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6" r:id="rId2"/>
    <p:sldId id="296" r:id="rId3"/>
    <p:sldId id="297" r:id="rId4"/>
    <p:sldId id="298" r:id="rId5"/>
    <p:sldId id="299" r:id="rId6"/>
    <p:sldId id="312" r:id="rId7"/>
    <p:sldId id="302" r:id="rId8"/>
    <p:sldId id="303" r:id="rId9"/>
    <p:sldId id="304" r:id="rId10"/>
    <p:sldId id="305" r:id="rId11"/>
    <p:sldId id="306" r:id="rId12"/>
    <p:sldId id="307" r:id="rId13"/>
    <p:sldId id="308" r:id="rId14"/>
    <p:sldId id="309" r:id="rId15"/>
    <p:sldId id="310" r:id="rId16"/>
    <p:sldId id="311" r:id="rId17"/>
  </p:sldIdLst>
  <p:sldSz cx="9144000" cy="5143500" type="screen16x9"/>
  <p:notesSz cx="6797675" cy="9928225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04" userDrawn="1">
          <p15:clr>
            <a:srgbClr val="A4A3A4"/>
          </p15:clr>
        </p15:guide>
        <p15:guide id="2" pos="5556" userDrawn="1">
          <p15:clr>
            <a:srgbClr val="A4A3A4"/>
          </p15:clr>
        </p15:guide>
        <p15:guide id="3" orient="horz" pos="735" userDrawn="1">
          <p15:clr>
            <a:srgbClr val="A4A3A4"/>
          </p15:clr>
        </p15:guide>
        <p15:guide id="4" orient="horz" pos="2949" userDrawn="1">
          <p15:clr>
            <a:srgbClr val="A4A3A4"/>
          </p15:clr>
        </p15:guide>
        <p15:guide id="5" orient="horz" pos="238" userDrawn="1">
          <p15:clr>
            <a:srgbClr val="A4A3A4"/>
          </p15:clr>
        </p15:guide>
        <p15:guide id="6" pos="2832" userDrawn="1">
          <p15:clr>
            <a:srgbClr val="A4A3A4"/>
          </p15:clr>
        </p15:guide>
        <p15:guide id="7" pos="2925" userDrawn="1">
          <p15:clr>
            <a:srgbClr val="A4A3A4"/>
          </p15:clr>
        </p15:guide>
        <p15:guide id="8" pos="2023" userDrawn="1">
          <p15:clr>
            <a:srgbClr val="A4A3A4"/>
          </p15:clr>
        </p15:guide>
        <p15:guide id="9" pos="1917" userDrawn="1">
          <p15:clr>
            <a:srgbClr val="A4A3A4"/>
          </p15:clr>
        </p15:guide>
        <p15:guide id="10" pos="3737" userDrawn="1">
          <p15:clr>
            <a:srgbClr val="A4A3A4"/>
          </p15:clr>
        </p15:guide>
        <p15:guide id="11" pos="3843" userDrawn="1">
          <p15:clr>
            <a:srgbClr val="A4A3A4"/>
          </p15:clr>
        </p15:guide>
        <p15:guide id="12" pos="354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ike Schmidt" initials="MS" lastIdx="3" clrIdx="0">
    <p:extLst>
      <p:ext uri="{19B8F6BF-5375-455C-9EA6-DF929625EA0E}">
        <p15:presenceInfo xmlns:p15="http://schemas.microsoft.com/office/powerpoint/2012/main" userId="S::maike.schmidt@strategy-compass.com::b4eb969c-01b2-4915-aef7-794a5e1eccdc" providerId="AD"/>
      </p:ext>
    </p:extLst>
  </p:cmAuthor>
  <p:cmAuthor id="2" name="Paola Campo (DHL Supply Chain)" initials="PC(SC" lastIdx="5" clrIdx="1">
    <p:extLst>
      <p:ext uri="{19B8F6BF-5375-455C-9EA6-DF929625EA0E}">
        <p15:presenceInfo xmlns:p15="http://schemas.microsoft.com/office/powerpoint/2012/main" userId="S-1-5-21-2763872571-2999947588-3099097816-344019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CCCB"/>
    <a:srgbClr val="87C4D6"/>
    <a:srgbClr val="69A5AD"/>
    <a:srgbClr val="6FAECD"/>
    <a:srgbClr val="FABD64"/>
    <a:srgbClr val="C0DAB7"/>
    <a:srgbClr val="1A9C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9810C2D-2C2F-4581-8AFF-CD78C2D722A2}">
  <a:tblStyle styleId="{09810C2D-2C2F-4581-8AFF-CD78C2D722A2}" styleName="DHL Table No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4"/>
              </a:solidFill>
            </a:ln>
          </a:top>
          <a:bottom>
            <a:ln w="28575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/>
          </a:solidFill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/>
      <a:tcStyle>
        <a:tcBdr/>
      </a:tcStyle>
    </a:lastCol>
    <a:firstCol>
      <a:tcStyle>
        <a:tcBdr/>
        <a:fill>
          <a:noFill/>
        </a:fill>
      </a:tcStyle>
    </a:firstCol>
    <a:lastRow>
      <a:tcStyle>
        <a:tcBdr/>
        <a:fill>
          <a:noFill/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6C8A55F-5544-428C-9B86-97CFDF07063B}" styleName="DHL Table White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4"/>
              </a:solidFill>
            </a:ln>
          </a:top>
          <a:bottom>
            <a:ln w="28575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bg1">
              <a:tint val="100000"/>
            </a:schemeClr>
          </a:solidFill>
        </a:fill>
      </a:tcStyle>
    </a:band1H>
    <a:band2H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H>
    <a:band1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1V>
    <a:band2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V>
    <a:lastCol>
      <a:tcTxStyle/>
      <a:tcStyle>
        <a:tcBdr/>
      </a:tcStyle>
    </a:lastCol>
    <a:firstCol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firstCol>
    <a:lastRow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solidFill>
            <a:schemeClr val="bg1">
              <a:lumMod val="20000"/>
              <a:lumOff val="8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68" autoAdjust="0"/>
    <p:restoredTop sz="96505" autoAdjust="0"/>
  </p:normalViewPr>
  <p:slideViewPr>
    <p:cSldViewPr snapToGrid="0" showGuides="1">
      <p:cViewPr varScale="1">
        <p:scale>
          <a:sx n="80" d="100"/>
          <a:sy n="80" d="100"/>
        </p:scale>
        <p:origin x="1032" y="44"/>
      </p:cViewPr>
      <p:guideLst>
        <p:guide pos="204"/>
        <p:guide pos="5556"/>
        <p:guide orient="horz" pos="735"/>
        <p:guide orient="horz" pos="2949"/>
        <p:guide orient="horz" pos="238"/>
        <p:guide pos="2832"/>
        <p:guide pos="2925"/>
        <p:guide pos="2023"/>
        <p:guide pos="1917"/>
        <p:guide pos="3737"/>
        <p:guide pos="3843"/>
        <p:guide pos="354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65358592692828E-2"/>
          <c:y val="2.589641434262948E-2"/>
          <c:w val="0.85926928281461445"/>
          <c:h val="0.948207171314740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9A5AD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4.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50-466E-A763-C1F51ABF2501}"/>
            </c:ext>
          </c:extLst>
        </c:ser>
        <c:ser>
          <c:idx val="1"/>
          <c:order val="1"/>
          <c:spPr>
            <a:solidFill>
              <a:srgbClr val="69A5AD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6FAECD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620-44CF-AEA3-D4FEA2D2B7A3}"/>
              </c:ext>
            </c:extLst>
          </c:dPt>
          <c:val>
            <c:numRef>
              <c:f>Sheet1!$A$2</c:f>
              <c:numCache>
                <c:formatCode>General</c:formatCode>
                <c:ptCount val="1"/>
                <c:pt idx="0">
                  <c:v>4.86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50-466E-A763-C1F51ABF25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19491184"/>
        <c:axId val="519491968"/>
      </c:barChart>
      <c:catAx>
        <c:axId val="5194911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19491968"/>
        <c:crosses val="min"/>
        <c:auto val="0"/>
        <c:lblAlgn val="ctr"/>
        <c:lblOffset val="100"/>
        <c:noMultiLvlLbl val="0"/>
      </c:catAx>
      <c:valAx>
        <c:axId val="519491968"/>
        <c:scaling>
          <c:orientation val="minMax"/>
          <c:max val="11.3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194911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65358592692828E-2"/>
          <c:y val="2.589641434262948E-2"/>
          <c:w val="0.85926928281461445"/>
          <c:h val="0.948207171314740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9A5AD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3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92-4C26-A0AA-07DF132F88E6}"/>
            </c:ext>
          </c:extLst>
        </c:ser>
        <c:ser>
          <c:idx val="1"/>
          <c:order val="1"/>
          <c:spPr>
            <a:solidFill>
              <a:srgbClr val="969696"/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6FAECD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1D92-4C26-A0AA-07DF132F88E6}"/>
              </c:ext>
            </c:extLst>
          </c:dPt>
          <c:val>
            <c:numRef>
              <c:f>Sheet1!$A$2</c:f>
              <c:numCache>
                <c:formatCode>General</c:formatCode>
                <c:ptCount val="1"/>
                <c:pt idx="0">
                  <c:v>7.56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D92-4C26-A0AA-07DF132F88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19493144"/>
        <c:axId val="519493928"/>
      </c:barChart>
      <c:catAx>
        <c:axId val="5194931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19493928"/>
        <c:crosses val="min"/>
        <c:auto val="0"/>
        <c:lblAlgn val="ctr"/>
        <c:lblOffset val="100"/>
        <c:noMultiLvlLbl val="0"/>
      </c:catAx>
      <c:valAx>
        <c:axId val="519493928"/>
        <c:scaling>
          <c:orientation val="minMax"/>
          <c:max val="11.3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194931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F5CAE4-CBB0-454E-B6B8-0B6620C2B409}" type="datetimeFigureOut">
              <a:rPr lang="de-DE" smtClean="0"/>
              <a:t>04.10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53AD6-CEF2-4FD5-AABC-FCC5FC528AD2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216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65504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17869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40671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83904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55808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65420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79688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5699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1685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1807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19944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71787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18565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18094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36344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4B753AD6-CEF2-4FD5-AABC-FCC5FC528AD2}" type="slidenum">
              <a:r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94207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ONE OR TWO LINES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077289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999" y="2614115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32E45753-9BEB-4DC2-92AC-A30D916F216E}"/>
              </a:ext>
            </a:extLst>
          </p:cNvPr>
          <p:cNvSpPr/>
          <p:nvPr userDrawn="1"/>
        </p:nvSpPr>
        <p:spPr>
          <a:xfrm>
            <a:off x="6284989" y="2428874"/>
            <a:ext cx="2669071" cy="2669071"/>
          </a:xfrm>
          <a:prstGeom prst="ellipse">
            <a:avLst/>
          </a:prstGeom>
          <a:solidFill>
            <a:srgbClr val="87C4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spAutoFit/>
          </a:bodyPr>
          <a:lstStyle/>
          <a:p>
            <a:pPr algn="l"/>
            <a:endParaRPr lang="en-GB" sz="1200" dirty="0" err="1">
              <a:solidFill>
                <a:schemeClr val="tx1"/>
              </a:solidFill>
            </a:endParaRPr>
          </a:p>
        </p:txBody>
      </p:sp>
      <p:pic>
        <p:nvPicPr>
          <p:cNvPr id="14" name="Grafik 13" descr="Ein Bild, das Person, Handkarren, Transport, Arm enthält.&#10;&#10;Automatisch generierte Beschreibung">
            <a:extLst>
              <a:ext uri="{FF2B5EF4-FFF2-40B4-BE49-F238E27FC236}">
                <a16:creationId xmlns:a16="http://schemas.microsoft.com/office/drawing/2014/main" id="{6CFC7292-8647-4086-BD7E-6FC1E9F23B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3860" y="2257424"/>
            <a:ext cx="2810200" cy="2886075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D6D0C4EF-5F20-433E-A629-94092B056EAF}"/>
              </a:ext>
            </a:extLst>
          </p:cNvPr>
          <p:cNvGrpSpPr/>
          <p:nvPr userDrawn="1"/>
        </p:nvGrpSpPr>
        <p:grpSpPr>
          <a:xfrm>
            <a:off x="4257676" y="-163513"/>
            <a:ext cx="5515869" cy="5514976"/>
            <a:chOff x="4257676" y="-163513"/>
            <a:chExt cx="5515869" cy="5514976"/>
          </a:xfrm>
          <a:solidFill>
            <a:schemeClr val="bg1">
              <a:alpha val="60000"/>
            </a:schemeClr>
          </a:solidFill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938703EA-1A57-4EA2-B5B4-FB89748727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5913" y="1077912"/>
              <a:ext cx="484188" cy="484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Oval 6">
              <a:extLst>
                <a:ext uri="{FF2B5EF4-FFF2-40B4-BE49-F238E27FC236}">
                  <a16:creationId xmlns:a16="http://schemas.microsoft.com/office/drawing/2014/main" id="{4EB318CB-7CF7-4DDA-A323-FBDABE4F50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34088" y="474662"/>
              <a:ext cx="484188" cy="484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Oval 7">
              <a:extLst>
                <a:ext uri="{FF2B5EF4-FFF2-40B4-BE49-F238E27FC236}">
                  <a16:creationId xmlns:a16="http://schemas.microsoft.com/office/drawing/2014/main" id="{D752C2A2-43EE-44EA-81CE-56A2970FA9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18251" y="2290762"/>
              <a:ext cx="346075" cy="3460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Oval 8">
              <a:extLst>
                <a:ext uri="{FF2B5EF4-FFF2-40B4-BE49-F238E27FC236}">
                  <a16:creationId xmlns:a16="http://schemas.microsoft.com/office/drawing/2014/main" id="{673B70F1-4992-45AA-AF88-209A8C4880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73763" y="4383087"/>
              <a:ext cx="344488" cy="3460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Oval 9">
              <a:extLst>
                <a:ext uri="{FF2B5EF4-FFF2-40B4-BE49-F238E27FC236}">
                  <a16:creationId xmlns:a16="http://schemas.microsoft.com/office/drawing/2014/main" id="{73BB6351-267F-498D-984A-AA886594E07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68813" y="234950"/>
              <a:ext cx="344488" cy="3460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Oval 10">
              <a:extLst>
                <a:ext uri="{FF2B5EF4-FFF2-40B4-BE49-F238E27FC236}">
                  <a16:creationId xmlns:a16="http://schemas.microsoft.com/office/drawing/2014/main" id="{95AFD2E0-5D0E-4A7E-9B3A-112CDE30AA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29238" y="3395662"/>
              <a:ext cx="484188" cy="484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F6890E39-FC1B-4834-BCEF-1B95BEBDA3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57701" y="-163513"/>
              <a:ext cx="87313" cy="368300"/>
            </a:xfrm>
            <a:custGeom>
              <a:avLst/>
              <a:gdLst>
                <a:gd name="T0" fmla="*/ 34 w 40"/>
                <a:gd name="T1" fmla="*/ 171 h 171"/>
                <a:gd name="T2" fmla="*/ 16 w 40"/>
                <a:gd name="T3" fmla="*/ 138 h 171"/>
                <a:gd name="T4" fmla="*/ 24 w 40"/>
                <a:gd name="T5" fmla="*/ 136 h 171"/>
                <a:gd name="T6" fmla="*/ 40 w 40"/>
                <a:gd name="T7" fmla="*/ 165 h 171"/>
                <a:gd name="T8" fmla="*/ 34 w 40"/>
                <a:gd name="T9" fmla="*/ 171 h 171"/>
                <a:gd name="T10" fmla="*/ 6 w 40"/>
                <a:gd name="T11" fmla="*/ 104 h 171"/>
                <a:gd name="T12" fmla="*/ 1 w 40"/>
                <a:gd name="T13" fmla="*/ 68 h 171"/>
                <a:gd name="T14" fmla="*/ 9 w 40"/>
                <a:gd name="T15" fmla="*/ 68 h 171"/>
                <a:gd name="T16" fmla="*/ 14 w 40"/>
                <a:gd name="T17" fmla="*/ 102 h 171"/>
                <a:gd name="T18" fmla="*/ 6 w 40"/>
                <a:gd name="T19" fmla="*/ 104 h 171"/>
                <a:gd name="T20" fmla="*/ 0 w 40"/>
                <a:gd name="T21" fmla="*/ 33 h 171"/>
                <a:gd name="T22" fmla="*/ 0 w 40"/>
                <a:gd name="T23" fmla="*/ 33 h 171"/>
                <a:gd name="T24" fmla="*/ 1 w 40"/>
                <a:gd name="T25" fmla="*/ 0 h 171"/>
                <a:gd name="T26" fmla="*/ 9 w 40"/>
                <a:gd name="T27" fmla="*/ 0 h 171"/>
                <a:gd name="T28" fmla="*/ 8 w 40"/>
                <a:gd name="T29" fmla="*/ 33 h 171"/>
                <a:gd name="T30" fmla="*/ 0 w 40"/>
                <a:gd name="T31" fmla="*/ 33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171">
                  <a:moveTo>
                    <a:pt x="34" y="171"/>
                  </a:moveTo>
                  <a:cubicBezTo>
                    <a:pt x="34" y="170"/>
                    <a:pt x="25" y="161"/>
                    <a:pt x="16" y="138"/>
                  </a:cubicBezTo>
                  <a:cubicBezTo>
                    <a:pt x="24" y="136"/>
                    <a:pt x="24" y="136"/>
                    <a:pt x="24" y="136"/>
                  </a:cubicBezTo>
                  <a:cubicBezTo>
                    <a:pt x="32" y="156"/>
                    <a:pt x="40" y="165"/>
                    <a:pt x="40" y="165"/>
                  </a:cubicBezTo>
                  <a:lnTo>
                    <a:pt x="34" y="171"/>
                  </a:lnTo>
                  <a:close/>
                  <a:moveTo>
                    <a:pt x="6" y="104"/>
                  </a:moveTo>
                  <a:cubicBezTo>
                    <a:pt x="4" y="93"/>
                    <a:pt x="2" y="81"/>
                    <a:pt x="1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10" y="80"/>
                    <a:pt x="12" y="91"/>
                    <a:pt x="14" y="102"/>
                  </a:cubicBezTo>
                  <a:lnTo>
                    <a:pt x="6" y="104"/>
                  </a:lnTo>
                  <a:close/>
                  <a:moveTo>
                    <a:pt x="0" y="33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22"/>
                    <a:pt x="0" y="11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11"/>
                    <a:pt x="8" y="22"/>
                    <a:pt x="8" y="33"/>
                  </a:cubicBez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D6735545-8235-4118-B1AF-4FD8BF6E4E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10126" y="381000"/>
              <a:ext cx="1241425" cy="263525"/>
            </a:xfrm>
            <a:custGeom>
              <a:avLst/>
              <a:gdLst>
                <a:gd name="T0" fmla="*/ 573 w 577"/>
                <a:gd name="T1" fmla="*/ 123 h 123"/>
                <a:gd name="T2" fmla="*/ 551 w 577"/>
                <a:gd name="T3" fmla="*/ 113 h 123"/>
                <a:gd name="T4" fmla="*/ 554 w 577"/>
                <a:gd name="T5" fmla="*/ 106 h 123"/>
                <a:gd name="T6" fmla="*/ 577 w 577"/>
                <a:gd name="T7" fmla="*/ 116 h 123"/>
                <a:gd name="T8" fmla="*/ 573 w 577"/>
                <a:gd name="T9" fmla="*/ 123 h 123"/>
                <a:gd name="T10" fmla="*/ 518 w 577"/>
                <a:gd name="T11" fmla="*/ 99 h 123"/>
                <a:gd name="T12" fmla="*/ 485 w 577"/>
                <a:gd name="T13" fmla="*/ 86 h 123"/>
                <a:gd name="T14" fmla="*/ 488 w 577"/>
                <a:gd name="T15" fmla="*/ 78 h 123"/>
                <a:gd name="T16" fmla="*/ 521 w 577"/>
                <a:gd name="T17" fmla="*/ 92 h 123"/>
                <a:gd name="T18" fmla="*/ 518 w 577"/>
                <a:gd name="T19" fmla="*/ 99 h 123"/>
                <a:gd name="T20" fmla="*/ 452 w 577"/>
                <a:gd name="T21" fmla="*/ 74 h 123"/>
                <a:gd name="T22" fmla="*/ 419 w 577"/>
                <a:gd name="T23" fmla="*/ 62 h 123"/>
                <a:gd name="T24" fmla="*/ 421 w 577"/>
                <a:gd name="T25" fmla="*/ 55 h 123"/>
                <a:gd name="T26" fmla="*/ 455 w 577"/>
                <a:gd name="T27" fmla="*/ 66 h 123"/>
                <a:gd name="T28" fmla="*/ 452 w 577"/>
                <a:gd name="T29" fmla="*/ 74 h 123"/>
                <a:gd name="T30" fmla="*/ 385 w 577"/>
                <a:gd name="T31" fmla="*/ 52 h 123"/>
                <a:gd name="T32" fmla="*/ 351 w 577"/>
                <a:gd name="T33" fmla="*/ 42 h 123"/>
                <a:gd name="T34" fmla="*/ 353 w 577"/>
                <a:gd name="T35" fmla="*/ 35 h 123"/>
                <a:gd name="T36" fmla="*/ 387 w 577"/>
                <a:gd name="T37" fmla="*/ 44 h 123"/>
                <a:gd name="T38" fmla="*/ 385 w 577"/>
                <a:gd name="T39" fmla="*/ 52 h 123"/>
                <a:gd name="T40" fmla="*/ 317 w 577"/>
                <a:gd name="T41" fmla="*/ 34 h 123"/>
                <a:gd name="T42" fmla="*/ 282 w 577"/>
                <a:gd name="T43" fmla="*/ 27 h 123"/>
                <a:gd name="T44" fmla="*/ 284 w 577"/>
                <a:gd name="T45" fmla="*/ 19 h 123"/>
                <a:gd name="T46" fmla="*/ 319 w 577"/>
                <a:gd name="T47" fmla="*/ 26 h 123"/>
                <a:gd name="T48" fmla="*/ 317 w 577"/>
                <a:gd name="T49" fmla="*/ 34 h 123"/>
                <a:gd name="T50" fmla="*/ 248 w 577"/>
                <a:gd name="T51" fmla="*/ 21 h 123"/>
                <a:gd name="T52" fmla="*/ 213 w 577"/>
                <a:gd name="T53" fmla="*/ 16 h 123"/>
                <a:gd name="T54" fmla="*/ 214 w 577"/>
                <a:gd name="T55" fmla="*/ 8 h 123"/>
                <a:gd name="T56" fmla="*/ 249 w 577"/>
                <a:gd name="T57" fmla="*/ 13 h 123"/>
                <a:gd name="T58" fmla="*/ 248 w 577"/>
                <a:gd name="T59" fmla="*/ 21 h 123"/>
                <a:gd name="T60" fmla="*/ 2 w 577"/>
                <a:gd name="T61" fmla="*/ 17 h 123"/>
                <a:gd name="T62" fmla="*/ 0 w 577"/>
                <a:gd name="T63" fmla="*/ 9 h 123"/>
                <a:gd name="T64" fmla="*/ 36 w 577"/>
                <a:gd name="T65" fmla="*/ 4 h 123"/>
                <a:gd name="T66" fmla="*/ 37 w 577"/>
                <a:gd name="T67" fmla="*/ 12 h 123"/>
                <a:gd name="T68" fmla="*/ 2 w 577"/>
                <a:gd name="T69" fmla="*/ 17 h 123"/>
                <a:gd name="T70" fmla="*/ 178 w 577"/>
                <a:gd name="T71" fmla="*/ 12 h 123"/>
                <a:gd name="T72" fmla="*/ 142 w 577"/>
                <a:gd name="T73" fmla="*/ 9 h 123"/>
                <a:gd name="T74" fmla="*/ 143 w 577"/>
                <a:gd name="T75" fmla="*/ 1 h 123"/>
                <a:gd name="T76" fmla="*/ 178 w 577"/>
                <a:gd name="T77" fmla="*/ 4 h 123"/>
                <a:gd name="T78" fmla="*/ 178 w 577"/>
                <a:gd name="T79" fmla="*/ 12 h 123"/>
                <a:gd name="T80" fmla="*/ 72 w 577"/>
                <a:gd name="T81" fmla="*/ 9 h 123"/>
                <a:gd name="T82" fmla="*/ 72 w 577"/>
                <a:gd name="T83" fmla="*/ 1 h 123"/>
                <a:gd name="T84" fmla="*/ 103 w 577"/>
                <a:gd name="T85" fmla="*/ 0 h 123"/>
                <a:gd name="T86" fmla="*/ 107 w 577"/>
                <a:gd name="T87" fmla="*/ 0 h 123"/>
                <a:gd name="T88" fmla="*/ 107 w 577"/>
                <a:gd name="T89" fmla="*/ 8 h 123"/>
                <a:gd name="T90" fmla="*/ 103 w 577"/>
                <a:gd name="T91" fmla="*/ 8 h 123"/>
                <a:gd name="T92" fmla="*/ 72 w 577"/>
                <a:gd name="T93" fmla="*/ 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77" h="123">
                  <a:moveTo>
                    <a:pt x="573" y="123"/>
                  </a:moveTo>
                  <a:cubicBezTo>
                    <a:pt x="566" y="120"/>
                    <a:pt x="558" y="116"/>
                    <a:pt x="551" y="113"/>
                  </a:cubicBezTo>
                  <a:cubicBezTo>
                    <a:pt x="554" y="106"/>
                    <a:pt x="554" y="106"/>
                    <a:pt x="554" y="106"/>
                  </a:cubicBezTo>
                  <a:cubicBezTo>
                    <a:pt x="562" y="109"/>
                    <a:pt x="569" y="113"/>
                    <a:pt x="577" y="116"/>
                  </a:cubicBezTo>
                  <a:lnTo>
                    <a:pt x="573" y="123"/>
                  </a:lnTo>
                  <a:close/>
                  <a:moveTo>
                    <a:pt x="518" y="99"/>
                  </a:moveTo>
                  <a:cubicBezTo>
                    <a:pt x="507" y="95"/>
                    <a:pt x="496" y="90"/>
                    <a:pt x="485" y="86"/>
                  </a:cubicBezTo>
                  <a:cubicBezTo>
                    <a:pt x="488" y="78"/>
                    <a:pt x="488" y="78"/>
                    <a:pt x="488" y="78"/>
                  </a:cubicBezTo>
                  <a:cubicBezTo>
                    <a:pt x="499" y="83"/>
                    <a:pt x="510" y="87"/>
                    <a:pt x="521" y="92"/>
                  </a:cubicBezTo>
                  <a:lnTo>
                    <a:pt x="518" y="99"/>
                  </a:lnTo>
                  <a:close/>
                  <a:moveTo>
                    <a:pt x="452" y="74"/>
                  </a:moveTo>
                  <a:cubicBezTo>
                    <a:pt x="441" y="70"/>
                    <a:pt x="430" y="66"/>
                    <a:pt x="419" y="62"/>
                  </a:cubicBezTo>
                  <a:cubicBezTo>
                    <a:pt x="421" y="55"/>
                    <a:pt x="421" y="55"/>
                    <a:pt x="421" y="55"/>
                  </a:cubicBezTo>
                  <a:cubicBezTo>
                    <a:pt x="432" y="58"/>
                    <a:pt x="444" y="62"/>
                    <a:pt x="455" y="66"/>
                  </a:cubicBezTo>
                  <a:lnTo>
                    <a:pt x="452" y="74"/>
                  </a:lnTo>
                  <a:close/>
                  <a:moveTo>
                    <a:pt x="385" y="52"/>
                  </a:moveTo>
                  <a:cubicBezTo>
                    <a:pt x="374" y="49"/>
                    <a:pt x="362" y="45"/>
                    <a:pt x="351" y="42"/>
                  </a:cubicBezTo>
                  <a:cubicBezTo>
                    <a:pt x="353" y="35"/>
                    <a:pt x="353" y="35"/>
                    <a:pt x="353" y="35"/>
                  </a:cubicBezTo>
                  <a:cubicBezTo>
                    <a:pt x="364" y="38"/>
                    <a:pt x="376" y="41"/>
                    <a:pt x="387" y="44"/>
                  </a:cubicBezTo>
                  <a:lnTo>
                    <a:pt x="385" y="52"/>
                  </a:lnTo>
                  <a:close/>
                  <a:moveTo>
                    <a:pt x="317" y="34"/>
                  </a:moveTo>
                  <a:cubicBezTo>
                    <a:pt x="305" y="31"/>
                    <a:pt x="294" y="29"/>
                    <a:pt x="282" y="27"/>
                  </a:cubicBezTo>
                  <a:cubicBezTo>
                    <a:pt x="284" y="19"/>
                    <a:pt x="284" y="19"/>
                    <a:pt x="284" y="19"/>
                  </a:cubicBezTo>
                  <a:cubicBezTo>
                    <a:pt x="295" y="21"/>
                    <a:pt x="307" y="24"/>
                    <a:pt x="319" y="26"/>
                  </a:cubicBezTo>
                  <a:lnTo>
                    <a:pt x="317" y="34"/>
                  </a:lnTo>
                  <a:close/>
                  <a:moveTo>
                    <a:pt x="248" y="21"/>
                  </a:moveTo>
                  <a:cubicBezTo>
                    <a:pt x="236" y="19"/>
                    <a:pt x="224" y="17"/>
                    <a:pt x="213" y="16"/>
                  </a:cubicBezTo>
                  <a:cubicBezTo>
                    <a:pt x="214" y="8"/>
                    <a:pt x="214" y="8"/>
                    <a:pt x="214" y="8"/>
                  </a:cubicBezTo>
                  <a:cubicBezTo>
                    <a:pt x="225" y="9"/>
                    <a:pt x="237" y="11"/>
                    <a:pt x="249" y="13"/>
                  </a:cubicBezTo>
                  <a:lnTo>
                    <a:pt x="248" y="21"/>
                  </a:lnTo>
                  <a:close/>
                  <a:moveTo>
                    <a:pt x="2" y="17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13" y="6"/>
                    <a:pt x="36" y="4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14" y="14"/>
                    <a:pt x="2" y="17"/>
                    <a:pt x="2" y="17"/>
                  </a:cubicBezTo>
                  <a:close/>
                  <a:moveTo>
                    <a:pt x="178" y="12"/>
                  </a:moveTo>
                  <a:cubicBezTo>
                    <a:pt x="166" y="11"/>
                    <a:pt x="154" y="10"/>
                    <a:pt x="142" y="9"/>
                  </a:cubicBezTo>
                  <a:cubicBezTo>
                    <a:pt x="143" y="1"/>
                    <a:pt x="143" y="1"/>
                    <a:pt x="143" y="1"/>
                  </a:cubicBezTo>
                  <a:cubicBezTo>
                    <a:pt x="154" y="2"/>
                    <a:pt x="166" y="3"/>
                    <a:pt x="178" y="4"/>
                  </a:cubicBezTo>
                  <a:lnTo>
                    <a:pt x="178" y="12"/>
                  </a:lnTo>
                  <a:close/>
                  <a:moveTo>
                    <a:pt x="72" y="9"/>
                  </a:moveTo>
                  <a:cubicBezTo>
                    <a:pt x="72" y="1"/>
                    <a:pt x="72" y="1"/>
                    <a:pt x="72" y="1"/>
                  </a:cubicBezTo>
                  <a:cubicBezTo>
                    <a:pt x="82" y="1"/>
                    <a:pt x="92" y="0"/>
                    <a:pt x="103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8"/>
                    <a:pt x="107" y="8"/>
                    <a:pt x="107" y="8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92" y="8"/>
                    <a:pt x="82" y="9"/>
                    <a:pt x="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7DB1E8A3-27D7-4EDC-A42C-9C1D624C49D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07163" y="782637"/>
              <a:ext cx="1373188" cy="442913"/>
            </a:xfrm>
            <a:custGeom>
              <a:avLst/>
              <a:gdLst>
                <a:gd name="T0" fmla="*/ 634 w 638"/>
                <a:gd name="T1" fmla="*/ 206 h 206"/>
                <a:gd name="T2" fmla="*/ 603 w 638"/>
                <a:gd name="T3" fmla="*/ 188 h 206"/>
                <a:gd name="T4" fmla="*/ 607 w 638"/>
                <a:gd name="T5" fmla="*/ 181 h 206"/>
                <a:gd name="T6" fmla="*/ 638 w 638"/>
                <a:gd name="T7" fmla="*/ 199 h 206"/>
                <a:gd name="T8" fmla="*/ 634 w 638"/>
                <a:gd name="T9" fmla="*/ 206 h 206"/>
                <a:gd name="T10" fmla="*/ 572 w 638"/>
                <a:gd name="T11" fmla="*/ 171 h 206"/>
                <a:gd name="T12" fmla="*/ 541 w 638"/>
                <a:gd name="T13" fmla="*/ 155 h 206"/>
                <a:gd name="T14" fmla="*/ 545 w 638"/>
                <a:gd name="T15" fmla="*/ 148 h 206"/>
                <a:gd name="T16" fmla="*/ 576 w 638"/>
                <a:gd name="T17" fmla="*/ 164 h 206"/>
                <a:gd name="T18" fmla="*/ 572 w 638"/>
                <a:gd name="T19" fmla="*/ 171 h 206"/>
                <a:gd name="T20" fmla="*/ 509 w 638"/>
                <a:gd name="T21" fmla="*/ 139 h 206"/>
                <a:gd name="T22" fmla="*/ 477 w 638"/>
                <a:gd name="T23" fmla="*/ 124 h 206"/>
                <a:gd name="T24" fmla="*/ 481 w 638"/>
                <a:gd name="T25" fmla="*/ 117 h 206"/>
                <a:gd name="T26" fmla="*/ 513 w 638"/>
                <a:gd name="T27" fmla="*/ 132 h 206"/>
                <a:gd name="T28" fmla="*/ 509 w 638"/>
                <a:gd name="T29" fmla="*/ 139 h 206"/>
                <a:gd name="T30" fmla="*/ 445 w 638"/>
                <a:gd name="T31" fmla="*/ 110 h 206"/>
                <a:gd name="T32" fmla="*/ 412 w 638"/>
                <a:gd name="T33" fmla="*/ 97 h 206"/>
                <a:gd name="T34" fmla="*/ 415 w 638"/>
                <a:gd name="T35" fmla="*/ 90 h 206"/>
                <a:gd name="T36" fmla="*/ 448 w 638"/>
                <a:gd name="T37" fmla="*/ 103 h 206"/>
                <a:gd name="T38" fmla="*/ 445 w 638"/>
                <a:gd name="T39" fmla="*/ 110 h 206"/>
                <a:gd name="T40" fmla="*/ 379 w 638"/>
                <a:gd name="T41" fmla="*/ 85 h 206"/>
                <a:gd name="T42" fmla="*/ 346 w 638"/>
                <a:gd name="T43" fmla="*/ 73 h 206"/>
                <a:gd name="T44" fmla="*/ 348 w 638"/>
                <a:gd name="T45" fmla="*/ 66 h 206"/>
                <a:gd name="T46" fmla="*/ 382 w 638"/>
                <a:gd name="T47" fmla="*/ 77 h 206"/>
                <a:gd name="T48" fmla="*/ 379 w 638"/>
                <a:gd name="T49" fmla="*/ 85 h 206"/>
                <a:gd name="T50" fmla="*/ 312 w 638"/>
                <a:gd name="T51" fmla="*/ 62 h 206"/>
                <a:gd name="T52" fmla="*/ 278 w 638"/>
                <a:gd name="T53" fmla="*/ 53 h 206"/>
                <a:gd name="T54" fmla="*/ 280 w 638"/>
                <a:gd name="T55" fmla="*/ 45 h 206"/>
                <a:gd name="T56" fmla="*/ 314 w 638"/>
                <a:gd name="T57" fmla="*/ 55 h 206"/>
                <a:gd name="T58" fmla="*/ 312 w 638"/>
                <a:gd name="T59" fmla="*/ 62 h 206"/>
                <a:gd name="T60" fmla="*/ 244 w 638"/>
                <a:gd name="T61" fmla="*/ 43 h 206"/>
                <a:gd name="T62" fmla="*/ 209 w 638"/>
                <a:gd name="T63" fmla="*/ 35 h 206"/>
                <a:gd name="T64" fmla="*/ 211 w 638"/>
                <a:gd name="T65" fmla="*/ 28 h 206"/>
                <a:gd name="T66" fmla="*/ 246 w 638"/>
                <a:gd name="T67" fmla="*/ 36 h 206"/>
                <a:gd name="T68" fmla="*/ 244 w 638"/>
                <a:gd name="T69" fmla="*/ 43 h 206"/>
                <a:gd name="T70" fmla="*/ 175 w 638"/>
                <a:gd name="T71" fmla="*/ 28 h 206"/>
                <a:gd name="T72" fmla="*/ 140 w 638"/>
                <a:gd name="T73" fmla="*/ 22 h 206"/>
                <a:gd name="T74" fmla="*/ 141 w 638"/>
                <a:gd name="T75" fmla="*/ 14 h 206"/>
                <a:gd name="T76" fmla="*/ 176 w 638"/>
                <a:gd name="T77" fmla="*/ 20 h 206"/>
                <a:gd name="T78" fmla="*/ 175 w 638"/>
                <a:gd name="T79" fmla="*/ 28 h 206"/>
                <a:gd name="T80" fmla="*/ 105 w 638"/>
                <a:gd name="T81" fmla="*/ 16 h 206"/>
                <a:gd name="T82" fmla="*/ 70 w 638"/>
                <a:gd name="T83" fmla="*/ 12 h 206"/>
                <a:gd name="T84" fmla="*/ 71 w 638"/>
                <a:gd name="T85" fmla="*/ 4 h 206"/>
                <a:gd name="T86" fmla="*/ 106 w 638"/>
                <a:gd name="T87" fmla="*/ 9 h 206"/>
                <a:gd name="T88" fmla="*/ 105 w 638"/>
                <a:gd name="T89" fmla="*/ 16 h 206"/>
                <a:gd name="T90" fmla="*/ 35 w 638"/>
                <a:gd name="T91" fmla="*/ 9 h 206"/>
                <a:gd name="T92" fmla="*/ 1 w 638"/>
                <a:gd name="T93" fmla="*/ 8 h 206"/>
                <a:gd name="T94" fmla="*/ 0 w 638"/>
                <a:gd name="T95" fmla="*/ 8 h 206"/>
                <a:gd name="T96" fmla="*/ 0 w 638"/>
                <a:gd name="T97" fmla="*/ 0 h 206"/>
                <a:gd name="T98" fmla="*/ 1 w 638"/>
                <a:gd name="T99" fmla="*/ 0 h 206"/>
                <a:gd name="T100" fmla="*/ 35 w 638"/>
                <a:gd name="T101" fmla="*/ 1 h 206"/>
                <a:gd name="T102" fmla="*/ 35 w 638"/>
                <a:gd name="T103" fmla="*/ 9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8" h="206">
                  <a:moveTo>
                    <a:pt x="634" y="206"/>
                  </a:moveTo>
                  <a:cubicBezTo>
                    <a:pt x="624" y="200"/>
                    <a:pt x="613" y="194"/>
                    <a:pt x="603" y="188"/>
                  </a:cubicBezTo>
                  <a:cubicBezTo>
                    <a:pt x="607" y="181"/>
                    <a:pt x="607" y="181"/>
                    <a:pt x="607" y="181"/>
                  </a:cubicBezTo>
                  <a:cubicBezTo>
                    <a:pt x="617" y="187"/>
                    <a:pt x="628" y="193"/>
                    <a:pt x="638" y="199"/>
                  </a:cubicBezTo>
                  <a:lnTo>
                    <a:pt x="634" y="206"/>
                  </a:lnTo>
                  <a:close/>
                  <a:moveTo>
                    <a:pt x="572" y="171"/>
                  </a:moveTo>
                  <a:cubicBezTo>
                    <a:pt x="562" y="166"/>
                    <a:pt x="552" y="160"/>
                    <a:pt x="541" y="155"/>
                  </a:cubicBezTo>
                  <a:cubicBezTo>
                    <a:pt x="545" y="148"/>
                    <a:pt x="545" y="148"/>
                    <a:pt x="545" y="148"/>
                  </a:cubicBezTo>
                  <a:cubicBezTo>
                    <a:pt x="555" y="153"/>
                    <a:pt x="566" y="159"/>
                    <a:pt x="576" y="164"/>
                  </a:cubicBezTo>
                  <a:lnTo>
                    <a:pt x="572" y="171"/>
                  </a:lnTo>
                  <a:close/>
                  <a:moveTo>
                    <a:pt x="509" y="139"/>
                  </a:moveTo>
                  <a:cubicBezTo>
                    <a:pt x="499" y="134"/>
                    <a:pt x="488" y="129"/>
                    <a:pt x="477" y="124"/>
                  </a:cubicBezTo>
                  <a:cubicBezTo>
                    <a:pt x="481" y="117"/>
                    <a:pt x="481" y="117"/>
                    <a:pt x="481" y="117"/>
                  </a:cubicBezTo>
                  <a:cubicBezTo>
                    <a:pt x="491" y="122"/>
                    <a:pt x="502" y="127"/>
                    <a:pt x="513" y="132"/>
                  </a:cubicBezTo>
                  <a:lnTo>
                    <a:pt x="509" y="139"/>
                  </a:lnTo>
                  <a:close/>
                  <a:moveTo>
                    <a:pt x="445" y="110"/>
                  </a:moveTo>
                  <a:cubicBezTo>
                    <a:pt x="434" y="106"/>
                    <a:pt x="423" y="101"/>
                    <a:pt x="412" y="97"/>
                  </a:cubicBezTo>
                  <a:cubicBezTo>
                    <a:pt x="415" y="90"/>
                    <a:pt x="415" y="90"/>
                    <a:pt x="415" y="90"/>
                  </a:cubicBezTo>
                  <a:cubicBezTo>
                    <a:pt x="426" y="94"/>
                    <a:pt x="437" y="98"/>
                    <a:pt x="448" y="103"/>
                  </a:cubicBezTo>
                  <a:lnTo>
                    <a:pt x="445" y="110"/>
                  </a:lnTo>
                  <a:close/>
                  <a:moveTo>
                    <a:pt x="379" y="85"/>
                  </a:moveTo>
                  <a:cubicBezTo>
                    <a:pt x="368" y="81"/>
                    <a:pt x="357" y="77"/>
                    <a:pt x="346" y="73"/>
                  </a:cubicBezTo>
                  <a:cubicBezTo>
                    <a:pt x="348" y="66"/>
                    <a:pt x="348" y="66"/>
                    <a:pt x="348" y="66"/>
                  </a:cubicBezTo>
                  <a:cubicBezTo>
                    <a:pt x="359" y="69"/>
                    <a:pt x="371" y="73"/>
                    <a:pt x="382" y="77"/>
                  </a:cubicBezTo>
                  <a:lnTo>
                    <a:pt x="379" y="85"/>
                  </a:lnTo>
                  <a:close/>
                  <a:moveTo>
                    <a:pt x="312" y="62"/>
                  </a:moveTo>
                  <a:cubicBezTo>
                    <a:pt x="301" y="59"/>
                    <a:pt x="289" y="56"/>
                    <a:pt x="278" y="53"/>
                  </a:cubicBezTo>
                  <a:cubicBezTo>
                    <a:pt x="280" y="45"/>
                    <a:pt x="280" y="45"/>
                    <a:pt x="280" y="45"/>
                  </a:cubicBezTo>
                  <a:cubicBezTo>
                    <a:pt x="292" y="48"/>
                    <a:pt x="303" y="51"/>
                    <a:pt x="314" y="55"/>
                  </a:cubicBezTo>
                  <a:lnTo>
                    <a:pt x="312" y="62"/>
                  </a:lnTo>
                  <a:close/>
                  <a:moveTo>
                    <a:pt x="244" y="43"/>
                  </a:moveTo>
                  <a:cubicBezTo>
                    <a:pt x="232" y="41"/>
                    <a:pt x="221" y="38"/>
                    <a:pt x="209" y="35"/>
                  </a:cubicBezTo>
                  <a:cubicBezTo>
                    <a:pt x="211" y="28"/>
                    <a:pt x="211" y="28"/>
                    <a:pt x="211" y="28"/>
                  </a:cubicBezTo>
                  <a:cubicBezTo>
                    <a:pt x="223" y="30"/>
                    <a:pt x="234" y="33"/>
                    <a:pt x="246" y="36"/>
                  </a:cubicBezTo>
                  <a:lnTo>
                    <a:pt x="244" y="43"/>
                  </a:lnTo>
                  <a:close/>
                  <a:moveTo>
                    <a:pt x="175" y="28"/>
                  </a:moveTo>
                  <a:cubicBezTo>
                    <a:pt x="163" y="26"/>
                    <a:pt x="152" y="24"/>
                    <a:pt x="140" y="22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53" y="16"/>
                    <a:pt x="165" y="18"/>
                    <a:pt x="176" y="20"/>
                  </a:cubicBezTo>
                  <a:lnTo>
                    <a:pt x="175" y="28"/>
                  </a:lnTo>
                  <a:close/>
                  <a:moveTo>
                    <a:pt x="105" y="16"/>
                  </a:moveTo>
                  <a:cubicBezTo>
                    <a:pt x="93" y="15"/>
                    <a:pt x="82" y="13"/>
                    <a:pt x="70" y="12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82" y="5"/>
                    <a:pt x="94" y="7"/>
                    <a:pt x="106" y="9"/>
                  </a:cubicBezTo>
                  <a:lnTo>
                    <a:pt x="105" y="16"/>
                  </a:lnTo>
                  <a:close/>
                  <a:moveTo>
                    <a:pt x="35" y="9"/>
                  </a:moveTo>
                  <a:cubicBezTo>
                    <a:pt x="16" y="8"/>
                    <a:pt x="4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4" y="0"/>
                    <a:pt x="16" y="0"/>
                    <a:pt x="35" y="1"/>
                  </a:cubicBezTo>
                  <a:lnTo>
                    <a:pt x="35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0EF9D6A7-4C86-4F0A-8451-438080779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97626" y="-73025"/>
              <a:ext cx="758825" cy="595313"/>
            </a:xfrm>
            <a:custGeom>
              <a:avLst/>
              <a:gdLst>
                <a:gd name="T0" fmla="*/ 3 w 353"/>
                <a:gd name="T1" fmla="*/ 277 h 277"/>
                <a:gd name="T2" fmla="*/ 0 w 353"/>
                <a:gd name="T3" fmla="*/ 270 h 277"/>
                <a:gd name="T4" fmla="*/ 11 w 353"/>
                <a:gd name="T5" fmla="*/ 238 h 277"/>
                <a:gd name="T6" fmla="*/ 18 w 353"/>
                <a:gd name="T7" fmla="*/ 242 h 277"/>
                <a:gd name="T8" fmla="*/ 8 w 353"/>
                <a:gd name="T9" fmla="*/ 270 h 277"/>
                <a:gd name="T10" fmla="*/ 8 w 353"/>
                <a:gd name="T11" fmla="*/ 271 h 277"/>
                <a:gd name="T12" fmla="*/ 7 w 353"/>
                <a:gd name="T13" fmla="*/ 270 h 277"/>
                <a:gd name="T14" fmla="*/ 3 w 353"/>
                <a:gd name="T15" fmla="*/ 277 h 277"/>
                <a:gd name="T16" fmla="*/ 35 w 353"/>
                <a:gd name="T17" fmla="*/ 211 h 277"/>
                <a:gd name="T18" fmla="*/ 28 w 353"/>
                <a:gd name="T19" fmla="*/ 207 h 277"/>
                <a:gd name="T20" fmla="*/ 50 w 353"/>
                <a:gd name="T21" fmla="*/ 178 h 277"/>
                <a:gd name="T22" fmla="*/ 56 w 353"/>
                <a:gd name="T23" fmla="*/ 183 h 277"/>
                <a:gd name="T24" fmla="*/ 35 w 353"/>
                <a:gd name="T25" fmla="*/ 211 h 277"/>
                <a:gd name="T26" fmla="*/ 79 w 353"/>
                <a:gd name="T27" fmla="*/ 156 h 277"/>
                <a:gd name="T28" fmla="*/ 73 w 353"/>
                <a:gd name="T29" fmla="*/ 151 h 277"/>
                <a:gd name="T30" fmla="*/ 99 w 353"/>
                <a:gd name="T31" fmla="*/ 126 h 277"/>
                <a:gd name="T32" fmla="*/ 104 w 353"/>
                <a:gd name="T33" fmla="*/ 132 h 277"/>
                <a:gd name="T34" fmla="*/ 79 w 353"/>
                <a:gd name="T35" fmla="*/ 156 h 277"/>
                <a:gd name="T36" fmla="*/ 131 w 353"/>
                <a:gd name="T37" fmla="*/ 109 h 277"/>
                <a:gd name="T38" fmla="*/ 126 w 353"/>
                <a:gd name="T39" fmla="*/ 103 h 277"/>
                <a:gd name="T40" fmla="*/ 155 w 353"/>
                <a:gd name="T41" fmla="*/ 82 h 277"/>
                <a:gd name="T42" fmla="*/ 159 w 353"/>
                <a:gd name="T43" fmla="*/ 89 h 277"/>
                <a:gd name="T44" fmla="*/ 131 w 353"/>
                <a:gd name="T45" fmla="*/ 109 h 277"/>
                <a:gd name="T46" fmla="*/ 189 w 353"/>
                <a:gd name="T47" fmla="*/ 70 h 277"/>
                <a:gd name="T48" fmla="*/ 185 w 353"/>
                <a:gd name="T49" fmla="*/ 63 h 277"/>
                <a:gd name="T50" fmla="*/ 217 w 353"/>
                <a:gd name="T51" fmla="*/ 47 h 277"/>
                <a:gd name="T52" fmla="*/ 220 w 353"/>
                <a:gd name="T53" fmla="*/ 54 h 277"/>
                <a:gd name="T54" fmla="*/ 189 w 353"/>
                <a:gd name="T55" fmla="*/ 70 h 277"/>
                <a:gd name="T56" fmla="*/ 252 w 353"/>
                <a:gd name="T57" fmla="*/ 39 h 277"/>
                <a:gd name="T58" fmla="*/ 249 w 353"/>
                <a:gd name="T59" fmla="*/ 32 h 277"/>
                <a:gd name="T60" fmla="*/ 282 w 353"/>
                <a:gd name="T61" fmla="*/ 19 h 277"/>
                <a:gd name="T62" fmla="*/ 285 w 353"/>
                <a:gd name="T63" fmla="*/ 27 h 277"/>
                <a:gd name="T64" fmla="*/ 252 w 353"/>
                <a:gd name="T65" fmla="*/ 39 h 277"/>
                <a:gd name="T66" fmla="*/ 319 w 353"/>
                <a:gd name="T67" fmla="*/ 16 h 277"/>
                <a:gd name="T68" fmla="*/ 316 w 353"/>
                <a:gd name="T69" fmla="*/ 8 h 277"/>
                <a:gd name="T70" fmla="*/ 351 w 353"/>
                <a:gd name="T71" fmla="*/ 0 h 277"/>
                <a:gd name="T72" fmla="*/ 353 w 353"/>
                <a:gd name="T73" fmla="*/ 7 h 277"/>
                <a:gd name="T74" fmla="*/ 319 w 353"/>
                <a:gd name="T75" fmla="*/ 1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3" h="277">
                  <a:moveTo>
                    <a:pt x="3" y="277"/>
                  </a:moveTo>
                  <a:cubicBezTo>
                    <a:pt x="1" y="275"/>
                    <a:pt x="0" y="273"/>
                    <a:pt x="0" y="270"/>
                  </a:cubicBezTo>
                  <a:cubicBezTo>
                    <a:pt x="0" y="263"/>
                    <a:pt x="4" y="252"/>
                    <a:pt x="11" y="238"/>
                  </a:cubicBezTo>
                  <a:cubicBezTo>
                    <a:pt x="18" y="242"/>
                    <a:pt x="18" y="242"/>
                    <a:pt x="18" y="242"/>
                  </a:cubicBezTo>
                  <a:cubicBezTo>
                    <a:pt x="11" y="256"/>
                    <a:pt x="8" y="266"/>
                    <a:pt x="8" y="270"/>
                  </a:cubicBezTo>
                  <a:cubicBezTo>
                    <a:pt x="8" y="270"/>
                    <a:pt x="8" y="271"/>
                    <a:pt x="8" y="271"/>
                  </a:cubicBezTo>
                  <a:cubicBezTo>
                    <a:pt x="8" y="270"/>
                    <a:pt x="8" y="270"/>
                    <a:pt x="7" y="270"/>
                  </a:cubicBezTo>
                  <a:lnTo>
                    <a:pt x="3" y="277"/>
                  </a:lnTo>
                  <a:close/>
                  <a:moveTo>
                    <a:pt x="35" y="211"/>
                  </a:moveTo>
                  <a:cubicBezTo>
                    <a:pt x="28" y="207"/>
                    <a:pt x="28" y="207"/>
                    <a:pt x="28" y="207"/>
                  </a:cubicBezTo>
                  <a:cubicBezTo>
                    <a:pt x="35" y="197"/>
                    <a:pt x="42" y="187"/>
                    <a:pt x="50" y="178"/>
                  </a:cubicBezTo>
                  <a:cubicBezTo>
                    <a:pt x="56" y="183"/>
                    <a:pt x="56" y="183"/>
                    <a:pt x="56" y="183"/>
                  </a:cubicBezTo>
                  <a:cubicBezTo>
                    <a:pt x="48" y="192"/>
                    <a:pt x="41" y="202"/>
                    <a:pt x="35" y="211"/>
                  </a:cubicBezTo>
                  <a:close/>
                  <a:moveTo>
                    <a:pt x="79" y="156"/>
                  </a:moveTo>
                  <a:cubicBezTo>
                    <a:pt x="73" y="151"/>
                    <a:pt x="73" y="151"/>
                    <a:pt x="73" y="151"/>
                  </a:cubicBezTo>
                  <a:cubicBezTo>
                    <a:pt x="81" y="142"/>
                    <a:pt x="90" y="134"/>
                    <a:pt x="99" y="126"/>
                  </a:cubicBezTo>
                  <a:cubicBezTo>
                    <a:pt x="104" y="132"/>
                    <a:pt x="104" y="132"/>
                    <a:pt x="104" y="132"/>
                  </a:cubicBezTo>
                  <a:cubicBezTo>
                    <a:pt x="95" y="140"/>
                    <a:pt x="87" y="148"/>
                    <a:pt x="79" y="156"/>
                  </a:cubicBezTo>
                  <a:close/>
                  <a:moveTo>
                    <a:pt x="131" y="109"/>
                  </a:moveTo>
                  <a:cubicBezTo>
                    <a:pt x="126" y="103"/>
                    <a:pt x="126" y="103"/>
                    <a:pt x="126" y="103"/>
                  </a:cubicBezTo>
                  <a:cubicBezTo>
                    <a:pt x="135" y="96"/>
                    <a:pt x="145" y="89"/>
                    <a:pt x="155" y="82"/>
                  </a:cubicBezTo>
                  <a:cubicBezTo>
                    <a:pt x="159" y="89"/>
                    <a:pt x="159" y="89"/>
                    <a:pt x="159" y="89"/>
                  </a:cubicBezTo>
                  <a:cubicBezTo>
                    <a:pt x="150" y="95"/>
                    <a:pt x="140" y="102"/>
                    <a:pt x="131" y="109"/>
                  </a:cubicBezTo>
                  <a:close/>
                  <a:moveTo>
                    <a:pt x="189" y="70"/>
                  </a:moveTo>
                  <a:cubicBezTo>
                    <a:pt x="185" y="63"/>
                    <a:pt x="185" y="63"/>
                    <a:pt x="185" y="63"/>
                  </a:cubicBezTo>
                  <a:cubicBezTo>
                    <a:pt x="195" y="57"/>
                    <a:pt x="206" y="52"/>
                    <a:pt x="217" y="47"/>
                  </a:cubicBezTo>
                  <a:cubicBezTo>
                    <a:pt x="220" y="54"/>
                    <a:pt x="220" y="54"/>
                    <a:pt x="220" y="54"/>
                  </a:cubicBezTo>
                  <a:cubicBezTo>
                    <a:pt x="210" y="59"/>
                    <a:pt x="199" y="64"/>
                    <a:pt x="189" y="70"/>
                  </a:cubicBezTo>
                  <a:close/>
                  <a:moveTo>
                    <a:pt x="252" y="39"/>
                  </a:moveTo>
                  <a:cubicBezTo>
                    <a:pt x="249" y="32"/>
                    <a:pt x="249" y="32"/>
                    <a:pt x="249" y="32"/>
                  </a:cubicBezTo>
                  <a:cubicBezTo>
                    <a:pt x="260" y="27"/>
                    <a:pt x="271" y="23"/>
                    <a:pt x="282" y="19"/>
                  </a:cubicBezTo>
                  <a:cubicBezTo>
                    <a:pt x="285" y="27"/>
                    <a:pt x="285" y="27"/>
                    <a:pt x="285" y="27"/>
                  </a:cubicBezTo>
                  <a:cubicBezTo>
                    <a:pt x="274" y="31"/>
                    <a:pt x="263" y="35"/>
                    <a:pt x="252" y="39"/>
                  </a:cubicBezTo>
                  <a:close/>
                  <a:moveTo>
                    <a:pt x="319" y="16"/>
                  </a:moveTo>
                  <a:cubicBezTo>
                    <a:pt x="316" y="8"/>
                    <a:pt x="316" y="8"/>
                    <a:pt x="316" y="8"/>
                  </a:cubicBezTo>
                  <a:cubicBezTo>
                    <a:pt x="328" y="5"/>
                    <a:pt x="339" y="2"/>
                    <a:pt x="351" y="0"/>
                  </a:cubicBezTo>
                  <a:cubicBezTo>
                    <a:pt x="353" y="7"/>
                    <a:pt x="353" y="7"/>
                    <a:pt x="353" y="7"/>
                  </a:cubicBezTo>
                  <a:cubicBezTo>
                    <a:pt x="341" y="10"/>
                    <a:pt x="330" y="13"/>
                    <a:pt x="31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ED0674F9-3003-4860-AA7A-12C32DA291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56388" y="1419225"/>
              <a:ext cx="1306513" cy="1001713"/>
            </a:xfrm>
            <a:custGeom>
              <a:avLst/>
              <a:gdLst>
                <a:gd name="T0" fmla="*/ 8 w 608"/>
                <a:gd name="T1" fmla="*/ 466 h 466"/>
                <a:gd name="T2" fmla="*/ 0 w 608"/>
                <a:gd name="T3" fmla="*/ 462 h 466"/>
                <a:gd name="T4" fmla="*/ 1 w 608"/>
                <a:gd name="T5" fmla="*/ 462 h 466"/>
                <a:gd name="T6" fmla="*/ 8 w 608"/>
                <a:gd name="T7" fmla="*/ 465 h 466"/>
                <a:gd name="T8" fmla="*/ 8 w 608"/>
                <a:gd name="T9" fmla="*/ 466 h 466"/>
                <a:gd name="T10" fmla="*/ 23 w 608"/>
                <a:gd name="T11" fmla="*/ 434 h 466"/>
                <a:gd name="T12" fmla="*/ 16 w 608"/>
                <a:gd name="T13" fmla="*/ 430 h 466"/>
                <a:gd name="T14" fmla="*/ 34 w 608"/>
                <a:gd name="T15" fmla="*/ 399 h 466"/>
                <a:gd name="T16" fmla="*/ 41 w 608"/>
                <a:gd name="T17" fmla="*/ 403 h 466"/>
                <a:gd name="T18" fmla="*/ 23 w 608"/>
                <a:gd name="T19" fmla="*/ 434 h 466"/>
                <a:gd name="T20" fmla="*/ 60 w 608"/>
                <a:gd name="T21" fmla="*/ 373 h 466"/>
                <a:gd name="T22" fmla="*/ 53 w 608"/>
                <a:gd name="T23" fmla="*/ 369 h 466"/>
                <a:gd name="T24" fmla="*/ 74 w 608"/>
                <a:gd name="T25" fmla="*/ 340 h 466"/>
                <a:gd name="T26" fmla="*/ 80 w 608"/>
                <a:gd name="T27" fmla="*/ 345 h 466"/>
                <a:gd name="T28" fmla="*/ 60 w 608"/>
                <a:gd name="T29" fmla="*/ 373 h 466"/>
                <a:gd name="T30" fmla="*/ 102 w 608"/>
                <a:gd name="T31" fmla="*/ 317 h 466"/>
                <a:gd name="T32" fmla="*/ 96 w 608"/>
                <a:gd name="T33" fmla="*/ 312 h 466"/>
                <a:gd name="T34" fmla="*/ 120 w 608"/>
                <a:gd name="T35" fmla="*/ 286 h 466"/>
                <a:gd name="T36" fmla="*/ 126 w 608"/>
                <a:gd name="T37" fmla="*/ 291 h 466"/>
                <a:gd name="T38" fmla="*/ 102 w 608"/>
                <a:gd name="T39" fmla="*/ 317 h 466"/>
                <a:gd name="T40" fmla="*/ 151 w 608"/>
                <a:gd name="T41" fmla="*/ 266 h 466"/>
                <a:gd name="T42" fmla="*/ 145 w 608"/>
                <a:gd name="T43" fmla="*/ 260 h 466"/>
                <a:gd name="T44" fmla="*/ 171 w 608"/>
                <a:gd name="T45" fmla="*/ 236 h 466"/>
                <a:gd name="T46" fmla="*/ 176 w 608"/>
                <a:gd name="T47" fmla="*/ 242 h 466"/>
                <a:gd name="T48" fmla="*/ 151 w 608"/>
                <a:gd name="T49" fmla="*/ 266 h 466"/>
                <a:gd name="T50" fmla="*/ 203 w 608"/>
                <a:gd name="T51" fmla="*/ 219 h 466"/>
                <a:gd name="T52" fmla="*/ 198 w 608"/>
                <a:gd name="T53" fmla="*/ 213 h 466"/>
                <a:gd name="T54" fmla="*/ 226 w 608"/>
                <a:gd name="T55" fmla="*/ 191 h 466"/>
                <a:gd name="T56" fmla="*/ 231 w 608"/>
                <a:gd name="T57" fmla="*/ 197 h 466"/>
                <a:gd name="T58" fmla="*/ 203 w 608"/>
                <a:gd name="T59" fmla="*/ 219 h 466"/>
                <a:gd name="T60" fmla="*/ 259 w 608"/>
                <a:gd name="T61" fmla="*/ 176 h 466"/>
                <a:gd name="T62" fmla="*/ 255 w 608"/>
                <a:gd name="T63" fmla="*/ 169 h 466"/>
                <a:gd name="T64" fmla="*/ 284 w 608"/>
                <a:gd name="T65" fmla="*/ 149 h 466"/>
                <a:gd name="T66" fmla="*/ 288 w 608"/>
                <a:gd name="T67" fmla="*/ 156 h 466"/>
                <a:gd name="T68" fmla="*/ 259 w 608"/>
                <a:gd name="T69" fmla="*/ 176 h 466"/>
                <a:gd name="T70" fmla="*/ 318 w 608"/>
                <a:gd name="T71" fmla="*/ 137 h 466"/>
                <a:gd name="T72" fmla="*/ 314 w 608"/>
                <a:gd name="T73" fmla="*/ 130 h 466"/>
                <a:gd name="T74" fmla="*/ 345 w 608"/>
                <a:gd name="T75" fmla="*/ 112 h 466"/>
                <a:gd name="T76" fmla="*/ 349 w 608"/>
                <a:gd name="T77" fmla="*/ 119 h 466"/>
                <a:gd name="T78" fmla="*/ 318 w 608"/>
                <a:gd name="T79" fmla="*/ 137 h 466"/>
                <a:gd name="T80" fmla="*/ 379 w 608"/>
                <a:gd name="T81" fmla="*/ 102 h 466"/>
                <a:gd name="T82" fmla="*/ 376 w 608"/>
                <a:gd name="T83" fmla="*/ 95 h 466"/>
                <a:gd name="T84" fmla="*/ 407 w 608"/>
                <a:gd name="T85" fmla="*/ 79 h 466"/>
                <a:gd name="T86" fmla="*/ 411 w 608"/>
                <a:gd name="T87" fmla="*/ 86 h 466"/>
                <a:gd name="T88" fmla="*/ 379 w 608"/>
                <a:gd name="T89" fmla="*/ 102 h 466"/>
                <a:gd name="T90" fmla="*/ 443 w 608"/>
                <a:gd name="T91" fmla="*/ 71 h 466"/>
                <a:gd name="T92" fmla="*/ 439 w 608"/>
                <a:gd name="T93" fmla="*/ 63 h 466"/>
                <a:gd name="T94" fmla="*/ 472 w 608"/>
                <a:gd name="T95" fmla="*/ 49 h 466"/>
                <a:gd name="T96" fmla="*/ 475 w 608"/>
                <a:gd name="T97" fmla="*/ 56 h 466"/>
                <a:gd name="T98" fmla="*/ 443 w 608"/>
                <a:gd name="T99" fmla="*/ 71 h 466"/>
                <a:gd name="T100" fmla="*/ 508 w 608"/>
                <a:gd name="T101" fmla="*/ 43 h 466"/>
                <a:gd name="T102" fmla="*/ 505 w 608"/>
                <a:gd name="T103" fmla="*/ 35 h 466"/>
                <a:gd name="T104" fmla="*/ 538 w 608"/>
                <a:gd name="T105" fmla="*/ 22 h 466"/>
                <a:gd name="T106" fmla="*/ 541 w 608"/>
                <a:gd name="T107" fmla="*/ 30 h 466"/>
                <a:gd name="T108" fmla="*/ 508 w 608"/>
                <a:gd name="T109" fmla="*/ 43 h 466"/>
                <a:gd name="T110" fmla="*/ 574 w 608"/>
                <a:gd name="T111" fmla="*/ 18 h 466"/>
                <a:gd name="T112" fmla="*/ 572 w 608"/>
                <a:gd name="T113" fmla="*/ 11 h 466"/>
                <a:gd name="T114" fmla="*/ 606 w 608"/>
                <a:gd name="T115" fmla="*/ 0 h 466"/>
                <a:gd name="T116" fmla="*/ 608 w 608"/>
                <a:gd name="T117" fmla="*/ 8 h 466"/>
                <a:gd name="T118" fmla="*/ 574 w 608"/>
                <a:gd name="T119" fmla="*/ 18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08" h="466">
                  <a:moveTo>
                    <a:pt x="8" y="466"/>
                  </a:moveTo>
                  <a:cubicBezTo>
                    <a:pt x="0" y="462"/>
                    <a:pt x="0" y="462"/>
                    <a:pt x="0" y="462"/>
                  </a:cubicBezTo>
                  <a:cubicBezTo>
                    <a:pt x="1" y="462"/>
                    <a:pt x="1" y="462"/>
                    <a:pt x="1" y="462"/>
                  </a:cubicBezTo>
                  <a:cubicBezTo>
                    <a:pt x="8" y="465"/>
                    <a:pt x="8" y="465"/>
                    <a:pt x="8" y="465"/>
                  </a:cubicBezTo>
                  <a:lnTo>
                    <a:pt x="8" y="466"/>
                  </a:lnTo>
                  <a:close/>
                  <a:moveTo>
                    <a:pt x="23" y="434"/>
                  </a:moveTo>
                  <a:cubicBezTo>
                    <a:pt x="16" y="430"/>
                    <a:pt x="16" y="430"/>
                    <a:pt x="16" y="430"/>
                  </a:cubicBezTo>
                  <a:cubicBezTo>
                    <a:pt x="22" y="419"/>
                    <a:pt x="28" y="409"/>
                    <a:pt x="34" y="399"/>
                  </a:cubicBezTo>
                  <a:cubicBezTo>
                    <a:pt x="41" y="403"/>
                    <a:pt x="41" y="403"/>
                    <a:pt x="41" y="403"/>
                  </a:cubicBezTo>
                  <a:cubicBezTo>
                    <a:pt x="35" y="413"/>
                    <a:pt x="29" y="423"/>
                    <a:pt x="23" y="434"/>
                  </a:cubicBezTo>
                  <a:close/>
                  <a:moveTo>
                    <a:pt x="60" y="373"/>
                  </a:moveTo>
                  <a:cubicBezTo>
                    <a:pt x="53" y="369"/>
                    <a:pt x="53" y="369"/>
                    <a:pt x="53" y="369"/>
                  </a:cubicBezTo>
                  <a:cubicBezTo>
                    <a:pt x="60" y="359"/>
                    <a:pt x="67" y="349"/>
                    <a:pt x="74" y="340"/>
                  </a:cubicBezTo>
                  <a:cubicBezTo>
                    <a:pt x="80" y="345"/>
                    <a:pt x="80" y="345"/>
                    <a:pt x="80" y="345"/>
                  </a:cubicBezTo>
                  <a:cubicBezTo>
                    <a:pt x="73" y="354"/>
                    <a:pt x="66" y="364"/>
                    <a:pt x="60" y="373"/>
                  </a:cubicBezTo>
                  <a:close/>
                  <a:moveTo>
                    <a:pt x="102" y="317"/>
                  </a:moveTo>
                  <a:cubicBezTo>
                    <a:pt x="96" y="312"/>
                    <a:pt x="96" y="312"/>
                    <a:pt x="96" y="312"/>
                  </a:cubicBezTo>
                  <a:cubicBezTo>
                    <a:pt x="104" y="303"/>
                    <a:pt x="112" y="294"/>
                    <a:pt x="120" y="286"/>
                  </a:cubicBezTo>
                  <a:cubicBezTo>
                    <a:pt x="126" y="291"/>
                    <a:pt x="126" y="291"/>
                    <a:pt x="126" y="291"/>
                  </a:cubicBezTo>
                  <a:cubicBezTo>
                    <a:pt x="118" y="300"/>
                    <a:pt x="110" y="309"/>
                    <a:pt x="102" y="317"/>
                  </a:cubicBezTo>
                  <a:close/>
                  <a:moveTo>
                    <a:pt x="151" y="266"/>
                  </a:moveTo>
                  <a:cubicBezTo>
                    <a:pt x="145" y="260"/>
                    <a:pt x="145" y="260"/>
                    <a:pt x="145" y="260"/>
                  </a:cubicBezTo>
                  <a:cubicBezTo>
                    <a:pt x="153" y="252"/>
                    <a:pt x="162" y="244"/>
                    <a:pt x="171" y="236"/>
                  </a:cubicBezTo>
                  <a:cubicBezTo>
                    <a:pt x="176" y="242"/>
                    <a:pt x="176" y="242"/>
                    <a:pt x="176" y="242"/>
                  </a:cubicBezTo>
                  <a:cubicBezTo>
                    <a:pt x="167" y="250"/>
                    <a:pt x="159" y="258"/>
                    <a:pt x="151" y="266"/>
                  </a:cubicBezTo>
                  <a:close/>
                  <a:moveTo>
                    <a:pt x="203" y="219"/>
                  </a:moveTo>
                  <a:cubicBezTo>
                    <a:pt x="198" y="213"/>
                    <a:pt x="198" y="213"/>
                    <a:pt x="198" y="213"/>
                  </a:cubicBezTo>
                  <a:cubicBezTo>
                    <a:pt x="207" y="205"/>
                    <a:pt x="216" y="198"/>
                    <a:pt x="226" y="191"/>
                  </a:cubicBezTo>
                  <a:cubicBezTo>
                    <a:pt x="231" y="197"/>
                    <a:pt x="231" y="197"/>
                    <a:pt x="231" y="197"/>
                  </a:cubicBezTo>
                  <a:cubicBezTo>
                    <a:pt x="221" y="204"/>
                    <a:pt x="212" y="211"/>
                    <a:pt x="203" y="219"/>
                  </a:cubicBezTo>
                  <a:close/>
                  <a:moveTo>
                    <a:pt x="259" y="176"/>
                  </a:moveTo>
                  <a:cubicBezTo>
                    <a:pt x="255" y="169"/>
                    <a:pt x="255" y="169"/>
                    <a:pt x="255" y="169"/>
                  </a:cubicBezTo>
                  <a:cubicBezTo>
                    <a:pt x="264" y="163"/>
                    <a:pt x="274" y="156"/>
                    <a:pt x="284" y="149"/>
                  </a:cubicBezTo>
                  <a:cubicBezTo>
                    <a:pt x="288" y="156"/>
                    <a:pt x="288" y="156"/>
                    <a:pt x="288" y="156"/>
                  </a:cubicBezTo>
                  <a:cubicBezTo>
                    <a:pt x="278" y="163"/>
                    <a:pt x="269" y="169"/>
                    <a:pt x="259" y="176"/>
                  </a:cubicBezTo>
                  <a:close/>
                  <a:moveTo>
                    <a:pt x="318" y="137"/>
                  </a:moveTo>
                  <a:cubicBezTo>
                    <a:pt x="314" y="130"/>
                    <a:pt x="314" y="130"/>
                    <a:pt x="314" y="130"/>
                  </a:cubicBezTo>
                  <a:cubicBezTo>
                    <a:pt x="324" y="124"/>
                    <a:pt x="334" y="118"/>
                    <a:pt x="345" y="112"/>
                  </a:cubicBezTo>
                  <a:cubicBezTo>
                    <a:pt x="349" y="119"/>
                    <a:pt x="349" y="119"/>
                    <a:pt x="349" y="119"/>
                  </a:cubicBezTo>
                  <a:cubicBezTo>
                    <a:pt x="338" y="125"/>
                    <a:pt x="328" y="131"/>
                    <a:pt x="318" y="137"/>
                  </a:cubicBezTo>
                  <a:close/>
                  <a:moveTo>
                    <a:pt x="379" y="102"/>
                  </a:moveTo>
                  <a:cubicBezTo>
                    <a:pt x="376" y="95"/>
                    <a:pt x="376" y="95"/>
                    <a:pt x="376" y="95"/>
                  </a:cubicBezTo>
                  <a:cubicBezTo>
                    <a:pt x="386" y="89"/>
                    <a:pt x="397" y="84"/>
                    <a:pt x="407" y="79"/>
                  </a:cubicBezTo>
                  <a:cubicBezTo>
                    <a:pt x="411" y="86"/>
                    <a:pt x="411" y="86"/>
                    <a:pt x="411" y="86"/>
                  </a:cubicBezTo>
                  <a:cubicBezTo>
                    <a:pt x="400" y="91"/>
                    <a:pt x="390" y="97"/>
                    <a:pt x="379" y="102"/>
                  </a:cubicBezTo>
                  <a:close/>
                  <a:moveTo>
                    <a:pt x="443" y="71"/>
                  </a:moveTo>
                  <a:cubicBezTo>
                    <a:pt x="439" y="63"/>
                    <a:pt x="439" y="63"/>
                    <a:pt x="439" y="63"/>
                  </a:cubicBezTo>
                  <a:cubicBezTo>
                    <a:pt x="450" y="58"/>
                    <a:pt x="461" y="53"/>
                    <a:pt x="472" y="49"/>
                  </a:cubicBezTo>
                  <a:cubicBezTo>
                    <a:pt x="475" y="56"/>
                    <a:pt x="475" y="56"/>
                    <a:pt x="475" y="56"/>
                  </a:cubicBezTo>
                  <a:cubicBezTo>
                    <a:pt x="464" y="61"/>
                    <a:pt x="453" y="66"/>
                    <a:pt x="443" y="71"/>
                  </a:cubicBezTo>
                  <a:close/>
                  <a:moveTo>
                    <a:pt x="508" y="43"/>
                  </a:moveTo>
                  <a:cubicBezTo>
                    <a:pt x="505" y="35"/>
                    <a:pt x="505" y="35"/>
                    <a:pt x="505" y="35"/>
                  </a:cubicBezTo>
                  <a:cubicBezTo>
                    <a:pt x="516" y="31"/>
                    <a:pt x="527" y="26"/>
                    <a:pt x="538" y="22"/>
                  </a:cubicBezTo>
                  <a:cubicBezTo>
                    <a:pt x="541" y="30"/>
                    <a:pt x="541" y="30"/>
                    <a:pt x="541" y="30"/>
                  </a:cubicBezTo>
                  <a:cubicBezTo>
                    <a:pt x="530" y="34"/>
                    <a:pt x="519" y="38"/>
                    <a:pt x="508" y="43"/>
                  </a:cubicBezTo>
                  <a:close/>
                  <a:moveTo>
                    <a:pt x="574" y="18"/>
                  </a:moveTo>
                  <a:cubicBezTo>
                    <a:pt x="572" y="11"/>
                    <a:pt x="572" y="11"/>
                    <a:pt x="572" y="11"/>
                  </a:cubicBezTo>
                  <a:cubicBezTo>
                    <a:pt x="593" y="4"/>
                    <a:pt x="606" y="0"/>
                    <a:pt x="606" y="0"/>
                  </a:cubicBezTo>
                  <a:cubicBezTo>
                    <a:pt x="608" y="8"/>
                    <a:pt x="608" y="8"/>
                    <a:pt x="608" y="8"/>
                  </a:cubicBezTo>
                  <a:cubicBezTo>
                    <a:pt x="608" y="8"/>
                    <a:pt x="595" y="11"/>
                    <a:pt x="57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127913D4-4A7B-440A-B9BE-9407DDA6FA9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561013" y="2455862"/>
              <a:ext cx="762000" cy="939800"/>
            </a:xfrm>
            <a:custGeom>
              <a:avLst/>
              <a:gdLst>
                <a:gd name="T0" fmla="*/ 1 w 354"/>
                <a:gd name="T1" fmla="*/ 437 h 437"/>
                <a:gd name="T2" fmla="*/ 0 w 354"/>
                <a:gd name="T3" fmla="*/ 423 h 437"/>
                <a:gd name="T4" fmla="*/ 0 w 354"/>
                <a:gd name="T5" fmla="*/ 416 h 437"/>
                <a:gd name="T6" fmla="*/ 8 w 354"/>
                <a:gd name="T7" fmla="*/ 416 h 437"/>
                <a:gd name="T8" fmla="*/ 8 w 354"/>
                <a:gd name="T9" fmla="*/ 423 h 437"/>
                <a:gd name="T10" fmla="*/ 9 w 354"/>
                <a:gd name="T11" fmla="*/ 436 h 437"/>
                <a:gd name="T12" fmla="*/ 1 w 354"/>
                <a:gd name="T13" fmla="*/ 437 h 437"/>
                <a:gd name="T14" fmla="*/ 11 w 354"/>
                <a:gd name="T15" fmla="*/ 381 h 437"/>
                <a:gd name="T16" fmla="*/ 3 w 354"/>
                <a:gd name="T17" fmla="*/ 380 h 437"/>
                <a:gd name="T18" fmla="*/ 10 w 354"/>
                <a:gd name="T19" fmla="*/ 345 h 437"/>
                <a:gd name="T20" fmla="*/ 18 w 354"/>
                <a:gd name="T21" fmla="*/ 347 h 437"/>
                <a:gd name="T22" fmla="*/ 11 w 354"/>
                <a:gd name="T23" fmla="*/ 381 h 437"/>
                <a:gd name="T24" fmla="*/ 28 w 354"/>
                <a:gd name="T25" fmla="*/ 313 h 437"/>
                <a:gd name="T26" fmla="*/ 21 w 354"/>
                <a:gd name="T27" fmla="*/ 311 h 437"/>
                <a:gd name="T28" fmla="*/ 35 w 354"/>
                <a:gd name="T29" fmla="*/ 278 h 437"/>
                <a:gd name="T30" fmla="*/ 42 w 354"/>
                <a:gd name="T31" fmla="*/ 281 h 437"/>
                <a:gd name="T32" fmla="*/ 28 w 354"/>
                <a:gd name="T33" fmla="*/ 313 h 437"/>
                <a:gd name="T34" fmla="*/ 59 w 354"/>
                <a:gd name="T35" fmla="*/ 250 h 437"/>
                <a:gd name="T36" fmla="*/ 52 w 354"/>
                <a:gd name="T37" fmla="*/ 246 h 437"/>
                <a:gd name="T38" fmla="*/ 72 w 354"/>
                <a:gd name="T39" fmla="*/ 217 h 437"/>
                <a:gd name="T40" fmla="*/ 78 w 354"/>
                <a:gd name="T41" fmla="*/ 221 h 437"/>
                <a:gd name="T42" fmla="*/ 59 w 354"/>
                <a:gd name="T43" fmla="*/ 250 h 437"/>
                <a:gd name="T44" fmla="*/ 100 w 354"/>
                <a:gd name="T45" fmla="*/ 193 h 437"/>
                <a:gd name="T46" fmla="*/ 93 w 354"/>
                <a:gd name="T47" fmla="*/ 188 h 437"/>
                <a:gd name="T48" fmla="*/ 117 w 354"/>
                <a:gd name="T49" fmla="*/ 162 h 437"/>
                <a:gd name="T50" fmla="*/ 123 w 354"/>
                <a:gd name="T51" fmla="*/ 167 h 437"/>
                <a:gd name="T52" fmla="*/ 100 w 354"/>
                <a:gd name="T53" fmla="*/ 193 h 437"/>
                <a:gd name="T54" fmla="*/ 148 w 354"/>
                <a:gd name="T55" fmla="*/ 143 h 437"/>
                <a:gd name="T56" fmla="*/ 143 w 354"/>
                <a:gd name="T57" fmla="*/ 137 h 437"/>
                <a:gd name="T58" fmla="*/ 170 w 354"/>
                <a:gd name="T59" fmla="*/ 113 h 437"/>
                <a:gd name="T60" fmla="*/ 175 w 354"/>
                <a:gd name="T61" fmla="*/ 119 h 437"/>
                <a:gd name="T62" fmla="*/ 148 w 354"/>
                <a:gd name="T63" fmla="*/ 143 h 437"/>
                <a:gd name="T64" fmla="*/ 202 w 354"/>
                <a:gd name="T65" fmla="*/ 97 h 437"/>
                <a:gd name="T66" fmla="*/ 198 w 354"/>
                <a:gd name="T67" fmla="*/ 91 h 437"/>
                <a:gd name="T68" fmla="*/ 227 w 354"/>
                <a:gd name="T69" fmla="*/ 70 h 437"/>
                <a:gd name="T70" fmla="*/ 231 w 354"/>
                <a:gd name="T71" fmla="*/ 77 h 437"/>
                <a:gd name="T72" fmla="*/ 202 w 354"/>
                <a:gd name="T73" fmla="*/ 97 h 437"/>
                <a:gd name="T74" fmla="*/ 261 w 354"/>
                <a:gd name="T75" fmla="*/ 58 h 437"/>
                <a:gd name="T76" fmla="*/ 256 w 354"/>
                <a:gd name="T77" fmla="*/ 51 h 437"/>
                <a:gd name="T78" fmla="*/ 287 w 354"/>
                <a:gd name="T79" fmla="*/ 32 h 437"/>
                <a:gd name="T80" fmla="*/ 291 w 354"/>
                <a:gd name="T81" fmla="*/ 39 h 437"/>
                <a:gd name="T82" fmla="*/ 261 w 354"/>
                <a:gd name="T83" fmla="*/ 58 h 437"/>
                <a:gd name="T84" fmla="*/ 322 w 354"/>
                <a:gd name="T85" fmla="*/ 23 h 437"/>
                <a:gd name="T86" fmla="*/ 318 w 354"/>
                <a:gd name="T87" fmla="*/ 15 h 437"/>
                <a:gd name="T88" fmla="*/ 351 w 354"/>
                <a:gd name="T89" fmla="*/ 0 h 437"/>
                <a:gd name="T90" fmla="*/ 354 w 354"/>
                <a:gd name="T91" fmla="*/ 7 h 437"/>
                <a:gd name="T92" fmla="*/ 322 w 354"/>
                <a:gd name="T93" fmla="*/ 2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4" h="437">
                  <a:moveTo>
                    <a:pt x="1" y="437"/>
                  </a:moveTo>
                  <a:cubicBezTo>
                    <a:pt x="0" y="432"/>
                    <a:pt x="0" y="428"/>
                    <a:pt x="0" y="423"/>
                  </a:cubicBezTo>
                  <a:cubicBezTo>
                    <a:pt x="0" y="421"/>
                    <a:pt x="0" y="418"/>
                    <a:pt x="0" y="416"/>
                  </a:cubicBezTo>
                  <a:cubicBezTo>
                    <a:pt x="8" y="416"/>
                    <a:pt x="8" y="416"/>
                    <a:pt x="8" y="416"/>
                  </a:cubicBezTo>
                  <a:cubicBezTo>
                    <a:pt x="8" y="418"/>
                    <a:pt x="8" y="421"/>
                    <a:pt x="8" y="423"/>
                  </a:cubicBezTo>
                  <a:cubicBezTo>
                    <a:pt x="8" y="428"/>
                    <a:pt x="8" y="432"/>
                    <a:pt x="9" y="436"/>
                  </a:cubicBezTo>
                  <a:lnTo>
                    <a:pt x="1" y="437"/>
                  </a:lnTo>
                  <a:close/>
                  <a:moveTo>
                    <a:pt x="11" y="381"/>
                  </a:moveTo>
                  <a:cubicBezTo>
                    <a:pt x="3" y="380"/>
                    <a:pt x="3" y="380"/>
                    <a:pt x="3" y="380"/>
                  </a:cubicBezTo>
                  <a:cubicBezTo>
                    <a:pt x="5" y="368"/>
                    <a:pt x="7" y="356"/>
                    <a:pt x="10" y="345"/>
                  </a:cubicBezTo>
                  <a:cubicBezTo>
                    <a:pt x="18" y="347"/>
                    <a:pt x="18" y="347"/>
                    <a:pt x="18" y="347"/>
                  </a:cubicBezTo>
                  <a:cubicBezTo>
                    <a:pt x="15" y="358"/>
                    <a:pt x="13" y="370"/>
                    <a:pt x="11" y="381"/>
                  </a:cubicBezTo>
                  <a:close/>
                  <a:moveTo>
                    <a:pt x="28" y="313"/>
                  </a:moveTo>
                  <a:cubicBezTo>
                    <a:pt x="21" y="311"/>
                    <a:pt x="21" y="311"/>
                    <a:pt x="21" y="311"/>
                  </a:cubicBezTo>
                  <a:cubicBezTo>
                    <a:pt x="25" y="300"/>
                    <a:pt x="29" y="289"/>
                    <a:pt x="35" y="278"/>
                  </a:cubicBezTo>
                  <a:cubicBezTo>
                    <a:pt x="42" y="281"/>
                    <a:pt x="42" y="281"/>
                    <a:pt x="42" y="281"/>
                  </a:cubicBezTo>
                  <a:cubicBezTo>
                    <a:pt x="37" y="292"/>
                    <a:pt x="32" y="303"/>
                    <a:pt x="28" y="313"/>
                  </a:cubicBezTo>
                  <a:close/>
                  <a:moveTo>
                    <a:pt x="59" y="250"/>
                  </a:moveTo>
                  <a:cubicBezTo>
                    <a:pt x="52" y="246"/>
                    <a:pt x="52" y="246"/>
                    <a:pt x="52" y="246"/>
                  </a:cubicBezTo>
                  <a:cubicBezTo>
                    <a:pt x="58" y="236"/>
                    <a:pt x="64" y="226"/>
                    <a:pt x="72" y="217"/>
                  </a:cubicBezTo>
                  <a:cubicBezTo>
                    <a:pt x="78" y="221"/>
                    <a:pt x="78" y="221"/>
                    <a:pt x="78" y="221"/>
                  </a:cubicBezTo>
                  <a:cubicBezTo>
                    <a:pt x="71" y="231"/>
                    <a:pt x="65" y="241"/>
                    <a:pt x="59" y="250"/>
                  </a:cubicBezTo>
                  <a:close/>
                  <a:moveTo>
                    <a:pt x="100" y="193"/>
                  </a:moveTo>
                  <a:cubicBezTo>
                    <a:pt x="93" y="188"/>
                    <a:pt x="93" y="188"/>
                    <a:pt x="93" y="188"/>
                  </a:cubicBezTo>
                  <a:cubicBezTo>
                    <a:pt x="101" y="179"/>
                    <a:pt x="109" y="170"/>
                    <a:pt x="117" y="162"/>
                  </a:cubicBezTo>
                  <a:cubicBezTo>
                    <a:pt x="123" y="167"/>
                    <a:pt x="123" y="167"/>
                    <a:pt x="123" y="167"/>
                  </a:cubicBezTo>
                  <a:cubicBezTo>
                    <a:pt x="115" y="176"/>
                    <a:pt x="107" y="185"/>
                    <a:pt x="100" y="193"/>
                  </a:cubicBezTo>
                  <a:close/>
                  <a:moveTo>
                    <a:pt x="148" y="143"/>
                  </a:moveTo>
                  <a:cubicBezTo>
                    <a:pt x="143" y="137"/>
                    <a:pt x="143" y="137"/>
                    <a:pt x="143" y="137"/>
                  </a:cubicBezTo>
                  <a:cubicBezTo>
                    <a:pt x="151" y="129"/>
                    <a:pt x="160" y="121"/>
                    <a:pt x="170" y="113"/>
                  </a:cubicBezTo>
                  <a:cubicBezTo>
                    <a:pt x="175" y="119"/>
                    <a:pt x="175" y="119"/>
                    <a:pt x="175" y="119"/>
                  </a:cubicBezTo>
                  <a:cubicBezTo>
                    <a:pt x="166" y="127"/>
                    <a:pt x="157" y="135"/>
                    <a:pt x="148" y="143"/>
                  </a:cubicBezTo>
                  <a:close/>
                  <a:moveTo>
                    <a:pt x="202" y="97"/>
                  </a:moveTo>
                  <a:cubicBezTo>
                    <a:pt x="198" y="91"/>
                    <a:pt x="198" y="91"/>
                    <a:pt x="198" y="91"/>
                  </a:cubicBezTo>
                  <a:cubicBezTo>
                    <a:pt x="207" y="84"/>
                    <a:pt x="217" y="77"/>
                    <a:pt x="227" y="70"/>
                  </a:cubicBezTo>
                  <a:cubicBezTo>
                    <a:pt x="231" y="77"/>
                    <a:pt x="231" y="77"/>
                    <a:pt x="231" y="77"/>
                  </a:cubicBezTo>
                  <a:cubicBezTo>
                    <a:pt x="221" y="84"/>
                    <a:pt x="212" y="90"/>
                    <a:pt x="202" y="97"/>
                  </a:cubicBezTo>
                  <a:close/>
                  <a:moveTo>
                    <a:pt x="261" y="58"/>
                  </a:moveTo>
                  <a:cubicBezTo>
                    <a:pt x="256" y="51"/>
                    <a:pt x="256" y="51"/>
                    <a:pt x="256" y="51"/>
                  </a:cubicBezTo>
                  <a:cubicBezTo>
                    <a:pt x="266" y="44"/>
                    <a:pt x="277" y="38"/>
                    <a:pt x="287" y="32"/>
                  </a:cubicBezTo>
                  <a:cubicBezTo>
                    <a:pt x="291" y="39"/>
                    <a:pt x="291" y="39"/>
                    <a:pt x="291" y="39"/>
                  </a:cubicBezTo>
                  <a:cubicBezTo>
                    <a:pt x="281" y="45"/>
                    <a:pt x="271" y="51"/>
                    <a:pt x="261" y="58"/>
                  </a:cubicBezTo>
                  <a:close/>
                  <a:moveTo>
                    <a:pt x="322" y="23"/>
                  </a:moveTo>
                  <a:cubicBezTo>
                    <a:pt x="318" y="15"/>
                    <a:pt x="318" y="15"/>
                    <a:pt x="318" y="15"/>
                  </a:cubicBezTo>
                  <a:cubicBezTo>
                    <a:pt x="338" y="5"/>
                    <a:pt x="350" y="0"/>
                    <a:pt x="351" y="0"/>
                  </a:cubicBezTo>
                  <a:cubicBezTo>
                    <a:pt x="354" y="7"/>
                    <a:pt x="354" y="7"/>
                    <a:pt x="354" y="7"/>
                  </a:cubicBezTo>
                  <a:cubicBezTo>
                    <a:pt x="354" y="7"/>
                    <a:pt x="342" y="13"/>
                    <a:pt x="32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383AA2B0-99A3-43F8-9639-A3F9E2FB5D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564188" y="3879850"/>
              <a:ext cx="371475" cy="558800"/>
            </a:xfrm>
            <a:custGeom>
              <a:avLst/>
              <a:gdLst>
                <a:gd name="T0" fmla="*/ 169 w 173"/>
                <a:gd name="T1" fmla="*/ 260 h 260"/>
                <a:gd name="T2" fmla="*/ 139 w 173"/>
                <a:gd name="T3" fmla="*/ 240 h 260"/>
                <a:gd name="T4" fmla="*/ 144 w 173"/>
                <a:gd name="T5" fmla="*/ 234 h 260"/>
                <a:gd name="T6" fmla="*/ 173 w 173"/>
                <a:gd name="T7" fmla="*/ 253 h 260"/>
                <a:gd name="T8" fmla="*/ 169 w 173"/>
                <a:gd name="T9" fmla="*/ 260 h 260"/>
                <a:gd name="T10" fmla="*/ 111 w 173"/>
                <a:gd name="T11" fmla="*/ 218 h 260"/>
                <a:gd name="T12" fmla="*/ 86 w 173"/>
                <a:gd name="T13" fmla="*/ 193 h 260"/>
                <a:gd name="T14" fmla="*/ 92 w 173"/>
                <a:gd name="T15" fmla="*/ 187 h 260"/>
                <a:gd name="T16" fmla="*/ 117 w 173"/>
                <a:gd name="T17" fmla="*/ 212 h 260"/>
                <a:gd name="T18" fmla="*/ 111 w 173"/>
                <a:gd name="T19" fmla="*/ 218 h 260"/>
                <a:gd name="T20" fmla="*/ 63 w 173"/>
                <a:gd name="T21" fmla="*/ 165 h 260"/>
                <a:gd name="T22" fmla="*/ 43 w 173"/>
                <a:gd name="T23" fmla="*/ 136 h 260"/>
                <a:gd name="T24" fmla="*/ 49 w 173"/>
                <a:gd name="T25" fmla="*/ 132 h 260"/>
                <a:gd name="T26" fmla="*/ 69 w 173"/>
                <a:gd name="T27" fmla="*/ 161 h 260"/>
                <a:gd name="T28" fmla="*/ 63 w 173"/>
                <a:gd name="T29" fmla="*/ 165 h 260"/>
                <a:gd name="T30" fmla="*/ 26 w 173"/>
                <a:gd name="T31" fmla="*/ 104 h 260"/>
                <a:gd name="T32" fmla="*/ 13 w 173"/>
                <a:gd name="T33" fmla="*/ 71 h 260"/>
                <a:gd name="T34" fmla="*/ 21 w 173"/>
                <a:gd name="T35" fmla="*/ 68 h 260"/>
                <a:gd name="T36" fmla="*/ 33 w 173"/>
                <a:gd name="T37" fmla="*/ 101 h 260"/>
                <a:gd name="T38" fmla="*/ 26 w 173"/>
                <a:gd name="T39" fmla="*/ 104 h 260"/>
                <a:gd name="T40" fmla="*/ 4 w 173"/>
                <a:gd name="T41" fmla="*/ 36 h 260"/>
                <a:gd name="T42" fmla="*/ 0 w 173"/>
                <a:gd name="T43" fmla="*/ 0 h 260"/>
                <a:gd name="T44" fmla="*/ 8 w 173"/>
                <a:gd name="T45" fmla="*/ 0 h 260"/>
                <a:gd name="T46" fmla="*/ 12 w 173"/>
                <a:gd name="T47" fmla="*/ 34 h 260"/>
                <a:gd name="T48" fmla="*/ 4 w 173"/>
                <a:gd name="T49" fmla="*/ 36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3" h="260">
                  <a:moveTo>
                    <a:pt x="169" y="260"/>
                  </a:moveTo>
                  <a:cubicBezTo>
                    <a:pt x="159" y="254"/>
                    <a:pt x="149" y="247"/>
                    <a:pt x="139" y="240"/>
                  </a:cubicBezTo>
                  <a:cubicBezTo>
                    <a:pt x="144" y="234"/>
                    <a:pt x="144" y="234"/>
                    <a:pt x="144" y="234"/>
                  </a:cubicBezTo>
                  <a:cubicBezTo>
                    <a:pt x="153" y="240"/>
                    <a:pt x="163" y="247"/>
                    <a:pt x="173" y="253"/>
                  </a:cubicBezTo>
                  <a:lnTo>
                    <a:pt x="169" y="260"/>
                  </a:lnTo>
                  <a:close/>
                  <a:moveTo>
                    <a:pt x="111" y="218"/>
                  </a:moveTo>
                  <a:cubicBezTo>
                    <a:pt x="102" y="210"/>
                    <a:pt x="94" y="201"/>
                    <a:pt x="86" y="193"/>
                  </a:cubicBezTo>
                  <a:cubicBezTo>
                    <a:pt x="92" y="187"/>
                    <a:pt x="92" y="187"/>
                    <a:pt x="92" y="187"/>
                  </a:cubicBezTo>
                  <a:cubicBezTo>
                    <a:pt x="99" y="196"/>
                    <a:pt x="108" y="204"/>
                    <a:pt x="117" y="212"/>
                  </a:cubicBezTo>
                  <a:lnTo>
                    <a:pt x="111" y="218"/>
                  </a:lnTo>
                  <a:close/>
                  <a:moveTo>
                    <a:pt x="63" y="165"/>
                  </a:moveTo>
                  <a:cubicBezTo>
                    <a:pt x="55" y="156"/>
                    <a:pt x="49" y="146"/>
                    <a:pt x="43" y="136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5" y="142"/>
                    <a:pt x="62" y="151"/>
                    <a:pt x="69" y="161"/>
                  </a:cubicBezTo>
                  <a:lnTo>
                    <a:pt x="63" y="165"/>
                  </a:lnTo>
                  <a:close/>
                  <a:moveTo>
                    <a:pt x="26" y="104"/>
                  </a:moveTo>
                  <a:cubicBezTo>
                    <a:pt x="21" y="93"/>
                    <a:pt x="17" y="82"/>
                    <a:pt x="13" y="7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4" y="79"/>
                    <a:pt x="28" y="90"/>
                    <a:pt x="33" y="101"/>
                  </a:cubicBezTo>
                  <a:lnTo>
                    <a:pt x="26" y="104"/>
                  </a:lnTo>
                  <a:close/>
                  <a:moveTo>
                    <a:pt x="4" y="36"/>
                  </a:moveTo>
                  <a:cubicBezTo>
                    <a:pt x="0" y="14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13"/>
                    <a:pt x="12" y="34"/>
                  </a:cubicBezTo>
                  <a:lnTo>
                    <a:pt x="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0380DB4A-A77B-4108-8166-1F1A475039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2826" y="2630487"/>
              <a:ext cx="406400" cy="1754188"/>
            </a:xfrm>
            <a:custGeom>
              <a:avLst/>
              <a:gdLst>
                <a:gd name="T0" fmla="*/ 15 w 189"/>
                <a:gd name="T1" fmla="*/ 781 h 816"/>
                <a:gd name="T2" fmla="*/ 29 w 189"/>
                <a:gd name="T3" fmla="*/ 815 h 816"/>
                <a:gd name="T4" fmla="*/ 10 w 189"/>
                <a:gd name="T5" fmla="*/ 746 h 816"/>
                <a:gd name="T6" fmla="*/ 14 w 189"/>
                <a:gd name="T7" fmla="*/ 710 h 816"/>
                <a:gd name="T8" fmla="*/ 10 w 189"/>
                <a:gd name="T9" fmla="*/ 746 h 816"/>
                <a:gd name="T10" fmla="*/ 2 w 189"/>
                <a:gd name="T11" fmla="*/ 640 h 816"/>
                <a:gd name="T12" fmla="*/ 12 w 189"/>
                <a:gd name="T13" fmla="*/ 675 h 816"/>
                <a:gd name="T14" fmla="*/ 0 w 189"/>
                <a:gd name="T15" fmla="*/ 604 h 816"/>
                <a:gd name="T16" fmla="*/ 0 w 189"/>
                <a:gd name="T17" fmla="*/ 569 h 816"/>
                <a:gd name="T18" fmla="*/ 8 w 189"/>
                <a:gd name="T19" fmla="*/ 574 h 816"/>
                <a:gd name="T20" fmla="*/ 0 w 189"/>
                <a:gd name="T21" fmla="*/ 604 h 816"/>
                <a:gd name="T22" fmla="*/ 1 w 189"/>
                <a:gd name="T23" fmla="*/ 533 h 816"/>
                <a:gd name="T24" fmla="*/ 10 w 189"/>
                <a:gd name="T25" fmla="*/ 498 h 816"/>
                <a:gd name="T26" fmla="*/ 13 w 189"/>
                <a:gd name="T27" fmla="*/ 463 h 816"/>
                <a:gd name="T28" fmla="*/ 8 w 189"/>
                <a:gd name="T29" fmla="*/ 427 h 816"/>
                <a:gd name="T30" fmla="*/ 13 w 189"/>
                <a:gd name="T31" fmla="*/ 463 h 816"/>
                <a:gd name="T32" fmla="*/ 13 w 189"/>
                <a:gd name="T33" fmla="*/ 391 h 816"/>
                <a:gd name="T34" fmla="*/ 27 w 189"/>
                <a:gd name="T35" fmla="*/ 358 h 816"/>
                <a:gd name="T36" fmla="*/ 34 w 189"/>
                <a:gd name="T37" fmla="*/ 323 h 816"/>
                <a:gd name="T38" fmla="*/ 34 w 189"/>
                <a:gd name="T39" fmla="*/ 287 h 816"/>
                <a:gd name="T40" fmla="*/ 34 w 189"/>
                <a:gd name="T41" fmla="*/ 323 h 816"/>
                <a:gd name="T42" fmla="*/ 44 w 189"/>
                <a:gd name="T43" fmla="*/ 253 h 816"/>
                <a:gd name="T44" fmla="*/ 63 w 189"/>
                <a:gd name="T45" fmla="*/ 222 h 816"/>
                <a:gd name="T46" fmla="*/ 75 w 189"/>
                <a:gd name="T47" fmla="*/ 189 h 816"/>
                <a:gd name="T48" fmla="*/ 82 w 189"/>
                <a:gd name="T49" fmla="*/ 153 h 816"/>
                <a:gd name="T50" fmla="*/ 75 w 189"/>
                <a:gd name="T51" fmla="*/ 189 h 816"/>
                <a:gd name="T52" fmla="*/ 98 w 189"/>
                <a:gd name="T53" fmla="*/ 121 h 816"/>
                <a:gd name="T54" fmla="*/ 123 w 189"/>
                <a:gd name="T55" fmla="*/ 94 h 816"/>
                <a:gd name="T56" fmla="*/ 142 w 189"/>
                <a:gd name="T57" fmla="*/ 65 h 816"/>
                <a:gd name="T58" fmla="*/ 156 w 189"/>
                <a:gd name="T59" fmla="*/ 32 h 816"/>
                <a:gd name="T60" fmla="*/ 142 w 189"/>
                <a:gd name="T61" fmla="*/ 65 h 816"/>
                <a:gd name="T62" fmla="*/ 179 w 189"/>
                <a:gd name="T63" fmla="*/ 4 h 816"/>
                <a:gd name="T64" fmla="*/ 189 w 189"/>
                <a:gd name="T65" fmla="*/ 6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9" h="816">
                  <a:moveTo>
                    <a:pt x="21" y="816"/>
                  </a:moveTo>
                  <a:cubicBezTo>
                    <a:pt x="21" y="816"/>
                    <a:pt x="18" y="803"/>
                    <a:pt x="15" y="781"/>
                  </a:cubicBezTo>
                  <a:cubicBezTo>
                    <a:pt x="23" y="780"/>
                    <a:pt x="23" y="780"/>
                    <a:pt x="23" y="780"/>
                  </a:cubicBezTo>
                  <a:cubicBezTo>
                    <a:pt x="26" y="802"/>
                    <a:pt x="29" y="815"/>
                    <a:pt x="29" y="815"/>
                  </a:cubicBezTo>
                  <a:lnTo>
                    <a:pt x="21" y="816"/>
                  </a:lnTo>
                  <a:close/>
                  <a:moveTo>
                    <a:pt x="10" y="746"/>
                  </a:moveTo>
                  <a:cubicBezTo>
                    <a:pt x="9" y="734"/>
                    <a:pt x="8" y="722"/>
                    <a:pt x="7" y="710"/>
                  </a:cubicBezTo>
                  <a:cubicBezTo>
                    <a:pt x="14" y="710"/>
                    <a:pt x="14" y="710"/>
                    <a:pt x="14" y="710"/>
                  </a:cubicBezTo>
                  <a:cubicBezTo>
                    <a:pt x="16" y="722"/>
                    <a:pt x="17" y="733"/>
                    <a:pt x="18" y="745"/>
                  </a:cubicBezTo>
                  <a:lnTo>
                    <a:pt x="10" y="746"/>
                  </a:lnTo>
                  <a:close/>
                  <a:moveTo>
                    <a:pt x="4" y="675"/>
                  </a:moveTo>
                  <a:cubicBezTo>
                    <a:pt x="3" y="663"/>
                    <a:pt x="2" y="651"/>
                    <a:pt x="2" y="640"/>
                  </a:cubicBezTo>
                  <a:cubicBezTo>
                    <a:pt x="10" y="639"/>
                    <a:pt x="10" y="639"/>
                    <a:pt x="10" y="639"/>
                  </a:cubicBezTo>
                  <a:cubicBezTo>
                    <a:pt x="10" y="651"/>
                    <a:pt x="11" y="663"/>
                    <a:pt x="12" y="675"/>
                  </a:cubicBezTo>
                  <a:lnTo>
                    <a:pt x="4" y="675"/>
                  </a:lnTo>
                  <a:close/>
                  <a:moveTo>
                    <a:pt x="0" y="604"/>
                  </a:moveTo>
                  <a:cubicBezTo>
                    <a:pt x="0" y="594"/>
                    <a:pt x="0" y="584"/>
                    <a:pt x="0" y="574"/>
                  </a:cubicBezTo>
                  <a:cubicBezTo>
                    <a:pt x="0" y="569"/>
                    <a:pt x="0" y="569"/>
                    <a:pt x="0" y="569"/>
                  </a:cubicBezTo>
                  <a:cubicBezTo>
                    <a:pt x="8" y="569"/>
                    <a:pt x="8" y="569"/>
                    <a:pt x="8" y="569"/>
                  </a:cubicBezTo>
                  <a:cubicBezTo>
                    <a:pt x="8" y="574"/>
                    <a:pt x="8" y="574"/>
                    <a:pt x="8" y="574"/>
                  </a:cubicBezTo>
                  <a:cubicBezTo>
                    <a:pt x="8" y="584"/>
                    <a:pt x="8" y="594"/>
                    <a:pt x="8" y="604"/>
                  </a:cubicBezTo>
                  <a:lnTo>
                    <a:pt x="0" y="604"/>
                  </a:lnTo>
                  <a:close/>
                  <a:moveTo>
                    <a:pt x="9" y="533"/>
                  </a:moveTo>
                  <a:cubicBezTo>
                    <a:pt x="1" y="533"/>
                    <a:pt x="1" y="533"/>
                    <a:pt x="1" y="533"/>
                  </a:cubicBezTo>
                  <a:cubicBezTo>
                    <a:pt x="1" y="521"/>
                    <a:pt x="2" y="509"/>
                    <a:pt x="2" y="498"/>
                  </a:cubicBezTo>
                  <a:cubicBezTo>
                    <a:pt x="10" y="498"/>
                    <a:pt x="10" y="498"/>
                    <a:pt x="10" y="498"/>
                  </a:cubicBezTo>
                  <a:cubicBezTo>
                    <a:pt x="10" y="510"/>
                    <a:pt x="9" y="522"/>
                    <a:pt x="9" y="533"/>
                  </a:cubicBezTo>
                  <a:close/>
                  <a:moveTo>
                    <a:pt x="13" y="463"/>
                  </a:moveTo>
                  <a:cubicBezTo>
                    <a:pt x="5" y="462"/>
                    <a:pt x="5" y="462"/>
                    <a:pt x="5" y="462"/>
                  </a:cubicBezTo>
                  <a:cubicBezTo>
                    <a:pt x="6" y="450"/>
                    <a:pt x="7" y="438"/>
                    <a:pt x="8" y="427"/>
                  </a:cubicBezTo>
                  <a:cubicBezTo>
                    <a:pt x="16" y="428"/>
                    <a:pt x="16" y="428"/>
                    <a:pt x="16" y="428"/>
                  </a:cubicBezTo>
                  <a:cubicBezTo>
                    <a:pt x="15" y="439"/>
                    <a:pt x="14" y="451"/>
                    <a:pt x="13" y="463"/>
                  </a:cubicBezTo>
                  <a:close/>
                  <a:moveTo>
                    <a:pt x="21" y="393"/>
                  </a:moveTo>
                  <a:cubicBezTo>
                    <a:pt x="13" y="391"/>
                    <a:pt x="13" y="391"/>
                    <a:pt x="13" y="391"/>
                  </a:cubicBezTo>
                  <a:cubicBezTo>
                    <a:pt x="15" y="380"/>
                    <a:pt x="17" y="368"/>
                    <a:pt x="19" y="356"/>
                  </a:cubicBezTo>
                  <a:cubicBezTo>
                    <a:pt x="27" y="358"/>
                    <a:pt x="27" y="358"/>
                    <a:pt x="27" y="358"/>
                  </a:cubicBezTo>
                  <a:cubicBezTo>
                    <a:pt x="25" y="369"/>
                    <a:pt x="23" y="381"/>
                    <a:pt x="21" y="393"/>
                  </a:cubicBezTo>
                  <a:close/>
                  <a:moveTo>
                    <a:pt x="34" y="323"/>
                  </a:moveTo>
                  <a:cubicBezTo>
                    <a:pt x="26" y="321"/>
                    <a:pt x="26" y="321"/>
                    <a:pt x="26" y="321"/>
                  </a:cubicBezTo>
                  <a:cubicBezTo>
                    <a:pt x="29" y="310"/>
                    <a:pt x="31" y="298"/>
                    <a:pt x="34" y="287"/>
                  </a:cubicBezTo>
                  <a:cubicBezTo>
                    <a:pt x="42" y="289"/>
                    <a:pt x="42" y="289"/>
                    <a:pt x="42" y="289"/>
                  </a:cubicBezTo>
                  <a:cubicBezTo>
                    <a:pt x="39" y="300"/>
                    <a:pt x="36" y="312"/>
                    <a:pt x="34" y="323"/>
                  </a:cubicBezTo>
                  <a:close/>
                  <a:moveTo>
                    <a:pt x="52" y="255"/>
                  </a:moveTo>
                  <a:cubicBezTo>
                    <a:pt x="44" y="253"/>
                    <a:pt x="44" y="253"/>
                    <a:pt x="44" y="253"/>
                  </a:cubicBezTo>
                  <a:cubicBezTo>
                    <a:pt x="48" y="241"/>
                    <a:pt x="51" y="230"/>
                    <a:pt x="55" y="219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59" y="232"/>
                    <a:pt x="55" y="244"/>
                    <a:pt x="52" y="255"/>
                  </a:cubicBezTo>
                  <a:close/>
                  <a:moveTo>
                    <a:pt x="75" y="189"/>
                  </a:moveTo>
                  <a:cubicBezTo>
                    <a:pt x="68" y="186"/>
                    <a:pt x="68" y="186"/>
                    <a:pt x="68" y="186"/>
                  </a:cubicBezTo>
                  <a:cubicBezTo>
                    <a:pt x="72" y="175"/>
                    <a:pt x="77" y="164"/>
                    <a:pt x="82" y="153"/>
                  </a:cubicBezTo>
                  <a:cubicBezTo>
                    <a:pt x="89" y="156"/>
                    <a:pt x="89" y="156"/>
                    <a:pt x="89" y="156"/>
                  </a:cubicBezTo>
                  <a:cubicBezTo>
                    <a:pt x="85" y="167"/>
                    <a:pt x="80" y="178"/>
                    <a:pt x="75" y="189"/>
                  </a:cubicBezTo>
                  <a:close/>
                  <a:moveTo>
                    <a:pt x="105" y="125"/>
                  </a:moveTo>
                  <a:cubicBezTo>
                    <a:pt x="98" y="121"/>
                    <a:pt x="98" y="121"/>
                    <a:pt x="98" y="121"/>
                  </a:cubicBezTo>
                  <a:cubicBezTo>
                    <a:pt x="104" y="111"/>
                    <a:pt x="110" y="100"/>
                    <a:pt x="116" y="90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17" y="104"/>
                    <a:pt x="111" y="115"/>
                    <a:pt x="105" y="125"/>
                  </a:cubicBezTo>
                  <a:close/>
                  <a:moveTo>
                    <a:pt x="142" y="65"/>
                  </a:moveTo>
                  <a:cubicBezTo>
                    <a:pt x="135" y="60"/>
                    <a:pt x="135" y="60"/>
                    <a:pt x="135" y="60"/>
                  </a:cubicBezTo>
                  <a:cubicBezTo>
                    <a:pt x="142" y="51"/>
                    <a:pt x="149" y="41"/>
                    <a:pt x="156" y="32"/>
                  </a:cubicBezTo>
                  <a:cubicBezTo>
                    <a:pt x="163" y="37"/>
                    <a:pt x="163" y="37"/>
                    <a:pt x="163" y="37"/>
                  </a:cubicBezTo>
                  <a:cubicBezTo>
                    <a:pt x="155" y="46"/>
                    <a:pt x="148" y="55"/>
                    <a:pt x="142" y="65"/>
                  </a:cubicBezTo>
                  <a:close/>
                  <a:moveTo>
                    <a:pt x="185" y="10"/>
                  </a:moveTo>
                  <a:cubicBezTo>
                    <a:pt x="179" y="4"/>
                    <a:pt x="179" y="4"/>
                    <a:pt x="179" y="4"/>
                  </a:cubicBezTo>
                  <a:cubicBezTo>
                    <a:pt x="180" y="3"/>
                    <a:pt x="182" y="2"/>
                    <a:pt x="183" y="0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7" y="7"/>
                    <a:pt x="186" y="8"/>
                    <a:pt x="18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0">
              <a:extLst>
                <a:ext uri="{FF2B5EF4-FFF2-40B4-BE49-F238E27FC236}">
                  <a16:creationId xmlns:a16="http://schemas.microsoft.com/office/drawing/2014/main" id="{CBF076E7-2DDC-4006-93E6-01894775521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9663" y="957262"/>
              <a:ext cx="309563" cy="1339850"/>
            </a:xfrm>
            <a:custGeom>
              <a:avLst/>
              <a:gdLst>
                <a:gd name="T0" fmla="*/ 138 w 144"/>
                <a:gd name="T1" fmla="*/ 623 h 623"/>
                <a:gd name="T2" fmla="*/ 125 w 144"/>
                <a:gd name="T3" fmla="*/ 609 h 623"/>
                <a:gd name="T4" fmla="*/ 132 w 144"/>
                <a:gd name="T5" fmla="*/ 604 h 623"/>
                <a:gd name="T6" fmla="*/ 144 w 144"/>
                <a:gd name="T7" fmla="*/ 618 h 623"/>
                <a:gd name="T8" fmla="*/ 138 w 144"/>
                <a:gd name="T9" fmla="*/ 623 h 623"/>
                <a:gd name="T10" fmla="*/ 103 w 144"/>
                <a:gd name="T11" fmla="*/ 580 h 623"/>
                <a:gd name="T12" fmla="*/ 84 w 144"/>
                <a:gd name="T13" fmla="*/ 551 h 623"/>
                <a:gd name="T14" fmla="*/ 90 w 144"/>
                <a:gd name="T15" fmla="*/ 547 h 623"/>
                <a:gd name="T16" fmla="*/ 110 w 144"/>
                <a:gd name="T17" fmla="*/ 576 h 623"/>
                <a:gd name="T18" fmla="*/ 103 w 144"/>
                <a:gd name="T19" fmla="*/ 580 h 623"/>
                <a:gd name="T20" fmla="*/ 66 w 144"/>
                <a:gd name="T21" fmla="*/ 520 h 623"/>
                <a:gd name="T22" fmla="*/ 50 w 144"/>
                <a:gd name="T23" fmla="*/ 488 h 623"/>
                <a:gd name="T24" fmla="*/ 57 w 144"/>
                <a:gd name="T25" fmla="*/ 485 h 623"/>
                <a:gd name="T26" fmla="*/ 73 w 144"/>
                <a:gd name="T27" fmla="*/ 516 h 623"/>
                <a:gd name="T28" fmla="*/ 66 w 144"/>
                <a:gd name="T29" fmla="*/ 520 h 623"/>
                <a:gd name="T30" fmla="*/ 37 w 144"/>
                <a:gd name="T31" fmla="*/ 455 h 623"/>
                <a:gd name="T32" fmla="*/ 25 w 144"/>
                <a:gd name="T33" fmla="*/ 421 h 623"/>
                <a:gd name="T34" fmla="*/ 33 w 144"/>
                <a:gd name="T35" fmla="*/ 419 h 623"/>
                <a:gd name="T36" fmla="*/ 44 w 144"/>
                <a:gd name="T37" fmla="*/ 452 h 623"/>
                <a:gd name="T38" fmla="*/ 37 w 144"/>
                <a:gd name="T39" fmla="*/ 455 h 623"/>
                <a:gd name="T40" fmla="*/ 16 w 144"/>
                <a:gd name="T41" fmla="*/ 387 h 623"/>
                <a:gd name="T42" fmla="*/ 9 w 144"/>
                <a:gd name="T43" fmla="*/ 352 h 623"/>
                <a:gd name="T44" fmla="*/ 17 w 144"/>
                <a:gd name="T45" fmla="*/ 350 h 623"/>
                <a:gd name="T46" fmla="*/ 24 w 144"/>
                <a:gd name="T47" fmla="*/ 385 h 623"/>
                <a:gd name="T48" fmla="*/ 16 w 144"/>
                <a:gd name="T49" fmla="*/ 387 h 623"/>
                <a:gd name="T50" fmla="*/ 4 w 144"/>
                <a:gd name="T51" fmla="*/ 316 h 623"/>
                <a:gd name="T52" fmla="*/ 1 w 144"/>
                <a:gd name="T53" fmla="*/ 281 h 623"/>
                <a:gd name="T54" fmla="*/ 9 w 144"/>
                <a:gd name="T55" fmla="*/ 280 h 623"/>
                <a:gd name="T56" fmla="*/ 12 w 144"/>
                <a:gd name="T57" fmla="*/ 315 h 623"/>
                <a:gd name="T58" fmla="*/ 4 w 144"/>
                <a:gd name="T59" fmla="*/ 316 h 623"/>
                <a:gd name="T60" fmla="*/ 0 w 144"/>
                <a:gd name="T61" fmla="*/ 245 h 623"/>
                <a:gd name="T62" fmla="*/ 0 w 144"/>
                <a:gd name="T63" fmla="*/ 237 h 623"/>
                <a:gd name="T64" fmla="*/ 0 w 144"/>
                <a:gd name="T65" fmla="*/ 210 h 623"/>
                <a:gd name="T66" fmla="*/ 8 w 144"/>
                <a:gd name="T67" fmla="*/ 210 h 623"/>
                <a:gd name="T68" fmla="*/ 8 w 144"/>
                <a:gd name="T69" fmla="*/ 237 h 623"/>
                <a:gd name="T70" fmla="*/ 8 w 144"/>
                <a:gd name="T71" fmla="*/ 245 h 623"/>
                <a:gd name="T72" fmla="*/ 0 w 144"/>
                <a:gd name="T73" fmla="*/ 245 h 623"/>
                <a:gd name="T74" fmla="*/ 10 w 144"/>
                <a:gd name="T75" fmla="*/ 175 h 623"/>
                <a:gd name="T76" fmla="*/ 2 w 144"/>
                <a:gd name="T77" fmla="*/ 174 h 623"/>
                <a:gd name="T78" fmla="*/ 6 w 144"/>
                <a:gd name="T79" fmla="*/ 139 h 623"/>
                <a:gd name="T80" fmla="*/ 14 w 144"/>
                <a:gd name="T81" fmla="*/ 140 h 623"/>
                <a:gd name="T82" fmla="*/ 10 w 144"/>
                <a:gd name="T83" fmla="*/ 175 h 623"/>
                <a:gd name="T84" fmla="*/ 19 w 144"/>
                <a:gd name="T85" fmla="*/ 105 h 623"/>
                <a:gd name="T86" fmla="*/ 11 w 144"/>
                <a:gd name="T87" fmla="*/ 103 h 623"/>
                <a:gd name="T88" fmla="*/ 18 w 144"/>
                <a:gd name="T89" fmla="*/ 68 h 623"/>
                <a:gd name="T90" fmla="*/ 26 w 144"/>
                <a:gd name="T91" fmla="*/ 70 h 623"/>
                <a:gd name="T92" fmla="*/ 19 w 144"/>
                <a:gd name="T93" fmla="*/ 105 h 623"/>
                <a:gd name="T94" fmla="*/ 34 w 144"/>
                <a:gd name="T95" fmla="*/ 36 h 623"/>
                <a:gd name="T96" fmla="*/ 26 w 144"/>
                <a:gd name="T97" fmla="*/ 34 h 623"/>
                <a:gd name="T98" fmla="*/ 37 w 144"/>
                <a:gd name="T99" fmla="*/ 0 h 623"/>
                <a:gd name="T100" fmla="*/ 44 w 144"/>
                <a:gd name="T101" fmla="*/ 2 h 623"/>
                <a:gd name="T102" fmla="*/ 34 w 144"/>
                <a:gd name="T103" fmla="*/ 36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" h="623">
                  <a:moveTo>
                    <a:pt x="138" y="623"/>
                  </a:moveTo>
                  <a:cubicBezTo>
                    <a:pt x="134" y="618"/>
                    <a:pt x="129" y="613"/>
                    <a:pt x="125" y="609"/>
                  </a:cubicBezTo>
                  <a:cubicBezTo>
                    <a:pt x="132" y="604"/>
                    <a:pt x="132" y="604"/>
                    <a:pt x="132" y="604"/>
                  </a:cubicBezTo>
                  <a:cubicBezTo>
                    <a:pt x="135" y="608"/>
                    <a:pt x="140" y="613"/>
                    <a:pt x="144" y="618"/>
                  </a:cubicBezTo>
                  <a:lnTo>
                    <a:pt x="138" y="623"/>
                  </a:lnTo>
                  <a:close/>
                  <a:moveTo>
                    <a:pt x="103" y="580"/>
                  </a:moveTo>
                  <a:cubicBezTo>
                    <a:pt x="97" y="571"/>
                    <a:pt x="90" y="561"/>
                    <a:pt x="84" y="551"/>
                  </a:cubicBezTo>
                  <a:cubicBezTo>
                    <a:pt x="90" y="547"/>
                    <a:pt x="90" y="547"/>
                    <a:pt x="90" y="547"/>
                  </a:cubicBezTo>
                  <a:cubicBezTo>
                    <a:pt x="97" y="556"/>
                    <a:pt x="103" y="566"/>
                    <a:pt x="110" y="576"/>
                  </a:cubicBezTo>
                  <a:lnTo>
                    <a:pt x="103" y="580"/>
                  </a:lnTo>
                  <a:close/>
                  <a:moveTo>
                    <a:pt x="66" y="520"/>
                  </a:moveTo>
                  <a:cubicBezTo>
                    <a:pt x="60" y="510"/>
                    <a:pt x="55" y="499"/>
                    <a:pt x="50" y="488"/>
                  </a:cubicBezTo>
                  <a:cubicBezTo>
                    <a:pt x="57" y="485"/>
                    <a:pt x="57" y="485"/>
                    <a:pt x="57" y="485"/>
                  </a:cubicBezTo>
                  <a:cubicBezTo>
                    <a:pt x="62" y="495"/>
                    <a:pt x="67" y="506"/>
                    <a:pt x="73" y="516"/>
                  </a:cubicBezTo>
                  <a:lnTo>
                    <a:pt x="66" y="520"/>
                  </a:lnTo>
                  <a:close/>
                  <a:moveTo>
                    <a:pt x="37" y="455"/>
                  </a:moveTo>
                  <a:cubicBezTo>
                    <a:pt x="32" y="444"/>
                    <a:pt x="29" y="432"/>
                    <a:pt x="25" y="421"/>
                  </a:cubicBezTo>
                  <a:cubicBezTo>
                    <a:pt x="33" y="419"/>
                    <a:pt x="33" y="419"/>
                    <a:pt x="33" y="419"/>
                  </a:cubicBezTo>
                  <a:cubicBezTo>
                    <a:pt x="36" y="430"/>
                    <a:pt x="40" y="441"/>
                    <a:pt x="44" y="452"/>
                  </a:cubicBezTo>
                  <a:lnTo>
                    <a:pt x="37" y="455"/>
                  </a:lnTo>
                  <a:close/>
                  <a:moveTo>
                    <a:pt x="16" y="387"/>
                  </a:moveTo>
                  <a:cubicBezTo>
                    <a:pt x="13" y="375"/>
                    <a:pt x="11" y="363"/>
                    <a:pt x="9" y="352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9" y="362"/>
                    <a:pt x="21" y="373"/>
                    <a:pt x="24" y="385"/>
                  </a:cubicBezTo>
                  <a:lnTo>
                    <a:pt x="16" y="387"/>
                  </a:lnTo>
                  <a:close/>
                  <a:moveTo>
                    <a:pt x="4" y="316"/>
                  </a:moveTo>
                  <a:cubicBezTo>
                    <a:pt x="3" y="305"/>
                    <a:pt x="2" y="293"/>
                    <a:pt x="1" y="281"/>
                  </a:cubicBezTo>
                  <a:cubicBezTo>
                    <a:pt x="9" y="280"/>
                    <a:pt x="9" y="280"/>
                    <a:pt x="9" y="280"/>
                  </a:cubicBezTo>
                  <a:cubicBezTo>
                    <a:pt x="10" y="292"/>
                    <a:pt x="11" y="304"/>
                    <a:pt x="12" y="315"/>
                  </a:cubicBezTo>
                  <a:lnTo>
                    <a:pt x="4" y="316"/>
                  </a:lnTo>
                  <a:close/>
                  <a:moveTo>
                    <a:pt x="0" y="245"/>
                  </a:moveTo>
                  <a:cubicBezTo>
                    <a:pt x="0" y="242"/>
                    <a:pt x="0" y="240"/>
                    <a:pt x="0" y="237"/>
                  </a:cubicBezTo>
                  <a:cubicBezTo>
                    <a:pt x="0" y="228"/>
                    <a:pt x="0" y="219"/>
                    <a:pt x="0" y="210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8" y="219"/>
                    <a:pt x="8" y="228"/>
                    <a:pt x="8" y="237"/>
                  </a:cubicBezTo>
                  <a:cubicBezTo>
                    <a:pt x="8" y="240"/>
                    <a:pt x="8" y="242"/>
                    <a:pt x="8" y="245"/>
                  </a:cubicBezTo>
                  <a:lnTo>
                    <a:pt x="0" y="245"/>
                  </a:lnTo>
                  <a:close/>
                  <a:moveTo>
                    <a:pt x="10" y="175"/>
                  </a:moveTo>
                  <a:cubicBezTo>
                    <a:pt x="2" y="174"/>
                    <a:pt x="2" y="174"/>
                    <a:pt x="2" y="174"/>
                  </a:cubicBezTo>
                  <a:cubicBezTo>
                    <a:pt x="3" y="162"/>
                    <a:pt x="4" y="150"/>
                    <a:pt x="6" y="139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2" y="151"/>
                    <a:pt x="11" y="163"/>
                    <a:pt x="10" y="175"/>
                  </a:cubicBezTo>
                  <a:close/>
                  <a:moveTo>
                    <a:pt x="19" y="105"/>
                  </a:moveTo>
                  <a:cubicBezTo>
                    <a:pt x="11" y="103"/>
                    <a:pt x="11" y="103"/>
                    <a:pt x="11" y="103"/>
                  </a:cubicBezTo>
                  <a:cubicBezTo>
                    <a:pt x="13" y="92"/>
                    <a:pt x="16" y="80"/>
                    <a:pt x="18" y="68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3" y="81"/>
                    <a:pt x="21" y="93"/>
                    <a:pt x="19" y="105"/>
                  </a:cubicBezTo>
                  <a:close/>
                  <a:moveTo>
                    <a:pt x="34" y="36"/>
                  </a:moveTo>
                  <a:cubicBezTo>
                    <a:pt x="26" y="34"/>
                    <a:pt x="26" y="34"/>
                    <a:pt x="26" y="34"/>
                  </a:cubicBezTo>
                  <a:cubicBezTo>
                    <a:pt x="32" y="12"/>
                    <a:pt x="37" y="0"/>
                    <a:pt x="37" y="0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0" y="15"/>
                    <a:pt x="3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1">
              <a:extLst>
                <a:ext uri="{FF2B5EF4-FFF2-40B4-BE49-F238E27FC236}">
                  <a16:creationId xmlns:a16="http://schemas.microsoft.com/office/drawing/2014/main" id="{A9DDE259-75B4-4FDA-B451-81A05237E2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57676" y="3776662"/>
              <a:ext cx="1125538" cy="1462088"/>
            </a:xfrm>
            <a:custGeom>
              <a:avLst/>
              <a:gdLst>
                <a:gd name="T0" fmla="*/ 0 w 523"/>
                <a:gd name="T1" fmla="*/ 672 h 680"/>
                <a:gd name="T2" fmla="*/ 15 w 523"/>
                <a:gd name="T3" fmla="*/ 674 h 680"/>
                <a:gd name="T4" fmla="*/ 46 w 523"/>
                <a:gd name="T5" fmla="*/ 656 h 680"/>
                <a:gd name="T6" fmla="*/ 71 w 523"/>
                <a:gd name="T7" fmla="*/ 629 h 680"/>
                <a:gd name="T8" fmla="*/ 46 w 523"/>
                <a:gd name="T9" fmla="*/ 656 h 680"/>
                <a:gd name="T10" fmla="*/ 99 w 523"/>
                <a:gd name="T11" fmla="*/ 608 h 680"/>
                <a:gd name="T12" fmla="*/ 131 w 523"/>
                <a:gd name="T13" fmla="*/ 591 h 680"/>
                <a:gd name="T14" fmla="*/ 157 w 523"/>
                <a:gd name="T15" fmla="*/ 567 h 680"/>
                <a:gd name="T16" fmla="*/ 177 w 523"/>
                <a:gd name="T17" fmla="*/ 536 h 680"/>
                <a:gd name="T18" fmla="*/ 157 w 523"/>
                <a:gd name="T19" fmla="*/ 567 h 680"/>
                <a:gd name="T20" fmla="*/ 201 w 523"/>
                <a:gd name="T21" fmla="*/ 510 h 680"/>
                <a:gd name="T22" fmla="*/ 230 w 523"/>
                <a:gd name="T23" fmla="*/ 489 h 680"/>
                <a:gd name="T24" fmla="*/ 253 w 523"/>
                <a:gd name="T25" fmla="*/ 461 h 680"/>
                <a:gd name="T26" fmla="*/ 268 w 523"/>
                <a:gd name="T27" fmla="*/ 429 h 680"/>
                <a:gd name="T28" fmla="*/ 253 w 523"/>
                <a:gd name="T29" fmla="*/ 461 h 680"/>
                <a:gd name="T30" fmla="*/ 290 w 523"/>
                <a:gd name="T31" fmla="*/ 400 h 680"/>
                <a:gd name="T32" fmla="*/ 317 w 523"/>
                <a:gd name="T33" fmla="*/ 376 h 680"/>
                <a:gd name="T34" fmla="*/ 337 w 523"/>
                <a:gd name="T35" fmla="*/ 347 h 680"/>
                <a:gd name="T36" fmla="*/ 349 w 523"/>
                <a:gd name="T37" fmla="*/ 313 h 680"/>
                <a:gd name="T38" fmla="*/ 337 w 523"/>
                <a:gd name="T39" fmla="*/ 347 h 680"/>
                <a:gd name="T40" fmla="*/ 368 w 523"/>
                <a:gd name="T41" fmla="*/ 283 h 680"/>
                <a:gd name="T42" fmla="*/ 393 w 523"/>
                <a:gd name="T43" fmla="*/ 256 h 680"/>
                <a:gd name="T44" fmla="*/ 411 w 523"/>
                <a:gd name="T45" fmla="*/ 226 h 680"/>
                <a:gd name="T46" fmla="*/ 422 w 523"/>
                <a:gd name="T47" fmla="*/ 191 h 680"/>
                <a:gd name="T48" fmla="*/ 411 w 523"/>
                <a:gd name="T49" fmla="*/ 226 h 680"/>
                <a:gd name="T50" fmla="*/ 439 w 523"/>
                <a:gd name="T51" fmla="*/ 160 h 680"/>
                <a:gd name="T52" fmla="*/ 462 w 523"/>
                <a:gd name="T53" fmla="*/ 132 h 680"/>
                <a:gd name="T54" fmla="*/ 478 w 523"/>
                <a:gd name="T55" fmla="*/ 100 h 680"/>
                <a:gd name="T56" fmla="*/ 487 w 523"/>
                <a:gd name="T57" fmla="*/ 65 h 680"/>
                <a:gd name="T58" fmla="*/ 478 w 523"/>
                <a:gd name="T59" fmla="*/ 100 h 680"/>
                <a:gd name="T60" fmla="*/ 502 w 523"/>
                <a:gd name="T61" fmla="*/ 33 h 680"/>
                <a:gd name="T62" fmla="*/ 523 w 523"/>
                <a:gd name="T63" fmla="*/ 3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3" h="680">
                  <a:moveTo>
                    <a:pt x="4" y="680"/>
                  </a:moveTo>
                  <a:cubicBezTo>
                    <a:pt x="0" y="672"/>
                    <a:pt x="0" y="672"/>
                    <a:pt x="0" y="672"/>
                  </a:cubicBezTo>
                  <a:cubicBezTo>
                    <a:pt x="4" y="671"/>
                    <a:pt x="8" y="669"/>
                    <a:pt x="11" y="667"/>
                  </a:cubicBezTo>
                  <a:cubicBezTo>
                    <a:pt x="15" y="674"/>
                    <a:pt x="15" y="674"/>
                    <a:pt x="15" y="674"/>
                  </a:cubicBezTo>
                  <a:cubicBezTo>
                    <a:pt x="11" y="676"/>
                    <a:pt x="8" y="678"/>
                    <a:pt x="4" y="680"/>
                  </a:cubicBezTo>
                  <a:close/>
                  <a:moveTo>
                    <a:pt x="46" y="656"/>
                  </a:moveTo>
                  <a:cubicBezTo>
                    <a:pt x="42" y="649"/>
                    <a:pt x="42" y="649"/>
                    <a:pt x="42" y="649"/>
                  </a:cubicBezTo>
                  <a:cubicBezTo>
                    <a:pt x="51" y="643"/>
                    <a:pt x="61" y="636"/>
                    <a:pt x="71" y="629"/>
                  </a:cubicBezTo>
                  <a:cubicBezTo>
                    <a:pt x="76" y="636"/>
                    <a:pt x="76" y="636"/>
                    <a:pt x="76" y="636"/>
                  </a:cubicBezTo>
                  <a:cubicBezTo>
                    <a:pt x="66" y="643"/>
                    <a:pt x="56" y="649"/>
                    <a:pt x="46" y="656"/>
                  </a:cubicBezTo>
                  <a:close/>
                  <a:moveTo>
                    <a:pt x="104" y="614"/>
                  </a:moveTo>
                  <a:cubicBezTo>
                    <a:pt x="99" y="608"/>
                    <a:pt x="99" y="608"/>
                    <a:pt x="99" y="608"/>
                  </a:cubicBezTo>
                  <a:cubicBezTo>
                    <a:pt x="108" y="600"/>
                    <a:pt x="117" y="593"/>
                    <a:pt x="126" y="585"/>
                  </a:cubicBezTo>
                  <a:cubicBezTo>
                    <a:pt x="131" y="591"/>
                    <a:pt x="131" y="591"/>
                    <a:pt x="131" y="591"/>
                  </a:cubicBezTo>
                  <a:cubicBezTo>
                    <a:pt x="122" y="599"/>
                    <a:pt x="113" y="607"/>
                    <a:pt x="104" y="614"/>
                  </a:cubicBezTo>
                  <a:close/>
                  <a:moveTo>
                    <a:pt x="157" y="567"/>
                  </a:moveTo>
                  <a:cubicBezTo>
                    <a:pt x="152" y="561"/>
                    <a:pt x="152" y="561"/>
                    <a:pt x="152" y="561"/>
                  </a:cubicBezTo>
                  <a:cubicBezTo>
                    <a:pt x="160" y="553"/>
                    <a:pt x="168" y="545"/>
                    <a:pt x="177" y="536"/>
                  </a:cubicBezTo>
                  <a:cubicBezTo>
                    <a:pt x="182" y="542"/>
                    <a:pt x="182" y="542"/>
                    <a:pt x="182" y="542"/>
                  </a:cubicBezTo>
                  <a:cubicBezTo>
                    <a:pt x="174" y="550"/>
                    <a:pt x="166" y="559"/>
                    <a:pt x="157" y="567"/>
                  </a:cubicBezTo>
                  <a:close/>
                  <a:moveTo>
                    <a:pt x="207" y="516"/>
                  </a:moveTo>
                  <a:cubicBezTo>
                    <a:pt x="201" y="510"/>
                    <a:pt x="201" y="510"/>
                    <a:pt x="201" y="510"/>
                  </a:cubicBezTo>
                  <a:cubicBezTo>
                    <a:pt x="209" y="502"/>
                    <a:pt x="216" y="493"/>
                    <a:pt x="224" y="484"/>
                  </a:cubicBezTo>
                  <a:cubicBezTo>
                    <a:pt x="230" y="489"/>
                    <a:pt x="230" y="489"/>
                    <a:pt x="230" y="489"/>
                  </a:cubicBezTo>
                  <a:cubicBezTo>
                    <a:pt x="222" y="498"/>
                    <a:pt x="214" y="507"/>
                    <a:pt x="207" y="516"/>
                  </a:cubicBezTo>
                  <a:close/>
                  <a:moveTo>
                    <a:pt x="253" y="461"/>
                  </a:moveTo>
                  <a:cubicBezTo>
                    <a:pt x="247" y="456"/>
                    <a:pt x="247" y="456"/>
                    <a:pt x="247" y="456"/>
                  </a:cubicBezTo>
                  <a:cubicBezTo>
                    <a:pt x="254" y="447"/>
                    <a:pt x="261" y="438"/>
                    <a:pt x="268" y="429"/>
                  </a:cubicBezTo>
                  <a:cubicBezTo>
                    <a:pt x="275" y="433"/>
                    <a:pt x="275" y="433"/>
                    <a:pt x="275" y="433"/>
                  </a:cubicBezTo>
                  <a:cubicBezTo>
                    <a:pt x="268" y="443"/>
                    <a:pt x="260" y="452"/>
                    <a:pt x="253" y="461"/>
                  </a:cubicBezTo>
                  <a:close/>
                  <a:moveTo>
                    <a:pt x="296" y="405"/>
                  </a:moveTo>
                  <a:cubicBezTo>
                    <a:pt x="290" y="400"/>
                    <a:pt x="290" y="400"/>
                    <a:pt x="290" y="400"/>
                  </a:cubicBezTo>
                  <a:cubicBezTo>
                    <a:pt x="296" y="391"/>
                    <a:pt x="303" y="381"/>
                    <a:pt x="310" y="371"/>
                  </a:cubicBezTo>
                  <a:cubicBezTo>
                    <a:pt x="317" y="376"/>
                    <a:pt x="317" y="376"/>
                    <a:pt x="317" y="376"/>
                  </a:cubicBezTo>
                  <a:cubicBezTo>
                    <a:pt x="310" y="386"/>
                    <a:pt x="303" y="396"/>
                    <a:pt x="296" y="405"/>
                  </a:cubicBezTo>
                  <a:close/>
                  <a:moveTo>
                    <a:pt x="337" y="347"/>
                  </a:moveTo>
                  <a:cubicBezTo>
                    <a:pt x="330" y="342"/>
                    <a:pt x="330" y="342"/>
                    <a:pt x="330" y="342"/>
                  </a:cubicBezTo>
                  <a:cubicBezTo>
                    <a:pt x="336" y="333"/>
                    <a:pt x="343" y="323"/>
                    <a:pt x="349" y="313"/>
                  </a:cubicBezTo>
                  <a:cubicBezTo>
                    <a:pt x="356" y="317"/>
                    <a:pt x="356" y="317"/>
                    <a:pt x="356" y="317"/>
                  </a:cubicBezTo>
                  <a:cubicBezTo>
                    <a:pt x="350" y="327"/>
                    <a:pt x="343" y="337"/>
                    <a:pt x="337" y="347"/>
                  </a:cubicBezTo>
                  <a:close/>
                  <a:moveTo>
                    <a:pt x="375" y="287"/>
                  </a:moveTo>
                  <a:cubicBezTo>
                    <a:pt x="368" y="283"/>
                    <a:pt x="368" y="283"/>
                    <a:pt x="368" y="283"/>
                  </a:cubicBezTo>
                  <a:cubicBezTo>
                    <a:pt x="374" y="273"/>
                    <a:pt x="380" y="262"/>
                    <a:pt x="387" y="252"/>
                  </a:cubicBezTo>
                  <a:cubicBezTo>
                    <a:pt x="393" y="256"/>
                    <a:pt x="393" y="256"/>
                    <a:pt x="393" y="256"/>
                  </a:cubicBezTo>
                  <a:cubicBezTo>
                    <a:pt x="387" y="267"/>
                    <a:pt x="381" y="277"/>
                    <a:pt x="375" y="287"/>
                  </a:cubicBezTo>
                  <a:close/>
                  <a:moveTo>
                    <a:pt x="411" y="226"/>
                  </a:moveTo>
                  <a:cubicBezTo>
                    <a:pt x="404" y="222"/>
                    <a:pt x="404" y="222"/>
                    <a:pt x="404" y="222"/>
                  </a:cubicBezTo>
                  <a:cubicBezTo>
                    <a:pt x="410" y="211"/>
                    <a:pt x="416" y="201"/>
                    <a:pt x="422" y="191"/>
                  </a:cubicBezTo>
                  <a:cubicBezTo>
                    <a:pt x="429" y="195"/>
                    <a:pt x="429" y="195"/>
                    <a:pt x="429" y="195"/>
                  </a:cubicBezTo>
                  <a:cubicBezTo>
                    <a:pt x="423" y="205"/>
                    <a:pt x="417" y="215"/>
                    <a:pt x="411" y="226"/>
                  </a:cubicBezTo>
                  <a:close/>
                  <a:moveTo>
                    <a:pt x="446" y="163"/>
                  </a:moveTo>
                  <a:cubicBezTo>
                    <a:pt x="439" y="160"/>
                    <a:pt x="439" y="160"/>
                    <a:pt x="439" y="160"/>
                  </a:cubicBezTo>
                  <a:cubicBezTo>
                    <a:pt x="444" y="149"/>
                    <a:pt x="450" y="138"/>
                    <a:pt x="455" y="128"/>
                  </a:cubicBezTo>
                  <a:cubicBezTo>
                    <a:pt x="462" y="132"/>
                    <a:pt x="462" y="132"/>
                    <a:pt x="462" y="132"/>
                  </a:cubicBezTo>
                  <a:cubicBezTo>
                    <a:pt x="457" y="142"/>
                    <a:pt x="452" y="153"/>
                    <a:pt x="446" y="163"/>
                  </a:cubicBezTo>
                  <a:close/>
                  <a:moveTo>
                    <a:pt x="478" y="100"/>
                  </a:moveTo>
                  <a:cubicBezTo>
                    <a:pt x="471" y="97"/>
                    <a:pt x="471" y="97"/>
                    <a:pt x="471" y="97"/>
                  </a:cubicBezTo>
                  <a:cubicBezTo>
                    <a:pt x="476" y="86"/>
                    <a:pt x="482" y="75"/>
                    <a:pt x="487" y="65"/>
                  </a:cubicBezTo>
                  <a:cubicBezTo>
                    <a:pt x="494" y="68"/>
                    <a:pt x="494" y="68"/>
                    <a:pt x="494" y="68"/>
                  </a:cubicBezTo>
                  <a:cubicBezTo>
                    <a:pt x="489" y="79"/>
                    <a:pt x="484" y="89"/>
                    <a:pt x="478" y="100"/>
                  </a:cubicBezTo>
                  <a:close/>
                  <a:moveTo>
                    <a:pt x="509" y="36"/>
                  </a:moveTo>
                  <a:cubicBezTo>
                    <a:pt x="502" y="33"/>
                    <a:pt x="502" y="33"/>
                    <a:pt x="502" y="33"/>
                  </a:cubicBezTo>
                  <a:cubicBezTo>
                    <a:pt x="511" y="12"/>
                    <a:pt x="516" y="0"/>
                    <a:pt x="516" y="0"/>
                  </a:cubicBezTo>
                  <a:cubicBezTo>
                    <a:pt x="523" y="3"/>
                    <a:pt x="523" y="3"/>
                    <a:pt x="523" y="3"/>
                  </a:cubicBezTo>
                  <a:cubicBezTo>
                    <a:pt x="523" y="3"/>
                    <a:pt x="518" y="15"/>
                    <a:pt x="509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2">
              <a:extLst>
                <a:ext uri="{FF2B5EF4-FFF2-40B4-BE49-F238E27FC236}">
                  <a16:creationId xmlns:a16="http://schemas.microsoft.com/office/drawing/2014/main" id="{5A9DC2E4-8045-473C-BEDA-DD07F00ABA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19826" y="4705350"/>
              <a:ext cx="1096963" cy="646113"/>
            </a:xfrm>
            <a:custGeom>
              <a:avLst/>
              <a:gdLst>
                <a:gd name="T0" fmla="*/ 507 w 510"/>
                <a:gd name="T1" fmla="*/ 300 h 300"/>
                <a:gd name="T2" fmla="*/ 483 w 510"/>
                <a:gd name="T3" fmla="*/ 292 h 300"/>
                <a:gd name="T4" fmla="*/ 486 w 510"/>
                <a:gd name="T5" fmla="*/ 284 h 300"/>
                <a:gd name="T6" fmla="*/ 510 w 510"/>
                <a:gd name="T7" fmla="*/ 292 h 300"/>
                <a:gd name="T8" fmla="*/ 507 w 510"/>
                <a:gd name="T9" fmla="*/ 300 h 300"/>
                <a:gd name="T10" fmla="*/ 450 w 510"/>
                <a:gd name="T11" fmla="*/ 280 h 300"/>
                <a:gd name="T12" fmla="*/ 416 w 510"/>
                <a:gd name="T13" fmla="*/ 268 h 300"/>
                <a:gd name="T14" fmla="*/ 419 w 510"/>
                <a:gd name="T15" fmla="*/ 260 h 300"/>
                <a:gd name="T16" fmla="*/ 452 w 510"/>
                <a:gd name="T17" fmla="*/ 272 h 300"/>
                <a:gd name="T18" fmla="*/ 450 w 510"/>
                <a:gd name="T19" fmla="*/ 280 h 300"/>
                <a:gd name="T20" fmla="*/ 383 w 510"/>
                <a:gd name="T21" fmla="*/ 255 h 300"/>
                <a:gd name="T22" fmla="*/ 351 w 510"/>
                <a:gd name="T23" fmla="*/ 241 h 300"/>
                <a:gd name="T24" fmla="*/ 354 w 510"/>
                <a:gd name="T25" fmla="*/ 234 h 300"/>
                <a:gd name="T26" fmla="*/ 386 w 510"/>
                <a:gd name="T27" fmla="*/ 247 h 300"/>
                <a:gd name="T28" fmla="*/ 383 w 510"/>
                <a:gd name="T29" fmla="*/ 255 h 300"/>
                <a:gd name="T30" fmla="*/ 318 w 510"/>
                <a:gd name="T31" fmla="*/ 227 h 300"/>
                <a:gd name="T32" fmla="*/ 286 w 510"/>
                <a:gd name="T33" fmla="*/ 212 h 300"/>
                <a:gd name="T34" fmla="*/ 289 w 510"/>
                <a:gd name="T35" fmla="*/ 204 h 300"/>
                <a:gd name="T36" fmla="*/ 321 w 510"/>
                <a:gd name="T37" fmla="*/ 219 h 300"/>
                <a:gd name="T38" fmla="*/ 318 w 510"/>
                <a:gd name="T39" fmla="*/ 227 h 300"/>
                <a:gd name="T40" fmla="*/ 254 w 510"/>
                <a:gd name="T41" fmla="*/ 196 h 300"/>
                <a:gd name="T42" fmla="*/ 223 w 510"/>
                <a:gd name="T43" fmla="*/ 179 h 300"/>
                <a:gd name="T44" fmla="*/ 227 w 510"/>
                <a:gd name="T45" fmla="*/ 172 h 300"/>
                <a:gd name="T46" fmla="*/ 258 w 510"/>
                <a:gd name="T47" fmla="*/ 189 h 300"/>
                <a:gd name="T48" fmla="*/ 254 w 510"/>
                <a:gd name="T49" fmla="*/ 196 h 300"/>
                <a:gd name="T50" fmla="*/ 192 w 510"/>
                <a:gd name="T51" fmla="*/ 161 h 300"/>
                <a:gd name="T52" fmla="*/ 162 w 510"/>
                <a:gd name="T53" fmla="*/ 143 h 300"/>
                <a:gd name="T54" fmla="*/ 166 w 510"/>
                <a:gd name="T55" fmla="*/ 136 h 300"/>
                <a:gd name="T56" fmla="*/ 196 w 510"/>
                <a:gd name="T57" fmla="*/ 155 h 300"/>
                <a:gd name="T58" fmla="*/ 192 w 510"/>
                <a:gd name="T59" fmla="*/ 161 h 300"/>
                <a:gd name="T60" fmla="*/ 132 w 510"/>
                <a:gd name="T61" fmla="*/ 123 h 300"/>
                <a:gd name="T62" fmla="*/ 103 w 510"/>
                <a:gd name="T63" fmla="*/ 103 h 300"/>
                <a:gd name="T64" fmla="*/ 108 w 510"/>
                <a:gd name="T65" fmla="*/ 96 h 300"/>
                <a:gd name="T66" fmla="*/ 136 w 510"/>
                <a:gd name="T67" fmla="*/ 117 h 300"/>
                <a:gd name="T68" fmla="*/ 132 w 510"/>
                <a:gd name="T69" fmla="*/ 123 h 300"/>
                <a:gd name="T70" fmla="*/ 75 w 510"/>
                <a:gd name="T71" fmla="*/ 81 h 300"/>
                <a:gd name="T72" fmla="*/ 48 w 510"/>
                <a:gd name="T73" fmla="*/ 57 h 300"/>
                <a:gd name="T74" fmla="*/ 54 w 510"/>
                <a:gd name="T75" fmla="*/ 51 h 300"/>
                <a:gd name="T76" fmla="*/ 80 w 510"/>
                <a:gd name="T77" fmla="*/ 74 h 300"/>
                <a:gd name="T78" fmla="*/ 75 w 510"/>
                <a:gd name="T79" fmla="*/ 81 h 300"/>
                <a:gd name="T80" fmla="*/ 23 w 510"/>
                <a:gd name="T81" fmla="*/ 32 h 300"/>
                <a:gd name="T82" fmla="*/ 0 w 510"/>
                <a:gd name="T83" fmla="*/ 4 h 300"/>
                <a:gd name="T84" fmla="*/ 7 w 510"/>
                <a:gd name="T85" fmla="*/ 0 h 300"/>
                <a:gd name="T86" fmla="*/ 29 w 510"/>
                <a:gd name="T87" fmla="*/ 27 h 300"/>
                <a:gd name="T88" fmla="*/ 23 w 510"/>
                <a:gd name="T89" fmla="*/ 3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0" h="300">
                  <a:moveTo>
                    <a:pt x="507" y="300"/>
                  </a:moveTo>
                  <a:cubicBezTo>
                    <a:pt x="499" y="297"/>
                    <a:pt x="491" y="294"/>
                    <a:pt x="483" y="292"/>
                  </a:cubicBezTo>
                  <a:cubicBezTo>
                    <a:pt x="486" y="284"/>
                    <a:pt x="486" y="284"/>
                    <a:pt x="486" y="284"/>
                  </a:cubicBezTo>
                  <a:cubicBezTo>
                    <a:pt x="494" y="287"/>
                    <a:pt x="502" y="290"/>
                    <a:pt x="510" y="292"/>
                  </a:cubicBezTo>
                  <a:lnTo>
                    <a:pt x="507" y="300"/>
                  </a:lnTo>
                  <a:close/>
                  <a:moveTo>
                    <a:pt x="450" y="280"/>
                  </a:moveTo>
                  <a:cubicBezTo>
                    <a:pt x="439" y="276"/>
                    <a:pt x="427" y="272"/>
                    <a:pt x="416" y="268"/>
                  </a:cubicBezTo>
                  <a:cubicBezTo>
                    <a:pt x="419" y="260"/>
                    <a:pt x="419" y="260"/>
                    <a:pt x="419" y="260"/>
                  </a:cubicBezTo>
                  <a:cubicBezTo>
                    <a:pt x="430" y="264"/>
                    <a:pt x="441" y="268"/>
                    <a:pt x="452" y="272"/>
                  </a:cubicBezTo>
                  <a:lnTo>
                    <a:pt x="450" y="280"/>
                  </a:lnTo>
                  <a:close/>
                  <a:moveTo>
                    <a:pt x="383" y="255"/>
                  </a:moveTo>
                  <a:cubicBezTo>
                    <a:pt x="372" y="250"/>
                    <a:pt x="361" y="246"/>
                    <a:pt x="351" y="241"/>
                  </a:cubicBezTo>
                  <a:cubicBezTo>
                    <a:pt x="354" y="234"/>
                    <a:pt x="354" y="234"/>
                    <a:pt x="354" y="234"/>
                  </a:cubicBezTo>
                  <a:cubicBezTo>
                    <a:pt x="364" y="238"/>
                    <a:pt x="375" y="243"/>
                    <a:pt x="386" y="247"/>
                  </a:cubicBezTo>
                  <a:lnTo>
                    <a:pt x="383" y="255"/>
                  </a:lnTo>
                  <a:close/>
                  <a:moveTo>
                    <a:pt x="318" y="227"/>
                  </a:moveTo>
                  <a:cubicBezTo>
                    <a:pt x="307" y="222"/>
                    <a:pt x="296" y="217"/>
                    <a:pt x="286" y="212"/>
                  </a:cubicBezTo>
                  <a:cubicBezTo>
                    <a:pt x="289" y="204"/>
                    <a:pt x="289" y="204"/>
                    <a:pt x="289" y="204"/>
                  </a:cubicBezTo>
                  <a:cubicBezTo>
                    <a:pt x="300" y="209"/>
                    <a:pt x="311" y="214"/>
                    <a:pt x="321" y="219"/>
                  </a:cubicBezTo>
                  <a:lnTo>
                    <a:pt x="318" y="227"/>
                  </a:lnTo>
                  <a:close/>
                  <a:moveTo>
                    <a:pt x="254" y="196"/>
                  </a:moveTo>
                  <a:cubicBezTo>
                    <a:pt x="244" y="190"/>
                    <a:pt x="233" y="185"/>
                    <a:pt x="223" y="179"/>
                  </a:cubicBezTo>
                  <a:cubicBezTo>
                    <a:pt x="227" y="172"/>
                    <a:pt x="227" y="172"/>
                    <a:pt x="227" y="172"/>
                  </a:cubicBezTo>
                  <a:cubicBezTo>
                    <a:pt x="237" y="178"/>
                    <a:pt x="247" y="183"/>
                    <a:pt x="258" y="189"/>
                  </a:cubicBezTo>
                  <a:lnTo>
                    <a:pt x="254" y="196"/>
                  </a:lnTo>
                  <a:close/>
                  <a:moveTo>
                    <a:pt x="192" y="161"/>
                  </a:moveTo>
                  <a:cubicBezTo>
                    <a:pt x="182" y="155"/>
                    <a:pt x="171" y="149"/>
                    <a:pt x="162" y="143"/>
                  </a:cubicBezTo>
                  <a:cubicBezTo>
                    <a:pt x="166" y="136"/>
                    <a:pt x="166" y="136"/>
                    <a:pt x="166" y="136"/>
                  </a:cubicBezTo>
                  <a:cubicBezTo>
                    <a:pt x="176" y="142"/>
                    <a:pt x="186" y="149"/>
                    <a:pt x="196" y="155"/>
                  </a:cubicBezTo>
                  <a:lnTo>
                    <a:pt x="192" y="161"/>
                  </a:lnTo>
                  <a:close/>
                  <a:moveTo>
                    <a:pt x="132" y="123"/>
                  </a:moveTo>
                  <a:cubicBezTo>
                    <a:pt x="122" y="117"/>
                    <a:pt x="112" y="110"/>
                    <a:pt x="103" y="103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17" y="103"/>
                    <a:pt x="127" y="110"/>
                    <a:pt x="136" y="117"/>
                  </a:cubicBezTo>
                  <a:lnTo>
                    <a:pt x="132" y="123"/>
                  </a:lnTo>
                  <a:close/>
                  <a:moveTo>
                    <a:pt x="75" y="81"/>
                  </a:moveTo>
                  <a:cubicBezTo>
                    <a:pt x="66" y="73"/>
                    <a:pt x="57" y="65"/>
                    <a:pt x="48" y="57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62" y="59"/>
                    <a:pt x="71" y="67"/>
                    <a:pt x="80" y="74"/>
                  </a:cubicBezTo>
                  <a:lnTo>
                    <a:pt x="75" y="81"/>
                  </a:lnTo>
                  <a:close/>
                  <a:moveTo>
                    <a:pt x="23" y="32"/>
                  </a:moveTo>
                  <a:cubicBezTo>
                    <a:pt x="7" y="15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13" y="10"/>
                    <a:pt x="29" y="27"/>
                  </a:cubicBezTo>
                  <a:lnTo>
                    <a:pt x="23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3">
              <a:extLst>
                <a:ext uri="{FF2B5EF4-FFF2-40B4-BE49-F238E27FC236}">
                  <a16:creationId xmlns:a16="http://schemas.microsoft.com/office/drawing/2014/main" id="{35C38C01-6289-4317-AEDE-0B5CEA4105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00357" y="1297792"/>
              <a:ext cx="1373188" cy="442913"/>
            </a:xfrm>
            <a:custGeom>
              <a:avLst/>
              <a:gdLst>
                <a:gd name="T0" fmla="*/ 634 w 638"/>
                <a:gd name="T1" fmla="*/ 206 h 206"/>
                <a:gd name="T2" fmla="*/ 603 w 638"/>
                <a:gd name="T3" fmla="*/ 188 h 206"/>
                <a:gd name="T4" fmla="*/ 607 w 638"/>
                <a:gd name="T5" fmla="*/ 181 h 206"/>
                <a:gd name="T6" fmla="*/ 638 w 638"/>
                <a:gd name="T7" fmla="*/ 199 h 206"/>
                <a:gd name="T8" fmla="*/ 634 w 638"/>
                <a:gd name="T9" fmla="*/ 206 h 206"/>
                <a:gd name="T10" fmla="*/ 572 w 638"/>
                <a:gd name="T11" fmla="*/ 171 h 206"/>
                <a:gd name="T12" fmla="*/ 541 w 638"/>
                <a:gd name="T13" fmla="*/ 155 h 206"/>
                <a:gd name="T14" fmla="*/ 545 w 638"/>
                <a:gd name="T15" fmla="*/ 148 h 206"/>
                <a:gd name="T16" fmla="*/ 576 w 638"/>
                <a:gd name="T17" fmla="*/ 164 h 206"/>
                <a:gd name="T18" fmla="*/ 572 w 638"/>
                <a:gd name="T19" fmla="*/ 171 h 206"/>
                <a:gd name="T20" fmla="*/ 509 w 638"/>
                <a:gd name="T21" fmla="*/ 139 h 206"/>
                <a:gd name="T22" fmla="*/ 477 w 638"/>
                <a:gd name="T23" fmla="*/ 124 h 206"/>
                <a:gd name="T24" fmla="*/ 481 w 638"/>
                <a:gd name="T25" fmla="*/ 117 h 206"/>
                <a:gd name="T26" fmla="*/ 513 w 638"/>
                <a:gd name="T27" fmla="*/ 132 h 206"/>
                <a:gd name="T28" fmla="*/ 509 w 638"/>
                <a:gd name="T29" fmla="*/ 139 h 206"/>
                <a:gd name="T30" fmla="*/ 445 w 638"/>
                <a:gd name="T31" fmla="*/ 110 h 206"/>
                <a:gd name="T32" fmla="*/ 412 w 638"/>
                <a:gd name="T33" fmla="*/ 97 h 206"/>
                <a:gd name="T34" fmla="*/ 415 w 638"/>
                <a:gd name="T35" fmla="*/ 90 h 206"/>
                <a:gd name="T36" fmla="*/ 448 w 638"/>
                <a:gd name="T37" fmla="*/ 103 h 206"/>
                <a:gd name="T38" fmla="*/ 445 w 638"/>
                <a:gd name="T39" fmla="*/ 110 h 206"/>
                <a:gd name="T40" fmla="*/ 379 w 638"/>
                <a:gd name="T41" fmla="*/ 85 h 206"/>
                <a:gd name="T42" fmla="*/ 346 w 638"/>
                <a:gd name="T43" fmla="*/ 73 h 206"/>
                <a:gd name="T44" fmla="*/ 348 w 638"/>
                <a:gd name="T45" fmla="*/ 66 h 206"/>
                <a:gd name="T46" fmla="*/ 382 w 638"/>
                <a:gd name="T47" fmla="*/ 77 h 206"/>
                <a:gd name="T48" fmla="*/ 379 w 638"/>
                <a:gd name="T49" fmla="*/ 85 h 206"/>
                <a:gd name="T50" fmla="*/ 312 w 638"/>
                <a:gd name="T51" fmla="*/ 62 h 206"/>
                <a:gd name="T52" fmla="*/ 278 w 638"/>
                <a:gd name="T53" fmla="*/ 53 h 206"/>
                <a:gd name="T54" fmla="*/ 280 w 638"/>
                <a:gd name="T55" fmla="*/ 45 h 206"/>
                <a:gd name="T56" fmla="*/ 314 w 638"/>
                <a:gd name="T57" fmla="*/ 55 h 206"/>
                <a:gd name="T58" fmla="*/ 312 w 638"/>
                <a:gd name="T59" fmla="*/ 62 h 206"/>
                <a:gd name="T60" fmla="*/ 244 w 638"/>
                <a:gd name="T61" fmla="*/ 43 h 206"/>
                <a:gd name="T62" fmla="*/ 209 w 638"/>
                <a:gd name="T63" fmla="*/ 35 h 206"/>
                <a:gd name="T64" fmla="*/ 211 w 638"/>
                <a:gd name="T65" fmla="*/ 28 h 206"/>
                <a:gd name="T66" fmla="*/ 246 w 638"/>
                <a:gd name="T67" fmla="*/ 36 h 206"/>
                <a:gd name="T68" fmla="*/ 244 w 638"/>
                <a:gd name="T69" fmla="*/ 43 h 206"/>
                <a:gd name="T70" fmla="*/ 175 w 638"/>
                <a:gd name="T71" fmla="*/ 28 h 206"/>
                <a:gd name="T72" fmla="*/ 140 w 638"/>
                <a:gd name="T73" fmla="*/ 22 h 206"/>
                <a:gd name="T74" fmla="*/ 141 w 638"/>
                <a:gd name="T75" fmla="*/ 14 h 206"/>
                <a:gd name="T76" fmla="*/ 176 w 638"/>
                <a:gd name="T77" fmla="*/ 20 h 206"/>
                <a:gd name="T78" fmla="*/ 175 w 638"/>
                <a:gd name="T79" fmla="*/ 28 h 206"/>
                <a:gd name="T80" fmla="*/ 105 w 638"/>
                <a:gd name="T81" fmla="*/ 16 h 206"/>
                <a:gd name="T82" fmla="*/ 70 w 638"/>
                <a:gd name="T83" fmla="*/ 12 h 206"/>
                <a:gd name="T84" fmla="*/ 71 w 638"/>
                <a:gd name="T85" fmla="*/ 4 h 206"/>
                <a:gd name="T86" fmla="*/ 106 w 638"/>
                <a:gd name="T87" fmla="*/ 9 h 206"/>
                <a:gd name="T88" fmla="*/ 105 w 638"/>
                <a:gd name="T89" fmla="*/ 16 h 206"/>
                <a:gd name="T90" fmla="*/ 35 w 638"/>
                <a:gd name="T91" fmla="*/ 9 h 206"/>
                <a:gd name="T92" fmla="*/ 1 w 638"/>
                <a:gd name="T93" fmla="*/ 8 h 206"/>
                <a:gd name="T94" fmla="*/ 0 w 638"/>
                <a:gd name="T95" fmla="*/ 8 h 206"/>
                <a:gd name="T96" fmla="*/ 0 w 638"/>
                <a:gd name="T97" fmla="*/ 0 h 206"/>
                <a:gd name="T98" fmla="*/ 1 w 638"/>
                <a:gd name="T99" fmla="*/ 0 h 206"/>
                <a:gd name="T100" fmla="*/ 35 w 638"/>
                <a:gd name="T101" fmla="*/ 1 h 206"/>
                <a:gd name="T102" fmla="*/ 35 w 638"/>
                <a:gd name="T103" fmla="*/ 9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8" h="206">
                  <a:moveTo>
                    <a:pt x="634" y="206"/>
                  </a:moveTo>
                  <a:cubicBezTo>
                    <a:pt x="624" y="200"/>
                    <a:pt x="613" y="194"/>
                    <a:pt x="603" y="188"/>
                  </a:cubicBezTo>
                  <a:cubicBezTo>
                    <a:pt x="607" y="181"/>
                    <a:pt x="607" y="181"/>
                    <a:pt x="607" y="181"/>
                  </a:cubicBezTo>
                  <a:cubicBezTo>
                    <a:pt x="617" y="187"/>
                    <a:pt x="628" y="193"/>
                    <a:pt x="638" y="199"/>
                  </a:cubicBezTo>
                  <a:lnTo>
                    <a:pt x="634" y="206"/>
                  </a:lnTo>
                  <a:close/>
                  <a:moveTo>
                    <a:pt x="572" y="171"/>
                  </a:moveTo>
                  <a:cubicBezTo>
                    <a:pt x="562" y="166"/>
                    <a:pt x="552" y="160"/>
                    <a:pt x="541" y="155"/>
                  </a:cubicBezTo>
                  <a:cubicBezTo>
                    <a:pt x="545" y="148"/>
                    <a:pt x="545" y="148"/>
                    <a:pt x="545" y="148"/>
                  </a:cubicBezTo>
                  <a:cubicBezTo>
                    <a:pt x="555" y="153"/>
                    <a:pt x="566" y="159"/>
                    <a:pt x="576" y="164"/>
                  </a:cubicBezTo>
                  <a:lnTo>
                    <a:pt x="572" y="171"/>
                  </a:lnTo>
                  <a:close/>
                  <a:moveTo>
                    <a:pt x="509" y="139"/>
                  </a:moveTo>
                  <a:cubicBezTo>
                    <a:pt x="499" y="134"/>
                    <a:pt x="488" y="129"/>
                    <a:pt x="477" y="124"/>
                  </a:cubicBezTo>
                  <a:cubicBezTo>
                    <a:pt x="481" y="117"/>
                    <a:pt x="481" y="117"/>
                    <a:pt x="481" y="117"/>
                  </a:cubicBezTo>
                  <a:cubicBezTo>
                    <a:pt x="491" y="122"/>
                    <a:pt x="502" y="127"/>
                    <a:pt x="513" y="132"/>
                  </a:cubicBezTo>
                  <a:lnTo>
                    <a:pt x="509" y="139"/>
                  </a:lnTo>
                  <a:close/>
                  <a:moveTo>
                    <a:pt x="445" y="110"/>
                  </a:moveTo>
                  <a:cubicBezTo>
                    <a:pt x="434" y="106"/>
                    <a:pt x="423" y="101"/>
                    <a:pt x="412" y="97"/>
                  </a:cubicBezTo>
                  <a:cubicBezTo>
                    <a:pt x="415" y="90"/>
                    <a:pt x="415" y="90"/>
                    <a:pt x="415" y="90"/>
                  </a:cubicBezTo>
                  <a:cubicBezTo>
                    <a:pt x="426" y="94"/>
                    <a:pt x="437" y="98"/>
                    <a:pt x="448" y="103"/>
                  </a:cubicBezTo>
                  <a:lnTo>
                    <a:pt x="445" y="110"/>
                  </a:lnTo>
                  <a:close/>
                  <a:moveTo>
                    <a:pt x="379" y="85"/>
                  </a:moveTo>
                  <a:cubicBezTo>
                    <a:pt x="368" y="81"/>
                    <a:pt x="357" y="77"/>
                    <a:pt x="346" y="73"/>
                  </a:cubicBezTo>
                  <a:cubicBezTo>
                    <a:pt x="348" y="66"/>
                    <a:pt x="348" y="66"/>
                    <a:pt x="348" y="66"/>
                  </a:cubicBezTo>
                  <a:cubicBezTo>
                    <a:pt x="359" y="69"/>
                    <a:pt x="371" y="73"/>
                    <a:pt x="382" y="77"/>
                  </a:cubicBezTo>
                  <a:lnTo>
                    <a:pt x="379" y="85"/>
                  </a:lnTo>
                  <a:close/>
                  <a:moveTo>
                    <a:pt x="312" y="62"/>
                  </a:moveTo>
                  <a:cubicBezTo>
                    <a:pt x="301" y="59"/>
                    <a:pt x="289" y="56"/>
                    <a:pt x="278" y="53"/>
                  </a:cubicBezTo>
                  <a:cubicBezTo>
                    <a:pt x="280" y="45"/>
                    <a:pt x="280" y="45"/>
                    <a:pt x="280" y="45"/>
                  </a:cubicBezTo>
                  <a:cubicBezTo>
                    <a:pt x="292" y="48"/>
                    <a:pt x="303" y="51"/>
                    <a:pt x="314" y="55"/>
                  </a:cubicBezTo>
                  <a:lnTo>
                    <a:pt x="312" y="62"/>
                  </a:lnTo>
                  <a:close/>
                  <a:moveTo>
                    <a:pt x="244" y="43"/>
                  </a:moveTo>
                  <a:cubicBezTo>
                    <a:pt x="232" y="41"/>
                    <a:pt x="221" y="38"/>
                    <a:pt x="209" y="35"/>
                  </a:cubicBezTo>
                  <a:cubicBezTo>
                    <a:pt x="211" y="28"/>
                    <a:pt x="211" y="28"/>
                    <a:pt x="211" y="28"/>
                  </a:cubicBezTo>
                  <a:cubicBezTo>
                    <a:pt x="223" y="30"/>
                    <a:pt x="234" y="33"/>
                    <a:pt x="246" y="36"/>
                  </a:cubicBezTo>
                  <a:lnTo>
                    <a:pt x="244" y="43"/>
                  </a:lnTo>
                  <a:close/>
                  <a:moveTo>
                    <a:pt x="175" y="28"/>
                  </a:moveTo>
                  <a:cubicBezTo>
                    <a:pt x="163" y="26"/>
                    <a:pt x="152" y="24"/>
                    <a:pt x="140" y="22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53" y="16"/>
                    <a:pt x="165" y="18"/>
                    <a:pt x="176" y="20"/>
                  </a:cubicBezTo>
                  <a:lnTo>
                    <a:pt x="175" y="28"/>
                  </a:lnTo>
                  <a:close/>
                  <a:moveTo>
                    <a:pt x="105" y="16"/>
                  </a:moveTo>
                  <a:cubicBezTo>
                    <a:pt x="93" y="15"/>
                    <a:pt x="82" y="13"/>
                    <a:pt x="70" y="12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82" y="5"/>
                    <a:pt x="94" y="7"/>
                    <a:pt x="106" y="9"/>
                  </a:cubicBezTo>
                  <a:lnTo>
                    <a:pt x="105" y="16"/>
                  </a:lnTo>
                  <a:close/>
                  <a:moveTo>
                    <a:pt x="35" y="9"/>
                  </a:moveTo>
                  <a:cubicBezTo>
                    <a:pt x="16" y="8"/>
                    <a:pt x="4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4" y="0"/>
                    <a:pt x="16" y="0"/>
                    <a:pt x="35" y="1"/>
                  </a:cubicBezTo>
                  <a:lnTo>
                    <a:pt x="35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73564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866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4549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5355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4549" y="1150938"/>
            <a:ext cx="4165450" cy="3530600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6956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391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393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4764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27013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553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0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45432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8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8704355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6311333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2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41201023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638674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0"/>
            <a:ext cx="3851274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11905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7" y="1963196"/>
            <a:ext cx="5233987" cy="897618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sz="250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This space is reserved for quotes.</a:t>
            </a:r>
            <a:br>
              <a:rPr lang="en-US" dirty="0"/>
            </a:br>
            <a:r>
              <a:rPr lang="en-US" dirty="0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21059331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3" y="1485178"/>
            <a:ext cx="313416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0" cap="all" baseline="0" noProof="0" dirty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81031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19" y="519114"/>
            <a:ext cx="4802400" cy="44676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8969"/>
            <a:ext cx="4657246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144018"/>
            <a:ext cx="4657245" cy="1614951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57246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57246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06834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7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625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144000" cy="5148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333333"/>
          </a:solidFill>
        </p:spPr>
        <p:txBody>
          <a:bodyPr lIns="324000" tIns="576000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7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6875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with Gradient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596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6" y="0"/>
            <a:ext cx="3851275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7136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1150938"/>
            <a:ext cx="2722563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39" y="1150938"/>
            <a:ext cx="2722564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8337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sz="1200" dirty="0"/>
              <a:t>Bullet number, Delivery, 12 </a:t>
            </a:r>
            <a:r>
              <a:rPr lang="en-US" sz="1200" dirty="0" err="1"/>
              <a:t>pt</a:t>
            </a:r>
            <a:r>
              <a:rPr lang="en-US" sz="1200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212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0408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99" y="4803982"/>
            <a:ext cx="8117532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DHL Supply Chain | DHL European Fulfillment Network | 2021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41531" y="4803982"/>
            <a:ext cx="378469" cy="138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1150938"/>
            <a:ext cx="8495999" cy="35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sz="1200" dirty="0"/>
              <a:t>Paragraph Headline, Delivery Bold, 12 </a:t>
            </a:r>
            <a:r>
              <a:rPr lang="en-US" sz="1200" dirty="0" err="1"/>
              <a:t>pt</a:t>
            </a:r>
            <a:endParaRPr lang="en-US" sz="1200" dirty="0"/>
          </a:p>
          <a:p>
            <a:pPr lvl="6"/>
            <a:r>
              <a:rPr lang="en-US" sz="1200" dirty="0"/>
              <a:t>Bullet number, Delivery, 12 </a:t>
            </a:r>
            <a:r>
              <a:rPr lang="en-US" sz="1200" dirty="0" err="1"/>
              <a:t>pt</a:t>
            </a:r>
          </a:p>
          <a:p>
            <a:pPr lvl="6"/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8495999" cy="493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446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69" r:id="rId5"/>
    <p:sldLayoutId id="2147483653" r:id="rId6"/>
    <p:sldLayoutId id="2147483654" r:id="rId7"/>
    <p:sldLayoutId id="2147483666" r:id="rId8"/>
    <p:sldLayoutId id="2147483655" r:id="rId9"/>
    <p:sldLayoutId id="2147483656" r:id="rId10"/>
    <p:sldLayoutId id="2147483657" r:id="rId11"/>
    <p:sldLayoutId id="2147483658" r:id="rId12"/>
    <p:sldLayoutId id="2147483670" r:id="rId13"/>
    <p:sldLayoutId id="2147483671" r:id="rId14"/>
    <p:sldLayoutId id="2147483672" r:id="rId15"/>
    <p:sldLayoutId id="2147483661" r:id="rId16"/>
    <p:sldLayoutId id="2147483662" r:id="rId17"/>
    <p:sldLayoutId id="2147483663" r:id="rId18"/>
    <p:sldLayoutId id="2147483668" r:id="rId19"/>
    <p:sldLayoutId id="2147483664" r:id="rId20"/>
    <p:sldLayoutId id="2147483665" r:id="rId21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35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00" kern="10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04" userDrawn="1">
          <p15:clr>
            <a:srgbClr val="F26B43"/>
          </p15:clr>
        </p15:guide>
        <p15:guide id="3" pos="5556" userDrawn="1">
          <p15:clr>
            <a:srgbClr val="F26B43"/>
          </p15:clr>
        </p15:guide>
        <p15:guide id="6" orient="horz" pos="725" userDrawn="1">
          <p15:clr>
            <a:srgbClr val="F26B43"/>
          </p15:clr>
        </p15:guide>
        <p15:guide id="17" orient="horz" pos="2949" userDrawn="1">
          <p15:clr>
            <a:srgbClr val="F26B43"/>
          </p15:clr>
        </p15:guide>
        <p15:guide id="18" orient="horz" pos="2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image" Target="../media/image15.png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notesSlide" Target="../notesSlides/notesSlide1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slideLayout" Target="../slideLayouts/slideLayout15.xml"/><Relationship Id="rId5" Type="http://schemas.openxmlformats.org/officeDocument/2006/relationships/tags" Target="../tags/tag15.xml"/><Relationship Id="rId15" Type="http://schemas.openxmlformats.org/officeDocument/2006/relationships/chart" Target="../charts/chart2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orbes.com/sites/johnkoetsier/2020/06/12/covid-19-accelerated-e-commerce-growth-4-to-6-years/?sh=38cc966600fa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w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1D8AA51-79C2-4231-920A-30B201722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fr-FR" b="0" i="0" u="none" baseline="0">
                <a:effectLst>
                  <a:glow rad="215900">
                    <a:srgbClr val="FFCC00">
                      <a:alpha val="15000"/>
                    </a:srgbClr>
                  </a:glow>
                </a:effectLst>
              </a:rPr>
              <a:t>DHL European Fulfillment Network</a:t>
            </a:r>
            <a:endParaRPr lang="fr-F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D29B00-2C46-4986-B7E6-FADD134C5E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fr-FR" b="1" i="0" u="none" baseline="0"/>
              <a:t>DHL Supply Chain</a:t>
            </a:r>
            <a:endParaRPr lang="fr-FR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5C1B9D1-7397-4054-AB5C-E13CA03D47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87036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17796B2-12F1-4AAA-8482-383F9901DC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37410" y="0"/>
            <a:ext cx="3006589" cy="5143500"/>
          </a:xfrm>
        </p:spPr>
        <p:txBody>
          <a:bodyPr/>
          <a:lstStyle/>
          <a:p>
            <a:pPr algn="l" rtl="0"/>
            <a:r>
              <a:rPr lang="fr-FR" b="0" i="0" u="none" baseline="0"/>
              <a:t> </a:t>
            </a:r>
            <a:endParaRPr lang="fr-FR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D3F938-DD09-4A2C-8C19-09760F0CC6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  <a:endParaRPr lang="fr-FR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BBB826-20D6-4809-8C59-CA9F260038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10</a:t>
            </a:fld>
            <a:endParaRPr lang="fr-FR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29140B4-9CC6-4264-8D66-5DA5BEA63EB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4001" y="1150938"/>
            <a:ext cx="5321027" cy="3530600"/>
          </a:xfrm>
        </p:spPr>
        <p:txBody>
          <a:bodyPr anchor="t" anchorCtr="0"/>
          <a:lstStyle/>
          <a:p>
            <a:pPr lvl="1" algn="l" rtl="0"/>
            <a:r>
              <a:rPr lang="fr-FR" sz="1400" b="1" i="0" u="none" spc="-30" baseline="0" dirty="0"/>
              <a:t>Intégration </a:t>
            </a:r>
            <a:r>
              <a:rPr lang="fr-FR" sz="1400" b="0" i="0" u="none" spc="-30" baseline="0" dirty="0"/>
              <a:t>de tous les </a:t>
            </a:r>
            <a:r>
              <a:rPr lang="fr-FR" sz="1400" b="1" i="0" u="none" spc="-30" baseline="0" dirty="0"/>
              <a:t>transporteurs leaders du marché </a:t>
            </a:r>
            <a:r>
              <a:rPr lang="fr-FR" sz="1400" b="0" i="0" u="none" spc="-30" baseline="0" dirty="0"/>
              <a:t>en Europe</a:t>
            </a:r>
          </a:p>
          <a:p>
            <a:pPr lvl="1" algn="l" rtl="0"/>
            <a:r>
              <a:rPr lang="fr-FR" sz="1400" b="0" i="0" u="none" baseline="0" dirty="0"/>
              <a:t>Couverture supérieure pour les </a:t>
            </a:r>
            <a:r>
              <a:rPr lang="fr-FR" sz="1400" b="1" i="0" u="none" baseline="0" dirty="0"/>
              <a:t>livraisons le lendemain </a:t>
            </a:r>
            <a:r>
              <a:rPr lang="fr-FR" sz="1400" b="0" i="0" u="none" baseline="0" dirty="0"/>
              <a:t>et </a:t>
            </a:r>
            <a:r>
              <a:rPr lang="fr-FR" sz="1400" b="1" i="0" u="none" baseline="0" dirty="0"/>
              <a:t>options de service étendues </a:t>
            </a:r>
            <a:r>
              <a:rPr lang="fr-FR" sz="1400" b="0" i="0" u="none" baseline="0" dirty="0"/>
              <a:t>pour le consommateur final ; créneaux horaires préférentiels, livraison à la demande / contrôles en vol, et plus encor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D47F287-5D85-4694-BA2D-ED70D15F4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5593510" cy="493950"/>
          </a:xfrm>
        </p:spPr>
        <p:txBody>
          <a:bodyPr/>
          <a:lstStyle/>
          <a:p>
            <a:pPr algn="l" rtl="0"/>
            <a:r>
              <a:rPr lang="fr-FR" b="1" i="0" u="none" baseline="0"/>
              <a:t>Qu’est-ce que le European Fulfillment Network ?</a:t>
            </a:r>
            <a:endParaRPr lang="fr-FR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46F48E4-F0B7-4127-A6BB-6BAFCE278D16}"/>
              </a:ext>
            </a:extLst>
          </p:cNvPr>
          <p:cNvGrpSpPr/>
          <p:nvPr/>
        </p:nvGrpSpPr>
        <p:grpSpPr>
          <a:xfrm>
            <a:off x="323688" y="2538555"/>
            <a:ext cx="5299237" cy="2142982"/>
            <a:chOff x="323688" y="2413369"/>
            <a:chExt cx="5608800" cy="2268168"/>
          </a:xfrm>
        </p:grpSpPr>
        <p:pic>
          <p:nvPicPr>
            <p:cNvPr id="223" name="Picture 8" descr="person giving brown box">
              <a:extLst>
                <a:ext uri="{FF2B5EF4-FFF2-40B4-BE49-F238E27FC236}">
                  <a16:creationId xmlns:a16="http://schemas.microsoft.com/office/drawing/2014/main" id="{DB6F8E22-64CC-4449-B0CF-E4F07064D65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110448" y="2413369"/>
              <a:ext cx="2822040" cy="2268168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5" name="Picture 2">
              <a:extLst>
                <a:ext uri="{FF2B5EF4-FFF2-40B4-BE49-F238E27FC236}">
                  <a16:creationId xmlns:a16="http://schemas.microsoft.com/office/drawing/2014/main" id="{1864E324-B582-40E2-9CF4-006FBF398B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3688" y="2413369"/>
              <a:ext cx="2786762" cy="2268168"/>
            </a:xfrm>
            <a:prstGeom prst="rect">
              <a:avLst/>
            </a:prstGeom>
          </p:spPr>
        </p:pic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E153FD54-9D57-4EA1-AD69-3D878CA31CDB}"/>
                </a:ext>
              </a:extLst>
            </p:cNvPr>
            <p:cNvCxnSpPr>
              <a:cxnSpLocks/>
            </p:cNvCxnSpPr>
            <p:nvPr/>
          </p:nvCxnSpPr>
          <p:spPr>
            <a:xfrm>
              <a:off x="3093334" y="2413369"/>
              <a:ext cx="17114" cy="22639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2" name="Rectangle 42">
            <a:extLst>
              <a:ext uri="{FF2B5EF4-FFF2-40B4-BE49-F238E27FC236}">
                <a16:creationId xmlns:a16="http://schemas.microsoft.com/office/drawing/2014/main" id="{F389A1F1-F907-4973-8C1D-01BB4AFE7BE0}"/>
              </a:ext>
            </a:extLst>
          </p:cNvPr>
          <p:cNvSpPr/>
          <p:nvPr/>
        </p:nvSpPr>
        <p:spPr>
          <a:xfrm>
            <a:off x="7833349" y="3676425"/>
            <a:ext cx="1024901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1" i="0" u="none" baseline="0"/>
              <a:t>Dernier kilomètre</a:t>
            </a:r>
          </a:p>
          <a:p>
            <a:pPr algn="ctr" rtl="0">
              <a:lnSpc>
                <a:spcPct val="95000"/>
              </a:lnSpc>
            </a:pPr>
            <a:r>
              <a:rPr lang="fr-FR" sz="1000" b="1" i="0" u="none" baseline="0"/>
              <a:t>indépendant du transporteur</a:t>
            </a:r>
          </a:p>
        </p:txBody>
      </p:sp>
      <p:sp>
        <p:nvSpPr>
          <p:cNvPr id="219" name="Rectangle 43">
            <a:extLst>
              <a:ext uri="{FF2B5EF4-FFF2-40B4-BE49-F238E27FC236}">
                <a16:creationId xmlns:a16="http://schemas.microsoft.com/office/drawing/2014/main" id="{3D5350B4-8ABC-439F-855E-62D9343EC60C}"/>
              </a:ext>
            </a:extLst>
          </p:cNvPr>
          <p:cNvSpPr/>
          <p:nvPr/>
        </p:nvSpPr>
        <p:spPr>
          <a:xfrm>
            <a:off x="6768977" y="4414343"/>
            <a:ext cx="1024901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Traitement et expédition des retours</a:t>
            </a:r>
          </a:p>
        </p:txBody>
      </p:sp>
      <p:sp>
        <p:nvSpPr>
          <p:cNvPr id="228" name="Rectangle 46">
            <a:extLst>
              <a:ext uri="{FF2B5EF4-FFF2-40B4-BE49-F238E27FC236}">
                <a16:creationId xmlns:a16="http://schemas.microsoft.com/office/drawing/2014/main" id="{792313EA-B405-4DE8-830F-6A6AD7B477D7}"/>
              </a:ext>
            </a:extLst>
          </p:cNvPr>
          <p:cNvSpPr/>
          <p:nvPr/>
        </p:nvSpPr>
        <p:spPr>
          <a:xfrm>
            <a:off x="7855262" y="2327365"/>
            <a:ext cx="1024901" cy="14619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 dirty="0">
                <a:solidFill>
                  <a:schemeClr val="accent1"/>
                </a:solidFill>
              </a:rPr>
              <a:t>Manutention des expéditions entrantes</a:t>
            </a:r>
          </a:p>
        </p:txBody>
      </p:sp>
      <p:sp>
        <p:nvSpPr>
          <p:cNvPr id="229" name="Rectangle 62">
            <a:extLst>
              <a:ext uri="{FF2B5EF4-FFF2-40B4-BE49-F238E27FC236}">
                <a16:creationId xmlns:a16="http://schemas.microsoft.com/office/drawing/2014/main" id="{F4EB3663-08CF-4F17-AAAB-02DBD74C5A4B}"/>
              </a:ext>
            </a:extLst>
          </p:cNvPr>
          <p:cNvSpPr/>
          <p:nvPr/>
        </p:nvSpPr>
        <p:spPr>
          <a:xfrm>
            <a:off x="6784217" y="2929660"/>
            <a:ext cx="1024901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Stockage et traitement</a:t>
            </a:r>
          </a:p>
        </p:txBody>
      </p:sp>
      <p:sp>
        <p:nvSpPr>
          <p:cNvPr id="230" name="Rectangle 78">
            <a:extLst>
              <a:ext uri="{FF2B5EF4-FFF2-40B4-BE49-F238E27FC236}">
                <a16:creationId xmlns:a16="http://schemas.microsoft.com/office/drawing/2014/main" id="{209CADFA-41C3-4A61-AB61-BF9ACEAB71EF}"/>
              </a:ext>
            </a:extLst>
          </p:cNvPr>
          <p:cNvSpPr/>
          <p:nvPr/>
        </p:nvSpPr>
        <p:spPr>
          <a:xfrm>
            <a:off x="6560697" y="381000"/>
            <a:ext cx="1468266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European</a:t>
            </a:r>
          </a:p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Fulfillment Network</a:t>
            </a:r>
          </a:p>
        </p:txBody>
      </p:sp>
      <p:sp>
        <p:nvSpPr>
          <p:cNvPr id="231" name="Rectangle 80">
            <a:extLst>
              <a:ext uri="{FF2B5EF4-FFF2-40B4-BE49-F238E27FC236}">
                <a16:creationId xmlns:a16="http://schemas.microsoft.com/office/drawing/2014/main" id="{C53FA9C9-D7EE-4388-B5AC-A0D4490EEC4C}"/>
              </a:ext>
            </a:extLst>
          </p:cNvPr>
          <p:cNvSpPr/>
          <p:nvPr/>
        </p:nvSpPr>
        <p:spPr>
          <a:xfrm rot="16200000">
            <a:off x="4698242" y="2792169"/>
            <a:ext cx="3530600" cy="248136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200" b="1" i="0" u="none" baseline="0"/>
              <a:t>Caractéristiques clés du produit</a:t>
            </a:r>
          </a:p>
        </p:txBody>
      </p:sp>
      <p:sp>
        <p:nvSpPr>
          <p:cNvPr id="232" name="Oval 6">
            <a:extLst>
              <a:ext uri="{FF2B5EF4-FFF2-40B4-BE49-F238E27FC236}">
                <a16:creationId xmlns:a16="http://schemas.microsoft.com/office/drawing/2014/main" id="{2DC27C23-7070-41DA-ADD8-F287AAEE08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686" y="2169501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33" name="Freeform 5">
            <a:extLst>
              <a:ext uri="{FF2B5EF4-FFF2-40B4-BE49-F238E27FC236}">
                <a16:creationId xmlns:a16="http://schemas.microsoft.com/office/drawing/2014/main" id="{AA4AEA64-7FC4-4820-9EB6-EC3B2153CC67}"/>
              </a:ext>
            </a:extLst>
          </p:cNvPr>
          <p:cNvSpPr>
            <a:spLocks noEditPoints="1"/>
          </p:cNvSpPr>
          <p:nvPr/>
        </p:nvSpPr>
        <p:spPr bwMode="auto">
          <a:xfrm>
            <a:off x="7121380" y="2396402"/>
            <a:ext cx="360612" cy="266199"/>
          </a:xfrm>
          <a:custGeom>
            <a:avLst/>
            <a:gdLst>
              <a:gd name="T0" fmla="*/ 76 w 630"/>
              <a:gd name="T1" fmla="*/ 249 h 468"/>
              <a:gd name="T2" fmla="*/ 171 w 630"/>
              <a:gd name="T3" fmla="*/ 249 h 468"/>
              <a:gd name="T4" fmla="*/ 171 w 630"/>
              <a:gd name="T5" fmla="*/ 290 h 468"/>
              <a:gd name="T6" fmla="*/ 76 w 630"/>
              <a:gd name="T7" fmla="*/ 290 h 468"/>
              <a:gd name="T8" fmla="*/ 76 w 630"/>
              <a:gd name="T9" fmla="*/ 249 h 468"/>
              <a:gd name="T10" fmla="*/ 200 w 630"/>
              <a:gd name="T11" fmla="*/ 249 h 468"/>
              <a:gd name="T12" fmla="*/ 293 w 630"/>
              <a:gd name="T13" fmla="*/ 249 h 468"/>
              <a:gd name="T14" fmla="*/ 293 w 630"/>
              <a:gd name="T15" fmla="*/ 290 h 468"/>
              <a:gd name="T16" fmla="*/ 200 w 630"/>
              <a:gd name="T17" fmla="*/ 290 h 468"/>
              <a:gd name="T18" fmla="*/ 200 w 630"/>
              <a:gd name="T19" fmla="*/ 249 h 468"/>
              <a:gd name="T20" fmla="*/ 322 w 630"/>
              <a:gd name="T21" fmla="*/ 249 h 468"/>
              <a:gd name="T22" fmla="*/ 417 w 630"/>
              <a:gd name="T23" fmla="*/ 249 h 468"/>
              <a:gd name="T24" fmla="*/ 417 w 630"/>
              <a:gd name="T25" fmla="*/ 290 h 468"/>
              <a:gd name="T26" fmla="*/ 322 w 630"/>
              <a:gd name="T27" fmla="*/ 290 h 468"/>
              <a:gd name="T28" fmla="*/ 322 w 630"/>
              <a:gd name="T29" fmla="*/ 249 h 468"/>
              <a:gd name="T30" fmla="*/ 446 w 630"/>
              <a:gd name="T31" fmla="*/ 249 h 468"/>
              <a:gd name="T32" fmla="*/ 539 w 630"/>
              <a:gd name="T33" fmla="*/ 249 h 468"/>
              <a:gd name="T34" fmla="*/ 539 w 630"/>
              <a:gd name="T35" fmla="*/ 290 h 468"/>
              <a:gd name="T36" fmla="*/ 446 w 630"/>
              <a:gd name="T37" fmla="*/ 290 h 468"/>
              <a:gd name="T38" fmla="*/ 446 w 630"/>
              <a:gd name="T39" fmla="*/ 249 h 468"/>
              <a:gd name="T40" fmla="*/ 315 w 630"/>
              <a:gd name="T41" fmla="*/ 0 h 468"/>
              <a:gd name="T42" fmla="*/ 0 w 630"/>
              <a:gd name="T43" fmla="*/ 124 h 468"/>
              <a:gd name="T44" fmla="*/ 0 w 630"/>
              <a:gd name="T45" fmla="*/ 177 h 468"/>
              <a:gd name="T46" fmla="*/ 45 w 630"/>
              <a:gd name="T47" fmla="*/ 180 h 468"/>
              <a:gd name="T48" fmla="*/ 45 w 630"/>
              <a:gd name="T49" fmla="*/ 465 h 468"/>
              <a:gd name="T50" fmla="*/ 312 w 630"/>
              <a:gd name="T51" fmla="*/ 465 h 468"/>
              <a:gd name="T52" fmla="*/ 312 w 630"/>
              <a:gd name="T53" fmla="*/ 367 h 468"/>
              <a:gd name="T54" fmla="*/ 536 w 630"/>
              <a:gd name="T55" fmla="*/ 367 h 468"/>
              <a:gd name="T56" fmla="*/ 536 w 630"/>
              <a:gd name="T57" fmla="*/ 468 h 468"/>
              <a:gd name="T58" fmla="*/ 584 w 630"/>
              <a:gd name="T59" fmla="*/ 468 h 468"/>
              <a:gd name="T60" fmla="*/ 584 w 630"/>
              <a:gd name="T61" fmla="*/ 177 h 468"/>
              <a:gd name="T62" fmla="*/ 630 w 630"/>
              <a:gd name="T63" fmla="*/ 177 h 468"/>
              <a:gd name="T64" fmla="*/ 630 w 630"/>
              <a:gd name="T65" fmla="*/ 127 h 468"/>
              <a:gd name="T66" fmla="*/ 315 w 630"/>
              <a:gd name="T67" fmla="*/ 0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30" h="468">
                <a:moveTo>
                  <a:pt x="76" y="249"/>
                </a:moveTo>
                <a:lnTo>
                  <a:pt x="171" y="249"/>
                </a:lnTo>
                <a:lnTo>
                  <a:pt x="171" y="290"/>
                </a:lnTo>
                <a:lnTo>
                  <a:pt x="76" y="290"/>
                </a:lnTo>
                <a:lnTo>
                  <a:pt x="76" y="249"/>
                </a:lnTo>
                <a:close/>
                <a:moveTo>
                  <a:pt x="200" y="249"/>
                </a:moveTo>
                <a:lnTo>
                  <a:pt x="293" y="249"/>
                </a:lnTo>
                <a:lnTo>
                  <a:pt x="293" y="290"/>
                </a:lnTo>
                <a:lnTo>
                  <a:pt x="200" y="290"/>
                </a:lnTo>
                <a:lnTo>
                  <a:pt x="200" y="249"/>
                </a:lnTo>
                <a:close/>
                <a:moveTo>
                  <a:pt x="322" y="249"/>
                </a:moveTo>
                <a:lnTo>
                  <a:pt x="417" y="249"/>
                </a:lnTo>
                <a:lnTo>
                  <a:pt x="417" y="290"/>
                </a:lnTo>
                <a:lnTo>
                  <a:pt x="322" y="290"/>
                </a:lnTo>
                <a:lnTo>
                  <a:pt x="322" y="249"/>
                </a:lnTo>
                <a:close/>
                <a:moveTo>
                  <a:pt x="446" y="249"/>
                </a:moveTo>
                <a:lnTo>
                  <a:pt x="539" y="249"/>
                </a:lnTo>
                <a:lnTo>
                  <a:pt x="539" y="290"/>
                </a:lnTo>
                <a:lnTo>
                  <a:pt x="446" y="290"/>
                </a:lnTo>
                <a:lnTo>
                  <a:pt x="446" y="249"/>
                </a:lnTo>
                <a:close/>
                <a:moveTo>
                  <a:pt x="315" y="0"/>
                </a:moveTo>
                <a:lnTo>
                  <a:pt x="0" y="124"/>
                </a:lnTo>
                <a:lnTo>
                  <a:pt x="0" y="177"/>
                </a:lnTo>
                <a:lnTo>
                  <a:pt x="45" y="180"/>
                </a:lnTo>
                <a:lnTo>
                  <a:pt x="45" y="465"/>
                </a:lnTo>
                <a:lnTo>
                  <a:pt x="312" y="465"/>
                </a:lnTo>
                <a:lnTo>
                  <a:pt x="312" y="367"/>
                </a:lnTo>
                <a:lnTo>
                  <a:pt x="536" y="367"/>
                </a:lnTo>
                <a:lnTo>
                  <a:pt x="536" y="468"/>
                </a:lnTo>
                <a:lnTo>
                  <a:pt x="584" y="468"/>
                </a:lnTo>
                <a:lnTo>
                  <a:pt x="584" y="177"/>
                </a:lnTo>
                <a:lnTo>
                  <a:pt x="630" y="177"/>
                </a:lnTo>
                <a:lnTo>
                  <a:pt x="630" y="127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34" name="Oval 7">
            <a:extLst>
              <a:ext uri="{FF2B5EF4-FFF2-40B4-BE49-F238E27FC236}">
                <a16:creationId xmlns:a16="http://schemas.microsoft.com/office/drawing/2014/main" id="{7A3691D8-FFA4-4914-984F-0983341162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7985" y="2909129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235" name="Gruppieren 234">
            <a:extLst>
              <a:ext uri="{FF2B5EF4-FFF2-40B4-BE49-F238E27FC236}">
                <a16:creationId xmlns:a16="http://schemas.microsoft.com/office/drawing/2014/main" id="{57C32C3D-6B7B-45FD-9844-00D076258960}"/>
              </a:ext>
            </a:extLst>
          </p:cNvPr>
          <p:cNvGrpSpPr/>
          <p:nvPr/>
        </p:nvGrpSpPr>
        <p:grpSpPr>
          <a:xfrm>
            <a:off x="8028031" y="3159718"/>
            <a:ext cx="549989" cy="218821"/>
            <a:chOff x="1455282" y="1844935"/>
            <a:chExt cx="1203137" cy="481714"/>
          </a:xfrm>
          <a:solidFill>
            <a:schemeClr val="accent4"/>
          </a:solidFill>
        </p:grpSpPr>
        <p:grpSp>
          <p:nvGrpSpPr>
            <p:cNvPr id="236" name="Group 337954">
              <a:extLst>
                <a:ext uri="{FF2B5EF4-FFF2-40B4-BE49-F238E27FC236}">
                  <a16:creationId xmlns:a16="http://schemas.microsoft.com/office/drawing/2014/main" id="{01A9D5F8-AA7C-432F-B3B6-117CB24C2C0B}"/>
                </a:ext>
              </a:extLst>
            </p:cNvPr>
            <p:cNvGrpSpPr/>
            <p:nvPr/>
          </p:nvGrpSpPr>
          <p:grpSpPr>
            <a:xfrm>
              <a:off x="1777943" y="1844935"/>
              <a:ext cx="880476" cy="481714"/>
              <a:chOff x="-1220788" y="1668463"/>
              <a:chExt cx="960438" cy="525462"/>
            </a:xfrm>
            <a:grpFill/>
          </p:grpSpPr>
          <p:sp>
            <p:nvSpPr>
              <p:cNvPr id="238" name="Freeform 55">
                <a:extLst>
                  <a:ext uri="{FF2B5EF4-FFF2-40B4-BE49-F238E27FC236}">
                    <a16:creationId xmlns:a16="http://schemas.microsoft.com/office/drawing/2014/main" id="{938E13A9-BBFD-472D-8050-8B4FB3CBBA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160463" y="2001838"/>
                <a:ext cx="184150" cy="192087"/>
              </a:xfrm>
              <a:custGeom>
                <a:avLst/>
                <a:gdLst>
                  <a:gd name="T0" fmla="*/ 49 w 49"/>
                  <a:gd name="T1" fmla="*/ 25 h 51"/>
                  <a:gd name="T2" fmla="*/ 25 w 49"/>
                  <a:gd name="T3" fmla="*/ 0 h 51"/>
                  <a:gd name="T4" fmla="*/ 0 w 49"/>
                  <a:gd name="T5" fmla="*/ 25 h 51"/>
                  <a:gd name="T6" fmla="*/ 25 w 49"/>
                  <a:gd name="T7" fmla="*/ 51 h 51"/>
                  <a:gd name="T8" fmla="*/ 49 w 49"/>
                  <a:gd name="T9" fmla="*/ 25 h 51"/>
                  <a:gd name="T10" fmla="*/ 36 w 49"/>
                  <a:gd name="T11" fmla="*/ 25 h 51"/>
                  <a:gd name="T12" fmla="*/ 25 w 49"/>
                  <a:gd name="T13" fmla="*/ 37 h 51"/>
                  <a:gd name="T14" fmla="*/ 15 w 49"/>
                  <a:gd name="T15" fmla="*/ 25 h 51"/>
                  <a:gd name="T16" fmla="*/ 25 w 49"/>
                  <a:gd name="T17" fmla="*/ 14 h 51"/>
                  <a:gd name="T18" fmla="*/ 36 w 49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51">
                    <a:moveTo>
                      <a:pt x="49" y="25"/>
                    </a:moveTo>
                    <a:cubicBezTo>
                      <a:pt x="49" y="12"/>
                      <a:pt x="38" y="0"/>
                      <a:pt x="25" y="0"/>
                    </a:cubicBezTo>
                    <a:cubicBezTo>
                      <a:pt x="12" y="0"/>
                      <a:pt x="0" y="12"/>
                      <a:pt x="0" y="25"/>
                    </a:cubicBezTo>
                    <a:cubicBezTo>
                      <a:pt x="0" y="39"/>
                      <a:pt x="12" y="51"/>
                      <a:pt x="25" y="51"/>
                    </a:cubicBezTo>
                    <a:cubicBezTo>
                      <a:pt x="38" y="51"/>
                      <a:pt x="49" y="39"/>
                      <a:pt x="49" y="25"/>
                    </a:cubicBezTo>
                    <a:close/>
                    <a:moveTo>
                      <a:pt x="36" y="25"/>
                    </a:moveTo>
                    <a:cubicBezTo>
                      <a:pt x="36" y="32"/>
                      <a:pt x="31" y="37"/>
                      <a:pt x="25" y="37"/>
                    </a:cubicBezTo>
                    <a:cubicBezTo>
                      <a:pt x="19" y="37"/>
                      <a:pt x="15" y="32"/>
                      <a:pt x="15" y="25"/>
                    </a:cubicBezTo>
                    <a:cubicBezTo>
                      <a:pt x="15" y="19"/>
                      <a:pt x="19" y="14"/>
                      <a:pt x="25" y="14"/>
                    </a:cubicBezTo>
                    <a:cubicBezTo>
                      <a:pt x="31" y="14"/>
                      <a:pt x="36" y="19"/>
                      <a:pt x="36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9" name="Freeform 56">
                <a:extLst>
                  <a:ext uri="{FF2B5EF4-FFF2-40B4-BE49-F238E27FC236}">
                    <a16:creationId xmlns:a16="http://schemas.microsoft.com/office/drawing/2014/main" id="{AFAA8308-E8BF-48EE-9D2F-C0875B552A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19113" y="2001838"/>
                <a:ext cx="180975" cy="192087"/>
              </a:xfrm>
              <a:custGeom>
                <a:avLst/>
                <a:gdLst>
                  <a:gd name="T0" fmla="*/ 48 w 48"/>
                  <a:gd name="T1" fmla="*/ 25 h 51"/>
                  <a:gd name="T2" fmla="*/ 23 w 48"/>
                  <a:gd name="T3" fmla="*/ 0 h 51"/>
                  <a:gd name="T4" fmla="*/ 0 w 48"/>
                  <a:gd name="T5" fmla="*/ 25 h 51"/>
                  <a:gd name="T6" fmla="*/ 23 w 48"/>
                  <a:gd name="T7" fmla="*/ 51 h 51"/>
                  <a:gd name="T8" fmla="*/ 48 w 48"/>
                  <a:gd name="T9" fmla="*/ 25 h 51"/>
                  <a:gd name="T10" fmla="*/ 35 w 48"/>
                  <a:gd name="T11" fmla="*/ 25 h 51"/>
                  <a:gd name="T12" fmla="*/ 23 w 48"/>
                  <a:gd name="T13" fmla="*/ 37 h 51"/>
                  <a:gd name="T14" fmla="*/ 13 w 48"/>
                  <a:gd name="T15" fmla="*/ 25 h 51"/>
                  <a:gd name="T16" fmla="*/ 23 w 48"/>
                  <a:gd name="T17" fmla="*/ 14 h 51"/>
                  <a:gd name="T18" fmla="*/ 35 w 48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51">
                    <a:moveTo>
                      <a:pt x="48" y="25"/>
                    </a:moveTo>
                    <a:cubicBezTo>
                      <a:pt x="48" y="12"/>
                      <a:pt x="37" y="0"/>
                      <a:pt x="23" y="0"/>
                    </a:cubicBezTo>
                    <a:cubicBezTo>
                      <a:pt x="10" y="0"/>
                      <a:pt x="0" y="12"/>
                      <a:pt x="0" y="25"/>
                    </a:cubicBezTo>
                    <a:cubicBezTo>
                      <a:pt x="0" y="39"/>
                      <a:pt x="10" y="51"/>
                      <a:pt x="23" y="51"/>
                    </a:cubicBezTo>
                    <a:cubicBezTo>
                      <a:pt x="37" y="51"/>
                      <a:pt x="48" y="39"/>
                      <a:pt x="48" y="25"/>
                    </a:cubicBezTo>
                    <a:close/>
                    <a:moveTo>
                      <a:pt x="35" y="25"/>
                    </a:moveTo>
                    <a:cubicBezTo>
                      <a:pt x="35" y="32"/>
                      <a:pt x="29" y="37"/>
                      <a:pt x="23" y="37"/>
                    </a:cubicBezTo>
                    <a:cubicBezTo>
                      <a:pt x="17" y="37"/>
                      <a:pt x="13" y="32"/>
                      <a:pt x="13" y="25"/>
                    </a:cubicBezTo>
                    <a:cubicBezTo>
                      <a:pt x="13" y="19"/>
                      <a:pt x="17" y="14"/>
                      <a:pt x="23" y="14"/>
                    </a:cubicBezTo>
                    <a:cubicBezTo>
                      <a:pt x="29" y="14"/>
                      <a:pt x="35" y="19"/>
                      <a:pt x="35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0" name="Freeform 57">
                <a:extLst>
                  <a:ext uri="{FF2B5EF4-FFF2-40B4-BE49-F238E27FC236}">
                    <a16:creationId xmlns:a16="http://schemas.microsoft.com/office/drawing/2014/main" id="{63F189CD-0D19-4351-986D-048DE955A5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0788" y="2012950"/>
                <a:ext cx="79375" cy="82550"/>
              </a:xfrm>
              <a:custGeom>
                <a:avLst/>
                <a:gdLst>
                  <a:gd name="T0" fmla="*/ 0 w 21"/>
                  <a:gd name="T1" fmla="*/ 0 h 22"/>
                  <a:gd name="T2" fmla="*/ 0 w 21"/>
                  <a:gd name="T3" fmla="*/ 20 h 22"/>
                  <a:gd name="T4" fmla="*/ 4 w 21"/>
                  <a:gd name="T5" fmla="*/ 22 h 22"/>
                  <a:gd name="T6" fmla="*/ 11 w 21"/>
                  <a:gd name="T7" fmla="*/ 22 h 22"/>
                  <a:gd name="T8" fmla="*/ 11 w 21"/>
                  <a:gd name="T9" fmla="*/ 22 h 22"/>
                  <a:gd name="T10" fmla="*/ 21 w 21"/>
                  <a:gd name="T11" fmla="*/ 0 h 22"/>
                  <a:gd name="T12" fmla="*/ 0 w 21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2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2"/>
                      <a:pt x="4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13"/>
                      <a:pt x="15" y="5"/>
                      <a:pt x="2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1" name="Freeform 58">
                <a:extLst>
                  <a:ext uri="{FF2B5EF4-FFF2-40B4-BE49-F238E27FC236}">
                    <a16:creationId xmlns:a16="http://schemas.microsoft.com/office/drawing/2014/main" id="{5A687A3D-7D7E-444E-9C1D-5633B3743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0788" y="1668463"/>
                <a:ext cx="646113" cy="330200"/>
              </a:xfrm>
              <a:custGeom>
                <a:avLst/>
                <a:gdLst>
                  <a:gd name="T0" fmla="*/ 169 w 172"/>
                  <a:gd name="T1" fmla="*/ 0 h 88"/>
                  <a:gd name="T2" fmla="*/ 4 w 172"/>
                  <a:gd name="T3" fmla="*/ 0 h 88"/>
                  <a:gd name="T4" fmla="*/ 0 w 172"/>
                  <a:gd name="T5" fmla="*/ 3 h 88"/>
                  <a:gd name="T6" fmla="*/ 0 w 172"/>
                  <a:gd name="T7" fmla="*/ 88 h 88"/>
                  <a:gd name="T8" fmla="*/ 26 w 172"/>
                  <a:gd name="T9" fmla="*/ 88 h 88"/>
                  <a:gd name="T10" fmla="*/ 41 w 172"/>
                  <a:gd name="T11" fmla="*/ 83 h 88"/>
                  <a:gd name="T12" fmla="*/ 56 w 172"/>
                  <a:gd name="T13" fmla="*/ 88 h 88"/>
                  <a:gd name="T14" fmla="*/ 172 w 172"/>
                  <a:gd name="T15" fmla="*/ 88 h 88"/>
                  <a:gd name="T16" fmla="*/ 172 w 172"/>
                  <a:gd name="T17" fmla="*/ 3 h 88"/>
                  <a:gd name="T18" fmla="*/ 169 w 172"/>
                  <a:gd name="T1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88">
                    <a:moveTo>
                      <a:pt x="169" y="0"/>
                    </a:moveTo>
                    <a:cubicBezTo>
                      <a:pt x="0" y="0"/>
                      <a:pt x="4" y="0"/>
                      <a:pt x="4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31" y="85"/>
                      <a:pt x="36" y="83"/>
                      <a:pt x="41" y="83"/>
                    </a:cubicBezTo>
                    <a:cubicBezTo>
                      <a:pt x="47" y="83"/>
                      <a:pt x="52" y="85"/>
                      <a:pt x="56" y="88"/>
                    </a:cubicBezTo>
                    <a:cubicBezTo>
                      <a:pt x="172" y="88"/>
                      <a:pt x="172" y="88"/>
                      <a:pt x="172" y="88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72" y="1"/>
                      <a:pt x="171" y="0"/>
                      <a:pt x="1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2" name="Freeform 59">
                <a:extLst>
                  <a:ext uri="{FF2B5EF4-FFF2-40B4-BE49-F238E27FC236}">
                    <a16:creationId xmlns:a16="http://schemas.microsoft.com/office/drawing/2014/main" id="{DB2F042C-0206-4175-BAF3-7BABCA8A20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992188" y="1739900"/>
                <a:ext cx="731838" cy="355600"/>
              </a:xfrm>
              <a:custGeom>
                <a:avLst/>
                <a:gdLst>
                  <a:gd name="T0" fmla="*/ 176 w 195"/>
                  <a:gd name="T1" fmla="*/ 4 h 95"/>
                  <a:gd name="T2" fmla="*/ 171 w 195"/>
                  <a:gd name="T3" fmla="*/ 2 h 95"/>
                  <a:gd name="T4" fmla="*/ 123 w 195"/>
                  <a:gd name="T5" fmla="*/ 2 h 95"/>
                  <a:gd name="T6" fmla="*/ 119 w 195"/>
                  <a:gd name="T7" fmla="*/ 4 h 95"/>
                  <a:gd name="T8" fmla="*/ 119 w 195"/>
                  <a:gd name="T9" fmla="*/ 73 h 95"/>
                  <a:gd name="T10" fmla="*/ 108 w 195"/>
                  <a:gd name="T11" fmla="*/ 73 h 95"/>
                  <a:gd name="T12" fmla="*/ 108 w 195"/>
                  <a:gd name="T13" fmla="*/ 73 h 95"/>
                  <a:gd name="T14" fmla="*/ 95 w 195"/>
                  <a:gd name="T15" fmla="*/ 73 h 95"/>
                  <a:gd name="T16" fmla="*/ 55 w 195"/>
                  <a:gd name="T17" fmla="*/ 73 h 95"/>
                  <a:gd name="T18" fmla="*/ 0 w 195"/>
                  <a:gd name="T19" fmla="*/ 73 h 95"/>
                  <a:gd name="T20" fmla="*/ 9 w 195"/>
                  <a:gd name="T21" fmla="*/ 95 h 95"/>
                  <a:gd name="T22" fmla="*/ 9 w 195"/>
                  <a:gd name="T23" fmla="*/ 95 h 95"/>
                  <a:gd name="T24" fmla="*/ 45 w 195"/>
                  <a:gd name="T25" fmla="*/ 95 h 95"/>
                  <a:gd name="T26" fmla="*/ 104 w 195"/>
                  <a:gd name="T27" fmla="*/ 95 h 95"/>
                  <a:gd name="T28" fmla="*/ 108 w 195"/>
                  <a:gd name="T29" fmla="*/ 95 h 95"/>
                  <a:gd name="T30" fmla="*/ 108 w 195"/>
                  <a:gd name="T31" fmla="*/ 95 h 95"/>
                  <a:gd name="T32" fmla="*/ 120 w 195"/>
                  <a:gd name="T33" fmla="*/ 95 h 95"/>
                  <a:gd name="T34" fmla="*/ 120 w 195"/>
                  <a:gd name="T35" fmla="*/ 88 h 95"/>
                  <a:gd name="T36" fmla="*/ 149 w 195"/>
                  <a:gd name="T37" fmla="*/ 64 h 95"/>
                  <a:gd name="T38" fmla="*/ 180 w 195"/>
                  <a:gd name="T39" fmla="*/ 95 h 95"/>
                  <a:gd name="T40" fmla="*/ 195 w 195"/>
                  <a:gd name="T41" fmla="*/ 95 h 95"/>
                  <a:gd name="T42" fmla="*/ 195 w 195"/>
                  <a:gd name="T43" fmla="*/ 48 h 95"/>
                  <a:gd name="T44" fmla="*/ 176 w 195"/>
                  <a:gd name="T45" fmla="*/ 4 h 95"/>
                  <a:gd name="T46" fmla="*/ 141 w 195"/>
                  <a:gd name="T47" fmla="*/ 39 h 95"/>
                  <a:gd name="T48" fmla="*/ 141 w 195"/>
                  <a:gd name="T49" fmla="*/ 10 h 95"/>
                  <a:gd name="T50" fmla="*/ 167 w 195"/>
                  <a:gd name="T51" fmla="*/ 10 h 95"/>
                  <a:gd name="T52" fmla="*/ 179 w 195"/>
                  <a:gd name="T53" fmla="*/ 39 h 95"/>
                  <a:gd name="T54" fmla="*/ 141 w 195"/>
                  <a:gd name="T55" fmla="*/ 3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5" h="95">
                    <a:moveTo>
                      <a:pt x="176" y="4"/>
                    </a:moveTo>
                    <a:cubicBezTo>
                      <a:pt x="176" y="0"/>
                      <a:pt x="171" y="2"/>
                      <a:pt x="171" y="2"/>
                    </a:cubicBezTo>
                    <a:cubicBezTo>
                      <a:pt x="171" y="2"/>
                      <a:pt x="171" y="2"/>
                      <a:pt x="123" y="2"/>
                    </a:cubicBezTo>
                    <a:cubicBezTo>
                      <a:pt x="123" y="2"/>
                      <a:pt x="119" y="0"/>
                      <a:pt x="119" y="4"/>
                    </a:cubicBezTo>
                    <a:cubicBezTo>
                      <a:pt x="119" y="4"/>
                      <a:pt x="119" y="4"/>
                      <a:pt x="119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95" y="73"/>
                      <a:pt x="95" y="73"/>
                      <a:pt x="95" y="73"/>
                    </a:cubicBezTo>
                    <a:cubicBezTo>
                      <a:pt x="55" y="73"/>
                      <a:pt x="55" y="73"/>
                      <a:pt x="55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6" y="78"/>
                      <a:pt x="9" y="86"/>
                      <a:pt x="9" y="95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44" y="95"/>
                      <a:pt x="45" y="95"/>
                      <a:pt x="45" y="95"/>
                    </a:cubicBezTo>
                    <a:cubicBezTo>
                      <a:pt x="104" y="95"/>
                      <a:pt x="104" y="95"/>
                      <a:pt x="104" y="95"/>
                    </a:cubicBezTo>
                    <a:cubicBezTo>
                      <a:pt x="107" y="95"/>
                      <a:pt x="107" y="95"/>
                      <a:pt x="108" y="95"/>
                    </a:cubicBezTo>
                    <a:cubicBezTo>
                      <a:pt x="108" y="95"/>
                      <a:pt x="108" y="95"/>
                      <a:pt x="108" y="95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0" y="88"/>
                      <a:pt x="120" y="88"/>
                      <a:pt x="120" y="88"/>
                    </a:cubicBezTo>
                    <a:cubicBezTo>
                      <a:pt x="123" y="75"/>
                      <a:pt x="135" y="64"/>
                      <a:pt x="149" y="64"/>
                    </a:cubicBezTo>
                    <a:cubicBezTo>
                      <a:pt x="165" y="64"/>
                      <a:pt x="180" y="78"/>
                      <a:pt x="180" y="95"/>
                    </a:cubicBezTo>
                    <a:cubicBezTo>
                      <a:pt x="180" y="95"/>
                      <a:pt x="180" y="95"/>
                      <a:pt x="195" y="95"/>
                    </a:cubicBezTo>
                    <a:cubicBezTo>
                      <a:pt x="195" y="48"/>
                      <a:pt x="195" y="48"/>
                      <a:pt x="195" y="48"/>
                    </a:cubicBezTo>
                    <a:cubicBezTo>
                      <a:pt x="195" y="48"/>
                      <a:pt x="177" y="8"/>
                      <a:pt x="176" y="4"/>
                    </a:cubicBezTo>
                    <a:close/>
                    <a:moveTo>
                      <a:pt x="141" y="39"/>
                    </a:moveTo>
                    <a:cubicBezTo>
                      <a:pt x="141" y="39"/>
                      <a:pt x="141" y="39"/>
                      <a:pt x="141" y="10"/>
                    </a:cubicBezTo>
                    <a:cubicBezTo>
                      <a:pt x="141" y="10"/>
                      <a:pt x="141" y="10"/>
                      <a:pt x="167" y="10"/>
                    </a:cubicBezTo>
                    <a:cubicBezTo>
                      <a:pt x="179" y="39"/>
                      <a:pt x="179" y="39"/>
                      <a:pt x="179" y="39"/>
                    </a:cubicBezTo>
                    <a:cubicBezTo>
                      <a:pt x="179" y="39"/>
                      <a:pt x="172" y="39"/>
                      <a:pt x="141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237" name="Freeform 7">
              <a:extLst>
                <a:ext uri="{FF2B5EF4-FFF2-40B4-BE49-F238E27FC236}">
                  <a16:creationId xmlns:a16="http://schemas.microsoft.com/office/drawing/2014/main" id="{222A65FE-0497-4A17-B341-2DD87E533765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1455282" y="1871867"/>
              <a:ext cx="239580" cy="315545"/>
            </a:xfrm>
            <a:custGeom>
              <a:avLst/>
              <a:gdLst>
                <a:gd name="T0" fmla="*/ 18 w 243"/>
                <a:gd name="T1" fmla="*/ 36 h 320"/>
                <a:gd name="T2" fmla="*/ 225 w 243"/>
                <a:gd name="T3" fmla="*/ 36 h 320"/>
                <a:gd name="T4" fmla="*/ 243 w 243"/>
                <a:gd name="T5" fmla="*/ 18 h 320"/>
                <a:gd name="T6" fmla="*/ 225 w 243"/>
                <a:gd name="T7" fmla="*/ 0 h 320"/>
                <a:gd name="T8" fmla="*/ 18 w 243"/>
                <a:gd name="T9" fmla="*/ 0 h 320"/>
                <a:gd name="T10" fmla="*/ 0 w 243"/>
                <a:gd name="T11" fmla="*/ 18 h 320"/>
                <a:gd name="T12" fmla="*/ 18 w 243"/>
                <a:gd name="T13" fmla="*/ 36 h 320"/>
                <a:gd name="T14" fmla="*/ 225 w 243"/>
                <a:gd name="T15" fmla="*/ 284 h 320"/>
                <a:gd name="T16" fmla="*/ 18 w 243"/>
                <a:gd name="T17" fmla="*/ 284 h 320"/>
                <a:gd name="T18" fmla="*/ 0 w 243"/>
                <a:gd name="T19" fmla="*/ 302 h 320"/>
                <a:gd name="T20" fmla="*/ 18 w 243"/>
                <a:gd name="T21" fmla="*/ 320 h 320"/>
                <a:gd name="T22" fmla="*/ 225 w 243"/>
                <a:gd name="T23" fmla="*/ 320 h 320"/>
                <a:gd name="T24" fmla="*/ 243 w 243"/>
                <a:gd name="T25" fmla="*/ 302 h 320"/>
                <a:gd name="T26" fmla="*/ 225 w 243"/>
                <a:gd name="T27" fmla="*/ 284 h 320"/>
                <a:gd name="T28" fmla="*/ 18 w 243"/>
                <a:gd name="T29" fmla="*/ 176 h 320"/>
                <a:gd name="T30" fmla="*/ 113 w 243"/>
                <a:gd name="T31" fmla="*/ 176 h 320"/>
                <a:gd name="T32" fmla="*/ 131 w 243"/>
                <a:gd name="T33" fmla="*/ 158 h 320"/>
                <a:gd name="T34" fmla="*/ 113 w 243"/>
                <a:gd name="T35" fmla="*/ 140 h 320"/>
                <a:gd name="T36" fmla="*/ 18 w 243"/>
                <a:gd name="T37" fmla="*/ 140 h 320"/>
                <a:gd name="T38" fmla="*/ 0 w 243"/>
                <a:gd name="T39" fmla="*/ 158 h 320"/>
                <a:gd name="T40" fmla="*/ 18 w 243"/>
                <a:gd name="T41" fmla="*/ 17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320">
                  <a:moveTo>
                    <a:pt x="18" y="36"/>
                  </a:moveTo>
                  <a:cubicBezTo>
                    <a:pt x="225" y="36"/>
                    <a:pt x="225" y="36"/>
                    <a:pt x="225" y="36"/>
                  </a:cubicBezTo>
                  <a:cubicBezTo>
                    <a:pt x="235" y="36"/>
                    <a:pt x="243" y="28"/>
                    <a:pt x="243" y="18"/>
                  </a:cubicBezTo>
                  <a:cubicBezTo>
                    <a:pt x="243" y="8"/>
                    <a:pt x="235" y="0"/>
                    <a:pt x="225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close/>
                  <a:moveTo>
                    <a:pt x="225" y="284"/>
                  </a:moveTo>
                  <a:cubicBezTo>
                    <a:pt x="18" y="284"/>
                    <a:pt x="18" y="284"/>
                    <a:pt x="18" y="284"/>
                  </a:cubicBezTo>
                  <a:cubicBezTo>
                    <a:pt x="8" y="284"/>
                    <a:pt x="0" y="292"/>
                    <a:pt x="0" y="302"/>
                  </a:cubicBezTo>
                  <a:cubicBezTo>
                    <a:pt x="0" y="312"/>
                    <a:pt x="8" y="320"/>
                    <a:pt x="18" y="320"/>
                  </a:cubicBezTo>
                  <a:cubicBezTo>
                    <a:pt x="225" y="320"/>
                    <a:pt x="225" y="320"/>
                    <a:pt x="225" y="320"/>
                  </a:cubicBezTo>
                  <a:cubicBezTo>
                    <a:pt x="235" y="320"/>
                    <a:pt x="243" y="312"/>
                    <a:pt x="243" y="302"/>
                  </a:cubicBezTo>
                  <a:cubicBezTo>
                    <a:pt x="243" y="292"/>
                    <a:pt x="235" y="284"/>
                    <a:pt x="225" y="284"/>
                  </a:cubicBezTo>
                  <a:close/>
                  <a:moveTo>
                    <a:pt x="18" y="176"/>
                  </a:moveTo>
                  <a:cubicBezTo>
                    <a:pt x="113" y="176"/>
                    <a:pt x="113" y="176"/>
                    <a:pt x="113" y="176"/>
                  </a:cubicBezTo>
                  <a:cubicBezTo>
                    <a:pt x="123" y="176"/>
                    <a:pt x="131" y="168"/>
                    <a:pt x="131" y="158"/>
                  </a:cubicBezTo>
                  <a:cubicBezTo>
                    <a:pt x="131" y="148"/>
                    <a:pt x="123" y="140"/>
                    <a:pt x="113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8" y="140"/>
                    <a:pt x="0" y="148"/>
                    <a:pt x="0" y="158"/>
                  </a:cubicBezTo>
                  <a:cubicBezTo>
                    <a:pt x="0" y="168"/>
                    <a:pt x="8" y="176"/>
                    <a:pt x="18" y="1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43" name="Oval 5">
            <a:extLst>
              <a:ext uri="{FF2B5EF4-FFF2-40B4-BE49-F238E27FC236}">
                <a16:creationId xmlns:a16="http://schemas.microsoft.com/office/drawing/2014/main" id="{A245C8D3-F7FC-494A-90A6-FDB07C9621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3822" y="690245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244" name="Gruppieren 243">
            <a:extLst>
              <a:ext uri="{FF2B5EF4-FFF2-40B4-BE49-F238E27FC236}">
                <a16:creationId xmlns:a16="http://schemas.microsoft.com/office/drawing/2014/main" id="{E50844CE-931D-4A8F-B8FF-C4EEA5DCA276}"/>
              </a:ext>
            </a:extLst>
          </p:cNvPr>
          <p:cNvGrpSpPr>
            <a:grpSpLocks noChangeAspect="1"/>
          </p:cNvGrpSpPr>
          <p:nvPr/>
        </p:nvGrpSpPr>
        <p:grpSpPr>
          <a:xfrm>
            <a:off x="7073377" y="816430"/>
            <a:ext cx="400889" cy="467630"/>
            <a:chOff x="2355850" y="-1588"/>
            <a:chExt cx="5843588" cy="6859588"/>
          </a:xfrm>
          <a:solidFill>
            <a:schemeClr val="accent3"/>
          </a:solidFill>
        </p:grpSpPr>
        <p:sp>
          <p:nvSpPr>
            <p:cNvPr id="245" name="Freeform 5">
              <a:extLst>
                <a:ext uri="{FF2B5EF4-FFF2-40B4-BE49-F238E27FC236}">
                  <a16:creationId xmlns:a16="http://schemas.microsoft.com/office/drawing/2014/main" id="{774B770E-CB4E-47C7-8D4C-ACD8037CA9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7375" y="4162425"/>
              <a:ext cx="1917700" cy="1274763"/>
            </a:xfrm>
            <a:custGeom>
              <a:avLst/>
              <a:gdLst/>
              <a:ahLst/>
              <a:cxnLst>
                <a:cxn ang="0">
                  <a:pos x="575" y="586"/>
                </a:cxn>
                <a:cxn ang="0">
                  <a:pos x="625" y="631"/>
                </a:cxn>
                <a:cxn ang="0">
                  <a:pos x="672" y="660"/>
                </a:cxn>
                <a:cxn ang="0">
                  <a:pos x="758" y="614"/>
                </a:cxn>
                <a:cxn ang="0">
                  <a:pos x="784" y="585"/>
                </a:cxn>
                <a:cxn ang="0">
                  <a:pos x="740" y="599"/>
                </a:cxn>
                <a:cxn ang="0">
                  <a:pos x="668" y="542"/>
                </a:cxn>
                <a:cxn ang="0">
                  <a:pos x="948" y="438"/>
                </a:cxn>
                <a:cxn ang="0">
                  <a:pos x="988" y="242"/>
                </a:cxn>
                <a:cxn ang="0">
                  <a:pos x="913" y="209"/>
                </a:cxn>
                <a:cxn ang="0">
                  <a:pos x="836" y="180"/>
                </a:cxn>
                <a:cxn ang="0">
                  <a:pos x="742" y="162"/>
                </a:cxn>
                <a:cxn ang="0">
                  <a:pos x="686" y="105"/>
                </a:cxn>
                <a:cxn ang="0">
                  <a:pos x="677" y="43"/>
                </a:cxn>
                <a:cxn ang="0">
                  <a:pos x="649" y="6"/>
                </a:cxn>
                <a:cxn ang="0">
                  <a:pos x="592" y="15"/>
                </a:cxn>
                <a:cxn ang="0">
                  <a:pos x="549" y="31"/>
                </a:cxn>
                <a:cxn ang="0">
                  <a:pos x="492" y="52"/>
                </a:cxn>
                <a:cxn ang="0">
                  <a:pos x="432" y="88"/>
                </a:cxn>
                <a:cxn ang="0">
                  <a:pos x="378" y="92"/>
                </a:cxn>
                <a:cxn ang="0">
                  <a:pos x="321" y="83"/>
                </a:cxn>
                <a:cxn ang="0">
                  <a:pos x="255" y="54"/>
                </a:cxn>
                <a:cxn ang="0">
                  <a:pos x="176" y="46"/>
                </a:cxn>
                <a:cxn ang="0">
                  <a:pos x="115" y="70"/>
                </a:cxn>
                <a:cxn ang="0">
                  <a:pos x="139" y="130"/>
                </a:cxn>
                <a:cxn ang="0">
                  <a:pos x="135" y="170"/>
                </a:cxn>
                <a:cxn ang="0">
                  <a:pos x="66" y="235"/>
                </a:cxn>
                <a:cxn ang="0">
                  <a:pos x="67" y="276"/>
                </a:cxn>
                <a:cxn ang="0">
                  <a:pos x="25" y="291"/>
                </a:cxn>
                <a:cxn ang="0">
                  <a:pos x="0" y="331"/>
                </a:cxn>
                <a:cxn ang="0">
                  <a:pos x="52" y="369"/>
                </a:cxn>
                <a:cxn ang="0">
                  <a:pos x="122" y="378"/>
                </a:cxn>
                <a:cxn ang="0">
                  <a:pos x="211" y="374"/>
                </a:cxn>
                <a:cxn ang="0">
                  <a:pos x="252" y="337"/>
                </a:cxn>
                <a:cxn ang="0">
                  <a:pos x="284" y="336"/>
                </a:cxn>
                <a:cxn ang="0">
                  <a:pos x="323" y="348"/>
                </a:cxn>
                <a:cxn ang="0">
                  <a:pos x="343" y="359"/>
                </a:cxn>
                <a:cxn ang="0">
                  <a:pos x="363" y="365"/>
                </a:cxn>
                <a:cxn ang="0">
                  <a:pos x="389" y="378"/>
                </a:cxn>
                <a:cxn ang="0">
                  <a:pos x="387" y="404"/>
                </a:cxn>
                <a:cxn ang="0">
                  <a:pos x="398" y="431"/>
                </a:cxn>
                <a:cxn ang="0">
                  <a:pos x="406" y="453"/>
                </a:cxn>
                <a:cxn ang="0">
                  <a:pos x="427" y="490"/>
                </a:cxn>
                <a:cxn ang="0">
                  <a:pos x="406" y="507"/>
                </a:cxn>
                <a:cxn ang="0">
                  <a:pos x="389" y="504"/>
                </a:cxn>
                <a:cxn ang="0">
                  <a:pos x="375" y="523"/>
                </a:cxn>
                <a:cxn ang="0">
                  <a:pos x="350" y="562"/>
                </a:cxn>
                <a:cxn ang="0">
                  <a:pos x="342" y="586"/>
                </a:cxn>
                <a:cxn ang="0">
                  <a:pos x="385" y="595"/>
                </a:cxn>
                <a:cxn ang="0">
                  <a:pos x="445" y="557"/>
                </a:cxn>
                <a:cxn ang="0">
                  <a:pos x="474" y="508"/>
                </a:cxn>
                <a:cxn ang="0">
                  <a:pos x="542" y="495"/>
                </a:cxn>
                <a:cxn ang="0">
                  <a:pos x="555" y="536"/>
                </a:cxn>
                <a:cxn ang="0">
                  <a:pos x="637" y="532"/>
                </a:cxn>
                <a:cxn ang="0">
                  <a:pos x="695" y="533"/>
                </a:cxn>
                <a:cxn ang="0">
                  <a:pos x="737" y="506"/>
                </a:cxn>
                <a:cxn ang="0">
                  <a:pos x="836" y="469"/>
                </a:cxn>
                <a:cxn ang="0">
                  <a:pos x="912" y="437"/>
                </a:cxn>
                <a:cxn ang="0">
                  <a:pos x="967" y="387"/>
                </a:cxn>
                <a:cxn ang="0">
                  <a:pos x="992" y="331"/>
                </a:cxn>
                <a:cxn ang="0">
                  <a:pos x="134" y="165"/>
                </a:cxn>
              </a:cxnLst>
              <a:rect l="0" t="0" r="r" b="b"/>
              <a:pathLst>
                <a:path w="1026" h="682">
                  <a:moveTo>
                    <a:pt x="641" y="535"/>
                  </a:moveTo>
                  <a:cubicBezTo>
                    <a:pt x="641" y="534"/>
                    <a:pt x="639" y="534"/>
                    <a:pt x="638" y="533"/>
                  </a:cubicBezTo>
                  <a:cubicBezTo>
                    <a:pt x="638" y="536"/>
                    <a:pt x="637" y="539"/>
                    <a:pt x="637" y="542"/>
                  </a:cubicBezTo>
                  <a:cubicBezTo>
                    <a:pt x="637" y="544"/>
                    <a:pt x="637" y="546"/>
                    <a:pt x="638" y="547"/>
                  </a:cubicBezTo>
                  <a:cubicBezTo>
                    <a:pt x="639" y="550"/>
                    <a:pt x="640" y="548"/>
                    <a:pt x="642" y="550"/>
                  </a:cubicBezTo>
                  <a:cubicBezTo>
                    <a:pt x="644" y="552"/>
                    <a:pt x="642" y="553"/>
                    <a:pt x="640" y="554"/>
                  </a:cubicBezTo>
                  <a:cubicBezTo>
                    <a:pt x="639" y="555"/>
                    <a:pt x="637" y="556"/>
                    <a:pt x="635" y="557"/>
                  </a:cubicBezTo>
                  <a:cubicBezTo>
                    <a:pt x="632" y="560"/>
                    <a:pt x="629" y="559"/>
                    <a:pt x="624" y="560"/>
                  </a:cubicBezTo>
                  <a:cubicBezTo>
                    <a:pt x="621" y="560"/>
                    <a:pt x="616" y="562"/>
                    <a:pt x="613" y="564"/>
                  </a:cubicBezTo>
                  <a:cubicBezTo>
                    <a:pt x="607" y="568"/>
                    <a:pt x="599" y="572"/>
                    <a:pt x="593" y="575"/>
                  </a:cubicBezTo>
                  <a:cubicBezTo>
                    <a:pt x="588" y="577"/>
                    <a:pt x="583" y="579"/>
                    <a:pt x="579" y="583"/>
                  </a:cubicBezTo>
                  <a:cubicBezTo>
                    <a:pt x="578" y="584"/>
                    <a:pt x="576" y="585"/>
                    <a:pt x="575" y="586"/>
                  </a:cubicBezTo>
                  <a:cubicBezTo>
                    <a:pt x="572" y="587"/>
                    <a:pt x="571" y="586"/>
                    <a:pt x="569" y="589"/>
                  </a:cubicBezTo>
                  <a:cubicBezTo>
                    <a:pt x="568" y="591"/>
                    <a:pt x="565" y="596"/>
                    <a:pt x="567" y="599"/>
                  </a:cubicBezTo>
                  <a:cubicBezTo>
                    <a:pt x="569" y="601"/>
                    <a:pt x="578" y="601"/>
                    <a:pt x="581" y="601"/>
                  </a:cubicBezTo>
                  <a:cubicBezTo>
                    <a:pt x="583" y="601"/>
                    <a:pt x="586" y="600"/>
                    <a:pt x="588" y="600"/>
                  </a:cubicBezTo>
                  <a:cubicBezTo>
                    <a:pt x="591" y="601"/>
                    <a:pt x="590" y="603"/>
                    <a:pt x="592" y="605"/>
                  </a:cubicBezTo>
                  <a:cubicBezTo>
                    <a:pt x="593" y="606"/>
                    <a:pt x="596" y="607"/>
                    <a:pt x="597" y="607"/>
                  </a:cubicBezTo>
                  <a:cubicBezTo>
                    <a:pt x="600" y="608"/>
                    <a:pt x="601" y="609"/>
                    <a:pt x="603" y="610"/>
                  </a:cubicBezTo>
                  <a:cubicBezTo>
                    <a:pt x="605" y="611"/>
                    <a:pt x="607" y="613"/>
                    <a:pt x="609" y="614"/>
                  </a:cubicBezTo>
                  <a:cubicBezTo>
                    <a:pt x="613" y="616"/>
                    <a:pt x="615" y="612"/>
                    <a:pt x="618" y="610"/>
                  </a:cubicBezTo>
                  <a:cubicBezTo>
                    <a:pt x="623" y="607"/>
                    <a:pt x="625" y="610"/>
                    <a:pt x="625" y="615"/>
                  </a:cubicBezTo>
                  <a:cubicBezTo>
                    <a:pt x="624" y="619"/>
                    <a:pt x="626" y="622"/>
                    <a:pt x="625" y="626"/>
                  </a:cubicBezTo>
                  <a:cubicBezTo>
                    <a:pt x="625" y="629"/>
                    <a:pt x="624" y="629"/>
                    <a:pt x="625" y="631"/>
                  </a:cubicBezTo>
                  <a:cubicBezTo>
                    <a:pt x="626" y="634"/>
                    <a:pt x="628" y="635"/>
                    <a:pt x="628" y="638"/>
                  </a:cubicBezTo>
                  <a:cubicBezTo>
                    <a:pt x="628" y="642"/>
                    <a:pt x="622" y="647"/>
                    <a:pt x="620" y="650"/>
                  </a:cubicBezTo>
                  <a:cubicBezTo>
                    <a:pt x="619" y="651"/>
                    <a:pt x="618" y="652"/>
                    <a:pt x="616" y="653"/>
                  </a:cubicBezTo>
                  <a:cubicBezTo>
                    <a:pt x="614" y="655"/>
                    <a:pt x="611" y="655"/>
                    <a:pt x="612" y="658"/>
                  </a:cubicBezTo>
                  <a:cubicBezTo>
                    <a:pt x="614" y="668"/>
                    <a:pt x="630" y="661"/>
                    <a:pt x="634" y="667"/>
                  </a:cubicBezTo>
                  <a:cubicBezTo>
                    <a:pt x="635" y="668"/>
                    <a:pt x="634" y="670"/>
                    <a:pt x="635" y="671"/>
                  </a:cubicBezTo>
                  <a:cubicBezTo>
                    <a:pt x="636" y="674"/>
                    <a:pt x="639" y="676"/>
                    <a:pt x="642" y="677"/>
                  </a:cubicBezTo>
                  <a:cubicBezTo>
                    <a:pt x="648" y="682"/>
                    <a:pt x="663" y="681"/>
                    <a:pt x="670" y="679"/>
                  </a:cubicBezTo>
                  <a:cubicBezTo>
                    <a:pt x="673" y="678"/>
                    <a:pt x="675" y="677"/>
                    <a:pt x="677" y="676"/>
                  </a:cubicBezTo>
                  <a:cubicBezTo>
                    <a:pt x="681" y="675"/>
                    <a:pt x="684" y="677"/>
                    <a:pt x="684" y="672"/>
                  </a:cubicBezTo>
                  <a:cubicBezTo>
                    <a:pt x="683" y="664"/>
                    <a:pt x="671" y="663"/>
                    <a:pt x="665" y="666"/>
                  </a:cubicBezTo>
                  <a:cubicBezTo>
                    <a:pt x="663" y="662"/>
                    <a:pt x="670" y="661"/>
                    <a:pt x="672" y="660"/>
                  </a:cubicBezTo>
                  <a:cubicBezTo>
                    <a:pt x="676" y="659"/>
                    <a:pt x="678" y="658"/>
                    <a:pt x="681" y="656"/>
                  </a:cubicBezTo>
                  <a:cubicBezTo>
                    <a:pt x="683" y="654"/>
                    <a:pt x="685" y="653"/>
                    <a:pt x="686" y="650"/>
                  </a:cubicBezTo>
                  <a:cubicBezTo>
                    <a:pt x="686" y="647"/>
                    <a:pt x="686" y="642"/>
                    <a:pt x="689" y="640"/>
                  </a:cubicBezTo>
                  <a:cubicBezTo>
                    <a:pt x="692" y="639"/>
                    <a:pt x="696" y="641"/>
                    <a:pt x="699" y="640"/>
                  </a:cubicBezTo>
                  <a:cubicBezTo>
                    <a:pt x="703" y="638"/>
                    <a:pt x="706" y="635"/>
                    <a:pt x="710" y="635"/>
                  </a:cubicBezTo>
                  <a:cubicBezTo>
                    <a:pt x="715" y="635"/>
                    <a:pt x="712" y="637"/>
                    <a:pt x="715" y="639"/>
                  </a:cubicBezTo>
                  <a:cubicBezTo>
                    <a:pt x="718" y="642"/>
                    <a:pt x="721" y="634"/>
                    <a:pt x="722" y="632"/>
                  </a:cubicBezTo>
                  <a:cubicBezTo>
                    <a:pt x="724" y="630"/>
                    <a:pt x="726" y="626"/>
                    <a:pt x="728" y="625"/>
                  </a:cubicBezTo>
                  <a:cubicBezTo>
                    <a:pt x="730" y="623"/>
                    <a:pt x="733" y="625"/>
                    <a:pt x="735" y="622"/>
                  </a:cubicBezTo>
                  <a:cubicBezTo>
                    <a:pt x="740" y="617"/>
                    <a:pt x="742" y="609"/>
                    <a:pt x="750" y="611"/>
                  </a:cubicBezTo>
                  <a:cubicBezTo>
                    <a:pt x="751" y="611"/>
                    <a:pt x="753" y="612"/>
                    <a:pt x="753" y="613"/>
                  </a:cubicBezTo>
                  <a:cubicBezTo>
                    <a:pt x="755" y="613"/>
                    <a:pt x="756" y="614"/>
                    <a:pt x="758" y="614"/>
                  </a:cubicBezTo>
                  <a:cubicBezTo>
                    <a:pt x="761" y="615"/>
                    <a:pt x="764" y="615"/>
                    <a:pt x="767" y="615"/>
                  </a:cubicBezTo>
                  <a:cubicBezTo>
                    <a:pt x="774" y="615"/>
                    <a:pt x="780" y="612"/>
                    <a:pt x="787" y="613"/>
                  </a:cubicBezTo>
                  <a:cubicBezTo>
                    <a:pt x="786" y="613"/>
                    <a:pt x="787" y="614"/>
                    <a:pt x="787" y="615"/>
                  </a:cubicBezTo>
                  <a:cubicBezTo>
                    <a:pt x="789" y="615"/>
                    <a:pt x="791" y="614"/>
                    <a:pt x="793" y="613"/>
                  </a:cubicBezTo>
                  <a:cubicBezTo>
                    <a:pt x="795" y="613"/>
                    <a:pt x="799" y="613"/>
                    <a:pt x="800" y="613"/>
                  </a:cubicBezTo>
                  <a:cubicBezTo>
                    <a:pt x="804" y="611"/>
                    <a:pt x="801" y="604"/>
                    <a:pt x="797" y="605"/>
                  </a:cubicBezTo>
                  <a:cubicBezTo>
                    <a:pt x="794" y="602"/>
                    <a:pt x="797" y="598"/>
                    <a:pt x="800" y="597"/>
                  </a:cubicBezTo>
                  <a:cubicBezTo>
                    <a:pt x="804" y="595"/>
                    <a:pt x="809" y="594"/>
                    <a:pt x="809" y="589"/>
                  </a:cubicBezTo>
                  <a:cubicBezTo>
                    <a:pt x="810" y="589"/>
                    <a:pt x="812" y="590"/>
                    <a:pt x="813" y="590"/>
                  </a:cubicBezTo>
                  <a:cubicBezTo>
                    <a:pt x="815" y="584"/>
                    <a:pt x="804" y="587"/>
                    <a:pt x="802" y="586"/>
                  </a:cubicBezTo>
                  <a:cubicBezTo>
                    <a:pt x="799" y="585"/>
                    <a:pt x="799" y="581"/>
                    <a:pt x="795" y="581"/>
                  </a:cubicBezTo>
                  <a:cubicBezTo>
                    <a:pt x="791" y="580"/>
                    <a:pt x="787" y="583"/>
                    <a:pt x="784" y="585"/>
                  </a:cubicBezTo>
                  <a:cubicBezTo>
                    <a:pt x="782" y="585"/>
                    <a:pt x="783" y="586"/>
                    <a:pt x="781" y="586"/>
                  </a:cubicBezTo>
                  <a:cubicBezTo>
                    <a:pt x="780" y="587"/>
                    <a:pt x="778" y="586"/>
                    <a:pt x="776" y="586"/>
                  </a:cubicBezTo>
                  <a:cubicBezTo>
                    <a:pt x="776" y="587"/>
                    <a:pt x="776" y="587"/>
                    <a:pt x="776" y="588"/>
                  </a:cubicBezTo>
                  <a:cubicBezTo>
                    <a:pt x="774" y="588"/>
                    <a:pt x="771" y="587"/>
                    <a:pt x="769" y="586"/>
                  </a:cubicBezTo>
                  <a:cubicBezTo>
                    <a:pt x="767" y="584"/>
                    <a:pt x="767" y="582"/>
                    <a:pt x="764" y="582"/>
                  </a:cubicBezTo>
                  <a:cubicBezTo>
                    <a:pt x="761" y="581"/>
                    <a:pt x="760" y="585"/>
                    <a:pt x="758" y="587"/>
                  </a:cubicBezTo>
                  <a:cubicBezTo>
                    <a:pt x="757" y="588"/>
                    <a:pt x="756" y="588"/>
                    <a:pt x="755" y="589"/>
                  </a:cubicBezTo>
                  <a:cubicBezTo>
                    <a:pt x="754" y="589"/>
                    <a:pt x="753" y="589"/>
                    <a:pt x="753" y="590"/>
                  </a:cubicBezTo>
                  <a:cubicBezTo>
                    <a:pt x="753" y="590"/>
                    <a:pt x="752" y="591"/>
                    <a:pt x="752" y="591"/>
                  </a:cubicBezTo>
                  <a:cubicBezTo>
                    <a:pt x="751" y="592"/>
                    <a:pt x="750" y="592"/>
                    <a:pt x="749" y="593"/>
                  </a:cubicBezTo>
                  <a:cubicBezTo>
                    <a:pt x="746" y="594"/>
                    <a:pt x="747" y="593"/>
                    <a:pt x="745" y="595"/>
                  </a:cubicBezTo>
                  <a:cubicBezTo>
                    <a:pt x="743" y="597"/>
                    <a:pt x="743" y="598"/>
                    <a:pt x="740" y="599"/>
                  </a:cubicBezTo>
                  <a:cubicBezTo>
                    <a:pt x="734" y="600"/>
                    <a:pt x="730" y="596"/>
                    <a:pt x="726" y="592"/>
                  </a:cubicBezTo>
                  <a:cubicBezTo>
                    <a:pt x="721" y="588"/>
                    <a:pt x="716" y="584"/>
                    <a:pt x="709" y="583"/>
                  </a:cubicBezTo>
                  <a:cubicBezTo>
                    <a:pt x="710" y="582"/>
                    <a:pt x="714" y="582"/>
                    <a:pt x="716" y="579"/>
                  </a:cubicBezTo>
                  <a:cubicBezTo>
                    <a:pt x="719" y="574"/>
                    <a:pt x="713" y="573"/>
                    <a:pt x="709" y="573"/>
                  </a:cubicBezTo>
                  <a:cubicBezTo>
                    <a:pt x="709" y="571"/>
                    <a:pt x="710" y="567"/>
                    <a:pt x="709" y="565"/>
                  </a:cubicBezTo>
                  <a:cubicBezTo>
                    <a:pt x="706" y="562"/>
                    <a:pt x="699" y="563"/>
                    <a:pt x="695" y="563"/>
                  </a:cubicBezTo>
                  <a:cubicBezTo>
                    <a:pt x="695" y="560"/>
                    <a:pt x="695" y="556"/>
                    <a:pt x="694" y="554"/>
                  </a:cubicBezTo>
                  <a:cubicBezTo>
                    <a:pt x="694" y="551"/>
                    <a:pt x="694" y="551"/>
                    <a:pt x="690" y="551"/>
                  </a:cubicBezTo>
                  <a:cubicBezTo>
                    <a:pt x="687" y="551"/>
                    <a:pt x="686" y="552"/>
                    <a:pt x="684" y="554"/>
                  </a:cubicBezTo>
                  <a:cubicBezTo>
                    <a:pt x="683" y="552"/>
                    <a:pt x="680" y="548"/>
                    <a:pt x="678" y="546"/>
                  </a:cubicBezTo>
                  <a:cubicBezTo>
                    <a:pt x="677" y="544"/>
                    <a:pt x="678" y="543"/>
                    <a:pt x="676" y="542"/>
                  </a:cubicBezTo>
                  <a:cubicBezTo>
                    <a:pt x="673" y="540"/>
                    <a:pt x="670" y="542"/>
                    <a:pt x="668" y="542"/>
                  </a:cubicBezTo>
                  <a:cubicBezTo>
                    <a:pt x="665" y="542"/>
                    <a:pt x="662" y="541"/>
                    <a:pt x="660" y="539"/>
                  </a:cubicBezTo>
                  <a:cubicBezTo>
                    <a:pt x="658" y="539"/>
                    <a:pt x="655" y="536"/>
                    <a:pt x="654" y="535"/>
                  </a:cubicBezTo>
                  <a:cubicBezTo>
                    <a:pt x="651" y="535"/>
                    <a:pt x="650" y="537"/>
                    <a:pt x="648" y="538"/>
                  </a:cubicBezTo>
                  <a:cubicBezTo>
                    <a:pt x="646" y="538"/>
                    <a:pt x="644" y="537"/>
                    <a:pt x="641" y="535"/>
                  </a:cubicBezTo>
                  <a:moveTo>
                    <a:pt x="638" y="532"/>
                  </a:moveTo>
                  <a:cubicBezTo>
                    <a:pt x="638" y="532"/>
                    <a:pt x="637" y="532"/>
                    <a:pt x="637" y="532"/>
                  </a:cubicBezTo>
                  <a:cubicBezTo>
                    <a:pt x="637" y="532"/>
                    <a:pt x="638" y="533"/>
                    <a:pt x="638" y="533"/>
                  </a:cubicBezTo>
                  <a:cubicBezTo>
                    <a:pt x="638" y="532"/>
                    <a:pt x="638" y="532"/>
                    <a:pt x="638" y="532"/>
                  </a:cubicBezTo>
                  <a:moveTo>
                    <a:pt x="931" y="441"/>
                  </a:moveTo>
                  <a:cubicBezTo>
                    <a:pt x="929" y="441"/>
                    <a:pt x="928" y="441"/>
                    <a:pt x="927" y="442"/>
                  </a:cubicBezTo>
                  <a:cubicBezTo>
                    <a:pt x="928" y="443"/>
                    <a:pt x="930" y="443"/>
                    <a:pt x="931" y="443"/>
                  </a:cubicBezTo>
                  <a:cubicBezTo>
                    <a:pt x="937" y="443"/>
                    <a:pt x="942" y="442"/>
                    <a:pt x="948" y="438"/>
                  </a:cubicBezTo>
                  <a:cubicBezTo>
                    <a:pt x="944" y="439"/>
                    <a:pt x="942" y="442"/>
                    <a:pt x="939" y="442"/>
                  </a:cubicBezTo>
                  <a:cubicBezTo>
                    <a:pt x="936" y="442"/>
                    <a:pt x="934" y="441"/>
                    <a:pt x="931" y="441"/>
                  </a:cubicBezTo>
                  <a:moveTo>
                    <a:pt x="1024" y="264"/>
                  </a:moveTo>
                  <a:cubicBezTo>
                    <a:pt x="1021" y="260"/>
                    <a:pt x="1014" y="262"/>
                    <a:pt x="1010" y="261"/>
                  </a:cubicBezTo>
                  <a:cubicBezTo>
                    <a:pt x="1010" y="260"/>
                    <a:pt x="1010" y="258"/>
                    <a:pt x="1009" y="257"/>
                  </a:cubicBezTo>
                  <a:cubicBezTo>
                    <a:pt x="1009" y="255"/>
                    <a:pt x="1007" y="255"/>
                    <a:pt x="1008" y="252"/>
                  </a:cubicBezTo>
                  <a:cubicBezTo>
                    <a:pt x="1008" y="250"/>
                    <a:pt x="1009" y="248"/>
                    <a:pt x="1009" y="247"/>
                  </a:cubicBezTo>
                  <a:cubicBezTo>
                    <a:pt x="1010" y="245"/>
                    <a:pt x="1012" y="245"/>
                    <a:pt x="1013" y="244"/>
                  </a:cubicBezTo>
                  <a:cubicBezTo>
                    <a:pt x="1013" y="243"/>
                    <a:pt x="1014" y="240"/>
                    <a:pt x="1013" y="239"/>
                  </a:cubicBezTo>
                  <a:cubicBezTo>
                    <a:pt x="1012" y="238"/>
                    <a:pt x="1008" y="239"/>
                    <a:pt x="1007" y="239"/>
                  </a:cubicBezTo>
                  <a:cubicBezTo>
                    <a:pt x="1004" y="240"/>
                    <a:pt x="1003" y="243"/>
                    <a:pt x="1001" y="244"/>
                  </a:cubicBezTo>
                  <a:cubicBezTo>
                    <a:pt x="997" y="245"/>
                    <a:pt x="991" y="244"/>
                    <a:pt x="988" y="242"/>
                  </a:cubicBezTo>
                  <a:cubicBezTo>
                    <a:pt x="986" y="241"/>
                    <a:pt x="985" y="238"/>
                    <a:pt x="984" y="236"/>
                  </a:cubicBezTo>
                  <a:cubicBezTo>
                    <a:pt x="983" y="235"/>
                    <a:pt x="983" y="232"/>
                    <a:pt x="982" y="231"/>
                  </a:cubicBezTo>
                  <a:cubicBezTo>
                    <a:pt x="980" y="229"/>
                    <a:pt x="975" y="229"/>
                    <a:pt x="972" y="229"/>
                  </a:cubicBezTo>
                  <a:cubicBezTo>
                    <a:pt x="970" y="229"/>
                    <a:pt x="968" y="230"/>
                    <a:pt x="966" y="229"/>
                  </a:cubicBezTo>
                  <a:cubicBezTo>
                    <a:pt x="964" y="229"/>
                    <a:pt x="962" y="226"/>
                    <a:pt x="960" y="225"/>
                  </a:cubicBezTo>
                  <a:cubicBezTo>
                    <a:pt x="957" y="224"/>
                    <a:pt x="953" y="220"/>
                    <a:pt x="950" y="221"/>
                  </a:cubicBezTo>
                  <a:cubicBezTo>
                    <a:pt x="950" y="227"/>
                    <a:pt x="943" y="223"/>
                    <a:pt x="941" y="221"/>
                  </a:cubicBezTo>
                  <a:cubicBezTo>
                    <a:pt x="939" y="219"/>
                    <a:pt x="937" y="219"/>
                    <a:pt x="934" y="217"/>
                  </a:cubicBezTo>
                  <a:cubicBezTo>
                    <a:pt x="929" y="215"/>
                    <a:pt x="931" y="215"/>
                    <a:pt x="930" y="211"/>
                  </a:cubicBezTo>
                  <a:cubicBezTo>
                    <a:pt x="929" y="208"/>
                    <a:pt x="928" y="207"/>
                    <a:pt x="925" y="208"/>
                  </a:cubicBezTo>
                  <a:cubicBezTo>
                    <a:pt x="923" y="209"/>
                    <a:pt x="923" y="212"/>
                    <a:pt x="921" y="213"/>
                  </a:cubicBezTo>
                  <a:cubicBezTo>
                    <a:pt x="917" y="215"/>
                    <a:pt x="916" y="211"/>
                    <a:pt x="913" y="209"/>
                  </a:cubicBezTo>
                  <a:cubicBezTo>
                    <a:pt x="911" y="208"/>
                    <a:pt x="909" y="209"/>
                    <a:pt x="907" y="208"/>
                  </a:cubicBezTo>
                  <a:cubicBezTo>
                    <a:pt x="906" y="206"/>
                    <a:pt x="907" y="204"/>
                    <a:pt x="907" y="202"/>
                  </a:cubicBezTo>
                  <a:cubicBezTo>
                    <a:pt x="898" y="201"/>
                    <a:pt x="904" y="206"/>
                    <a:pt x="901" y="210"/>
                  </a:cubicBezTo>
                  <a:cubicBezTo>
                    <a:pt x="899" y="212"/>
                    <a:pt x="894" y="213"/>
                    <a:pt x="891" y="212"/>
                  </a:cubicBezTo>
                  <a:cubicBezTo>
                    <a:pt x="890" y="212"/>
                    <a:pt x="889" y="209"/>
                    <a:pt x="887" y="208"/>
                  </a:cubicBezTo>
                  <a:cubicBezTo>
                    <a:pt x="885" y="207"/>
                    <a:pt x="882" y="206"/>
                    <a:pt x="879" y="204"/>
                  </a:cubicBezTo>
                  <a:cubicBezTo>
                    <a:pt x="874" y="202"/>
                    <a:pt x="873" y="201"/>
                    <a:pt x="872" y="195"/>
                  </a:cubicBezTo>
                  <a:cubicBezTo>
                    <a:pt x="871" y="190"/>
                    <a:pt x="871" y="177"/>
                    <a:pt x="862" y="182"/>
                  </a:cubicBezTo>
                  <a:cubicBezTo>
                    <a:pt x="863" y="177"/>
                    <a:pt x="859" y="172"/>
                    <a:pt x="855" y="172"/>
                  </a:cubicBezTo>
                  <a:cubicBezTo>
                    <a:pt x="853" y="173"/>
                    <a:pt x="853" y="174"/>
                    <a:pt x="851" y="175"/>
                  </a:cubicBezTo>
                  <a:cubicBezTo>
                    <a:pt x="849" y="176"/>
                    <a:pt x="850" y="177"/>
                    <a:pt x="847" y="177"/>
                  </a:cubicBezTo>
                  <a:cubicBezTo>
                    <a:pt x="843" y="178"/>
                    <a:pt x="840" y="179"/>
                    <a:pt x="836" y="180"/>
                  </a:cubicBezTo>
                  <a:cubicBezTo>
                    <a:pt x="834" y="180"/>
                    <a:pt x="832" y="181"/>
                    <a:pt x="829" y="181"/>
                  </a:cubicBezTo>
                  <a:cubicBezTo>
                    <a:pt x="825" y="182"/>
                    <a:pt x="821" y="184"/>
                    <a:pt x="817" y="187"/>
                  </a:cubicBezTo>
                  <a:cubicBezTo>
                    <a:pt x="815" y="188"/>
                    <a:pt x="815" y="188"/>
                    <a:pt x="814" y="191"/>
                  </a:cubicBezTo>
                  <a:cubicBezTo>
                    <a:pt x="813" y="195"/>
                    <a:pt x="812" y="197"/>
                    <a:pt x="808" y="194"/>
                  </a:cubicBezTo>
                  <a:cubicBezTo>
                    <a:pt x="804" y="192"/>
                    <a:pt x="806" y="182"/>
                    <a:pt x="799" y="185"/>
                  </a:cubicBezTo>
                  <a:cubicBezTo>
                    <a:pt x="796" y="186"/>
                    <a:pt x="797" y="187"/>
                    <a:pt x="794" y="186"/>
                  </a:cubicBezTo>
                  <a:cubicBezTo>
                    <a:pt x="792" y="185"/>
                    <a:pt x="791" y="182"/>
                    <a:pt x="790" y="180"/>
                  </a:cubicBezTo>
                  <a:cubicBezTo>
                    <a:pt x="788" y="179"/>
                    <a:pt x="786" y="178"/>
                    <a:pt x="784" y="178"/>
                  </a:cubicBezTo>
                  <a:cubicBezTo>
                    <a:pt x="780" y="177"/>
                    <a:pt x="777" y="175"/>
                    <a:pt x="773" y="175"/>
                  </a:cubicBezTo>
                  <a:cubicBezTo>
                    <a:pt x="767" y="175"/>
                    <a:pt x="762" y="176"/>
                    <a:pt x="762" y="183"/>
                  </a:cubicBezTo>
                  <a:cubicBezTo>
                    <a:pt x="758" y="184"/>
                    <a:pt x="753" y="175"/>
                    <a:pt x="751" y="173"/>
                  </a:cubicBezTo>
                  <a:cubicBezTo>
                    <a:pt x="747" y="170"/>
                    <a:pt x="741" y="167"/>
                    <a:pt x="742" y="162"/>
                  </a:cubicBezTo>
                  <a:cubicBezTo>
                    <a:pt x="743" y="157"/>
                    <a:pt x="749" y="156"/>
                    <a:pt x="749" y="152"/>
                  </a:cubicBezTo>
                  <a:cubicBezTo>
                    <a:pt x="749" y="151"/>
                    <a:pt x="747" y="148"/>
                    <a:pt x="747" y="147"/>
                  </a:cubicBezTo>
                  <a:cubicBezTo>
                    <a:pt x="746" y="143"/>
                    <a:pt x="745" y="139"/>
                    <a:pt x="744" y="135"/>
                  </a:cubicBezTo>
                  <a:cubicBezTo>
                    <a:pt x="744" y="132"/>
                    <a:pt x="742" y="130"/>
                    <a:pt x="742" y="127"/>
                  </a:cubicBezTo>
                  <a:cubicBezTo>
                    <a:pt x="742" y="125"/>
                    <a:pt x="742" y="124"/>
                    <a:pt x="744" y="123"/>
                  </a:cubicBezTo>
                  <a:cubicBezTo>
                    <a:pt x="740" y="122"/>
                    <a:pt x="736" y="122"/>
                    <a:pt x="733" y="121"/>
                  </a:cubicBezTo>
                  <a:cubicBezTo>
                    <a:pt x="730" y="120"/>
                    <a:pt x="730" y="116"/>
                    <a:pt x="729" y="113"/>
                  </a:cubicBezTo>
                  <a:cubicBezTo>
                    <a:pt x="728" y="110"/>
                    <a:pt x="726" y="108"/>
                    <a:pt x="726" y="106"/>
                  </a:cubicBezTo>
                  <a:cubicBezTo>
                    <a:pt x="721" y="104"/>
                    <a:pt x="720" y="111"/>
                    <a:pt x="716" y="111"/>
                  </a:cubicBezTo>
                  <a:cubicBezTo>
                    <a:pt x="712" y="111"/>
                    <a:pt x="707" y="110"/>
                    <a:pt x="703" y="108"/>
                  </a:cubicBezTo>
                  <a:cubicBezTo>
                    <a:pt x="699" y="106"/>
                    <a:pt x="695" y="103"/>
                    <a:pt x="690" y="104"/>
                  </a:cubicBezTo>
                  <a:cubicBezTo>
                    <a:pt x="689" y="104"/>
                    <a:pt x="688" y="105"/>
                    <a:pt x="686" y="105"/>
                  </a:cubicBezTo>
                  <a:cubicBezTo>
                    <a:pt x="683" y="105"/>
                    <a:pt x="680" y="106"/>
                    <a:pt x="677" y="105"/>
                  </a:cubicBezTo>
                  <a:cubicBezTo>
                    <a:pt x="677" y="103"/>
                    <a:pt x="677" y="99"/>
                    <a:pt x="680" y="99"/>
                  </a:cubicBezTo>
                  <a:cubicBezTo>
                    <a:pt x="680" y="96"/>
                    <a:pt x="671" y="94"/>
                    <a:pt x="672" y="89"/>
                  </a:cubicBezTo>
                  <a:cubicBezTo>
                    <a:pt x="673" y="86"/>
                    <a:pt x="678" y="88"/>
                    <a:pt x="680" y="85"/>
                  </a:cubicBezTo>
                  <a:cubicBezTo>
                    <a:pt x="682" y="83"/>
                    <a:pt x="681" y="77"/>
                    <a:pt x="681" y="74"/>
                  </a:cubicBezTo>
                  <a:cubicBezTo>
                    <a:pt x="678" y="74"/>
                    <a:pt x="672" y="72"/>
                    <a:pt x="670" y="70"/>
                  </a:cubicBezTo>
                  <a:cubicBezTo>
                    <a:pt x="667" y="67"/>
                    <a:pt x="669" y="65"/>
                    <a:pt x="673" y="65"/>
                  </a:cubicBezTo>
                  <a:cubicBezTo>
                    <a:pt x="677" y="64"/>
                    <a:pt x="680" y="65"/>
                    <a:pt x="684" y="65"/>
                  </a:cubicBezTo>
                  <a:cubicBezTo>
                    <a:pt x="687" y="65"/>
                    <a:pt x="687" y="65"/>
                    <a:pt x="690" y="62"/>
                  </a:cubicBezTo>
                  <a:cubicBezTo>
                    <a:pt x="692" y="60"/>
                    <a:pt x="691" y="45"/>
                    <a:pt x="686" y="45"/>
                  </a:cubicBezTo>
                  <a:cubicBezTo>
                    <a:pt x="684" y="45"/>
                    <a:pt x="682" y="45"/>
                    <a:pt x="680" y="45"/>
                  </a:cubicBezTo>
                  <a:cubicBezTo>
                    <a:pt x="678" y="44"/>
                    <a:pt x="678" y="45"/>
                    <a:pt x="677" y="43"/>
                  </a:cubicBezTo>
                  <a:cubicBezTo>
                    <a:pt x="676" y="41"/>
                    <a:pt x="676" y="37"/>
                    <a:pt x="673" y="37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6" y="44"/>
                    <a:pt x="676" y="45"/>
                    <a:pt x="676" y="45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5" y="42"/>
                    <a:pt x="673" y="41"/>
                    <a:pt x="672" y="40"/>
                  </a:cubicBezTo>
                  <a:cubicBezTo>
                    <a:pt x="672" y="39"/>
                    <a:pt x="668" y="36"/>
                    <a:pt x="668" y="35"/>
                  </a:cubicBezTo>
                  <a:cubicBezTo>
                    <a:pt x="666" y="32"/>
                    <a:pt x="668" y="31"/>
                    <a:pt x="669" y="29"/>
                  </a:cubicBezTo>
                  <a:cubicBezTo>
                    <a:pt x="670" y="27"/>
                    <a:pt x="671" y="26"/>
                    <a:pt x="671" y="23"/>
                  </a:cubicBezTo>
                  <a:cubicBezTo>
                    <a:pt x="670" y="19"/>
                    <a:pt x="668" y="21"/>
                    <a:pt x="666" y="19"/>
                  </a:cubicBezTo>
                  <a:cubicBezTo>
                    <a:pt x="665" y="18"/>
                    <a:pt x="664" y="18"/>
                    <a:pt x="664" y="17"/>
                  </a:cubicBezTo>
                  <a:cubicBezTo>
                    <a:pt x="662" y="13"/>
                    <a:pt x="662" y="10"/>
                    <a:pt x="658" y="7"/>
                  </a:cubicBezTo>
                  <a:cubicBezTo>
                    <a:pt x="655" y="4"/>
                    <a:pt x="652" y="0"/>
                    <a:pt x="649" y="6"/>
                  </a:cubicBezTo>
                  <a:cubicBezTo>
                    <a:pt x="646" y="12"/>
                    <a:pt x="647" y="15"/>
                    <a:pt x="639" y="14"/>
                  </a:cubicBezTo>
                  <a:cubicBezTo>
                    <a:pt x="639" y="10"/>
                    <a:pt x="639" y="10"/>
                    <a:pt x="636" y="9"/>
                  </a:cubicBezTo>
                  <a:cubicBezTo>
                    <a:pt x="634" y="8"/>
                    <a:pt x="632" y="8"/>
                    <a:pt x="630" y="8"/>
                  </a:cubicBezTo>
                  <a:cubicBezTo>
                    <a:pt x="629" y="9"/>
                    <a:pt x="629" y="10"/>
                    <a:pt x="628" y="11"/>
                  </a:cubicBezTo>
                  <a:cubicBezTo>
                    <a:pt x="627" y="11"/>
                    <a:pt x="625" y="11"/>
                    <a:pt x="624" y="11"/>
                  </a:cubicBezTo>
                  <a:cubicBezTo>
                    <a:pt x="621" y="11"/>
                    <a:pt x="618" y="10"/>
                    <a:pt x="615" y="11"/>
                  </a:cubicBezTo>
                  <a:cubicBezTo>
                    <a:pt x="615" y="11"/>
                    <a:pt x="612" y="14"/>
                    <a:pt x="612" y="14"/>
                  </a:cubicBezTo>
                  <a:cubicBezTo>
                    <a:pt x="612" y="14"/>
                    <a:pt x="610" y="16"/>
                    <a:pt x="609" y="17"/>
                  </a:cubicBezTo>
                  <a:cubicBezTo>
                    <a:pt x="608" y="18"/>
                    <a:pt x="606" y="18"/>
                    <a:pt x="603" y="17"/>
                  </a:cubicBezTo>
                  <a:cubicBezTo>
                    <a:pt x="601" y="17"/>
                    <a:pt x="600" y="16"/>
                    <a:pt x="598" y="16"/>
                  </a:cubicBezTo>
                  <a:cubicBezTo>
                    <a:pt x="596" y="15"/>
                    <a:pt x="595" y="15"/>
                    <a:pt x="594" y="15"/>
                  </a:cubicBezTo>
                  <a:cubicBezTo>
                    <a:pt x="593" y="15"/>
                    <a:pt x="592" y="15"/>
                    <a:pt x="592" y="15"/>
                  </a:cubicBezTo>
                  <a:cubicBezTo>
                    <a:pt x="591" y="15"/>
                    <a:pt x="590" y="14"/>
                    <a:pt x="590" y="13"/>
                  </a:cubicBezTo>
                  <a:cubicBezTo>
                    <a:pt x="589" y="12"/>
                    <a:pt x="589" y="11"/>
                    <a:pt x="587" y="10"/>
                  </a:cubicBezTo>
                  <a:cubicBezTo>
                    <a:pt x="586" y="9"/>
                    <a:pt x="585" y="9"/>
                    <a:pt x="584" y="9"/>
                  </a:cubicBezTo>
                  <a:cubicBezTo>
                    <a:pt x="582" y="8"/>
                    <a:pt x="584" y="7"/>
                    <a:pt x="582" y="7"/>
                  </a:cubicBezTo>
                  <a:cubicBezTo>
                    <a:pt x="582" y="7"/>
                    <a:pt x="579" y="10"/>
                    <a:pt x="579" y="9"/>
                  </a:cubicBezTo>
                  <a:cubicBezTo>
                    <a:pt x="575" y="14"/>
                    <a:pt x="577" y="17"/>
                    <a:pt x="576" y="23"/>
                  </a:cubicBezTo>
                  <a:cubicBezTo>
                    <a:pt x="576" y="24"/>
                    <a:pt x="575" y="28"/>
                    <a:pt x="574" y="29"/>
                  </a:cubicBezTo>
                  <a:cubicBezTo>
                    <a:pt x="573" y="30"/>
                    <a:pt x="570" y="30"/>
                    <a:pt x="569" y="31"/>
                  </a:cubicBezTo>
                  <a:cubicBezTo>
                    <a:pt x="567" y="33"/>
                    <a:pt x="566" y="35"/>
                    <a:pt x="564" y="36"/>
                  </a:cubicBezTo>
                  <a:cubicBezTo>
                    <a:pt x="561" y="36"/>
                    <a:pt x="554" y="36"/>
                    <a:pt x="552" y="34"/>
                  </a:cubicBezTo>
                  <a:cubicBezTo>
                    <a:pt x="550" y="31"/>
                    <a:pt x="552" y="30"/>
                    <a:pt x="549" y="29"/>
                  </a:cubicBezTo>
                  <a:cubicBezTo>
                    <a:pt x="549" y="30"/>
                    <a:pt x="549" y="30"/>
                    <a:pt x="549" y="31"/>
                  </a:cubicBezTo>
                  <a:cubicBezTo>
                    <a:pt x="548" y="33"/>
                    <a:pt x="545" y="31"/>
                    <a:pt x="543" y="30"/>
                  </a:cubicBezTo>
                  <a:cubicBezTo>
                    <a:pt x="537" y="29"/>
                    <a:pt x="530" y="27"/>
                    <a:pt x="523" y="27"/>
                  </a:cubicBezTo>
                  <a:cubicBezTo>
                    <a:pt x="521" y="27"/>
                    <a:pt x="521" y="27"/>
                    <a:pt x="520" y="29"/>
                  </a:cubicBezTo>
                  <a:cubicBezTo>
                    <a:pt x="519" y="31"/>
                    <a:pt x="517" y="34"/>
                    <a:pt x="516" y="35"/>
                  </a:cubicBezTo>
                  <a:cubicBezTo>
                    <a:pt x="514" y="35"/>
                    <a:pt x="510" y="36"/>
                    <a:pt x="508" y="35"/>
                  </a:cubicBezTo>
                  <a:cubicBezTo>
                    <a:pt x="506" y="34"/>
                    <a:pt x="507" y="34"/>
                    <a:pt x="506" y="33"/>
                  </a:cubicBezTo>
                  <a:cubicBezTo>
                    <a:pt x="505" y="32"/>
                    <a:pt x="504" y="29"/>
                    <a:pt x="502" y="31"/>
                  </a:cubicBezTo>
                  <a:cubicBezTo>
                    <a:pt x="501" y="32"/>
                    <a:pt x="502" y="35"/>
                    <a:pt x="502" y="36"/>
                  </a:cubicBezTo>
                  <a:cubicBezTo>
                    <a:pt x="502" y="38"/>
                    <a:pt x="501" y="40"/>
                    <a:pt x="500" y="42"/>
                  </a:cubicBezTo>
                  <a:cubicBezTo>
                    <a:pt x="499" y="42"/>
                    <a:pt x="499" y="42"/>
                    <a:pt x="498" y="43"/>
                  </a:cubicBezTo>
                  <a:cubicBezTo>
                    <a:pt x="497" y="44"/>
                    <a:pt x="497" y="45"/>
                    <a:pt x="496" y="46"/>
                  </a:cubicBezTo>
                  <a:cubicBezTo>
                    <a:pt x="495" y="48"/>
                    <a:pt x="493" y="51"/>
                    <a:pt x="492" y="52"/>
                  </a:cubicBezTo>
                  <a:cubicBezTo>
                    <a:pt x="491" y="53"/>
                    <a:pt x="490" y="53"/>
                    <a:pt x="490" y="54"/>
                  </a:cubicBezTo>
                  <a:cubicBezTo>
                    <a:pt x="488" y="55"/>
                    <a:pt x="488" y="56"/>
                    <a:pt x="487" y="58"/>
                  </a:cubicBezTo>
                  <a:cubicBezTo>
                    <a:pt x="485" y="61"/>
                    <a:pt x="483" y="64"/>
                    <a:pt x="481" y="67"/>
                  </a:cubicBezTo>
                  <a:cubicBezTo>
                    <a:pt x="476" y="75"/>
                    <a:pt x="478" y="84"/>
                    <a:pt x="480" y="92"/>
                  </a:cubicBezTo>
                  <a:cubicBezTo>
                    <a:pt x="481" y="95"/>
                    <a:pt x="483" y="98"/>
                    <a:pt x="482" y="101"/>
                  </a:cubicBezTo>
                  <a:cubicBezTo>
                    <a:pt x="481" y="103"/>
                    <a:pt x="479" y="106"/>
                    <a:pt x="476" y="105"/>
                  </a:cubicBezTo>
                  <a:cubicBezTo>
                    <a:pt x="474" y="105"/>
                    <a:pt x="473" y="104"/>
                    <a:pt x="472" y="103"/>
                  </a:cubicBezTo>
                  <a:cubicBezTo>
                    <a:pt x="470" y="101"/>
                    <a:pt x="468" y="99"/>
                    <a:pt x="466" y="97"/>
                  </a:cubicBezTo>
                  <a:cubicBezTo>
                    <a:pt x="464" y="94"/>
                    <a:pt x="461" y="94"/>
                    <a:pt x="459" y="92"/>
                  </a:cubicBezTo>
                  <a:cubicBezTo>
                    <a:pt x="457" y="91"/>
                    <a:pt x="456" y="86"/>
                    <a:pt x="453" y="85"/>
                  </a:cubicBezTo>
                  <a:cubicBezTo>
                    <a:pt x="450" y="83"/>
                    <a:pt x="446" y="87"/>
                    <a:pt x="442" y="88"/>
                  </a:cubicBezTo>
                  <a:cubicBezTo>
                    <a:pt x="439" y="88"/>
                    <a:pt x="435" y="88"/>
                    <a:pt x="432" y="88"/>
                  </a:cubicBezTo>
                  <a:cubicBezTo>
                    <a:pt x="432" y="85"/>
                    <a:pt x="431" y="82"/>
                    <a:pt x="428" y="81"/>
                  </a:cubicBezTo>
                  <a:cubicBezTo>
                    <a:pt x="424" y="79"/>
                    <a:pt x="419" y="82"/>
                    <a:pt x="418" y="87"/>
                  </a:cubicBezTo>
                  <a:cubicBezTo>
                    <a:pt x="418" y="89"/>
                    <a:pt x="418" y="90"/>
                    <a:pt x="417" y="92"/>
                  </a:cubicBezTo>
                  <a:cubicBezTo>
                    <a:pt x="416" y="93"/>
                    <a:pt x="416" y="94"/>
                    <a:pt x="414" y="95"/>
                  </a:cubicBezTo>
                  <a:cubicBezTo>
                    <a:pt x="412" y="95"/>
                    <a:pt x="409" y="94"/>
                    <a:pt x="408" y="93"/>
                  </a:cubicBezTo>
                  <a:cubicBezTo>
                    <a:pt x="405" y="90"/>
                    <a:pt x="403" y="83"/>
                    <a:pt x="403" y="79"/>
                  </a:cubicBezTo>
                  <a:cubicBezTo>
                    <a:pt x="402" y="76"/>
                    <a:pt x="400" y="71"/>
                    <a:pt x="395" y="73"/>
                  </a:cubicBezTo>
                  <a:cubicBezTo>
                    <a:pt x="393" y="74"/>
                    <a:pt x="393" y="76"/>
                    <a:pt x="392" y="77"/>
                  </a:cubicBezTo>
                  <a:cubicBezTo>
                    <a:pt x="391" y="79"/>
                    <a:pt x="389" y="80"/>
                    <a:pt x="387" y="80"/>
                  </a:cubicBezTo>
                  <a:cubicBezTo>
                    <a:pt x="385" y="81"/>
                    <a:pt x="384" y="81"/>
                    <a:pt x="382" y="82"/>
                  </a:cubicBezTo>
                  <a:cubicBezTo>
                    <a:pt x="379" y="83"/>
                    <a:pt x="379" y="82"/>
                    <a:pt x="378" y="84"/>
                  </a:cubicBezTo>
                  <a:cubicBezTo>
                    <a:pt x="378" y="86"/>
                    <a:pt x="380" y="91"/>
                    <a:pt x="378" y="92"/>
                  </a:cubicBezTo>
                  <a:cubicBezTo>
                    <a:pt x="377" y="93"/>
                    <a:pt x="374" y="93"/>
                    <a:pt x="372" y="93"/>
                  </a:cubicBezTo>
                  <a:cubicBezTo>
                    <a:pt x="372" y="88"/>
                    <a:pt x="374" y="79"/>
                    <a:pt x="368" y="77"/>
                  </a:cubicBezTo>
                  <a:cubicBezTo>
                    <a:pt x="367" y="77"/>
                    <a:pt x="364" y="77"/>
                    <a:pt x="363" y="77"/>
                  </a:cubicBezTo>
                  <a:cubicBezTo>
                    <a:pt x="361" y="78"/>
                    <a:pt x="360" y="80"/>
                    <a:pt x="359" y="81"/>
                  </a:cubicBezTo>
                  <a:cubicBezTo>
                    <a:pt x="357" y="82"/>
                    <a:pt x="356" y="81"/>
                    <a:pt x="354" y="78"/>
                  </a:cubicBezTo>
                  <a:cubicBezTo>
                    <a:pt x="353" y="75"/>
                    <a:pt x="351" y="66"/>
                    <a:pt x="347" y="66"/>
                  </a:cubicBezTo>
                  <a:cubicBezTo>
                    <a:pt x="344" y="65"/>
                    <a:pt x="343" y="70"/>
                    <a:pt x="343" y="72"/>
                  </a:cubicBezTo>
                  <a:cubicBezTo>
                    <a:pt x="342" y="74"/>
                    <a:pt x="341" y="75"/>
                    <a:pt x="338" y="75"/>
                  </a:cubicBezTo>
                  <a:cubicBezTo>
                    <a:pt x="336" y="75"/>
                    <a:pt x="333" y="72"/>
                    <a:pt x="332" y="73"/>
                  </a:cubicBezTo>
                  <a:cubicBezTo>
                    <a:pt x="330" y="74"/>
                    <a:pt x="331" y="77"/>
                    <a:pt x="331" y="79"/>
                  </a:cubicBezTo>
                  <a:cubicBezTo>
                    <a:pt x="330" y="81"/>
                    <a:pt x="329" y="82"/>
                    <a:pt x="327" y="84"/>
                  </a:cubicBezTo>
                  <a:cubicBezTo>
                    <a:pt x="324" y="86"/>
                    <a:pt x="323" y="86"/>
                    <a:pt x="321" y="83"/>
                  </a:cubicBezTo>
                  <a:cubicBezTo>
                    <a:pt x="320" y="81"/>
                    <a:pt x="319" y="78"/>
                    <a:pt x="318" y="75"/>
                  </a:cubicBezTo>
                  <a:cubicBezTo>
                    <a:pt x="317" y="72"/>
                    <a:pt x="314" y="72"/>
                    <a:pt x="311" y="72"/>
                  </a:cubicBezTo>
                  <a:cubicBezTo>
                    <a:pt x="308" y="72"/>
                    <a:pt x="305" y="75"/>
                    <a:pt x="303" y="74"/>
                  </a:cubicBezTo>
                  <a:cubicBezTo>
                    <a:pt x="302" y="73"/>
                    <a:pt x="302" y="72"/>
                    <a:pt x="302" y="71"/>
                  </a:cubicBezTo>
                  <a:cubicBezTo>
                    <a:pt x="301" y="70"/>
                    <a:pt x="301" y="70"/>
                    <a:pt x="300" y="68"/>
                  </a:cubicBezTo>
                  <a:cubicBezTo>
                    <a:pt x="300" y="67"/>
                    <a:pt x="300" y="67"/>
                    <a:pt x="299" y="66"/>
                  </a:cubicBezTo>
                  <a:cubicBezTo>
                    <a:pt x="299" y="65"/>
                    <a:pt x="298" y="64"/>
                    <a:pt x="298" y="64"/>
                  </a:cubicBezTo>
                  <a:cubicBezTo>
                    <a:pt x="297" y="62"/>
                    <a:pt x="297" y="60"/>
                    <a:pt x="296" y="59"/>
                  </a:cubicBezTo>
                  <a:cubicBezTo>
                    <a:pt x="291" y="53"/>
                    <a:pt x="284" y="62"/>
                    <a:pt x="279" y="61"/>
                  </a:cubicBezTo>
                  <a:cubicBezTo>
                    <a:pt x="276" y="60"/>
                    <a:pt x="274" y="58"/>
                    <a:pt x="272" y="57"/>
                  </a:cubicBezTo>
                  <a:cubicBezTo>
                    <a:pt x="270" y="56"/>
                    <a:pt x="267" y="55"/>
                    <a:pt x="265" y="54"/>
                  </a:cubicBezTo>
                  <a:cubicBezTo>
                    <a:pt x="262" y="54"/>
                    <a:pt x="259" y="54"/>
                    <a:pt x="255" y="54"/>
                  </a:cubicBezTo>
                  <a:cubicBezTo>
                    <a:pt x="253" y="55"/>
                    <a:pt x="250" y="56"/>
                    <a:pt x="248" y="55"/>
                  </a:cubicBezTo>
                  <a:cubicBezTo>
                    <a:pt x="246" y="54"/>
                    <a:pt x="247" y="51"/>
                    <a:pt x="244" y="50"/>
                  </a:cubicBezTo>
                  <a:cubicBezTo>
                    <a:pt x="243" y="49"/>
                    <a:pt x="240" y="50"/>
                    <a:pt x="239" y="50"/>
                  </a:cubicBezTo>
                  <a:cubicBezTo>
                    <a:pt x="237" y="50"/>
                    <a:pt x="235" y="49"/>
                    <a:pt x="234" y="49"/>
                  </a:cubicBezTo>
                  <a:cubicBezTo>
                    <a:pt x="231" y="48"/>
                    <a:pt x="229" y="48"/>
                    <a:pt x="227" y="48"/>
                  </a:cubicBezTo>
                  <a:cubicBezTo>
                    <a:pt x="226" y="48"/>
                    <a:pt x="224" y="48"/>
                    <a:pt x="223" y="47"/>
                  </a:cubicBezTo>
                  <a:cubicBezTo>
                    <a:pt x="222" y="47"/>
                    <a:pt x="221" y="46"/>
                    <a:pt x="220" y="46"/>
                  </a:cubicBezTo>
                  <a:cubicBezTo>
                    <a:pt x="219" y="45"/>
                    <a:pt x="216" y="46"/>
                    <a:pt x="214" y="46"/>
                  </a:cubicBezTo>
                  <a:cubicBezTo>
                    <a:pt x="210" y="46"/>
                    <a:pt x="206" y="45"/>
                    <a:pt x="202" y="45"/>
                  </a:cubicBezTo>
                  <a:cubicBezTo>
                    <a:pt x="198" y="45"/>
                    <a:pt x="194" y="44"/>
                    <a:pt x="190" y="44"/>
                  </a:cubicBezTo>
                  <a:cubicBezTo>
                    <a:pt x="188" y="44"/>
                    <a:pt x="187" y="44"/>
                    <a:pt x="185" y="44"/>
                  </a:cubicBezTo>
                  <a:cubicBezTo>
                    <a:pt x="182" y="43"/>
                    <a:pt x="179" y="46"/>
                    <a:pt x="176" y="46"/>
                  </a:cubicBezTo>
                  <a:cubicBezTo>
                    <a:pt x="174" y="47"/>
                    <a:pt x="172" y="47"/>
                    <a:pt x="171" y="47"/>
                  </a:cubicBezTo>
                  <a:cubicBezTo>
                    <a:pt x="169" y="47"/>
                    <a:pt x="167" y="45"/>
                    <a:pt x="165" y="45"/>
                  </a:cubicBezTo>
                  <a:cubicBezTo>
                    <a:pt x="163" y="44"/>
                    <a:pt x="161" y="44"/>
                    <a:pt x="159" y="44"/>
                  </a:cubicBezTo>
                  <a:cubicBezTo>
                    <a:pt x="156" y="43"/>
                    <a:pt x="153" y="44"/>
                    <a:pt x="151" y="46"/>
                  </a:cubicBezTo>
                  <a:cubicBezTo>
                    <a:pt x="151" y="46"/>
                    <a:pt x="149" y="48"/>
                    <a:pt x="149" y="48"/>
                  </a:cubicBezTo>
                  <a:cubicBezTo>
                    <a:pt x="148" y="48"/>
                    <a:pt x="147" y="48"/>
                    <a:pt x="146" y="48"/>
                  </a:cubicBezTo>
                  <a:cubicBezTo>
                    <a:pt x="145" y="48"/>
                    <a:pt x="143" y="49"/>
                    <a:pt x="142" y="51"/>
                  </a:cubicBezTo>
                  <a:cubicBezTo>
                    <a:pt x="139" y="54"/>
                    <a:pt x="141" y="57"/>
                    <a:pt x="139" y="60"/>
                  </a:cubicBezTo>
                  <a:cubicBezTo>
                    <a:pt x="138" y="64"/>
                    <a:pt x="133" y="64"/>
                    <a:pt x="131" y="66"/>
                  </a:cubicBezTo>
                  <a:cubicBezTo>
                    <a:pt x="128" y="68"/>
                    <a:pt x="127" y="68"/>
                    <a:pt x="124" y="68"/>
                  </a:cubicBezTo>
                  <a:cubicBezTo>
                    <a:pt x="121" y="69"/>
                    <a:pt x="118" y="70"/>
                    <a:pt x="115" y="70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6" y="71"/>
                    <a:pt x="116" y="74"/>
                    <a:pt x="117" y="76"/>
                  </a:cubicBezTo>
                  <a:cubicBezTo>
                    <a:pt x="117" y="78"/>
                    <a:pt x="117" y="79"/>
                    <a:pt x="117" y="81"/>
                  </a:cubicBezTo>
                  <a:cubicBezTo>
                    <a:pt x="117" y="84"/>
                    <a:pt x="118" y="87"/>
                    <a:pt x="119" y="90"/>
                  </a:cubicBezTo>
                  <a:cubicBezTo>
                    <a:pt x="120" y="94"/>
                    <a:pt x="122" y="97"/>
                    <a:pt x="124" y="101"/>
                  </a:cubicBezTo>
                  <a:cubicBezTo>
                    <a:pt x="124" y="103"/>
                    <a:pt x="125" y="104"/>
                    <a:pt x="126" y="106"/>
                  </a:cubicBezTo>
                  <a:cubicBezTo>
                    <a:pt x="126" y="107"/>
                    <a:pt x="126" y="107"/>
                    <a:pt x="127" y="108"/>
                  </a:cubicBezTo>
                  <a:cubicBezTo>
                    <a:pt x="127" y="108"/>
                    <a:pt x="127" y="109"/>
                    <a:pt x="127" y="109"/>
                  </a:cubicBezTo>
                  <a:cubicBezTo>
                    <a:pt x="127" y="110"/>
                    <a:pt x="127" y="111"/>
                    <a:pt x="128" y="111"/>
                  </a:cubicBezTo>
                  <a:cubicBezTo>
                    <a:pt x="129" y="111"/>
                    <a:pt x="130" y="111"/>
                    <a:pt x="130" y="111"/>
                  </a:cubicBezTo>
                  <a:cubicBezTo>
                    <a:pt x="131" y="112"/>
                    <a:pt x="132" y="115"/>
                    <a:pt x="132" y="116"/>
                  </a:cubicBezTo>
                  <a:cubicBezTo>
                    <a:pt x="134" y="119"/>
                    <a:pt x="136" y="122"/>
                    <a:pt x="138" y="124"/>
                  </a:cubicBezTo>
                  <a:cubicBezTo>
                    <a:pt x="138" y="126"/>
                    <a:pt x="138" y="128"/>
                    <a:pt x="139" y="130"/>
                  </a:cubicBezTo>
                  <a:cubicBezTo>
                    <a:pt x="140" y="131"/>
                    <a:pt x="140" y="130"/>
                    <a:pt x="141" y="132"/>
                  </a:cubicBezTo>
                  <a:cubicBezTo>
                    <a:pt x="141" y="133"/>
                    <a:pt x="141" y="134"/>
                    <a:pt x="140" y="135"/>
                  </a:cubicBezTo>
                  <a:cubicBezTo>
                    <a:pt x="140" y="135"/>
                    <a:pt x="125" y="134"/>
                    <a:pt x="129" y="139"/>
                  </a:cubicBezTo>
                  <a:cubicBezTo>
                    <a:pt x="129" y="139"/>
                    <a:pt x="131" y="140"/>
                    <a:pt x="132" y="140"/>
                  </a:cubicBezTo>
                  <a:cubicBezTo>
                    <a:pt x="132" y="140"/>
                    <a:pt x="134" y="141"/>
                    <a:pt x="135" y="142"/>
                  </a:cubicBezTo>
                  <a:cubicBezTo>
                    <a:pt x="136" y="144"/>
                    <a:pt x="136" y="145"/>
                    <a:pt x="136" y="147"/>
                  </a:cubicBezTo>
                  <a:cubicBezTo>
                    <a:pt x="136" y="152"/>
                    <a:pt x="136" y="157"/>
                    <a:pt x="136" y="162"/>
                  </a:cubicBezTo>
                  <a:cubicBezTo>
                    <a:pt x="136" y="162"/>
                    <a:pt x="135" y="163"/>
                    <a:pt x="135" y="164"/>
                  </a:cubicBezTo>
                  <a:cubicBezTo>
                    <a:pt x="136" y="163"/>
                    <a:pt x="136" y="163"/>
                    <a:pt x="136" y="162"/>
                  </a:cubicBezTo>
                  <a:cubicBezTo>
                    <a:pt x="136" y="162"/>
                    <a:pt x="136" y="161"/>
                    <a:pt x="136" y="161"/>
                  </a:cubicBezTo>
                  <a:cubicBezTo>
                    <a:pt x="136" y="161"/>
                    <a:pt x="136" y="162"/>
                    <a:pt x="136" y="162"/>
                  </a:cubicBezTo>
                  <a:cubicBezTo>
                    <a:pt x="136" y="165"/>
                    <a:pt x="137" y="169"/>
                    <a:pt x="135" y="170"/>
                  </a:cubicBezTo>
                  <a:cubicBezTo>
                    <a:pt x="134" y="171"/>
                    <a:pt x="128" y="170"/>
                    <a:pt x="126" y="170"/>
                  </a:cubicBezTo>
                  <a:cubicBezTo>
                    <a:pt x="120" y="170"/>
                    <a:pt x="114" y="172"/>
                    <a:pt x="109" y="176"/>
                  </a:cubicBezTo>
                  <a:cubicBezTo>
                    <a:pt x="105" y="178"/>
                    <a:pt x="101" y="183"/>
                    <a:pt x="98" y="186"/>
                  </a:cubicBezTo>
                  <a:cubicBezTo>
                    <a:pt x="96" y="190"/>
                    <a:pt x="92" y="192"/>
                    <a:pt x="90" y="196"/>
                  </a:cubicBezTo>
                  <a:cubicBezTo>
                    <a:pt x="89" y="197"/>
                    <a:pt x="87" y="197"/>
                    <a:pt x="86" y="199"/>
                  </a:cubicBezTo>
                  <a:cubicBezTo>
                    <a:pt x="85" y="199"/>
                    <a:pt x="85" y="201"/>
                    <a:pt x="85" y="203"/>
                  </a:cubicBezTo>
                  <a:cubicBezTo>
                    <a:pt x="84" y="203"/>
                    <a:pt x="84" y="204"/>
                    <a:pt x="84" y="204"/>
                  </a:cubicBezTo>
                  <a:cubicBezTo>
                    <a:pt x="84" y="205"/>
                    <a:pt x="84" y="206"/>
                    <a:pt x="84" y="206"/>
                  </a:cubicBezTo>
                  <a:cubicBezTo>
                    <a:pt x="83" y="207"/>
                    <a:pt x="82" y="209"/>
                    <a:pt x="81" y="211"/>
                  </a:cubicBezTo>
                  <a:cubicBezTo>
                    <a:pt x="78" y="216"/>
                    <a:pt x="75" y="220"/>
                    <a:pt x="72" y="225"/>
                  </a:cubicBezTo>
                  <a:cubicBezTo>
                    <a:pt x="71" y="228"/>
                    <a:pt x="69" y="231"/>
                    <a:pt x="68" y="233"/>
                  </a:cubicBezTo>
                  <a:cubicBezTo>
                    <a:pt x="68" y="234"/>
                    <a:pt x="67" y="235"/>
                    <a:pt x="66" y="235"/>
                  </a:cubicBezTo>
                  <a:cubicBezTo>
                    <a:pt x="65" y="237"/>
                    <a:pt x="64" y="237"/>
                    <a:pt x="62" y="238"/>
                  </a:cubicBezTo>
                  <a:cubicBezTo>
                    <a:pt x="61" y="239"/>
                    <a:pt x="60" y="241"/>
                    <a:pt x="58" y="242"/>
                  </a:cubicBezTo>
                  <a:cubicBezTo>
                    <a:pt x="57" y="244"/>
                    <a:pt x="57" y="242"/>
                    <a:pt x="57" y="244"/>
                  </a:cubicBezTo>
                  <a:cubicBezTo>
                    <a:pt x="57" y="244"/>
                    <a:pt x="57" y="245"/>
                    <a:pt x="57" y="246"/>
                  </a:cubicBezTo>
                  <a:cubicBezTo>
                    <a:pt x="57" y="247"/>
                    <a:pt x="57" y="247"/>
                    <a:pt x="57" y="248"/>
                  </a:cubicBezTo>
                  <a:cubicBezTo>
                    <a:pt x="58" y="251"/>
                    <a:pt x="59" y="252"/>
                    <a:pt x="59" y="254"/>
                  </a:cubicBezTo>
                  <a:cubicBezTo>
                    <a:pt x="59" y="255"/>
                    <a:pt x="59" y="257"/>
                    <a:pt x="59" y="258"/>
                  </a:cubicBezTo>
                  <a:cubicBezTo>
                    <a:pt x="60" y="258"/>
                    <a:pt x="60" y="259"/>
                    <a:pt x="61" y="259"/>
                  </a:cubicBezTo>
                  <a:cubicBezTo>
                    <a:pt x="62" y="261"/>
                    <a:pt x="61" y="264"/>
                    <a:pt x="61" y="266"/>
                  </a:cubicBezTo>
                  <a:cubicBezTo>
                    <a:pt x="61" y="269"/>
                    <a:pt x="60" y="274"/>
                    <a:pt x="64" y="275"/>
                  </a:cubicBezTo>
                  <a:cubicBezTo>
                    <a:pt x="65" y="275"/>
                    <a:pt x="66" y="275"/>
                    <a:pt x="66" y="275"/>
                  </a:cubicBezTo>
                  <a:cubicBezTo>
                    <a:pt x="67" y="275"/>
                    <a:pt x="67" y="276"/>
                    <a:pt x="67" y="276"/>
                  </a:cubicBezTo>
                  <a:cubicBezTo>
                    <a:pt x="68" y="277"/>
                    <a:pt x="68" y="277"/>
                    <a:pt x="69" y="277"/>
                  </a:cubicBezTo>
                  <a:cubicBezTo>
                    <a:pt x="69" y="280"/>
                    <a:pt x="72" y="282"/>
                    <a:pt x="71" y="285"/>
                  </a:cubicBezTo>
                  <a:cubicBezTo>
                    <a:pt x="69" y="285"/>
                    <a:pt x="65" y="285"/>
                    <a:pt x="63" y="285"/>
                  </a:cubicBezTo>
                  <a:cubicBezTo>
                    <a:pt x="62" y="284"/>
                    <a:pt x="62" y="283"/>
                    <a:pt x="61" y="283"/>
                  </a:cubicBezTo>
                  <a:cubicBezTo>
                    <a:pt x="60" y="283"/>
                    <a:pt x="59" y="283"/>
                    <a:pt x="58" y="283"/>
                  </a:cubicBezTo>
                  <a:cubicBezTo>
                    <a:pt x="55" y="283"/>
                    <a:pt x="54" y="282"/>
                    <a:pt x="52" y="280"/>
                  </a:cubicBezTo>
                  <a:cubicBezTo>
                    <a:pt x="52" y="281"/>
                    <a:pt x="52" y="281"/>
                    <a:pt x="51" y="281"/>
                  </a:cubicBezTo>
                  <a:cubicBezTo>
                    <a:pt x="51" y="283"/>
                    <a:pt x="50" y="284"/>
                    <a:pt x="50" y="285"/>
                  </a:cubicBezTo>
                  <a:cubicBezTo>
                    <a:pt x="47" y="289"/>
                    <a:pt x="44" y="290"/>
                    <a:pt x="40" y="291"/>
                  </a:cubicBezTo>
                  <a:cubicBezTo>
                    <a:pt x="39" y="291"/>
                    <a:pt x="37" y="291"/>
                    <a:pt x="35" y="291"/>
                  </a:cubicBezTo>
                  <a:cubicBezTo>
                    <a:pt x="33" y="291"/>
                    <a:pt x="31" y="290"/>
                    <a:pt x="29" y="290"/>
                  </a:cubicBezTo>
                  <a:cubicBezTo>
                    <a:pt x="28" y="290"/>
                    <a:pt x="27" y="291"/>
                    <a:pt x="25" y="291"/>
                  </a:cubicBezTo>
                  <a:cubicBezTo>
                    <a:pt x="24" y="292"/>
                    <a:pt x="21" y="291"/>
                    <a:pt x="20" y="292"/>
                  </a:cubicBezTo>
                  <a:cubicBezTo>
                    <a:pt x="19" y="292"/>
                    <a:pt x="18" y="293"/>
                    <a:pt x="18" y="293"/>
                  </a:cubicBezTo>
                  <a:cubicBezTo>
                    <a:pt x="17" y="294"/>
                    <a:pt x="18" y="294"/>
                    <a:pt x="17" y="295"/>
                  </a:cubicBezTo>
                  <a:cubicBezTo>
                    <a:pt x="17" y="297"/>
                    <a:pt x="15" y="299"/>
                    <a:pt x="14" y="300"/>
                  </a:cubicBezTo>
                  <a:cubicBezTo>
                    <a:pt x="13" y="302"/>
                    <a:pt x="12" y="303"/>
                    <a:pt x="12" y="305"/>
                  </a:cubicBezTo>
                  <a:cubicBezTo>
                    <a:pt x="11" y="307"/>
                    <a:pt x="11" y="308"/>
                    <a:pt x="11" y="310"/>
                  </a:cubicBezTo>
                  <a:cubicBezTo>
                    <a:pt x="11" y="311"/>
                    <a:pt x="9" y="313"/>
                    <a:pt x="9" y="314"/>
                  </a:cubicBezTo>
                  <a:cubicBezTo>
                    <a:pt x="8" y="315"/>
                    <a:pt x="7" y="317"/>
                    <a:pt x="7" y="318"/>
                  </a:cubicBezTo>
                  <a:cubicBezTo>
                    <a:pt x="6" y="320"/>
                    <a:pt x="6" y="321"/>
                    <a:pt x="5" y="322"/>
                  </a:cubicBezTo>
                  <a:cubicBezTo>
                    <a:pt x="5" y="324"/>
                    <a:pt x="4" y="324"/>
                    <a:pt x="4" y="326"/>
                  </a:cubicBezTo>
                  <a:cubicBezTo>
                    <a:pt x="4" y="328"/>
                    <a:pt x="4" y="327"/>
                    <a:pt x="3" y="328"/>
                  </a:cubicBezTo>
                  <a:cubicBezTo>
                    <a:pt x="2" y="329"/>
                    <a:pt x="1" y="330"/>
                    <a:pt x="0" y="331"/>
                  </a:cubicBezTo>
                  <a:cubicBezTo>
                    <a:pt x="20" y="353"/>
                    <a:pt x="20" y="353"/>
                    <a:pt x="20" y="353"/>
                  </a:cubicBezTo>
                  <a:cubicBezTo>
                    <a:pt x="22" y="353"/>
                    <a:pt x="22" y="353"/>
                    <a:pt x="23" y="354"/>
                  </a:cubicBezTo>
                  <a:cubicBezTo>
                    <a:pt x="23" y="355"/>
                    <a:pt x="23" y="356"/>
                    <a:pt x="23" y="357"/>
                  </a:cubicBezTo>
                  <a:cubicBezTo>
                    <a:pt x="23" y="359"/>
                    <a:pt x="22" y="362"/>
                    <a:pt x="24" y="362"/>
                  </a:cubicBezTo>
                  <a:cubicBezTo>
                    <a:pt x="25" y="360"/>
                    <a:pt x="28" y="362"/>
                    <a:pt x="31" y="362"/>
                  </a:cubicBezTo>
                  <a:cubicBezTo>
                    <a:pt x="32" y="362"/>
                    <a:pt x="33" y="362"/>
                    <a:pt x="34" y="362"/>
                  </a:cubicBezTo>
                  <a:cubicBezTo>
                    <a:pt x="35" y="363"/>
                    <a:pt x="36" y="363"/>
                    <a:pt x="37" y="363"/>
                  </a:cubicBezTo>
                  <a:cubicBezTo>
                    <a:pt x="37" y="364"/>
                    <a:pt x="38" y="364"/>
                    <a:pt x="39" y="365"/>
                  </a:cubicBezTo>
                  <a:cubicBezTo>
                    <a:pt x="39" y="366"/>
                    <a:pt x="39" y="368"/>
                    <a:pt x="39" y="369"/>
                  </a:cubicBezTo>
                  <a:cubicBezTo>
                    <a:pt x="39" y="370"/>
                    <a:pt x="39" y="371"/>
                    <a:pt x="39" y="372"/>
                  </a:cubicBezTo>
                  <a:cubicBezTo>
                    <a:pt x="42" y="371"/>
                    <a:pt x="46" y="373"/>
                    <a:pt x="49" y="372"/>
                  </a:cubicBezTo>
                  <a:cubicBezTo>
                    <a:pt x="50" y="371"/>
                    <a:pt x="51" y="370"/>
                    <a:pt x="52" y="369"/>
                  </a:cubicBezTo>
                  <a:cubicBezTo>
                    <a:pt x="53" y="368"/>
                    <a:pt x="54" y="367"/>
                    <a:pt x="56" y="366"/>
                  </a:cubicBezTo>
                  <a:cubicBezTo>
                    <a:pt x="59" y="364"/>
                    <a:pt x="62" y="365"/>
                    <a:pt x="64" y="367"/>
                  </a:cubicBezTo>
                  <a:cubicBezTo>
                    <a:pt x="66" y="370"/>
                    <a:pt x="65" y="372"/>
                    <a:pt x="69" y="373"/>
                  </a:cubicBezTo>
                  <a:cubicBezTo>
                    <a:pt x="73" y="373"/>
                    <a:pt x="76" y="372"/>
                    <a:pt x="80" y="372"/>
                  </a:cubicBezTo>
                  <a:cubicBezTo>
                    <a:pt x="81" y="372"/>
                    <a:pt x="83" y="371"/>
                    <a:pt x="85" y="373"/>
                  </a:cubicBezTo>
                  <a:cubicBezTo>
                    <a:pt x="86" y="373"/>
                    <a:pt x="88" y="377"/>
                    <a:pt x="88" y="378"/>
                  </a:cubicBezTo>
                  <a:cubicBezTo>
                    <a:pt x="89" y="376"/>
                    <a:pt x="89" y="375"/>
                    <a:pt x="91" y="375"/>
                  </a:cubicBezTo>
                  <a:cubicBezTo>
                    <a:pt x="93" y="375"/>
                    <a:pt x="95" y="375"/>
                    <a:pt x="97" y="375"/>
                  </a:cubicBezTo>
                  <a:cubicBezTo>
                    <a:pt x="99" y="375"/>
                    <a:pt x="104" y="375"/>
                    <a:pt x="106" y="376"/>
                  </a:cubicBezTo>
                  <a:cubicBezTo>
                    <a:pt x="107" y="377"/>
                    <a:pt x="107" y="378"/>
                    <a:pt x="108" y="378"/>
                  </a:cubicBezTo>
                  <a:cubicBezTo>
                    <a:pt x="108" y="378"/>
                    <a:pt x="109" y="378"/>
                    <a:pt x="110" y="378"/>
                  </a:cubicBezTo>
                  <a:cubicBezTo>
                    <a:pt x="114" y="380"/>
                    <a:pt x="117" y="380"/>
                    <a:pt x="122" y="378"/>
                  </a:cubicBezTo>
                  <a:cubicBezTo>
                    <a:pt x="123" y="378"/>
                    <a:pt x="133" y="374"/>
                    <a:pt x="132" y="378"/>
                  </a:cubicBezTo>
                  <a:cubicBezTo>
                    <a:pt x="135" y="378"/>
                    <a:pt x="134" y="379"/>
                    <a:pt x="135" y="380"/>
                  </a:cubicBezTo>
                  <a:cubicBezTo>
                    <a:pt x="136" y="381"/>
                    <a:pt x="138" y="382"/>
                    <a:pt x="139" y="383"/>
                  </a:cubicBezTo>
                  <a:cubicBezTo>
                    <a:pt x="140" y="384"/>
                    <a:pt x="141" y="386"/>
                    <a:pt x="143" y="388"/>
                  </a:cubicBezTo>
                  <a:cubicBezTo>
                    <a:pt x="147" y="391"/>
                    <a:pt x="153" y="393"/>
                    <a:pt x="158" y="391"/>
                  </a:cubicBezTo>
                  <a:cubicBezTo>
                    <a:pt x="161" y="390"/>
                    <a:pt x="162" y="386"/>
                    <a:pt x="163" y="384"/>
                  </a:cubicBezTo>
                  <a:cubicBezTo>
                    <a:pt x="165" y="381"/>
                    <a:pt x="166" y="379"/>
                    <a:pt x="170" y="379"/>
                  </a:cubicBezTo>
                  <a:cubicBezTo>
                    <a:pt x="175" y="379"/>
                    <a:pt x="181" y="379"/>
                    <a:pt x="187" y="379"/>
                  </a:cubicBezTo>
                  <a:cubicBezTo>
                    <a:pt x="187" y="379"/>
                    <a:pt x="189" y="379"/>
                    <a:pt x="189" y="379"/>
                  </a:cubicBezTo>
                  <a:cubicBezTo>
                    <a:pt x="190" y="379"/>
                    <a:pt x="190" y="378"/>
                    <a:pt x="190" y="378"/>
                  </a:cubicBezTo>
                  <a:cubicBezTo>
                    <a:pt x="192" y="377"/>
                    <a:pt x="195" y="376"/>
                    <a:pt x="197" y="376"/>
                  </a:cubicBezTo>
                  <a:cubicBezTo>
                    <a:pt x="202" y="376"/>
                    <a:pt x="207" y="374"/>
                    <a:pt x="211" y="374"/>
                  </a:cubicBezTo>
                  <a:cubicBezTo>
                    <a:pt x="215" y="374"/>
                    <a:pt x="216" y="375"/>
                    <a:pt x="218" y="372"/>
                  </a:cubicBezTo>
                  <a:cubicBezTo>
                    <a:pt x="220" y="370"/>
                    <a:pt x="220" y="367"/>
                    <a:pt x="222" y="365"/>
                  </a:cubicBezTo>
                  <a:cubicBezTo>
                    <a:pt x="223" y="362"/>
                    <a:pt x="227" y="360"/>
                    <a:pt x="230" y="359"/>
                  </a:cubicBezTo>
                  <a:cubicBezTo>
                    <a:pt x="233" y="357"/>
                    <a:pt x="235" y="356"/>
                    <a:pt x="238" y="355"/>
                  </a:cubicBezTo>
                  <a:cubicBezTo>
                    <a:pt x="238" y="355"/>
                    <a:pt x="238" y="355"/>
                    <a:pt x="238" y="355"/>
                  </a:cubicBezTo>
                  <a:cubicBezTo>
                    <a:pt x="241" y="354"/>
                    <a:pt x="244" y="351"/>
                    <a:pt x="248" y="351"/>
                  </a:cubicBezTo>
                  <a:cubicBezTo>
                    <a:pt x="248" y="350"/>
                    <a:pt x="248" y="350"/>
                    <a:pt x="248" y="350"/>
                  </a:cubicBezTo>
                  <a:cubicBezTo>
                    <a:pt x="249" y="349"/>
                    <a:pt x="249" y="349"/>
                    <a:pt x="250" y="348"/>
                  </a:cubicBezTo>
                  <a:cubicBezTo>
                    <a:pt x="250" y="347"/>
                    <a:pt x="250" y="346"/>
                    <a:pt x="250" y="345"/>
                  </a:cubicBezTo>
                  <a:cubicBezTo>
                    <a:pt x="250" y="344"/>
                    <a:pt x="249" y="344"/>
                    <a:pt x="249" y="343"/>
                  </a:cubicBezTo>
                  <a:cubicBezTo>
                    <a:pt x="249" y="342"/>
                    <a:pt x="249" y="341"/>
                    <a:pt x="249" y="340"/>
                  </a:cubicBezTo>
                  <a:cubicBezTo>
                    <a:pt x="249" y="338"/>
                    <a:pt x="250" y="338"/>
                    <a:pt x="252" y="337"/>
                  </a:cubicBezTo>
                  <a:cubicBezTo>
                    <a:pt x="252" y="337"/>
                    <a:pt x="253" y="337"/>
                    <a:pt x="254" y="337"/>
                  </a:cubicBezTo>
                  <a:cubicBezTo>
                    <a:pt x="255" y="337"/>
                    <a:pt x="254" y="340"/>
                    <a:pt x="256" y="340"/>
                  </a:cubicBezTo>
                  <a:cubicBezTo>
                    <a:pt x="257" y="341"/>
                    <a:pt x="258" y="340"/>
                    <a:pt x="259" y="341"/>
                  </a:cubicBezTo>
                  <a:cubicBezTo>
                    <a:pt x="260" y="341"/>
                    <a:pt x="260" y="342"/>
                    <a:pt x="260" y="343"/>
                  </a:cubicBezTo>
                  <a:cubicBezTo>
                    <a:pt x="261" y="344"/>
                    <a:pt x="262" y="344"/>
                    <a:pt x="263" y="343"/>
                  </a:cubicBezTo>
                  <a:cubicBezTo>
                    <a:pt x="266" y="342"/>
                    <a:pt x="266" y="341"/>
                    <a:pt x="267" y="339"/>
                  </a:cubicBezTo>
                  <a:cubicBezTo>
                    <a:pt x="267" y="337"/>
                    <a:pt x="267" y="337"/>
                    <a:pt x="269" y="338"/>
                  </a:cubicBezTo>
                  <a:cubicBezTo>
                    <a:pt x="271" y="338"/>
                    <a:pt x="272" y="339"/>
                    <a:pt x="273" y="341"/>
                  </a:cubicBezTo>
                  <a:cubicBezTo>
                    <a:pt x="273" y="342"/>
                    <a:pt x="273" y="342"/>
                    <a:pt x="274" y="342"/>
                  </a:cubicBezTo>
                  <a:cubicBezTo>
                    <a:pt x="276" y="342"/>
                    <a:pt x="279" y="341"/>
                    <a:pt x="280" y="340"/>
                  </a:cubicBezTo>
                  <a:cubicBezTo>
                    <a:pt x="281" y="339"/>
                    <a:pt x="282" y="339"/>
                    <a:pt x="283" y="338"/>
                  </a:cubicBezTo>
                  <a:cubicBezTo>
                    <a:pt x="283" y="337"/>
                    <a:pt x="283" y="336"/>
                    <a:pt x="284" y="336"/>
                  </a:cubicBezTo>
                  <a:cubicBezTo>
                    <a:pt x="284" y="335"/>
                    <a:pt x="285" y="336"/>
                    <a:pt x="285" y="337"/>
                  </a:cubicBezTo>
                  <a:cubicBezTo>
                    <a:pt x="286" y="337"/>
                    <a:pt x="286" y="338"/>
                    <a:pt x="287" y="339"/>
                  </a:cubicBezTo>
                  <a:cubicBezTo>
                    <a:pt x="288" y="340"/>
                    <a:pt x="289" y="340"/>
                    <a:pt x="290" y="340"/>
                  </a:cubicBezTo>
                  <a:cubicBezTo>
                    <a:pt x="293" y="339"/>
                    <a:pt x="296" y="337"/>
                    <a:pt x="296" y="334"/>
                  </a:cubicBezTo>
                  <a:cubicBezTo>
                    <a:pt x="296" y="334"/>
                    <a:pt x="296" y="332"/>
                    <a:pt x="297" y="332"/>
                  </a:cubicBezTo>
                  <a:cubicBezTo>
                    <a:pt x="299" y="330"/>
                    <a:pt x="301" y="335"/>
                    <a:pt x="302" y="335"/>
                  </a:cubicBezTo>
                  <a:cubicBezTo>
                    <a:pt x="302" y="336"/>
                    <a:pt x="304" y="336"/>
                    <a:pt x="305" y="336"/>
                  </a:cubicBezTo>
                  <a:cubicBezTo>
                    <a:pt x="307" y="336"/>
                    <a:pt x="306" y="336"/>
                    <a:pt x="308" y="337"/>
                  </a:cubicBezTo>
                  <a:cubicBezTo>
                    <a:pt x="308" y="338"/>
                    <a:pt x="309" y="338"/>
                    <a:pt x="309" y="338"/>
                  </a:cubicBezTo>
                  <a:cubicBezTo>
                    <a:pt x="310" y="339"/>
                    <a:pt x="311" y="340"/>
                    <a:pt x="312" y="341"/>
                  </a:cubicBezTo>
                  <a:cubicBezTo>
                    <a:pt x="314" y="342"/>
                    <a:pt x="316" y="342"/>
                    <a:pt x="317" y="343"/>
                  </a:cubicBezTo>
                  <a:cubicBezTo>
                    <a:pt x="319" y="344"/>
                    <a:pt x="321" y="347"/>
                    <a:pt x="323" y="348"/>
                  </a:cubicBezTo>
                  <a:cubicBezTo>
                    <a:pt x="324" y="348"/>
                    <a:pt x="325" y="348"/>
                    <a:pt x="325" y="349"/>
                  </a:cubicBezTo>
                  <a:cubicBezTo>
                    <a:pt x="325" y="349"/>
                    <a:pt x="325" y="350"/>
                    <a:pt x="325" y="350"/>
                  </a:cubicBezTo>
                  <a:cubicBezTo>
                    <a:pt x="325" y="352"/>
                    <a:pt x="325" y="351"/>
                    <a:pt x="327" y="351"/>
                  </a:cubicBezTo>
                  <a:cubicBezTo>
                    <a:pt x="328" y="352"/>
                    <a:pt x="327" y="352"/>
                    <a:pt x="328" y="353"/>
                  </a:cubicBezTo>
                  <a:cubicBezTo>
                    <a:pt x="328" y="354"/>
                    <a:pt x="330" y="355"/>
                    <a:pt x="331" y="355"/>
                  </a:cubicBezTo>
                  <a:cubicBezTo>
                    <a:pt x="331" y="354"/>
                    <a:pt x="332" y="354"/>
                    <a:pt x="332" y="353"/>
                  </a:cubicBezTo>
                  <a:cubicBezTo>
                    <a:pt x="334" y="353"/>
                    <a:pt x="335" y="354"/>
                    <a:pt x="336" y="353"/>
                  </a:cubicBezTo>
                  <a:cubicBezTo>
                    <a:pt x="338" y="353"/>
                    <a:pt x="339" y="352"/>
                    <a:pt x="340" y="354"/>
                  </a:cubicBezTo>
                  <a:cubicBezTo>
                    <a:pt x="341" y="356"/>
                    <a:pt x="340" y="358"/>
                    <a:pt x="339" y="359"/>
                  </a:cubicBezTo>
                  <a:cubicBezTo>
                    <a:pt x="338" y="360"/>
                    <a:pt x="337" y="360"/>
                    <a:pt x="337" y="361"/>
                  </a:cubicBezTo>
                  <a:cubicBezTo>
                    <a:pt x="338" y="362"/>
                    <a:pt x="339" y="361"/>
                    <a:pt x="340" y="361"/>
                  </a:cubicBezTo>
                  <a:cubicBezTo>
                    <a:pt x="341" y="361"/>
                    <a:pt x="342" y="359"/>
                    <a:pt x="343" y="359"/>
                  </a:cubicBezTo>
                  <a:cubicBezTo>
                    <a:pt x="343" y="360"/>
                    <a:pt x="343" y="362"/>
                    <a:pt x="343" y="362"/>
                  </a:cubicBezTo>
                  <a:cubicBezTo>
                    <a:pt x="343" y="363"/>
                    <a:pt x="343" y="365"/>
                    <a:pt x="343" y="365"/>
                  </a:cubicBezTo>
                  <a:cubicBezTo>
                    <a:pt x="344" y="365"/>
                    <a:pt x="344" y="365"/>
                    <a:pt x="345" y="365"/>
                  </a:cubicBezTo>
                  <a:cubicBezTo>
                    <a:pt x="345" y="366"/>
                    <a:pt x="345" y="367"/>
                    <a:pt x="345" y="367"/>
                  </a:cubicBezTo>
                  <a:cubicBezTo>
                    <a:pt x="346" y="367"/>
                    <a:pt x="347" y="365"/>
                    <a:pt x="347" y="364"/>
                  </a:cubicBezTo>
                  <a:cubicBezTo>
                    <a:pt x="347" y="364"/>
                    <a:pt x="347" y="361"/>
                    <a:pt x="347" y="360"/>
                  </a:cubicBezTo>
                  <a:cubicBezTo>
                    <a:pt x="348" y="359"/>
                    <a:pt x="351" y="360"/>
                    <a:pt x="352" y="360"/>
                  </a:cubicBezTo>
                  <a:cubicBezTo>
                    <a:pt x="353" y="360"/>
                    <a:pt x="354" y="360"/>
                    <a:pt x="355" y="361"/>
                  </a:cubicBezTo>
                  <a:cubicBezTo>
                    <a:pt x="356" y="361"/>
                    <a:pt x="357" y="362"/>
                    <a:pt x="357" y="362"/>
                  </a:cubicBezTo>
                  <a:cubicBezTo>
                    <a:pt x="358" y="362"/>
                    <a:pt x="359" y="362"/>
                    <a:pt x="359" y="362"/>
                  </a:cubicBezTo>
                  <a:cubicBezTo>
                    <a:pt x="361" y="362"/>
                    <a:pt x="360" y="362"/>
                    <a:pt x="361" y="363"/>
                  </a:cubicBezTo>
                  <a:cubicBezTo>
                    <a:pt x="362" y="363"/>
                    <a:pt x="362" y="364"/>
                    <a:pt x="363" y="365"/>
                  </a:cubicBezTo>
                  <a:cubicBezTo>
                    <a:pt x="364" y="365"/>
                    <a:pt x="364" y="364"/>
                    <a:pt x="365" y="365"/>
                  </a:cubicBezTo>
                  <a:cubicBezTo>
                    <a:pt x="366" y="365"/>
                    <a:pt x="365" y="367"/>
                    <a:pt x="365" y="368"/>
                  </a:cubicBezTo>
                  <a:cubicBezTo>
                    <a:pt x="365" y="370"/>
                    <a:pt x="365" y="370"/>
                    <a:pt x="367" y="372"/>
                  </a:cubicBezTo>
                  <a:cubicBezTo>
                    <a:pt x="368" y="373"/>
                    <a:pt x="368" y="375"/>
                    <a:pt x="369" y="375"/>
                  </a:cubicBezTo>
                  <a:cubicBezTo>
                    <a:pt x="371" y="375"/>
                    <a:pt x="371" y="375"/>
                    <a:pt x="372" y="376"/>
                  </a:cubicBezTo>
                  <a:cubicBezTo>
                    <a:pt x="373" y="377"/>
                    <a:pt x="372" y="377"/>
                    <a:pt x="373" y="378"/>
                  </a:cubicBezTo>
                  <a:cubicBezTo>
                    <a:pt x="374" y="378"/>
                    <a:pt x="376" y="378"/>
                    <a:pt x="377" y="378"/>
                  </a:cubicBezTo>
                  <a:cubicBezTo>
                    <a:pt x="377" y="378"/>
                    <a:pt x="378" y="378"/>
                    <a:pt x="378" y="378"/>
                  </a:cubicBezTo>
                  <a:cubicBezTo>
                    <a:pt x="379" y="378"/>
                    <a:pt x="379" y="377"/>
                    <a:pt x="380" y="376"/>
                  </a:cubicBezTo>
                  <a:cubicBezTo>
                    <a:pt x="381" y="375"/>
                    <a:pt x="383" y="376"/>
                    <a:pt x="384" y="376"/>
                  </a:cubicBezTo>
                  <a:cubicBezTo>
                    <a:pt x="385" y="377"/>
                    <a:pt x="386" y="377"/>
                    <a:pt x="387" y="378"/>
                  </a:cubicBezTo>
                  <a:cubicBezTo>
                    <a:pt x="388" y="378"/>
                    <a:pt x="389" y="378"/>
                    <a:pt x="389" y="378"/>
                  </a:cubicBezTo>
                  <a:cubicBezTo>
                    <a:pt x="391" y="379"/>
                    <a:pt x="391" y="381"/>
                    <a:pt x="390" y="382"/>
                  </a:cubicBezTo>
                  <a:cubicBezTo>
                    <a:pt x="390" y="383"/>
                    <a:pt x="390" y="383"/>
                    <a:pt x="390" y="383"/>
                  </a:cubicBezTo>
                  <a:cubicBezTo>
                    <a:pt x="389" y="384"/>
                    <a:pt x="389" y="384"/>
                    <a:pt x="389" y="385"/>
                  </a:cubicBezTo>
                  <a:cubicBezTo>
                    <a:pt x="389" y="385"/>
                    <a:pt x="389" y="386"/>
                    <a:pt x="389" y="386"/>
                  </a:cubicBezTo>
                  <a:cubicBezTo>
                    <a:pt x="389" y="388"/>
                    <a:pt x="389" y="388"/>
                    <a:pt x="388" y="389"/>
                  </a:cubicBezTo>
                  <a:cubicBezTo>
                    <a:pt x="388" y="389"/>
                    <a:pt x="388" y="390"/>
                    <a:pt x="388" y="390"/>
                  </a:cubicBezTo>
                  <a:cubicBezTo>
                    <a:pt x="388" y="391"/>
                    <a:pt x="389" y="391"/>
                    <a:pt x="390" y="392"/>
                  </a:cubicBezTo>
                  <a:cubicBezTo>
                    <a:pt x="391" y="393"/>
                    <a:pt x="390" y="393"/>
                    <a:pt x="389" y="393"/>
                  </a:cubicBezTo>
                  <a:cubicBezTo>
                    <a:pt x="389" y="394"/>
                    <a:pt x="388" y="395"/>
                    <a:pt x="388" y="396"/>
                  </a:cubicBezTo>
                  <a:cubicBezTo>
                    <a:pt x="388" y="397"/>
                    <a:pt x="388" y="398"/>
                    <a:pt x="387" y="400"/>
                  </a:cubicBezTo>
                  <a:cubicBezTo>
                    <a:pt x="387" y="400"/>
                    <a:pt x="387" y="401"/>
                    <a:pt x="387" y="402"/>
                  </a:cubicBezTo>
                  <a:cubicBezTo>
                    <a:pt x="387" y="403"/>
                    <a:pt x="387" y="404"/>
                    <a:pt x="387" y="404"/>
                  </a:cubicBezTo>
                  <a:cubicBezTo>
                    <a:pt x="387" y="406"/>
                    <a:pt x="384" y="406"/>
                    <a:pt x="383" y="408"/>
                  </a:cubicBezTo>
                  <a:cubicBezTo>
                    <a:pt x="382" y="409"/>
                    <a:pt x="382" y="410"/>
                    <a:pt x="383" y="411"/>
                  </a:cubicBezTo>
                  <a:cubicBezTo>
                    <a:pt x="383" y="412"/>
                    <a:pt x="383" y="413"/>
                    <a:pt x="383" y="414"/>
                  </a:cubicBezTo>
                  <a:cubicBezTo>
                    <a:pt x="383" y="414"/>
                    <a:pt x="383" y="414"/>
                    <a:pt x="384" y="415"/>
                  </a:cubicBezTo>
                  <a:cubicBezTo>
                    <a:pt x="385" y="416"/>
                    <a:pt x="385" y="418"/>
                    <a:pt x="386" y="419"/>
                  </a:cubicBezTo>
                  <a:cubicBezTo>
                    <a:pt x="387" y="419"/>
                    <a:pt x="387" y="420"/>
                    <a:pt x="388" y="421"/>
                  </a:cubicBezTo>
                  <a:cubicBezTo>
                    <a:pt x="389" y="422"/>
                    <a:pt x="389" y="423"/>
                    <a:pt x="389" y="424"/>
                  </a:cubicBezTo>
                  <a:cubicBezTo>
                    <a:pt x="389" y="425"/>
                    <a:pt x="391" y="426"/>
                    <a:pt x="392" y="426"/>
                  </a:cubicBezTo>
                  <a:cubicBezTo>
                    <a:pt x="392" y="426"/>
                    <a:pt x="393" y="425"/>
                    <a:pt x="393" y="424"/>
                  </a:cubicBezTo>
                  <a:cubicBezTo>
                    <a:pt x="393" y="425"/>
                    <a:pt x="394" y="426"/>
                    <a:pt x="394" y="426"/>
                  </a:cubicBezTo>
                  <a:cubicBezTo>
                    <a:pt x="394" y="427"/>
                    <a:pt x="394" y="429"/>
                    <a:pt x="395" y="430"/>
                  </a:cubicBezTo>
                  <a:cubicBezTo>
                    <a:pt x="396" y="430"/>
                    <a:pt x="397" y="431"/>
                    <a:pt x="398" y="431"/>
                  </a:cubicBezTo>
                  <a:cubicBezTo>
                    <a:pt x="401" y="433"/>
                    <a:pt x="402" y="430"/>
                    <a:pt x="404" y="428"/>
                  </a:cubicBezTo>
                  <a:cubicBezTo>
                    <a:pt x="404" y="428"/>
                    <a:pt x="405" y="428"/>
                    <a:pt x="405" y="428"/>
                  </a:cubicBezTo>
                  <a:cubicBezTo>
                    <a:pt x="406" y="427"/>
                    <a:pt x="407" y="427"/>
                    <a:pt x="408" y="427"/>
                  </a:cubicBezTo>
                  <a:cubicBezTo>
                    <a:pt x="408" y="428"/>
                    <a:pt x="408" y="430"/>
                    <a:pt x="408" y="431"/>
                  </a:cubicBezTo>
                  <a:cubicBezTo>
                    <a:pt x="408" y="433"/>
                    <a:pt x="410" y="435"/>
                    <a:pt x="409" y="437"/>
                  </a:cubicBezTo>
                  <a:cubicBezTo>
                    <a:pt x="408" y="439"/>
                    <a:pt x="406" y="439"/>
                    <a:pt x="407" y="442"/>
                  </a:cubicBezTo>
                  <a:cubicBezTo>
                    <a:pt x="407" y="442"/>
                    <a:pt x="407" y="443"/>
                    <a:pt x="407" y="443"/>
                  </a:cubicBezTo>
                  <a:cubicBezTo>
                    <a:pt x="407" y="444"/>
                    <a:pt x="407" y="444"/>
                    <a:pt x="407" y="445"/>
                  </a:cubicBezTo>
                  <a:cubicBezTo>
                    <a:pt x="406" y="446"/>
                    <a:pt x="406" y="445"/>
                    <a:pt x="405" y="447"/>
                  </a:cubicBezTo>
                  <a:cubicBezTo>
                    <a:pt x="405" y="448"/>
                    <a:pt x="405" y="449"/>
                    <a:pt x="406" y="450"/>
                  </a:cubicBezTo>
                  <a:cubicBezTo>
                    <a:pt x="404" y="449"/>
                    <a:pt x="403" y="448"/>
                    <a:pt x="402" y="450"/>
                  </a:cubicBezTo>
                  <a:cubicBezTo>
                    <a:pt x="400" y="452"/>
                    <a:pt x="404" y="453"/>
                    <a:pt x="406" y="453"/>
                  </a:cubicBezTo>
                  <a:cubicBezTo>
                    <a:pt x="407" y="453"/>
                    <a:pt x="410" y="453"/>
                    <a:pt x="411" y="453"/>
                  </a:cubicBezTo>
                  <a:cubicBezTo>
                    <a:pt x="412" y="454"/>
                    <a:pt x="412" y="456"/>
                    <a:pt x="412" y="456"/>
                  </a:cubicBezTo>
                  <a:cubicBezTo>
                    <a:pt x="412" y="457"/>
                    <a:pt x="412" y="458"/>
                    <a:pt x="412" y="458"/>
                  </a:cubicBezTo>
                  <a:cubicBezTo>
                    <a:pt x="411" y="460"/>
                    <a:pt x="411" y="462"/>
                    <a:pt x="411" y="463"/>
                  </a:cubicBezTo>
                  <a:cubicBezTo>
                    <a:pt x="411" y="463"/>
                    <a:pt x="412" y="464"/>
                    <a:pt x="412" y="464"/>
                  </a:cubicBezTo>
                  <a:cubicBezTo>
                    <a:pt x="413" y="465"/>
                    <a:pt x="413" y="465"/>
                    <a:pt x="413" y="466"/>
                  </a:cubicBezTo>
                  <a:cubicBezTo>
                    <a:pt x="413" y="468"/>
                    <a:pt x="415" y="471"/>
                    <a:pt x="415" y="473"/>
                  </a:cubicBezTo>
                  <a:cubicBezTo>
                    <a:pt x="416" y="474"/>
                    <a:pt x="416" y="474"/>
                    <a:pt x="417" y="474"/>
                  </a:cubicBezTo>
                  <a:cubicBezTo>
                    <a:pt x="418" y="473"/>
                    <a:pt x="419" y="473"/>
                    <a:pt x="421" y="472"/>
                  </a:cubicBezTo>
                  <a:cubicBezTo>
                    <a:pt x="422" y="471"/>
                    <a:pt x="423" y="472"/>
                    <a:pt x="424" y="473"/>
                  </a:cubicBezTo>
                  <a:cubicBezTo>
                    <a:pt x="426" y="474"/>
                    <a:pt x="428" y="474"/>
                    <a:pt x="428" y="477"/>
                  </a:cubicBezTo>
                  <a:cubicBezTo>
                    <a:pt x="428" y="481"/>
                    <a:pt x="428" y="486"/>
                    <a:pt x="427" y="490"/>
                  </a:cubicBezTo>
                  <a:cubicBezTo>
                    <a:pt x="427" y="491"/>
                    <a:pt x="426" y="493"/>
                    <a:pt x="426" y="495"/>
                  </a:cubicBezTo>
                  <a:cubicBezTo>
                    <a:pt x="426" y="496"/>
                    <a:pt x="427" y="497"/>
                    <a:pt x="426" y="498"/>
                  </a:cubicBezTo>
                  <a:cubicBezTo>
                    <a:pt x="424" y="499"/>
                    <a:pt x="423" y="497"/>
                    <a:pt x="421" y="498"/>
                  </a:cubicBezTo>
                  <a:cubicBezTo>
                    <a:pt x="421" y="499"/>
                    <a:pt x="421" y="500"/>
                    <a:pt x="421" y="500"/>
                  </a:cubicBezTo>
                  <a:cubicBezTo>
                    <a:pt x="420" y="501"/>
                    <a:pt x="420" y="501"/>
                    <a:pt x="419" y="502"/>
                  </a:cubicBezTo>
                  <a:cubicBezTo>
                    <a:pt x="418" y="503"/>
                    <a:pt x="419" y="504"/>
                    <a:pt x="418" y="505"/>
                  </a:cubicBezTo>
                  <a:cubicBezTo>
                    <a:pt x="418" y="506"/>
                    <a:pt x="417" y="507"/>
                    <a:pt x="416" y="508"/>
                  </a:cubicBezTo>
                  <a:cubicBezTo>
                    <a:pt x="414" y="510"/>
                    <a:pt x="414" y="512"/>
                    <a:pt x="414" y="515"/>
                  </a:cubicBezTo>
                  <a:cubicBezTo>
                    <a:pt x="413" y="515"/>
                    <a:pt x="411" y="515"/>
                    <a:pt x="411" y="515"/>
                  </a:cubicBezTo>
                  <a:cubicBezTo>
                    <a:pt x="410" y="514"/>
                    <a:pt x="409" y="513"/>
                    <a:pt x="408" y="512"/>
                  </a:cubicBezTo>
                  <a:cubicBezTo>
                    <a:pt x="408" y="511"/>
                    <a:pt x="407" y="510"/>
                    <a:pt x="407" y="510"/>
                  </a:cubicBezTo>
                  <a:cubicBezTo>
                    <a:pt x="407" y="509"/>
                    <a:pt x="406" y="508"/>
                    <a:pt x="406" y="507"/>
                  </a:cubicBezTo>
                  <a:cubicBezTo>
                    <a:pt x="405" y="507"/>
                    <a:pt x="404" y="506"/>
                    <a:pt x="403" y="506"/>
                  </a:cubicBezTo>
                  <a:cubicBezTo>
                    <a:pt x="403" y="505"/>
                    <a:pt x="403" y="505"/>
                    <a:pt x="403" y="504"/>
                  </a:cubicBezTo>
                  <a:cubicBezTo>
                    <a:pt x="403" y="503"/>
                    <a:pt x="403" y="502"/>
                    <a:pt x="402" y="502"/>
                  </a:cubicBezTo>
                  <a:cubicBezTo>
                    <a:pt x="399" y="501"/>
                    <a:pt x="397" y="506"/>
                    <a:pt x="396" y="507"/>
                  </a:cubicBezTo>
                  <a:cubicBezTo>
                    <a:pt x="395" y="506"/>
                    <a:pt x="394" y="502"/>
                    <a:pt x="394" y="501"/>
                  </a:cubicBezTo>
                  <a:cubicBezTo>
                    <a:pt x="394" y="500"/>
                    <a:pt x="395" y="499"/>
                    <a:pt x="394" y="498"/>
                  </a:cubicBezTo>
                  <a:cubicBezTo>
                    <a:pt x="393" y="499"/>
                    <a:pt x="392" y="502"/>
                    <a:pt x="392" y="505"/>
                  </a:cubicBezTo>
                  <a:cubicBezTo>
                    <a:pt x="392" y="506"/>
                    <a:pt x="392" y="507"/>
                    <a:pt x="391" y="508"/>
                  </a:cubicBezTo>
                  <a:cubicBezTo>
                    <a:pt x="391" y="509"/>
                    <a:pt x="390" y="509"/>
                    <a:pt x="390" y="510"/>
                  </a:cubicBezTo>
                  <a:cubicBezTo>
                    <a:pt x="390" y="510"/>
                    <a:pt x="390" y="511"/>
                    <a:pt x="389" y="512"/>
                  </a:cubicBezTo>
                  <a:cubicBezTo>
                    <a:pt x="388" y="513"/>
                    <a:pt x="388" y="510"/>
                    <a:pt x="387" y="509"/>
                  </a:cubicBezTo>
                  <a:cubicBezTo>
                    <a:pt x="387" y="507"/>
                    <a:pt x="387" y="506"/>
                    <a:pt x="389" y="504"/>
                  </a:cubicBezTo>
                  <a:cubicBezTo>
                    <a:pt x="390" y="502"/>
                    <a:pt x="391" y="501"/>
                    <a:pt x="391" y="499"/>
                  </a:cubicBezTo>
                  <a:cubicBezTo>
                    <a:pt x="391" y="494"/>
                    <a:pt x="385" y="496"/>
                    <a:pt x="383" y="498"/>
                  </a:cubicBezTo>
                  <a:cubicBezTo>
                    <a:pt x="382" y="499"/>
                    <a:pt x="383" y="499"/>
                    <a:pt x="382" y="499"/>
                  </a:cubicBezTo>
                  <a:cubicBezTo>
                    <a:pt x="381" y="500"/>
                    <a:pt x="380" y="500"/>
                    <a:pt x="379" y="500"/>
                  </a:cubicBezTo>
                  <a:cubicBezTo>
                    <a:pt x="378" y="500"/>
                    <a:pt x="377" y="501"/>
                    <a:pt x="375" y="502"/>
                  </a:cubicBezTo>
                  <a:cubicBezTo>
                    <a:pt x="374" y="502"/>
                    <a:pt x="374" y="502"/>
                    <a:pt x="373" y="504"/>
                  </a:cubicBezTo>
                  <a:cubicBezTo>
                    <a:pt x="373" y="504"/>
                    <a:pt x="372" y="506"/>
                    <a:pt x="372" y="507"/>
                  </a:cubicBezTo>
                  <a:cubicBezTo>
                    <a:pt x="373" y="508"/>
                    <a:pt x="374" y="507"/>
                    <a:pt x="375" y="509"/>
                  </a:cubicBezTo>
                  <a:cubicBezTo>
                    <a:pt x="375" y="510"/>
                    <a:pt x="374" y="511"/>
                    <a:pt x="374" y="512"/>
                  </a:cubicBezTo>
                  <a:cubicBezTo>
                    <a:pt x="374" y="514"/>
                    <a:pt x="374" y="516"/>
                    <a:pt x="373" y="518"/>
                  </a:cubicBezTo>
                  <a:cubicBezTo>
                    <a:pt x="373" y="519"/>
                    <a:pt x="371" y="522"/>
                    <a:pt x="372" y="523"/>
                  </a:cubicBezTo>
                  <a:cubicBezTo>
                    <a:pt x="372" y="524"/>
                    <a:pt x="374" y="523"/>
                    <a:pt x="375" y="523"/>
                  </a:cubicBezTo>
                  <a:cubicBezTo>
                    <a:pt x="376" y="524"/>
                    <a:pt x="376" y="524"/>
                    <a:pt x="376" y="525"/>
                  </a:cubicBezTo>
                  <a:cubicBezTo>
                    <a:pt x="377" y="527"/>
                    <a:pt x="377" y="528"/>
                    <a:pt x="376" y="530"/>
                  </a:cubicBezTo>
                  <a:cubicBezTo>
                    <a:pt x="375" y="532"/>
                    <a:pt x="373" y="534"/>
                    <a:pt x="374" y="536"/>
                  </a:cubicBezTo>
                  <a:cubicBezTo>
                    <a:pt x="375" y="537"/>
                    <a:pt x="376" y="538"/>
                    <a:pt x="376" y="539"/>
                  </a:cubicBezTo>
                  <a:cubicBezTo>
                    <a:pt x="376" y="540"/>
                    <a:pt x="375" y="540"/>
                    <a:pt x="374" y="541"/>
                  </a:cubicBezTo>
                  <a:cubicBezTo>
                    <a:pt x="370" y="543"/>
                    <a:pt x="366" y="544"/>
                    <a:pt x="363" y="546"/>
                  </a:cubicBezTo>
                  <a:cubicBezTo>
                    <a:pt x="361" y="547"/>
                    <a:pt x="358" y="549"/>
                    <a:pt x="359" y="551"/>
                  </a:cubicBezTo>
                  <a:cubicBezTo>
                    <a:pt x="360" y="553"/>
                    <a:pt x="361" y="555"/>
                    <a:pt x="359" y="557"/>
                  </a:cubicBezTo>
                  <a:cubicBezTo>
                    <a:pt x="358" y="557"/>
                    <a:pt x="357" y="558"/>
                    <a:pt x="356" y="558"/>
                  </a:cubicBezTo>
                  <a:cubicBezTo>
                    <a:pt x="355" y="558"/>
                    <a:pt x="355" y="558"/>
                    <a:pt x="354" y="558"/>
                  </a:cubicBezTo>
                  <a:cubicBezTo>
                    <a:pt x="353" y="559"/>
                    <a:pt x="352" y="559"/>
                    <a:pt x="352" y="560"/>
                  </a:cubicBezTo>
                  <a:cubicBezTo>
                    <a:pt x="351" y="560"/>
                    <a:pt x="350" y="561"/>
                    <a:pt x="350" y="562"/>
                  </a:cubicBezTo>
                  <a:cubicBezTo>
                    <a:pt x="350" y="563"/>
                    <a:pt x="350" y="563"/>
                    <a:pt x="349" y="564"/>
                  </a:cubicBezTo>
                  <a:cubicBezTo>
                    <a:pt x="348" y="564"/>
                    <a:pt x="347" y="564"/>
                    <a:pt x="347" y="565"/>
                  </a:cubicBezTo>
                  <a:cubicBezTo>
                    <a:pt x="347" y="566"/>
                    <a:pt x="347" y="567"/>
                    <a:pt x="347" y="568"/>
                  </a:cubicBezTo>
                  <a:cubicBezTo>
                    <a:pt x="347" y="570"/>
                    <a:pt x="349" y="571"/>
                    <a:pt x="348" y="573"/>
                  </a:cubicBezTo>
                  <a:cubicBezTo>
                    <a:pt x="348" y="573"/>
                    <a:pt x="347" y="574"/>
                    <a:pt x="347" y="574"/>
                  </a:cubicBezTo>
                  <a:cubicBezTo>
                    <a:pt x="347" y="574"/>
                    <a:pt x="347" y="575"/>
                    <a:pt x="347" y="575"/>
                  </a:cubicBezTo>
                  <a:cubicBezTo>
                    <a:pt x="347" y="576"/>
                    <a:pt x="347" y="577"/>
                    <a:pt x="347" y="578"/>
                  </a:cubicBezTo>
                  <a:cubicBezTo>
                    <a:pt x="346" y="579"/>
                    <a:pt x="346" y="580"/>
                    <a:pt x="346" y="580"/>
                  </a:cubicBezTo>
                  <a:cubicBezTo>
                    <a:pt x="346" y="581"/>
                    <a:pt x="346" y="582"/>
                    <a:pt x="346" y="583"/>
                  </a:cubicBezTo>
                  <a:cubicBezTo>
                    <a:pt x="346" y="583"/>
                    <a:pt x="345" y="583"/>
                    <a:pt x="345" y="584"/>
                  </a:cubicBezTo>
                  <a:cubicBezTo>
                    <a:pt x="344" y="584"/>
                    <a:pt x="344" y="585"/>
                    <a:pt x="344" y="585"/>
                  </a:cubicBezTo>
                  <a:cubicBezTo>
                    <a:pt x="343" y="586"/>
                    <a:pt x="343" y="586"/>
                    <a:pt x="342" y="586"/>
                  </a:cubicBezTo>
                  <a:cubicBezTo>
                    <a:pt x="339" y="586"/>
                    <a:pt x="339" y="579"/>
                    <a:pt x="336" y="582"/>
                  </a:cubicBezTo>
                  <a:cubicBezTo>
                    <a:pt x="335" y="582"/>
                    <a:pt x="334" y="583"/>
                    <a:pt x="333" y="584"/>
                  </a:cubicBezTo>
                  <a:cubicBezTo>
                    <a:pt x="332" y="585"/>
                    <a:pt x="331" y="586"/>
                    <a:pt x="330" y="586"/>
                  </a:cubicBezTo>
                  <a:cubicBezTo>
                    <a:pt x="330" y="587"/>
                    <a:pt x="331" y="587"/>
                    <a:pt x="331" y="588"/>
                  </a:cubicBezTo>
                  <a:cubicBezTo>
                    <a:pt x="332" y="588"/>
                    <a:pt x="337" y="596"/>
                    <a:pt x="337" y="597"/>
                  </a:cubicBezTo>
                  <a:cubicBezTo>
                    <a:pt x="339" y="598"/>
                    <a:pt x="345" y="601"/>
                    <a:pt x="347" y="601"/>
                  </a:cubicBezTo>
                  <a:cubicBezTo>
                    <a:pt x="349" y="602"/>
                    <a:pt x="351" y="603"/>
                    <a:pt x="353" y="605"/>
                  </a:cubicBezTo>
                  <a:cubicBezTo>
                    <a:pt x="356" y="606"/>
                    <a:pt x="357" y="608"/>
                    <a:pt x="360" y="605"/>
                  </a:cubicBezTo>
                  <a:cubicBezTo>
                    <a:pt x="361" y="604"/>
                    <a:pt x="361" y="601"/>
                    <a:pt x="362" y="601"/>
                  </a:cubicBezTo>
                  <a:cubicBezTo>
                    <a:pt x="364" y="600"/>
                    <a:pt x="366" y="601"/>
                    <a:pt x="368" y="601"/>
                  </a:cubicBezTo>
                  <a:cubicBezTo>
                    <a:pt x="370" y="601"/>
                    <a:pt x="372" y="601"/>
                    <a:pt x="377" y="599"/>
                  </a:cubicBezTo>
                  <a:cubicBezTo>
                    <a:pt x="381" y="598"/>
                    <a:pt x="384" y="596"/>
                    <a:pt x="385" y="595"/>
                  </a:cubicBezTo>
                  <a:cubicBezTo>
                    <a:pt x="387" y="593"/>
                    <a:pt x="387" y="592"/>
                    <a:pt x="390" y="592"/>
                  </a:cubicBezTo>
                  <a:cubicBezTo>
                    <a:pt x="397" y="590"/>
                    <a:pt x="401" y="593"/>
                    <a:pt x="406" y="596"/>
                  </a:cubicBezTo>
                  <a:cubicBezTo>
                    <a:pt x="408" y="597"/>
                    <a:pt x="413" y="599"/>
                    <a:pt x="416" y="600"/>
                  </a:cubicBezTo>
                  <a:cubicBezTo>
                    <a:pt x="417" y="597"/>
                    <a:pt x="414" y="596"/>
                    <a:pt x="412" y="592"/>
                  </a:cubicBezTo>
                  <a:cubicBezTo>
                    <a:pt x="409" y="588"/>
                    <a:pt x="406" y="582"/>
                    <a:pt x="406" y="578"/>
                  </a:cubicBezTo>
                  <a:cubicBezTo>
                    <a:pt x="405" y="574"/>
                    <a:pt x="410" y="572"/>
                    <a:pt x="409" y="569"/>
                  </a:cubicBezTo>
                  <a:cubicBezTo>
                    <a:pt x="409" y="573"/>
                    <a:pt x="414" y="575"/>
                    <a:pt x="415" y="580"/>
                  </a:cubicBezTo>
                  <a:cubicBezTo>
                    <a:pt x="417" y="580"/>
                    <a:pt x="423" y="578"/>
                    <a:pt x="424" y="576"/>
                  </a:cubicBezTo>
                  <a:cubicBezTo>
                    <a:pt x="425" y="573"/>
                    <a:pt x="422" y="570"/>
                    <a:pt x="423" y="568"/>
                  </a:cubicBezTo>
                  <a:cubicBezTo>
                    <a:pt x="428" y="567"/>
                    <a:pt x="435" y="568"/>
                    <a:pt x="434" y="561"/>
                  </a:cubicBezTo>
                  <a:cubicBezTo>
                    <a:pt x="439" y="560"/>
                    <a:pt x="438" y="564"/>
                    <a:pt x="442" y="561"/>
                  </a:cubicBezTo>
                  <a:cubicBezTo>
                    <a:pt x="443" y="560"/>
                    <a:pt x="444" y="558"/>
                    <a:pt x="445" y="557"/>
                  </a:cubicBezTo>
                  <a:cubicBezTo>
                    <a:pt x="447" y="556"/>
                    <a:pt x="450" y="556"/>
                    <a:pt x="452" y="553"/>
                  </a:cubicBezTo>
                  <a:cubicBezTo>
                    <a:pt x="453" y="550"/>
                    <a:pt x="452" y="546"/>
                    <a:pt x="452" y="543"/>
                  </a:cubicBezTo>
                  <a:cubicBezTo>
                    <a:pt x="453" y="542"/>
                    <a:pt x="454" y="541"/>
                    <a:pt x="453" y="539"/>
                  </a:cubicBezTo>
                  <a:cubicBezTo>
                    <a:pt x="452" y="538"/>
                    <a:pt x="447" y="537"/>
                    <a:pt x="446" y="536"/>
                  </a:cubicBezTo>
                  <a:cubicBezTo>
                    <a:pt x="444" y="535"/>
                    <a:pt x="432" y="528"/>
                    <a:pt x="434" y="523"/>
                  </a:cubicBezTo>
                  <a:cubicBezTo>
                    <a:pt x="436" y="519"/>
                    <a:pt x="446" y="521"/>
                    <a:pt x="448" y="523"/>
                  </a:cubicBezTo>
                  <a:cubicBezTo>
                    <a:pt x="450" y="526"/>
                    <a:pt x="452" y="529"/>
                    <a:pt x="454" y="532"/>
                  </a:cubicBezTo>
                  <a:cubicBezTo>
                    <a:pt x="455" y="534"/>
                    <a:pt x="459" y="535"/>
                    <a:pt x="460" y="538"/>
                  </a:cubicBezTo>
                  <a:cubicBezTo>
                    <a:pt x="459" y="532"/>
                    <a:pt x="464" y="532"/>
                    <a:pt x="467" y="528"/>
                  </a:cubicBezTo>
                  <a:cubicBezTo>
                    <a:pt x="469" y="527"/>
                    <a:pt x="469" y="525"/>
                    <a:pt x="470" y="523"/>
                  </a:cubicBezTo>
                  <a:cubicBezTo>
                    <a:pt x="472" y="522"/>
                    <a:pt x="474" y="520"/>
                    <a:pt x="474" y="517"/>
                  </a:cubicBezTo>
                  <a:cubicBezTo>
                    <a:pt x="473" y="513"/>
                    <a:pt x="466" y="511"/>
                    <a:pt x="474" y="508"/>
                  </a:cubicBezTo>
                  <a:cubicBezTo>
                    <a:pt x="476" y="507"/>
                    <a:pt x="479" y="507"/>
                    <a:pt x="482" y="507"/>
                  </a:cubicBezTo>
                  <a:cubicBezTo>
                    <a:pt x="484" y="507"/>
                    <a:pt x="487" y="508"/>
                    <a:pt x="489" y="507"/>
                  </a:cubicBezTo>
                  <a:cubicBezTo>
                    <a:pt x="491" y="506"/>
                    <a:pt x="491" y="505"/>
                    <a:pt x="492" y="503"/>
                  </a:cubicBezTo>
                  <a:cubicBezTo>
                    <a:pt x="495" y="499"/>
                    <a:pt x="501" y="496"/>
                    <a:pt x="506" y="496"/>
                  </a:cubicBezTo>
                  <a:cubicBezTo>
                    <a:pt x="508" y="495"/>
                    <a:pt x="510" y="496"/>
                    <a:pt x="513" y="495"/>
                  </a:cubicBezTo>
                  <a:cubicBezTo>
                    <a:pt x="515" y="495"/>
                    <a:pt x="517" y="493"/>
                    <a:pt x="519" y="493"/>
                  </a:cubicBezTo>
                  <a:cubicBezTo>
                    <a:pt x="520" y="493"/>
                    <a:pt x="522" y="494"/>
                    <a:pt x="523" y="495"/>
                  </a:cubicBezTo>
                  <a:cubicBezTo>
                    <a:pt x="524" y="495"/>
                    <a:pt x="528" y="495"/>
                    <a:pt x="529" y="495"/>
                  </a:cubicBezTo>
                  <a:cubicBezTo>
                    <a:pt x="533" y="496"/>
                    <a:pt x="533" y="495"/>
                    <a:pt x="535" y="492"/>
                  </a:cubicBezTo>
                  <a:cubicBezTo>
                    <a:pt x="537" y="489"/>
                    <a:pt x="538" y="489"/>
                    <a:pt x="538" y="486"/>
                  </a:cubicBezTo>
                  <a:cubicBezTo>
                    <a:pt x="538" y="485"/>
                    <a:pt x="537" y="483"/>
                    <a:pt x="539" y="481"/>
                  </a:cubicBezTo>
                  <a:cubicBezTo>
                    <a:pt x="543" y="484"/>
                    <a:pt x="541" y="491"/>
                    <a:pt x="542" y="495"/>
                  </a:cubicBezTo>
                  <a:cubicBezTo>
                    <a:pt x="545" y="495"/>
                    <a:pt x="548" y="494"/>
                    <a:pt x="550" y="496"/>
                  </a:cubicBezTo>
                  <a:cubicBezTo>
                    <a:pt x="553" y="497"/>
                    <a:pt x="558" y="502"/>
                    <a:pt x="557" y="505"/>
                  </a:cubicBezTo>
                  <a:cubicBezTo>
                    <a:pt x="552" y="506"/>
                    <a:pt x="547" y="503"/>
                    <a:pt x="543" y="502"/>
                  </a:cubicBezTo>
                  <a:cubicBezTo>
                    <a:pt x="540" y="502"/>
                    <a:pt x="537" y="501"/>
                    <a:pt x="534" y="501"/>
                  </a:cubicBezTo>
                  <a:cubicBezTo>
                    <a:pt x="532" y="501"/>
                    <a:pt x="521" y="502"/>
                    <a:pt x="521" y="506"/>
                  </a:cubicBezTo>
                  <a:cubicBezTo>
                    <a:pt x="526" y="507"/>
                    <a:pt x="529" y="510"/>
                    <a:pt x="533" y="512"/>
                  </a:cubicBezTo>
                  <a:cubicBezTo>
                    <a:pt x="535" y="514"/>
                    <a:pt x="539" y="516"/>
                    <a:pt x="537" y="519"/>
                  </a:cubicBezTo>
                  <a:cubicBezTo>
                    <a:pt x="536" y="521"/>
                    <a:pt x="532" y="519"/>
                    <a:pt x="531" y="521"/>
                  </a:cubicBezTo>
                  <a:cubicBezTo>
                    <a:pt x="528" y="525"/>
                    <a:pt x="533" y="524"/>
                    <a:pt x="534" y="525"/>
                  </a:cubicBezTo>
                  <a:cubicBezTo>
                    <a:pt x="537" y="526"/>
                    <a:pt x="538" y="528"/>
                    <a:pt x="540" y="530"/>
                  </a:cubicBezTo>
                  <a:cubicBezTo>
                    <a:pt x="542" y="532"/>
                    <a:pt x="545" y="533"/>
                    <a:pt x="548" y="534"/>
                  </a:cubicBezTo>
                  <a:cubicBezTo>
                    <a:pt x="550" y="535"/>
                    <a:pt x="552" y="536"/>
                    <a:pt x="555" y="536"/>
                  </a:cubicBezTo>
                  <a:cubicBezTo>
                    <a:pt x="557" y="537"/>
                    <a:pt x="558" y="536"/>
                    <a:pt x="560" y="536"/>
                  </a:cubicBezTo>
                  <a:cubicBezTo>
                    <a:pt x="563" y="537"/>
                    <a:pt x="563" y="540"/>
                    <a:pt x="566" y="542"/>
                  </a:cubicBezTo>
                  <a:cubicBezTo>
                    <a:pt x="569" y="543"/>
                    <a:pt x="569" y="540"/>
                    <a:pt x="571" y="538"/>
                  </a:cubicBezTo>
                  <a:cubicBezTo>
                    <a:pt x="574" y="537"/>
                    <a:pt x="578" y="539"/>
                    <a:pt x="581" y="539"/>
                  </a:cubicBezTo>
                  <a:cubicBezTo>
                    <a:pt x="584" y="539"/>
                    <a:pt x="586" y="540"/>
                    <a:pt x="589" y="540"/>
                  </a:cubicBezTo>
                  <a:cubicBezTo>
                    <a:pt x="591" y="540"/>
                    <a:pt x="595" y="540"/>
                    <a:pt x="597" y="540"/>
                  </a:cubicBezTo>
                  <a:cubicBezTo>
                    <a:pt x="599" y="540"/>
                    <a:pt x="603" y="540"/>
                    <a:pt x="604" y="539"/>
                  </a:cubicBezTo>
                  <a:cubicBezTo>
                    <a:pt x="606" y="538"/>
                    <a:pt x="608" y="535"/>
                    <a:pt x="610" y="535"/>
                  </a:cubicBezTo>
                  <a:cubicBezTo>
                    <a:pt x="612" y="534"/>
                    <a:pt x="616" y="534"/>
                    <a:pt x="618" y="534"/>
                  </a:cubicBezTo>
                  <a:cubicBezTo>
                    <a:pt x="618" y="537"/>
                    <a:pt x="621" y="537"/>
                    <a:pt x="622" y="538"/>
                  </a:cubicBezTo>
                  <a:cubicBezTo>
                    <a:pt x="624" y="540"/>
                    <a:pt x="623" y="542"/>
                    <a:pt x="627" y="542"/>
                  </a:cubicBezTo>
                  <a:cubicBezTo>
                    <a:pt x="632" y="541"/>
                    <a:pt x="633" y="533"/>
                    <a:pt x="637" y="532"/>
                  </a:cubicBezTo>
                  <a:cubicBezTo>
                    <a:pt x="637" y="532"/>
                    <a:pt x="637" y="532"/>
                    <a:pt x="637" y="531"/>
                  </a:cubicBezTo>
                  <a:cubicBezTo>
                    <a:pt x="634" y="526"/>
                    <a:pt x="640" y="526"/>
                    <a:pt x="642" y="526"/>
                  </a:cubicBezTo>
                  <a:cubicBezTo>
                    <a:pt x="646" y="526"/>
                    <a:pt x="647" y="524"/>
                    <a:pt x="650" y="526"/>
                  </a:cubicBezTo>
                  <a:cubicBezTo>
                    <a:pt x="653" y="528"/>
                    <a:pt x="654" y="534"/>
                    <a:pt x="658" y="536"/>
                  </a:cubicBezTo>
                  <a:cubicBezTo>
                    <a:pt x="661" y="537"/>
                    <a:pt x="663" y="535"/>
                    <a:pt x="666" y="535"/>
                  </a:cubicBezTo>
                  <a:cubicBezTo>
                    <a:pt x="668" y="535"/>
                    <a:pt x="669" y="536"/>
                    <a:pt x="671" y="536"/>
                  </a:cubicBezTo>
                  <a:cubicBezTo>
                    <a:pt x="676" y="536"/>
                    <a:pt x="678" y="531"/>
                    <a:pt x="675" y="527"/>
                  </a:cubicBezTo>
                  <a:cubicBezTo>
                    <a:pt x="678" y="527"/>
                    <a:pt x="681" y="528"/>
                    <a:pt x="683" y="529"/>
                  </a:cubicBezTo>
                  <a:cubicBezTo>
                    <a:pt x="686" y="530"/>
                    <a:pt x="690" y="533"/>
                    <a:pt x="692" y="533"/>
                  </a:cubicBezTo>
                  <a:cubicBezTo>
                    <a:pt x="693" y="533"/>
                    <a:pt x="694" y="533"/>
                    <a:pt x="695" y="533"/>
                  </a:cubicBezTo>
                  <a:cubicBezTo>
                    <a:pt x="695" y="533"/>
                    <a:pt x="695" y="532"/>
                    <a:pt x="696" y="532"/>
                  </a:cubicBezTo>
                  <a:cubicBezTo>
                    <a:pt x="696" y="533"/>
                    <a:pt x="695" y="533"/>
                    <a:pt x="695" y="533"/>
                  </a:cubicBezTo>
                  <a:cubicBezTo>
                    <a:pt x="693" y="535"/>
                    <a:pt x="691" y="537"/>
                    <a:pt x="690" y="539"/>
                  </a:cubicBezTo>
                  <a:cubicBezTo>
                    <a:pt x="688" y="541"/>
                    <a:pt x="687" y="542"/>
                    <a:pt x="688" y="545"/>
                  </a:cubicBezTo>
                  <a:cubicBezTo>
                    <a:pt x="692" y="545"/>
                    <a:pt x="696" y="544"/>
                    <a:pt x="698" y="540"/>
                  </a:cubicBezTo>
                  <a:cubicBezTo>
                    <a:pt x="698" y="538"/>
                    <a:pt x="698" y="535"/>
                    <a:pt x="698" y="533"/>
                  </a:cubicBezTo>
                  <a:cubicBezTo>
                    <a:pt x="700" y="533"/>
                    <a:pt x="701" y="532"/>
                    <a:pt x="702" y="532"/>
                  </a:cubicBezTo>
                  <a:cubicBezTo>
                    <a:pt x="705" y="531"/>
                    <a:pt x="707" y="530"/>
                    <a:pt x="709" y="530"/>
                  </a:cubicBezTo>
                  <a:cubicBezTo>
                    <a:pt x="712" y="529"/>
                    <a:pt x="719" y="527"/>
                    <a:pt x="721" y="525"/>
                  </a:cubicBezTo>
                  <a:cubicBezTo>
                    <a:pt x="723" y="522"/>
                    <a:pt x="722" y="518"/>
                    <a:pt x="722" y="515"/>
                  </a:cubicBezTo>
                  <a:cubicBezTo>
                    <a:pt x="723" y="513"/>
                    <a:pt x="723" y="510"/>
                    <a:pt x="724" y="509"/>
                  </a:cubicBezTo>
                  <a:cubicBezTo>
                    <a:pt x="725" y="508"/>
                    <a:pt x="728" y="505"/>
                    <a:pt x="730" y="506"/>
                  </a:cubicBezTo>
                  <a:cubicBezTo>
                    <a:pt x="734" y="508"/>
                    <a:pt x="729" y="514"/>
                    <a:pt x="736" y="512"/>
                  </a:cubicBezTo>
                  <a:cubicBezTo>
                    <a:pt x="737" y="510"/>
                    <a:pt x="737" y="507"/>
                    <a:pt x="737" y="506"/>
                  </a:cubicBezTo>
                  <a:cubicBezTo>
                    <a:pt x="736" y="504"/>
                    <a:pt x="734" y="503"/>
                    <a:pt x="734" y="501"/>
                  </a:cubicBezTo>
                  <a:cubicBezTo>
                    <a:pt x="733" y="499"/>
                    <a:pt x="733" y="493"/>
                    <a:pt x="734" y="490"/>
                  </a:cubicBezTo>
                  <a:cubicBezTo>
                    <a:pt x="737" y="489"/>
                    <a:pt x="740" y="501"/>
                    <a:pt x="742" y="502"/>
                  </a:cubicBezTo>
                  <a:cubicBezTo>
                    <a:pt x="746" y="506"/>
                    <a:pt x="752" y="500"/>
                    <a:pt x="754" y="497"/>
                  </a:cubicBezTo>
                  <a:cubicBezTo>
                    <a:pt x="758" y="491"/>
                    <a:pt x="761" y="484"/>
                    <a:pt x="769" y="482"/>
                  </a:cubicBezTo>
                  <a:cubicBezTo>
                    <a:pt x="772" y="482"/>
                    <a:pt x="775" y="482"/>
                    <a:pt x="778" y="482"/>
                  </a:cubicBezTo>
                  <a:cubicBezTo>
                    <a:pt x="781" y="482"/>
                    <a:pt x="784" y="483"/>
                    <a:pt x="786" y="483"/>
                  </a:cubicBezTo>
                  <a:cubicBezTo>
                    <a:pt x="792" y="485"/>
                    <a:pt x="791" y="482"/>
                    <a:pt x="796" y="479"/>
                  </a:cubicBezTo>
                  <a:cubicBezTo>
                    <a:pt x="797" y="478"/>
                    <a:pt x="800" y="478"/>
                    <a:pt x="801" y="478"/>
                  </a:cubicBezTo>
                  <a:cubicBezTo>
                    <a:pt x="805" y="477"/>
                    <a:pt x="809" y="477"/>
                    <a:pt x="813" y="477"/>
                  </a:cubicBezTo>
                  <a:cubicBezTo>
                    <a:pt x="816" y="476"/>
                    <a:pt x="821" y="475"/>
                    <a:pt x="823" y="477"/>
                  </a:cubicBezTo>
                  <a:cubicBezTo>
                    <a:pt x="824" y="473"/>
                    <a:pt x="832" y="470"/>
                    <a:pt x="836" y="469"/>
                  </a:cubicBezTo>
                  <a:cubicBezTo>
                    <a:pt x="839" y="468"/>
                    <a:pt x="846" y="470"/>
                    <a:pt x="848" y="467"/>
                  </a:cubicBezTo>
                  <a:cubicBezTo>
                    <a:pt x="851" y="470"/>
                    <a:pt x="856" y="461"/>
                    <a:pt x="857" y="459"/>
                  </a:cubicBezTo>
                  <a:cubicBezTo>
                    <a:pt x="860" y="456"/>
                    <a:pt x="861" y="454"/>
                    <a:pt x="865" y="453"/>
                  </a:cubicBezTo>
                  <a:cubicBezTo>
                    <a:pt x="867" y="453"/>
                    <a:pt x="870" y="453"/>
                    <a:pt x="872" y="453"/>
                  </a:cubicBezTo>
                  <a:cubicBezTo>
                    <a:pt x="876" y="452"/>
                    <a:pt x="879" y="449"/>
                    <a:pt x="883" y="448"/>
                  </a:cubicBezTo>
                  <a:cubicBezTo>
                    <a:pt x="886" y="448"/>
                    <a:pt x="889" y="449"/>
                    <a:pt x="892" y="448"/>
                  </a:cubicBezTo>
                  <a:cubicBezTo>
                    <a:pt x="895" y="448"/>
                    <a:pt x="898" y="448"/>
                    <a:pt x="901" y="447"/>
                  </a:cubicBezTo>
                  <a:cubicBezTo>
                    <a:pt x="905" y="447"/>
                    <a:pt x="907" y="446"/>
                    <a:pt x="910" y="443"/>
                  </a:cubicBezTo>
                  <a:cubicBezTo>
                    <a:pt x="912" y="442"/>
                    <a:pt x="914" y="441"/>
                    <a:pt x="916" y="441"/>
                  </a:cubicBezTo>
                  <a:cubicBezTo>
                    <a:pt x="919" y="440"/>
                    <a:pt x="920" y="444"/>
                    <a:pt x="923" y="444"/>
                  </a:cubicBezTo>
                  <a:cubicBezTo>
                    <a:pt x="924" y="444"/>
                    <a:pt x="926" y="443"/>
                    <a:pt x="927" y="442"/>
                  </a:cubicBezTo>
                  <a:cubicBezTo>
                    <a:pt x="922" y="441"/>
                    <a:pt x="918" y="438"/>
                    <a:pt x="912" y="437"/>
                  </a:cubicBezTo>
                  <a:cubicBezTo>
                    <a:pt x="907" y="437"/>
                    <a:pt x="906" y="438"/>
                    <a:pt x="906" y="432"/>
                  </a:cubicBezTo>
                  <a:cubicBezTo>
                    <a:pt x="905" y="427"/>
                    <a:pt x="904" y="422"/>
                    <a:pt x="905" y="417"/>
                  </a:cubicBezTo>
                  <a:cubicBezTo>
                    <a:pt x="906" y="414"/>
                    <a:pt x="908" y="410"/>
                    <a:pt x="911" y="408"/>
                  </a:cubicBezTo>
                  <a:cubicBezTo>
                    <a:pt x="914" y="407"/>
                    <a:pt x="915" y="407"/>
                    <a:pt x="917" y="405"/>
                  </a:cubicBezTo>
                  <a:cubicBezTo>
                    <a:pt x="919" y="403"/>
                    <a:pt x="920" y="402"/>
                    <a:pt x="923" y="401"/>
                  </a:cubicBezTo>
                  <a:cubicBezTo>
                    <a:pt x="926" y="400"/>
                    <a:pt x="931" y="403"/>
                    <a:pt x="934" y="401"/>
                  </a:cubicBezTo>
                  <a:cubicBezTo>
                    <a:pt x="938" y="399"/>
                    <a:pt x="935" y="394"/>
                    <a:pt x="937" y="391"/>
                  </a:cubicBezTo>
                  <a:cubicBezTo>
                    <a:pt x="939" y="389"/>
                    <a:pt x="943" y="390"/>
                    <a:pt x="946" y="390"/>
                  </a:cubicBezTo>
                  <a:cubicBezTo>
                    <a:pt x="947" y="390"/>
                    <a:pt x="949" y="389"/>
                    <a:pt x="949" y="389"/>
                  </a:cubicBezTo>
                  <a:cubicBezTo>
                    <a:pt x="951" y="389"/>
                    <a:pt x="952" y="391"/>
                    <a:pt x="954" y="391"/>
                  </a:cubicBezTo>
                  <a:cubicBezTo>
                    <a:pt x="955" y="391"/>
                    <a:pt x="957" y="389"/>
                    <a:pt x="958" y="389"/>
                  </a:cubicBezTo>
                  <a:cubicBezTo>
                    <a:pt x="961" y="387"/>
                    <a:pt x="964" y="387"/>
                    <a:pt x="967" y="387"/>
                  </a:cubicBezTo>
                  <a:cubicBezTo>
                    <a:pt x="972" y="387"/>
                    <a:pt x="976" y="387"/>
                    <a:pt x="979" y="388"/>
                  </a:cubicBezTo>
                  <a:cubicBezTo>
                    <a:pt x="984" y="390"/>
                    <a:pt x="987" y="391"/>
                    <a:pt x="992" y="387"/>
                  </a:cubicBezTo>
                  <a:cubicBezTo>
                    <a:pt x="993" y="386"/>
                    <a:pt x="994" y="384"/>
                    <a:pt x="995" y="383"/>
                  </a:cubicBezTo>
                  <a:cubicBezTo>
                    <a:pt x="997" y="382"/>
                    <a:pt x="998" y="382"/>
                    <a:pt x="999" y="381"/>
                  </a:cubicBezTo>
                  <a:cubicBezTo>
                    <a:pt x="1001" y="379"/>
                    <a:pt x="1000" y="379"/>
                    <a:pt x="1001" y="377"/>
                  </a:cubicBezTo>
                  <a:cubicBezTo>
                    <a:pt x="1002" y="371"/>
                    <a:pt x="1000" y="365"/>
                    <a:pt x="1002" y="359"/>
                  </a:cubicBezTo>
                  <a:cubicBezTo>
                    <a:pt x="1003" y="357"/>
                    <a:pt x="1005" y="355"/>
                    <a:pt x="1006" y="353"/>
                  </a:cubicBezTo>
                  <a:cubicBezTo>
                    <a:pt x="1007" y="352"/>
                    <a:pt x="1010" y="352"/>
                    <a:pt x="1009" y="349"/>
                  </a:cubicBezTo>
                  <a:cubicBezTo>
                    <a:pt x="1005" y="349"/>
                    <a:pt x="1004" y="349"/>
                    <a:pt x="1002" y="346"/>
                  </a:cubicBezTo>
                  <a:cubicBezTo>
                    <a:pt x="1002" y="347"/>
                    <a:pt x="1001" y="347"/>
                    <a:pt x="1001" y="347"/>
                  </a:cubicBezTo>
                  <a:cubicBezTo>
                    <a:pt x="998" y="342"/>
                    <a:pt x="998" y="336"/>
                    <a:pt x="997" y="331"/>
                  </a:cubicBezTo>
                  <a:cubicBezTo>
                    <a:pt x="995" y="331"/>
                    <a:pt x="994" y="331"/>
                    <a:pt x="992" y="331"/>
                  </a:cubicBezTo>
                  <a:cubicBezTo>
                    <a:pt x="991" y="326"/>
                    <a:pt x="992" y="319"/>
                    <a:pt x="992" y="314"/>
                  </a:cubicBezTo>
                  <a:cubicBezTo>
                    <a:pt x="992" y="313"/>
                    <a:pt x="991" y="308"/>
                    <a:pt x="992" y="306"/>
                  </a:cubicBezTo>
                  <a:cubicBezTo>
                    <a:pt x="994" y="302"/>
                    <a:pt x="1014" y="306"/>
                    <a:pt x="1011" y="300"/>
                  </a:cubicBezTo>
                  <a:cubicBezTo>
                    <a:pt x="1010" y="297"/>
                    <a:pt x="1003" y="298"/>
                    <a:pt x="1001" y="298"/>
                  </a:cubicBezTo>
                  <a:cubicBezTo>
                    <a:pt x="995" y="298"/>
                    <a:pt x="993" y="295"/>
                    <a:pt x="988" y="291"/>
                  </a:cubicBezTo>
                  <a:cubicBezTo>
                    <a:pt x="983" y="287"/>
                    <a:pt x="982" y="283"/>
                    <a:pt x="990" y="282"/>
                  </a:cubicBezTo>
                  <a:cubicBezTo>
                    <a:pt x="996" y="282"/>
                    <a:pt x="1002" y="283"/>
                    <a:pt x="1008" y="282"/>
                  </a:cubicBezTo>
                  <a:cubicBezTo>
                    <a:pt x="1008" y="280"/>
                    <a:pt x="1008" y="278"/>
                    <a:pt x="1009" y="276"/>
                  </a:cubicBezTo>
                  <a:cubicBezTo>
                    <a:pt x="1012" y="269"/>
                    <a:pt x="1018" y="273"/>
                    <a:pt x="1024" y="269"/>
                  </a:cubicBezTo>
                  <a:cubicBezTo>
                    <a:pt x="1026" y="267"/>
                    <a:pt x="1026" y="266"/>
                    <a:pt x="1024" y="264"/>
                  </a:cubicBezTo>
                  <a:moveTo>
                    <a:pt x="134" y="165"/>
                  </a:moveTo>
                  <a:cubicBezTo>
                    <a:pt x="134" y="165"/>
                    <a:pt x="134" y="165"/>
                    <a:pt x="134" y="165"/>
                  </a:cubicBezTo>
                  <a:cubicBezTo>
                    <a:pt x="134" y="165"/>
                    <a:pt x="134" y="165"/>
                    <a:pt x="133" y="165"/>
                  </a:cubicBezTo>
                  <a:lnTo>
                    <a:pt x="134" y="16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6" name="Freeform 6">
              <a:extLst>
                <a:ext uri="{FF2B5EF4-FFF2-40B4-BE49-F238E27FC236}">
                  <a16:creationId xmlns:a16="http://schemas.microsoft.com/office/drawing/2014/main" id="{FF69EBB6-2496-4AB2-B1A6-E7D85F61F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5363" y="5638800"/>
              <a:ext cx="84138" cy="50800"/>
            </a:xfrm>
            <a:custGeom>
              <a:avLst/>
              <a:gdLst/>
              <a:ahLst/>
              <a:cxnLst>
                <a:cxn ang="0">
                  <a:pos x="17" y="3"/>
                </a:cxn>
                <a:cxn ang="0">
                  <a:pos x="15" y="1"/>
                </a:cxn>
                <a:cxn ang="0">
                  <a:pos x="13" y="0"/>
                </a:cxn>
                <a:cxn ang="0">
                  <a:pos x="10" y="4"/>
                </a:cxn>
                <a:cxn ang="0">
                  <a:pos x="9" y="5"/>
                </a:cxn>
                <a:cxn ang="0">
                  <a:pos x="8" y="6"/>
                </a:cxn>
                <a:cxn ang="0">
                  <a:pos x="7" y="6"/>
                </a:cxn>
                <a:cxn ang="0">
                  <a:pos x="7" y="7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9"/>
                </a:cxn>
                <a:cxn ang="0">
                  <a:pos x="9" y="22"/>
                </a:cxn>
                <a:cxn ang="0">
                  <a:pos x="15" y="22"/>
                </a:cxn>
                <a:cxn ang="0">
                  <a:pos x="18" y="22"/>
                </a:cxn>
                <a:cxn ang="0">
                  <a:pos x="20" y="21"/>
                </a:cxn>
                <a:cxn ang="0">
                  <a:pos x="22" y="21"/>
                </a:cxn>
                <a:cxn ang="0">
                  <a:pos x="25" y="21"/>
                </a:cxn>
                <a:cxn ang="0">
                  <a:pos x="29" y="22"/>
                </a:cxn>
                <a:cxn ang="0">
                  <a:pos x="32" y="24"/>
                </a:cxn>
                <a:cxn ang="0">
                  <a:pos x="39" y="26"/>
                </a:cxn>
                <a:cxn ang="0">
                  <a:pos x="44" y="25"/>
                </a:cxn>
                <a:cxn ang="0">
                  <a:pos x="44" y="19"/>
                </a:cxn>
                <a:cxn ang="0">
                  <a:pos x="43" y="16"/>
                </a:cxn>
                <a:cxn ang="0">
                  <a:pos x="42" y="13"/>
                </a:cxn>
                <a:cxn ang="0">
                  <a:pos x="38" y="10"/>
                </a:cxn>
                <a:cxn ang="0">
                  <a:pos x="35" y="9"/>
                </a:cxn>
                <a:cxn ang="0">
                  <a:pos x="33" y="9"/>
                </a:cxn>
                <a:cxn ang="0">
                  <a:pos x="27" y="5"/>
                </a:cxn>
                <a:cxn ang="0">
                  <a:pos x="23" y="4"/>
                </a:cxn>
                <a:cxn ang="0">
                  <a:pos x="20" y="3"/>
                </a:cxn>
                <a:cxn ang="0">
                  <a:pos x="17" y="3"/>
                </a:cxn>
              </a:cxnLst>
              <a:rect l="0" t="0" r="r" b="b"/>
              <a:pathLst>
                <a:path w="45" h="27">
                  <a:moveTo>
                    <a:pt x="17" y="3"/>
                  </a:moveTo>
                  <a:cubicBezTo>
                    <a:pt x="17" y="2"/>
                    <a:pt x="16" y="2"/>
                    <a:pt x="15" y="1"/>
                  </a:cubicBezTo>
                  <a:cubicBezTo>
                    <a:pt x="14" y="1"/>
                    <a:pt x="13" y="0"/>
                    <a:pt x="13" y="0"/>
                  </a:cubicBezTo>
                  <a:cubicBezTo>
                    <a:pt x="11" y="1"/>
                    <a:pt x="11" y="2"/>
                    <a:pt x="10" y="4"/>
                  </a:cubicBezTo>
                  <a:cubicBezTo>
                    <a:pt x="10" y="4"/>
                    <a:pt x="10" y="5"/>
                    <a:pt x="9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5" y="8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1" y="16"/>
                    <a:pt x="3" y="17"/>
                    <a:pt x="5" y="19"/>
                  </a:cubicBezTo>
                  <a:cubicBezTo>
                    <a:pt x="6" y="20"/>
                    <a:pt x="7" y="21"/>
                    <a:pt x="9" y="22"/>
                  </a:cubicBezTo>
                  <a:cubicBezTo>
                    <a:pt x="11" y="22"/>
                    <a:pt x="13" y="22"/>
                    <a:pt x="15" y="22"/>
                  </a:cubicBezTo>
                  <a:cubicBezTo>
                    <a:pt x="16" y="23"/>
                    <a:pt x="17" y="23"/>
                    <a:pt x="18" y="22"/>
                  </a:cubicBezTo>
                  <a:cubicBezTo>
                    <a:pt x="19" y="22"/>
                    <a:pt x="19" y="22"/>
                    <a:pt x="20" y="21"/>
                  </a:cubicBezTo>
                  <a:cubicBezTo>
                    <a:pt x="20" y="21"/>
                    <a:pt x="21" y="21"/>
                    <a:pt x="22" y="21"/>
                  </a:cubicBezTo>
                  <a:cubicBezTo>
                    <a:pt x="23" y="21"/>
                    <a:pt x="24" y="21"/>
                    <a:pt x="25" y="21"/>
                  </a:cubicBezTo>
                  <a:cubicBezTo>
                    <a:pt x="27" y="21"/>
                    <a:pt x="28" y="22"/>
                    <a:pt x="29" y="22"/>
                  </a:cubicBezTo>
                  <a:cubicBezTo>
                    <a:pt x="30" y="22"/>
                    <a:pt x="31" y="23"/>
                    <a:pt x="32" y="24"/>
                  </a:cubicBezTo>
                  <a:cubicBezTo>
                    <a:pt x="34" y="25"/>
                    <a:pt x="36" y="26"/>
                    <a:pt x="39" y="26"/>
                  </a:cubicBezTo>
                  <a:cubicBezTo>
                    <a:pt x="40" y="27"/>
                    <a:pt x="43" y="27"/>
                    <a:pt x="44" y="25"/>
                  </a:cubicBezTo>
                  <a:cubicBezTo>
                    <a:pt x="45" y="23"/>
                    <a:pt x="44" y="21"/>
                    <a:pt x="44" y="19"/>
                  </a:cubicBezTo>
                  <a:cubicBezTo>
                    <a:pt x="43" y="18"/>
                    <a:pt x="43" y="17"/>
                    <a:pt x="43" y="16"/>
                  </a:cubicBezTo>
                  <a:cubicBezTo>
                    <a:pt x="43" y="15"/>
                    <a:pt x="43" y="14"/>
                    <a:pt x="42" y="13"/>
                  </a:cubicBezTo>
                  <a:cubicBezTo>
                    <a:pt x="41" y="11"/>
                    <a:pt x="39" y="11"/>
                    <a:pt x="38" y="10"/>
                  </a:cubicBezTo>
                  <a:cubicBezTo>
                    <a:pt x="37" y="10"/>
                    <a:pt x="36" y="9"/>
                    <a:pt x="35" y="9"/>
                  </a:cubicBezTo>
                  <a:cubicBezTo>
                    <a:pt x="34" y="9"/>
                    <a:pt x="34" y="9"/>
                    <a:pt x="33" y="9"/>
                  </a:cubicBezTo>
                  <a:cubicBezTo>
                    <a:pt x="31" y="8"/>
                    <a:pt x="29" y="6"/>
                    <a:pt x="27" y="5"/>
                  </a:cubicBezTo>
                  <a:cubicBezTo>
                    <a:pt x="26" y="5"/>
                    <a:pt x="24" y="5"/>
                    <a:pt x="23" y="4"/>
                  </a:cubicBezTo>
                  <a:cubicBezTo>
                    <a:pt x="22" y="4"/>
                    <a:pt x="21" y="4"/>
                    <a:pt x="20" y="3"/>
                  </a:cubicBezTo>
                  <a:cubicBezTo>
                    <a:pt x="20" y="3"/>
                    <a:pt x="19" y="4"/>
                    <a:pt x="17" y="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7" name="Freeform 7">
              <a:extLst>
                <a:ext uri="{FF2B5EF4-FFF2-40B4-BE49-F238E27FC236}">
                  <a16:creationId xmlns:a16="http://schemas.microsoft.com/office/drawing/2014/main" id="{A66E06ED-2990-481C-BF4A-E248094ED0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5850" y="3716338"/>
              <a:ext cx="463550" cy="674688"/>
            </a:xfrm>
            <a:custGeom>
              <a:avLst/>
              <a:gdLst/>
              <a:ahLst/>
              <a:cxnLst>
                <a:cxn ang="0">
                  <a:pos x="182" y="8"/>
                </a:cxn>
                <a:cxn ang="0">
                  <a:pos x="163" y="8"/>
                </a:cxn>
                <a:cxn ang="0">
                  <a:pos x="124" y="24"/>
                </a:cxn>
                <a:cxn ang="0">
                  <a:pos x="114" y="53"/>
                </a:cxn>
                <a:cxn ang="0">
                  <a:pos x="94" y="68"/>
                </a:cxn>
                <a:cxn ang="0">
                  <a:pos x="127" y="72"/>
                </a:cxn>
                <a:cxn ang="0">
                  <a:pos x="110" y="90"/>
                </a:cxn>
                <a:cxn ang="0">
                  <a:pos x="100" y="105"/>
                </a:cxn>
                <a:cxn ang="0">
                  <a:pos x="75" y="113"/>
                </a:cxn>
                <a:cxn ang="0">
                  <a:pos x="33" y="106"/>
                </a:cxn>
                <a:cxn ang="0">
                  <a:pos x="31" y="131"/>
                </a:cxn>
                <a:cxn ang="0">
                  <a:pos x="14" y="139"/>
                </a:cxn>
                <a:cxn ang="0">
                  <a:pos x="40" y="142"/>
                </a:cxn>
                <a:cxn ang="0">
                  <a:pos x="35" y="153"/>
                </a:cxn>
                <a:cxn ang="0">
                  <a:pos x="24" y="179"/>
                </a:cxn>
                <a:cxn ang="0">
                  <a:pos x="37" y="189"/>
                </a:cxn>
                <a:cxn ang="0">
                  <a:pos x="45" y="197"/>
                </a:cxn>
                <a:cxn ang="0">
                  <a:pos x="74" y="214"/>
                </a:cxn>
                <a:cxn ang="0">
                  <a:pos x="55" y="240"/>
                </a:cxn>
                <a:cxn ang="0">
                  <a:pos x="39" y="257"/>
                </a:cxn>
                <a:cxn ang="0">
                  <a:pos x="70" y="260"/>
                </a:cxn>
                <a:cxn ang="0">
                  <a:pos x="40" y="289"/>
                </a:cxn>
                <a:cxn ang="0">
                  <a:pos x="4" y="292"/>
                </a:cxn>
                <a:cxn ang="0">
                  <a:pos x="24" y="304"/>
                </a:cxn>
                <a:cxn ang="0">
                  <a:pos x="23" y="310"/>
                </a:cxn>
                <a:cxn ang="0">
                  <a:pos x="10" y="331"/>
                </a:cxn>
                <a:cxn ang="0">
                  <a:pos x="51" y="325"/>
                </a:cxn>
                <a:cxn ang="0">
                  <a:pos x="19" y="346"/>
                </a:cxn>
                <a:cxn ang="0">
                  <a:pos x="56" y="341"/>
                </a:cxn>
                <a:cxn ang="0">
                  <a:pos x="60" y="357"/>
                </a:cxn>
                <a:cxn ang="0">
                  <a:pos x="104" y="344"/>
                </a:cxn>
                <a:cxn ang="0">
                  <a:pos x="134" y="322"/>
                </a:cxn>
                <a:cxn ang="0">
                  <a:pos x="173" y="302"/>
                </a:cxn>
                <a:cxn ang="0">
                  <a:pos x="208" y="294"/>
                </a:cxn>
                <a:cxn ang="0">
                  <a:pos x="219" y="277"/>
                </a:cxn>
                <a:cxn ang="0">
                  <a:pos x="238" y="240"/>
                </a:cxn>
                <a:cxn ang="0">
                  <a:pos x="230" y="195"/>
                </a:cxn>
                <a:cxn ang="0">
                  <a:pos x="245" y="187"/>
                </a:cxn>
                <a:cxn ang="0">
                  <a:pos x="225" y="161"/>
                </a:cxn>
                <a:cxn ang="0">
                  <a:pos x="231" y="134"/>
                </a:cxn>
                <a:cxn ang="0">
                  <a:pos x="234" y="126"/>
                </a:cxn>
                <a:cxn ang="0">
                  <a:pos x="218" y="123"/>
                </a:cxn>
                <a:cxn ang="0">
                  <a:pos x="201" y="112"/>
                </a:cxn>
                <a:cxn ang="0">
                  <a:pos x="184" y="95"/>
                </a:cxn>
                <a:cxn ang="0">
                  <a:pos x="172" y="114"/>
                </a:cxn>
                <a:cxn ang="0">
                  <a:pos x="153" y="114"/>
                </a:cxn>
                <a:cxn ang="0">
                  <a:pos x="137" y="104"/>
                </a:cxn>
                <a:cxn ang="0">
                  <a:pos x="130" y="90"/>
                </a:cxn>
                <a:cxn ang="0">
                  <a:pos x="149" y="73"/>
                </a:cxn>
                <a:cxn ang="0">
                  <a:pos x="147" y="63"/>
                </a:cxn>
                <a:cxn ang="0">
                  <a:pos x="165" y="46"/>
                </a:cxn>
                <a:cxn ang="0">
                  <a:pos x="184" y="28"/>
                </a:cxn>
                <a:cxn ang="0">
                  <a:pos x="191" y="16"/>
                </a:cxn>
                <a:cxn ang="0">
                  <a:pos x="240" y="128"/>
                </a:cxn>
                <a:cxn ang="0">
                  <a:pos x="216" y="17"/>
                </a:cxn>
                <a:cxn ang="0">
                  <a:pos x="214" y="18"/>
                </a:cxn>
              </a:cxnLst>
              <a:rect l="0" t="0" r="r" b="b"/>
              <a:pathLst>
                <a:path w="248" h="361">
                  <a:moveTo>
                    <a:pt x="203" y="10"/>
                  </a:moveTo>
                  <a:cubicBezTo>
                    <a:pt x="201" y="10"/>
                    <a:pt x="199" y="10"/>
                    <a:pt x="198" y="10"/>
                  </a:cubicBezTo>
                  <a:cubicBezTo>
                    <a:pt x="197" y="10"/>
                    <a:pt x="195" y="11"/>
                    <a:pt x="194" y="10"/>
                  </a:cubicBezTo>
                  <a:cubicBezTo>
                    <a:pt x="191" y="10"/>
                    <a:pt x="189" y="8"/>
                    <a:pt x="187" y="8"/>
                  </a:cubicBezTo>
                  <a:cubicBezTo>
                    <a:pt x="185" y="8"/>
                    <a:pt x="183" y="9"/>
                    <a:pt x="182" y="8"/>
                  </a:cubicBezTo>
                  <a:cubicBezTo>
                    <a:pt x="180" y="7"/>
                    <a:pt x="181" y="6"/>
                    <a:pt x="179" y="5"/>
                  </a:cubicBezTo>
                  <a:cubicBezTo>
                    <a:pt x="178" y="4"/>
                    <a:pt x="176" y="4"/>
                    <a:pt x="175" y="4"/>
                  </a:cubicBezTo>
                  <a:cubicBezTo>
                    <a:pt x="172" y="4"/>
                    <a:pt x="172" y="4"/>
                    <a:pt x="170" y="3"/>
                  </a:cubicBezTo>
                  <a:cubicBezTo>
                    <a:pt x="168" y="2"/>
                    <a:pt x="167" y="0"/>
                    <a:pt x="165" y="3"/>
                  </a:cubicBezTo>
                  <a:cubicBezTo>
                    <a:pt x="163" y="4"/>
                    <a:pt x="165" y="7"/>
                    <a:pt x="163" y="8"/>
                  </a:cubicBezTo>
                  <a:cubicBezTo>
                    <a:pt x="162" y="9"/>
                    <a:pt x="160" y="8"/>
                    <a:pt x="159" y="8"/>
                  </a:cubicBezTo>
                  <a:cubicBezTo>
                    <a:pt x="154" y="8"/>
                    <a:pt x="137" y="8"/>
                    <a:pt x="138" y="16"/>
                  </a:cubicBezTo>
                  <a:cubicBezTo>
                    <a:pt x="135" y="17"/>
                    <a:pt x="133" y="13"/>
                    <a:pt x="131" y="11"/>
                  </a:cubicBezTo>
                  <a:cubicBezTo>
                    <a:pt x="128" y="14"/>
                    <a:pt x="133" y="21"/>
                    <a:pt x="128" y="24"/>
                  </a:cubicBezTo>
                  <a:cubicBezTo>
                    <a:pt x="127" y="24"/>
                    <a:pt x="125" y="24"/>
                    <a:pt x="124" y="24"/>
                  </a:cubicBezTo>
                  <a:cubicBezTo>
                    <a:pt x="123" y="24"/>
                    <a:pt x="122" y="25"/>
                    <a:pt x="121" y="26"/>
                  </a:cubicBezTo>
                  <a:cubicBezTo>
                    <a:pt x="120" y="26"/>
                    <a:pt x="117" y="25"/>
                    <a:pt x="116" y="26"/>
                  </a:cubicBezTo>
                  <a:cubicBezTo>
                    <a:pt x="112" y="29"/>
                    <a:pt x="116" y="34"/>
                    <a:pt x="112" y="37"/>
                  </a:cubicBezTo>
                  <a:cubicBezTo>
                    <a:pt x="110" y="39"/>
                    <a:pt x="104" y="40"/>
                    <a:pt x="105" y="46"/>
                  </a:cubicBezTo>
                  <a:cubicBezTo>
                    <a:pt x="109" y="46"/>
                    <a:pt x="115" y="48"/>
                    <a:pt x="114" y="53"/>
                  </a:cubicBezTo>
                  <a:cubicBezTo>
                    <a:pt x="112" y="58"/>
                    <a:pt x="109" y="54"/>
                    <a:pt x="106" y="55"/>
                  </a:cubicBezTo>
                  <a:cubicBezTo>
                    <a:pt x="103" y="55"/>
                    <a:pt x="104" y="55"/>
                    <a:pt x="103" y="57"/>
                  </a:cubicBezTo>
                  <a:cubicBezTo>
                    <a:pt x="103" y="58"/>
                    <a:pt x="103" y="58"/>
                    <a:pt x="103" y="59"/>
                  </a:cubicBezTo>
                  <a:cubicBezTo>
                    <a:pt x="102" y="60"/>
                    <a:pt x="102" y="59"/>
                    <a:pt x="101" y="60"/>
                  </a:cubicBezTo>
                  <a:cubicBezTo>
                    <a:pt x="98" y="62"/>
                    <a:pt x="96" y="65"/>
                    <a:pt x="94" y="68"/>
                  </a:cubicBezTo>
                  <a:cubicBezTo>
                    <a:pt x="91" y="71"/>
                    <a:pt x="88" y="75"/>
                    <a:pt x="94" y="76"/>
                  </a:cubicBezTo>
                  <a:cubicBezTo>
                    <a:pt x="96" y="77"/>
                    <a:pt x="98" y="76"/>
                    <a:pt x="100" y="76"/>
                  </a:cubicBezTo>
                  <a:cubicBezTo>
                    <a:pt x="102" y="76"/>
                    <a:pt x="103" y="78"/>
                    <a:pt x="105" y="78"/>
                  </a:cubicBezTo>
                  <a:cubicBezTo>
                    <a:pt x="110" y="80"/>
                    <a:pt x="112" y="77"/>
                    <a:pt x="117" y="76"/>
                  </a:cubicBezTo>
                  <a:cubicBezTo>
                    <a:pt x="120" y="75"/>
                    <a:pt x="123" y="74"/>
                    <a:pt x="127" y="72"/>
                  </a:cubicBezTo>
                  <a:cubicBezTo>
                    <a:pt x="127" y="75"/>
                    <a:pt x="127" y="76"/>
                    <a:pt x="126" y="77"/>
                  </a:cubicBezTo>
                  <a:cubicBezTo>
                    <a:pt x="124" y="80"/>
                    <a:pt x="123" y="80"/>
                    <a:pt x="122" y="83"/>
                  </a:cubicBezTo>
                  <a:cubicBezTo>
                    <a:pt x="121" y="85"/>
                    <a:pt x="122" y="85"/>
                    <a:pt x="120" y="86"/>
                  </a:cubicBezTo>
                  <a:cubicBezTo>
                    <a:pt x="119" y="87"/>
                    <a:pt x="117" y="87"/>
                    <a:pt x="115" y="88"/>
                  </a:cubicBezTo>
                  <a:cubicBezTo>
                    <a:pt x="113" y="88"/>
                    <a:pt x="112" y="90"/>
                    <a:pt x="110" y="90"/>
                  </a:cubicBezTo>
                  <a:cubicBezTo>
                    <a:pt x="109" y="91"/>
                    <a:pt x="108" y="90"/>
                    <a:pt x="107" y="90"/>
                  </a:cubicBezTo>
                  <a:cubicBezTo>
                    <a:pt x="106" y="91"/>
                    <a:pt x="106" y="92"/>
                    <a:pt x="105" y="93"/>
                  </a:cubicBezTo>
                  <a:cubicBezTo>
                    <a:pt x="103" y="95"/>
                    <a:pt x="98" y="97"/>
                    <a:pt x="99" y="100"/>
                  </a:cubicBezTo>
                  <a:cubicBezTo>
                    <a:pt x="100" y="100"/>
                    <a:pt x="101" y="100"/>
                    <a:pt x="102" y="100"/>
                  </a:cubicBezTo>
                  <a:cubicBezTo>
                    <a:pt x="103" y="103"/>
                    <a:pt x="103" y="104"/>
                    <a:pt x="100" y="105"/>
                  </a:cubicBezTo>
                  <a:cubicBezTo>
                    <a:pt x="99" y="106"/>
                    <a:pt x="97" y="105"/>
                    <a:pt x="96" y="105"/>
                  </a:cubicBezTo>
                  <a:cubicBezTo>
                    <a:pt x="94" y="106"/>
                    <a:pt x="94" y="106"/>
                    <a:pt x="93" y="106"/>
                  </a:cubicBezTo>
                  <a:cubicBezTo>
                    <a:pt x="90" y="107"/>
                    <a:pt x="90" y="105"/>
                    <a:pt x="87" y="104"/>
                  </a:cubicBezTo>
                  <a:cubicBezTo>
                    <a:pt x="85" y="104"/>
                    <a:pt x="82" y="104"/>
                    <a:pt x="80" y="105"/>
                  </a:cubicBezTo>
                  <a:cubicBezTo>
                    <a:pt x="79" y="108"/>
                    <a:pt x="80" y="114"/>
                    <a:pt x="75" y="113"/>
                  </a:cubicBezTo>
                  <a:cubicBezTo>
                    <a:pt x="69" y="112"/>
                    <a:pt x="72" y="105"/>
                    <a:pt x="66" y="103"/>
                  </a:cubicBezTo>
                  <a:cubicBezTo>
                    <a:pt x="61" y="103"/>
                    <a:pt x="57" y="103"/>
                    <a:pt x="52" y="102"/>
                  </a:cubicBezTo>
                  <a:cubicBezTo>
                    <a:pt x="49" y="102"/>
                    <a:pt x="46" y="101"/>
                    <a:pt x="43" y="101"/>
                  </a:cubicBezTo>
                  <a:cubicBezTo>
                    <a:pt x="40" y="101"/>
                    <a:pt x="37" y="102"/>
                    <a:pt x="33" y="102"/>
                  </a:cubicBezTo>
                  <a:cubicBezTo>
                    <a:pt x="33" y="103"/>
                    <a:pt x="33" y="105"/>
                    <a:pt x="33" y="106"/>
                  </a:cubicBezTo>
                  <a:cubicBezTo>
                    <a:pt x="29" y="107"/>
                    <a:pt x="25" y="107"/>
                    <a:pt x="22" y="111"/>
                  </a:cubicBezTo>
                  <a:cubicBezTo>
                    <a:pt x="20" y="115"/>
                    <a:pt x="17" y="123"/>
                    <a:pt x="20" y="126"/>
                  </a:cubicBezTo>
                  <a:cubicBezTo>
                    <a:pt x="21" y="125"/>
                    <a:pt x="22" y="123"/>
                    <a:pt x="23" y="122"/>
                  </a:cubicBezTo>
                  <a:cubicBezTo>
                    <a:pt x="24" y="120"/>
                    <a:pt x="27" y="117"/>
                    <a:pt x="29" y="117"/>
                  </a:cubicBezTo>
                  <a:cubicBezTo>
                    <a:pt x="33" y="117"/>
                    <a:pt x="32" y="128"/>
                    <a:pt x="31" y="131"/>
                  </a:cubicBezTo>
                  <a:cubicBezTo>
                    <a:pt x="35" y="133"/>
                    <a:pt x="39" y="132"/>
                    <a:pt x="42" y="134"/>
                  </a:cubicBezTo>
                  <a:cubicBezTo>
                    <a:pt x="40" y="137"/>
                    <a:pt x="32" y="136"/>
                    <a:pt x="30" y="134"/>
                  </a:cubicBezTo>
                  <a:cubicBezTo>
                    <a:pt x="27" y="133"/>
                    <a:pt x="28" y="132"/>
                    <a:pt x="24" y="131"/>
                  </a:cubicBezTo>
                  <a:cubicBezTo>
                    <a:pt x="21" y="131"/>
                    <a:pt x="18" y="131"/>
                    <a:pt x="16" y="132"/>
                  </a:cubicBezTo>
                  <a:cubicBezTo>
                    <a:pt x="14" y="133"/>
                    <a:pt x="12" y="136"/>
                    <a:pt x="14" y="139"/>
                  </a:cubicBezTo>
                  <a:cubicBezTo>
                    <a:pt x="16" y="141"/>
                    <a:pt x="19" y="138"/>
                    <a:pt x="21" y="139"/>
                  </a:cubicBezTo>
                  <a:cubicBezTo>
                    <a:pt x="22" y="140"/>
                    <a:pt x="23" y="141"/>
                    <a:pt x="24" y="142"/>
                  </a:cubicBezTo>
                  <a:cubicBezTo>
                    <a:pt x="25" y="144"/>
                    <a:pt x="25" y="143"/>
                    <a:pt x="27" y="144"/>
                  </a:cubicBezTo>
                  <a:cubicBezTo>
                    <a:pt x="31" y="146"/>
                    <a:pt x="34" y="147"/>
                    <a:pt x="38" y="146"/>
                  </a:cubicBezTo>
                  <a:cubicBezTo>
                    <a:pt x="38" y="145"/>
                    <a:pt x="39" y="143"/>
                    <a:pt x="40" y="142"/>
                  </a:cubicBezTo>
                  <a:cubicBezTo>
                    <a:pt x="42" y="141"/>
                    <a:pt x="45" y="142"/>
                    <a:pt x="45" y="145"/>
                  </a:cubicBezTo>
                  <a:cubicBezTo>
                    <a:pt x="45" y="145"/>
                    <a:pt x="46" y="145"/>
                    <a:pt x="47" y="145"/>
                  </a:cubicBezTo>
                  <a:cubicBezTo>
                    <a:pt x="47" y="147"/>
                    <a:pt x="46" y="150"/>
                    <a:pt x="44" y="151"/>
                  </a:cubicBezTo>
                  <a:cubicBezTo>
                    <a:pt x="42" y="151"/>
                    <a:pt x="41" y="150"/>
                    <a:pt x="39" y="151"/>
                  </a:cubicBezTo>
                  <a:cubicBezTo>
                    <a:pt x="38" y="151"/>
                    <a:pt x="36" y="153"/>
                    <a:pt x="35" y="153"/>
                  </a:cubicBezTo>
                  <a:cubicBezTo>
                    <a:pt x="32" y="155"/>
                    <a:pt x="32" y="155"/>
                    <a:pt x="32" y="159"/>
                  </a:cubicBezTo>
                  <a:cubicBezTo>
                    <a:pt x="31" y="162"/>
                    <a:pt x="32" y="165"/>
                    <a:pt x="31" y="169"/>
                  </a:cubicBezTo>
                  <a:cubicBezTo>
                    <a:pt x="29" y="169"/>
                    <a:pt x="26" y="168"/>
                    <a:pt x="24" y="169"/>
                  </a:cubicBezTo>
                  <a:cubicBezTo>
                    <a:pt x="21" y="169"/>
                    <a:pt x="18" y="173"/>
                    <a:pt x="19" y="176"/>
                  </a:cubicBezTo>
                  <a:cubicBezTo>
                    <a:pt x="21" y="176"/>
                    <a:pt x="25" y="176"/>
                    <a:pt x="24" y="179"/>
                  </a:cubicBezTo>
                  <a:cubicBezTo>
                    <a:pt x="21" y="179"/>
                    <a:pt x="21" y="182"/>
                    <a:pt x="18" y="182"/>
                  </a:cubicBezTo>
                  <a:cubicBezTo>
                    <a:pt x="17" y="185"/>
                    <a:pt x="18" y="185"/>
                    <a:pt x="20" y="187"/>
                  </a:cubicBezTo>
                  <a:cubicBezTo>
                    <a:pt x="21" y="188"/>
                    <a:pt x="25" y="190"/>
                    <a:pt x="26" y="190"/>
                  </a:cubicBezTo>
                  <a:cubicBezTo>
                    <a:pt x="28" y="191"/>
                    <a:pt x="30" y="191"/>
                    <a:pt x="31" y="191"/>
                  </a:cubicBezTo>
                  <a:cubicBezTo>
                    <a:pt x="33" y="190"/>
                    <a:pt x="34" y="188"/>
                    <a:pt x="37" y="189"/>
                  </a:cubicBezTo>
                  <a:cubicBezTo>
                    <a:pt x="37" y="190"/>
                    <a:pt x="37" y="191"/>
                    <a:pt x="37" y="192"/>
                  </a:cubicBezTo>
                  <a:cubicBezTo>
                    <a:pt x="36" y="191"/>
                    <a:pt x="35" y="192"/>
                    <a:pt x="34" y="192"/>
                  </a:cubicBezTo>
                  <a:cubicBezTo>
                    <a:pt x="34" y="194"/>
                    <a:pt x="35" y="197"/>
                    <a:pt x="38" y="196"/>
                  </a:cubicBezTo>
                  <a:cubicBezTo>
                    <a:pt x="39" y="195"/>
                    <a:pt x="41" y="191"/>
                    <a:pt x="43" y="191"/>
                  </a:cubicBezTo>
                  <a:cubicBezTo>
                    <a:pt x="45" y="191"/>
                    <a:pt x="44" y="196"/>
                    <a:pt x="45" y="197"/>
                  </a:cubicBezTo>
                  <a:cubicBezTo>
                    <a:pt x="46" y="199"/>
                    <a:pt x="51" y="201"/>
                    <a:pt x="53" y="202"/>
                  </a:cubicBezTo>
                  <a:cubicBezTo>
                    <a:pt x="60" y="203"/>
                    <a:pt x="67" y="200"/>
                    <a:pt x="74" y="200"/>
                  </a:cubicBezTo>
                  <a:cubicBezTo>
                    <a:pt x="78" y="200"/>
                    <a:pt x="82" y="202"/>
                    <a:pt x="81" y="207"/>
                  </a:cubicBezTo>
                  <a:cubicBezTo>
                    <a:pt x="78" y="207"/>
                    <a:pt x="77" y="206"/>
                    <a:pt x="75" y="210"/>
                  </a:cubicBezTo>
                  <a:cubicBezTo>
                    <a:pt x="75" y="212"/>
                    <a:pt x="76" y="213"/>
                    <a:pt x="74" y="214"/>
                  </a:cubicBezTo>
                  <a:cubicBezTo>
                    <a:pt x="72" y="215"/>
                    <a:pt x="69" y="213"/>
                    <a:pt x="69" y="210"/>
                  </a:cubicBezTo>
                  <a:cubicBezTo>
                    <a:pt x="65" y="209"/>
                    <a:pt x="63" y="215"/>
                    <a:pt x="61" y="218"/>
                  </a:cubicBezTo>
                  <a:cubicBezTo>
                    <a:pt x="60" y="221"/>
                    <a:pt x="51" y="228"/>
                    <a:pt x="52" y="232"/>
                  </a:cubicBezTo>
                  <a:cubicBezTo>
                    <a:pt x="55" y="232"/>
                    <a:pt x="57" y="233"/>
                    <a:pt x="59" y="230"/>
                  </a:cubicBezTo>
                  <a:cubicBezTo>
                    <a:pt x="59" y="235"/>
                    <a:pt x="56" y="235"/>
                    <a:pt x="55" y="240"/>
                  </a:cubicBezTo>
                  <a:cubicBezTo>
                    <a:pt x="54" y="243"/>
                    <a:pt x="54" y="243"/>
                    <a:pt x="51" y="245"/>
                  </a:cubicBezTo>
                  <a:cubicBezTo>
                    <a:pt x="50" y="247"/>
                    <a:pt x="49" y="248"/>
                    <a:pt x="48" y="249"/>
                  </a:cubicBezTo>
                  <a:cubicBezTo>
                    <a:pt x="47" y="250"/>
                    <a:pt x="46" y="250"/>
                    <a:pt x="45" y="251"/>
                  </a:cubicBezTo>
                  <a:cubicBezTo>
                    <a:pt x="45" y="251"/>
                    <a:pt x="45" y="252"/>
                    <a:pt x="45" y="253"/>
                  </a:cubicBezTo>
                  <a:cubicBezTo>
                    <a:pt x="44" y="255"/>
                    <a:pt x="41" y="256"/>
                    <a:pt x="39" y="257"/>
                  </a:cubicBezTo>
                  <a:cubicBezTo>
                    <a:pt x="36" y="258"/>
                    <a:pt x="31" y="260"/>
                    <a:pt x="32" y="264"/>
                  </a:cubicBezTo>
                  <a:cubicBezTo>
                    <a:pt x="37" y="265"/>
                    <a:pt x="43" y="264"/>
                    <a:pt x="48" y="261"/>
                  </a:cubicBezTo>
                  <a:cubicBezTo>
                    <a:pt x="51" y="258"/>
                    <a:pt x="51" y="258"/>
                    <a:pt x="55" y="258"/>
                  </a:cubicBezTo>
                  <a:cubicBezTo>
                    <a:pt x="57" y="258"/>
                    <a:pt x="59" y="259"/>
                    <a:pt x="62" y="259"/>
                  </a:cubicBezTo>
                  <a:cubicBezTo>
                    <a:pt x="64" y="260"/>
                    <a:pt x="67" y="259"/>
                    <a:pt x="70" y="260"/>
                  </a:cubicBezTo>
                  <a:cubicBezTo>
                    <a:pt x="72" y="267"/>
                    <a:pt x="52" y="263"/>
                    <a:pt x="48" y="264"/>
                  </a:cubicBezTo>
                  <a:cubicBezTo>
                    <a:pt x="46" y="270"/>
                    <a:pt x="39" y="271"/>
                    <a:pt x="35" y="273"/>
                  </a:cubicBezTo>
                  <a:cubicBezTo>
                    <a:pt x="31" y="275"/>
                    <a:pt x="32" y="275"/>
                    <a:pt x="33" y="279"/>
                  </a:cubicBezTo>
                  <a:cubicBezTo>
                    <a:pt x="33" y="282"/>
                    <a:pt x="33" y="284"/>
                    <a:pt x="33" y="287"/>
                  </a:cubicBezTo>
                  <a:cubicBezTo>
                    <a:pt x="35" y="287"/>
                    <a:pt x="39" y="288"/>
                    <a:pt x="40" y="289"/>
                  </a:cubicBezTo>
                  <a:cubicBezTo>
                    <a:pt x="39" y="292"/>
                    <a:pt x="33" y="291"/>
                    <a:pt x="30" y="290"/>
                  </a:cubicBezTo>
                  <a:cubicBezTo>
                    <a:pt x="30" y="284"/>
                    <a:pt x="26" y="283"/>
                    <a:pt x="21" y="286"/>
                  </a:cubicBezTo>
                  <a:cubicBezTo>
                    <a:pt x="20" y="286"/>
                    <a:pt x="19" y="287"/>
                    <a:pt x="18" y="288"/>
                  </a:cubicBezTo>
                  <a:cubicBezTo>
                    <a:pt x="17" y="288"/>
                    <a:pt x="15" y="288"/>
                    <a:pt x="14" y="288"/>
                  </a:cubicBezTo>
                  <a:cubicBezTo>
                    <a:pt x="11" y="289"/>
                    <a:pt x="7" y="291"/>
                    <a:pt x="4" y="292"/>
                  </a:cubicBezTo>
                  <a:cubicBezTo>
                    <a:pt x="4" y="293"/>
                    <a:pt x="4" y="295"/>
                    <a:pt x="4" y="296"/>
                  </a:cubicBezTo>
                  <a:cubicBezTo>
                    <a:pt x="3" y="296"/>
                    <a:pt x="3" y="297"/>
                    <a:pt x="2" y="297"/>
                  </a:cubicBezTo>
                  <a:cubicBezTo>
                    <a:pt x="2" y="298"/>
                    <a:pt x="2" y="299"/>
                    <a:pt x="2" y="300"/>
                  </a:cubicBezTo>
                  <a:cubicBezTo>
                    <a:pt x="0" y="308"/>
                    <a:pt x="8" y="306"/>
                    <a:pt x="15" y="306"/>
                  </a:cubicBezTo>
                  <a:cubicBezTo>
                    <a:pt x="18" y="305"/>
                    <a:pt x="21" y="304"/>
                    <a:pt x="24" y="304"/>
                  </a:cubicBezTo>
                  <a:cubicBezTo>
                    <a:pt x="26" y="304"/>
                    <a:pt x="29" y="304"/>
                    <a:pt x="31" y="304"/>
                  </a:cubicBezTo>
                  <a:cubicBezTo>
                    <a:pt x="32" y="303"/>
                    <a:pt x="35" y="303"/>
                    <a:pt x="36" y="303"/>
                  </a:cubicBezTo>
                  <a:cubicBezTo>
                    <a:pt x="37" y="302"/>
                    <a:pt x="37" y="300"/>
                    <a:pt x="40" y="301"/>
                  </a:cubicBezTo>
                  <a:cubicBezTo>
                    <a:pt x="41" y="309"/>
                    <a:pt x="35" y="305"/>
                    <a:pt x="30" y="307"/>
                  </a:cubicBezTo>
                  <a:cubicBezTo>
                    <a:pt x="28" y="307"/>
                    <a:pt x="26" y="309"/>
                    <a:pt x="23" y="310"/>
                  </a:cubicBezTo>
                  <a:cubicBezTo>
                    <a:pt x="20" y="311"/>
                    <a:pt x="16" y="312"/>
                    <a:pt x="14" y="313"/>
                  </a:cubicBezTo>
                  <a:cubicBezTo>
                    <a:pt x="12" y="314"/>
                    <a:pt x="12" y="315"/>
                    <a:pt x="11" y="316"/>
                  </a:cubicBezTo>
                  <a:cubicBezTo>
                    <a:pt x="10" y="316"/>
                    <a:pt x="9" y="318"/>
                    <a:pt x="8" y="319"/>
                  </a:cubicBezTo>
                  <a:cubicBezTo>
                    <a:pt x="7" y="321"/>
                    <a:pt x="8" y="322"/>
                    <a:pt x="9" y="325"/>
                  </a:cubicBezTo>
                  <a:cubicBezTo>
                    <a:pt x="9" y="328"/>
                    <a:pt x="8" y="329"/>
                    <a:pt x="10" y="331"/>
                  </a:cubicBezTo>
                  <a:cubicBezTo>
                    <a:pt x="13" y="333"/>
                    <a:pt x="15" y="330"/>
                    <a:pt x="18" y="330"/>
                  </a:cubicBezTo>
                  <a:cubicBezTo>
                    <a:pt x="20" y="334"/>
                    <a:pt x="24" y="337"/>
                    <a:pt x="29" y="337"/>
                  </a:cubicBezTo>
                  <a:cubicBezTo>
                    <a:pt x="34" y="336"/>
                    <a:pt x="31" y="333"/>
                    <a:pt x="34" y="330"/>
                  </a:cubicBezTo>
                  <a:cubicBezTo>
                    <a:pt x="36" y="328"/>
                    <a:pt x="39" y="328"/>
                    <a:pt x="41" y="327"/>
                  </a:cubicBezTo>
                  <a:cubicBezTo>
                    <a:pt x="45" y="326"/>
                    <a:pt x="48" y="324"/>
                    <a:pt x="51" y="325"/>
                  </a:cubicBezTo>
                  <a:cubicBezTo>
                    <a:pt x="52" y="328"/>
                    <a:pt x="48" y="330"/>
                    <a:pt x="46" y="332"/>
                  </a:cubicBezTo>
                  <a:cubicBezTo>
                    <a:pt x="43" y="333"/>
                    <a:pt x="41" y="335"/>
                    <a:pt x="38" y="337"/>
                  </a:cubicBezTo>
                  <a:cubicBezTo>
                    <a:pt x="37" y="338"/>
                    <a:pt x="35" y="339"/>
                    <a:pt x="33" y="340"/>
                  </a:cubicBezTo>
                  <a:cubicBezTo>
                    <a:pt x="31" y="340"/>
                    <a:pt x="30" y="339"/>
                    <a:pt x="28" y="340"/>
                  </a:cubicBezTo>
                  <a:cubicBezTo>
                    <a:pt x="26" y="341"/>
                    <a:pt x="19" y="344"/>
                    <a:pt x="19" y="346"/>
                  </a:cubicBezTo>
                  <a:cubicBezTo>
                    <a:pt x="17" y="350"/>
                    <a:pt x="25" y="351"/>
                    <a:pt x="27" y="350"/>
                  </a:cubicBezTo>
                  <a:cubicBezTo>
                    <a:pt x="30" y="350"/>
                    <a:pt x="30" y="349"/>
                    <a:pt x="31" y="348"/>
                  </a:cubicBezTo>
                  <a:cubicBezTo>
                    <a:pt x="34" y="347"/>
                    <a:pt x="37" y="348"/>
                    <a:pt x="40" y="347"/>
                  </a:cubicBezTo>
                  <a:cubicBezTo>
                    <a:pt x="42" y="346"/>
                    <a:pt x="45" y="345"/>
                    <a:pt x="47" y="343"/>
                  </a:cubicBezTo>
                  <a:cubicBezTo>
                    <a:pt x="50" y="342"/>
                    <a:pt x="53" y="340"/>
                    <a:pt x="56" y="341"/>
                  </a:cubicBezTo>
                  <a:cubicBezTo>
                    <a:pt x="58" y="347"/>
                    <a:pt x="40" y="352"/>
                    <a:pt x="36" y="356"/>
                  </a:cubicBezTo>
                  <a:cubicBezTo>
                    <a:pt x="32" y="361"/>
                    <a:pt x="43" y="361"/>
                    <a:pt x="46" y="361"/>
                  </a:cubicBezTo>
                  <a:cubicBezTo>
                    <a:pt x="49" y="360"/>
                    <a:pt x="52" y="360"/>
                    <a:pt x="56" y="358"/>
                  </a:cubicBezTo>
                  <a:cubicBezTo>
                    <a:pt x="57" y="358"/>
                    <a:pt x="56" y="357"/>
                    <a:pt x="58" y="357"/>
                  </a:cubicBezTo>
                  <a:cubicBezTo>
                    <a:pt x="58" y="356"/>
                    <a:pt x="60" y="357"/>
                    <a:pt x="60" y="357"/>
                  </a:cubicBezTo>
                  <a:cubicBezTo>
                    <a:pt x="65" y="357"/>
                    <a:pt x="69" y="357"/>
                    <a:pt x="74" y="355"/>
                  </a:cubicBezTo>
                  <a:cubicBezTo>
                    <a:pt x="77" y="354"/>
                    <a:pt x="81" y="354"/>
                    <a:pt x="84" y="353"/>
                  </a:cubicBezTo>
                  <a:cubicBezTo>
                    <a:pt x="86" y="353"/>
                    <a:pt x="88" y="352"/>
                    <a:pt x="89" y="351"/>
                  </a:cubicBezTo>
                  <a:cubicBezTo>
                    <a:pt x="94" y="350"/>
                    <a:pt x="96" y="351"/>
                    <a:pt x="100" y="348"/>
                  </a:cubicBezTo>
                  <a:cubicBezTo>
                    <a:pt x="101" y="347"/>
                    <a:pt x="103" y="345"/>
                    <a:pt x="104" y="344"/>
                  </a:cubicBezTo>
                  <a:cubicBezTo>
                    <a:pt x="107" y="342"/>
                    <a:pt x="107" y="343"/>
                    <a:pt x="109" y="341"/>
                  </a:cubicBezTo>
                  <a:cubicBezTo>
                    <a:pt x="112" y="338"/>
                    <a:pt x="115" y="338"/>
                    <a:pt x="117" y="335"/>
                  </a:cubicBezTo>
                  <a:cubicBezTo>
                    <a:pt x="119" y="331"/>
                    <a:pt x="120" y="330"/>
                    <a:pt x="124" y="329"/>
                  </a:cubicBezTo>
                  <a:cubicBezTo>
                    <a:pt x="126" y="328"/>
                    <a:pt x="128" y="328"/>
                    <a:pt x="130" y="327"/>
                  </a:cubicBezTo>
                  <a:cubicBezTo>
                    <a:pt x="131" y="325"/>
                    <a:pt x="132" y="324"/>
                    <a:pt x="134" y="322"/>
                  </a:cubicBezTo>
                  <a:cubicBezTo>
                    <a:pt x="136" y="322"/>
                    <a:pt x="138" y="320"/>
                    <a:pt x="140" y="319"/>
                  </a:cubicBezTo>
                  <a:cubicBezTo>
                    <a:pt x="142" y="318"/>
                    <a:pt x="143" y="319"/>
                    <a:pt x="145" y="317"/>
                  </a:cubicBezTo>
                  <a:cubicBezTo>
                    <a:pt x="148" y="315"/>
                    <a:pt x="152" y="312"/>
                    <a:pt x="154" y="310"/>
                  </a:cubicBezTo>
                  <a:cubicBezTo>
                    <a:pt x="157" y="308"/>
                    <a:pt x="158" y="305"/>
                    <a:pt x="161" y="304"/>
                  </a:cubicBezTo>
                  <a:cubicBezTo>
                    <a:pt x="164" y="302"/>
                    <a:pt x="169" y="303"/>
                    <a:pt x="173" y="302"/>
                  </a:cubicBezTo>
                  <a:cubicBezTo>
                    <a:pt x="176" y="301"/>
                    <a:pt x="175" y="301"/>
                    <a:pt x="177" y="299"/>
                  </a:cubicBezTo>
                  <a:cubicBezTo>
                    <a:pt x="181" y="296"/>
                    <a:pt x="189" y="300"/>
                    <a:pt x="192" y="295"/>
                  </a:cubicBezTo>
                  <a:cubicBezTo>
                    <a:pt x="193" y="297"/>
                    <a:pt x="192" y="299"/>
                    <a:pt x="193" y="301"/>
                  </a:cubicBezTo>
                  <a:cubicBezTo>
                    <a:pt x="195" y="301"/>
                    <a:pt x="197" y="301"/>
                    <a:pt x="199" y="300"/>
                  </a:cubicBezTo>
                  <a:cubicBezTo>
                    <a:pt x="202" y="298"/>
                    <a:pt x="206" y="295"/>
                    <a:pt x="208" y="294"/>
                  </a:cubicBezTo>
                  <a:cubicBezTo>
                    <a:pt x="211" y="294"/>
                    <a:pt x="214" y="294"/>
                    <a:pt x="217" y="294"/>
                  </a:cubicBezTo>
                  <a:cubicBezTo>
                    <a:pt x="218" y="294"/>
                    <a:pt x="218" y="295"/>
                    <a:pt x="220" y="295"/>
                  </a:cubicBezTo>
                  <a:cubicBezTo>
                    <a:pt x="221" y="294"/>
                    <a:pt x="222" y="293"/>
                    <a:pt x="223" y="292"/>
                  </a:cubicBezTo>
                  <a:cubicBezTo>
                    <a:pt x="225" y="292"/>
                    <a:pt x="228" y="293"/>
                    <a:pt x="227" y="289"/>
                  </a:cubicBezTo>
                  <a:cubicBezTo>
                    <a:pt x="223" y="288"/>
                    <a:pt x="217" y="281"/>
                    <a:pt x="219" y="277"/>
                  </a:cubicBezTo>
                  <a:cubicBezTo>
                    <a:pt x="223" y="277"/>
                    <a:pt x="223" y="273"/>
                    <a:pt x="225" y="270"/>
                  </a:cubicBezTo>
                  <a:cubicBezTo>
                    <a:pt x="226" y="267"/>
                    <a:pt x="229" y="266"/>
                    <a:pt x="230" y="264"/>
                  </a:cubicBezTo>
                  <a:cubicBezTo>
                    <a:pt x="230" y="262"/>
                    <a:pt x="230" y="259"/>
                    <a:pt x="230" y="257"/>
                  </a:cubicBezTo>
                  <a:cubicBezTo>
                    <a:pt x="230" y="253"/>
                    <a:pt x="230" y="249"/>
                    <a:pt x="233" y="245"/>
                  </a:cubicBezTo>
                  <a:cubicBezTo>
                    <a:pt x="235" y="243"/>
                    <a:pt x="237" y="243"/>
                    <a:pt x="238" y="240"/>
                  </a:cubicBezTo>
                  <a:cubicBezTo>
                    <a:pt x="239" y="238"/>
                    <a:pt x="238" y="238"/>
                    <a:pt x="238" y="236"/>
                  </a:cubicBezTo>
                  <a:cubicBezTo>
                    <a:pt x="238" y="231"/>
                    <a:pt x="238" y="226"/>
                    <a:pt x="238" y="221"/>
                  </a:cubicBezTo>
                  <a:cubicBezTo>
                    <a:pt x="238" y="217"/>
                    <a:pt x="239" y="212"/>
                    <a:pt x="237" y="209"/>
                  </a:cubicBezTo>
                  <a:cubicBezTo>
                    <a:pt x="235" y="206"/>
                    <a:pt x="233" y="204"/>
                    <a:pt x="233" y="200"/>
                  </a:cubicBezTo>
                  <a:cubicBezTo>
                    <a:pt x="232" y="197"/>
                    <a:pt x="232" y="197"/>
                    <a:pt x="230" y="195"/>
                  </a:cubicBezTo>
                  <a:cubicBezTo>
                    <a:pt x="229" y="194"/>
                    <a:pt x="229" y="193"/>
                    <a:pt x="228" y="192"/>
                  </a:cubicBezTo>
                  <a:cubicBezTo>
                    <a:pt x="227" y="192"/>
                    <a:pt x="225" y="193"/>
                    <a:pt x="224" y="192"/>
                  </a:cubicBezTo>
                  <a:cubicBezTo>
                    <a:pt x="226" y="191"/>
                    <a:pt x="229" y="190"/>
                    <a:pt x="232" y="189"/>
                  </a:cubicBezTo>
                  <a:cubicBezTo>
                    <a:pt x="235" y="189"/>
                    <a:pt x="239" y="192"/>
                    <a:pt x="242" y="191"/>
                  </a:cubicBezTo>
                  <a:cubicBezTo>
                    <a:pt x="242" y="189"/>
                    <a:pt x="244" y="188"/>
                    <a:pt x="245" y="187"/>
                  </a:cubicBezTo>
                  <a:cubicBezTo>
                    <a:pt x="247" y="184"/>
                    <a:pt x="248" y="179"/>
                    <a:pt x="248" y="175"/>
                  </a:cubicBezTo>
                  <a:cubicBezTo>
                    <a:pt x="244" y="175"/>
                    <a:pt x="242" y="175"/>
                    <a:pt x="239" y="173"/>
                  </a:cubicBezTo>
                  <a:cubicBezTo>
                    <a:pt x="236" y="172"/>
                    <a:pt x="235" y="170"/>
                    <a:pt x="232" y="168"/>
                  </a:cubicBezTo>
                  <a:cubicBezTo>
                    <a:pt x="231" y="168"/>
                    <a:pt x="226" y="166"/>
                    <a:pt x="225" y="165"/>
                  </a:cubicBezTo>
                  <a:cubicBezTo>
                    <a:pt x="225" y="164"/>
                    <a:pt x="225" y="162"/>
                    <a:pt x="225" y="161"/>
                  </a:cubicBezTo>
                  <a:cubicBezTo>
                    <a:pt x="226" y="159"/>
                    <a:pt x="228" y="159"/>
                    <a:pt x="228" y="156"/>
                  </a:cubicBezTo>
                  <a:cubicBezTo>
                    <a:pt x="228" y="154"/>
                    <a:pt x="228" y="150"/>
                    <a:pt x="228" y="148"/>
                  </a:cubicBezTo>
                  <a:cubicBezTo>
                    <a:pt x="227" y="146"/>
                    <a:pt x="225" y="144"/>
                    <a:pt x="224" y="142"/>
                  </a:cubicBezTo>
                  <a:cubicBezTo>
                    <a:pt x="223" y="139"/>
                    <a:pt x="224" y="137"/>
                    <a:pt x="226" y="135"/>
                  </a:cubicBezTo>
                  <a:cubicBezTo>
                    <a:pt x="228" y="134"/>
                    <a:pt x="229" y="134"/>
                    <a:pt x="231" y="134"/>
                  </a:cubicBezTo>
                  <a:cubicBezTo>
                    <a:pt x="231" y="134"/>
                    <a:pt x="232" y="134"/>
                    <a:pt x="233" y="134"/>
                  </a:cubicBezTo>
                  <a:cubicBezTo>
                    <a:pt x="234" y="133"/>
                    <a:pt x="233" y="132"/>
                    <a:pt x="234" y="131"/>
                  </a:cubicBezTo>
                  <a:cubicBezTo>
                    <a:pt x="235" y="131"/>
                    <a:pt x="237" y="131"/>
                    <a:pt x="238" y="131"/>
                  </a:cubicBezTo>
                  <a:cubicBezTo>
                    <a:pt x="238" y="130"/>
                    <a:pt x="239" y="129"/>
                    <a:pt x="239" y="129"/>
                  </a:cubicBezTo>
                  <a:cubicBezTo>
                    <a:pt x="238" y="128"/>
                    <a:pt x="236" y="127"/>
                    <a:pt x="234" y="126"/>
                  </a:cubicBezTo>
                  <a:cubicBezTo>
                    <a:pt x="232" y="125"/>
                    <a:pt x="232" y="125"/>
                    <a:pt x="230" y="125"/>
                  </a:cubicBezTo>
                  <a:cubicBezTo>
                    <a:pt x="228" y="125"/>
                    <a:pt x="227" y="123"/>
                    <a:pt x="225" y="122"/>
                  </a:cubicBezTo>
                  <a:cubicBezTo>
                    <a:pt x="223" y="121"/>
                    <a:pt x="222" y="121"/>
                    <a:pt x="220" y="120"/>
                  </a:cubicBezTo>
                  <a:cubicBezTo>
                    <a:pt x="219" y="121"/>
                    <a:pt x="219" y="122"/>
                    <a:pt x="219" y="123"/>
                  </a:cubicBezTo>
                  <a:cubicBezTo>
                    <a:pt x="218" y="123"/>
                    <a:pt x="218" y="123"/>
                    <a:pt x="218" y="123"/>
                  </a:cubicBezTo>
                  <a:cubicBezTo>
                    <a:pt x="217" y="125"/>
                    <a:pt x="216" y="125"/>
                    <a:pt x="215" y="126"/>
                  </a:cubicBezTo>
                  <a:cubicBezTo>
                    <a:pt x="213" y="127"/>
                    <a:pt x="211" y="127"/>
                    <a:pt x="209" y="127"/>
                  </a:cubicBezTo>
                  <a:cubicBezTo>
                    <a:pt x="206" y="127"/>
                    <a:pt x="206" y="125"/>
                    <a:pt x="206" y="123"/>
                  </a:cubicBezTo>
                  <a:cubicBezTo>
                    <a:pt x="206" y="120"/>
                    <a:pt x="205" y="118"/>
                    <a:pt x="204" y="115"/>
                  </a:cubicBezTo>
                  <a:cubicBezTo>
                    <a:pt x="204" y="114"/>
                    <a:pt x="203" y="113"/>
                    <a:pt x="201" y="112"/>
                  </a:cubicBezTo>
                  <a:cubicBezTo>
                    <a:pt x="199" y="112"/>
                    <a:pt x="196" y="112"/>
                    <a:pt x="196" y="110"/>
                  </a:cubicBezTo>
                  <a:cubicBezTo>
                    <a:pt x="196" y="108"/>
                    <a:pt x="197" y="107"/>
                    <a:pt x="196" y="105"/>
                  </a:cubicBezTo>
                  <a:cubicBezTo>
                    <a:pt x="195" y="103"/>
                    <a:pt x="194" y="102"/>
                    <a:pt x="192" y="100"/>
                  </a:cubicBezTo>
                  <a:cubicBezTo>
                    <a:pt x="191" y="98"/>
                    <a:pt x="190" y="96"/>
                    <a:pt x="188" y="94"/>
                  </a:cubicBezTo>
                  <a:cubicBezTo>
                    <a:pt x="187" y="95"/>
                    <a:pt x="185" y="94"/>
                    <a:pt x="184" y="95"/>
                  </a:cubicBezTo>
                  <a:cubicBezTo>
                    <a:pt x="182" y="95"/>
                    <a:pt x="181" y="98"/>
                    <a:pt x="180" y="99"/>
                  </a:cubicBezTo>
                  <a:cubicBezTo>
                    <a:pt x="179" y="101"/>
                    <a:pt x="178" y="102"/>
                    <a:pt x="178" y="104"/>
                  </a:cubicBezTo>
                  <a:cubicBezTo>
                    <a:pt x="178" y="105"/>
                    <a:pt x="178" y="106"/>
                    <a:pt x="179" y="107"/>
                  </a:cubicBezTo>
                  <a:cubicBezTo>
                    <a:pt x="180" y="109"/>
                    <a:pt x="180" y="112"/>
                    <a:pt x="178" y="113"/>
                  </a:cubicBezTo>
                  <a:cubicBezTo>
                    <a:pt x="177" y="114"/>
                    <a:pt x="173" y="112"/>
                    <a:pt x="172" y="114"/>
                  </a:cubicBezTo>
                  <a:cubicBezTo>
                    <a:pt x="171" y="116"/>
                    <a:pt x="173" y="119"/>
                    <a:pt x="171" y="120"/>
                  </a:cubicBezTo>
                  <a:cubicBezTo>
                    <a:pt x="169" y="120"/>
                    <a:pt x="166" y="119"/>
                    <a:pt x="165" y="119"/>
                  </a:cubicBezTo>
                  <a:cubicBezTo>
                    <a:pt x="163" y="118"/>
                    <a:pt x="160" y="119"/>
                    <a:pt x="158" y="118"/>
                  </a:cubicBezTo>
                  <a:cubicBezTo>
                    <a:pt x="157" y="117"/>
                    <a:pt x="156" y="116"/>
                    <a:pt x="155" y="116"/>
                  </a:cubicBezTo>
                  <a:cubicBezTo>
                    <a:pt x="154" y="115"/>
                    <a:pt x="154" y="115"/>
                    <a:pt x="153" y="114"/>
                  </a:cubicBezTo>
                  <a:cubicBezTo>
                    <a:pt x="152" y="114"/>
                    <a:pt x="153" y="114"/>
                    <a:pt x="152" y="113"/>
                  </a:cubicBezTo>
                  <a:cubicBezTo>
                    <a:pt x="151" y="112"/>
                    <a:pt x="148" y="112"/>
                    <a:pt x="147" y="112"/>
                  </a:cubicBezTo>
                  <a:cubicBezTo>
                    <a:pt x="145" y="112"/>
                    <a:pt x="142" y="111"/>
                    <a:pt x="141" y="110"/>
                  </a:cubicBezTo>
                  <a:cubicBezTo>
                    <a:pt x="140" y="109"/>
                    <a:pt x="140" y="108"/>
                    <a:pt x="140" y="107"/>
                  </a:cubicBezTo>
                  <a:cubicBezTo>
                    <a:pt x="139" y="105"/>
                    <a:pt x="138" y="105"/>
                    <a:pt x="137" y="104"/>
                  </a:cubicBezTo>
                  <a:cubicBezTo>
                    <a:pt x="137" y="103"/>
                    <a:pt x="137" y="102"/>
                    <a:pt x="136" y="102"/>
                  </a:cubicBezTo>
                  <a:cubicBezTo>
                    <a:pt x="136" y="101"/>
                    <a:pt x="137" y="101"/>
                    <a:pt x="136" y="100"/>
                  </a:cubicBezTo>
                  <a:cubicBezTo>
                    <a:pt x="136" y="100"/>
                    <a:pt x="135" y="99"/>
                    <a:pt x="135" y="99"/>
                  </a:cubicBezTo>
                  <a:cubicBezTo>
                    <a:pt x="133" y="98"/>
                    <a:pt x="132" y="97"/>
                    <a:pt x="131" y="96"/>
                  </a:cubicBezTo>
                  <a:cubicBezTo>
                    <a:pt x="130" y="94"/>
                    <a:pt x="130" y="92"/>
                    <a:pt x="130" y="90"/>
                  </a:cubicBezTo>
                  <a:cubicBezTo>
                    <a:pt x="130" y="88"/>
                    <a:pt x="132" y="88"/>
                    <a:pt x="133" y="86"/>
                  </a:cubicBezTo>
                  <a:cubicBezTo>
                    <a:pt x="135" y="84"/>
                    <a:pt x="136" y="83"/>
                    <a:pt x="138" y="82"/>
                  </a:cubicBezTo>
                  <a:cubicBezTo>
                    <a:pt x="140" y="81"/>
                    <a:pt x="143" y="79"/>
                    <a:pt x="144" y="78"/>
                  </a:cubicBezTo>
                  <a:cubicBezTo>
                    <a:pt x="145" y="77"/>
                    <a:pt x="146" y="76"/>
                    <a:pt x="146" y="75"/>
                  </a:cubicBezTo>
                  <a:cubicBezTo>
                    <a:pt x="147" y="74"/>
                    <a:pt x="148" y="73"/>
                    <a:pt x="149" y="73"/>
                  </a:cubicBezTo>
                  <a:cubicBezTo>
                    <a:pt x="148" y="73"/>
                    <a:pt x="147" y="72"/>
                    <a:pt x="146" y="72"/>
                  </a:cubicBezTo>
                  <a:cubicBezTo>
                    <a:pt x="144" y="72"/>
                    <a:pt x="143" y="72"/>
                    <a:pt x="141" y="71"/>
                  </a:cubicBezTo>
                  <a:cubicBezTo>
                    <a:pt x="140" y="70"/>
                    <a:pt x="140" y="70"/>
                    <a:pt x="140" y="69"/>
                  </a:cubicBezTo>
                  <a:cubicBezTo>
                    <a:pt x="140" y="68"/>
                    <a:pt x="141" y="66"/>
                    <a:pt x="141" y="65"/>
                  </a:cubicBezTo>
                  <a:cubicBezTo>
                    <a:pt x="142" y="63"/>
                    <a:pt x="145" y="63"/>
                    <a:pt x="147" y="63"/>
                  </a:cubicBezTo>
                  <a:cubicBezTo>
                    <a:pt x="150" y="63"/>
                    <a:pt x="152" y="63"/>
                    <a:pt x="154" y="63"/>
                  </a:cubicBezTo>
                  <a:cubicBezTo>
                    <a:pt x="157" y="63"/>
                    <a:pt x="157" y="63"/>
                    <a:pt x="158" y="61"/>
                  </a:cubicBezTo>
                  <a:cubicBezTo>
                    <a:pt x="158" y="59"/>
                    <a:pt x="159" y="56"/>
                    <a:pt x="161" y="54"/>
                  </a:cubicBezTo>
                  <a:cubicBezTo>
                    <a:pt x="162" y="53"/>
                    <a:pt x="163" y="53"/>
                    <a:pt x="163" y="51"/>
                  </a:cubicBezTo>
                  <a:cubicBezTo>
                    <a:pt x="164" y="50"/>
                    <a:pt x="164" y="48"/>
                    <a:pt x="165" y="46"/>
                  </a:cubicBezTo>
                  <a:cubicBezTo>
                    <a:pt x="166" y="44"/>
                    <a:pt x="167" y="43"/>
                    <a:pt x="168" y="41"/>
                  </a:cubicBezTo>
                  <a:cubicBezTo>
                    <a:pt x="170" y="39"/>
                    <a:pt x="171" y="39"/>
                    <a:pt x="171" y="36"/>
                  </a:cubicBezTo>
                  <a:cubicBezTo>
                    <a:pt x="172" y="32"/>
                    <a:pt x="173" y="34"/>
                    <a:pt x="176" y="33"/>
                  </a:cubicBezTo>
                  <a:cubicBezTo>
                    <a:pt x="178" y="33"/>
                    <a:pt x="178" y="32"/>
                    <a:pt x="180" y="31"/>
                  </a:cubicBezTo>
                  <a:cubicBezTo>
                    <a:pt x="181" y="30"/>
                    <a:pt x="183" y="29"/>
                    <a:pt x="184" y="28"/>
                  </a:cubicBezTo>
                  <a:cubicBezTo>
                    <a:pt x="184" y="28"/>
                    <a:pt x="185" y="26"/>
                    <a:pt x="185" y="26"/>
                  </a:cubicBezTo>
                  <a:cubicBezTo>
                    <a:pt x="186" y="25"/>
                    <a:pt x="186" y="24"/>
                    <a:pt x="186" y="23"/>
                  </a:cubicBezTo>
                  <a:cubicBezTo>
                    <a:pt x="187" y="23"/>
                    <a:pt x="187" y="23"/>
                    <a:pt x="188" y="23"/>
                  </a:cubicBezTo>
                  <a:cubicBezTo>
                    <a:pt x="188" y="22"/>
                    <a:pt x="188" y="21"/>
                    <a:pt x="188" y="20"/>
                  </a:cubicBezTo>
                  <a:cubicBezTo>
                    <a:pt x="188" y="19"/>
                    <a:pt x="190" y="17"/>
                    <a:pt x="191" y="16"/>
                  </a:cubicBezTo>
                  <a:cubicBezTo>
                    <a:pt x="193" y="15"/>
                    <a:pt x="194" y="13"/>
                    <a:pt x="196" y="13"/>
                  </a:cubicBezTo>
                  <a:cubicBezTo>
                    <a:pt x="198" y="12"/>
                    <a:pt x="201" y="12"/>
                    <a:pt x="203" y="10"/>
                  </a:cubicBezTo>
                  <a:cubicBezTo>
                    <a:pt x="203" y="10"/>
                    <a:pt x="203" y="10"/>
                    <a:pt x="203" y="10"/>
                  </a:cubicBezTo>
                  <a:moveTo>
                    <a:pt x="240" y="128"/>
                  </a:moveTo>
                  <a:cubicBezTo>
                    <a:pt x="240" y="128"/>
                    <a:pt x="240" y="128"/>
                    <a:pt x="240" y="128"/>
                  </a:cubicBezTo>
                  <a:cubicBezTo>
                    <a:pt x="240" y="128"/>
                    <a:pt x="240" y="128"/>
                    <a:pt x="240" y="128"/>
                  </a:cubicBezTo>
                  <a:moveTo>
                    <a:pt x="203" y="10"/>
                  </a:moveTo>
                  <a:cubicBezTo>
                    <a:pt x="204" y="10"/>
                    <a:pt x="205" y="10"/>
                    <a:pt x="205" y="10"/>
                  </a:cubicBezTo>
                  <a:cubicBezTo>
                    <a:pt x="205" y="10"/>
                    <a:pt x="204" y="10"/>
                    <a:pt x="203" y="10"/>
                  </a:cubicBezTo>
                  <a:moveTo>
                    <a:pt x="216" y="17"/>
                  </a:moveTo>
                  <a:cubicBezTo>
                    <a:pt x="216" y="17"/>
                    <a:pt x="217" y="16"/>
                    <a:pt x="218" y="16"/>
                  </a:cubicBezTo>
                  <a:cubicBezTo>
                    <a:pt x="217" y="16"/>
                    <a:pt x="216" y="17"/>
                    <a:pt x="216" y="17"/>
                  </a:cubicBezTo>
                  <a:moveTo>
                    <a:pt x="214" y="18"/>
                  </a:moveTo>
                  <a:cubicBezTo>
                    <a:pt x="215" y="18"/>
                    <a:pt x="215" y="17"/>
                    <a:pt x="216" y="17"/>
                  </a:cubicBezTo>
                  <a:cubicBezTo>
                    <a:pt x="215" y="17"/>
                    <a:pt x="215" y="18"/>
                    <a:pt x="214" y="18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8" name="Freeform 9">
              <a:extLst>
                <a:ext uri="{FF2B5EF4-FFF2-40B4-BE49-F238E27FC236}">
                  <a16:creationId xmlns:a16="http://schemas.microsoft.com/office/drawing/2014/main" id="{9E9166E6-F24C-4234-8169-C31941FEB5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2688" y="4314825"/>
              <a:ext cx="388938" cy="311150"/>
            </a:xfrm>
            <a:custGeom>
              <a:avLst/>
              <a:gdLst/>
              <a:ahLst/>
              <a:cxnLst>
                <a:cxn ang="0">
                  <a:pos x="207" y="85"/>
                </a:cxn>
                <a:cxn ang="0">
                  <a:pos x="198" y="80"/>
                </a:cxn>
                <a:cxn ang="0">
                  <a:pos x="191" y="69"/>
                </a:cxn>
                <a:cxn ang="0">
                  <a:pos x="189" y="63"/>
                </a:cxn>
                <a:cxn ang="0">
                  <a:pos x="188" y="61"/>
                </a:cxn>
                <a:cxn ang="0">
                  <a:pos x="169" y="57"/>
                </a:cxn>
                <a:cxn ang="0">
                  <a:pos x="170" y="46"/>
                </a:cxn>
                <a:cxn ang="0">
                  <a:pos x="175" y="34"/>
                </a:cxn>
                <a:cxn ang="0">
                  <a:pos x="178" y="28"/>
                </a:cxn>
                <a:cxn ang="0">
                  <a:pos x="175" y="22"/>
                </a:cxn>
                <a:cxn ang="0">
                  <a:pos x="168" y="18"/>
                </a:cxn>
                <a:cxn ang="0">
                  <a:pos x="156" y="17"/>
                </a:cxn>
                <a:cxn ang="0">
                  <a:pos x="150" y="15"/>
                </a:cxn>
                <a:cxn ang="0">
                  <a:pos x="140" y="10"/>
                </a:cxn>
                <a:cxn ang="0">
                  <a:pos x="143" y="0"/>
                </a:cxn>
                <a:cxn ang="0">
                  <a:pos x="135" y="2"/>
                </a:cxn>
                <a:cxn ang="0">
                  <a:pos x="119" y="0"/>
                </a:cxn>
                <a:cxn ang="0">
                  <a:pos x="104" y="1"/>
                </a:cxn>
                <a:cxn ang="0">
                  <a:pos x="97" y="6"/>
                </a:cxn>
                <a:cxn ang="0">
                  <a:pos x="92" y="11"/>
                </a:cxn>
                <a:cxn ang="0">
                  <a:pos x="87" y="14"/>
                </a:cxn>
                <a:cxn ang="0">
                  <a:pos x="81" y="21"/>
                </a:cxn>
                <a:cxn ang="0">
                  <a:pos x="61" y="12"/>
                </a:cxn>
                <a:cxn ang="0">
                  <a:pos x="49" y="15"/>
                </a:cxn>
                <a:cxn ang="0">
                  <a:pos x="43" y="8"/>
                </a:cxn>
                <a:cxn ang="0">
                  <a:pos x="31" y="8"/>
                </a:cxn>
                <a:cxn ang="0">
                  <a:pos x="24" y="15"/>
                </a:cxn>
                <a:cxn ang="0">
                  <a:pos x="16" y="19"/>
                </a:cxn>
                <a:cxn ang="0">
                  <a:pos x="5" y="23"/>
                </a:cxn>
                <a:cxn ang="0">
                  <a:pos x="3" y="32"/>
                </a:cxn>
                <a:cxn ang="0">
                  <a:pos x="3" y="45"/>
                </a:cxn>
                <a:cxn ang="0">
                  <a:pos x="31" y="56"/>
                </a:cxn>
                <a:cxn ang="0">
                  <a:pos x="39" y="71"/>
                </a:cxn>
                <a:cxn ang="0">
                  <a:pos x="61" y="89"/>
                </a:cxn>
                <a:cxn ang="0">
                  <a:pos x="79" y="95"/>
                </a:cxn>
                <a:cxn ang="0">
                  <a:pos x="83" y="110"/>
                </a:cxn>
                <a:cxn ang="0">
                  <a:pos x="95" y="127"/>
                </a:cxn>
                <a:cxn ang="0">
                  <a:pos x="114" y="123"/>
                </a:cxn>
                <a:cxn ang="0">
                  <a:pos x="124" y="114"/>
                </a:cxn>
                <a:cxn ang="0">
                  <a:pos x="125" y="141"/>
                </a:cxn>
                <a:cxn ang="0">
                  <a:pos x="153" y="157"/>
                </a:cxn>
                <a:cxn ang="0">
                  <a:pos x="171" y="161"/>
                </a:cxn>
                <a:cxn ang="0">
                  <a:pos x="179" y="152"/>
                </a:cxn>
                <a:cxn ang="0">
                  <a:pos x="171" y="141"/>
                </a:cxn>
                <a:cxn ang="0">
                  <a:pos x="171" y="133"/>
                </a:cxn>
                <a:cxn ang="0">
                  <a:pos x="177" y="127"/>
                </a:cxn>
                <a:cxn ang="0">
                  <a:pos x="185" y="114"/>
                </a:cxn>
                <a:cxn ang="0">
                  <a:pos x="193" y="111"/>
                </a:cxn>
                <a:cxn ang="0">
                  <a:pos x="198" y="106"/>
                </a:cxn>
                <a:cxn ang="0">
                  <a:pos x="201" y="100"/>
                </a:cxn>
                <a:cxn ang="0">
                  <a:pos x="207" y="91"/>
                </a:cxn>
              </a:cxnLst>
              <a:rect l="0" t="0" r="r" b="b"/>
              <a:pathLst>
                <a:path w="208" h="167">
                  <a:moveTo>
                    <a:pt x="196" y="13"/>
                  </a:moveTo>
                  <a:cubicBezTo>
                    <a:pt x="196" y="13"/>
                    <a:pt x="196" y="13"/>
                    <a:pt x="196" y="13"/>
                  </a:cubicBezTo>
                  <a:moveTo>
                    <a:pt x="207" y="85"/>
                  </a:moveTo>
                  <a:cubicBezTo>
                    <a:pt x="206" y="83"/>
                    <a:pt x="205" y="83"/>
                    <a:pt x="203" y="83"/>
                  </a:cubicBezTo>
                  <a:cubicBezTo>
                    <a:pt x="203" y="83"/>
                    <a:pt x="202" y="82"/>
                    <a:pt x="202" y="82"/>
                  </a:cubicBezTo>
                  <a:cubicBezTo>
                    <a:pt x="200" y="81"/>
                    <a:pt x="199" y="81"/>
                    <a:pt x="198" y="80"/>
                  </a:cubicBezTo>
                  <a:cubicBezTo>
                    <a:pt x="197" y="79"/>
                    <a:pt x="197" y="79"/>
                    <a:pt x="196" y="79"/>
                  </a:cubicBezTo>
                  <a:cubicBezTo>
                    <a:pt x="194" y="78"/>
                    <a:pt x="193" y="77"/>
                    <a:pt x="191" y="76"/>
                  </a:cubicBezTo>
                  <a:cubicBezTo>
                    <a:pt x="190" y="74"/>
                    <a:pt x="190" y="71"/>
                    <a:pt x="191" y="69"/>
                  </a:cubicBezTo>
                  <a:cubicBezTo>
                    <a:pt x="191" y="68"/>
                    <a:pt x="191" y="67"/>
                    <a:pt x="191" y="66"/>
                  </a:cubicBezTo>
                  <a:cubicBezTo>
                    <a:pt x="191" y="66"/>
                    <a:pt x="191" y="65"/>
                    <a:pt x="191" y="65"/>
                  </a:cubicBezTo>
                  <a:cubicBezTo>
                    <a:pt x="191" y="64"/>
                    <a:pt x="190" y="63"/>
                    <a:pt x="189" y="63"/>
                  </a:cubicBezTo>
                  <a:cubicBezTo>
                    <a:pt x="189" y="63"/>
                    <a:pt x="188" y="62"/>
                    <a:pt x="188" y="62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5" y="61"/>
                    <a:pt x="182" y="61"/>
                    <a:pt x="180" y="59"/>
                  </a:cubicBezTo>
                  <a:cubicBezTo>
                    <a:pt x="178" y="59"/>
                    <a:pt x="177" y="58"/>
                    <a:pt x="176" y="58"/>
                  </a:cubicBezTo>
                  <a:cubicBezTo>
                    <a:pt x="174" y="58"/>
                    <a:pt x="170" y="59"/>
                    <a:pt x="169" y="57"/>
                  </a:cubicBezTo>
                  <a:cubicBezTo>
                    <a:pt x="168" y="56"/>
                    <a:pt x="169" y="52"/>
                    <a:pt x="169" y="51"/>
                  </a:cubicBezTo>
                  <a:cubicBezTo>
                    <a:pt x="169" y="50"/>
                    <a:pt x="169" y="49"/>
                    <a:pt x="169" y="49"/>
                  </a:cubicBezTo>
                  <a:cubicBezTo>
                    <a:pt x="169" y="47"/>
                    <a:pt x="169" y="47"/>
                    <a:pt x="170" y="46"/>
                  </a:cubicBezTo>
                  <a:cubicBezTo>
                    <a:pt x="171" y="45"/>
                    <a:pt x="171" y="44"/>
                    <a:pt x="171" y="42"/>
                  </a:cubicBezTo>
                  <a:cubicBezTo>
                    <a:pt x="172" y="41"/>
                    <a:pt x="172" y="40"/>
                    <a:pt x="172" y="39"/>
                  </a:cubicBezTo>
                  <a:cubicBezTo>
                    <a:pt x="173" y="37"/>
                    <a:pt x="174" y="36"/>
                    <a:pt x="175" y="34"/>
                  </a:cubicBezTo>
                  <a:cubicBezTo>
                    <a:pt x="175" y="33"/>
                    <a:pt x="175" y="33"/>
                    <a:pt x="175" y="32"/>
                  </a:cubicBezTo>
                  <a:cubicBezTo>
                    <a:pt x="176" y="32"/>
                    <a:pt x="176" y="32"/>
                    <a:pt x="177" y="31"/>
                  </a:cubicBezTo>
                  <a:cubicBezTo>
                    <a:pt x="177" y="30"/>
                    <a:pt x="178" y="29"/>
                    <a:pt x="178" y="28"/>
                  </a:cubicBezTo>
                  <a:cubicBezTo>
                    <a:pt x="179" y="27"/>
                    <a:pt x="179" y="27"/>
                    <a:pt x="180" y="26"/>
                  </a:cubicBezTo>
                  <a:cubicBezTo>
                    <a:pt x="180" y="25"/>
                    <a:pt x="179" y="24"/>
                    <a:pt x="179" y="23"/>
                  </a:cubicBezTo>
                  <a:cubicBezTo>
                    <a:pt x="178" y="23"/>
                    <a:pt x="176" y="23"/>
                    <a:pt x="175" y="22"/>
                  </a:cubicBezTo>
                  <a:cubicBezTo>
                    <a:pt x="174" y="22"/>
                    <a:pt x="173" y="22"/>
                    <a:pt x="172" y="21"/>
                  </a:cubicBezTo>
                  <a:cubicBezTo>
                    <a:pt x="171" y="21"/>
                    <a:pt x="170" y="20"/>
                    <a:pt x="170" y="20"/>
                  </a:cubicBezTo>
                  <a:cubicBezTo>
                    <a:pt x="169" y="19"/>
                    <a:pt x="169" y="19"/>
                    <a:pt x="168" y="18"/>
                  </a:cubicBezTo>
                  <a:cubicBezTo>
                    <a:pt x="168" y="18"/>
                    <a:pt x="167" y="17"/>
                    <a:pt x="167" y="17"/>
                  </a:cubicBezTo>
                  <a:cubicBezTo>
                    <a:pt x="166" y="15"/>
                    <a:pt x="166" y="15"/>
                    <a:pt x="164" y="15"/>
                  </a:cubicBezTo>
                  <a:cubicBezTo>
                    <a:pt x="161" y="15"/>
                    <a:pt x="159" y="16"/>
                    <a:pt x="156" y="17"/>
                  </a:cubicBezTo>
                  <a:cubicBezTo>
                    <a:pt x="155" y="18"/>
                    <a:pt x="154" y="18"/>
                    <a:pt x="152" y="17"/>
                  </a:cubicBezTo>
                  <a:cubicBezTo>
                    <a:pt x="152" y="17"/>
                    <a:pt x="152" y="16"/>
                    <a:pt x="151" y="16"/>
                  </a:cubicBezTo>
                  <a:cubicBezTo>
                    <a:pt x="151" y="16"/>
                    <a:pt x="150" y="15"/>
                    <a:pt x="150" y="15"/>
                  </a:cubicBezTo>
                  <a:cubicBezTo>
                    <a:pt x="149" y="14"/>
                    <a:pt x="149" y="14"/>
                    <a:pt x="147" y="13"/>
                  </a:cubicBezTo>
                  <a:cubicBezTo>
                    <a:pt x="145" y="12"/>
                    <a:pt x="144" y="12"/>
                    <a:pt x="142" y="11"/>
                  </a:cubicBezTo>
                  <a:cubicBezTo>
                    <a:pt x="141" y="11"/>
                    <a:pt x="140" y="11"/>
                    <a:pt x="140" y="10"/>
                  </a:cubicBezTo>
                  <a:cubicBezTo>
                    <a:pt x="140" y="9"/>
                    <a:pt x="141" y="9"/>
                    <a:pt x="141" y="9"/>
                  </a:cubicBezTo>
                  <a:cubicBezTo>
                    <a:pt x="143" y="8"/>
                    <a:pt x="146" y="6"/>
                    <a:pt x="146" y="5"/>
                  </a:cubicBezTo>
                  <a:cubicBezTo>
                    <a:pt x="147" y="3"/>
                    <a:pt x="146" y="0"/>
                    <a:pt x="143" y="0"/>
                  </a:cubicBezTo>
                  <a:cubicBezTo>
                    <a:pt x="143" y="0"/>
                    <a:pt x="142" y="0"/>
                    <a:pt x="141" y="0"/>
                  </a:cubicBezTo>
                  <a:cubicBezTo>
                    <a:pt x="140" y="0"/>
                    <a:pt x="139" y="0"/>
                    <a:pt x="139" y="0"/>
                  </a:cubicBezTo>
                  <a:cubicBezTo>
                    <a:pt x="137" y="1"/>
                    <a:pt x="136" y="2"/>
                    <a:pt x="135" y="2"/>
                  </a:cubicBezTo>
                  <a:cubicBezTo>
                    <a:pt x="134" y="2"/>
                    <a:pt x="132" y="2"/>
                    <a:pt x="131" y="2"/>
                  </a:cubicBezTo>
                  <a:cubicBezTo>
                    <a:pt x="129" y="2"/>
                    <a:pt x="127" y="3"/>
                    <a:pt x="125" y="2"/>
                  </a:cubicBezTo>
                  <a:cubicBezTo>
                    <a:pt x="123" y="2"/>
                    <a:pt x="122" y="0"/>
                    <a:pt x="119" y="0"/>
                  </a:cubicBezTo>
                  <a:cubicBezTo>
                    <a:pt x="116" y="0"/>
                    <a:pt x="113" y="0"/>
                    <a:pt x="110" y="0"/>
                  </a:cubicBezTo>
                  <a:cubicBezTo>
                    <a:pt x="109" y="0"/>
                    <a:pt x="108" y="1"/>
                    <a:pt x="107" y="1"/>
                  </a:cubicBezTo>
                  <a:cubicBezTo>
                    <a:pt x="106" y="1"/>
                    <a:pt x="105" y="1"/>
                    <a:pt x="104" y="1"/>
                  </a:cubicBezTo>
                  <a:cubicBezTo>
                    <a:pt x="103" y="2"/>
                    <a:pt x="103" y="3"/>
                    <a:pt x="102" y="3"/>
                  </a:cubicBezTo>
                  <a:cubicBezTo>
                    <a:pt x="101" y="4"/>
                    <a:pt x="100" y="4"/>
                    <a:pt x="99" y="5"/>
                  </a:cubicBezTo>
                  <a:cubicBezTo>
                    <a:pt x="98" y="5"/>
                    <a:pt x="98" y="5"/>
                    <a:pt x="97" y="6"/>
                  </a:cubicBezTo>
                  <a:cubicBezTo>
                    <a:pt x="96" y="6"/>
                    <a:pt x="95" y="7"/>
                    <a:pt x="94" y="8"/>
                  </a:cubicBezTo>
                  <a:cubicBezTo>
                    <a:pt x="94" y="9"/>
                    <a:pt x="94" y="9"/>
                    <a:pt x="93" y="10"/>
                  </a:cubicBezTo>
                  <a:cubicBezTo>
                    <a:pt x="92" y="10"/>
                    <a:pt x="92" y="10"/>
                    <a:pt x="92" y="11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1" y="12"/>
                    <a:pt x="90" y="12"/>
                    <a:pt x="89" y="12"/>
                  </a:cubicBezTo>
                  <a:cubicBezTo>
                    <a:pt x="87" y="13"/>
                    <a:pt x="87" y="13"/>
                    <a:pt x="87" y="14"/>
                  </a:cubicBezTo>
                  <a:cubicBezTo>
                    <a:pt x="86" y="15"/>
                    <a:pt x="85" y="16"/>
                    <a:pt x="85" y="17"/>
                  </a:cubicBezTo>
                  <a:cubicBezTo>
                    <a:pt x="85" y="17"/>
                    <a:pt x="84" y="18"/>
                    <a:pt x="84" y="19"/>
                  </a:cubicBezTo>
                  <a:cubicBezTo>
                    <a:pt x="83" y="20"/>
                    <a:pt x="82" y="21"/>
                    <a:pt x="81" y="21"/>
                  </a:cubicBezTo>
                  <a:cubicBezTo>
                    <a:pt x="79" y="22"/>
                    <a:pt x="78" y="21"/>
                    <a:pt x="76" y="20"/>
                  </a:cubicBezTo>
                  <a:cubicBezTo>
                    <a:pt x="73" y="19"/>
                    <a:pt x="68" y="18"/>
                    <a:pt x="66" y="16"/>
                  </a:cubicBezTo>
                  <a:cubicBezTo>
                    <a:pt x="65" y="14"/>
                    <a:pt x="64" y="12"/>
                    <a:pt x="61" y="12"/>
                  </a:cubicBezTo>
                  <a:cubicBezTo>
                    <a:pt x="60" y="12"/>
                    <a:pt x="56" y="13"/>
                    <a:pt x="55" y="14"/>
                  </a:cubicBezTo>
                  <a:cubicBezTo>
                    <a:pt x="55" y="14"/>
                    <a:pt x="55" y="15"/>
                    <a:pt x="54" y="16"/>
                  </a:cubicBezTo>
                  <a:cubicBezTo>
                    <a:pt x="52" y="17"/>
                    <a:pt x="50" y="16"/>
                    <a:pt x="49" y="15"/>
                  </a:cubicBezTo>
                  <a:cubicBezTo>
                    <a:pt x="48" y="15"/>
                    <a:pt x="47" y="15"/>
                    <a:pt x="46" y="14"/>
                  </a:cubicBezTo>
                  <a:cubicBezTo>
                    <a:pt x="45" y="13"/>
                    <a:pt x="45" y="12"/>
                    <a:pt x="44" y="11"/>
                  </a:cubicBezTo>
                  <a:cubicBezTo>
                    <a:pt x="44" y="10"/>
                    <a:pt x="43" y="10"/>
                    <a:pt x="43" y="8"/>
                  </a:cubicBezTo>
                  <a:cubicBezTo>
                    <a:pt x="44" y="7"/>
                    <a:pt x="44" y="6"/>
                    <a:pt x="44" y="5"/>
                  </a:cubicBezTo>
                  <a:cubicBezTo>
                    <a:pt x="42" y="5"/>
                    <a:pt x="40" y="5"/>
                    <a:pt x="38" y="5"/>
                  </a:cubicBezTo>
                  <a:cubicBezTo>
                    <a:pt x="35" y="6"/>
                    <a:pt x="34" y="7"/>
                    <a:pt x="31" y="8"/>
                  </a:cubicBezTo>
                  <a:cubicBezTo>
                    <a:pt x="29" y="9"/>
                    <a:pt x="28" y="10"/>
                    <a:pt x="27" y="13"/>
                  </a:cubicBezTo>
                  <a:cubicBezTo>
                    <a:pt x="27" y="13"/>
                    <a:pt x="26" y="14"/>
                    <a:pt x="26" y="14"/>
                  </a:cubicBezTo>
                  <a:cubicBezTo>
                    <a:pt x="25" y="14"/>
                    <a:pt x="25" y="15"/>
                    <a:pt x="24" y="15"/>
                  </a:cubicBezTo>
                  <a:cubicBezTo>
                    <a:pt x="23" y="16"/>
                    <a:pt x="23" y="16"/>
                    <a:pt x="22" y="16"/>
                  </a:cubicBezTo>
                  <a:cubicBezTo>
                    <a:pt x="21" y="17"/>
                    <a:pt x="20" y="16"/>
                    <a:pt x="19" y="17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5" y="20"/>
                    <a:pt x="13" y="21"/>
                    <a:pt x="11" y="22"/>
                  </a:cubicBezTo>
                  <a:cubicBezTo>
                    <a:pt x="10" y="22"/>
                    <a:pt x="8" y="22"/>
                    <a:pt x="7" y="22"/>
                  </a:cubicBezTo>
                  <a:cubicBezTo>
                    <a:pt x="5" y="22"/>
                    <a:pt x="6" y="23"/>
                    <a:pt x="5" y="23"/>
                  </a:cubicBezTo>
                  <a:cubicBezTo>
                    <a:pt x="3" y="25"/>
                    <a:pt x="1" y="26"/>
                    <a:pt x="0" y="28"/>
                  </a:cubicBezTo>
                  <a:cubicBezTo>
                    <a:pt x="1" y="28"/>
                    <a:pt x="1" y="29"/>
                    <a:pt x="2" y="29"/>
                  </a:cubicBezTo>
                  <a:cubicBezTo>
                    <a:pt x="2" y="29"/>
                    <a:pt x="3" y="32"/>
                    <a:pt x="3" y="32"/>
                  </a:cubicBezTo>
                  <a:cubicBezTo>
                    <a:pt x="4" y="33"/>
                    <a:pt x="4" y="32"/>
                    <a:pt x="4" y="3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8"/>
                    <a:pt x="3" y="42"/>
                    <a:pt x="3" y="45"/>
                  </a:cubicBezTo>
                  <a:cubicBezTo>
                    <a:pt x="4" y="49"/>
                    <a:pt x="5" y="51"/>
                    <a:pt x="8" y="54"/>
                  </a:cubicBezTo>
                  <a:cubicBezTo>
                    <a:pt x="12" y="57"/>
                    <a:pt x="14" y="61"/>
                    <a:pt x="19" y="60"/>
                  </a:cubicBezTo>
                  <a:cubicBezTo>
                    <a:pt x="23" y="60"/>
                    <a:pt x="27" y="56"/>
                    <a:pt x="31" y="56"/>
                  </a:cubicBezTo>
                  <a:cubicBezTo>
                    <a:pt x="36" y="55"/>
                    <a:pt x="40" y="59"/>
                    <a:pt x="42" y="63"/>
                  </a:cubicBezTo>
                  <a:cubicBezTo>
                    <a:pt x="42" y="64"/>
                    <a:pt x="43" y="65"/>
                    <a:pt x="43" y="66"/>
                  </a:cubicBezTo>
                  <a:cubicBezTo>
                    <a:pt x="43" y="68"/>
                    <a:pt x="40" y="69"/>
                    <a:pt x="39" y="71"/>
                  </a:cubicBezTo>
                  <a:cubicBezTo>
                    <a:pt x="39" y="75"/>
                    <a:pt x="46" y="81"/>
                    <a:pt x="50" y="81"/>
                  </a:cubicBezTo>
                  <a:cubicBezTo>
                    <a:pt x="53" y="82"/>
                    <a:pt x="58" y="80"/>
                    <a:pt x="60" y="84"/>
                  </a:cubicBezTo>
                  <a:cubicBezTo>
                    <a:pt x="61" y="85"/>
                    <a:pt x="60" y="87"/>
                    <a:pt x="61" y="89"/>
                  </a:cubicBezTo>
                  <a:cubicBezTo>
                    <a:pt x="61" y="92"/>
                    <a:pt x="64" y="94"/>
                    <a:pt x="68" y="94"/>
                  </a:cubicBezTo>
                  <a:cubicBezTo>
                    <a:pt x="70" y="94"/>
                    <a:pt x="72" y="92"/>
                    <a:pt x="75" y="92"/>
                  </a:cubicBezTo>
                  <a:cubicBezTo>
                    <a:pt x="76" y="93"/>
                    <a:pt x="78" y="94"/>
                    <a:pt x="79" y="95"/>
                  </a:cubicBezTo>
                  <a:cubicBezTo>
                    <a:pt x="82" y="96"/>
                    <a:pt x="88" y="97"/>
                    <a:pt x="87" y="101"/>
                  </a:cubicBezTo>
                  <a:cubicBezTo>
                    <a:pt x="87" y="105"/>
                    <a:pt x="84" y="102"/>
                    <a:pt x="83" y="105"/>
                  </a:cubicBezTo>
                  <a:cubicBezTo>
                    <a:pt x="82" y="105"/>
                    <a:pt x="82" y="110"/>
                    <a:pt x="83" y="110"/>
                  </a:cubicBezTo>
                  <a:cubicBezTo>
                    <a:pt x="84" y="112"/>
                    <a:pt x="86" y="110"/>
                    <a:pt x="88" y="111"/>
                  </a:cubicBezTo>
                  <a:cubicBezTo>
                    <a:pt x="90" y="113"/>
                    <a:pt x="90" y="120"/>
                    <a:pt x="91" y="122"/>
                  </a:cubicBezTo>
                  <a:cubicBezTo>
                    <a:pt x="92" y="126"/>
                    <a:pt x="92" y="125"/>
                    <a:pt x="95" y="127"/>
                  </a:cubicBezTo>
                  <a:cubicBezTo>
                    <a:pt x="97" y="129"/>
                    <a:pt x="96" y="129"/>
                    <a:pt x="99" y="130"/>
                  </a:cubicBezTo>
                  <a:cubicBezTo>
                    <a:pt x="102" y="131"/>
                    <a:pt x="106" y="128"/>
                    <a:pt x="109" y="126"/>
                  </a:cubicBezTo>
                  <a:cubicBezTo>
                    <a:pt x="110" y="125"/>
                    <a:pt x="113" y="124"/>
                    <a:pt x="114" y="123"/>
                  </a:cubicBezTo>
                  <a:cubicBezTo>
                    <a:pt x="115" y="121"/>
                    <a:pt x="114" y="118"/>
                    <a:pt x="114" y="116"/>
                  </a:cubicBezTo>
                  <a:cubicBezTo>
                    <a:pt x="115" y="115"/>
                    <a:pt x="117" y="113"/>
                    <a:pt x="119" y="112"/>
                  </a:cubicBezTo>
                  <a:cubicBezTo>
                    <a:pt x="121" y="112"/>
                    <a:pt x="122" y="113"/>
                    <a:pt x="124" y="114"/>
                  </a:cubicBezTo>
                  <a:cubicBezTo>
                    <a:pt x="127" y="117"/>
                    <a:pt x="124" y="119"/>
                    <a:pt x="123" y="122"/>
                  </a:cubicBezTo>
                  <a:cubicBezTo>
                    <a:pt x="122" y="124"/>
                    <a:pt x="123" y="126"/>
                    <a:pt x="123" y="127"/>
                  </a:cubicBezTo>
                  <a:cubicBezTo>
                    <a:pt x="123" y="132"/>
                    <a:pt x="124" y="136"/>
                    <a:pt x="125" y="141"/>
                  </a:cubicBezTo>
                  <a:cubicBezTo>
                    <a:pt x="134" y="141"/>
                    <a:pt x="139" y="148"/>
                    <a:pt x="147" y="151"/>
                  </a:cubicBezTo>
                  <a:cubicBezTo>
                    <a:pt x="149" y="152"/>
                    <a:pt x="151" y="151"/>
                    <a:pt x="152" y="153"/>
                  </a:cubicBezTo>
                  <a:cubicBezTo>
                    <a:pt x="153" y="154"/>
                    <a:pt x="153" y="156"/>
                    <a:pt x="153" y="157"/>
                  </a:cubicBezTo>
                  <a:cubicBezTo>
                    <a:pt x="154" y="159"/>
                    <a:pt x="159" y="167"/>
                    <a:pt x="163" y="165"/>
                  </a:cubicBezTo>
                  <a:cubicBezTo>
                    <a:pt x="164" y="164"/>
                    <a:pt x="165" y="162"/>
                    <a:pt x="167" y="162"/>
                  </a:cubicBezTo>
                  <a:cubicBezTo>
                    <a:pt x="168" y="161"/>
                    <a:pt x="170" y="161"/>
                    <a:pt x="171" y="161"/>
                  </a:cubicBezTo>
                  <a:cubicBezTo>
                    <a:pt x="174" y="161"/>
                    <a:pt x="176" y="162"/>
                    <a:pt x="177" y="162"/>
                  </a:cubicBezTo>
                  <a:cubicBezTo>
                    <a:pt x="178" y="161"/>
                    <a:pt x="178" y="159"/>
                    <a:pt x="179" y="158"/>
                  </a:cubicBezTo>
                  <a:cubicBezTo>
                    <a:pt x="179" y="156"/>
                    <a:pt x="180" y="154"/>
                    <a:pt x="179" y="152"/>
                  </a:cubicBezTo>
                  <a:cubicBezTo>
                    <a:pt x="178" y="151"/>
                    <a:pt x="178" y="151"/>
                    <a:pt x="176" y="151"/>
                  </a:cubicBezTo>
                  <a:cubicBezTo>
                    <a:pt x="174" y="151"/>
                    <a:pt x="173" y="151"/>
                    <a:pt x="171" y="149"/>
                  </a:cubicBezTo>
                  <a:cubicBezTo>
                    <a:pt x="168" y="146"/>
                    <a:pt x="171" y="144"/>
                    <a:pt x="171" y="141"/>
                  </a:cubicBezTo>
                  <a:cubicBezTo>
                    <a:pt x="172" y="140"/>
                    <a:pt x="171" y="139"/>
                    <a:pt x="171" y="139"/>
                  </a:cubicBezTo>
                  <a:cubicBezTo>
                    <a:pt x="171" y="138"/>
                    <a:pt x="171" y="137"/>
                    <a:pt x="171" y="136"/>
                  </a:cubicBezTo>
                  <a:cubicBezTo>
                    <a:pt x="171" y="135"/>
                    <a:pt x="170" y="134"/>
                    <a:pt x="171" y="133"/>
                  </a:cubicBezTo>
                  <a:cubicBezTo>
                    <a:pt x="171" y="133"/>
                    <a:pt x="172" y="132"/>
                    <a:pt x="172" y="131"/>
                  </a:cubicBezTo>
                  <a:cubicBezTo>
                    <a:pt x="173" y="129"/>
                    <a:pt x="172" y="129"/>
                    <a:pt x="174" y="128"/>
                  </a:cubicBezTo>
                  <a:cubicBezTo>
                    <a:pt x="175" y="128"/>
                    <a:pt x="176" y="128"/>
                    <a:pt x="177" y="127"/>
                  </a:cubicBezTo>
                  <a:cubicBezTo>
                    <a:pt x="180" y="125"/>
                    <a:pt x="178" y="122"/>
                    <a:pt x="179" y="119"/>
                  </a:cubicBezTo>
                  <a:cubicBezTo>
                    <a:pt x="180" y="118"/>
                    <a:pt x="181" y="118"/>
                    <a:pt x="182" y="117"/>
                  </a:cubicBezTo>
                  <a:cubicBezTo>
                    <a:pt x="183" y="116"/>
                    <a:pt x="184" y="115"/>
                    <a:pt x="185" y="114"/>
                  </a:cubicBezTo>
                  <a:cubicBezTo>
                    <a:pt x="185" y="114"/>
                    <a:pt x="186" y="111"/>
                    <a:pt x="187" y="110"/>
                  </a:cubicBezTo>
                  <a:cubicBezTo>
                    <a:pt x="187" y="110"/>
                    <a:pt x="189" y="110"/>
                    <a:pt x="189" y="110"/>
                  </a:cubicBezTo>
                  <a:cubicBezTo>
                    <a:pt x="191" y="110"/>
                    <a:pt x="192" y="111"/>
                    <a:pt x="193" y="111"/>
                  </a:cubicBezTo>
                  <a:cubicBezTo>
                    <a:pt x="194" y="111"/>
                    <a:pt x="195" y="111"/>
                    <a:pt x="196" y="111"/>
                  </a:cubicBezTo>
                  <a:cubicBezTo>
                    <a:pt x="196" y="111"/>
                    <a:pt x="196" y="110"/>
                    <a:pt x="196" y="110"/>
                  </a:cubicBezTo>
                  <a:cubicBezTo>
                    <a:pt x="197" y="109"/>
                    <a:pt x="198" y="108"/>
                    <a:pt x="198" y="106"/>
                  </a:cubicBezTo>
                  <a:cubicBezTo>
                    <a:pt x="198" y="106"/>
                    <a:pt x="198" y="106"/>
                    <a:pt x="198" y="105"/>
                  </a:cubicBezTo>
                  <a:cubicBezTo>
                    <a:pt x="198" y="103"/>
                    <a:pt x="200" y="102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2" y="98"/>
                    <a:pt x="204" y="97"/>
                    <a:pt x="205" y="95"/>
                  </a:cubicBezTo>
                  <a:cubicBezTo>
                    <a:pt x="206" y="93"/>
                    <a:pt x="206" y="92"/>
                    <a:pt x="207" y="91"/>
                  </a:cubicBezTo>
                  <a:cubicBezTo>
                    <a:pt x="207" y="89"/>
                    <a:pt x="208" y="87"/>
                    <a:pt x="207" y="8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9" name="Freeform 10">
              <a:extLst>
                <a:ext uri="{FF2B5EF4-FFF2-40B4-BE49-F238E27FC236}">
                  <a16:creationId xmlns:a16="http://schemas.microsoft.com/office/drawing/2014/main" id="{098B93B9-B8C3-4186-83EE-4E5045ABF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013" y="4519613"/>
              <a:ext cx="95250" cy="112713"/>
            </a:xfrm>
            <a:custGeom>
              <a:avLst/>
              <a:gdLst/>
              <a:ahLst/>
              <a:cxnLst>
                <a:cxn ang="0">
                  <a:pos x="29" y="15"/>
                </a:cxn>
                <a:cxn ang="0">
                  <a:pos x="28" y="11"/>
                </a:cxn>
                <a:cxn ang="0">
                  <a:pos x="27" y="6"/>
                </a:cxn>
                <a:cxn ang="0">
                  <a:pos x="28" y="0"/>
                </a:cxn>
                <a:cxn ang="0">
                  <a:pos x="28" y="1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7" y="4"/>
                </a:cxn>
                <a:cxn ang="0">
                  <a:pos x="14" y="7"/>
                </a:cxn>
                <a:cxn ang="0">
                  <a:pos x="11" y="9"/>
                </a:cxn>
                <a:cxn ang="0">
                  <a:pos x="9" y="17"/>
                </a:cxn>
                <a:cxn ang="0">
                  <a:pos x="6" y="18"/>
                </a:cxn>
                <a:cxn ang="0">
                  <a:pos x="4" y="21"/>
                </a:cxn>
                <a:cxn ang="0">
                  <a:pos x="3" y="23"/>
                </a:cxn>
                <a:cxn ang="0">
                  <a:pos x="3" y="26"/>
                </a:cxn>
                <a:cxn ang="0">
                  <a:pos x="3" y="29"/>
                </a:cxn>
                <a:cxn ang="0">
                  <a:pos x="3" y="31"/>
                </a:cxn>
                <a:cxn ang="0">
                  <a:pos x="3" y="39"/>
                </a:cxn>
                <a:cxn ang="0">
                  <a:pos x="8" y="41"/>
                </a:cxn>
                <a:cxn ang="0">
                  <a:pos x="11" y="42"/>
                </a:cxn>
                <a:cxn ang="0">
                  <a:pos x="11" y="48"/>
                </a:cxn>
                <a:cxn ang="0">
                  <a:pos x="9" y="52"/>
                </a:cxn>
                <a:cxn ang="0">
                  <a:pos x="14" y="54"/>
                </a:cxn>
                <a:cxn ang="0">
                  <a:pos x="26" y="57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9" y="46"/>
                </a:cxn>
                <a:cxn ang="0">
                  <a:pos x="42" y="42"/>
                </a:cxn>
                <a:cxn ang="0">
                  <a:pos x="44" y="38"/>
                </a:cxn>
                <a:cxn ang="0">
                  <a:pos x="51" y="35"/>
                </a:cxn>
                <a:cxn ang="0">
                  <a:pos x="48" y="33"/>
                </a:cxn>
                <a:cxn ang="0">
                  <a:pos x="43" y="32"/>
                </a:cxn>
                <a:cxn ang="0">
                  <a:pos x="39" y="28"/>
                </a:cxn>
                <a:cxn ang="0">
                  <a:pos x="37" y="25"/>
                </a:cxn>
                <a:cxn ang="0">
                  <a:pos x="34" y="24"/>
                </a:cxn>
                <a:cxn ang="0">
                  <a:pos x="32" y="20"/>
                </a:cxn>
                <a:cxn ang="0">
                  <a:pos x="29" y="15"/>
                </a:cxn>
              </a:cxnLst>
              <a:rect l="0" t="0" r="r" b="b"/>
              <a:pathLst>
                <a:path w="51" h="60">
                  <a:moveTo>
                    <a:pt x="29" y="15"/>
                  </a:moveTo>
                  <a:cubicBezTo>
                    <a:pt x="28" y="14"/>
                    <a:pt x="29" y="12"/>
                    <a:pt x="28" y="11"/>
                  </a:cubicBezTo>
                  <a:cubicBezTo>
                    <a:pt x="28" y="9"/>
                    <a:pt x="27" y="8"/>
                    <a:pt x="27" y="6"/>
                  </a:cubicBezTo>
                  <a:cubicBezTo>
                    <a:pt x="27" y="4"/>
                    <a:pt x="27" y="2"/>
                    <a:pt x="28" y="0"/>
                  </a:cubicBezTo>
                  <a:cubicBezTo>
                    <a:pt x="28" y="0"/>
                    <a:pt x="28" y="1"/>
                    <a:pt x="28" y="1"/>
                  </a:cubicBezTo>
                  <a:cubicBezTo>
                    <a:pt x="27" y="1"/>
                    <a:pt x="26" y="1"/>
                    <a:pt x="25" y="1"/>
                  </a:cubicBezTo>
                  <a:cubicBezTo>
                    <a:pt x="24" y="1"/>
                    <a:pt x="23" y="0"/>
                    <a:pt x="21" y="0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8" y="1"/>
                    <a:pt x="17" y="4"/>
                    <a:pt x="17" y="4"/>
                  </a:cubicBezTo>
                  <a:cubicBezTo>
                    <a:pt x="16" y="5"/>
                    <a:pt x="15" y="6"/>
                    <a:pt x="14" y="7"/>
                  </a:cubicBezTo>
                  <a:cubicBezTo>
                    <a:pt x="13" y="8"/>
                    <a:pt x="12" y="8"/>
                    <a:pt x="11" y="9"/>
                  </a:cubicBezTo>
                  <a:cubicBezTo>
                    <a:pt x="10" y="12"/>
                    <a:pt x="12" y="15"/>
                    <a:pt x="9" y="17"/>
                  </a:cubicBezTo>
                  <a:cubicBezTo>
                    <a:pt x="8" y="18"/>
                    <a:pt x="7" y="18"/>
                    <a:pt x="6" y="18"/>
                  </a:cubicBezTo>
                  <a:cubicBezTo>
                    <a:pt x="4" y="19"/>
                    <a:pt x="5" y="19"/>
                    <a:pt x="4" y="21"/>
                  </a:cubicBezTo>
                  <a:cubicBezTo>
                    <a:pt x="4" y="22"/>
                    <a:pt x="3" y="23"/>
                    <a:pt x="3" y="23"/>
                  </a:cubicBezTo>
                  <a:cubicBezTo>
                    <a:pt x="2" y="24"/>
                    <a:pt x="3" y="25"/>
                    <a:pt x="3" y="26"/>
                  </a:cubicBezTo>
                  <a:cubicBezTo>
                    <a:pt x="3" y="27"/>
                    <a:pt x="3" y="28"/>
                    <a:pt x="3" y="29"/>
                  </a:cubicBezTo>
                  <a:cubicBezTo>
                    <a:pt x="3" y="29"/>
                    <a:pt x="4" y="30"/>
                    <a:pt x="3" y="31"/>
                  </a:cubicBezTo>
                  <a:cubicBezTo>
                    <a:pt x="3" y="34"/>
                    <a:pt x="0" y="36"/>
                    <a:pt x="3" y="39"/>
                  </a:cubicBezTo>
                  <a:cubicBezTo>
                    <a:pt x="5" y="41"/>
                    <a:pt x="6" y="41"/>
                    <a:pt x="8" y="41"/>
                  </a:cubicBezTo>
                  <a:cubicBezTo>
                    <a:pt x="10" y="41"/>
                    <a:pt x="10" y="41"/>
                    <a:pt x="11" y="42"/>
                  </a:cubicBezTo>
                  <a:cubicBezTo>
                    <a:pt x="12" y="44"/>
                    <a:pt x="11" y="46"/>
                    <a:pt x="11" y="48"/>
                  </a:cubicBezTo>
                  <a:cubicBezTo>
                    <a:pt x="10" y="49"/>
                    <a:pt x="10" y="51"/>
                    <a:pt x="9" y="52"/>
                  </a:cubicBezTo>
                  <a:cubicBezTo>
                    <a:pt x="11" y="52"/>
                    <a:pt x="12" y="53"/>
                    <a:pt x="14" y="54"/>
                  </a:cubicBezTo>
                  <a:cubicBezTo>
                    <a:pt x="19" y="57"/>
                    <a:pt x="20" y="60"/>
                    <a:pt x="26" y="57"/>
                  </a:cubicBezTo>
                  <a:cubicBezTo>
                    <a:pt x="30" y="54"/>
                    <a:pt x="31" y="56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3"/>
                    <a:pt x="37" y="49"/>
                    <a:pt x="39" y="46"/>
                  </a:cubicBezTo>
                  <a:cubicBezTo>
                    <a:pt x="40" y="44"/>
                    <a:pt x="41" y="43"/>
                    <a:pt x="42" y="42"/>
                  </a:cubicBezTo>
                  <a:cubicBezTo>
                    <a:pt x="42" y="40"/>
                    <a:pt x="43" y="39"/>
                    <a:pt x="44" y="38"/>
                  </a:cubicBezTo>
                  <a:cubicBezTo>
                    <a:pt x="46" y="37"/>
                    <a:pt x="49" y="35"/>
                    <a:pt x="51" y="35"/>
                  </a:cubicBezTo>
                  <a:cubicBezTo>
                    <a:pt x="51" y="33"/>
                    <a:pt x="49" y="33"/>
                    <a:pt x="48" y="33"/>
                  </a:cubicBezTo>
                  <a:cubicBezTo>
                    <a:pt x="46" y="33"/>
                    <a:pt x="45" y="33"/>
                    <a:pt x="43" y="32"/>
                  </a:cubicBezTo>
                  <a:cubicBezTo>
                    <a:pt x="42" y="31"/>
                    <a:pt x="40" y="30"/>
                    <a:pt x="39" y="28"/>
                  </a:cubicBezTo>
                  <a:cubicBezTo>
                    <a:pt x="38" y="27"/>
                    <a:pt x="37" y="26"/>
                    <a:pt x="37" y="25"/>
                  </a:cubicBezTo>
                  <a:cubicBezTo>
                    <a:pt x="36" y="24"/>
                    <a:pt x="35" y="24"/>
                    <a:pt x="34" y="24"/>
                  </a:cubicBezTo>
                  <a:cubicBezTo>
                    <a:pt x="32" y="23"/>
                    <a:pt x="32" y="21"/>
                    <a:pt x="32" y="20"/>
                  </a:cubicBezTo>
                  <a:cubicBezTo>
                    <a:pt x="31" y="18"/>
                    <a:pt x="30" y="17"/>
                    <a:pt x="29" y="1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0" name="Freeform 11">
              <a:extLst>
                <a:ext uri="{FF2B5EF4-FFF2-40B4-BE49-F238E27FC236}">
                  <a16:creationId xmlns:a16="http://schemas.microsoft.com/office/drawing/2014/main" id="{CB53B10B-4E7E-47B6-99F4-98A8A8423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4000" y="4889500"/>
              <a:ext cx="452438" cy="293688"/>
            </a:xfrm>
            <a:custGeom>
              <a:avLst/>
              <a:gdLst/>
              <a:ahLst/>
              <a:cxnLst>
                <a:cxn ang="0">
                  <a:pos x="231" y="65"/>
                </a:cxn>
                <a:cxn ang="0">
                  <a:pos x="214" y="71"/>
                </a:cxn>
                <a:cxn ang="0">
                  <a:pos x="204" y="60"/>
                </a:cxn>
                <a:cxn ang="0">
                  <a:pos x="194" y="60"/>
                </a:cxn>
                <a:cxn ang="0">
                  <a:pos x="186" y="51"/>
                </a:cxn>
                <a:cxn ang="0">
                  <a:pos x="183" y="47"/>
                </a:cxn>
                <a:cxn ang="0">
                  <a:pos x="186" y="39"/>
                </a:cxn>
                <a:cxn ang="0">
                  <a:pos x="192" y="36"/>
                </a:cxn>
                <a:cxn ang="0">
                  <a:pos x="195" y="30"/>
                </a:cxn>
                <a:cxn ang="0">
                  <a:pos x="197" y="18"/>
                </a:cxn>
                <a:cxn ang="0">
                  <a:pos x="188" y="17"/>
                </a:cxn>
                <a:cxn ang="0">
                  <a:pos x="174" y="10"/>
                </a:cxn>
                <a:cxn ang="0">
                  <a:pos x="161" y="9"/>
                </a:cxn>
                <a:cxn ang="0">
                  <a:pos x="145" y="1"/>
                </a:cxn>
                <a:cxn ang="0">
                  <a:pos x="133" y="1"/>
                </a:cxn>
                <a:cxn ang="0">
                  <a:pos x="121" y="8"/>
                </a:cxn>
                <a:cxn ang="0">
                  <a:pos x="110" y="18"/>
                </a:cxn>
                <a:cxn ang="0">
                  <a:pos x="94" y="17"/>
                </a:cxn>
                <a:cxn ang="0">
                  <a:pos x="90" y="21"/>
                </a:cxn>
                <a:cxn ang="0">
                  <a:pos x="51" y="27"/>
                </a:cxn>
                <a:cxn ang="0">
                  <a:pos x="39" y="56"/>
                </a:cxn>
                <a:cxn ang="0">
                  <a:pos x="8" y="90"/>
                </a:cxn>
                <a:cxn ang="0">
                  <a:pos x="5" y="118"/>
                </a:cxn>
                <a:cxn ang="0">
                  <a:pos x="41" y="118"/>
                </a:cxn>
                <a:cxn ang="0">
                  <a:pos x="46" y="130"/>
                </a:cxn>
                <a:cxn ang="0">
                  <a:pos x="52" y="144"/>
                </a:cxn>
                <a:cxn ang="0">
                  <a:pos x="57" y="153"/>
                </a:cxn>
                <a:cxn ang="0">
                  <a:pos x="68" y="151"/>
                </a:cxn>
                <a:cxn ang="0">
                  <a:pos x="88" y="145"/>
                </a:cxn>
                <a:cxn ang="0">
                  <a:pos x="108" y="135"/>
                </a:cxn>
                <a:cxn ang="0">
                  <a:pos x="113" y="129"/>
                </a:cxn>
                <a:cxn ang="0">
                  <a:pos x="119" y="114"/>
                </a:cxn>
                <a:cxn ang="0">
                  <a:pos x="127" y="120"/>
                </a:cxn>
                <a:cxn ang="0">
                  <a:pos x="138" y="133"/>
                </a:cxn>
                <a:cxn ang="0">
                  <a:pos x="148" y="137"/>
                </a:cxn>
                <a:cxn ang="0">
                  <a:pos x="147" y="143"/>
                </a:cxn>
                <a:cxn ang="0">
                  <a:pos x="158" y="156"/>
                </a:cxn>
                <a:cxn ang="0">
                  <a:pos x="157" y="147"/>
                </a:cxn>
                <a:cxn ang="0">
                  <a:pos x="163" y="134"/>
                </a:cxn>
                <a:cxn ang="0">
                  <a:pos x="174" y="121"/>
                </a:cxn>
                <a:cxn ang="0">
                  <a:pos x="173" y="106"/>
                </a:cxn>
                <a:cxn ang="0">
                  <a:pos x="185" y="111"/>
                </a:cxn>
                <a:cxn ang="0">
                  <a:pos x="196" y="118"/>
                </a:cxn>
                <a:cxn ang="0">
                  <a:pos x="209" y="115"/>
                </a:cxn>
                <a:cxn ang="0">
                  <a:pos x="223" y="123"/>
                </a:cxn>
                <a:cxn ang="0">
                  <a:pos x="222" y="109"/>
                </a:cxn>
                <a:cxn ang="0">
                  <a:pos x="220" y="97"/>
                </a:cxn>
                <a:cxn ang="0">
                  <a:pos x="236" y="98"/>
                </a:cxn>
                <a:cxn ang="0">
                  <a:pos x="238" y="91"/>
                </a:cxn>
                <a:cxn ang="0">
                  <a:pos x="240" y="71"/>
                </a:cxn>
              </a:cxnLst>
              <a:rect l="0" t="0" r="r" b="b"/>
              <a:pathLst>
                <a:path w="242" h="157">
                  <a:moveTo>
                    <a:pt x="240" y="71"/>
                  </a:moveTo>
                  <a:cubicBezTo>
                    <a:pt x="240" y="69"/>
                    <a:pt x="240" y="67"/>
                    <a:pt x="238" y="65"/>
                  </a:cubicBezTo>
                  <a:cubicBezTo>
                    <a:pt x="237" y="64"/>
                    <a:pt x="234" y="62"/>
                    <a:pt x="233" y="62"/>
                  </a:cubicBezTo>
                  <a:cubicBezTo>
                    <a:pt x="232" y="63"/>
                    <a:pt x="232" y="64"/>
                    <a:pt x="231" y="65"/>
                  </a:cubicBezTo>
                  <a:cubicBezTo>
                    <a:pt x="230" y="65"/>
                    <a:pt x="229" y="65"/>
                    <a:pt x="228" y="66"/>
                  </a:cubicBezTo>
                  <a:cubicBezTo>
                    <a:pt x="226" y="67"/>
                    <a:pt x="227" y="69"/>
                    <a:pt x="226" y="70"/>
                  </a:cubicBezTo>
                  <a:cubicBezTo>
                    <a:pt x="225" y="72"/>
                    <a:pt x="225" y="73"/>
                    <a:pt x="222" y="73"/>
                  </a:cubicBezTo>
                  <a:cubicBezTo>
                    <a:pt x="219" y="73"/>
                    <a:pt x="217" y="72"/>
                    <a:pt x="214" y="71"/>
                  </a:cubicBezTo>
                  <a:cubicBezTo>
                    <a:pt x="213" y="71"/>
                    <a:pt x="212" y="70"/>
                    <a:pt x="212" y="69"/>
                  </a:cubicBezTo>
                  <a:cubicBezTo>
                    <a:pt x="211" y="69"/>
                    <a:pt x="210" y="69"/>
                    <a:pt x="210" y="68"/>
                  </a:cubicBezTo>
                  <a:cubicBezTo>
                    <a:pt x="208" y="67"/>
                    <a:pt x="208" y="66"/>
                    <a:pt x="208" y="64"/>
                  </a:cubicBezTo>
                  <a:cubicBezTo>
                    <a:pt x="208" y="61"/>
                    <a:pt x="206" y="61"/>
                    <a:pt x="204" y="60"/>
                  </a:cubicBezTo>
                  <a:cubicBezTo>
                    <a:pt x="204" y="60"/>
                    <a:pt x="204" y="60"/>
                    <a:pt x="203" y="59"/>
                  </a:cubicBezTo>
                  <a:cubicBezTo>
                    <a:pt x="203" y="59"/>
                    <a:pt x="202" y="59"/>
                    <a:pt x="201" y="59"/>
                  </a:cubicBezTo>
                  <a:cubicBezTo>
                    <a:pt x="200" y="60"/>
                    <a:pt x="200" y="60"/>
                    <a:pt x="198" y="60"/>
                  </a:cubicBezTo>
                  <a:cubicBezTo>
                    <a:pt x="197" y="60"/>
                    <a:pt x="195" y="60"/>
                    <a:pt x="194" y="60"/>
                  </a:cubicBezTo>
                  <a:cubicBezTo>
                    <a:pt x="193" y="60"/>
                    <a:pt x="192" y="60"/>
                    <a:pt x="191" y="60"/>
                  </a:cubicBezTo>
                  <a:cubicBezTo>
                    <a:pt x="190" y="60"/>
                    <a:pt x="189" y="60"/>
                    <a:pt x="188" y="60"/>
                  </a:cubicBezTo>
                  <a:cubicBezTo>
                    <a:pt x="185" y="59"/>
                    <a:pt x="183" y="60"/>
                    <a:pt x="183" y="57"/>
                  </a:cubicBezTo>
                  <a:cubicBezTo>
                    <a:pt x="182" y="53"/>
                    <a:pt x="184" y="53"/>
                    <a:pt x="186" y="51"/>
                  </a:cubicBezTo>
                  <a:cubicBezTo>
                    <a:pt x="186" y="51"/>
                    <a:pt x="187" y="51"/>
                    <a:pt x="187" y="50"/>
                  </a:cubicBezTo>
                  <a:cubicBezTo>
                    <a:pt x="187" y="50"/>
                    <a:pt x="186" y="50"/>
                    <a:pt x="186" y="50"/>
                  </a:cubicBezTo>
                  <a:cubicBezTo>
                    <a:pt x="185" y="50"/>
                    <a:pt x="185" y="50"/>
                    <a:pt x="184" y="49"/>
                  </a:cubicBezTo>
                  <a:cubicBezTo>
                    <a:pt x="183" y="49"/>
                    <a:pt x="183" y="48"/>
                    <a:pt x="183" y="47"/>
                  </a:cubicBezTo>
                  <a:cubicBezTo>
                    <a:pt x="183" y="47"/>
                    <a:pt x="183" y="46"/>
                    <a:pt x="183" y="45"/>
                  </a:cubicBezTo>
                  <a:cubicBezTo>
                    <a:pt x="183" y="44"/>
                    <a:pt x="184" y="44"/>
                    <a:pt x="184" y="43"/>
                  </a:cubicBezTo>
                  <a:cubicBezTo>
                    <a:pt x="184" y="42"/>
                    <a:pt x="185" y="42"/>
                    <a:pt x="185" y="41"/>
                  </a:cubicBezTo>
                  <a:cubicBezTo>
                    <a:pt x="186" y="40"/>
                    <a:pt x="186" y="40"/>
                    <a:pt x="186" y="39"/>
                  </a:cubicBezTo>
                  <a:cubicBezTo>
                    <a:pt x="187" y="38"/>
                    <a:pt x="187" y="38"/>
                    <a:pt x="188" y="38"/>
                  </a:cubicBezTo>
                  <a:cubicBezTo>
                    <a:pt x="188" y="37"/>
                    <a:pt x="189" y="37"/>
                    <a:pt x="189" y="36"/>
                  </a:cubicBezTo>
                  <a:cubicBezTo>
                    <a:pt x="189" y="36"/>
                    <a:pt x="192" y="35"/>
                    <a:pt x="192" y="35"/>
                  </a:cubicBezTo>
                  <a:cubicBezTo>
                    <a:pt x="192" y="36"/>
                    <a:pt x="192" y="36"/>
                    <a:pt x="192" y="36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4" y="36"/>
                    <a:pt x="196" y="36"/>
                    <a:pt x="196" y="35"/>
                  </a:cubicBezTo>
                  <a:cubicBezTo>
                    <a:pt x="197" y="34"/>
                    <a:pt x="196" y="33"/>
                    <a:pt x="196" y="33"/>
                  </a:cubicBezTo>
                  <a:cubicBezTo>
                    <a:pt x="195" y="32"/>
                    <a:pt x="195" y="31"/>
                    <a:pt x="195" y="30"/>
                  </a:cubicBezTo>
                  <a:cubicBezTo>
                    <a:pt x="195" y="28"/>
                    <a:pt x="195" y="26"/>
                    <a:pt x="195" y="24"/>
                  </a:cubicBezTo>
                  <a:cubicBezTo>
                    <a:pt x="195" y="23"/>
                    <a:pt x="196" y="22"/>
                    <a:pt x="196" y="20"/>
                  </a:cubicBezTo>
                  <a:cubicBezTo>
                    <a:pt x="197" y="19"/>
                    <a:pt x="198" y="19"/>
                    <a:pt x="198" y="18"/>
                  </a:cubicBezTo>
                  <a:cubicBezTo>
                    <a:pt x="198" y="18"/>
                    <a:pt x="197" y="18"/>
                    <a:pt x="197" y="18"/>
                  </a:cubicBezTo>
                  <a:cubicBezTo>
                    <a:pt x="196" y="18"/>
                    <a:pt x="195" y="18"/>
                    <a:pt x="195" y="18"/>
                  </a:cubicBezTo>
                  <a:cubicBezTo>
                    <a:pt x="195" y="18"/>
                    <a:pt x="195" y="17"/>
                    <a:pt x="194" y="17"/>
                  </a:cubicBezTo>
                  <a:cubicBezTo>
                    <a:pt x="193" y="17"/>
                    <a:pt x="191" y="17"/>
                    <a:pt x="190" y="17"/>
                  </a:cubicBezTo>
                  <a:cubicBezTo>
                    <a:pt x="189" y="17"/>
                    <a:pt x="189" y="17"/>
                    <a:pt x="188" y="17"/>
                  </a:cubicBezTo>
                  <a:cubicBezTo>
                    <a:pt x="186" y="16"/>
                    <a:pt x="184" y="16"/>
                    <a:pt x="182" y="15"/>
                  </a:cubicBezTo>
                  <a:cubicBezTo>
                    <a:pt x="181" y="15"/>
                    <a:pt x="180" y="15"/>
                    <a:pt x="179" y="13"/>
                  </a:cubicBezTo>
                  <a:cubicBezTo>
                    <a:pt x="178" y="13"/>
                    <a:pt x="178" y="13"/>
                    <a:pt x="178" y="12"/>
                  </a:cubicBezTo>
                  <a:cubicBezTo>
                    <a:pt x="177" y="12"/>
                    <a:pt x="175" y="11"/>
                    <a:pt x="174" y="10"/>
                  </a:cubicBezTo>
                  <a:cubicBezTo>
                    <a:pt x="173" y="10"/>
                    <a:pt x="172" y="9"/>
                    <a:pt x="171" y="8"/>
                  </a:cubicBezTo>
                  <a:cubicBezTo>
                    <a:pt x="170" y="7"/>
                    <a:pt x="171" y="7"/>
                    <a:pt x="169" y="7"/>
                  </a:cubicBezTo>
                  <a:cubicBezTo>
                    <a:pt x="168" y="7"/>
                    <a:pt x="167" y="7"/>
                    <a:pt x="166" y="8"/>
                  </a:cubicBezTo>
                  <a:cubicBezTo>
                    <a:pt x="164" y="8"/>
                    <a:pt x="163" y="9"/>
                    <a:pt x="161" y="9"/>
                  </a:cubicBezTo>
                  <a:cubicBezTo>
                    <a:pt x="159" y="9"/>
                    <a:pt x="157" y="8"/>
                    <a:pt x="155" y="7"/>
                  </a:cubicBezTo>
                  <a:cubicBezTo>
                    <a:pt x="154" y="6"/>
                    <a:pt x="154" y="5"/>
                    <a:pt x="153" y="5"/>
                  </a:cubicBezTo>
                  <a:cubicBezTo>
                    <a:pt x="152" y="4"/>
                    <a:pt x="149" y="3"/>
                    <a:pt x="147" y="2"/>
                  </a:cubicBezTo>
                  <a:cubicBezTo>
                    <a:pt x="147" y="1"/>
                    <a:pt x="146" y="1"/>
                    <a:pt x="145" y="1"/>
                  </a:cubicBezTo>
                  <a:cubicBezTo>
                    <a:pt x="145" y="1"/>
                    <a:pt x="144" y="1"/>
                    <a:pt x="143" y="1"/>
                  </a:cubicBezTo>
                  <a:cubicBezTo>
                    <a:pt x="143" y="1"/>
                    <a:pt x="142" y="0"/>
                    <a:pt x="141" y="0"/>
                  </a:cubicBezTo>
                  <a:cubicBezTo>
                    <a:pt x="141" y="0"/>
                    <a:pt x="140" y="0"/>
                    <a:pt x="139" y="0"/>
                  </a:cubicBezTo>
                  <a:cubicBezTo>
                    <a:pt x="137" y="0"/>
                    <a:pt x="134" y="0"/>
                    <a:pt x="133" y="1"/>
                  </a:cubicBezTo>
                  <a:cubicBezTo>
                    <a:pt x="131" y="3"/>
                    <a:pt x="129" y="6"/>
                    <a:pt x="129" y="8"/>
                  </a:cubicBezTo>
                  <a:cubicBezTo>
                    <a:pt x="129" y="11"/>
                    <a:pt x="129" y="14"/>
                    <a:pt x="126" y="14"/>
                  </a:cubicBezTo>
                  <a:cubicBezTo>
                    <a:pt x="124" y="14"/>
                    <a:pt x="124" y="13"/>
                    <a:pt x="123" y="12"/>
                  </a:cubicBezTo>
                  <a:cubicBezTo>
                    <a:pt x="122" y="11"/>
                    <a:pt x="123" y="9"/>
                    <a:pt x="121" y="8"/>
                  </a:cubicBezTo>
                  <a:cubicBezTo>
                    <a:pt x="120" y="8"/>
                    <a:pt x="119" y="10"/>
                    <a:pt x="118" y="11"/>
                  </a:cubicBezTo>
                  <a:cubicBezTo>
                    <a:pt x="118" y="12"/>
                    <a:pt x="118" y="12"/>
                    <a:pt x="118" y="13"/>
                  </a:cubicBezTo>
                  <a:cubicBezTo>
                    <a:pt x="118" y="15"/>
                    <a:pt x="117" y="15"/>
                    <a:pt x="116" y="15"/>
                  </a:cubicBezTo>
                  <a:cubicBezTo>
                    <a:pt x="114" y="16"/>
                    <a:pt x="113" y="18"/>
                    <a:pt x="110" y="18"/>
                  </a:cubicBezTo>
                  <a:cubicBezTo>
                    <a:pt x="110" y="18"/>
                    <a:pt x="109" y="17"/>
                    <a:pt x="108" y="17"/>
                  </a:cubicBezTo>
                  <a:cubicBezTo>
                    <a:pt x="107" y="17"/>
                    <a:pt x="105" y="17"/>
                    <a:pt x="104" y="18"/>
                  </a:cubicBezTo>
                  <a:cubicBezTo>
                    <a:pt x="102" y="19"/>
                    <a:pt x="100" y="19"/>
                    <a:pt x="97" y="18"/>
                  </a:cubicBezTo>
                  <a:cubicBezTo>
                    <a:pt x="96" y="18"/>
                    <a:pt x="95" y="18"/>
                    <a:pt x="94" y="17"/>
                  </a:cubicBezTo>
                  <a:cubicBezTo>
                    <a:pt x="94" y="17"/>
                    <a:pt x="94" y="17"/>
                    <a:pt x="93" y="17"/>
                  </a:cubicBezTo>
                  <a:cubicBezTo>
                    <a:pt x="93" y="16"/>
                    <a:pt x="93" y="16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7"/>
                    <a:pt x="93" y="19"/>
                    <a:pt x="90" y="21"/>
                  </a:cubicBezTo>
                  <a:cubicBezTo>
                    <a:pt x="87" y="23"/>
                    <a:pt x="83" y="25"/>
                    <a:pt x="80" y="26"/>
                  </a:cubicBezTo>
                  <a:cubicBezTo>
                    <a:pt x="78" y="27"/>
                    <a:pt x="77" y="27"/>
                    <a:pt x="75" y="27"/>
                  </a:cubicBezTo>
                  <a:cubicBezTo>
                    <a:pt x="69" y="27"/>
                    <a:pt x="64" y="30"/>
                    <a:pt x="58" y="29"/>
                  </a:cubicBezTo>
                  <a:cubicBezTo>
                    <a:pt x="56" y="28"/>
                    <a:pt x="54" y="27"/>
                    <a:pt x="51" y="27"/>
                  </a:cubicBezTo>
                  <a:cubicBezTo>
                    <a:pt x="40" y="28"/>
                    <a:pt x="58" y="37"/>
                    <a:pt x="52" y="42"/>
                  </a:cubicBezTo>
                  <a:cubicBezTo>
                    <a:pt x="50" y="44"/>
                    <a:pt x="49" y="43"/>
                    <a:pt x="47" y="44"/>
                  </a:cubicBezTo>
                  <a:cubicBezTo>
                    <a:pt x="47" y="45"/>
                    <a:pt x="46" y="47"/>
                    <a:pt x="46" y="47"/>
                  </a:cubicBezTo>
                  <a:cubicBezTo>
                    <a:pt x="44" y="51"/>
                    <a:pt x="42" y="53"/>
                    <a:pt x="39" y="56"/>
                  </a:cubicBezTo>
                  <a:cubicBezTo>
                    <a:pt x="34" y="62"/>
                    <a:pt x="30" y="69"/>
                    <a:pt x="23" y="74"/>
                  </a:cubicBezTo>
                  <a:cubicBezTo>
                    <a:pt x="22" y="75"/>
                    <a:pt x="20" y="76"/>
                    <a:pt x="19" y="78"/>
                  </a:cubicBezTo>
                  <a:cubicBezTo>
                    <a:pt x="17" y="80"/>
                    <a:pt x="17" y="82"/>
                    <a:pt x="15" y="83"/>
                  </a:cubicBezTo>
                  <a:cubicBezTo>
                    <a:pt x="13" y="86"/>
                    <a:pt x="11" y="88"/>
                    <a:pt x="8" y="90"/>
                  </a:cubicBezTo>
                  <a:cubicBezTo>
                    <a:pt x="6" y="93"/>
                    <a:pt x="6" y="95"/>
                    <a:pt x="6" y="98"/>
                  </a:cubicBezTo>
                  <a:cubicBezTo>
                    <a:pt x="6" y="100"/>
                    <a:pt x="7" y="104"/>
                    <a:pt x="6" y="105"/>
                  </a:cubicBezTo>
                  <a:cubicBezTo>
                    <a:pt x="5" y="107"/>
                    <a:pt x="3" y="106"/>
                    <a:pt x="2" y="108"/>
                  </a:cubicBezTo>
                  <a:cubicBezTo>
                    <a:pt x="0" y="111"/>
                    <a:pt x="3" y="117"/>
                    <a:pt x="5" y="118"/>
                  </a:cubicBezTo>
                  <a:cubicBezTo>
                    <a:pt x="8" y="119"/>
                    <a:pt x="11" y="118"/>
                    <a:pt x="13" y="117"/>
                  </a:cubicBezTo>
                  <a:cubicBezTo>
                    <a:pt x="18" y="115"/>
                    <a:pt x="22" y="112"/>
                    <a:pt x="27" y="112"/>
                  </a:cubicBezTo>
                  <a:cubicBezTo>
                    <a:pt x="31" y="112"/>
                    <a:pt x="35" y="115"/>
                    <a:pt x="38" y="117"/>
                  </a:cubicBezTo>
                  <a:cubicBezTo>
                    <a:pt x="38" y="117"/>
                    <a:pt x="40" y="118"/>
                    <a:pt x="41" y="118"/>
                  </a:cubicBezTo>
                  <a:cubicBezTo>
                    <a:pt x="42" y="118"/>
                    <a:pt x="43" y="119"/>
                    <a:pt x="44" y="119"/>
                  </a:cubicBezTo>
                  <a:cubicBezTo>
                    <a:pt x="45" y="121"/>
                    <a:pt x="44" y="123"/>
                    <a:pt x="45" y="125"/>
                  </a:cubicBezTo>
                  <a:cubicBezTo>
                    <a:pt x="45" y="125"/>
                    <a:pt x="46" y="126"/>
                    <a:pt x="46" y="126"/>
                  </a:cubicBezTo>
                  <a:cubicBezTo>
                    <a:pt x="46" y="127"/>
                    <a:pt x="46" y="129"/>
                    <a:pt x="46" y="130"/>
                  </a:cubicBezTo>
                  <a:cubicBezTo>
                    <a:pt x="46" y="132"/>
                    <a:pt x="46" y="134"/>
                    <a:pt x="47" y="136"/>
                  </a:cubicBezTo>
                  <a:cubicBezTo>
                    <a:pt x="47" y="137"/>
                    <a:pt x="48" y="138"/>
                    <a:pt x="49" y="139"/>
                  </a:cubicBezTo>
                  <a:cubicBezTo>
                    <a:pt x="49" y="140"/>
                    <a:pt x="50" y="141"/>
                    <a:pt x="50" y="141"/>
                  </a:cubicBezTo>
                  <a:cubicBezTo>
                    <a:pt x="51" y="143"/>
                    <a:pt x="51" y="143"/>
                    <a:pt x="52" y="144"/>
                  </a:cubicBezTo>
                  <a:cubicBezTo>
                    <a:pt x="52" y="145"/>
                    <a:pt x="53" y="145"/>
                    <a:pt x="53" y="147"/>
                  </a:cubicBezTo>
                  <a:cubicBezTo>
                    <a:pt x="53" y="147"/>
                    <a:pt x="53" y="149"/>
                    <a:pt x="53" y="150"/>
                  </a:cubicBezTo>
                  <a:cubicBezTo>
                    <a:pt x="53" y="151"/>
                    <a:pt x="51" y="152"/>
                    <a:pt x="51" y="153"/>
                  </a:cubicBezTo>
                  <a:cubicBezTo>
                    <a:pt x="53" y="154"/>
                    <a:pt x="55" y="153"/>
                    <a:pt x="57" y="153"/>
                  </a:cubicBezTo>
                  <a:cubicBezTo>
                    <a:pt x="58" y="153"/>
                    <a:pt x="59" y="154"/>
                    <a:pt x="60" y="154"/>
                  </a:cubicBezTo>
                  <a:cubicBezTo>
                    <a:pt x="61" y="154"/>
                    <a:pt x="62" y="154"/>
                    <a:pt x="63" y="153"/>
                  </a:cubicBezTo>
                  <a:cubicBezTo>
                    <a:pt x="63" y="153"/>
                    <a:pt x="65" y="153"/>
                    <a:pt x="66" y="153"/>
                  </a:cubicBezTo>
                  <a:cubicBezTo>
                    <a:pt x="67" y="152"/>
                    <a:pt x="67" y="151"/>
                    <a:pt x="68" y="151"/>
                  </a:cubicBezTo>
                  <a:cubicBezTo>
                    <a:pt x="71" y="150"/>
                    <a:pt x="74" y="150"/>
                    <a:pt x="77" y="149"/>
                  </a:cubicBezTo>
                  <a:cubicBezTo>
                    <a:pt x="79" y="149"/>
                    <a:pt x="80" y="148"/>
                    <a:pt x="81" y="147"/>
                  </a:cubicBezTo>
                  <a:cubicBezTo>
                    <a:pt x="82" y="145"/>
                    <a:pt x="82" y="144"/>
                    <a:pt x="84" y="143"/>
                  </a:cubicBezTo>
                  <a:cubicBezTo>
                    <a:pt x="85" y="143"/>
                    <a:pt x="86" y="144"/>
                    <a:pt x="88" y="145"/>
                  </a:cubicBezTo>
                  <a:cubicBezTo>
                    <a:pt x="91" y="146"/>
                    <a:pt x="95" y="149"/>
                    <a:pt x="99" y="147"/>
                  </a:cubicBezTo>
                  <a:cubicBezTo>
                    <a:pt x="100" y="146"/>
                    <a:pt x="100" y="145"/>
                    <a:pt x="102" y="144"/>
                  </a:cubicBezTo>
                  <a:cubicBezTo>
                    <a:pt x="103" y="143"/>
                    <a:pt x="105" y="142"/>
                    <a:pt x="105" y="140"/>
                  </a:cubicBezTo>
                  <a:cubicBezTo>
                    <a:pt x="106" y="139"/>
                    <a:pt x="106" y="136"/>
                    <a:pt x="108" y="135"/>
                  </a:cubicBezTo>
                  <a:cubicBezTo>
                    <a:pt x="109" y="135"/>
                    <a:pt x="110" y="135"/>
                    <a:pt x="110" y="135"/>
                  </a:cubicBezTo>
                  <a:cubicBezTo>
                    <a:pt x="110" y="135"/>
                    <a:pt x="111" y="134"/>
                    <a:pt x="111" y="134"/>
                  </a:cubicBezTo>
                  <a:cubicBezTo>
                    <a:pt x="113" y="133"/>
                    <a:pt x="113" y="133"/>
                    <a:pt x="113" y="132"/>
                  </a:cubicBezTo>
                  <a:cubicBezTo>
                    <a:pt x="113" y="131"/>
                    <a:pt x="113" y="130"/>
                    <a:pt x="113" y="129"/>
                  </a:cubicBezTo>
                  <a:cubicBezTo>
                    <a:pt x="112" y="127"/>
                    <a:pt x="111" y="128"/>
                    <a:pt x="110" y="127"/>
                  </a:cubicBezTo>
                  <a:cubicBezTo>
                    <a:pt x="109" y="125"/>
                    <a:pt x="109" y="123"/>
                    <a:pt x="111" y="122"/>
                  </a:cubicBezTo>
                  <a:cubicBezTo>
                    <a:pt x="113" y="120"/>
                    <a:pt x="115" y="120"/>
                    <a:pt x="117" y="119"/>
                  </a:cubicBezTo>
                  <a:cubicBezTo>
                    <a:pt x="118" y="118"/>
                    <a:pt x="119" y="116"/>
                    <a:pt x="119" y="114"/>
                  </a:cubicBezTo>
                  <a:cubicBezTo>
                    <a:pt x="120" y="112"/>
                    <a:pt x="120" y="109"/>
                    <a:pt x="123" y="110"/>
                  </a:cubicBezTo>
                  <a:cubicBezTo>
                    <a:pt x="125" y="111"/>
                    <a:pt x="127" y="113"/>
                    <a:pt x="127" y="115"/>
                  </a:cubicBezTo>
                  <a:cubicBezTo>
                    <a:pt x="127" y="116"/>
                    <a:pt x="127" y="117"/>
                    <a:pt x="127" y="118"/>
                  </a:cubicBezTo>
                  <a:cubicBezTo>
                    <a:pt x="127" y="118"/>
                    <a:pt x="127" y="120"/>
                    <a:pt x="127" y="120"/>
                  </a:cubicBezTo>
                  <a:cubicBezTo>
                    <a:pt x="127" y="121"/>
                    <a:pt x="128" y="121"/>
                    <a:pt x="128" y="122"/>
                  </a:cubicBezTo>
                  <a:cubicBezTo>
                    <a:pt x="129" y="123"/>
                    <a:pt x="130" y="124"/>
                    <a:pt x="131" y="125"/>
                  </a:cubicBezTo>
                  <a:cubicBezTo>
                    <a:pt x="132" y="126"/>
                    <a:pt x="133" y="128"/>
                    <a:pt x="134" y="130"/>
                  </a:cubicBezTo>
                  <a:cubicBezTo>
                    <a:pt x="135" y="132"/>
                    <a:pt x="136" y="133"/>
                    <a:pt x="138" y="133"/>
                  </a:cubicBezTo>
                  <a:cubicBezTo>
                    <a:pt x="139" y="134"/>
                    <a:pt x="140" y="134"/>
                    <a:pt x="141" y="134"/>
                  </a:cubicBezTo>
                  <a:cubicBezTo>
                    <a:pt x="142" y="134"/>
                    <a:pt x="142" y="135"/>
                    <a:pt x="142" y="135"/>
                  </a:cubicBezTo>
                  <a:cubicBezTo>
                    <a:pt x="143" y="135"/>
                    <a:pt x="144" y="135"/>
                    <a:pt x="144" y="135"/>
                  </a:cubicBezTo>
                  <a:cubicBezTo>
                    <a:pt x="146" y="135"/>
                    <a:pt x="147" y="136"/>
                    <a:pt x="148" y="137"/>
                  </a:cubicBezTo>
                  <a:cubicBezTo>
                    <a:pt x="149" y="137"/>
                    <a:pt x="149" y="137"/>
                    <a:pt x="150" y="138"/>
                  </a:cubicBezTo>
                  <a:cubicBezTo>
                    <a:pt x="150" y="139"/>
                    <a:pt x="148" y="140"/>
                    <a:pt x="148" y="141"/>
                  </a:cubicBezTo>
                  <a:cubicBezTo>
                    <a:pt x="148" y="141"/>
                    <a:pt x="148" y="142"/>
                    <a:pt x="148" y="142"/>
                  </a:cubicBezTo>
                  <a:cubicBezTo>
                    <a:pt x="148" y="142"/>
                    <a:pt x="147" y="143"/>
                    <a:pt x="147" y="143"/>
                  </a:cubicBezTo>
                  <a:cubicBezTo>
                    <a:pt x="147" y="143"/>
                    <a:pt x="147" y="144"/>
                    <a:pt x="147" y="145"/>
                  </a:cubicBezTo>
                  <a:cubicBezTo>
                    <a:pt x="149" y="145"/>
                    <a:pt x="151" y="145"/>
                    <a:pt x="152" y="147"/>
                  </a:cubicBezTo>
                  <a:cubicBezTo>
                    <a:pt x="153" y="149"/>
                    <a:pt x="153" y="152"/>
                    <a:pt x="153" y="154"/>
                  </a:cubicBezTo>
                  <a:cubicBezTo>
                    <a:pt x="154" y="156"/>
                    <a:pt x="157" y="156"/>
                    <a:pt x="158" y="156"/>
                  </a:cubicBezTo>
                  <a:cubicBezTo>
                    <a:pt x="161" y="157"/>
                    <a:pt x="162" y="156"/>
                    <a:pt x="163" y="153"/>
                  </a:cubicBezTo>
                  <a:cubicBezTo>
                    <a:pt x="163" y="152"/>
                    <a:pt x="164" y="151"/>
                    <a:pt x="162" y="150"/>
                  </a:cubicBezTo>
                  <a:cubicBezTo>
                    <a:pt x="162" y="149"/>
                    <a:pt x="161" y="149"/>
                    <a:pt x="160" y="148"/>
                  </a:cubicBezTo>
                  <a:cubicBezTo>
                    <a:pt x="160" y="148"/>
                    <a:pt x="158" y="148"/>
                    <a:pt x="157" y="147"/>
                  </a:cubicBezTo>
                  <a:cubicBezTo>
                    <a:pt x="157" y="147"/>
                    <a:pt x="157" y="144"/>
                    <a:pt x="157" y="143"/>
                  </a:cubicBezTo>
                  <a:cubicBezTo>
                    <a:pt x="158" y="143"/>
                    <a:pt x="159" y="142"/>
                    <a:pt x="159" y="141"/>
                  </a:cubicBezTo>
                  <a:cubicBezTo>
                    <a:pt x="160" y="140"/>
                    <a:pt x="160" y="140"/>
                    <a:pt x="160" y="139"/>
                  </a:cubicBezTo>
                  <a:cubicBezTo>
                    <a:pt x="161" y="137"/>
                    <a:pt x="163" y="136"/>
                    <a:pt x="163" y="134"/>
                  </a:cubicBezTo>
                  <a:cubicBezTo>
                    <a:pt x="164" y="132"/>
                    <a:pt x="164" y="130"/>
                    <a:pt x="166" y="129"/>
                  </a:cubicBezTo>
                  <a:cubicBezTo>
                    <a:pt x="168" y="128"/>
                    <a:pt x="169" y="127"/>
                    <a:pt x="171" y="126"/>
                  </a:cubicBezTo>
                  <a:cubicBezTo>
                    <a:pt x="171" y="125"/>
                    <a:pt x="171" y="125"/>
                    <a:pt x="172" y="124"/>
                  </a:cubicBezTo>
                  <a:cubicBezTo>
                    <a:pt x="173" y="123"/>
                    <a:pt x="174" y="122"/>
                    <a:pt x="174" y="121"/>
                  </a:cubicBezTo>
                  <a:cubicBezTo>
                    <a:pt x="175" y="120"/>
                    <a:pt x="175" y="118"/>
                    <a:pt x="175" y="117"/>
                  </a:cubicBezTo>
                  <a:cubicBezTo>
                    <a:pt x="174" y="116"/>
                    <a:pt x="174" y="115"/>
                    <a:pt x="173" y="114"/>
                  </a:cubicBezTo>
                  <a:cubicBezTo>
                    <a:pt x="172" y="113"/>
                    <a:pt x="171" y="110"/>
                    <a:pt x="172" y="108"/>
                  </a:cubicBezTo>
                  <a:cubicBezTo>
                    <a:pt x="172" y="108"/>
                    <a:pt x="173" y="107"/>
                    <a:pt x="173" y="106"/>
                  </a:cubicBezTo>
                  <a:cubicBezTo>
                    <a:pt x="174" y="106"/>
                    <a:pt x="175" y="105"/>
                    <a:pt x="175" y="105"/>
                  </a:cubicBezTo>
                  <a:cubicBezTo>
                    <a:pt x="176" y="104"/>
                    <a:pt x="180" y="104"/>
                    <a:pt x="181" y="105"/>
                  </a:cubicBezTo>
                  <a:cubicBezTo>
                    <a:pt x="181" y="105"/>
                    <a:pt x="183" y="107"/>
                    <a:pt x="183" y="107"/>
                  </a:cubicBezTo>
                  <a:cubicBezTo>
                    <a:pt x="184" y="109"/>
                    <a:pt x="184" y="110"/>
                    <a:pt x="185" y="111"/>
                  </a:cubicBezTo>
                  <a:cubicBezTo>
                    <a:pt x="185" y="112"/>
                    <a:pt x="185" y="114"/>
                    <a:pt x="185" y="115"/>
                  </a:cubicBezTo>
                  <a:cubicBezTo>
                    <a:pt x="186" y="117"/>
                    <a:pt x="187" y="117"/>
                    <a:pt x="189" y="117"/>
                  </a:cubicBezTo>
                  <a:cubicBezTo>
                    <a:pt x="190" y="118"/>
                    <a:pt x="192" y="119"/>
                    <a:pt x="194" y="119"/>
                  </a:cubicBezTo>
                  <a:cubicBezTo>
                    <a:pt x="195" y="118"/>
                    <a:pt x="195" y="118"/>
                    <a:pt x="196" y="118"/>
                  </a:cubicBezTo>
                  <a:cubicBezTo>
                    <a:pt x="197" y="118"/>
                    <a:pt x="198" y="118"/>
                    <a:pt x="198" y="118"/>
                  </a:cubicBezTo>
                  <a:cubicBezTo>
                    <a:pt x="199" y="117"/>
                    <a:pt x="199" y="116"/>
                    <a:pt x="200" y="116"/>
                  </a:cubicBezTo>
                  <a:cubicBezTo>
                    <a:pt x="201" y="115"/>
                    <a:pt x="202" y="115"/>
                    <a:pt x="203" y="115"/>
                  </a:cubicBezTo>
                  <a:cubicBezTo>
                    <a:pt x="205" y="115"/>
                    <a:pt x="207" y="115"/>
                    <a:pt x="209" y="115"/>
                  </a:cubicBezTo>
                  <a:cubicBezTo>
                    <a:pt x="210" y="115"/>
                    <a:pt x="212" y="114"/>
                    <a:pt x="213" y="115"/>
                  </a:cubicBezTo>
                  <a:cubicBezTo>
                    <a:pt x="214" y="115"/>
                    <a:pt x="214" y="118"/>
                    <a:pt x="214" y="118"/>
                  </a:cubicBezTo>
                  <a:cubicBezTo>
                    <a:pt x="215" y="119"/>
                    <a:pt x="215" y="120"/>
                    <a:pt x="216" y="121"/>
                  </a:cubicBezTo>
                  <a:cubicBezTo>
                    <a:pt x="218" y="122"/>
                    <a:pt x="220" y="123"/>
                    <a:pt x="223" y="123"/>
                  </a:cubicBezTo>
                  <a:cubicBezTo>
                    <a:pt x="223" y="121"/>
                    <a:pt x="222" y="120"/>
                    <a:pt x="221" y="118"/>
                  </a:cubicBezTo>
                  <a:cubicBezTo>
                    <a:pt x="221" y="117"/>
                    <a:pt x="220" y="117"/>
                    <a:pt x="220" y="116"/>
                  </a:cubicBezTo>
                  <a:cubicBezTo>
                    <a:pt x="221" y="115"/>
                    <a:pt x="221" y="115"/>
                    <a:pt x="222" y="114"/>
                  </a:cubicBezTo>
                  <a:cubicBezTo>
                    <a:pt x="222" y="113"/>
                    <a:pt x="224" y="110"/>
                    <a:pt x="222" y="109"/>
                  </a:cubicBezTo>
                  <a:cubicBezTo>
                    <a:pt x="221" y="108"/>
                    <a:pt x="219" y="109"/>
                    <a:pt x="217" y="109"/>
                  </a:cubicBezTo>
                  <a:cubicBezTo>
                    <a:pt x="217" y="107"/>
                    <a:pt x="217" y="105"/>
                    <a:pt x="217" y="104"/>
                  </a:cubicBezTo>
                  <a:cubicBezTo>
                    <a:pt x="217" y="102"/>
                    <a:pt x="217" y="101"/>
                    <a:pt x="218" y="99"/>
                  </a:cubicBezTo>
                  <a:cubicBezTo>
                    <a:pt x="218" y="98"/>
                    <a:pt x="219" y="97"/>
                    <a:pt x="220" y="97"/>
                  </a:cubicBezTo>
                  <a:cubicBezTo>
                    <a:pt x="222" y="96"/>
                    <a:pt x="223" y="96"/>
                    <a:pt x="224" y="95"/>
                  </a:cubicBezTo>
                  <a:cubicBezTo>
                    <a:pt x="225" y="95"/>
                    <a:pt x="225" y="94"/>
                    <a:pt x="226" y="94"/>
                  </a:cubicBezTo>
                  <a:cubicBezTo>
                    <a:pt x="229" y="94"/>
                    <a:pt x="229" y="97"/>
                    <a:pt x="231" y="98"/>
                  </a:cubicBezTo>
                  <a:cubicBezTo>
                    <a:pt x="232" y="99"/>
                    <a:pt x="234" y="99"/>
                    <a:pt x="236" y="98"/>
                  </a:cubicBezTo>
                  <a:cubicBezTo>
                    <a:pt x="237" y="98"/>
                    <a:pt x="239" y="97"/>
                    <a:pt x="240" y="97"/>
                  </a:cubicBezTo>
                  <a:cubicBezTo>
                    <a:pt x="240" y="96"/>
                    <a:pt x="241" y="93"/>
                    <a:pt x="241" y="93"/>
                  </a:cubicBezTo>
                  <a:cubicBezTo>
                    <a:pt x="240" y="92"/>
                    <a:pt x="239" y="92"/>
                    <a:pt x="239" y="92"/>
                  </a:cubicBezTo>
                  <a:cubicBezTo>
                    <a:pt x="238" y="92"/>
                    <a:pt x="238" y="91"/>
                    <a:pt x="238" y="91"/>
                  </a:cubicBezTo>
                  <a:cubicBezTo>
                    <a:pt x="237" y="90"/>
                    <a:pt x="236" y="90"/>
                    <a:pt x="236" y="89"/>
                  </a:cubicBezTo>
                  <a:cubicBezTo>
                    <a:pt x="235" y="85"/>
                    <a:pt x="237" y="84"/>
                    <a:pt x="239" y="82"/>
                  </a:cubicBezTo>
                  <a:cubicBezTo>
                    <a:pt x="240" y="80"/>
                    <a:pt x="240" y="78"/>
                    <a:pt x="241" y="77"/>
                  </a:cubicBezTo>
                  <a:cubicBezTo>
                    <a:pt x="242" y="74"/>
                    <a:pt x="241" y="73"/>
                    <a:pt x="240" y="7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1" name="Line 12">
              <a:extLst>
                <a:ext uri="{FF2B5EF4-FFF2-40B4-BE49-F238E27FC236}">
                  <a16:creationId xmlns:a16="http://schemas.microsoft.com/office/drawing/2014/main" id="{7F347172-221F-4C84-809E-20D85947E2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2" name="Line 13">
              <a:extLst>
                <a:ext uri="{FF2B5EF4-FFF2-40B4-BE49-F238E27FC236}">
                  <a16:creationId xmlns:a16="http://schemas.microsoft.com/office/drawing/2014/main" id="{6933D578-77FF-4E5B-9F27-DF889ED758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3" name="Freeform 14">
              <a:extLst>
                <a:ext uri="{FF2B5EF4-FFF2-40B4-BE49-F238E27FC236}">
                  <a16:creationId xmlns:a16="http://schemas.microsoft.com/office/drawing/2014/main" id="{8AFBBAAB-82EE-4AF9-90CA-06445715A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725" y="4695825"/>
              <a:ext cx="779463" cy="398463"/>
            </a:xfrm>
            <a:custGeom>
              <a:avLst/>
              <a:gdLst/>
              <a:ahLst/>
              <a:cxnLst>
                <a:cxn ang="0">
                  <a:pos x="412" y="70"/>
                </a:cxn>
                <a:cxn ang="0">
                  <a:pos x="405" y="46"/>
                </a:cxn>
                <a:cxn ang="0">
                  <a:pos x="411" y="26"/>
                </a:cxn>
                <a:cxn ang="0">
                  <a:pos x="395" y="20"/>
                </a:cxn>
                <a:cxn ang="0">
                  <a:pos x="370" y="21"/>
                </a:cxn>
                <a:cxn ang="0">
                  <a:pos x="347" y="12"/>
                </a:cxn>
                <a:cxn ang="0">
                  <a:pos x="321" y="1"/>
                </a:cxn>
                <a:cxn ang="0">
                  <a:pos x="305" y="8"/>
                </a:cxn>
                <a:cxn ang="0">
                  <a:pos x="294" y="24"/>
                </a:cxn>
                <a:cxn ang="0">
                  <a:pos x="282" y="33"/>
                </a:cxn>
                <a:cxn ang="0">
                  <a:pos x="266" y="35"/>
                </a:cxn>
                <a:cxn ang="0">
                  <a:pos x="254" y="26"/>
                </a:cxn>
                <a:cxn ang="0">
                  <a:pos x="245" y="21"/>
                </a:cxn>
                <a:cxn ang="0">
                  <a:pos x="241" y="37"/>
                </a:cxn>
                <a:cxn ang="0">
                  <a:pos x="224" y="43"/>
                </a:cxn>
                <a:cxn ang="0">
                  <a:pos x="222" y="53"/>
                </a:cxn>
                <a:cxn ang="0">
                  <a:pos x="191" y="65"/>
                </a:cxn>
                <a:cxn ang="0">
                  <a:pos x="187" y="83"/>
                </a:cxn>
                <a:cxn ang="0">
                  <a:pos x="196" y="93"/>
                </a:cxn>
                <a:cxn ang="0">
                  <a:pos x="193" y="108"/>
                </a:cxn>
                <a:cxn ang="0">
                  <a:pos x="192" y="124"/>
                </a:cxn>
                <a:cxn ang="0">
                  <a:pos x="179" y="112"/>
                </a:cxn>
                <a:cxn ang="0">
                  <a:pos x="151" y="111"/>
                </a:cxn>
                <a:cxn ang="0">
                  <a:pos x="129" y="118"/>
                </a:cxn>
                <a:cxn ang="0">
                  <a:pos x="108" y="132"/>
                </a:cxn>
                <a:cxn ang="0">
                  <a:pos x="79" y="128"/>
                </a:cxn>
                <a:cxn ang="0">
                  <a:pos x="56" y="138"/>
                </a:cxn>
                <a:cxn ang="0">
                  <a:pos x="38" y="130"/>
                </a:cxn>
                <a:cxn ang="0">
                  <a:pos x="14" y="124"/>
                </a:cxn>
                <a:cxn ang="0">
                  <a:pos x="12" y="141"/>
                </a:cxn>
                <a:cxn ang="0">
                  <a:pos x="5" y="154"/>
                </a:cxn>
                <a:cxn ang="0">
                  <a:pos x="16" y="164"/>
                </a:cxn>
                <a:cxn ang="0">
                  <a:pos x="30" y="173"/>
                </a:cxn>
                <a:cxn ang="0">
                  <a:pos x="51" y="166"/>
                </a:cxn>
                <a:cxn ang="0">
                  <a:pos x="70" y="178"/>
                </a:cxn>
                <a:cxn ang="0">
                  <a:pos x="82" y="185"/>
                </a:cxn>
                <a:cxn ang="0">
                  <a:pos x="95" y="168"/>
                </a:cxn>
                <a:cxn ang="0">
                  <a:pos x="127" y="167"/>
                </a:cxn>
                <a:cxn ang="0">
                  <a:pos x="147" y="165"/>
                </a:cxn>
                <a:cxn ang="0">
                  <a:pos x="160" y="186"/>
                </a:cxn>
                <a:cxn ang="0">
                  <a:pos x="197" y="198"/>
                </a:cxn>
                <a:cxn ang="0">
                  <a:pos x="236" y="203"/>
                </a:cxn>
                <a:cxn ang="0">
                  <a:pos x="254" y="208"/>
                </a:cxn>
                <a:cxn ang="0">
                  <a:pos x="276" y="213"/>
                </a:cxn>
                <a:cxn ang="0">
                  <a:pos x="289" y="200"/>
                </a:cxn>
                <a:cxn ang="0">
                  <a:pos x="312" y="193"/>
                </a:cxn>
                <a:cxn ang="0">
                  <a:pos x="330" y="187"/>
                </a:cxn>
                <a:cxn ang="0">
                  <a:pos x="352" y="187"/>
                </a:cxn>
                <a:cxn ang="0">
                  <a:pos x="368" y="166"/>
                </a:cxn>
                <a:cxn ang="0">
                  <a:pos x="380" y="154"/>
                </a:cxn>
                <a:cxn ang="0">
                  <a:pos x="381" y="141"/>
                </a:cxn>
                <a:cxn ang="0">
                  <a:pos x="388" y="124"/>
                </a:cxn>
                <a:cxn ang="0">
                  <a:pos x="383" y="112"/>
                </a:cxn>
                <a:cxn ang="0">
                  <a:pos x="395" y="108"/>
                </a:cxn>
                <a:cxn ang="0">
                  <a:pos x="410" y="96"/>
                </a:cxn>
              </a:cxnLst>
              <a:rect l="0" t="0" r="r" b="b"/>
              <a:pathLst>
                <a:path w="417" h="213">
                  <a:moveTo>
                    <a:pt x="416" y="79"/>
                  </a:moveTo>
                  <a:cubicBezTo>
                    <a:pt x="415" y="77"/>
                    <a:pt x="415" y="76"/>
                    <a:pt x="415" y="75"/>
                  </a:cubicBezTo>
                  <a:cubicBezTo>
                    <a:pt x="415" y="75"/>
                    <a:pt x="414" y="75"/>
                    <a:pt x="414" y="74"/>
                  </a:cubicBezTo>
                  <a:cubicBezTo>
                    <a:pt x="414" y="74"/>
                    <a:pt x="414" y="74"/>
                    <a:pt x="414" y="73"/>
                  </a:cubicBezTo>
                  <a:cubicBezTo>
                    <a:pt x="414" y="73"/>
                    <a:pt x="414" y="72"/>
                    <a:pt x="413" y="71"/>
                  </a:cubicBezTo>
                  <a:cubicBezTo>
                    <a:pt x="413" y="71"/>
                    <a:pt x="412" y="71"/>
                    <a:pt x="412" y="70"/>
                  </a:cubicBezTo>
                  <a:cubicBezTo>
                    <a:pt x="411" y="69"/>
                    <a:pt x="410" y="67"/>
                    <a:pt x="410" y="66"/>
                  </a:cubicBezTo>
                  <a:cubicBezTo>
                    <a:pt x="409" y="63"/>
                    <a:pt x="410" y="60"/>
                    <a:pt x="409" y="57"/>
                  </a:cubicBezTo>
                  <a:cubicBezTo>
                    <a:pt x="409" y="56"/>
                    <a:pt x="409" y="55"/>
                    <a:pt x="408" y="54"/>
                  </a:cubicBezTo>
                  <a:cubicBezTo>
                    <a:pt x="408" y="54"/>
                    <a:pt x="407" y="53"/>
                    <a:pt x="406" y="53"/>
                  </a:cubicBezTo>
                  <a:cubicBezTo>
                    <a:pt x="406" y="52"/>
                    <a:pt x="405" y="50"/>
                    <a:pt x="405" y="49"/>
                  </a:cubicBezTo>
                  <a:cubicBezTo>
                    <a:pt x="404" y="48"/>
                    <a:pt x="405" y="47"/>
                    <a:pt x="405" y="46"/>
                  </a:cubicBezTo>
                  <a:cubicBezTo>
                    <a:pt x="406" y="44"/>
                    <a:pt x="407" y="42"/>
                    <a:pt x="408" y="41"/>
                  </a:cubicBezTo>
                  <a:cubicBezTo>
                    <a:pt x="409" y="40"/>
                    <a:pt x="410" y="39"/>
                    <a:pt x="410" y="38"/>
                  </a:cubicBezTo>
                  <a:cubicBezTo>
                    <a:pt x="411" y="37"/>
                    <a:pt x="412" y="35"/>
                    <a:pt x="412" y="33"/>
                  </a:cubicBezTo>
                  <a:cubicBezTo>
                    <a:pt x="412" y="32"/>
                    <a:pt x="412" y="30"/>
                    <a:pt x="412" y="29"/>
                  </a:cubicBezTo>
                  <a:cubicBezTo>
                    <a:pt x="412" y="28"/>
                    <a:pt x="411" y="27"/>
                    <a:pt x="411" y="26"/>
                  </a:cubicBezTo>
                  <a:cubicBezTo>
                    <a:pt x="411" y="26"/>
                    <a:pt x="411" y="26"/>
                    <a:pt x="411" y="26"/>
                  </a:cubicBezTo>
                  <a:cubicBezTo>
                    <a:pt x="411" y="26"/>
                    <a:pt x="411" y="26"/>
                    <a:pt x="410" y="26"/>
                  </a:cubicBezTo>
                  <a:cubicBezTo>
                    <a:pt x="410" y="26"/>
                    <a:pt x="410" y="25"/>
                    <a:pt x="409" y="25"/>
                  </a:cubicBezTo>
                  <a:cubicBezTo>
                    <a:pt x="409" y="25"/>
                    <a:pt x="409" y="24"/>
                    <a:pt x="408" y="24"/>
                  </a:cubicBezTo>
                  <a:cubicBezTo>
                    <a:pt x="407" y="23"/>
                    <a:pt x="405" y="23"/>
                    <a:pt x="404" y="23"/>
                  </a:cubicBezTo>
                  <a:cubicBezTo>
                    <a:pt x="402" y="23"/>
                    <a:pt x="396" y="25"/>
                    <a:pt x="395" y="22"/>
                  </a:cubicBezTo>
                  <a:cubicBezTo>
                    <a:pt x="395" y="22"/>
                    <a:pt x="395" y="21"/>
                    <a:pt x="395" y="20"/>
                  </a:cubicBezTo>
                  <a:cubicBezTo>
                    <a:pt x="394" y="19"/>
                    <a:pt x="394" y="19"/>
                    <a:pt x="393" y="18"/>
                  </a:cubicBezTo>
                  <a:cubicBezTo>
                    <a:pt x="392" y="17"/>
                    <a:pt x="390" y="18"/>
                    <a:pt x="389" y="16"/>
                  </a:cubicBezTo>
                  <a:cubicBezTo>
                    <a:pt x="388" y="15"/>
                    <a:pt x="387" y="14"/>
                    <a:pt x="385" y="15"/>
                  </a:cubicBezTo>
                  <a:cubicBezTo>
                    <a:pt x="383" y="15"/>
                    <a:pt x="384" y="17"/>
                    <a:pt x="383" y="19"/>
                  </a:cubicBezTo>
                  <a:cubicBezTo>
                    <a:pt x="382" y="20"/>
                    <a:pt x="380" y="21"/>
                    <a:pt x="379" y="21"/>
                  </a:cubicBezTo>
                  <a:cubicBezTo>
                    <a:pt x="376" y="22"/>
                    <a:pt x="373" y="21"/>
                    <a:pt x="370" y="21"/>
                  </a:cubicBezTo>
                  <a:cubicBezTo>
                    <a:pt x="368" y="21"/>
                    <a:pt x="367" y="21"/>
                    <a:pt x="365" y="20"/>
                  </a:cubicBezTo>
                  <a:cubicBezTo>
                    <a:pt x="362" y="19"/>
                    <a:pt x="359" y="18"/>
                    <a:pt x="357" y="17"/>
                  </a:cubicBezTo>
                  <a:cubicBezTo>
                    <a:pt x="355" y="16"/>
                    <a:pt x="356" y="14"/>
                    <a:pt x="355" y="13"/>
                  </a:cubicBezTo>
                  <a:cubicBezTo>
                    <a:pt x="354" y="11"/>
                    <a:pt x="353" y="10"/>
                    <a:pt x="351" y="11"/>
                  </a:cubicBezTo>
                  <a:cubicBezTo>
                    <a:pt x="350" y="11"/>
                    <a:pt x="350" y="11"/>
                    <a:pt x="349" y="12"/>
                  </a:cubicBezTo>
                  <a:cubicBezTo>
                    <a:pt x="348" y="12"/>
                    <a:pt x="347" y="12"/>
                    <a:pt x="347" y="12"/>
                  </a:cubicBezTo>
                  <a:cubicBezTo>
                    <a:pt x="345" y="12"/>
                    <a:pt x="343" y="12"/>
                    <a:pt x="342" y="12"/>
                  </a:cubicBezTo>
                  <a:cubicBezTo>
                    <a:pt x="341" y="11"/>
                    <a:pt x="341" y="10"/>
                    <a:pt x="340" y="9"/>
                  </a:cubicBezTo>
                  <a:cubicBezTo>
                    <a:pt x="338" y="7"/>
                    <a:pt x="334" y="6"/>
                    <a:pt x="332" y="5"/>
                  </a:cubicBezTo>
                  <a:cubicBezTo>
                    <a:pt x="330" y="4"/>
                    <a:pt x="329" y="4"/>
                    <a:pt x="327" y="3"/>
                  </a:cubicBezTo>
                  <a:cubicBezTo>
                    <a:pt x="327" y="3"/>
                    <a:pt x="326" y="2"/>
                    <a:pt x="326" y="2"/>
                  </a:cubicBezTo>
                  <a:cubicBezTo>
                    <a:pt x="326" y="0"/>
                    <a:pt x="322" y="0"/>
                    <a:pt x="321" y="1"/>
                  </a:cubicBezTo>
                  <a:cubicBezTo>
                    <a:pt x="321" y="2"/>
                    <a:pt x="322" y="4"/>
                    <a:pt x="320" y="4"/>
                  </a:cubicBezTo>
                  <a:cubicBezTo>
                    <a:pt x="318" y="5"/>
                    <a:pt x="316" y="5"/>
                    <a:pt x="314" y="3"/>
                  </a:cubicBezTo>
                  <a:cubicBezTo>
                    <a:pt x="313" y="2"/>
                    <a:pt x="314" y="0"/>
                    <a:pt x="312" y="0"/>
                  </a:cubicBezTo>
                  <a:cubicBezTo>
                    <a:pt x="311" y="0"/>
                    <a:pt x="310" y="0"/>
                    <a:pt x="309" y="0"/>
                  </a:cubicBezTo>
                  <a:cubicBezTo>
                    <a:pt x="308" y="0"/>
                    <a:pt x="308" y="0"/>
                    <a:pt x="308" y="1"/>
                  </a:cubicBezTo>
                  <a:cubicBezTo>
                    <a:pt x="307" y="3"/>
                    <a:pt x="305" y="5"/>
                    <a:pt x="305" y="8"/>
                  </a:cubicBezTo>
                  <a:cubicBezTo>
                    <a:pt x="305" y="9"/>
                    <a:pt x="304" y="11"/>
                    <a:pt x="305" y="13"/>
                  </a:cubicBezTo>
                  <a:cubicBezTo>
                    <a:pt x="305" y="15"/>
                    <a:pt x="306" y="16"/>
                    <a:pt x="306" y="17"/>
                  </a:cubicBezTo>
                  <a:cubicBezTo>
                    <a:pt x="305" y="19"/>
                    <a:pt x="303" y="19"/>
                    <a:pt x="302" y="18"/>
                  </a:cubicBezTo>
                  <a:cubicBezTo>
                    <a:pt x="300" y="17"/>
                    <a:pt x="298" y="17"/>
                    <a:pt x="297" y="18"/>
                  </a:cubicBezTo>
                  <a:cubicBezTo>
                    <a:pt x="297" y="18"/>
                    <a:pt x="297" y="20"/>
                    <a:pt x="296" y="20"/>
                  </a:cubicBezTo>
                  <a:cubicBezTo>
                    <a:pt x="296" y="22"/>
                    <a:pt x="294" y="22"/>
                    <a:pt x="294" y="24"/>
                  </a:cubicBezTo>
                  <a:cubicBezTo>
                    <a:pt x="293" y="27"/>
                    <a:pt x="293" y="30"/>
                    <a:pt x="291" y="32"/>
                  </a:cubicBezTo>
                  <a:cubicBezTo>
                    <a:pt x="290" y="33"/>
                    <a:pt x="289" y="34"/>
                    <a:pt x="288" y="34"/>
                  </a:cubicBezTo>
                  <a:cubicBezTo>
                    <a:pt x="287" y="34"/>
                    <a:pt x="286" y="34"/>
                    <a:pt x="286" y="34"/>
                  </a:cubicBezTo>
                  <a:cubicBezTo>
                    <a:pt x="285" y="34"/>
                    <a:pt x="284" y="35"/>
                    <a:pt x="284" y="34"/>
                  </a:cubicBezTo>
                  <a:cubicBezTo>
                    <a:pt x="283" y="34"/>
                    <a:pt x="283" y="34"/>
                    <a:pt x="283" y="34"/>
                  </a:cubicBezTo>
                  <a:cubicBezTo>
                    <a:pt x="283" y="33"/>
                    <a:pt x="282" y="33"/>
                    <a:pt x="282" y="33"/>
                  </a:cubicBezTo>
                  <a:cubicBezTo>
                    <a:pt x="281" y="32"/>
                    <a:pt x="281" y="32"/>
                    <a:pt x="281" y="31"/>
                  </a:cubicBezTo>
                  <a:cubicBezTo>
                    <a:pt x="280" y="30"/>
                    <a:pt x="279" y="29"/>
                    <a:pt x="278" y="29"/>
                  </a:cubicBezTo>
                  <a:cubicBezTo>
                    <a:pt x="275" y="29"/>
                    <a:pt x="275" y="33"/>
                    <a:pt x="274" y="34"/>
                  </a:cubicBezTo>
                  <a:cubicBezTo>
                    <a:pt x="274" y="34"/>
                    <a:pt x="273" y="34"/>
                    <a:pt x="272" y="34"/>
                  </a:cubicBezTo>
                  <a:cubicBezTo>
                    <a:pt x="271" y="34"/>
                    <a:pt x="270" y="35"/>
                    <a:pt x="269" y="35"/>
                  </a:cubicBezTo>
                  <a:cubicBezTo>
                    <a:pt x="268" y="35"/>
                    <a:pt x="267" y="35"/>
                    <a:pt x="266" y="35"/>
                  </a:cubicBezTo>
                  <a:cubicBezTo>
                    <a:pt x="265" y="35"/>
                    <a:pt x="264" y="35"/>
                    <a:pt x="263" y="35"/>
                  </a:cubicBezTo>
                  <a:cubicBezTo>
                    <a:pt x="263" y="35"/>
                    <a:pt x="263" y="35"/>
                    <a:pt x="262" y="35"/>
                  </a:cubicBezTo>
                  <a:cubicBezTo>
                    <a:pt x="261" y="34"/>
                    <a:pt x="260" y="35"/>
                    <a:pt x="259" y="34"/>
                  </a:cubicBezTo>
                  <a:cubicBezTo>
                    <a:pt x="259" y="34"/>
                    <a:pt x="257" y="33"/>
                    <a:pt x="257" y="32"/>
                  </a:cubicBezTo>
                  <a:cubicBezTo>
                    <a:pt x="256" y="31"/>
                    <a:pt x="256" y="30"/>
                    <a:pt x="256" y="29"/>
                  </a:cubicBezTo>
                  <a:cubicBezTo>
                    <a:pt x="256" y="28"/>
                    <a:pt x="256" y="26"/>
                    <a:pt x="254" y="26"/>
                  </a:cubicBezTo>
                  <a:cubicBezTo>
                    <a:pt x="254" y="25"/>
                    <a:pt x="253" y="24"/>
                    <a:pt x="252" y="23"/>
                  </a:cubicBezTo>
                  <a:cubicBezTo>
                    <a:pt x="252" y="23"/>
                    <a:pt x="251" y="22"/>
                    <a:pt x="250" y="21"/>
                  </a:cubicBezTo>
                  <a:cubicBezTo>
                    <a:pt x="249" y="20"/>
                    <a:pt x="247" y="20"/>
                    <a:pt x="246" y="19"/>
                  </a:cubicBezTo>
                  <a:cubicBezTo>
                    <a:pt x="245" y="19"/>
                    <a:pt x="245" y="18"/>
                    <a:pt x="244" y="18"/>
                  </a:cubicBezTo>
                  <a:cubicBezTo>
                    <a:pt x="244" y="19"/>
                    <a:pt x="244" y="19"/>
                    <a:pt x="244" y="19"/>
                  </a:cubicBezTo>
                  <a:cubicBezTo>
                    <a:pt x="244" y="20"/>
                    <a:pt x="245" y="21"/>
                    <a:pt x="245" y="21"/>
                  </a:cubicBezTo>
                  <a:cubicBezTo>
                    <a:pt x="245" y="21"/>
                    <a:pt x="244" y="21"/>
                    <a:pt x="244" y="22"/>
                  </a:cubicBezTo>
                  <a:cubicBezTo>
                    <a:pt x="244" y="22"/>
                    <a:pt x="244" y="23"/>
                    <a:pt x="244" y="24"/>
                  </a:cubicBezTo>
                  <a:cubicBezTo>
                    <a:pt x="244" y="25"/>
                    <a:pt x="243" y="25"/>
                    <a:pt x="243" y="26"/>
                  </a:cubicBezTo>
                  <a:cubicBezTo>
                    <a:pt x="243" y="27"/>
                    <a:pt x="243" y="29"/>
                    <a:pt x="243" y="30"/>
                  </a:cubicBezTo>
                  <a:cubicBezTo>
                    <a:pt x="243" y="32"/>
                    <a:pt x="242" y="33"/>
                    <a:pt x="242" y="34"/>
                  </a:cubicBezTo>
                  <a:cubicBezTo>
                    <a:pt x="242" y="35"/>
                    <a:pt x="242" y="36"/>
                    <a:pt x="241" y="37"/>
                  </a:cubicBezTo>
                  <a:cubicBezTo>
                    <a:pt x="241" y="38"/>
                    <a:pt x="240" y="40"/>
                    <a:pt x="239" y="41"/>
                  </a:cubicBezTo>
                  <a:cubicBezTo>
                    <a:pt x="238" y="42"/>
                    <a:pt x="232" y="41"/>
                    <a:pt x="231" y="40"/>
                  </a:cubicBezTo>
                  <a:cubicBezTo>
                    <a:pt x="230" y="39"/>
                    <a:pt x="230" y="38"/>
                    <a:pt x="229" y="38"/>
                  </a:cubicBezTo>
                  <a:cubicBezTo>
                    <a:pt x="228" y="38"/>
                    <a:pt x="227" y="38"/>
                    <a:pt x="226" y="38"/>
                  </a:cubicBezTo>
                  <a:cubicBezTo>
                    <a:pt x="226" y="38"/>
                    <a:pt x="225" y="40"/>
                    <a:pt x="225" y="41"/>
                  </a:cubicBezTo>
                  <a:cubicBezTo>
                    <a:pt x="224" y="41"/>
                    <a:pt x="224" y="42"/>
                    <a:pt x="224" y="43"/>
                  </a:cubicBezTo>
                  <a:cubicBezTo>
                    <a:pt x="223" y="44"/>
                    <a:pt x="224" y="45"/>
                    <a:pt x="224" y="46"/>
                  </a:cubicBezTo>
                  <a:cubicBezTo>
                    <a:pt x="223" y="46"/>
                    <a:pt x="223" y="47"/>
                    <a:pt x="223" y="48"/>
                  </a:cubicBezTo>
                  <a:cubicBezTo>
                    <a:pt x="223" y="48"/>
                    <a:pt x="223" y="48"/>
                    <a:pt x="223" y="47"/>
                  </a:cubicBezTo>
                  <a:cubicBezTo>
                    <a:pt x="223" y="48"/>
                    <a:pt x="223" y="49"/>
                    <a:pt x="223" y="50"/>
                  </a:cubicBezTo>
                  <a:cubicBezTo>
                    <a:pt x="222" y="50"/>
                    <a:pt x="222" y="51"/>
                    <a:pt x="222" y="52"/>
                  </a:cubicBezTo>
                  <a:cubicBezTo>
                    <a:pt x="222" y="52"/>
                    <a:pt x="222" y="53"/>
                    <a:pt x="222" y="53"/>
                  </a:cubicBezTo>
                  <a:cubicBezTo>
                    <a:pt x="222" y="54"/>
                    <a:pt x="222" y="54"/>
                    <a:pt x="221" y="55"/>
                  </a:cubicBezTo>
                  <a:cubicBezTo>
                    <a:pt x="221" y="56"/>
                    <a:pt x="220" y="56"/>
                    <a:pt x="219" y="57"/>
                  </a:cubicBezTo>
                  <a:cubicBezTo>
                    <a:pt x="216" y="59"/>
                    <a:pt x="212" y="59"/>
                    <a:pt x="208" y="59"/>
                  </a:cubicBezTo>
                  <a:cubicBezTo>
                    <a:pt x="206" y="59"/>
                    <a:pt x="204" y="60"/>
                    <a:pt x="202" y="61"/>
                  </a:cubicBezTo>
                  <a:cubicBezTo>
                    <a:pt x="200" y="62"/>
                    <a:pt x="198" y="63"/>
                    <a:pt x="196" y="63"/>
                  </a:cubicBezTo>
                  <a:cubicBezTo>
                    <a:pt x="194" y="63"/>
                    <a:pt x="192" y="64"/>
                    <a:pt x="191" y="65"/>
                  </a:cubicBezTo>
                  <a:cubicBezTo>
                    <a:pt x="190" y="66"/>
                    <a:pt x="189" y="67"/>
                    <a:pt x="189" y="67"/>
                  </a:cubicBezTo>
                  <a:cubicBezTo>
                    <a:pt x="188" y="68"/>
                    <a:pt x="187" y="68"/>
                    <a:pt x="186" y="68"/>
                  </a:cubicBezTo>
                  <a:cubicBezTo>
                    <a:pt x="185" y="69"/>
                    <a:pt x="186" y="70"/>
                    <a:pt x="186" y="71"/>
                  </a:cubicBezTo>
                  <a:cubicBezTo>
                    <a:pt x="186" y="72"/>
                    <a:pt x="186" y="73"/>
                    <a:pt x="186" y="74"/>
                  </a:cubicBezTo>
                  <a:cubicBezTo>
                    <a:pt x="186" y="74"/>
                    <a:pt x="186" y="74"/>
                    <a:pt x="187" y="75"/>
                  </a:cubicBezTo>
                  <a:cubicBezTo>
                    <a:pt x="187" y="77"/>
                    <a:pt x="187" y="80"/>
                    <a:pt x="187" y="83"/>
                  </a:cubicBezTo>
                  <a:cubicBezTo>
                    <a:pt x="187" y="84"/>
                    <a:pt x="188" y="85"/>
                    <a:pt x="188" y="85"/>
                  </a:cubicBezTo>
                  <a:cubicBezTo>
                    <a:pt x="189" y="86"/>
                    <a:pt x="189" y="86"/>
                    <a:pt x="189" y="86"/>
                  </a:cubicBezTo>
                  <a:cubicBezTo>
                    <a:pt x="190" y="87"/>
                    <a:pt x="190" y="88"/>
                    <a:pt x="190" y="88"/>
                  </a:cubicBezTo>
                  <a:cubicBezTo>
                    <a:pt x="190" y="88"/>
                    <a:pt x="191" y="88"/>
                    <a:pt x="192" y="89"/>
                  </a:cubicBezTo>
                  <a:cubicBezTo>
                    <a:pt x="192" y="89"/>
                    <a:pt x="193" y="90"/>
                    <a:pt x="193" y="90"/>
                  </a:cubicBezTo>
                  <a:cubicBezTo>
                    <a:pt x="194" y="91"/>
                    <a:pt x="195" y="92"/>
                    <a:pt x="196" y="93"/>
                  </a:cubicBezTo>
                  <a:cubicBezTo>
                    <a:pt x="197" y="94"/>
                    <a:pt x="196" y="96"/>
                    <a:pt x="196" y="98"/>
                  </a:cubicBezTo>
                  <a:cubicBezTo>
                    <a:pt x="195" y="99"/>
                    <a:pt x="195" y="100"/>
                    <a:pt x="194" y="100"/>
                  </a:cubicBezTo>
                  <a:cubicBezTo>
                    <a:pt x="193" y="101"/>
                    <a:pt x="192" y="101"/>
                    <a:pt x="192" y="102"/>
                  </a:cubicBezTo>
                  <a:cubicBezTo>
                    <a:pt x="192" y="103"/>
                    <a:pt x="191" y="104"/>
                    <a:pt x="191" y="105"/>
                  </a:cubicBezTo>
                  <a:cubicBezTo>
                    <a:pt x="191" y="105"/>
                    <a:pt x="192" y="105"/>
                    <a:pt x="192" y="106"/>
                  </a:cubicBezTo>
                  <a:cubicBezTo>
                    <a:pt x="192" y="107"/>
                    <a:pt x="192" y="107"/>
                    <a:pt x="193" y="108"/>
                  </a:cubicBezTo>
                  <a:cubicBezTo>
                    <a:pt x="195" y="110"/>
                    <a:pt x="197" y="110"/>
                    <a:pt x="199" y="111"/>
                  </a:cubicBezTo>
                  <a:cubicBezTo>
                    <a:pt x="202" y="112"/>
                    <a:pt x="200" y="115"/>
                    <a:pt x="199" y="116"/>
                  </a:cubicBezTo>
                  <a:cubicBezTo>
                    <a:pt x="199" y="117"/>
                    <a:pt x="199" y="118"/>
                    <a:pt x="199" y="119"/>
                  </a:cubicBezTo>
                  <a:cubicBezTo>
                    <a:pt x="199" y="120"/>
                    <a:pt x="199" y="121"/>
                    <a:pt x="198" y="122"/>
                  </a:cubicBezTo>
                  <a:cubicBezTo>
                    <a:pt x="197" y="123"/>
                    <a:pt x="197" y="123"/>
                    <a:pt x="196" y="124"/>
                  </a:cubicBezTo>
                  <a:cubicBezTo>
                    <a:pt x="195" y="124"/>
                    <a:pt x="193" y="124"/>
                    <a:pt x="192" y="124"/>
                  </a:cubicBezTo>
                  <a:cubicBezTo>
                    <a:pt x="191" y="124"/>
                    <a:pt x="191" y="123"/>
                    <a:pt x="190" y="123"/>
                  </a:cubicBezTo>
                  <a:cubicBezTo>
                    <a:pt x="189" y="123"/>
                    <a:pt x="187" y="124"/>
                    <a:pt x="186" y="122"/>
                  </a:cubicBezTo>
                  <a:cubicBezTo>
                    <a:pt x="186" y="122"/>
                    <a:pt x="186" y="121"/>
                    <a:pt x="186" y="121"/>
                  </a:cubicBezTo>
                  <a:cubicBezTo>
                    <a:pt x="186" y="120"/>
                    <a:pt x="185" y="118"/>
                    <a:pt x="184" y="117"/>
                  </a:cubicBezTo>
                  <a:cubicBezTo>
                    <a:pt x="183" y="116"/>
                    <a:pt x="182" y="114"/>
                    <a:pt x="181" y="113"/>
                  </a:cubicBezTo>
                  <a:cubicBezTo>
                    <a:pt x="180" y="113"/>
                    <a:pt x="181" y="113"/>
                    <a:pt x="179" y="112"/>
                  </a:cubicBezTo>
                  <a:cubicBezTo>
                    <a:pt x="177" y="112"/>
                    <a:pt x="175" y="114"/>
                    <a:pt x="172" y="114"/>
                  </a:cubicBezTo>
                  <a:cubicBezTo>
                    <a:pt x="171" y="114"/>
                    <a:pt x="168" y="115"/>
                    <a:pt x="167" y="114"/>
                  </a:cubicBezTo>
                  <a:cubicBezTo>
                    <a:pt x="166" y="113"/>
                    <a:pt x="166" y="112"/>
                    <a:pt x="165" y="111"/>
                  </a:cubicBezTo>
                  <a:cubicBezTo>
                    <a:pt x="164" y="111"/>
                    <a:pt x="161" y="110"/>
                    <a:pt x="160" y="110"/>
                  </a:cubicBezTo>
                  <a:cubicBezTo>
                    <a:pt x="158" y="110"/>
                    <a:pt x="156" y="110"/>
                    <a:pt x="154" y="110"/>
                  </a:cubicBezTo>
                  <a:cubicBezTo>
                    <a:pt x="153" y="110"/>
                    <a:pt x="151" y="110"/>
                    <a:pt x="151" y="111"/>
                  </a:cubicBezTo>
                  <a:cubicBezTo>
                    <a:pt x="150" y="114"/>
                    <a:pt x="156" y="116"/>
                    <a:pt x="153" y="118"/>
                  </a:cubicBezTo>
                  <a:cubicBezTo>
                    <a:pt x="152" y="118"/>
                    <a:pt x="152" y="118"/>
                    <a:pt x="151" y="118"/>
                  </a:cubicBezTo>
                  <a:cubicBezTo>
                    <a:pt x="150" y="118"/>
                    <a:pt x="149" y="118"/>
                    <a:pt x="149" y="119"/>
                  </a:cubicBezTo>
                  <a:cubicBezTo>
                    <a:pt x="148" y="119"/>
                    <a:pt x="148" y="119"/>
                    <a:pt x="147" y="119"/>
                  </a:cubicBezTo>
                  <a:cubicBezTo>
                    <a:pt x="144" y="119"/>
                    <a:pt x="142" y="119"/>
                    <a:pt x="140" y="119"/>
                  </a:cubicBezTo>
                  <a:cubicBezTo>
                    <a:pt x="136" y="118"/>
                    <a:pt x="132" y="118"/>
                    <a:pt x="129" y="118"/>
                  </a:cubicBezTo>
                  <a:cubicBezTo>
                    <a:pt x="127" y="118"/>
                    <a:pt x="126" y="118"/>
                    <a:pt x="126" y="119"/>
                  </a:cubicBezTo>
                  <a:cubicBezTo>
                    <a:pt x="125" y="121"/>
                    <a:pt x="126" y="122"/>
                    <a:pt x="126" y="123"/>
                  </a:cubicBezTo>
                  <a:cubicBezTo>
                    <a:pt x="125" y="125"/>
                    <a:pt x="123" y="124"/>
                    <a:pt x="122" y="124"/>
                  </a:cubicBezTo>
                  <a:cubicBezTo>
                    <a:pt x="119" y="124"/>
                    <a:pt x="115" y="123"/>
                    <a:pt x="113" y="125"/>
                  </a:cubicBezTo>
                  <a:cubicBezTo>
                    <a:pt x="112" y="126"/>
                    <a:pt x="112" y="127"/>
                    <a:pt x="111" y="128"/>
                  </a:cubicBezTo>
                  <a:cubicBezTo>
                    <a:pt x="110" y="129"/>
                    <a:pt x="109" y="131"/>
                    <a:pt x="108" y="132"/>
                  </a:cubicBezTo>
                  <a:cubicBezTo>
                    <a:pt x="106" y="132"/>
                    <a:pt x="105" y="130"/>
                    <a:pt x="103" y="131"/>
                  </a:cubicBezTo>
                  <a:cubicBezTo>
                    <a:pt x="102" y="131"/>
                    <a:pt x="101" y="132"/>
                    <a:pt x="99" y="133"/>
                  </a:cubicBezTo>
                  <a:cubicBezTo>
                    <a:pt x="97" y="133"/>
                    <a:pt x="94" y="133"/>
                    <a:pt x="91" y="133"/>
                  </a:cubicBezTo>
                  <a:cubicBezTo>
                    <a:pt x="92" y="133"/>
                    <a:pt x="88" y="133"/>
                    <a:pt x="87" y="132"/>
                  </a:cubicBezTo>
                  <a:cubicBezTo>
                    <a:pt x="87" y="130"/>
                    <a:pt x="81" y="128"/>
                    <a:pt x="79" y="12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7" y="128"/>
                    <a:pt x="77" y="126"/>
                    <a:pt x="76" y="125"/>
                  </a:cubicBezTo>
                  <a:cubicBezTo>
                    <a:pt x="74" y="122"/>
                    <a:pt x="71" y="123"/>
                    <a:pt x="68" y="123"/>
                  </a:cubicBezTo>
                  <a:cubicBezTo>
                    <a:pt x="64" y="124"/>
                    <a:pt x="60" y="122"/>
                    <a:pt x="56" y="123"/>
                  </a:cubicBezTo>
                  <a:cubicBezTo>
                    <a:pt x="53" y="124"/>
                    <a:pt x="53" y="125"/>
                    <a:pt x="53" y="128"/>
                  </a:cubicBezTo>
                  <a:cubicBezTo>
                    <a:pt x="54" y="131"/>
                    <a:pt x="58" y="133"/>
                    <a:pt x="57" y="137"/>
                  </a:cubicBezTo>
                  <a:cubicBezTo>
                    <a:pt x="57" y="137"/>
                    <a:pt x="57" y="138"/>
                    <a:pt x="56" y="138"/>
                  </a:cubicBezTo>
                  <a:cubicBezTo>
                    <a:pt x="56" y="139"/>
                    <a:pt x="55" y="141"/>
                    <a:pt x="54" y="141"/>
                  </a:cubicBezTo>
                  <a:cubicBezTo>
                    <a:pt x="50" y="143"/>
                    <a:pt x="49" y="141"/>
                    <a:pt x="46" y="139"/>
                  </a:cubicBezTo>
                  <a:cubicBezTo>
                    <a:pt x="44" y="138"/>
                    <a:pt x="41" y="137"/>
                    <a:pt x="40" y="135"/>
                  </a:cubicBezTo>
                  <a:cubicBezTo>
                    <a:pt x="39" y="134"/>
                    <a:pt x="39" y="135"/>
                    <a:pt x="39" y="134"/>
                  </a:cubicBezTo>
                  <a:cubicBezTo>
                    <a:pt x="39" y="133"/>
                    <a:pt x="39" y="132"/>
                    <a:pt x="39" y="131"/>
                  </a:cubicBezTo>
                  <a:cubicBezTo>
                    <a:pt x="38" y="131"/>
                    <a:pt x="38" y="131"/>
                    <a:pt x="38" y="130"/>
                  </a:cubicBezTo>
                  <a:cubicBezTo>
                    <a:pt x="37" y="129"/>
                    <a:pt x="35" y="130"/>
                    <a:pt x="34" y="130"/>
                  </a:cubicBezTo>
                  <a:cubicBezTo>
                    <a:pt x="32" y="129"/>
                    <a:pt x="32" y="129"/>
                    <a:pt x="31" y="128"/>
                  </a:cubicBezTo>
                  <a:cubicBezTo>
                    <a:pt x="30" y="126"/>
                    <a:pt x="30" y="124"/>
                    <a:pt x="28" y="122"/>
                  </a:cubicBezTo>
                  <a:cubicBezTo>
                    <a:pt x="27" y="121"/>
                    <a:pt x="25" y="122"/>
                    <a:pt x="24" y="122"/>
                  </a:cubicBezTo>
                  <a:cubicBezTo>
                    <a:pt x="21" y="122"/>
                    <a:pt x="19" y="122"/>
                    <a:pt x="16" y="122"/>
                  </a:cubicBezTo>
                  <a:cubicBezTo>
                    <a:pt x="16" y="123"/>
                    <a:pt x="15" y="123"/>
                    <a:pt x="14" y="124"/>
                  </a:cubicBezTo>
                  <a:cubicBezTo>
                    <a:pt x="14" y="126"/>
                    <a:pt x="13" y="127"/>
                    <a:pt x="13" y="128"/>
                  </a:cubicBezTo>
                  <a:cubicBezTo>
                    <a:pt x="13" y="130"/>
                    <a:pt x="13" y="132"/>
                    <a:pt x="13" y="134"/>
                  </a:cubicBezTo>
                  <a:cubicBezTo>
                    <a:pt x="13" y="135"/>
                    <a:pt x="13" y="136"/>
                    <a:pt x="14" y="137"/>
                  </a:cubicBezTo>
                  <a:cubicBezTo>
                    <a:pt x="14" y="137"/>
                    <a:pt x="15" y="138"/>
                    <a:pt x="14" y="139"/>
                  </a:cubicBezTo>
                  <a:cubicBezTo>
                    <a:pt x="14" y="140"/>
                    <a:pt x="12" y="140"/>
                    <a:pt x="10" y="141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2"/>
                    <a:pt x="12" y="143"/>
                    <a:pt x="13" y="143"/>
                  </a:cubicBezTo>
                  <a:cubicBezTo>
                    <a:pt x="13" y="144"/>
                    <a:pt x="13" y="144"/>
                    <a:pt x="13" y="145"/>
                  </a:cubicBezTo>
                  <a:cubicBezTo>
                    <a:pt x="14" y="146"/>
                    <a:pt x="13" y="148"/>
                    <a:pt x="13" y="150"/>
                  </a:cubicBezTo>
                  <a:cubicBezTo>
                    <a:pt x="12" y="151"/>
                    <a:pt x="12" y="153"/>
                    <a:pt x="10" y="154"/>
                  </a:cubicBezTo>
                  <a:cubicBezTo>
                    <a:pt x="10" y="155"/>
                    <a:pt x="9" y="155"/>
                    <a:pt x="8" y="155"/>
                  </a:cubicBezTo>
                  <a:cubicBezTo>
                    <a:pt x="7" y="155"/>
                    <a:pt x="6" y="155"/>
                    <a:pt x="5" y="154"/>
                  </a:cubicBezTo>
                  <a:cubicBezTo>
                    <a:pt x="5" y="155"/>
                    <a:pt x="4" y="155"/>
                    <a:pt x="4" y="155"/>
                  </a:cubicBezTo>
                  <a:cubicBezTo>
                    <a:pt x="2" y="157"/>
                    <a:pt x="0" y="157"/>
                    <a:pt x="1" y="161"/>
                  </a:cubicBezTo>
                  <a:cubicBezTo>
                    <a:pt x="1" y="164"/>
                    <a:pt x="3" y="163"/>
                    <a:pt x="6" y="164"/>
                  </a:cubicBezTo>
                  <a:cubicBezTo>
                    <a:pt x="7" y="164"/>
                    <a:pt x="8" y="164"/>
                    <a:pt x="9" y="164"/>
                  </a:cubicBezTo>
                  <a:cubicBezTo>
                    <a:pt x="10" y="164"/>
                    <a:pt x="11" y="164"/>
                    <a:pt x="12" y="164"/>
                  </a:cubicBezTo>
                  <a:cubicBezTo>
                    <a:pt x="13" y="164"/>
                    <a:pt x="15" y="164"/>
                    <a:pt x="16" y="164"/>
                  </a:cubicBezTo>
                  <a:cubicBezTo>
                    <a:pt x="18" y="164"/>
                    <a:pt x="18" y="164"/>
                    <a:pt x="19" y="163"/>
                  </a:cubicBezTo>
                  <a:cubicBezTo>
                    <a:pt x="20" y="163"/>
                    <a:pt x="21" y="163"/>
                    <a:pt x="21" y="163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4" y="165"/>
                    <a:pt x="26" y="165"/>
                    <a:pt x="26" y="168"/>
                  </a:cubicBezTo>
                  <a:cubicBezTo>
                    <a:pt x="26" y="170"/>
                    <a:pt x="26" y="171"/>
                    <a:pt x="28" y="172"/>
                  </a:cubicBezTo>
                  <a:cubicBezTo>
                    <a:pt x="28" y="173"/>
                    <a:pt x="29" y="173"/>
                    <a:pt x="30" y="173"/>
                  </a:cubicBezTo>
                  <a:cubicBezTo>
                    <a:pt x="30" y="174"/>
                    <a:pt x="31" y="175"/>
                    <a:pt x="32" y="175"/>
                  </a:cubicBezTo>
                  <a:cubicBezTo>
                    <a:pt x="35" y="176"/>
                    <a:pt x="37" y="177"/>
                    <a:pt x="40" y="177"/>
                  </a:cubicBezTo>
                  <a:cubicBezTo>
                    <a:pt x="43" y="177"/>
                    <a:pt x="43" y="176"/>
                    <a:pt x="44" y="174"/>
                  </a:cubicBezTo>
                  <a:cubicBezTo>
                    <a:pt x="45" y="173"/>
                    <a:pt x="44" y="171"/>
                    <a:pt x="46" y="170"/>
                  </a:cubicBezTo>
                  <a:cubicBezTo>
                    <a:pt x="47" y="169"/>
                    <a:pt x="48" y="169"/>
                    <a:pt x="49" y="169"/>
                  </a:cubicBezTo>
                  <a:cubicBezTo>
                    <a:pt x="50" y="168"/>
                    <a:pt x="50" y="167"/>
                    <a:pt x="51" y="166"/>
                  </a:cubicBezTo>
                  <a:cubicBezTo>
                    <a:pt x="52" y="166"/>
                    <a:pt x="55" y="168"/>
                    <a:pt x="56" y="169"/>
                  </a:cubicBezTo>
                  <a:cubicBezTo>
                    <a:pt x="58" y="171"/>
                    <a:pt x="58" y="173"/>
                    <a:pt x="58" y="175"/>
                  </a:cubicBezTo>
                  <a:cubicBezTo>
                    <a:pt x="59" y="176"/>
                    <a:pt x="59" y="176"/>
                    <a:pt x="59" y="177"/>
                  </a:cubicBezTo>
                  <a:cubicBezTo>
                    <a:pt x="61" y="177"/>
                    <a:pt x="62" y="177"/>
                    <a:pt x="63" y="177"/>
                  </a:cubicBezTo>
                  <a:cubicBezTo>
                    <a:pt x="64" y="177"/>
                    <a:pt x="65" y="177"/>
                    <a:pt x="66" y="177"/>
                  </a:cubicBezTo>
                  <a:cubicBezTo>
                    <a:pt x="67" y="177"/>
                    <a:pt x="69" y="178"/>
                    <a:pt x="70" y="178"/>
                  </a:cubicBezTo>
                  <a:cubicBezTo>
                    <a:pt x="71" y="178"/>
                    <a:pt x="72" y="178"/>
                    <a:pt x="72" y="179"/>
                  </a:cubicBezTo>
                  <a:cubicBezTo>
                    <a:pt x="73" y="180"/>
                    <a:pt x="72" y="181"/>
                    <a:pt x="73" y="182"/>
                  </a:cubicBezTo>
                  <a:cubicBezTo>
                    <a:pt x="73" y="183"/>
                    <a:pt x="75" y="183"/>
                    <a:pt x="76" y="183"/>
                  </a:cubicBezTo>
                  <a:cubicBezTo>
                    <a:pt x="76" y="183"/>
                    <a:pt x="78" y="183"/>
                    <a:pt x="78" y="183"/>
                  </a:cubicBezTo>
                  <a:cubicBezTo>
                    <a:pt x="79" y="184"/>
                    <a:pt x="79" y="184"/>
                    <a:pt x="80" y="184"/>
                  </a:cubicBezTo>
                  <a:cubicBezTo>
                    <a:pt x="80" y="185"/>
                    <a:pt x="81" y="185"/>
                    <a:pt x="82" y="185"/>
                  </a:cubicBezTo>
                  <a:cubicBezTo>
                    <a:pt x="83" y="185"/>
                    <a:pt x="85" y="185"/>
                    <a:pt x="87" y="185"/>
                  </a:cubicBezTo>
                  <a:cubicBezTo>
                    <a:pt x="89" y="184"/>
                    <a:pt x="89" y="182"/>
                    <a:pt x="89" y="180"/>
                  </a:cubicBezTo>
                  <a:cubicBezTo>
                    <a:pt x="90" y="179"/>
                    <a:pt x="91" y="178"/>
                    <a:pt x="92" y="176"/>
                  </a:cubicBezTo>
                  <a:cubicBezTo>
                    <a:pt x="92" y="175"/>
                    <a:pt x="92" y="174"/>
                    <a:pt x="92" y="173"/>
                  </a:cubicBezTo>
                  <a:cubicBezTo>
                    <a:pt x="92" y="171"/>
                    <a:pt x="92" y="171"/>
                    <a:pt x="93" y="170"/>
                  </a:cubicBezTo>
                  <a:cubicBezTo>
                    <a:pt x="93" y="169"/>
                    <a:pt x="93" y="169"/>
                    <a:pt x="95" y="168"/>
                  </a:cubicBezTo>
                  <a:cubicBezTo>
                    <a:pt x="96" y="168"/>
                    <a:pt x="97" y="167"/>
                    <a:pt x="99" y="167"/>
                  </a:cubicBezTo>
                  <a:cubicBezTo>
                    <a:pt x="100" y="167"/>
                    <a:pt x="101" y="167"/>
                    <a:pt x="102" y="167"/>
                  </a:cubicBezTo>
                  <a:cubicBezTo>
                    <a:pt x="107" y="167"/>
                    <a:pt x="112" y="168"/>
                    <a:pt x="117" y="168"/>
                  </a:cubicBezTo>
                  <a:cubicBezTo>
                    <a:pt x="118" y="168"/>
                    <a:pt x="119" y="168"/>
                    <a:pt x="120" y="168"/>
                  </a:cubicBezTo>
                  <a:cubicBezTo>
                    <a:pt x="121" y="167"/>
                    <a:pt x="122" y="166"/>
                    <a:pt x="123" y="166"/>
                  </a:cubicBezTo>
                  <a:cubicBezTo>
                    <a:pt x="125" y="165"/>
                    <a:pt x="126" y="166"/>
                    <a:pt x="127" y="167"/>
                  </a:cubicBezTo>
                  <a:cubicBezTo>
                    <a:pt x="129" y="169"/>
                    <a:pt x="132" y="166"/>
                    <a:pt x="134" y="165"/>
                  </a:cubicBezTo>
                  <a:cubicBezTo>
                    <a:pt x="136" y="163"/>
                    <a:pt x="139" y="162"/>
                    <a:pt x="142" y="161"/>
                  </a:cubicBezTo>
                  <a:cubicBezTo>
                    <a:pt x="143" y="160"/>
                    <a:pt x="145" y="159"/>
                    <a:pt x="147" y="159"/>
                  </a:cubicBezTo>
                  <a:cubicBezTo>
                    <a:pt x="149" y="159"/>
                    <a:pt x="152" y="159"/>
                    <a:pt x="152" y="162"/>
                  </a:cubicBezTo>
                  <a:cubicBezTo>
                    <a:pt x="152" y="163"/>
                    <a:pt x="150" y="164"/>
                    <a:pt x="149" y="165"/>
                  </a:cubicBezTo>
                  <a:cubicBezTo>
                    <a:pt x="149" y="165"/>
                    <a:pt x="147" y="165"/>
                    <a:pt x="147" y="165"/>
                  </a:cubicBezTo>
                  <a:cubicBezTo>
                    <a:pt x="146" y="166"/>
                    <a:pt x="146" y="167"/>
                    <a:pt x="146" y="168"/>
                  </a:cubicBezTo>
                  <a:cubicBezTo>
                    <a:pt x="146" y="169"/>
                    <a:pt x="145" y="169"/>
                    <a:pt x="147" y="171"/>
                  </a:cubicBezTo>
                  <a:cubicBezTo>
                    <a:pt x="147" y="171"/>
                    <a:pt x="148" y="172"/>
                    <a:pt x="149" y="173"/>
                  </a:cubicBezTo>
                  <a:cubicBezTo>
                    <a:pt x="150" y="174"/>
                    <a:pt x="151" y="175"/>
                    <a:pt x="152" y="176"/>
                  </a:cubicBezTo>
                  <a:cubicBezTo>
                    <a:pt x="154" y="177"/>
                    <a:pt x="154" y="179"/>
                    <a:pt x="155" y="181"/>
                  </a:cubicBezTo>
                  <a:cubicBezTo>
                    <a:pt x="156" y="183"/>
                    <a:pt x="158" y="185"/>
                    <a:pt x="160" y="186"/>
                  </a:cubicBezTo>
                  <a:cubicBezTo>
                    <a:pt x="163" y="189"/>
                    <a:pt x="168" y="192"/>
                    <a:pt x="172" y="194"/>
                  </a:cubicBezTo>
                  <a:cubicBezTo>
                    <a:pt x="173" y="194"/>
                    <a:pt x="174" y="194"/>
                    <a:pt x="175" y="194"/>
                  </a:cubicBezTo>
                  <a:cubicBezTo>
                    <a:pt x="178" y="194"/>
                    <a:pt x="180" y="194"/>
                    <a:pt x="183" y="195"/>
                  </a:cubicBezTo>
                  <a:cubicBezTo>
                    <a:pt x="185" y="195"/>
                    <a:pt x="187" y="195"/>
                    <a:pt x="189" y="196"/>
                  </a:cubicBezTo>
                  <a:cubicBezTo>
                    <a:pt x="190" y="196"/>
                    <a:pt x="192" y="196"/>
                    <a:pt x="193" y="196"/>
                  </a:cubicBezTo>
                  <a:cubicBezTo>
                    <a:pt x="195" y="197"/>
                    <a:pt x="196" y="198"/>
                    <a:pt x="197" y="198"/>
                  </a:cubicBezTo>
                  <a:cubicBezTo>
                    <a:pt x="201" y="200"/>
                    <a:pt x="205" y="200"/>
                    <a:pt x="209" y="201"/>
                  </a:cubicBezTo>
                  <a:cubicBezTo>
                    <a:pt x="212" y="201"/>
                    <a:pt x="214" y="201"/>
                    <a:pt x="217" y="201"/>
                  </a:cubicBezTo>
                  <a:cubicBezTo>
                    <a:pt x="220" y="201"/>
                    <a:pt x="224" y="201"/>
                    <a:pt x="227" y="201"/>
                  </a:cubicBezTo>
                  <a:cubicBezTo>
                    <a:pt x="229" y="201"/>
                    <a:pt x="230" y="202"/>
                    <a:pt x="232" y="202"/>
                  </a:cubicBezTo>
                  <a:cubicBezTo>
                    <a:pt x="233" y="202"/>
                    <a:pt x="234" y="202"/>
                    <a:pt x="235" y="203"/>
                  </a:cubicBezTo>
                  <a:cubicBezTo>
                    <a:pt x="235" y="203"/>
                    <a:pt x="236" y="202"/>
                    <a:pt x="236" y="203"/>
                  </a:cubicBezTo>
                  <a:cubicBezTo>
                    <a:pt x="238" y="203"/>
                    <a:pt x="239" y="204"/>
                    <a:pt x="240" y="204"/>
                  </a:cubicBezTo>
                  <a:cubicBezTo>
                    <a:pt x="245" y="206"/>
                    <a:pt x="250" y="205"/>
                    <a:pt x="255" y="206"/>
                  </a:cubicBezTo>
                  <a:cubicBezTo>
                    <a:pt x="255" y="206"/>
                    <a:pt x="255" y="206"/>
                    <a:pt x="255" y="206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5" y="207"/>
                    <a:pt x="255" y="208"/>
                    <a:pt x="254" y="208"/>
                  </a:cubicBezTo>
                  <a:cubicBezTo>
                    <a:pt x="255" y="208"/>
                    <a:pt x="256" y="208"/>
                    <a:pt x="257" y="208"/>
                  </a:cubicBezTo>
                  <a:cubicBezTo>
                    <a:pt x="259" y="209"/>
                    <a:pt x="262" y="209"/>
                    <a:pt x="264" y="209"/>
                  </a:cubicBezTo>
                  <a:cubicBezTo>
                    <a:pt x="264" y="210"/>
                    <a:pt x="266" y="209"/>
                    <a:pt x="267" y="210"/>
                  </a:cubicBezTo>
                  <a:cubicBezTo>
                    <a:pt x="267" y="210"/>
                    <a:pt x="267" y="210"/>
                    <a:pt x="267" y="210"/>
                  </a:cubicBezTo>
                  <a:cubicBezTo>
                    <a:pt x="268" y="211"/>
                    <a:pt x="269" y="211"/>
                    <a:pt x="270" y="211"/>
                  </a:cubicBezTo>
                  <a:cubicBezTo>
                    <a:pt x="272" y="212"/>
                    <a:pt x="274" y="213"/>
                    <a:pt x="276" y="213"/>
                  </a:cubicBezTo>
                  <a:cubicBezTo>
                    <a:pt x="279" y="212"/>
                    <a:pt x="278" y="209"/>
                    <a:pt x="279" y="207"/>
                  </a:cubicBezTo>
                  <a:cubicBezTo>
                    <a:pt x="280" y="207"/>
                    <a:pt x="280" y="206"/>
                    <a:pt x="281" y="205"/>
                  </a:cubicBezTo>
                  <a:cubicBezTo>
                    <a:pt x="281" y="205"/>
                    <a:pt x="282" y="204"/>
                    <a:pt x="283" y="204"/>
                  </a:cubicBezTo>
                  <a:cubicBezTo>
                    <a:pt x="283" y="203"/>
                    <a:pt x="284" y="204"/>
                    <a:pt x="285" y="204"/>
                  </a:cubicBezTo>
                  <a:cubicBezTo>
                    <a:pt x="286" y="204"/>
                    <a:pt x="287" y="203"/>
                    <a:pt x="288" y="202"/>
                  </a:cubicBezTo>
                  <a:cubicBezTo>
                    <a:pt x="288" y="201"/>
                    <a:pt x="288" y="201"/>
                    <a:pt x="289" y="200"/>
                  </a:cubicBezTo>
                  <a:cubicBezTo>
                    <a:pt x="289" y="200"/>
                    <a:pt x="290" y="200"/>
                    <a:pt x="290" y="199"/>
                  </a:cubicBezTo>
                  <a:cubicBezTo>
                    <a:pt x="290" y="199"/>
                    <a:pt x="291" y="198"/>
                    <a:pt x="291" y="197"/>
                  </a:cubicBezTo>
                  <a:cubicBezTo>
                    <a:pt x="292" y="195"/>
                    <a:pt x="295" y="195"/>
                    <a:pt x="297" y="195"/>
                  </a:cubicBezTo>
                  <a:cubicBezTo>
                    <a:pt x="300" y="194"/>
                    <a:pt x="302" y="194"/>
                    <a:pt x="304" y="193"/>
                  </a:cubicBezTo>
                  <a:cubicBezTo>
                    <a:pt x="306" y="192"/>
                    <a:pt x="307" y="191"/>
                    <a:pt x="309" y="192"/>
                  </a:cubicBezTo>
                  <a:cubicBezTo>
                    <a:pt x="310" y="192"/>
                    <a:pt x="311" y="193"/>
                    <a:pt x="312" y="193"/>
                  </a:cubicBezTo>
                  <a:cubicBezTo>
                    <a:pt x="314" y="193"/>
                    <a:pt x="316" y="193"/>
                    <a:pt x="318" y="193"/>
                  </a:cubicBezTo>
                  <a:cubicBezTo>
                    <a:pt x="318" y="194"/>
                    <a:pt x="318" y="194"/>
                    <a:pt x="319" y="194"/>
                  </a:cubicBezTo>
                  <a:cubicBezTo>
                    <a:pt x="320" y="194"/>
                    <a:pt x="322" y="193"/>
                    <a:pt x="323" y="194"/>
                  </a:cubicBezTo>
                  <a:cubicBezTo>
                    <a:pt x="325" y="194"/>
                    <a:pt x="325" y="195"/>
                    <a:pt x="326" y="195"/>
                  </a:cubicBezTo>
                  <a:cubicBezTo>
                    <a:pt x="326" y="192"/>
                    <a:pt x="328" y="190"/>
                    <a:pt x="329" y="188"/>
                  </a:cubicBezTo>
                  <a:cubicBezTo>
                    <a:pt x="329" y="187"/>
                    <a:pt x="329" y="187"/>
                    <a:pt x="330" y="187"/>
                  </a:cubicBezTo>
                  <a:cubicBezTo>
                    <a:pt x="330" y="187"/>
                    <a:pt x="331" y="187"/>
                    <a:pt x="331" y="187"/>
                  </a:cubicBezTo>
                  <a:cubicBezTo>
                    <a:pt x="332" y="186"/>
                    <a:pt x="331" y="187"/>
                    <a:pt x="332" y="186"/>
                  </a:cubicBezTo>
                  <a:cubicBezTo>
                    <a:pt x="333" y="185"/>
                    <a:pt x="335" y="182"/>
                    <a:pt x="336" y="183"/>
                  </a:cubicBezTo>
                  <a:cubicBezTo>
                    <a:pt x="338" y="184"/>
                    <a:pt x="336" y="187"/>
                    <a:pt x="338" y="189"/>
                  </a:cubicBezTo>
                  <a:cubicBezTo>
                    <a:pt x="340" y="190"/>
                    <a:pt x="343" y="189"/>
                    <a:pt x="345" y="190"/>
                  </a:cubicBezTo>
                  <a:cubicBezTo>
                    <a:pt x="348" y="190"/>
                    <a:pt x="351" y="190"/>
                    <a:pt x="352" y="187"/>
                  </a:cubicBezTo>
                  <a:cubicBezTo>
                    <a:pt x="353" y="185"/>
                    <a:pt x="353" y="183"/>
                    <a:pt x="353" y="181"/>
                  </a:cubicBezTo>
                  <a:cubicBezTo>
                    <a:pt x="353" y="178"/>
                    <a:pt x="354" y="176"/>
                    <a:pt x="356" y="175"/>
                  </a:cubicBezTo>
                  <a:cubicBezTo>
                    <a:pt x="357" y="174"/>
                    <a:pt x="359" y="175"/>
                    <a:pt x="360" y="173"/>
                  </a:cubicBezTo>
                  <a:cubicBezTo>
                    <a:pt x="361" y="173"/>
                    <a:pt x="361" y="172"/>
                    <a:pt x="362" y="172"/>
                  </a:cubicBezTo>
                  <a:cubicBezTo>
                    <a:pt x="363" y="171"/>
                    <a:pt x="363" y="171"/>
                    <a:pt x="364" y="170"/>
                  </a:cubicBezTo>
                  <a:cubicBezTo>
                    <a:pt x="365" y="167"/>
                    <a:pt x="366" y="167"/>
                    <a:pt x="368" y="166"/>
                  </a:cubicBezTo>
                  <a:cubicBezTo>
                    <a:pt x="370" y="165"/>
                    <a:pt x="370" y="164"/>
                    <a:pt x="372" y="164"/>
                  </a:cubicBezTo>
                  <a:cubicBezTo>
                    <a:pt x="374" y="164"/>
                    <a:pt x="375" y="163"/>
                    <a:pt x="376" y="163"/>
                  </a:cubicBezTo>
                  <a:cubicBezTo>
                    <a:pt x="378" y="163"/>
                    <a:pt x="379" y="163"/>
                    <a:pt x="379" y="161"/>
                  </a:cubicBezTo>
                  <a:cubicBezTo>
                    <a:pt x="379" y="160"/>
                    <a:pt x="379" y="160"/>
                    <a:pt x="379" y="159"/>
                  </a:cubicBezTo>
                  <a:cubicBezTo>
                    <a:pt x="379" y="158"/>
                    <a:pt x="380" y="157"/>
                    <a:pt x="380" y="156"/>
                  </a:cubicBezTo>
                  <a:cubicBezTo>
                    <a:pt x="380" y="156"/>
                    <a:pt x="380" y="155"/>
                    <a:pt x="380" y="154"/>
                  </a:cubicBezTo>
                  <a:cubicBezTo>
                    <a:pt x="380" y="152"/>
                    <a:pt x="380" y="152"/>
                    <a:pt x="379" y="152"/>
                  </a:cubicBezTo>
                  <a:cubicBezTo>
                    <a:pt x="377" y="151"/>
                    <a:pt x="377" y="151"/>
                    <a:pt x="376" y="149"/>
                  </a:cubicBezTo>
                  <a:cubicBezTo>
                    <a:pt x="376" y="149"/>
                    <a:pt x="376" y="148"/>
                    <a:pt x="376" y="147"/>
                  </a:cubicBezTo>
                  <a:cubicBezTo>
                    <a:pt x="376" y="147"/>
                    <a:pt x="375" y="146"/>
                    <a:pt x="376" y="145"/>
                  </a:cubicBezTo>
                  <a:cubicBezTo>
                    <a:pt x="376" y="144"/>
                    <a:pt x="378" y="142"/>
                    <a:pt x="379" y="142"/>
                  </a:cubicBezTo>
                  <a:cubicBezTo>
                    <a:pt x="379" y="142"/>
                    <a:pt x="381" y="141"/>
                    <a:pt x="381" y="141"/>
                  </a:cubicBezTo>
                  <a:cubicBezTo>
                    <a:pt x="382" y="138"/>
                    <a:pt x="378" y="139"/>
                    <a:pt x="378" y="138"/>
                  </a:cubicBezTo>
                  <a:cubicBezTo>
                    <a:pt x="376" y="136"/>
                    <a:pt x="377" y="131"/>
                    <a:pt x="379" y="130"/>
                  </a:cubicBezTo>
                  <a:cubicBezTo>
                    <a:pt x="379" y="130"/>
                    <a:pt x="380" y="129"/>
                    <a:pt x="381" y="129"/>
                  </a:cubicBezTo>
                  <a:cubicBezTo>
                    <a:pt x="382" y="129"/>
                    <a:pt x="383" y="130"/>
                    <a:pt x="384" y="130"/>
                  </a:cubicBezTo>
                  <a:cubicBezTo>
                    <a:pt x="385" y="129"/>
                    <a:pt x="385" y="129"/>
                    <a:pt x="386" y="128"/>
                  </a:cubicBezTo>
                  <a:cubicBezTo>
                    <a:pt x="386" y="127"/>
                    <a:pt x="387" y="125"/>
                    <a:pt x="388" y="124"/>
                  </a:cubicBezTo>
                  <a:cubicBezTo>
                    <a:pt x="389" y="123"/>
                    <a:pt x="390" y="122"/>
                    <a:pt x="390" y="121"/>
                  </a:cubicBezTo>
                  <a:cubicBezTo>
                    <a:pt x="390" y="121"/>
                    <a:pt x="390" y="119"/>
                    <a:pt x="390" y="118"/>
                  </a:cubicBezTo>
                  <a:cubicBezTo>
                    <a:pt x="390" y="117"/>
                    <a:pt x="390" y="117"/>
                    <a:pt x="389" y="116"/>
                  </a:cubicBezTo>
                  <a:cubicBezTo>
                    <a:pt x="389" y="115"/>
                    <a:pt x="389" y="115"/>
                    <a:pt x="389" y="114"/>
                  </a:cubicBezTo>
                  <a:cubicBezTo>
                    <a:pt x="388" y="114"/>
                    <a:pt x="388" y="113"/>
                    <a:pt x="388" y="113"/>
                  </a:cubicBezTo>
                  <a:cubicBezTo>
                    <a:pt x="386" y="112"/>
                    <a:pt x="384" y="113"/>
                    <a:pt x="383" y="112"/>
                  </a:cubicBezTo>
                  <a:cubicBezTo>
                    <a:pt x="381" y="111"/>
                    <a:pt x="380" y="110"/>
                    <a:pt x="379" y="109"/>
                  </a:cubicBezTo>
                  <a:cubicBezTo>
                    <a:pt x="379" y="109"/>
                    <a:pt x="378" y="108"/>
                    <a:pt x="379" y="107"/>
                  </a:cubicBezTo>
                  <a:cubicBezTo>
                    <a:pt x="379" y="106"/>
                    <a:pt x="382" y="107"/>
                    <a:pt x="383" y="107"/>
                  </a:cubicBezTo>
                  <a:cubicBezTo>
                    <a:pt x="386" y="107"/>
                    <a:pt x="385" y="105"/>
                    <a:pt x="387" y="103"/>
                  </a:cubicBezTo>
                  <a:cubicBezTo>
                    <a:pt x="388" y="102"/>
                    <a:pt x="392" y="103"/>
                    <a:pt x="393" y="105"/>
                  </a:cubicBezTo>
                  <a:cubicBezTo>
                    <a:pt x="394" y="106"/>
                    <a:pt x="394" y="108"/>
                    <a:pt x="395" y="108"/>
                  </a:cubicBezTo>
                  <a:cubicBezTo>
                    <a:pt x="396" y="109"/>
                    <a:pt x="397" y="108"/>
                    <a:pt x="398" y="108"/>
                  </a:cubicBezTo>
                  <a:cubicBezTo>
                    <a:pt x="400" y="108"/>
                    <a:pt x="401" y="106"/>
                    <a:pt x="404" y="106"/>
                  </a:cubicBezTo>
                  <a:cubicBezTo>
                    <a:pt x="405" y="106"/>
                    <a:pt x="405" y="106"/>
                    <a:pt x="406" y="105"/>
                  </a:cubicBezTo>
                  <a:cubicBezTo>
                    <a:pt x="407" y="105"/>
                    <a:pt x="408" y="105"/>
                    <a:pt x="409" y="104"/>
                  </a:cubicBezTo>
                  <a:cubicBezTo>
                    <a:pt x="410" y="103"/>
                    <a:pt x="413" y="102"/>
                    <a:pt x="414" y="100"/>
                  </a:cubicBezTo>
                  <a:cubicBezTo>
                    <a:pt x="415" y="97"/>
                    <a:pt x="412" y="98"/>
                    <a:pt x="410" y="96"/>
                  </a:cubicBezTo>
                  <a:cubicBezTo>
                    <a:pt x="408" y="94"/>
                    <a:pt x="411" y="91"/>
                    <a:pt x="413" y="88"/>
                  </a:cubicBezTo>
                  <a:cubicBezTo>
                    <a:pt x="414" y="87"/>
                    <a:pt x="415" y="86"/>
                    <a:pt x="416" y="85"/>
                  </a:cubicBezTo>
                  <a:cubicBezTo>
                    <a:pt x="416" y="85"/>
                    <a:pt x="416" y="85"/>
                    <a:pt x="416" y="84"/>
                  </a:cubicBezTo>
                  <a:cubicBezTo>
                    <a:pt x="416" y="84"/>
                    <a:pt x="417" y="83"/>
                    <a:pt x="417" y="83"/>
                  </a:cubicBezTo>
                  <a:cubicBezTo>
                    <a:pt x="417" y="82"/>
                    <a:pt x="417" y="80"/>
                    <a:pt x="416" y="79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4" name="Freeform 15">
              <a:extLst>
                <a:ext uri="{FF2B5EF4-FFF2-40B4-BE49-F238E27FC236}">
                  <a16:creationId xmlns:a16="http://schemas.microsoft.com/office/drawing/2014/main" id="{92A9E355-A8B5-4ECF-A52C-A668A866E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5313" y="4954588"/>
              <a:ext cx="25400" cy="30163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9" y="1"/>
                </a:cxn>
                <a:cxn ang="0">
                  <a:pos x="9" y="0"/>
                </a:cxn>
                <a:cxn ang="0">
                  <a:pos x="6" y="1"/>
                </a:cxn>
                <a:cxn ang="0">
                  <a:pos x="5" y="3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1" y="8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3" y="15"/>
                </a:cxn>
                <a:cxn ang="0">
                  <a:pos x="7" y="16"/>
                </a:cxn>
                <a:cxn ang="0">
                  <a:pos x="9" y="15"/>
                </a:cxn>
                <a:cxn ang="0">
                  <a:pos x="12" y="11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1" y="2"/>
                </a:cxn>
              </a:cxnLst>
              <a:rect l="0" t="0" r="r" b="b"/>
              <a:pathLst>
                <a:path w="13" h="16">
                  <a:moveTo>
                    <a:pt x="11" y="2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9" y="0"/>
                    <a:pt x="6" y="1"/>
                    <a:pt x="6" y="1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5"/>
                    <a:pt x="3" y="5"/>
                    <a:pt x="2" y="6"/>
                  </a:cubicBezTo>
                  <a:cubicBezTo>
                    <a:pt x="2" y="7"/>
                    <a:pt x="1" y="7"/>
                    <a:pt x="1" y="8"/>
                  </a:cubicBezTo>
                  <a:cubicBezTo>
                    <a:pt x="1" y="9"/>
                    <a:pt x="0" y="9"/>
                    <a:pt x="0" y="10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6"/>
                    <a:pt x="9" y="15"/>
                  </a:cubicBezTo>
                  <a:cubicBezTo>
                    <a:pt x="11" y="14"/>
                    <a:pt x="11" y="12"/>
                    <a:pt x="12" y="11"/>
                  </a:cubicBezTo>
                  <a:cubicBezTo>
                    <a:pt x="12" y="9"/>
                    <a:pt x="13" y="7"/>
                    <a:pt x="12" y="6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1" y="4"/>
                    <a:pt x="11" y="3"/>
                    <a:pt x="11" y="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5" name="Freeform 16">
              <a:extLst>
                <a:ext uri="{FF2B5EF4-FFF2-40B4-BE49-F238E27FC236}">
                  <a16:creationId xmlns:a16="http://schemas.microsoft.com/office/drawing/2014/main" id="{78248DEC-82A8-4F54-9891-7CC51B8F82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9413" y="4360863"/>
              <a:ext cx="1379538" cy="1341438"/>
            </a:xfrm>
            <a:custGeom>
              <a:avLst/>
              <a:gdLst/>
              <a:ahLst/>
              <a:cxnLst>
                <a:cxn ang="0">
                  <a:pos x="737" y="191"/>
                </a:cxn>
                <a:cxn ang="0">
                  <a:pos x="702" y="174"/>
                </a:cxn>
                <a:cxn ang="0">
                  <a:pos x="633" y="143"/>
                </a:cxn>
                <a:cxn ang="0">
                  <a:pos x="577" y="126"/>
                </a:cxn>
                <a:cxn ang="0">
                  <a:pos x="539" y="101"/>
                </a:cxn>
                <a:cxn ang="0">
                  <a:pos x="509" y="70"/>
                </a:cxn>
                <a:cxn ang="0">
                  <a:pos x="472" y="38"/>
                </a:cxn>
                <a:cxn ang="0">
                  <a:pos x="432" y="4"/>
                </a:cxn>
                <a:cxn ang="0">
                  <a:pos x="374" y="39"/>
                </a:cxn>
                <a:cxn ang="0">
                  <a:pos x="323" y="113"/>
                </a:cxn>
                <a:cxn ang="0">
                  <a:pos x="290" y="145"/>
                </a:cxn>
                <a:cxn ang="0">
                  <a:pos x="210" y="138"/>
                </a:cxn>
                <a:cxn ang="0">
                  <a:pos x="190" y="179"/>
                </a:cxn>
                <a:cxn ang="0">
                  <a:pos x="171" y="211"/>
                </a:cxn>
                <a:cxn ang="0">
                  <a:pos x="129" y="219"/>
                </a:cxn>
                <a:cxn ang="0">
                  <a:pos x="81" y="208"/>
                </a:cxn>
                <a:cxn ang="0">
                  <a:pos x="38" y="213"/>
                </a:cxn>
                <a:cxn ang="0">
                  <a:pos x="10" y="238"/>
                </a:cxn>
                <a:cxn ang="0">
                  <a:pos x="32" y="250"/>
                </a:cxn>
                <a:cxn ang="0">
                  <a:pos x="17" y="266"/>
                </a:cxn>
                <a:cxn ang="0">
                  <a:pos x="52" y="283"/>
                </a:cxn>
                <a:cxn ang="0">
                  <a:pos x="90" y="299"/>
                </a:cxn>
                <a:cxn ang="0">
                  <a:pos x="133" y="320"/>
                </a:cxn>
                <a:cxn ang="0">
                  <a:pos x="153" y="355"/>
                </a:cxn>
                <a:cxn ang="0">
                  <a:pos x="172" y="389"/>
                </a:cxn>
                <a:cxn ang="0">
                  <a:pos x="214" y="405"/>
                </a:cxn>
                <a:cxn ang="0">
                  <a:pos x="211" y="434"/>
                </a:cxn>
                <a:cxn ang="0">
                  <a:pos x="198" y="438"/>
                </a:cxn>
                <a:cxn ang="0">
                  <a:pos x="233" y="507"/>
                </a:cxn>
                <a:cxn ang="0">
                  <a:pos x="203" y="491"/>
                </a:cxn>
                <a:cxn ang="0">
                  <a:pos x="189" y="565"/>
                </a:cxn>
                <a:cxn ang="0">
                  <a:pos x="166" y="637"/>
                </a:cxn>
                <a:cxn ang="0">
                  <a:pos x="197" y="661"/>
                </a:cxn>
                <a:cxn ang="0">
                  <a:pos x="265" y="684"/>
                </a:cxn>
                <a:cxn ang="0">
                  <a:pos x="324" y="681"/>
                </a:cxn>
                <a:cxn ang="0">
                  <a:pos x="346" y="687"/>
                </a:cxn>
                <a:cxn ang="0">
                  <a:pos x="372" y="700"/>
                </a:cxn>
                <a:cxn ang="0">
                  <a:pos x="382" y="707"/>
                </a:cxn>
                <a:cxn ang="0">
                  <a:pos x="431" y="685"/>
                </a:cxn>
                <a:cxn ang="0">
                  <a:pos x="464" y="634"/>
                </a:cxn>
                <a:cxn ang="0">
                  <a:pos x="511" y="626"/>
                </a:cxn>
                <a:cxn ang="0">
                  <a:pos x="536" y="632"/>
                </a:cxn>
                <a:cxn ang="0">
                  <a:pos x="566" y="642"/>
                </a:cxn>
                <a:cxn ang="0">
                  <a:pos x="621" y="658"/>
                </a:cxn>
                <a:cxn ang="0">
                  <a:pos x="650" y="627"/>
                </a:cxn>
                <a:cxn ang="0">
                  <a:pos x="687" y="597"/>
                </a:cxn>
                <a:cxn ang="0">
                  <a:pos x="660" y="562"/>
                </a:cxn>
                <a:cxn ang="0">
                  <a:pos x="652" y="515"/>
                </a:cxn>
                <a:cxn ang="0">
                  <a:pos x="667" y="480"/>
                </a:cxn>
                <a:cxn ang="0">
                  <a:pos x="663" y="436"/>
                </a:cxn>
                <a:cxn ang="0">
                  <a:pos x="658" y="409"/>
                </a:cxn>
                <a:cxn ang="0">
                  <a:pos x="614" y="391"/>
                </a:cxn>
                <a:cxn ang="0">
                  <a:pos x="658" y="330"/>
                </a:cxn>
                <a:cxn ang="0">
                  <a:pos x="703" y="303"/>
                </a:cxn>
                <a:cxn ang="0">
                  <a:pos x="704" y="300"/>
                </a:cxn>
                <a:cxn ang="0">
                  <a:pos x="716" y="221"/>
                </a:cxn>
              </a:cxnLst>
              <a:rect l="0" t="0" r="r" b="b"/>
              <a:pathLst>
                <a:path w="738" h="718">
                  <a:moveTo>
                    <a:pt x="437" y="718"/>
                  </a:moveTo>
                  <a:cubicBezTo>
                    <a:pt x="439" y="716"/>
                    <a:pt x="441" y="714"/>
                    <a:pt x="442" y="710"/>
                  </a:cubicBezTo>
                  <a:cubicBezTo>
                    <a:pt x="442" y="710"/>
                    <a:pt x="442" y="710"/>
                    <a:pt x="442" y="710"/>
                  </a:cubicBezTo>
                  <a:cubicBezTo>
                    <a:pt x="440" y="711"/>
                    <a:pt x="438" y="715"/>
                    <a:pt x="437" y="718"/>
                  </a:cubicBezTo>
                  <a:moveTo>
                    <a:pt x="350" y="705"/>
                  </a:moveTo>
                  <a:cubicBezTo>
                    <a:pt x="350" y="705"/>
                    <a:pt x="349" y="705"/>
                    <a:pt x="349" y="705"/>
                  </a:cubicBezTo>
                  <a:cubicBezTo>
                    <a:pt x="349" y="705"/>
                    <a:pt x="350" y="705"/>
                    <a:pt x="350" y="705"/>
                  </a:cubicBezTo>
                  <a:moveTo>
                    <a:pt x="737" y="191"/>
                  </a:moveTo>
                  <a:cubicBezTo>
                    <a:pt x="738" y="189"/>
                    <a:pt x="738" y="186"/>
                    <a:pt x="737" y="184"/>
                  </a:cubicBezTo>
                  <a:cubicBezTo>
                    <a:pt x="735" y="181"/>
                    <a:pt x="733" y="182"/>
                    <a:pt x="731" y="181"/>
                  </a:cubicBezTo>
                  <a:cubicBezTo>
                    <a:pt x="730" y="181"/>
                    <a:pt x="729" y="180"/>
                    <a:pt x="728" y="179"/>
                  </a:cubicBezTo>
                  <a:cubicBezTo>
                    <a:pt x="729" y="179"/>
                    <a:pt x="725" y="177"/>
                    <a:pt x="726" y="177"/>
                  </a:cubicBezTo>
                  <a:cubicBezTo>
                    <a:pt x="723" y="176"/>
                    <a:pt x="720" y="176"/>
                    <a:pt x="717" y="176"/>
                  </a:cubicBezTo>
                  <a:cubicBezTo>
                    <a:pt x="714" y="176"/>
                    <a:pt x="708" y="177"/>
                    <a:pt x="705" y="176"/>
                  </a:cubicBezTo>
                  <a:cubicBezTo>
                    <a:pt x="704" y="176"/>
                    <a:pt x="705" y="175"/>
                    <a:pt x="704" y="175"/>
                  </a:cubicBezTo>
                  <a:cubicBezTo>
                    <a:pt x="703" y="174"/>
                    <a:pt x="702" y="174"/>
                    <a:pt x="702" y="174"/>
                  </a:cubicBezTo>
                  <a:cubicBezTo>
                    <a:pt x="699" y="171"/>
                    <a:pt x="699" y="168"/>
                    <a:pt x="697" y="166"/>
                  </a:cubicBezTo>
                  <a:cubicBezTo>
                    <a:pt x="691" y="162"/>
                    <a:pt x="685" y="162"/>
                    <a:pt x="678" y="162"/>
                  </a:cubicBezTo>
                  <a:cubicBezTo>
                    <a:pt x="674" y="162"/>
                    <a:pt x="671" y="162"/>
                    <a:pt x="668" y="163"/>
                  </a:cubicBezTo>
                  <a:cubicBezTo>
                    <a:pt x="664" y="164"/>
                    <a:pt x="662" y="167"/>
                    <a:pt x="658" y="167"/>
                  </a:cubicBezTo>
                  <a:cubicBezTo>
                    <a:pt x="654" y="166"/>
                    <a:pt x="654" y="164"/>
                    <a:pt x="652" y="161"/>
                  </a:cubicBezTo>
                  <a:cubicBezTo>
                    <a:pt x="652" y="159"/>
                    <a:pt x="652" y="159"/>
                    <a:pt x="651" y="157"/>
                  </a:cubicBezTo>
                  <a:cubicBezTo>
                    <a:pt x="651" y="156"/>
                    <a:pt x="649" y="155"/>
                    <a:pt x="648" y="154"/>
                  </a:cubicBezTo>
                  <a:cubicBezTo>
                    <a:pt x="643" y="148"/>
                    <a:pt x="639" y="146"/>
                    <a:pt x="633" y="143"/>
                  </a:cubicBezTo>
                  <a:cubicBezTo>
                    <a:pt x="629" y="141"/>
                    <a:pt x="628" y="139"/>
                    <a:pt x="624" y="142"/>
                  </a:cubicBezTo>
                  <a:cubicBezTo>
                    <a:pt x="618" y="145"/>
                    <a:pt x="617" y="142"/>
                    <a:pt x="612" y="139"/>
                  </a:cubicBezTo>
                  <a:cubicBezTo>
                    <a:pt x="609" y="137"/>
                    <a:pt x="606" y="136"/>
                    <a:pt x="601" y="136"/>
                  </a:cubicBezTo>
                  <a:cubicBezTo>
                    <a:pt x="600" y="136"/>
                    <a:pt x="598" y="136"/>
                    <a:pt x="597" y="137"/>
                  </a:cubicBezTo>
                  <a:cubicBezTo>
                    <a:pt x="595" y="137"/>
                    <a:pt x="594" y="139"/>
                    <a:pt x="593" y="140"/>
                  </a:cubicBezTo>
                  <a:cubicBezTo>
                    <a:pt x="589" y="142"/>
                    <a:pt x="584" y="134"/>
                    <a:pt x="583" y="132"/>
                  </a:cubicBezTo>
                  <a:cubicBezTo>
                    <a:pt x="583" y="131"/>
                    <a:pt x="583" y="129"/>
                    <a:pt x="582" y="128"/>
                  </a:cubicBezTo>
                  <a:cubicBezTo>
                    <a:pt x="581" y="126"/>
                    <a:pt x="579" y="127"/>
                    <a:pt x="577" y="126"/>
                  </a:cubicBezTo>
                  <a:cubicBezTo>
                    <a:pt x="569" y="123"/>
                    <a:pt x="564" y="116"/>
                    <a:pt x="555" y="116"/>
                  </a:cubicBezTo>
                  <a:cubicBezTo>
                    <a:pt x="554" y="111"/>
                    <a:pt x="553" y="107"/>
                    <a:pt x="553" y="102"/>
                  </a:cubicBezTo>
                  <a:cubicBezTo>
                    <a:pt x="553" y="101"/>
                    <a:pt x="552" y="99"/>
                    <a:pt x="553" y="97"/>
                  </a:cubicBezTo>
                  <a:cubicBezTo>
                    <a:pt x="554" y="94"/>
                    <a:pt x="557" y="92"/>
                    <a:pt x="554" y="89"/>
                  </a:cubicBezTo>
                  <a:cubicBezTo>
                    <a:pt x="552" y="88"/>
                    <a:pt x="551" y="87"/>
                    <a:pt x="549" y="87"/>
                  </a:cubicBezTo>
                  <a:cubicBezTo>
                    <a:pt x="547" y="88"/>
                    <a:pt x="545" y="90"/>
                    <a:pt x="544" y="91"/>
                  </a:cubicBezTo>
                  <a:cubicBezTo>
                    <a:pt x="544" y="93"/>
                    <a:pt x="545" y="96"/>
                    <a:pt x="544" y="98"/>
                  </a:cubicBezTo>
                  <a:cubicBezTo>
                    <a:pt x="543" y="99"/>
                    <a:pt x="540" y="100"/>
                    <a:pt x="539" y="101"/>
                  </a:cubicBezTo>
                  <a:cubicBezTo>
                    <a:pt x="536" y="103"/>
                    <a:pt x="532" y="106"/>
                    <a:pt x="529" y="105"/>
                  </a:cubicBezTo>
                  <a:cubicBezTo>
                    <a:pt x="526" y="104"/>
                    <a:pt x="527" y="104"/>
                    <a:pt x="525" y="102"/>
                  </a:cubicBezTo>
                  <a:cubicBezTo>
                    <a:pt x="522" y="100"/>
                    <a:pt x="522" y="101"/>
                    <a:pt x="521" y="97"/>
                  </a:cubicBezTo>
                  <a:cubicBezTo>
                    <a:pt x="520" y="95"/>
                    <a:pt x="520" y="88"/>
                    <a:pt x="518" y="86"/>
                  </a:cubicBezTo>
                  <a:cubicBezTo>
                    <a:pt x="516" y="85"/>
                    <a:pt x="514" y="87"/>
                    <a:pt x="513" y="85"/>
                  </a:cubicBezTo>
                  <a:cubicBezTo>
                    <a:pt x="512" y="85"/>
                    <a:pt x="512" y="80"/>
                    <a:pt x="513" y="80"/>
                  </a:cubicBezTo>
                  <a:cubicBezTo>
                    <a:pt x="514" y="77"/>
                    <a:pt x="517" y="80"/>
                    <a:pt x="517" y="76"/>
                  </a:cubicBezTo>
                  <a:cubicBezTo>
                    <a:pt x="518" y="72"/>
                    <a:pt x="512" y="71"/>
                    <a:pt x="509" y="70"/>
                  </a:cubicBezTo>
                  <a:cubicBezTo>
                    <a:pt x="508" y="69"/>
                    <a:pt x="506" y="68"/>
                    <a:pt x="505" y="67"/>
                  </a:cubicBezTo>
                  <a:cubicBezTo>
                    <a:pt x="502" y="67"/>
                    <a:pt x="500" y="69"/>
                    <a:pt x="498" y="69"/>
                  </a:cubicBezTo>
                  <a:cubicBezTo>
                    <a:pt x="494" y="69"/>
                    <a:pt x="491" y="67"/>
                    <a:pt x="491" y="64"/>
                  </a:cubicBezTo>
                  <a:cubicBezTo>
                    <a:pt x="490" y="62"/>
                    <a:pt x="491" y="60"/>
                    <a:pt x="490" y="59"/>
                  </a:cubicBezTo>
                  <a:cubicBezTo>
                    <a:pt x="488" y="55"/>
                    <a:pt x="483" y="57"/>
                    <a:pt x="480" y="56"/>
                  </a:cubicBezTo>
                  <a:cubicBezTo>
                    <a:pt x="476" y="56"/>
                    <a:pt x="469" y="50"/>
                    <a:pt x="469" y="46"/>
                  </a:cubicBezTo>
                  <a:cubicBezTo>
                    <a:pt x="470" y="44"/>
                    <a:pt x="473" y="43"/>
                    <a:pt x="473" y="41"/>
                  </a:cubicBezTo>
                  <a:cubicBezTo>
                    <a:pt x="473" y="40"/>
                    <a:pt x="472" y="39"/>
                    <a:pt x="472" y="38"/>
                  </a:cubicBezTo>
                  <a:cubicBezTo>
                    <a:pt x="470" y="34"/>
                    <a:pt x="466" y="30"/>
                    <a:pt x="461" y="31"/>
                  </a:cubicBezTo>
                  <a:cubicBezTo>
                    <a:pt x="457" y="31"/>
                    <a:pt x="453" y="35"/>
                    <a:pt x="449" y="35"/>
                  </a:cubicBezTo>
                  <a:cubicBezTo>
                    <a:pt x="444" y="36"/>
                    <a:pt x="442" y="32"/>
                    <a:pt x="438" y="29"/>
                  </a:cubicBezTo>
                  <a:cubicBezTo>
                    <a:pt x="435" y="26"/>
                    <a:pt x="434" y="24"/>
                    <a:pt x="433" y="20"/>
                  </a:cubicBezTo>
                  <a:cubicBezTo>
                    <a:pt x="433" y="17"/>
                    <a:pt x="433" y="13"/>
                    <a:pt x="433" y="10"/>
                  </a:cubicBezTo>
                  <a:cubicBezTo>
                    <a:pt x="434" y="8"/>
                    <a:pt x="434" y="8"/>
                    <a:pt x="434" y="8"/>
                  </a:cubicBezTo>
                  <a:cubicBezTo>
                    <a:pt x="434" y="7"/>
                    <a:pt x="434" y="8"/>
                    <a:pt x="433" y="7"/>
                  </a:cubicBezTo>
                  <a:cubicBezTo>
                    <a:pt x="433" y="7"/>
                    <a:pt x="432" y="4"/>
                    <a:pt x="432" y="4"/>
                  </a:cubicBezTo>
                  <a:cubicBezTo>
                    <a:pt x="431" y="3"/>
                    <a:pt x="429" y="2"/>
                    <a:pt x="427" y="1"/>
                  </a:cubicBezTo>
                  <a:cubicBezTo>
                    <a:pt x="422" y="0"/>
                    <a:pt x="418" y="1"/>
                    <a:pt x="416" y="5"/>
                  </a:cubicBezTo>
                  <a:cubicBezTo>
                    <a:pt x="415" y="6"/>
                    <a:pt x="415" y="7"/>
                    <a:pt x="415" y="8"/>
                  </a:cubicBezTo>
                  <a:cubicBezTo>
                    <a:pt x="414" y="8"/>
                    <a:pt x="412" y="9"/>
                    <a:pt x="411" y="10"/>
                  </a:cubicBezTo>
                  <a:cubicBezTo>
                    <a:pt x="410" y="11"/>
                    <a:pt x="410" y="14"/>
                    <a:pt x="408" y="15"/>
                  </a:cubicBezTo>
                  <a:cubicBezTo>
                    <a:pt x="406" y="18"/>
                    <a:pt x="403" y="20"/>
                    <a:pt x="401" y="23"/>
                  </a:cubicBezTo>
                  <a:cubicBezTo>
                    <a:pt x="396" y="31"/>
                    <a:pt x="387" y="29"/>
                    <a:pt x="380" y="33"/>
                  </a:cubicBezTo>
                  <a:cubicBezTo>
                    <a:pt x="378" y="35"/>
                    <a:pt x="375" y="37"/>
                    <a:pt x="374" y="39"/>
                  </a:cubicBezTo>
                  <a:cubicBezTo>
                    <a:pt x="372" y="41"/>
                    <a:pt x="373" y="43"/>
                    <a:pt x="373" y="45"/>
                  </a:cubicBezTo>
                  <a:cubicBezTo>
                    <a:pt x="372" y="51"/>
                    <a:pt x="370" y="55"/>
                    <a:pt x="368" y="61"/>
                  </a:cubicBezTo>
                  <a:cubicBezTo>
                    <a:pt x="367" y="65"/>
                    <a:pt x="369" y="70"/>
                    <a:pt x="368" y="74"/>
                  </a:cubicBezTo>
                  <a:cubicBezTo>
                    <a:pt x="367" y="79"/>
                    <a:pt x="365" y="86"/>
                    <a:pt x="361" y="90"/>
                  </a:cubicBezTo>
                  <a:cubicBezTo>
                    <a:pt x="358" y="94"/>
                    <a:pt x="352" y="95"/>
                    <a:pt x="348" y="97"/>
                  </a:cubicBezTo>
                  <a:cubicBezTo>
                    <a:pt x="345" y="99"/>
                    <a:pt x="341" y="102"/>
                    <a:pt x="338" y="105"/>
                  </a:cubicBezTo>
                  <a:cubicBezTo>
                    <a:pt x="335" y="106"/>
                    <a:pt x="334" y="107"/>
                    <a:pt x="331" y="108"/>
                  </a:cubicBezTo>
                  <a:cubicBezTo>
                    <a:pt x="328" y="109"/>
                    <a:pt x="326" y="112"/>
                    <a:pt x="323" y="113"/>
                  </a:cubicBezTo>
                  <a:cubicBezTo>
                    <a:pt x="321" y="115"/>
                    <a:pt x="317" y="114"/>
                    <a:pt x="314" y="115"/>
                  </a:cubicBezTo>
                  <a:cubicBezTo>
                    <a:pt x="311" y="116"/>
                    <a:pt x="310" y="118"/>
                    <a:pt x="307" y="119"/>
                  </a:cubicBezTo>
                  <a:cubicBezTo>
                    <a:pt x="304" y="122"/>
                    <a:pt x="298" y="120"/>
                    <a:pt x="295" y="122"/>
                  </a:cubicBezTo>
                  <a:cubicBezTo>
                    <a:pt x="293" y="123"/>
                    <a:pt x="293" y="125"/>
                    <a:pt x="292" y="126"/>
                  </a:cubicBezTo>
                  <a:cubicBezTo>
                    <a:pt x="290" y="128"/>
                    <a:pt x="287" y="128"/>
                    <a:pt x="284" y="128"/>
                  </a:cubicBezTo>
                  <a:cubicBezTo>
                    <a:pt x="282" y="128"/>
                    <a:pt x="280" y="127"/>
                    <a:pt x="279" y="129"/>
                  </a:cubicBezTo>
                  <a:cubicBezTo>
                    <a:pt x="278" y="131"/>
                    <a:pt x="280" y="134"/>
                    <a:pt x="280" y="136"/>
                  </a:cubicBezTo>
                  <a:cubicBezTo>
                    <a:pt x="282" y="141"/>
                    <a:pt x="285" y="144"/>
                    <a:pt x="290" y="145"/>
                  </a:cubicBezTo>
                  <a:cubicBezTo>
                    <a:pt x="292" y="151"/>
                    <a:pt x="286" y="152"/>
                    <a:pt x="282" y="154"/>
                  </a:cubicBezTo>
                  <a:cubicBezTo>
                    <a:pt x="278" y="156"/>
                    <a:pt x="275" y="158"/>
                    <a:pt x="271" y="157"/>
                  </a:cubicBezTo>
                  <a:cubicBezTo>
                    <a:pt x="269" y="156"/>
                    <a:pt x="268" y="155"/>
                    <a:pt x="266" y="155"/>
                  </a:cubicBezTo>
                  <a:cubicBezTo>
                    <a:pt x="263" y="155"/>
                    <a:pt x="262" y="156"/>
                    <a:pt x="259" y="157"/>
                  </a:cubicBezTo>
                  <a:cubicBezTo>
                    <a:pt x="255" y="159"/>
                    <a:pt x="249" y="159"/>
                    <a:pt x="245" y="157"/>
                  </a:cubicBezTo>
                  <a:cubicBezTo>
                    <a:pt x="237" y="152"/>
                    <a:pt x="224" y="155"/>
                    <a:pt x="219" y="148"/>
                  </a:cubicBezTo>
                  <a:cubicBezTo>
                    <a:pt x="218" y="147"/>
                    <a:pt x="217" y="145"/>
                    <a:pt x="216" y="143"/>
                  </a:cubicBezTo>
                  <a:cubicBezTo>
                    <a:pt x="214" y="142"/>
                    <a:pt x="211" y="141"/>
                    <a:pt x="210" y="138"/>
                  </a:cubicBezTo>
                  <a:cubicBezTo>
                    <a:pt x="210" y="136"/>
                    <a:pt x="210" y="133"/>
                    <a:pt x="210" y="131"/>
                  </a:cubicBezTo>
                  <a:cubicBezTo>
                    <a:pt x="210" y="129"/>
                    <a:pt x="209" y="127"/>
                    <a:pt x="209" y="124"/>
                  </a:cubicBezTo>
                  <a:cubicBezTo>
                    <a:pt x="205" y="122"/>
                    <a:pt x="192" y="122"/>
                    <a:pt x="188" y="126"/>
                  </a:cubicBezTo>
                  <a:cubicBezTo>
                    <a:pt x="185" y="128"/>
                    <a:pt x="182" y="130"/>
                    <a:pt x="179" y="132"/>
                  </a:cubicBezTo>
                  <a:cubicBezTo>
                    <a:pt x="177" y="136"/>
                    <a:pt x="177" y="142"/>
                    <a:pt x="179" y="146"/>
                  </a:cubicBezTo>
                  <a:cubicBezTo>
                    <a:pt x="181" y="150"/>
                    <a:pt x="180" y="154"/>
                    <a:pt x="182" y="158"/>
                  </a:cubicBezTo>
                  <a:cubicBezTo>
                    <a:pt x="183" y="160"/>
                    <a:pt x="184" y="161"/>
                    <a:pt x="185" y="163"/>
                  </a:cubicBezTo>
                  <a:cubicBezTo>
                    <a:pt x="188" y="168"/>
                    <a:pt x="190" y="174"/>
                    <a:pt x="190" y="179"/>
                  </a:cubicBezTo>
                  <a:cubicBezTo>
                    <a:pt x="191" y="186"/>
                    <a:pt x="192" y="194"/>
                    <a:pt x="193" y="202"/>
                  </a:cubicBezTo>
                  <a:cubicBezTo>
                    <a:pt x="193" y="205"/>
                    <a:pt x="193" y="207"/>
                    <a:pt x="192" y="208"/>
                  </a:cubicBezTo>
                  <a:cubicBezTo>
                    <a:pt x="192" y="207"/>
                    <a:pt x="188" y="210"/>
                    <a:pt x="189" y="210"/>
                  </a:cubicBezTo>
                  <a:cubicBezTo>
                    <a:pt x="188" y="210"/>
                    <a:pt x="187" y="211"/>
                    <a:pt x="186" y="211"/>
                  </a:cubicBezTo>
                  <a:cubicBezTo>
                    <a:pt x="184" y="211"/>
                    <a:pt x="183" y="211"/>
                    <a:pt x="182" y="211"/>
                  </a:cubicBezTo>
                  <a:cubicBezTo>
                    <a:pt x="182" y="211"/>
                    <a:pt x="179" y="213"/>
                    <a:pt x="180" y="213"/>
                  </a:cubicBezTo>
                  <a:cubicBezTo>
                    <a:pt x="177" y="213"/>
                    <a:pt x="179" y="212"/>
                    <a:pt x="176" y="211"/>
                  </a:cubicBezTo>
                  <a:cubicBezTo>
                    <a:pt x="175" y="211"/>
                    <a:pt x="171" y="211"/>
                    <a:pt x="171" y="211"/>
                  </a:cubicBezTo>
                  <a:cubicBezTo>
                    <a:pt x="169" y="211"/>
                    <a:pt x="169" y="213"/>
                    <a:pt x="168" y="213"/>
                  </a:cubicBezTo>
                  <a:cubicBezTo>
                    <a:pt x="167" y="214"/>
                    <a:pt x="166" y="213"/>
                    <a:pt x="165" y="214"/>
                  </a:cubicBezTo>
                  <a:cubicBezTo>
                    <a:pt x="164" y="214"/>
                    <a:pt x="164" y="215"/>
                    <a:pt x="164" y="215"/>
                  </a:cubicBezTo>
                  <a:cubicBezTo>
                    <a:pt x="162" y="216"/>
                    <a:pt x="161" y="216"/>
                    <a:pt x="160" y="216"/>
                  </a:cubicBezTo>
                  <a:cubicBezTo>
                    <a:pt x="158" y="216"/>
                    <a:pt x="155" y="216"/>
                    <a:pt x="153" y="216"/>
                  </a:cubicBezTo>
                  <a:cubicBezTo>
                    <a:pt x="149" y="215"/>
                    <a:pt x="144" y="210"/>
                    <a:pt x="141" y="214"/>
                  </a:cubicBezTo>
                  <a:cubicBezTo>
                    <a:pt x="138" y="217"/>
                    <a:pt x="140" y="218"/>
                    <a:pt x="137" y="219"/>
                  </a:cubicBezTo>
                  <a:cubicBezTo>
                    <a:pt x="135" y="220"/>
                    <a:pt x="131" y="219"/>
                    <a:pt x="129" y="219"/>
                  </a:cubicBezTo>
                  <a:cubicBezTo>
                    <a:pt x="122" y="219"/>
                    <a:pt x="120" y="217"/>
                    <a:pt x="118" y="210"/>
                  </a:cubicBezTo>
                  <a:cubicBezTo>
                    <a:pt x="117" y="205"/>
                    <a:pt x="115" y="203"/>
                    <a:pt x="110" y="201"/>
                  </a:cubicBezTo>
                  <a:cubicBezTo>
                    <a:pt x="107" y="199"/>
                    <a:pt x="101" y="201"/>
                    <a:pt x="100" y="198"/>
                  </a:cubicBezTo>
                  <a:cubicBezTo>
                    <a:pt x="98" y="200"/>
                    <a:pt x="98" y="202"/>
                    <a:pt x="95" y="203"/>
                  </a:cubicBezTo>
                  <a:cubicBezTo>
                    <a:pt x="94" y="203"/>
                    <a:pt x="92" y="202"/>
                    <a:pt x="91" y="203"/>
                  </a:cubicBezTo>
                  <a:cubicBezTo>
                    <a:pt x="89" y="203"/>
                    <a:pt x="88" y="205"/>
                    <a:pt x="86" y="206"/>
                  </a:cubicBezTo>
                  <a:cubicBezTo>
                    <a:pt x="85" y="206"/>
                    <a:pt x="84" y="206"/>
                    <a:pt x="83" y="206"/>
                  </a:cubicBezTo>
                  <a:cubicBezTo>
                    <a:pt x="82" y="206"/>
                    <a:pt x="82" y="207"/>
                    <a:pt x="81" y="208"/>
                  </a:cubicBezTo>
                  <a:cubicBezTo>
                    <a:pt x="80" y="209"/>
                    <a:pt x="80" y="210"/>
                    <a:pt x="78" y="210"/>
                  </a:cubicBezTo>
                  <a:cubicBezTo>
                    <a:pt x="76" y="212"/>
                    <a:pt x="74" y="211"/>
                    <a:pt x="71" y="210"/>
                  </a:cubicBezTo>
                  <a:cubicBezTo>
                    <a:pt x="69" y="210"/>
                    <a:pt x="64" y="209"/>
                    <a:pt x="62" y="210"/>
                  </a:cubicBezTo>
                  <a:cubicBezTo>
                    <a:pt x="59" y="211"/>
                    <a:pt x="60" y="215"/>
                    <a:pt x="56" y="213"/>
                  </a:cubicBezTo>
                  <a:cubicBezTo>
                    <a:pt x="53" y="212"/>
                    <a:pt x="54" y="209"/>
                    <a:pt x="50" y="208"/>
                  </a:cubicBezTo>
                  <a:cubicBezTo>
                    <a:pt x="46" y="208"/>
                    <a:pt x="44" y="209"/>
                    <a:pt x="41" y="211"/>
                  </a:cubicBezTo>
                  <a:cubicBezTo>
                    <a:pt x="41" y="211"/>
                    <a:pt x="40" y="211"/>
                    <a:pt x="39" y="211"/>
                  </a:cubicBezTo>
                  <a:cubicBezTo>
                    <a:pt x="39" y="211"/>
                    <a:pt x="38" y="212"/>
                    <a:pt x="38" y="213"/>
                  </a:cubicBezTo>
                  <a:cubicBezTo>
                    <a:pt x="36" y="213"/>
                    <a:pt x="35" y="213"/>
                    <a:pt x="33" y="213"/>
                  </a:cubicBezTo>
                  <a:cubicBezTo>
                    <a:pt x="31" y="213"/>
                    <a:pt x="27" y="213"/>
                    <a:pt x="26" y="214"/>
                  </a:cubicBezTo>
                  <a:cubicBezTo>
                    <a:pt x="23" y="215"/>
                    <a:pt x="21" y="218"/>
                    <a:pt x="20" y="220"/>
                  </a:cubicBezTo>
                  <a:cubicBezTo>
                    <a:pt x="20" y="221"/>
                    <a:pt x="19" y="221"/>
                    <a:pt x="18" y="222"/>
                  </a:cubicBezTo>
                  <a:cubicBezTo>
                    <a:pt x="18" y="222"/>
                    <a:pt x="17" y="222"/>
                    <a:pt x="17" y="222"/>
                  </a:cubicBezTo>
                  <a:cubicBezTo>
                    <a:pt x="16" y="223"/>
                    <a:pt x="14" y="224"/>
                    <a:pt x="13" y="224"/>
                  </a:cubicBezTo>
                  <a:cubicBezTo>
                    <a:pt x="11" y="225"/>
                    <a:pt x="9" y="232"/>
                    <a:pt x="8" y="234"/>
                  </a:cubicBezTo>
                  <a:cubicBezTo>
                    <a:pt x="8" y="237"/>
                    <a:pt x="8" y="237"/>
                    <a:pt x="10" y="238"/>
                  </a:cubicBezTo>
                  <a:cubicBezTo>
                    <a:pt x="10" y="238"/>
                    <a:pt x="11" y="237"/>
                    <a:pt x="12" y="237"/>
                  </a:cubicBezTo>
                  <a:cubicBezTo>
                    <a:pt x="14" y="238"/>
                    <a:pt x="14" y="240"/>
                    <a:pt x="16" y="240"/>
                  </a:cubicBezTo>
                  <a:cubicBezTo>
                    <a:pt x="17" y="240"/>
                    <a:pt x="18" y="240"/>
                    <a:pt x="19" y="240"/>
                  </a:cubicBezTo>
                  <a:cubicBezTo>
                    <a:pt x="21" y="241"/>
                    <a:pt x="23" y="241"/>
                    <a:pt x="24" y="242"/>
                  </a:cubicBezTo>
                  <a:cubicBezTo>
                    <a:pt x="28" y="243"/>
                    <a:pt x="27" y="241"/>
                    <a:pt x="31" y="240"/>
                  </a:cubicBezTo>
                  <a:cubicBezTo>
                    <a:pt x="34" y="239"/>
                    <a:pt x="38" y="242"/>
                    <a:pt x="36" y="246"/>
                  </a:cubicBezTo>
                  <a:cubicBezTo>
                    <a:pt x="32" y="247"/>
                    <a:pt x="28" y="244"/>
                    <a:pt x="23" y="245"/>
                  </a:cubicBezTo>
                  <a:cubicBezTo>
                    <a:pt x="21" y="249"/>
                    <a:pt x="30" y="249"/>
                    <a:pt x="32" y="250"/>
                  </a:cubicBezTo>
                  <a:cubicBezTo>
                    <a:pt x="34" y="251"/>
                    <a:pt x="35" y="252"/>
                    <a:pt x="35" y="254"/>
                  </a:cubicBezTo>
                  <a:cubicBezTo>
                    <a:pt x="34" y="256"/>
                    <a:pt x="33" y="255"/>
                    <a:pt x="31" y="255"/>
                  </a:cubicBezTo>
                  <a:cubicBezTo>
                    <a:pt x="28" y="256"/>
                    <a:pt x="26" y="255"/>
                    <a:pt x="23" y="255"/>
                  </a:cubicBezTo>
                  <a:cubicBezTo>
                    <a:pt x="19" y="256"/>
                    <a:pt x="16" y="254"/>
                    <a:pt x="11" y="254"/>
                  </a:cubicBezTo>
                  <a:cubicBezTo>
                    <a:pt x="9" y="254"/>
                    <a:pt x="4" y="253"/>
                    <a:pt x="2" y="254"/>
                  </a:cubicBezTo>
                  <a:cubicBezTo>
                    <a:pt x="1" y="254"/>
                    <a:pt x="0" y="254"/>
                    <a:pt x="0" y="257"/>
                  </a:cubicBezTo>
                  <a:cubicBezTo>
                    <a:pt x="1" y="260"/>
                    <a:pt x="7" y="260"/>
                    <a:pt x="10" y="262"/>
                  </a:cubicBezTo>
                  <a:cubicBezTo>
                    <a:pt x="12" y="264"/>
                    <a:pt x="14" y="266"/>
                    <a:pt x="17" y="266"/>
                  </a:cubicBezTo>
                  <a:cubicBezTo>
                    <a:pt x="22" y="268"/>
                    <a:pt x="27" y="271"/>
                    <a:pt x="33" y="272"/>
                  </a:cubicBezTo>
                  <a:cubicBezTo>
                    <a:pt x="33" y="273"/>
                    <a:pt x="33" y="276"/>
                    <a:pt x="33" y="277"/>
                  </a:cubicBezTo>
                  <a:cubicBezTo>
                    <a:pt x="32" y="279"/>
                    <a:pt x="31" y="279"/>
                    <a:pt x="30" y="281"/>
                  </a:cubicBezTo>
                  <a:cubicBezTo>
                    <a:pt x="28" y="286"/>
                    <a:pt x="33" y="287"/>
                    <a:pt x="36" y="288"/>
                  </a:cubicBezTo>
                  <a:cubicBezTo>
                    <a:pt x="37" y="288"/>
                    <a:pt x="39" y="288"/>
                    <a:pt x="40" y="288"/>
                  </a:cubicBezTo>
                  <a:cubicBezTo>
                    <a:pt x="43" y="287"/>
                    <a:pt x="41" y="285"/>
                    <a:pt x="43" y="283"/>
                  </a:cubicBezTo>
                  <a:cubicBezTo>
                    <a:pt x="45" y="281"/>
                    <a:pt x="47" y="283"/>
                    <a:pt x="49" y="285"/>
                  </a:cubicBezTo>
                  <a:cubicBezTo>
                    <a:pt x="49" y="284"/>
                    <a:pt x="51" y="283"/>
                    <a:pt x="52" y="283"/>
                  </a:cubicBezTo>
                  <a:cubicBezTo>
                    <a:pt x="52" y="280"/>
                    <a:pt x="57" y="279"/>
                    <a:pt x="58" y="281"/>
                  </a:cubicBezTo>
                  <a:cubicBezTo>
                    <a:pt x="60" y="282"/>
                    <a:pt x="58" y="284"/>
                    <a:pt x="60" y="286"/>
                  </a:cubicBezTo>
                  <a:cubicBezTo>
                    <a:pt x="62" y="286"/>
                    <a:pt x="63" y="286"/>
                    <a:pt x="65" y="286"/>
                  </a:cubicBezTo>
                  <a:cubicBezTo>
                    <a:pt x="67" y="287"/>
                    <a:pt x="68" y="288"/>
                    <a:pt x="71" y="289"/>
                  </a:cubicBezTo>
                  <a:cubicBezTo>
                    <a:pt x="73" y="289"/>
                    <a:pt x="75" y="289"/>
                    <a:pt x="77" y="289"/>
                  </a:cubicBezTo>
                  <a:cubicBezTo>
                    <a:pt x="83" y="288"/>
                    <a:pt x="81" y="290"/>
                    <a:pt x="84" y="294"/>
                  </a:cubicBezTo>
                  <a:cubicBezTo>
                    <a:pt x="85" y="297"/>
                    <a:pt x="84" y="295"/>
                    <a:pt x="87" y="296"/>
                  </a:cubicBezTo>
                  <a:cubicBezTo>
                    <a:pt x="89" y="297"/>
                    <a:pt x="88" y="297"/>
                    <a:pt x="90" y="299"/>
                  </a:cubicBezTo>
                  <a:cubicBezTo>
                    <a:pt x="93" y="301"/>
                    <a:pt x="93" y="301"/>
                    <a:pt x="96" y="302"/>
                  </a:cubicBezTo>
                  <a:cubicBezTo>
                    <a:pt x="100" y="302"/>
                    <a:pt x="98" y="302"/>
                    <a:pt x="101" y="305"/>
                  </a:cubicBezTo>
                  <a:cubicBezTo>
                    <a:pt x="104" y="308"/>
                    <a:pt x="108" y="306"/>
                    <a:pt x="112" y="305"/>
                  </a:cubicBezTo>
                  <a:cubicBezTo>
                    <a:pt x="114" y="303"/>
                    <a:pt x="118" y="303"/>
                    <a:pt x="120" y="304"/>
                  </a:cubicBezTo>
                  <a:cubicBezTo>
                    <a:pt x="123" y="309"/>
                    <a:pt x="113" y="305"/>
                    <a:pt x="114" y="310"/>
                  </a:cubicBezTo>
                  <a:cubicBezTo>
                    <a:pt x="114" y="313"/>
                    <a:pt x="126" y="312"/>
                    <a:pt x="129" y="312"/>
                  </a:cubicBezTo>
                  <a:cubicBezTo>
                    <a:pt x="132" y="312"/>
                    <a:pt x="136" y="311"/>
                    <a:pt x="136" y="315"/>
                  </a:cubicBezTo>
                  <a:cubicBezTo>
                    <a:pt x="136" y="317"/>
                    <a:pt x="134" y="319"/>
                    <a:pt x="133" y="320"/>
                  </a:cubicBezTo>
                  <a:cubicBezTo>
                    <a:pt x="132" y="321"/>
                    <a:pt x="131" y="325"/>
                    <a:pt x="132" y="326"/>
                  </a:cubicBezTo>
                  <a:cubicBezTo>
                    <a:pt x="132" y="331"/>
                    <a:pt x="139" y="327"/>
                    <a:pt x="142" y="328"/>
                  </a:cubicBezTo>
                  <a:cubicBezTo>
                    <a:pt x="145" y="329"/>
                    <a:pt x="147" y="333"/>
                    <a:pt x="148" y="335"/>
                  </a:cubicBezTo>
                  <a:cubicBezTo>
                    <a:pt x="148" y="337"/>
                    <a:pt x="147" y="340"/>
                    <a:pt x="147" y="341"/>
                  </a:cubicBezTo>
                  <a:cubicBezTo>
                    <a:pt x="148" y="343"/>
                    <a:pt x="151" y="343"/>
                    <a:pt x="153" y="344"/>
                  </a:cubicBezTo>
                  <a:cubicBezTo>
                    <a:pt x="155" y="346"/>
                    <a:pt x="155" y="346"/>
                    <a:pt x="156" y="349"/>
                  </a:cubicBezTo>
                  <a:cubicBezTo>
                    <a:pt x="157" y="350"/>
                    <a:pt x="158" y="354"/>
                    <a:pt x="157" y="355"/>
                  </a:cubicBezTo>
                  <a:cubicBezTo>
                    <a:pt x="156" y="355"/>
                    <a:pt x="154" y="356"/>
                    <a:pt x="153" y="355"/>
                  </a:cubicBezTo>
                  <a:cubicBezTo>
                    <a:pt x="152" y="355"/>
                    <a:pt x="150" y="351"/>
                    <a:pt x="149" y="350"/>
                  </a:cubicBezTo>
                  <a:cubicBezTo>
                    <a:pt x="148" y="349"/>
                    <a:pt x="148" y="347"/>
                    <a:pt x="145" y="347"/>
                  </a:cubicBezTo>
                  <a:cubicBezTo>
                    <a:pt x="142" y="347"/>
                    <a:pt x="141" y="351"/>
                    <a:pt x="142" y="353"/>
                  </a:cubicBezTo>
                  <a:cubicBezTo>
                    <a:pt x="143" y="355"/>
                    <a:pt x="146" y="356"/>
                    <a:pt x="147" y="358"/>
                  </a:cubicBezTo>
                  <a:cubicBezTo>
                    <a:pt x="149" y="360"/>
                    <a:pt x="150" y="362"/>
                    <a:pt x="152" y="364"/>
                  </a:cubicBezTo>
                  <a:cubicBezTo>
                    <a:pt x="156" y="368"/>
                    <a:pt x="161" y="373"/>
                    <a:pt x="161" y="379"/>
                  </a:cubicBezTo>
                  <a:cubicBezTo>
                    <a:pt x="165" y="379"/>
                    <a:pt x="165" y="385"/>
                    <a:pt x="167" y="387"/>
                  </a:cubicBezTo>
                  <a:cubicBezTo>
                    <a:pt x="169" y="388"/>
                    <a:pt x="171" y="388"/>
                    <a:pt x="172" y="389"/>
                  </a:cubicBezTo>
                  <a:cubicBezTo>
                    <a:pt x="174" y="390"/>
                    <a:pt x="174" y="393"/>
                    <a:pt x="175" y="395"/>
                  </a:cubicBezTo>
                  <a:cubicBezTo>
                    <a:pt x="176" y="396"/>
                    <a:pt x="179" y="400"/>
                    <a:pt x="180" y="400"/>
                  </a:cubicBezTo>
                  <a:cubicBezTo>
                    <a:pt x="182" y="401"/>
                    <a:pt x="184" y="401"/>
                    <a:pt x="187" y="401"/>
                  </a:cubicBezTo>
                  <a:cubicBezTo>
                    <a:pt x="191" y="401"/>
                    <a:pt x="192" y="403"/>
                    <a:pt x="196" y="403"/>
                  </a:cubicBezTo>
                  <a:cubicBezTo>
                    <a:pt x="199" y="403"/>
                    <a:pt x="199" y="403"/>
                    <a:pt x="201" y="404"/>
                  </a:cubicBezTo>
                  <a:cubicBezTo>
                    <a:pt x="202" y="405"/>
                    <a:pt x="203" y="407"/>
                    <a:pt x="205" y="408"/>
                  </a:cubicBezTo>
                  <a:cubicBezTo>
                    <a:pt x="207" y="408"/>
                    <a:pt x="207" y="407"/>
                    <a:pt x="208" y="406"/>
                  </a:cubicBezTo>
                  <a:cubicBezTo>
                    <a:pt x="210" y="406"/>
                    <a:pt x="212" y="405"/>
                    <a:pt x="214" y="405"/>
                  </a:cubicBezTo>
                  <a:cubicBezTo>
                    <a:pt x="218" y="405"/>
                    <a:pt x="222" y="405"/>
                    <a:pt x="226" y="405"/>
                  </a:cubicBezTo>
                  <a:cubicBezTo>
                    <a:pt x="228" y="405"/>
                    <a:pt x="231" y="404"/>
                    <a:pt x="231" y="406"/>
                  </a:cubicBezTo>
                  <a:cubicBezTo>
                    <a:pt x="232" y="409"/>
                    <a:pt x="226" y="409"/>
                    <a:pt x="224" y="409"/>
                  </a:cubicBezTo>
                  <a:cubicBezTo>
                    <a:pt x="221" y="409"/>
                    <a:pt x="218" y="409"/>
                    <a:pt x="215" y="409"/>
                  </a:cubicBezTo>
                  <a:cubicBezTo>
                    <a:pt x="211" y="409"/>
                    <a:pt x="208" y="407"/>
                    <a:pt x="208" y="412"/>
                  </a:cubicBezTo>
                  <a:cubicBezTo>
                    <a:pt x="208" y="414"/>
                    <a:pt x="208" y="417"/>
                    <a:pt x="209" y="419"/>
                  </a:cubicBezTo>
                  <a:cubicBezTo>
                    <a:pt x="210" y="420"/>
                    <a:pt x="211" y="421"/>
                    <a:pt x="212" y="422"/>
                  </a:cubicBezTo>
                  <a:cubicBezTo>
                    <a:pt x="214" y="426"/>
                    <a:pt x="212" y="431"/>
                    <a:pt x="211" y="434"/>
                  </a:cubicBezTo>
                  <a:cubicBezTo>
                    <a:pt x="211" y="436"/>
                    <a:pt x="211" y="443"/>
                    <a:pt x="208" y="443"/>
                  </a:cubicBezTo>
                  <a:cubicBezTo>
                    <a:pt x="208" y="442"/>
                    <a:pt x="204" y="438"/>
                    <a:pt x="204" y="438"/>
                  </a:cubicBezTo>
                  <a:cubicBezTo>
                    <a:pt x="203" y="437"/>
                    <a:pt x="202" y="436"/>
                    <a:pt x="202" y="434"/>
                  </a:cubicBezTo>
                  <a:cubicBezTo>
                    <a:pt x="199" y="430"/>
                    <a:pt x="198" y="432"/>
                    <a:pt x="194" y="430"/>
                  </a:cubicBezTo>
                  <a:cubicBezTo>
                    <a:pt x="189" y="428"/>
                    <a:pt x="193" y="424"/>
                    <a:pt x="189" y="422"/>
                  </a:cubicBezTo>
                  <a:cubicBezTo>
                    <a:pt x="186" y="424"/>
                    <a:pt x="190" y="429"/>
                    <a:pt x="192" y="431"/>
                  </a:cubicBezTo>
                  <a:cubicBezTo>
                    <a:pt x="193" y="433"/>
                    <a:pt x="193" y="434"/>
                    <a:pt x="194" y="435"/>
                  </a:cubicBezTo>
                  <a:cubicBezTo>
                    <a:pt x="196" y="437"/>
                    <a:pt x="196" y="437"/>
                    <a:pt x="198" y="438"/>
                  </a:cubicBezTo>
                  <a:cubicBezTo>
                    <a:pt x="202" y="441"/>
                    <a:pt x="201" y="446"/>
                    <a:pt x="203" y="450"/>
                  </a:cubicBezTo>
                  <a:cubicBezTo>
                    <a:pt x="205" y="454"/>
                    <a:pt x="206" y="458"/>
                    <a:pt x="210" y="460"/>
                  </a:cubicBezTo>
                  <a:cubicBezTo>
                    <a:pt x="212" y="461"/>
                    <a:pt x="214" y="463"/>
                    <a:pt x="216" y="464"/>
                  </a:cubicBezTo>
                  <a:cubicBezTo>
                    <a:pt x="217" y="465"/>
                    <a:pt x="220" y="467"/>
                    <a:pt x="221" y="468"/>
                  </a:cubicBezTo>
                  <a:cubicBezTo>
                    <a:pt x="223" y="470"/>
                    <a:pt x="222" y="473"/>
                    <a:pt x="223" y="475"/>
                  </a:cubicBezTo>
                  <a:cubicBezTo>
                    <a:pt x="225" y="480"/>
                    <a:pt x="227" y="485"/>
                    <a:pt x="229" y="490"/>
                  </a:cubicBezTo>
                  <a:cubicBezTo>
                    <a:pt x="231" y="494"/>
                    <a:pt x="230" y="499"/>
                    <a:pt x="231" y="503"/>
                  </a:cubicBezTo>
                  <a:cubicBezTo>
                    <a:pt x="232" y="505"/>
                    <a:pt x="233" y="506"/>
                    <a:pt x="233" y="507"/>
                  </a:cubicBezTo>
                  <a:cubicBezTo>
                    <a:pt x="234" y="509"/>
                    <a:pt x="234" y="511"/>
                    <a:pt x="234" y="514"/>
                  </a:cubicBezTo>
                  <a:cubicBezTo>
                    <a:pt x="234" y="510"/>
                    <a:pt x="232" y="505"/>
                    <a:pt x="229" y="502"/>
                  </a:cubicBezTo>
                  <a:cubicBezTo>
                    <a:pt x="227" y="498"/>
                    <a:pt x="225" y="494"/>
                    <a:pt x="223" y="491"/>
                  </a:cubicBezTo>
                  <a:cubicBezTo>
                    <a:pt x="221" y="487"/>
                    <a:pt x="221" y="482"/>
                    <a:pt x="219" y="479"/>
                  </a:cubicBezTo>
                  <a:cubicBezTo>
                    <a:pt x="216" y="476"/>
                    <a:pt x="213" y="472"/>
                    <a:pt x="210" y="470"/>
                  </a:cubicBezTo>
                  <a:cubicBezTo>
                    <a:pt x="210" y="470"/>
                    <a:pt x="206" y="467"/>
                    <a:pt x="206" y="467"/>
                  </a:cubicBezTo>
                  <a:cubicBezTo>
                    <a:pt x="204" y="467"/>
                    <a:pt x="203" y="472"/>
                    <a:pt x="203" y="474"/>
                  </a:cubicBezTo>
                  <a:cubicBezTo>
                    <a:pt x="202" y="479"/>
                    <a:pt x="203" y="485"/>
                    <a:pt x="203" y="491"/>
                  </a:cubicBezTo>
                  <a:cubicBezTo>
                    <a:pt x="203" y="494"/>
                    <a:pt x="203" y="497"/>
                    <a:pt x="203" y="500"/>
                  </a:cubicBezTo>
                  <a:cubicBezTo>
                    <a:pt x="202" y="502"/>
                    <a:pt x="201" y="503"/>
                    <a:pt x="200" y="505"/>
                  </a:cubicBezTo>
                  <a:cubicBezTo>
                    <a:pt x="199" y="508"/>
                    <a:pt x="200" y="512"/>
                    <a:pt x="199" y="516"/>
                  </a:cubicBezTo>
                  <a:cubicBezTo>
                    <a:pt x="198" y="519"/>
                    <a:pt x="197" y="521"/>
                    <a:pt x="196" y="524"/>
                  </a:cubicBezTo>
                  <a:cubicBezTo>
                    <a:pt x="196" y="528"/>
                    <a:pt x="195" y="532"/>
                    <a:pt x="194" y="535"/>
                  </a:cubicBezTo>
                  <a:cubicBezTo>
                    <a:pt x="194" y="538"/>
                    <a:pt x="194" y="541"/>
                    <a:pt x="194" y="543"/>
                  </a:cubicBezTo>
                  <a:cubicBezTo>
                    <a:pt x="193" y="546"/>
                    <a:pt x="192" y="548"/>
                    <a:pt x="191" y="551"/>
                  </a:cubicBezTo>
                  <a:cubicBezTo>
                    <a:pt x="191" y="556"/>
                    <a:pt x="190" y="560"/>
                    <a:pt x="189" y="565"/>
                  </a:cubicBezTo>
                  <a:cubicBezTo>
                    <a:pt x="189" y="567"/>
                    <a:pt x="188" y="570"/>
                    <a:pt x="188" y="573"/>
                  </a:cubicBezTo>
                  <a:cubicBezTo>
                    <a:pt x="187" y="577"/>
                    <a:pt x="186" y="576"/>
                    <a:pt x="184" y="579"/>
                  </a:cubicBezTo>
                  <a:cubicBezTo>
                    <a:pt x="181" y="583"/>
                    <a:pt x="182" y="589"/>
                    <a:pt x="182" y="594"/>
                  </a:cubicBezTo>
                  <a:cubicBezTo>
                    <a:pt x="182" y="600"/>
                    <a:pt x="182" y="606"/>
                    <a:pt x="181" y="610"/>
                  </a:cubicBezTo>
                  <a:cubicBezTo>
                    <a:pt x="179" y="617"/>
                    <a:pt x="176" y="619"/>
                    <a:pt x="170" y="623"/>
                  </a:cubicBezTo>
                  <a:cubicBezTo>
                    <a:pt x="168" y="624"/>
                    <a:pt x="166" y="626"/>
                    <a:pt x="165" y="627"/>
                  </a:cubicBezTo>
                  <a:cubicBezTo>
                    <a:pt x="164" y="629"/>
                    <a:pt x="164" y="633"/>
                    <a:pt x="164" y="635"/>
                  </a:cubicBezTo>
                  <a:cubicBezTo>
                    <a:pt x="165" y="636"/>
                    <a:pt x="166" y="637"/>
                    <a:pt x="166" y="637"/>
                  </a:cubicBezTo>
                  <a:cubicBezTo>
                    <a:pt x="168" y="637"/>
                    <a:pt x="169" y="638"/>
                    <a:pt x="169" y="638"/>
                  </a:cubicBezTo>
                  <a:cubicBezTo>
                    <a:pt x="170" y="639"/>
                    <a:pt x="171" y="639"/>
                    <a:pt x="172" y="640"/>
                  </a:cubicBezTo>
                  <a:cubicBezTo>
                    <a:pt x="173" y="640"/>
                    <a:pt x="174" y="640"/>
                    <a:pt x="175" y="640"/>
                  </a:cubicBezTo>
                  <a:cubicBezTo>
                    <a:pt x="176" y="641"/>
                    <a:pt x="178" y="640"/>
                    <a:pt x="179" y="642"/>
                  </a:cubicBezTo>
                  <a:cubicBezTo>
                    <a:pt x="182" y="646"/>
                    <a:pt x="176" y="649"/>
                    <a:pt x="177" y="653"/>
                  </a:cubicBezTo>
                  <a:cubicBezTo>
                    <a:pt x="178" y="657"/>
                    <a:pt x="180" y="658"/>
                    <a:pt x="182" y="656"/>
                  </a:cubicBezTo>
                  <a:cubicBezTo>
                    <a:pt x="184" y="655"/>
                    <a:pt x="185" y="652"/>
                    <a:pt x="188" y="653"/>
                  </a:cubicBezTo>
                  <a:cubicBezTo>
                    <a:pt x="188" y="657"/>
                    <a:pt x="194" y="659"/>
                    <a:pt x="197" y="661"/>
                  </a:cubicBezTo>
                  <a:cubicBezTo>
                    <a:pt x="199" y="663"/>
                    <a:pt x="201" y="664"/>
                    <a:pt x="203" y="665"/>
                  </a:cubicBezTo>
                  <a:cubicBezTo>
                    <a:pt x="210" y="668"/>
                    <a:pt x="217" y="665"/>
                    <a:pt x="219" y="674"/>
                  </a:cubicBezTo>
                  <a:cubicBezTo>
                    <a:pt x="225" y="675"/>
                    <a:pt x="230" y="677"/>
                    <a:pt x="235" y="677"/>
                  </a:cubicBezTo>
                  <a:cubicBezTo>
                    <a:pt x="238" y="678"/>
                    <a:pt x="242" y="676"/>
                    <a:pt x="244" y="677"/>
                  </a:cubicBezTo>
                  <a:cubicBezTo>
                    <a:pt x="245" y="677"/>
                    <a:pt x="247" y="679"/>
                    <a:pt x="247" y="680"/>
                  </a:cubicBezTo>
                  <a:cubicBezTo>
                    <a:pt x="249" y="681"/>
                    <a:pt x="251" y="682"/>
                    <a:pt x="253" y="683"/>
                  </a:cubicBezTo>
                  <a:cubicBezTo>
                    <a:pt x="254" y="684"/>
                    <a:pt x="256" y="685"/>
                    <a:pt x="258" y="685"/>
                  </a:cubicBezTo>
                  <a:cubicBezTo>
                    <a:pt x="260" y="685"/>
                    <a:pt x="262" y="684"/>
                    <a:pt x="265" y="684"/>
                  </a:cubicBezTo>
                  <a:cubicBezTo>
                    <a:pt x="273" y="684"/>
                    <a:pt x="282" y="685"/>
                    <a:pt x="290" y="684"/>
                  </a:cubicBezTo>
                  <a:cubicBezTo>
                    <a:pt x="292" y="684"/>
                    <a:pt x="293" y="685"/>
                    <a:pt x="294" y="683"/>
                  </a:cubicBezTo>
                  <a:cubicBezTo>
                    <a:pt x="295" y="682"/>
                    <a:pt x="294" y="681"/>
                    <a:pt x="295" y="680"/>
                  </a:cubicBezTo>
                  <a:cubicBezTo>
                    <a:pt x="295" y="678"/>
                    <a:pt x="296" y="678"/>
                    <a:pt x="296" y="677"/>
                  </a:cubicBezTo>
                  <a:cubicBezTo>
                    <a:pt x="297" y="676"/>
                    <a:pt x="297" y="674"/>
                    <a:pt x="297" y="672"/>
                  </a:cubicBezTo>
                  <a:cubicBezTo>
                    <a:pt x="300" y="673"/>
                    <a:pt x="302" y="675"/>
                    <a:pt x="305" y="675"/>
                  </a:cubicBezTo>
                  <a:cubicBezTo>
                    <a:pt x="309" y="676"/>
                    <a:pt x="313" y="679"/>
                    <a:pt x="318" y="680"/>
                  </a:cubicBezTo>
                  <a:cubicBezTo>
                    <a:pt x="320" y="680"/>
                    <a:pt x="322" y="680"/>
                    <a:pt x="324" y="681"/>
                  </a:cubicBezTo>
                  <a:cubicBezTo>
                    <a:pt x="327" y="682"/>
                    <a:pt x="328" y="683"/>
                    <a:pt x="330" y="684"/>
                  </a:cubicBezTo>
                  <a:cubicBezTo>
                    <a:pt x="333" y="685"/>
                    <a:pt x="336" y="687"/>
                    <a:pt x="337" y="690"/>
                  </a:cubicBezTo>
                  <a:cubicBezTo>
                    <a:pt x="337" y="690"/>
                    <a:pt x="337" y="690"/>
                    <a:pt x="337" y="690"/>
                  </a:cubicBezTo>
                  <a:cubicBezTo>
                    <a:pt x="338" y="690"/>
                    <a:pt x="338" y="689"/>
                    <a:pt x="338" y="689"/>
                  </a:cubicBezTo>
                  <a:cubicBezTo>
                    <a:pt x="339" y="689"/>
                    <a:pt x="339" y="688"/>
                    <a:pt x="339" y="688"/>
                  </a:cubicBezTo>
                  <a:cubicBezTo>
                    <a:pt x="340" y="686"/>
                    <a:pt x="340" y="685"/>
                    <a:pt x="342" y="684"/>
                  </a:cubicBezTo>
                  <a:cubicBezTo>
                    <a:pt x="342" y="684"/>
                    <a:pt x="343" y="685"/>
                    <a:pt x="344" y="685"/>
                  </a:cubicBezTo>
                  <a:cubicBezTo>
                    <a:pt x="345" y="686"/>
                    <a:pt x="346" y="686"/>
                    <a:pt x="346" y="687"/>
                  </a:cubicBezTo>
                  <a:cubicBezTo>
                    <a:pt x="348" y="688"/>
                    <a:pt x="349" y="687"/>
                    <a:pt x="349" y="687"/>
                  </a:cubicBezTo>
                  <a:cubicBezTo>
                    <a:pt x="350" y="688"/>
                    <a:pt x="351" y="688"/>
                    <a:pt x="352" y="688"/>
                  </a:cubicBezTo>
                  <a:cubicBezTo>
                    <a:pt x="353" y="689"/>
                    <a:pt x="355" y="689"/>
                    <a:pt x="356" y="689"/>
                  </a:cubicBezTo>
                  <a:cubicBezTo>
                    <a:pt x="358" y="690"/>
                    <a:pt x="360" y="692"/>
                    <a:pt x="362" y="693"/>
                  </a:cubicBezTo>
                  <a:cubicBezTo>
                    <a:pt x="363" y="693"/>
                    <a:pt x="363" y="693"/>
                    <a:pt x="364" y="693"/>
                  </a:cubicBezTo>
                  <a:cubicBezTo>
                    <a:pt x="365" y="693"/>
                    <a:pt x="366" y="694"/>
                    <a:pt x="367" y="694"/>
                  </a:cubicBezTo>
                  <a:cubicBezTo>
                    <a:pt x="368" y="695"/>
                    <a:pt x="370" y="695"/>
                    <a:pt x="371" y="697"/>
                  </a:cubicBezTo>
                  <a:cubicBezTo>
                    <a:pt x="372" y="698"/>
                    <a:pt x="372" y="699"/>
                    <a:pt x="372" y="700"/>
                  </a:cubicBezTo>
                  <a:cubicBezTo>
                    <a:pt x="372" y="701"/>
                    <a:pt x="372" y="702"/>
                    <a:pt x="373" y="703"/>
                  </a:cubicBezTo>
                  <a:cubicBezTo>
                    <a:pt x="373" y="705"/>
                    <a:pt x="374" y="707"/>
                    <a:pt x="373" y="709"/>
                  </a:cubicBezTo>
                  <a:cubicBezTo>
                    <a:pt x="373" y="710"/>
                    <a:pt x="373" y="710"/>
                    <a:pt x="372" y="710"/>
                  </a:cubicBezTo>
                  <a:cubicBezTo>
                    <a:pt x="372" y="710"/>
                    <a:pt x="372" y="710"/>
                    <a:pt x="372" y="710"/>
                  </a:cubicBezTo>
                  <a:cubicBezTo>
                    <a:pt x="374" y="711"/>
                    <a:pt x="374" y="712"/>
                    <a:pt x="376" y="711"/>
                  </a:cubicBezTo>
                  <a:cubicBezTo>
                    <a:pt x="378" y="711"/>
                    <a:pt x="378" y="710"/>
                    <a:pt x="380" y="709"/>
                  </a:cubicBezTo>
                  <a:cubicBezTo>
                    <a:pt x="380" y="709"/>
                    <a:pt x="381" y="709"/>
                    <a:pt x="381" y="709"/>
                  </a:cubicBezTo>
                  <a:cubicBezTo>
                    <a:pt x="382" y="708"/>
                    <a:pt x="382" y="708"/>
                    <a:pt x="382" y="707"/>
                  </a:cubicBezTo>
                  <a:cubicBezTo>
                    <a:pt x="383" y="707"/>
                    <a:pt x="384" y="706"/>
                    <a:pt x="385" y="706"/>
                  </a:cubicBezTo>
                  <a:cubicBezTo>
                    <a:pt x="390" y="705"/>
                    <a:pt x="397" y="708"/>
                    <a:pt x="402" y="709"/>
                  </a:cubicBezTo>
                  <a:cubicBezTo>
                    <a:pt x="407" y="710"/>
                    <a:pt x="408" y="707"/>
                    <a:pt x="412" y="705"/>
                  </a:cubicBezTo>
                  <a:cubicBezTo>
                    <a:pt x="416" y="704"/>
                    <a:pt x="418" y="703"/>
                    <a:pt x="422" y="703"/>
                  </a:cubicBezTo>
                  <a:cubicBezTo>
                    <a:pt x="427" y="703"/>
                    <a:pt x="432" y="703"/>
                    <a:pt x="437" y="704"/>
                  </a:cubicBezTo>
                  <a:cubicBezTo>
                    <a:pt x="439" y="704"/>
                    <a:pt x="440" y="705"/>
                    <a:pt x="442" y="706"/>
                  </a:cubicBezTo>
                  <a:cubicBezTo>
                    <a:pt x="441" y="703"/>
                    <a:pt x="439" y="702"/>
                    <a:pt x="436" y="699"/>
                  </a:cubicBezTo>
                  <a:cubicBezTo>
                    <a:pt x="431" y="695"/>
                    <a:pt x="431" y="690"/>
                    <a:pt x="431" y="685"/>
                  </a:cubicBezTo>
                  <a:cubicBezTo>
                    <a:pt x="431" y="682"/>
                    <a:pt x="431" y="679"/>
                    <a:pt x="432" y="677"/>
                  </a:cubicBezTo>
                  <a:cubicBezTo>
                    <a:pt x="432" y="675"/>
                    <a:pt x="432" y="675"/>
                    <a:pt x="433" y="674"/>
                  </a:cubicBezTo>
                  <a:cubicBezTo>
                    <a:pt x="434" y="672"/>
                    <a:pt x="434" y="672"/>
                    <a:pt x="435" y="671"/>
                  </a:cubicBezTo>
                  <a:cubicBezTo>
                    <a:pt x="438" y="667"/>
                    <a:pt x="438" y="664"/>
                    <a:pt x="440" y="659"/>
                  </a:cubicBezTo>
                  <a:cubicBezTo>
                    <a:pt x="442" y="655"/>
                    <a:pt x="445" y="654"/>
                    <a:pt x="448" y="651"/>
                  </a:cubicBezTo>
                  <a:cubicBezTo>
                    <a:pt x="450" y="649"/>
                    <a:pt x="451" y="648"/>
                    <a:pt x="452" y="646"/>
                  </a:cubicBezTo>
                  <a:cubicBezTo>
                    <a:pt x="453" y="644"/>
                    <a:pt x="453" y="641"/>
                    <a:pt x="455" y="639"/>
                  </a:cubicBezTo>
                  <a:cubicBezTo>
                    <a:pt x="458" y="636"/>
                    <a:pt x="460" y="635"/>
                    <a:pt x="464" y="634"/>
                  </a:cubicBezTo>
                  <a:cubicBezTo>
                    <a:pt x="469" y="634"/>
                    <a:pt x="471" y="630"/>
                    <a:pt x="474" y="627"/>
                  </a:cubicBezTo>
                  <a:cubicBezTo>
                    <a:pt x="478" y="623"/>
                    <a:pt x="481" y="621"/>
                    <a:pt x="487" y="621"/>
                  </a:cubicBezTo>
                  <a:cubicBezTo>
                    <a:pt x="489" y="621"/>
                    <a:pt x="489" y="622"/>
                    <a:pt x="491" y="622"/>
                  </a:cubicBezTo>
                  <a:cubicBezTo>
                    <a:pt x="492" y="623"/>
                    <a:pt x="493" y="624"/>
                    <a:pt x="494" y="624"/>
                  </a:cubicBezTo>
                  <a:cubicBezTo>
                    <a:pt x="495" y="624"/>
                    <a:pt x="496" y="624"/>
                    <a:pt x="497" y="624"/>
                  </a:cubicBezTo>
                  <a:cubicBezTo>
                    <a:pt x="500" y="624"/>
                    <a:pt x="503" y="624"/>
                    <a:pt x="505" y="624"/>
                  </a:cubicBezTo>
                  <a:cubicBezTo>
                    <a:pt x="506" y="625"/>
                    <a:pt x="506" y="626"/>
                    <a:pt x="507" y="626"/>
                  </a:cubicBezTo>
                  <a:cubicBezTo>
                    <a:pt x="508" y="626"/>
                    <a:pt x="510" y="626"/>
                    <a:pt x="511" y="626"/>
                  </a:cubicBezTo>
                  <a:cubicBezTo>
                    <a:pt x="513" y="626"/>
                    <a:pt x="515" y="626"/>
                    <a:pt x="517" y="626"/>
                  </a:cubicBezTo>
                  <a:cubicBezTo>
                    <a:pt x="518" y="626"/>
                    <a:pt x="519" y="626"/>
                    <a:pt x="520" y="626"/>
                  </a:cubicBezTo>
                  <a:cubicBezTo>
                    <a:pt x="521" y="626"/>
                    <a:pt x="522" y="625"/>
                    <a:pt x="523" y="625"/>
                  </a:cubicBezTo>
                  <a:cubicBezTo>
                    <a:pt x="524" y="625"/>
                    <a:pt x="524" y="624"/>
                    <a:pt x="526" y="624"/>
                  </a:cubicBezTo>
                  <a:cubicBezTo>
                    <a:pt x="526" y="626"/>
                    <a:pt x="525" y="631"/>
                    <a:pt x="526" y="633"/>
                  </a:cubicBezTo>
                  <a:cubicBezTo>
                    <a:pt x="527" y="635"/>
                    <a:pt x="529" y="634"/>
                    <a:pt x="532" y="634"/>
                  </a:cubicBezTo>
                  <a:cubicBezTo>
                    <a:pt x="532" y="634"/>
                    <a:pt x="534" y="635"/>
                    <a:pt x="534" y="634"/>
                  </a:cubicBezTo>
                  <a:cubicBezTo>
                    <a:pt x="536" y="634"/>
                    <a:pt x="535" y="634"/>
                    <a:pt x="536" y="632"/>
                  </a:cubicBezTo>
                  <a:cubicBezTo>
                    <a:pt x="537" y="631"/>
                    <a:pt x="537" y="630"/>
                    <a:pt x="538" y="629"/>
                  </a:cubicBezTo>
                  <a:cubicBezTo>
                    <a:pt x="539" y="628"/>
                    <a:pt x="541" y="630"/>
                    <a:pt x="541" y="627"/>
                  </a:cubicBezTo>
                  <a:cubicBezTo>
                    <a:pt x="546" y="630"/>
                    <a:pt x="542" y="632"/>
                    <a:pt x="543" y="635"/>
                  </a:cubicBezTo>
                  <a:cubicBezTo>
                    <a:pt x="545" y="635"/>
                    <a:pt x="545" y="637"/>
                    <a:pt x="547" y="637"/>
                  </a:cubicBezTo>
                  <a:cubicBezTo>
                    <a:pt x="549" y="638"/>
                    <a:pt x="549" y="636"/>
                    <a:pt x="551" y="635"/>
                  </a:cubicBezTo>
                  <a:cubicBezTo>
                    <a:pt x="552" y="635"/>
                    <a:pt x="557" y="635"/>
                    <a:pt x="558" y="635"/>
                  </a:cubicBezTo>
                  <a:cubicBezTo>
                    <a:pt x="560" y="636"/>
                    <a:pt x="560" y="636"/>
                    <a:pt x="560" y="639"/>
                  </a:cubicBezTo>
                  <a:cubicBezTo>
                    <a:pt x="562" y="640"/>
                    <a:pt x="565" y="640"/>
                    <a:pt x="566" y="642"/>
                  </a:cubicBezTo>
                  <a:cubicBezTo>
                    <a:pt x="567" y="644"/>
                    <a:pt x="566" y="647"/>
                    <a:pt x="568" y="648"/>
                  </a:cubicBezTo>
                  <a:cubicBezTo>
                    <a:pt x="569" y="650"/>
                    <a:pt x="572" y="651"/>
                    <a:pt x="574" y="652"/>
                  </a:cubicBezTo>
                  <a:cubicBezTo>
                    <a:pt x="576" y="653"/>
                    <a:pt x="577" y="653"/>
                    <a:pt x="580" y="653"/>
                  </a:cubicBezTo>
                  <a:cubicBezTo>
                    <a:pt x="582" y="653"/>
                    <a:pt x="584" y="654"/>
                    <a:pt x="585" y="654"/>
                  </a:cubicBezTo>
                  <a:cubicBezTo>
                    <a:pt x="588" y="654"/>
                    <a:pt x="592" y="653"/>
                    <a:pt x="594" y="654"/>
                  </a:cubicBezTo>
                  <a:cubicBezTo>
                    <a:pt x="596" y="656"/>
                    <a:pt x="596" y="657"/>
                    <a:pt x="599" y="658"/>
                  </a:cubicBezTo>
                  <a:cubicBezTo>
                    <a:pt x="602" y="659"/>
                    <a:pt x="605" y="658"/>
                    <a:pt x="608" y="658"/>
                  </a:cubicBezTo>
                  <a:cubicBezTo>
                    <a:pt x="612" y="658"/>
                    <a:pt x="616" y="658"/>
                    <a:pt x="621" y="658"/>
                  </a:cubicBezTo>
                  <a:cubicBezTo>
                    <a:pt x="628" y="658"/>
                    <a:pt x="634" y="656"/>
                    <a:pt x="639" y="650"/>
                  </a:cubicBezTo>
                  <a:cubicBezTo>
                    <a:pt x="640" y="651"/>
                    <a:pt x="641" y="651"/>
                    <a:pt x="641" y="650"/>
                  </a:cubicBezTo>
                  <a:cubicBezTo>
                    <a:pt x="642" y="649"/>
                    <a:pt x="641" y="646"/>
                    <a:pt x="641" y="645"/>
                  </a:cubicBezTo>
                  <a:cubicBezTo>
                    <a:pt x="640" y="643"/>
                    <a:pt x="636" y="641"/>
                    <a:pt x="638" y="638"/>
                  </a:cubicBezTo>
                  <a:cubicBezTo>
                    <a:pt x="639" y="638"/>
                    <a:pt x="643" y="637"/>
                    <a:pt x="644" y="637"/>
                  </a:cubicBezTo>
                  <a:cubicBezTo>
                    <a:pt x="645" y="637"/>
                    <a:pt x="646" y="637"/>
                    <a:pt x="647" y="637"/>
                  </a:cubicBezTo>
                  <a:cubicBezTo>
                    <a:pt x="648" y="636"/>
                    <a:pt x="648" y="635"/>
                    <a:pt x="650" y="635"/>
                  </a:cubicBezTo>
                  <a:cubicBezTo>
                    <a:pt x="650" y="633"/>
                    <a:pt x="649" y="630"/>
                    <a:pt x="650" y="627"/>
                  </a:cubicBezTo>
                  <a:cubicBezTo>
                    <a:pt x="651" y="624"/>
                    <a:pt x="654" y="624"/>
                    <a:pt x="657" y="622"/>
                  </a:cubicBezTo>
                  <a:cubicBezTo>
                    <a:pt x="658" y="620"/>
                    <a:pt x="659" y="618"/>
                    <a:pt x="659" y="616"/>
                  </a:cubicBezTo>
                  <a:cubicBezTo>
                    <a:pt x="661" y="612"/>
                    <a:pt x="659" y="613"/>
                    <a:pt x="664" y="612"/>
                  </a:cubicBezTo>
                  <a:cubicBezTo>
                    <a:pt x="667" y="612"/>
                    <a:pt x="670" y="611"/>
                    <a:pt x="673" y="610"/>
                  </a:cubicBezTo>
                  <a:cubicBezTo>
                    <a:pt x="676" y="610"/>
                    <a:pt x="678" y="610"/>
                    <a:pt x="681" y="608"/>
                  </a:cubicBezTo>
                  <a:cubicBezTo>
                    <a:pt x="683" y="606"/>
                    <a:pt x="684" y="605"/>
                    <a:pt x="685" y="602"/>
                  </a:cubicBezTo>
                  <a:cubicBezTo>
                    <a:pt x="685" y="602"/>
                    <a:pt x="686" y="602"/>
                    <a:pt x="687" y="601"/>
                  </a:cubicBezTo>
                  <a:cubicBezTo>
                    <a:pt x="687" y="600"/>
                    <a:pt x="687" y="598"/>
                    <a:pt x="687" y="597"/>
                  </a:cubicBezTo>
                  <a:cubicBezTo>
                    <a:pt x="687" y="595"/>
                    <a:pt x="687" y="592"/>
                    <a:pt x="688" y="589"/>
                  </a:cubicBezTo>
                  <a:cubicBezTo>
                    <a:pt x="690" y="589"/>
                    <a:pt x="691" y="585"/>
                    <a:pt x="693" y="583"/>
                  </a:cubicBezTo>
                  <a:cubicBezTo>
                    <a:pt x="694" y="582"/>
                    <a:pt x="697" y="581"/>
                    <a:pt x="698" y="578"/>
                  </a:cubicBezTo>
                  <a:cubicBezTo>
                    <a:pt x="699" y="577"/>
                    <a:pt x="699" y="568"/>
                    <a:pt x="697" y="567"/>
                  </a:cubicBezTo>
                  <a:cubicBezTo>
                    <a:pt x="695" y="566"/>
                    <a:pt x="690" y="568"/>
                    <a:pt x="688" y="569"/>
                  </a:cubicBezTo>
                  <a:cubicBezTo>
                    <a:pt x="685" y="570"/>
                    <a:pt x="679" y="573"/>
                    <a:pt x="675" y="571"/>
                  </a:cubicBezTo>
                  <a:cubicBezTo>
                    <a:pt x="673" y="570"/>
                    <a:pt x="673" y="567"/>
                    <a:pt x="671" y="566"/>
                  </a:cubicBezTo>
                  <a:cubicBezTo>
                    <a:pt x="668" y="563"/>
                    <a:pt x="663" y="564"/>
                    <a:pt x="660" y="562"/>
                  </a:cubicBezTo>
                  <a:cubicBezTo>
                    <a:pt x="658" y="561"/>
                    <a:pt x="651" y="554"/>
                    <a:pt x="652" y="552"/>
                  </a:cubicBezTo>
                  <a:cubicBezTo>
                    <a:pt x="653" y="550"/>
                    <a:pt x="655" y="553"/>
                    <a:pt x="656" y="550"/>
                  </a:cubicBezTo>
                  <a:cubicBezTo>
                    <a:pt x="657" y="548"/>
                    <a:pt x="653" y="545"/>
                    <a:pt x="652" y="543"/>
                  </a:cubicBezTo>
                  <a:cubicBezTo>
                    <a:pt x="649" y="538"/>
                    <a:pt x="653" y="536"/>
                    <a:pt x="658" y="534"/>
                  </a:cubicBezTo>
                  <a:cubicBezTo>
                    <a:pt x="663" y="532"/>
                    <a:pt x="663" y="527"/>
                    <a:pt x="662" y="522"/>
                  </a:cubicBezTo>
                  <a:cubicBezTo>
                    <a:pt x="659" y="522"/>
                    <a:pt x="659" y="519"/>
                    <a:pt x="658" y="517"/>
                  </a:cubicBezTo>
                  <a:cubicBezTo>
                    <a:pt x="658" y="517"/>
                    <a:pt x="655" y="516"/>
                    <a:pt x="655" y="516"/>
                  </a:cubicBezTo>
                  <a:cubicBezTo>
                    <a:pt x="654" y="515"/>
                    <a:pt x="652" y="515"/>
                    <a:pt x="652" y="515"/>
                  </a:cubicBezTo>
                  <a:cubicBezTo>
                    <a:pt x="647" y="511"/>
                    <a:pt x="648" y="504"/>
                    <a:pt x="641" y="502"/>
                  </a:cubicBezTo>
                  <a:cubicBezTo>
                    <a:pt x="640" y="499"/>
                    <a:pt x="642" y="500"/>
                    <a:pt x="644" y="499"/>
                  </a:cubicBezTo>
                  <a:cubicBezTo>
                    <a:pt x="645" y="499"/>
                    <a:pt x="647" y="500"/>
                    <a:pt x="649" y="499"/>
                  </a:cubicBezTo>
                  <a:cubicBezTo>
                    <a:pt x="651" y="498"/>
                    <a:pt x="649" y="499"/>
                    <a:pt x="651" y="497"/>
                  </a:cubicBezTo>
                  <a:cubicBezTo>
                    <a:pt x="654" y="495"/>
                    <a:pt x="657" y="494"/>
                    <a:pt x="660" y="491"/>
                  </a:cubicBezTo>
                  <a:cubicBezTo>
                    <a:pt x="660" y="491"/>
                    <a:pt x="661" y="490"/>
                    <a:pt x="662" y="490"/>
                  </a:cubicBezTo>
                  <a:cubicBezTo>
                    <a:pt x="663" y="489"/>
                    <a:pt x="665" y="489"/>
                    <a:pt x="666" y="488"/>
                  </a:cubicBezTo>
                  <a:cubicBezTo>
                    <a:pt x="668" y="486"/>
                    <a:pt x="666" y="482"/>
                    <a:pt x="667" y="480"/>
                  </a:cubicBezTo>
                  <a:cubicBezTo>
                    <a:pt x="668" y="477"/>
                    <a:pt x="671" y="476"/>
                    <a:pt x="669" y="473"/>
                  </a:cubicBezTo>
                  <a:cubicBezTo>
                    <a:pt x="668" y="471"/>
                    <a:pt x="666" y="471"/>
                    <a:pt x="665" y="470"/>
                  </a:cubicBezTo>
                  <a:cubicBezTo>
                    <a:pt x="663" y="468"/>
                    <a:pt x="662" y="465"/>
                    <a:pt x="662" y="463"/>
                  </a:cubicBezTo>
                  <a:cubicBezTo>
                    <a:pt x="661" y="461"/>
                    <a:pt x="661" y="459"/>
                    <a:pt x="661" y="457"/>
                  </a:cubicBezTo>
                  <a:cubicBezTo>
                    <a:pt x="660" y="455"/>
                    <a:pt x="657" y="454"/>
                    <a:pt x="656" y="453"/>
                  </a:cubicBezTo>
                  <a:cubicBezTo>
                    <a:pt x="653" y="450"/>
                    <a:pt x="657" y="450"/>
                    <a:pt x="655" y="446"/>
                  </a:cubicBezTo>
                  <a:cubicBezTo>
                    <a:pt x="654" y="444"/>
                    <a:pt x="657" y="443"/>
                    <a:pt x="659" y="438"/>
                  </a:cubicBezTo>
                  <a:cubicBezTo>
                    <a:pt x="661" y="437"/>
                    <a:pt x="662" y="436"/>
                    <a:pt x="663" y="436"/>
                  </a:cubicBezTo>
                  <a:cubicBezTo>
                    <a:pt x="663" y="435"/>
                    <a:pt x="665" y="434"/>
                    <a:pt x="665" y="433"/>
                  </a:cubicBezTo>
                  <a:cubicBezTo>
                    <a:pt x="665" y="432"/>
                    <a:pt x="665" y="430"/>
                    <a:pt x="665" y="430"/>
                  </a:cubicBezTo>
                  <a:cubicBezTo>
                    <a:pt x="665" y="428"/>
                    <a:pt x="664" y="428"/>
                    <a:pt x="664" y="427"/>
                  </a:cubicBezTo>
                  <a:cubicBezTo>
                    <a:pt x="663" y="426"/>
                    <a:pt x="663" y="426"/>
                    <a:pt x="662" y="424"/>
                  </a:cubicBezTo>
                  <a:cubicBezTo>
                    <a:pt x="662" y="424"/>
                    <a:pt x="661" y="423"/>
                    <a:pt x="661" y="422"/>
                  </a:cubicBezTo>
                  <a:cubicBezTo>
                    <a:pt x="660" y="421"/>
                    <a:pt x="659" y="420"/>
                    <a:pt x="659" y="419"/>
                  </a:cubicBezTo>
                  <a:cubicBezTo>
                    <a:pt x="658" y="417"/>
                    <a:pt x="658" y="415"/>
                    <a:pt x="658" y="413"/>
                  </a:cubicBezTo>
                  <a:cubicBezTo>
                    <a:pt x="658" y="412"/>
                    <a:pt x="658" y="410"/>
                    <a:pt x="658" y="409"/>
                  </a:cubicBezTo>
                  <a:cubicBezTo>
                    <a:pt x="658" y="409"/>
                    <a:pt x="657" y="408"/>
                    <a:pt x="657" y="408"/>
                  </a:cubicBezTo>
                  <a:cubicBezTo>
                    <a:pt x="656" y="406"/>
                    <a:pt x="657" y="404"/>
                    <a:pt x="656" y="402"/>
                  </a:cubicBezTo>
                  <a:cubicBezTo>
                    <a:pt x="655" y="402"/>
                    <a:pt x="654" y="401"/>
                    <a:pt x="653" y="401"/>
                  </a:cubicBezTo>
                  <a:cubicBezTo>
                    <a:pt x="652" y="401"/>
                    <a:pt x="650" y="400"/>
                    <a:pt x="650" y="400"/>
                  </a:cubicBezTo>
                  <a:cubicBezTo>
                    <a:pt x="647" y="398"/>
                    <a:pt x="643" y="395"/>
                    <a:pt x="639" y="395"/>
                  </a:cubicBezTo>
                  <a:cubicBezTo>
                    <a:pt x="634" y="395"/>
                    <a:pt x="630" y="398"/>
                    <a:pt x="625" y="400"/>
                  </a:cubicBezTo>
                  <a:cubicBezTo>
                    <a:pt x="623" y="401"/>
                    <a:pt x="620" y="402"/>
                    <a:pt x="617" y="401"/>
                  </a:cubicBezTo>
                  <a:cubicBezTo>
                    <a:pt x="615" y="400"/>
                    <a:pt x="612" y="394"/>
                    <a:pt x="614" y="391"/>
                  </a:cubicBezTo>
                  <a:cubicBezTo>
                    <a:pt x="615" y="389"/>
                    <a:pt x="617" y="390"/>
                    <a:pt x="618" y="388"/>
                  </a:cubicBezTo>
                  <a:cubicBezTo>
                    <a:pt x="619" y="387"/>
                    <a:pt x="618" y="383"/>
                    <a:pt x="618" y="381"/>
                  </a:cubicBezTo>
                  <a:cubicBezTo>
                    <a:pt x="618" y="378"/>
                    <a:pt x="618" y="376"/>
                    <a:pt x="620" y="373"/>
                  </a:cubicBezTo>
                  <a:cubicBezTo>
                    <a:pt x="623" y="371"/>
                    <a:pt x="625" y="369"/>
                    <a:pt x="627" y="366"/>
                  </a:cubicBezTo>
                  <a:cubicBezTo>
                    <a:pt x="629" y="365"/>
                    <a:pt x="629" y="363"/>
                    <a:pt x="631" y="361"/>
                  </a:cubicBezTo>
                  <a:cubicBezTo>
                    <a:pt x="632" y="359"/>
                    <a:pt x="634" y="358"/>
                    <a:pt x="635" y="357"/>
                  </a:cubicBezTo>
                  <a:cubicBezTo>
                    <a:pt x="642" y="352"/>
                    <a:pt x="646" y="345"/>
                    <a:pt x="651" y="339"/>
                  </a:cubicBezTo>
                  <a:cubicBezTo>
                    <a:pt x="654" y="336"/>
                    <a:pt x="656" y="334"/>
                    <a:pt x="658" y="330"/>
                  </a:cubicBezTo>
                  <a:cubicBezTo>
                    <a:pt x="658" y="330"/>
                    <a:pt x="659" y="328"/>
                    <a:pt x="659" y="327"/>
                  </a:cubicBezTo>
                  <a:cubicBezTo>
                    <a:pt x="661" y="326"/>
                    <a:pt x="662" y="327"/>
                    <a:pt x="664" y="325"/>
                  </a:cubicBezTo>
                  <a:cubicBezTo>
                    <a:pt x="670" y="320"/>
                    <a:pt x="652" y="311"/>
                    <a:pt x="663" y="310"/>
                  </a:cubicBezTo>
                  <a:cubicBezTo>
                    <a:pt x="666" y="310"/>
                    <a:pt x="668" y="311"/>
                    <a:pt x="670" y="312"/>
                  </a:cubicBezTo>
                  <a:cubicBezTo>
                    <a:pt x="676" y="313"/>
                    <a:pt x="681" y="310"/>
                    <a:pt x="687" y="310"/>
                  </a:cubicBezTo>
                  <a:cubicBezTo>
                    <a:pt x="689" y="310"/>
                    <a:pt x="690" y="310"/>
                    <a:pt x="692" y="309"/>
                  </a:cubicBezTo>
                  <a:cubicBezTo>
                    <a:pt x="695" y="308"/>
                    <a:pt x="699" y="306"/>
                    <a:pt x="702" y="304"/>
                  </a:cubicBezTo>
                  <a:cubicBezTo>
                    <a:pt x="702" y="304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0"/>
                  </a:cubicBezTo>
                  <a:cubicBezTo>
                    <a:pt x="704" y="300"/>
                    <a:pt x="704" y="300"/>
                    <a:pt x="704" y="300"/>
                  </a:cubicBezTo>
                  <a:cubicBezTo>
                    <a:pt x="704" y="300"/>
                    <a:pt x="704" y="299"/>
                    <a:pt x="704" y="298"/>
                  </a:cubicBezTo>
                  <a:cubicBezTo>
                    <a:pt x="703" y="297"/>
                    <a:pt x="702" y="295"/>
                    <a:pt x="702" y="293"/>
                  </a:cubicBezTo>
                  <a:cubicBezTo>
                    <a:pt x="702" y="285"/>
                    <a:pt x="702" y="278"/>
                    <a:pt x="702" y="270"/>
                  </a:cubicBezTo>
                  <a:cubicBezTo>
                    <a:pt x="702" y="264"/>
                    <a:pt x="701" y="259"/>
                    <a:pt x="705" y="254"/>
                  </a:cubicBezTo>
                  <a:cubicBezTo>
                    <a:pt x="710" y="249"/>
                    <a:pt x="708" y="244"/>
                    <a:pt x="710" y="238"/>
                  </a:cubicBezTo>
                  <a:cubicBezTo>
                    <a:pt x="711" y="233"/>
                    <a:pt x="710" y="228"/>
                    <a:pt x="713" y="224"/>
                  </a:cubicBezTo>
                  <a:cubicBezTo>
                    <a:pt x="714" y="222"/>
                    <a:pt x="715" y="222"/>
                    <a:pt x="716" y="221"/>
                  </a:cubicBezTo>
                  <a:cubicBezTo>
                    <a:pt x="719" y="219"/>
                    <a:pt x="719" y="218"/>
                    <a:pt x="720" y="216"/>
                  </a:cubicBezTo>
                  <a:cubicBezTo>
                    <a:pt x="722" y="210"/>
                    <a:pt x="724" y="207"/>
                    <a:pt x="729" y="203"/>
                  </a:cubicBezTo>
                  <a:cubicBezTo>
                    <a:pt x="733" y="200"/>
                    <a:pt x="736" y="196"/>
                    <a:pt x="737" y="19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6" name="Freeform 17">
              <a:extLst>
                <a:ext uri="{FF2B5EF4-FFF2-40B4-BE49-F238E27FC236}">
                  <a16:creationId xmlns:a16="http://schemas.microsoft.com/office/drawing/2014/main" id="{D4CDD78D-F1C9-47C5-A876-1094BF766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0375" y="5575300"/>
              <a:ext cx="120650" cy="241300"/>
            </a:xfrm>
            <a:custGeom>
              <a:avLst/>
              <a:gdLst/>
              <a:ahLst/>
              <a:cxnLst>
                <a:cxn ang="0">
                  <a:pos x="61" y="5"/>
                </a:cxn>
                <a:cxn ang="0">
                  <a:pos x="60" y="2"/>
                </a:cxn>
                <a:cxn ang="0">
                  <a:pos x="53" y="3"/>
                </a:cxn>
                <a:cxn ang="0">
                  <a:pos x="51" y="18"/>
                </a:cxn>
                <a:cxn ang="0">
                  <a:pos x="51" y="23"/>
                </a:cxn>
                <a:cxn ang="0">
                  <a:pos x="49" y="27"/>
                </a:cxn>
                <a:cxn ang="0">
                  <a:pos x="41" y="25"/>
                </a:cxn>
                <a:cxn ang="0">
                  <a:pos x="35" y="30"/>
                </a:cxn>
                <a:cxn ang="0">
                  <a:pos x="29" y="32"/>
                </a:cxn>
                <a:cxn ang="0">
                  <a:pos x="22" y="34"/>
                </a:cxn>
                <a:cxn ang="0">
                  <a:pos x="15" y="39"/>
                </a:cxn>
                <a:cxn ang="0">
                  <a:pos x="13" y="47"/>
                </a:cxn>
                <a:cxn ang="0">
                  <a:pos x="12" y="51"/>
                </a:cxn>
                <a:cxn ang="0">
                  <a:pos x="17" y="58"/>
                </a:cxn>
                <a:cxn ang="0">
                  <a:pos x="10" y="62"/>
                </a:cxn>
                <a:cxn ang="0">
                  <a:pos x="5" y="64"/>
                </a:cxn>
                <a:cxn ang="0">
                  <a:pos x="0" y="74"/>
                </a:cxn>
                <a:cxn ang="0">
                  <a:pos x="4" y="77"/>
                </a:cxn>
                <a:cxn ang="0">
                  <a:pos x="8" y="80"/>
                </a:cxn>
                <a:cxn ang="0">
                  <a:pos x="13" y="82"/>
                </a:cxn>
                <a:cxn ang="0">
                  <a:pos x="17" y="83"/>
                </a:cxn>
                <a:cxn ang="0">
                  <a:pos x="16" y="95"/>
                </a:cxn>
                <a:cxn ang="0">
                  <a:pos x="14" y="100"/>
                </a:cxn>
                <a:cxn ang="0">
                  <a:pos x="18" y="101"/>
                </a:cxn>
                <a:cxn ang="0">
                  <a:pos x="21" y="102"/>
                </a:cxn>
                <a:cxn ang="0">
                  <a:pos x="22" y="106"/>
                </a:cxn>
                <a:cxn ang="0">
                  <a:pos x="19" y="108"/>
                </a:cxn>
                <a:cxn ang="0">
                  <a:pos x="21" y="115"/>
                </a:cxn>
                <a:cxn ang="0">
                  <a:pos x="29" y="122"/>
                </a:cxn>
                <a:cxn ang="0">
                  <a:pos x="33" y="126"/>
                </a:cxn>
                <a:cxn ang="0">
                  <a:pos x="39" y="129"/>
                </a:cxn>
                <a:cxn ang="0">
                  <a:pos x="41" y="121"/>
                </a:cxn>
                <a:cxn ang="0">
                  <a:pos x="44" y="116"/>
                </a:cxn>
                <a:cxn ang="0">
                  <a:pos x="45" y="113"/>
                </a:cxn>
                <a:cxn ang="0">
                  <a:pos x="49" y="109"/>
                </a:cxn>
                <a:cxn ang="0">
                  <a:pos x="52" y="99"/>
                </a:cxn>
                <a:cxn ang="0">
                  <a:pos x="53" y="87"/>
                </a:cxn>
                <a:cxn ang="0">
                  <a:pos x="54" y="82"/>
                </a:cxn>
                <a:cxn ang="0">
                  <a:pos x="59" y="76"/>
                </a:cxn>
                <a:cxn ang="0">
                  <a:pos x="60" y="74"/>
                </a:cxn>
                <a:cxn ang="0">
                  <a:pos x="63" y="52"/>
                </a:cxn>
                <a:cxn ang="0">
                  <a:pos x="63" y="40"/>
                </a:cxn>
                <a:cxn ang="0">
                  <a:pos x="60" y="32"/>
                </a:cxn>
                <a:cxn ang="0">
                  <a:pos x="59" y="23"/>
                </a:cxn>
                <a:cxn ang="0">
                  <a:pos x="60" y="22"/>
                </a:cxn>
                <a:cxn ang="0">
                  <a:pos x="63" y="18"/>
                </a:cxn>
                <a:cxn ang="0">
                  <a:pos x="63" y="13"/>
                </a:cxn>
                <a:cxn ang="0">
                  <a:pos x="61" y="20"/>
                </a:cxn>
              </a:cxnLst>
              <a:rect l="0" t="0" r="r" b="b"/>
              <a:pathLst>
                <a:path w="64" h="129">
                  <a:moveTo>
                    <a:pt x="61" y="20"/>
                  </a:moveTo>
                  <a:cubicBezTo>
                    <a:pt x="61" y="15"/>
                    <a:pt x="61" y="10"/>
                    <a:pt x="61" y="5"/>
                  </a:cubicBezTo>
                  <a:cubicBezTo>
                    <a:pt x="61" y="4"/>
                    <a:pt x="62" y="3"/>
                    <a:pt x="61" y="2"/>
                  </a:cubicBezTo>
                  <a:cubicBezTo>
                    <a:pt x="61" y="2"/>
                    <a:pt x="60" y="2"/>
                    <a:pt x="60" y="2"/>
                  </a:cubicBezTo>
                  <a:cubicBezTo>
                    <a:pt x="60" y="2"/>
                    <a:pt x="59" y="1"/>
                    <a:pt x="59" y="1"/>
                  </a:cubicBezTo>
                  <a:cubicBezTo>
                    <a:pt x="57" y="0"/>
                    <a:pt x="54" y="1"/>
                    <a:pt x="53" y="3"/>
                  </a:cubicBezTo>
                  <a:cubicBezTo>
                    <a:pt x="51" y="6"/>
                    <a:pt x="52" y="10"/>
                    <a:pt x="51" y="13"/>
                  </a:cubicBezTo>
                  <a:cubicBezTo>
                    <a:pt x="51" y="15"/>
                    <a:pt x="51" y="16"/>
                    <a:pt x="51" y="18"/>
                  </a:cubicBezTo>
                  <a:cubicBezTo>
                    <a:pt x="51" y="19"/>
                    <a:pt x="51" y="20"/>
                    <a:pt x="51" y="20"/>
                  </a:cubicBezTo>
                  <a:cubicBezTo>
                    <a:pt x="51" y="21"/>
                    <a:pt x="51" y="22"/>
                    <a:pt x="51" y="23"/>
                  </a:cubicBezTo>
                  <a:cubicBezTo>
                    <a:pt x="52" y="25"/>
                    <a:pt x="52" y="26"/>
                    <a:pt x="51" y="27"/>
                  </a:cubicBezTo>
                  <a:cubicBezTo>
                    <a:pt x="50" y="28"/>
                    <a:pt x="50" y="28"/>
                    <a:pt x="49" y="27"/>
                  </a:cubicBezTo>
                  <a:cubicBezTo>
                    <a:pt x="47" y="26"/>
                    <a:pt x="47" y="25"/>
                    <a:pt x="46" y="25"/>
                  </a:cubicBezTo>
                  <a:cubicBezTo>
                    <a:pt x="45" y="24"/>
                    <a:pt x="42" y="24"/>
                    <a:pt x="41" y="25"/>
                  </a:cubicBezTo>
                  <a:cubicBezTo>
                    <a:pt x="40" y="25"/>
                    <a:pt x="39" y="27"/>
                    <a:pt x="38" y="28"/>
                  </a:cubicBezTo>
                  <a:cubicBezTo>
                    <a:pt x="37" y="29"/>
                    <a:pt x="36" y="30"/>
                    <a:pt x="35" y="30"/>
                  </a:cubicBezTo>
                  <a:cubicBezTo>
                    <a:pt x="34" y="31"/>
                    <a:pt x="32" y="30"/>
                    <a:pt x="31" y="30"/>
                  </a:cubicBezTo>
                  <a:cubicBezTo>
                    <a:pt x="30" y="31"/>
                    <a:pt x="30" y="31"/>
                    <a:pt x="29" y="32"/>
                  </a:cubicBezTo>
                  <a:cubicBezTo>
                    <a:pt x="28" y="32"/>
                    <a:pt x="27" y="33"/>
                    <a:pt x="26" y="33"/>
                  </a:cubicBezTo>
                  <a:cubicBezTo>
                    <a:pt x="24" y="34"/>
                    <a:pt x="23" y="33"/>
                    <a:pt x="22" y="34"/>
                  </a:cubicBezTo>
                  <a:cubicBezTo>
                    <a:pt x="20" y="35"/>
                    <a:pt x="20" y="36"/>
                    <a:pt x="19" y="37"/>
                  </a:cubicBezTo>
                  <a:cubicBezTo>
                    <a:pt x="18" y="38"/>
                    <a:pt x="17" y="39"/>
                    <a:pt x="15" y="39"/>
                  </a:cubicBezTo>
                  <a:cubicBezTo>
                    <a:pt x="12" y="41"/>
                    <a:pt x="16" y="41"/>
                    <a:pt x="16" y="43"/>
                  </a:cubicBezTo>
                  <a:cubicBezTo>
                    <a:pt x="13" y="43"/>
                    <a:pt x="13" y="45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2" y="49"/>
                    <a:pt x="12" y="51"/>
                  </a:cubicBezTo>
                  <a:cubicBezTo>
                    <a:pt x="12" y="52"/>
                    <a:pt x="13" y="54"/>
                    <a:pt x="14" y="54"/>
                  </a:cubicBezTo>
                  <a:cubicBezTo>
                    <a:pt x="15" y="55"/>
                    <a:pt x="17" y="57"/>
                    <a:pt x="17" y="58"/>
                  </a:cubicBezTo>
                  <a:cubicBezTo>
                    <a:pt x="15" y="59"/>
                    <a:pt x="13" y="58"/>
                    <a:pt x="11" y="58"/>
                  </a:cubicBezTo>
                  <a:cubicBezTo>
                    <a:pt x="10" y="59"/>
                    <a:pt x="10" y="61"/>
                    <a:pt x="10" y="62"/>
                  </a:cubicBezTo>
                  <a:cubicBezTo>
                    <a:pt x="10" y="64"/>
                    <a:pt x="10" y="64"/>
                    <a:pt x="8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5"/>
                    <a:pt x="4" y="67"/>
                    <a:pt x="3" y="68"/>
                  </a:cubicBezTo>
                  <a:cubicBezTo>
                    <a:pt x="3" y="69"/>
                    <a:pt x="0" y="73"/>
                    <a:pt x="0" y="74"/>
                  </a:cubicBezTo>
                  <a:cubicBezTo>
                    <a:pt x="1" y="75"/>
                    <a:pt x="2" y="74"/>
                    <a:pt x="3" y="75"/>
                  </a:cubicBezTo>
                  <a:cubicBezTo>
                    <a:pt x="3" y="76"/>
                    <a:pt x="3" y="76"/>
                    <a:pt x="4" y="77"/>
                  </a:cubicBezTo>
                  <a:cubicBezTo>
                    <a:pt x="4" y="77"/>
                    <a:pt x="5" y="76"/>
                    <a:pt x="6" y="77"/>
                  </a:cubicBezTo>
                  <a:cubicBezTo>
                    <a:pt x="7" y="77"/>
                    <a:pt x="7" y="79"/>
                    <a:pt x="8" y="80"/>
                  </a:cubicBezTo>
                  <a:cubicBezTo>
                    <a:pt x="9" y="80"/>
                    <a:pt x="10" y="81"/>
                    <a:pt x="10" y="81"/>
                  </a:cubicBezTo>
                  <a:cubicBezTo>
                    <a:pt x="11" y="81"/>
                    <a:pt x="12" y="82"/>
                    <a:pt x="13" y="82"/>
                  </a:cubicBezTo>
                  <a:cubicBezTo>
                    <a:pt x="13" y="82"/>
                    <a:pt x="13" y="82"/>
                    <a:pt x="13" y="83"/>
                  </a:cubicBezTo>
                  <a:cubicBezTo>
                    <a:pt x="14" y="83"/>
                    <a:pt x="16" y="83"/>
                    <a:pt x="17" y="83"/>
                  </a:cubicBezTo>
                  <a:cubicBezTo>
                    <a:pt x="18" y="84"/>
                    <a:pt x="17" y="87"/>
                    <a:pt x="17" y="88"/>
                  </a:cubicBezTo>
                  <a:cubicBezTo>
                    <a:pt x="17" y="90"/>
                    <a:pt x="18" y="93"/>
                    <a:pt x="16" y="95"/>
                  </a:cubicBezTo>
                  <a:cubicBezTo>
                    <a:pt x="15" y="95"/>
                    <a:pt x="15" y="95"/>
                    <a:pt x="14" y="97"/>
                  </a:cubicBezTo>
                  <a:cubicBezTo>
                    <a:pt x="14" y="98"/>
                    <a:pt x="14" y="99"/>
                    <a:pt x="14" y="100"/>
                  </a:cubicBezTo>
                  <a:cubicBezTo>
                    <a:pt x="14" y="100"/>
                    <a:pt x="15" y="101"/>
                    <a:pt x="15" y="101"/>
                  </a:cubicBezTo>
                  <a:cubicBezTo>
                    <a:pt x="16" y="101"/>
                    <a:pt x="17" y="101"/>
                    <a:pt x="18" y="101"/>
                  </a:cubicBezTo>
                  <a:cubicBezTo>
                    <a:pt x="18" y="101"/>
                    <a:pt x="18" y="102"/>
                    <a:pt x="19" y="102"/>
                  </a:cubicBezTo>
                  <a:cubicBezTo>
                    <a:pt x="20" y="102"/>
                    <a:pt x="21" y="102"/>
                    <a:pt x="21" y="102"/>
                  </a:cubicBezTo>
                  <a:cubicBezTo>
                    <a:pt x="22" y="102"/>
                    <a:pt x="23" y="102"/>
                    <a:pt x="24" y="102"/>
                  </a:cubicBezTo>
                  <a:cubicBezTo>
                    <a:pt x="25" y="104"/>
                    <a:pt x="23" y="105"/>
                    <a:pt x="22" y="106"/>
                  </a:cubicBezTo>
                  <a:cubicBezTo>
                    <a:pt x="22" y="107"/>
                    <a:pt x="21" y="107"/>
                    <a:pt x="21" y="107"/>
                  </a:cubicBezTo>
                  <a:cubicBezTo>
                    <a:pt x="20" y="107"/>
                    <a:pt x="20" y="107"/>
                    <a:pt x="19" y="108"/>
                  </a:cubicBezTo>
                  <a:cubicBezTo>
                    <a:pt x="19" y="108"/>
                    <a:pt x="19" y="109"/>
                    <a:pt x="19" y="110"/>
                  </a:cubicBezTo>
                  <a:cubicBezTo>
                    <a:pt x="18" y="113"/>
                    <a:pt x="19" y="113"/>
                    <a:pt x="21" y="115"/>
                  </a:cubicBezTo>
                  <a:cubicBezTo>
                    <a:pt x="22" y="116"/>
                    <a:pt x="22" y="118"/>
                    <a:pt x="24" y="120"/>
                  </a:cubicBezTo>
                  <a:cubicBezTo>
                    <a:pt x="25" y="121"/>
                    <a:pt x="27" y="122"/>
                    <a:pt x="29" y="122"/>
                  </a:cubicBezTo>
                  <a:cubicBezTo>
                    <a:pt x="30" y="122"/>
                    <a:pt x="34" y="121"/>
                    <a:pt x="34" y="123"/>
                  </a:cubicBezTo>
                  <a:cubicBezTo>
                    <a:pt x="34" y="124"/>
                    <a:pt x="33" y="125"/>
                    <a:pt x="33" y="126"/>
                  </a:cubicBezTo>
                  <a:cubicBezTo>
                    <a:pt x="33" y="127"/>
                    <a:pt x="35" y="128"/>
                    <a:pt x="36" y="128"/>
                  </a:cubicBezTo>
                  <a:cubicBezTo>
                    <a:pt x="37" y="129"/>
                    <a:pt x="38" y="129"/>
                    <a:pt x="39" y="129"/>
                  </a:cubicBezTo>
                  <a:cubicBezTo>
                    <a:pt x="40" y="129"/>
                    <a:pt x="41" y="129"/>
                    <a:pt x="41" y="127"/>
                  </a:cubicBezTo>
                  <a:cubicBezTo>
                    <a:pt x="41" y="125"/>
                    <a:pt x="40" y="122"/>
                    <a:pt x="41" y="121"/>
                  </a:cubicBezTo>
                  <a:cubicBezTo>
                    <a:pt x="42" y="120"/>
                    <a:pt x="42" y="120"/>
                    <a:pt x="43" y="119"/>
                  </a:cubicBezTo>
                  <a:cubicBezTo>
                    <a:pt x="43" y="118"/>
                    <a:pt x="43" y="117"/>
                    <a:pt x="44" y="116"/>
                  </a:cubicBezTo>
                  <a:cubicBezTo>
                    <a:pt x="44" y="115"/>
                    <a:pt x="44" y="114"/>
                    <a:pt x="45" y="114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2"/>
                    <a:pt x="46" y="112"/>
                    <a:pt x="47" y="112"/>
                  </a:cubicBezTo>
                  <a:cubicBezTo>
                    <a:pt x="49" y="111"/>
                    <a:pt x="48" y="110"/>
                    <a:pt x="49" y="109"/>
                  </a:cubicBezTo>
                  <a:cubicBezTo>
                    <a:pt x="49" y="107"/>
                    <a:pt x="50" y="106"/>
                    <a:pt x="51" y="104"/>
                  </a:cubicBezTo>
                  <a:cubicBezTo>
                    <a:pt x="51" y="102"/>
                    <a:pt x="52" y="101"/>
                    <a:pt x="52" y="99"/>
                  </a:cubicBezTo>
                  <a:cubicBezTo>
                    <a:pt x="52" y="98"/>
                    <a:pt x="52" y="97"/>
                    <a:pt x="52" y="96"/>
                  </a:cubicBezTo>
                  <a:cubicBezTo>
                    <a:pt x="52" y="93"/>
                    <a:pt x="53" y="90"/>
                    <a:pt x="53" y="87"/>
                  </a:cubicBezTo>
                  <a:cubicBezTo>
                    <a:pt x="53" y="86"/>
                    <a:pt x="52" y="85"/>
                    <a:pt x="53" y="84"/>
                  </a:cubicBezTo>
                  <a:cubicBezTo>
                    <a:pt x="53" y="83"/>
                    <a:pt x="54" y="83"/>
                    <a:pt x="54" y="82"/>
                  </a:cubicBezTo>
                  <a:cubicBezTo>
                    <a:pt x="54" y="82"/>
                    <a:pt x="54" y="81"/>
                    <a:pt x="54" y="81"/>
                  </a:cubicBezTo>
                  <a:cubicBezTo>
                    <a:pt x="54" y="78"/>
                    <a:pt x="58" y="78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3"/>
                    <a:pt x="61" y="72"/>
                    <a:pt x="61" y="71"/>
                  </a:cubicBezTo>
                  <a:cubicBezTo>
                    <a:pt x="61" y="64"/>
                    <a:pt x="63" y="58"/>
                    <a:pt x="63" y="52"/>
                  </a:cubicBezTo>
                  <a:cubicBezTo>
                    <a:pt x="63" y="49"/>
                    <a:pt x="63" y="47"/>
                    <a:pt x="63" y="44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39"/>
                    <a:pt x="64" y="37"/>
                    <a:pt x="63" y="36"/>
                  </a:cubicBezTo>
                  <a:cubicBezTo>
                    <a:pt x="62" y="34"/>
                    <a:pt x="60" y="34"/>
                    <a:pt x="60" y="32"/>
                  </a:cubicBezTo>
                  <a:cubicBezTo>
                    <a:pt x="59" y="30"/>
                    <a:pt x="59" y="29"/>
                    <a:pt x="59" y="27"/>
                  </a:cubicBezTo>
                  <a:cubicBezTo>
                    <a:pt x="59" y="26"/>
                    <a:pt x="59" y="24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1"/>
                    <a:pt x="61" y="20"/>
                    <a:pt x="61" y="20"/>
                  </a:cubicBezTo>
                  <a:cubicBezTo>
                    <a:pt x="62" y="19"/>
                    <a:pt x="63" y="19"/>
                    <a:pt x="63" y="18"/>
                  </a:cubicBezTo>
                  <a:cubicBezTo>
                    <a:pt x="63" y="17"/>
                    <a:pt x="63" y="16"/>
                    <a:pt x="63" y="15"/>
                  </a:cubicBezTo>
                  <a:cubicBezTo>
                    <a:pt x="63" y="14"/>
                    <a:pt x="62" y="14"/>
                    <a:pt x="63" y="13"/>
                  </a:cubicBezTo>
                  <a:cubicBezTo>
                    <a:pt x="61" y="12"/>
                    <a:pt x="61" y="11"/>
                    <a:pt x="61" y="9"/>
                  </a:cubicBezTo>
                  <a:lnTo>
                    <a:pt x="61" y="2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7" name="Freeform 18">
              <a:extLst>
                <a:ext uri="{FF2B5EF4-FFF2-40B4-BE49-F238E27FC236}">
                  <a16:creationId xmlns:a16="http://schemas.microsoft.com/office/drawing/2014/main" id="{FC917A44-A63C-46A6-A9A0-27E79A3BCC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6388" y="4992688"/>
              <a:ext cx="1143000" cy="1347788"/>
            </a:xfrm>
            <a:custGeom>
              <a:avLst/>
              <a:gdLst/>
              <a:ahLst/>
              <a:cxnLst>
                <a:cxn ang="0">
                  <a:pos x="600" y="532"/>
                </a:cxn>
                <a:cxn ang="0">
                  <a:pos x="571" y="505"/>
                </a:cxn>
                <a:cxn ang="0">
                  <a:pos x="530" y="474"/>
                </a:cxn>
                <a:cxn ang="0">
                  <a:pos x="479" y="433"/>
                </a:cxn>
                <a:cxn ang="0">
                  <a:pos x="489" y="411"/>
                </a:cxn>
                <a:cxn ang="0">
                  <a:pos x="432" y="405"/>
                </a:cxn>
                <a:cxn ang="0">
                  <a:pos x="398" y="374"/>
                </a:cxn>
                <a:cxn ang="0">
                  <a:pos x="378" y="341"/>
                </a:cxn>
                <a:cxn ang="0">
                  <a:pos x="358" y="280"/>
                </a:cxn>
                <a:cxn ang="0">
                  <a:pos x="319" y="243"/>
                </a:cxn>
                <a:cxn ang="0">
                  <a:pos x="296" y="196"/>
                </a:cxn>
                <a:cxn ang="0">
                  <a:pos x="314" y="171"/>
                </a:cxn>
                <a:cxn ang="0">
                  <a:pos x="320" y="143"/>
                </a:cxn>
                <a:cxn ang="0">
                  <a:pos x="329" y="129"/>
                </a:cxn>
                <a:cxn ang="0">
                  <a:pos x="354" y="109"/>
                </a:cxn>
                <a:cxn ang="0">
                  <a:pos x="375" y="120"/>
                </a:cxn>
                <a:cxn ang="0">
                  <a:pos x="373" y="95"/>
                </a:cxn>
                <a:cxn ang="0">
                  <a:pos x="361" y="68"/>
                </a:cxn>
                <a:cxn ang="0">
                  <a:pos x="347" y="37"/>
                </a:cxn>
                <a:cxn ang="0">
                  <a:pos x="303" y="6"/>
                </a:cxn>
                <a:cxn ang="0">
                  <a:pos x="247" y="11"/>
                </a:cxn>
                <a:cxn ang="0">
                  <a:pos x="220" y="18"/>
                </a:cxn>
                <a:cxn ang="0">
                  <a:pos x="198" y="39"/>
                </a:cxn>
                <a:cxn ang="0">
                  <a:pos x="186" y="63"/>
                </a:cxn>
                <a:cxn ang="0">
                  <a:pos x="153" y="50"/>
                </a:cxn>
                <a:cxn ang="0">
                  <a:pos x="131" y="86"/>
                </a:cxn>
                <a:cxn ang="0">
                  <a:pos x="120" y="86"/>
                </a:cxn>
                <a:cxn ang="0">
                  <a:pos x="99" y="60"/>
                </a:cxn>
                <a:cxn ang="0">
                  <a:pos x="74" y="89"/>
                </a:cxn>
                <a:cxn ang="0">
                  <a:pos x="23" y="98"/>
                </a:cxn>
                <a:cxn ang="0">
                  <a:pos x="11" y="159"/>
                </a:cxn>
                <a:cxn ang="0">
                  <a:pos x="20" y="224"/>
                </a:cxn>
                <a:cxn ang="0">
                  <a:pos x="55" y="262"/>
                </a:cxn>
                <a:cxn ang="0">
                  <a:pos x="85" y="238"/>
                </a:cxn>
                <a:cxn ang="0">
                  <a:pos x="140" y="218"/>
                </a:cxn>
                <a:cxn ang="0">
                  <a:pos x="168" y="236"/>
                </a:cxn>
                <a:cxn ang="0">
                  <a:pos x="190" y="257"/>
                </a:cxn>
                <a:cxn ang="0">
                  <a:pos x="199" y="303"/>
                </a:cxn>
                <a:cxn ang="0">
                  <a:pos x="213" y="336"/>
                </a:cxn>
                <a:cxn ang="0">
                  <a:pos x="237" y="363"/>
                </a:cxn>
                <a:cxn ang="0">
                  <a:pos x="264" y="398"/>
                </a:cxn>
                <a:cxn ang="0">
                  <a:pos x="292" y="428"/>
                </a:cxn>
                <a:cxn ang="0">
                  <a:pos x="319" y="461"/>
                </a:cxn>
                <a:cxn ang="0">
                  <a:pos x="365" y="477"/>
                </a:cxn>
                <a:cxn ang="0">
                  <a:pos x="391" y="505"/>
                </a:cxn>
                <a:cxn ang="0">
                  <a:pos x="408" y="513"/>
                </a:cxn>
                <a:cxn ang="0">
                  <a:pos x="427" y="547"/>
                </a:cxn>
                <a:cxn ang="0">
                  <a:pos x="462" y="570"/>
                </a:cxn>
                <a:cxn ang="0">
                  <a:pos x="475" y="628"/>
                </a:cxn>
                <a:cxn ang="0">
                  <a:pos x="458" y="691"/>
                </a:cxn>
                <a:cxn ang="0">
                  <a:pos x="445" y="719"/>
                </a:cxn>
                <a:cxn ang="0">
                  <a:pos x="478" y="708"/>
                </a:cxn>
                <a:cxn ang="0">
                  <a:pos x="510" y="649"/>
                </a:cxn>
                <a:cxn ang="0">
                  <a:pos x="533" y="631"/>
                </a:cxn>
                <a:cxn ang="0">
                  <a:pos x="511" y="590"/>
                </a:cxn>
                <a:cxn ang="0">
                  <a:pos x="518" y="543"/>
                </a:cxn>
                <a:cxn ang="0">
                  <a:pos x="548" y="534"/>
                </a:cxn>
                <a:cxn ang="0">
                  <a:pos x="581" y="549"/>
                </a:cxn>
                <a:cxn ang="0">
                  <a:pos x="612" y="557"/>
                </a:cxn>
              </a:cxnLst>
              <a:rect l="0" t="0" r="r" b="b"/>
              <a:pathLst>
                <a:path w="612" h="721">
                  <a:moveTo>
                    <a:pt x="532" y="476"/>
                  </a:moveTo>
                  <a:cubicBezTo>
                    <a:pt x="533" y="475"/>
                    <a:pt x="533" y="475"/>
                    <a:pt x="533" y="475"/>
                  </a:cubicBezTo>
                  <a:cubicBezTo>
                    <a:pt x="533" y="475"/>
                    <a:pt x="532" y="475"/>
                    <a:pt x="532" y="476"/>
                  </a:cubicBezTo>
                  <a:moveTo>
                    <a:pt x="612" y="551"/>
                  </a:moveTo>
                  <a:cubicBezTo>
                    <a:pt x="612" y="550"/>
                    <a:pt x="611" y="550"/>
                    <a:pt x="611" y="550"/>
                  </a:cubicBezTo>
                  <a:cubicBezTo>
                    <a:pt x="611" y="549"/>
                    <a:pt x="611" y="548"/>
                    <a:pt x="611" y="548"/>
                  </a:cubicBezTo>
                  <a:cubicBezTo>
                    <a:pt x="610" y="547"/>
                    <a:pt x="610" y="547"/>
                    <a:pt x="609" y="546"/>
                  </a:cubicBezTo>
                  <a:cubicBezTo>
                    <a:pt x="609" y="545"/>
                    <a:pt x="609" y="544"/>
                    <a:pt x="609" y="543"/>
                  </a:cubicBezTo>
                  <a:cubicBezTo>
                    <a:pt x="608" y="542"/>
                    <a:pt x="608" y="542"/>
                    <a:pt x="607" y="541"/>
                  </a:cubicBezTo>
                  <a:cubicBezTo>
                    <a:pt x="606" y="540"/>
                    <a:pt x="606" y="538"/>
                    <a:pt x="605" y="537"/>
                  </a:cubicBezTo>
                  <a:cubicBezTo>
                    <a:pt x="604" y="536"/>
                    <a:pt x="603" y="535"/>
                    <a:pt x="602" y="534"/>
                  </a:cubicBezTo>
                  <a:cubicBezTo>
                    <a:pt x="601" y="533"/>
                    <a:pt x="601" y="533"/>
                    <a:pt x="600" y="532"/>
                  </a:cubicBezTo>
                  <a:cubicBezTo>
                    <a:pt x="600" y="532"/>
                    <a:pt x="599" y="531"/>
                    <a:pt x="599" y="531"/>
                  </a:cubicBezTo>
                  <a:cubicBezTo>
                    <a:pt x="598" y="530"/>
                    <a:pt x="598" y="529"/>
                    <a:pt x="597" y="528"/>
                  </a:cubicBezTo>
                  <a:cubicBezTo>
                    <a:pt x="596" y="527"/>
                    <a:pt x="596" y="527"/>
                    <a:pt x="595" y="526"/>
                  </a:cubicBezTo>
                  <a:cubicBezTo>
                    <a:pt x="594" y="525"/>
                    <a:pt x="594" y="524"/>
                    <a:pt x="593" y="523"/>
                  </a:cubicBezTo>
                  <a:cubicBezTo>
                    <a:pt x="592" y="522"/>
                    <a:pt x="591" y="522"/>
                    <a:pt x="591" y="522"/>
                  </a:cubicBezTo>
                  <a:cubicBezTo>
                    <a:pt x="589" y="520"/>
                    <a:pt x="588" y="518"/>
                    <a:pt x="587" y="517"/>
                  </a:cubicBezTo>
                  <a:cubicBezTo>
                    <a:pt x="587" y="516"/>
                    <a:pt x="585" y="515"/>
                    <a:pt x="584" y="514"/>
                  </a:cubicBezTo>
                  <a:cubicBezTo>
                    <a:pt x="582" y="512"/>
                    <a:pt x="580" y="510"/>
                    <a:pt x="578" y="509"/>
                  </a:cubicBezTo>
                  <a:cubicBezTo>
                    <a:pt x="577" y="509"/>
                    <a:pt x="576" y="508"/>
                    <a:pt x="575" y="507"/>
                  </a:cubicBezTo>
                  <a:cubicBezTo>
                    <a:pt x="575" y="507"/>
                    <a:pt x="575" y="507"/>
                    <a:pt x="575" y="507"/>
                  </a:cubicBezTo>
                  <a:cubicBezTo>
                    <a:pt x="575" y="507"/>
                    <a:pt x="574" y="507"/>
                    <a:pt x="574" y="507"/>
                  </a:cubicBezTo>
                  <a:cubicBezTo>
                    <a:pt x="573" y="506"/>
                    <a:pt x="572" y="505"/>
                    <a:pt x="571" y="505"/>
                  </a:cubicBezTo>
                  <a:cubicBezTo>
                    <a:pt x="570" y="504"/>
                    <a:pt x="569" y="504"/>
                    <a:pt x="568" y="503"/>
                  </a:cubicBezTo>
                  <a:cubicBezTo>
                    <a:pt x="566" y="502"/>
                    <a:pt x="565" y="501"/>
                    <a:pt x="563" y="500"/>
                  </a:cubicBezTo>
                  <a:cubicBezTo>
                    <a:pt x="562" y="499"/>
                    <a:pt x="560" y="499"/>
                    <a:pt x="559" y="498"/>
                  </a:cubicBezTo>
                  <a:cubicBezTo>
                    <a:pt x="558" y="497"/>
                    <a:pt x="557" y="497"/>
                    <a:pt x="556" y="496"/>
                  </a:cubicBezTo>
                  <a:cubicBezTo>
                    <a:pt x="555" y="495"/>
                    <a:pt x="554" y="494"/>
                    <a:pt x="552" y="494"/>
                  </a:cubicBezTo>
                  <a:cubicBezTo>
                    <a:pt x="552" y="493"/>
                    <a:pt x="551" y="493"/>
                    <a:pt x="550" y="492"/>
                  </a:cubicBezTo>
                  <a:cubicBezTo>
                    <a:pt x="549" y="491"/>
                    <a:pt x="548" y="490"/>
                    <a:pt x="547" y="489"/>
                  </a:cubicBezTo>
                  <a:cubicBezTo>
                    <a:pt x="546" y="488"/>
                    <a:pt x="545" y="487"/>
                    <a:pt x="544" y="486"/>
                  </a:cubicBezTo>
                  <a:cubicBezTo>
                    <a:pt x="544" y="485"/>
                    <a:pt x="543" y="484"/>
                    <a:pt x="543" y="483"/>
                  </a:cubicBezTo>
                  <a:cubicBezTo>
                    <a:pt x="542" y="481"/>
                    <a:pt x="540" y="481"/>
                    <a:pt x="538" y="479"/>
                  </a:cubicBezTo>
                  <a:cubicBezTo>
                    <a:pt x="537" y="479"/>
                    <a:pt x="532" y="477"/>
                    <a:pt x="532" y="476"/>
                  </a:cubicBezTo>
                  <a:cubicBezTo>
                    <a:pt x="532" y="476"/>
                    <a:pt x="530" y="475"/>
                    <a:pt x="530" y="474"/>
                  </a:cubicBezTo>
                  <a:cubicBezTo>
                    <a:pt x="528" y="473"/>
                    <a:pt x="526" y="471"/>
                    <a:pt x="523" y="471"/>
                  </a:cubicBezTo>
                  <a:cubicBezTo>
                    <a:pt x="521" y="470"/>
                    <a:pt x="519" y="470"/>
                    <a:pt x="517" y="469"/>
                  </a:cubicBezTo>
                  <a:cubicBezTo>
                    <a:pt x="512" y="469"/>
                    <a:pt x="509" y="466"/>
                    <a:pt x="506" y="463"/>
                  </a:cubicBezTo>
                  <a:cubicBezTo>
                    <a:pt x="504" y="462"/>
                    <a:pt x="503" y="460"/>
                    <a:pt x="501" y="460"/>
                  </a:cubicBezTo>
                  <a:cubicBezTo>
                    <a:pt x="499" y="459"/>
                    <a:pt x="497" y="459"/>
                    <a:pt x="495" y="459"/>
                  </a:cubicBezTo>
                  <a:cubicBezTo>
                    <a:pt x="493" y="458"/>
                    <a:pt x="491" y="457"/>
                    <a:pt x="490" y="457"/>
                  </a:cubicBezTo>
                  <a:cubicBezTo>
                    <a:pt x="489" y="455"/>
                    <a:pt x="488" y="454"/>
                    <a:pt x="487" y="452"/>
                  </a:cubicBezTo>
                  <a:cubicBezTo>
                    <a:pt x="486" y="450"/>
                    <a:pt x="485" y="449"/>
                    <a:pt x="483" y="448"/>
                  </a:cubicBezTo>
                  <a:cubicBezTo>
                    <a:pt x="482" y="447"/>
                    <a:pt x="481" y="447"/>
                    <a:pt x="480" y="446"/>
                  </a:cubicBezTo>
                  <a:cubicBezTo>
                    <a:pt x="478" y="445"/>
                    <a:pt x="477" y="444"/>
                    <a:pt x="477" y="443"/>
                  </a:cubicBezTo>
                  <a:cubicBezTo>
                    <a:pt x="476" y="442"/>
                    <a:pt x="477" y="440"/>
                    <a:pt x="477" y="439"/>
                  </a:cubicBezTo>
                  <a:cubicBezTo>
                    <a:pt x="477" y="437"/>
                    <a:pt x="478" y="435"/>
                    <a:pt x="479" y="433"/>
                  </a:cubicBezTo>
                  <a:cubicBezTo>
                    <a:pt x="480" y="432"/>
                    <a:pt x="481" y="431"/>
                    <a:pt x="482" y="430"/>
                  </a:cubicBezTo>
                  <a:cubicBezTo>
                    <a:pt x="482" y="429"/>
                    <a:pt x="483" y="428"/>
                    <a:pt x="484" y="427"/>
                  </a:cubicBezTo>
                  <a:cubicBezTo>
                    <a:pt x="485" y="427"/>
                    <a:pt x="486" y="426"/>
                    <a:pt x="486" y="426"/>
                  </a:cubicBezTo>
                  <a:cubicBezTo>
                    <a:pt x="487" y="426"/>
                    <a:pt x="487" y="426"/>
                    <a:pt x="488" y="426"/>
                  </a:cubicBezTo>
                  <a:cubicBezTo>
                    <a:pt x="488" y="426"/>
                    <a:pt x="488" y="425"/>
                    <a:pt x="489" y="425"/>
                  </a:cubicBezTo>
                  <a:cubicBezTo>
                    <a:pt x="489" y="424"/>
                    <a:pt x="490" y="425"/>
                    <a:pt x="490" y="424"/>
                  </a:cubicBezTo>
                  <a:cubicBezTo>
                    <a:pt x="491" y="424"/>
                    <a:pt x="491" y="424"/>
                    <a:pt x="491" y="423"/>
                  </a:cubicBezTo>
                  <a:cubicBezTo>
                    <a:pt x="492" y="422"/>
                    <a:pt x="493" y="422"/>
                    <a:pt x="494" y="421"/>
                  </a:cubicBezTo>
                  <a:cubicBezTo>
                    <a:pt x="495" y="420"/>
                    <a:pt x="495" y="418"/>
                    <a:pt x="495" y="417"/>
                  </a:cubicBezTo>
                  <a:cubicBezTo>
                    <a:pt x="495" y="417"/>
                    <a:pt x="494" y="416"/>
                    <a:pt x="494" y="416"/>
                  </a:cubicBezTo>
                  <a:cubicBezTo>
                    <a:pt x="494" y="415"/>
                    <a:pt x="493" y="415"/>
                    <a:pt x="493" y="414"/>
                  </a:cubicBezTo>
                  <a:cubicBezTo>
                    <a:pt x="492" y="412"/>
                    <a:pt x="490" y="412"/>
                    <a:pt x="489" y="411"/>
                  </a:cubicBezTo>
                  <a:cubicBezTo>
                    <a:pt x="487" y="409"/>
                    <a:pt x="486" y="408"/>
                    <a:pt x="483" y="408"/>
                  </a:cubicBezTo>
                  <a:cubicBezTo>
                    <a:pt x="482" y="408"/>
                    <a:pt x="481" y="409"/>
                    <a:pt x="479" y="409"/>
                  </a:cubicBezTo>
                  <a:cubicBezTo>
                    <a:pt x="477" y="410"/>
                    <a:pt x="474" y="410"/>
                    <a:pt x="473" y="409"/>
                  </a:cubicBezTo>
                  <a:cubicBezTo>
                    <a:pt x="471" y="408"/>
                    <a:pt x="470" y="408"/>
                    <a:pt x="467" y="409"/>
                  </a:cubicBezTo>
                  <a:cubicBezTo>
                    <a:pt x="466" y="409"/>
                    <a:pt x="464" y="409"/>
                    <a:pt x="463" y="409"/>
                  </a:cubicBezTo>
                  <a:cubicBezTo>
                    <a:pt x="462" y="409"/>
                    <a:pt x="461" y="410"/>
                    <a:pt x="460" y="410"/>
                  </a:cubicBezTo>
                  <a:cubicBezTo>
                    <a:pt x="459" y="410"/>
                    <a:pt x="458" y="410"/>
                    <a:pt x="458" y="410"/>
                  </a:cubicBezTo>
                  <a:cubicBezTo>
                    <a:pt x="456" y="410"/>
                    <a:pt x="454" y="411"/>
                    <a:pt x="452" y="411"/>
                  </a:cubicBezTo>
                  <a:cubicBezTo>
                    <a:pt x="451" y="411"/>
                    <a:pt x="449" y="411"/>
                    <a:pt x="448" y="411"/>
                  </a:cubicBezTo>
                  <a:cubicBezTo>
                    <a:pt x="444" y="411"/>
                    <a:pt x="439" y="411"/>
                    <a:pt x="436" y="408"/>
                  </a:cubicBezTo>
                  <a:cubicBezTo>
                    <a:pt x="435" y="407"/>
                    <a:pt x="435" y="406"/>
                    <a:pt x="434" y="406"/>
                  </a:cubicBezTo>
                  <a:cubicBezTo>
                    <a:pt x="433" y="405"/>
                    <a:pt x="433" y="405"/>
                    <a:pt x="432" y="405"/>
                  </a:cubicBezTo>
                  <a:cubicBezTo>
                    <a:pt x="431" y="403"/>
                    <a:pt x="430" y="403"/>
                    <a:pt x="428" y="402"/>
                  </a:cubicBezTo>
                  <a:cubicBezTo>
                    <a:pt x="427" y="401"/>
                    <a:pt x="426" y="401"/>
                    <a:pt x="425" y="400"/>
                  </a:cubicBezTo>
                  <a:cubicBezTo>
                    <a:pt x="424" y="399"/>
                    <a:pt x="424" y="398"/>
                    <a:pt x="423" y="398"/>
                  </a:cubicBezTo>
                  <a:cubicBezTo>
                    <a:pt x="422" y="397"/>
                    <a:pt x="420" y="398"/>
                    <a:pt x="419" y="398"/>
                  </a:cubicBezTo>
                  <a:cubicBezTo>
                    <a:pt x="418" y="397"/>
                    <a:pt x="418" y="396"/>
                    <a:pt x="416" y="396"/>
                  </a:cubicBezTo>
                  <a:cubicBezTo>
                    <a:pt x="416" y="395"/>
                    <a:pt x="415" y="393"/>
                    <a:pt x="414" y="391"/>
                  </a:cubicBezTo>
                  <a:cubicBezTo>
                    <a:pt x="414" y="390"/>
                    <a:pt x="414" y="388"/>
                    <a:pt x="413" y="387"/>
                  </a:cubicBezTo>
                  <a:cubicBezTo>
                    <a:pt x="413" y="386"/>
                    <a:pt x="412" y="386"/>
                    <a:pt x="411" y="385"/>
                  </a:cubicBezTo>
                  <a:cubicBezTo>
                    <a:pt x="410" y="385"/>
                    <a:pt x="411" y="385"/>
                    <a:pt x="410" y="384"/>
                  </a:cubicBezTo>
                  <a:cubicBezTo>
                    <a:pt x="408" y="383"/>
                    <a:pt x="407" y="382"/>
                    <a:pt x="405" y="381"/>
                  </a:cubicBezTo>
                  <a:cubicBezTo>
                    <a:pt x="403" y="379"/>
                    <a:pt x="401" y="378"/>
                    <a:pt x="399" y="375"/>
                  </a:cubicBezTo>
                  <a:cubicBezTo>
                    <a:pt x="399" y="375"/>
                    <a:pt x="398" y="374"/>
                    <a:pt x="398" y="374"/>
                  </a:cubicBezTo>
                  <a:cubicBezTo>
                    <a:pt x="397" y="372"/>
                    <a:pt x="397" y="371"/>
                    <a:pt x="395" y="370"/>
                  </a:cubicBezTo>
                  <a:cubicBezTo>
                    <a:pt x="395" y="370"/>
                    <a:pt x="391" y="367"/>
                    <a:pt x="391" y="366"/>
                  </a:cubicBezTo>
                  <a:cubicBezTo>
                    <a:pt x="391" y="366"/>
                    <a:pt x="391" y="366"/>
                    <a:pt x="391" y="366"/>
                  </a:cubicBezTo>
                  <a:cubicBezTo>
                    <a:pt x="391" y="366"/>
                    <a:pt x="390" y="366"/>
                    <a:pt x="390" y="366"/>
                  </a:cubicBezTo>
                  <a:cubicBezTo>
                    <a:pt x="390" y="366"/>
                    <a:pt x="390" y="365"/>
                    <a:pt x="390" y="365"/>
                  </a:cubicBezTo>
                  <a:cubicBezTo>
                    <a:pt x="389" y="365"/>
                    <a:pt x="389" y="364"/>
                    <a:pt x="389" y="364"/>
                  </a:cubicBezTo>
                  <a:cubicBezTo>
                    <a:pt x="388" y="363"/>
                    <a:pt x="388" y="363"/>
                    <a:pt x="387" y="363"/>
                  </a:cubicBezTo>
                  <a:cubicBezTo>
                    <a:pt x="387" y="362"/>
                    <a:pt x="387" y="361"/>
                    <a:pt x="386" y="361"/>
                  </a:cubicBezTo>
                  <a:cubicBezTo>
                    <a:pt x="386" y="360"/>
                    <a:pt x="385" y="359"/>
                    <a:pt x="385" y="358"/>
                  </a:cubicBezTo>
                  <a:cubicBezTo>
                    <a:pt x="384" y="357"/>
                    <a:pt x="383" y="356"/>
                    <a:pt x="383" y="355"/>
                  </a:cubicBezTo>
                  <a:cubicBezTo>
                    <a:pt x="382" y="354"/>
                    <a:pt x="382" y="352"/>
                    <a:pt x="381" y="352"/>
                  </a:cubicBezTo>
                  <a:cubicBezTo>
                    <a:pt x="381" y="348"/>
                    <a:pt x="379" y="345"/>
                    <a:pt x="378" y="341"/>
                  </a:cubicBezTo>
                  <a:cubicBezTo>
                    <a:pt x="377" y="338"/>
                    <a:pt x="376" y="335"/>
                    <a:pt x="376" y="332"/>
                  </a:cubicBezTo>
                  <a:cubicBezTo>
                    <a:pt x="375" y="329"/>
                    <a:pt x="375" y="325"/>
                    <a:pt x="374" y="323"/>
                  </a:cubicBezTo>
                  <a:cubicBezTo>
                    <a:pt x="373" y="321"/>
                    <a:pt x="373" y="320"/>
                    <a:pt x="372" y="319"/>
                  </a:cubicBezTo>
                  <a:cubicBezTo>
                    <a:pt x="372" y="318"/>
                    <a:pt x="372" y="317"/>
                    <a:pt x="372" y="316"/>
                  </a:cubicBezTo>
                  <a:cubicBezTo>
                    <a:pt x="372" y="316"/>
                    <a:pt x="371" y="315"/>
                    <a:pt x="371" y="315"/>
                  </a:cubicBezTo>
                  <a:cubicBezTo>
                    <a:pt x="370" y="311"/>
                    <a:pt x="370" y="307"/>
                    <a:pt x="369" y="303"/>
                  </a:cubicBezTo>
                  <a:cubicBezTo>
                    <a:pt x="368" y="301"/>
                    <a:pt x="366" y="299"/>
                    <a:pt x="365" y="297"/>
                  </a:cubicBezTo>
                  <a:cubicBezTo>
                    <a:pt x="364" y="296"/>
                    <a:pt x="364" y="295"/>
                    <a:pt x="364" y="294"/>
                  </a:cubicBezTo>
                  <a:cubicBezTo>
                    <a:pt x="364" y="293"/>
                    <a:pt x="363" y="291"/>
                    <a:pt x="362" y="290"/>
                  </a:cubicBezTo>
                  <a:cubicBezTo>
                    <a:pt x="361" y="288"/>
                    <a:pt x="360" y="287"/>
                    <a:pt x="360" y="285"/>
                  </a:cubicBezTo>
                  <a:cubicBezTo>
                    <a:pt x="360" y="285"/>
                    <a:pt x="359" y="284"/>
                    <a:pt x="359" y="283"/>
                  </a:cubicBezTo>
                  <a:cubicBezTo>
                    <a:pt x="358" y="282"/>
                    <a:pt x="358" y="282"/>
                    <a:pt x="358" y="280"/>
                  </a:cubicBezTo>
                  <a:cubicBezTo>
                    <a:pt x="358" y="279"/>
                    <a:pt x="358" y="279"/>
                    <a:pt x="357" y="279"/>
                  </a:cubicBezTo>
                  <a:cubicBezTo>
                    <a:pt x="355" y="278"/>
                    <a:pt x="354" y="280"/>
                    <a:pt x="352" y="277"/>
                  </a:cubicBezTo>
                  <a:cubicBezTo>
                    <a:pt x="350" y="275"/>
                    <a:pt x="351" y="271"/>
                    <a:pt x="349" y="269"/>
                  </a:cubicBezTo>
                  <a:cubicBezTo>
                    <a:pt x="347" y="268"/>
                    <a:pt x="346" y="267"/>
                    <a:pt x="345" y="266"/>
                  </a:cubicBezTo>
                  <a:cubicBezTo>
                    <a:pt x="344" y="265"/>
                    <a:pt x="343" y="265"/>
                    <a:pt x="342" y="265"/>
                  </a:cubicBezTo>
                  <a:cubicBezTo>
                    <a:pt x="342" y="264"/>
                    <a:pt x="342" y="264"/>
                    <a:pt x="341" y="264"/>
                  </a:cubicBezTo>
                  <a:cubicBezTo>
                    <a:pt x="341" y="264"/>
                    <a:pt x="340" y="263"/>
                    <a:pt x="340" y="263"/>
                  </a:cubicBezTo>
                  <a:cubicBezTo>
                    <a:pt x="338" y="262"/>
                    <a:pt x="337" y="260"/>
                    <a:pt x="336" y="259"/>
                  </a:cubicBezTo>
                  <a:cubicBezTo>
                    <a:pt x="335" y="257"/>
                    <a:pt x="333" y="256"/>
                    <a:pt x="331" y="254"/>
                  </a:cubicBezTo>
                  <a:cubicBezTo>
                    <a:pt x="330" y="253"/>
                    <a:pt x="328" y="251"/>
                    <a:pt x="327" y="250"/>
                  </a:cubicBezTo>
                  <a:cubicBezTo>
                    <a:pt x="326" y="248"/>
                    <a:pt x="324" y="248"/>
                    <a:pt x="323" y="247"/>
                  </a:cubicBezTo>
                  <a:cubicBezTo>
                    <a:pt x="321" y="246"/>
                    <a:pt x="320" y="244"/>
                    <a:pt x="319" y="243"/>
                  </a:cubicBezTo>
                  <a:cubicBezTo>
                    <a:pt x="318" y="242"/>
                    <a:pt x="317" y="241"/>
                    <a:pt x="316" y="241"/>
                  </a:cubicBezTo>
                  <a:cubicBezTo>
                    <a:pt x="315" y="241"/>
                    <a:pt x="315" y="241"/>
                    <a:pt x="314" y="241"/>
                  </a:cubicBezTo>
                  <a:cubicBezTo>
                    <a:pt x="314" y="240"/>
                    <a:pt x="314" y="240"/>
                    <a:pt x="313" y="240"/>
                  </a:cubicBezTo>
                  <a:cubicBezTo>
                    <a:pt x="313" y="239"/>
                    <a:pt x="312" y="239"/>
                    <a:pt x="311" y="238"/>
                  </a:cubicBezTo>
                  <a:cubicBezTo>
                    <a:pt x="309" y="237"/>
                    <a:pt x="308" y="236"/>
                    <a:pt x="307" y="234"/>
                  </a:cubicBezTo>
                  <a:cubicBezTo>
                    <a:pt x="305" y="231"/>
                    <a:pt x="304" y="228"/>
                    <a:pt x="302" y="225"/>
                  </a:cubicBezTo>
                  <a:cubicBezTo>
                    <a:pt x="302" y="224"/>
                    <a:pt x="302" y="224"/>
                    <a:pt x="302" y="224"/>
                  </a:cubicBezTo>
                  <a:cubicBezTo>
                    <a:pt x="302" y="223"/>
                    <a:pt x="301" y="223"/>
                    <a:pt x="301" y="223"/>
                  </a:cubicBezTo>
                  <a:cubicBezTo>
                    <a:pt x="300" y="221"/>
                    <a:pt x="299" y="219"/>
                    <a:pt x="299" y="218"/>
                  </a:cubicBezTo>
                  <a:cubicBezTo>
                    <a:pt x="299" y="214"/>
                    <a:pt x="300" y="210"/>
                    <a:pt x="299" y="206"/>
                  </a:cubicBezTo>
                  <a:cubicBezTo>
                    <a:pt x="298" y="203"/>
                    <a:pt x="296" y="201"/>
                    <a:pt x="296" y="198"/>
                  </a:cubicBezTo>
                  <a:cubicBezTo>
                    <a:pt x="296" y="198"/>
                    <a:pt x="296" y="197"/>
                    <a:pt x="296" y="196"/>
                  </a:cubicBezTo>
                  <a:cubicBezTo>
                    <a:pt x="296" y="196"/>
                    <a:pt x="297" y="196"/>
                    <a:pt x="297" y="195"/>
                  </a:cubicBezTo>
                  <a:cubicBezTo>
                    <a:pt x="297" y="194"/>
                    <a:pt x="297" y="192"/>
                    <a:pt x="297" y="191"/>
                  </a:cubicBezTo>
                  <a:cubicBezTo>
                    <a:pt x="297" y="190"/>
                    <a:pt x="296" y="190"/>
                    <a:pt x="296" y="189"/>
                  </a:cubicBezTo>
                  <a:cubicBezTo>
                    <a:pt x="296" y="189"/>
                    <a:pt x="296" y="188"/>
                    <a:pt x="296" y="187"/>
                  </a:cubicBezTo>
                  <a:cubicBezTo>
                    <a:pt x="296" y="186"/>
                    <a:pt x="296" y="186"/>
                    <a:pt x="297" y="185"/>
                  </a:cubicBezTo>
                  <a:cubicBezTo>
                    <a:pt x="297" y="184"/>
                    <a:pt x="297" y="183"/>
                    <a:pt x="298" y="182"/>
                  </a:cubicBezTo>
                  <a:cubicBezTo>
                    <a:pt x="298" y="181"/>
                    <a:pt x="298" y="181"/>
                    <a:pt x="299" y="181"/>
                  </a:cubicBezTo>
                  <a:cubicBezTo>
                    <a:pt x="299" y="181"/>
                    <a:pt x="299" y="181"/>
                    <a:pt x="300" y="181"/>
                  </a:cubicBezTo>
                  <a:cubicBezTo>
                    <a:pt x="300" y="180"/>
                    <a:pt x="301" y="180"/>
                    <a:pt x="302" y="180"/>
                  </a:cubicBezTo>
                  <a:cubicBezTo>
                    <a:pt x="305" y="179"/>
                    <a:pt x="305" y="176"/>
                    <a:pt x="306" y="173"/>
                  </a:cubicBezTo>
                  <a:cubicBezTo>
                    <a:pt x="307" y="172"/>
                    <a:pt x="307" y="172"/>
                    <a:pt x="308" y="171"/>
                  </a:cubicBezTo>
                  <a:cubicBezTo>
                    <a:pt x="310" y="171"/>
                    <a:pt x="312" y="171"/>
                    <a:pt x="314" y="171"/>
                  </a:cubicBezTo>
                  <a:cubicBezTo>
                    <a:pt x="316" y="171"/>
                    <a:pt x="318" y="170"/>
                    <a:pt x="321" y="171"/>
                  </a:cubicBezTo>
                  <a:cubicBezTo>
                    <a:pt x="321" y="171"/>
                    <a:pt x="322" y="171"/>
                    <a:pt x="323" y="170"/>
                  </a:cubicBezTo>
                  <a:cubicBezTo>
                    <a:pt x="324" y="170"/>
                    <a:pt x="324" y="169"/>
                    <a:pt x="324" y="168"/>
                  </a:cubicBezTo>
                  <a:cubicBezTo>
                    <a:pt x="324" y="166"/>
                    <a:pt x="322" y="165"/>
                    <a:pt x="320" y="164"/>
                  </a:cubicBezTo>
                  <a:cubicBezTo>
                    <a:pt x="318" y="163"/>
                    <a:pt x="317" y="163"/>
                    <a:pt x="316" y="161"/>
                  </a:cubicBezTo>
                  <a:cubicBezTo>
                    <a:pt x="316" y="159"/>
                    <a:pt x="315" y="158"/>
                    <a:pt x="315" y="156"/>
                  </a:cubicBezTo>
                  <a:cubicBezTo>
                    <a:pt x="315" y="154"/>
                    <a:pt x="315" y="155"/>
                    <a:pt x="317" y="154"/>
                  </a:cubicBezTo>
                  <a:cubicBezTo>
                    <a:pt x="318" y="154"/>
                    <a:pt x="319" y="153"/>
                    <a:pt x="319" y="152"/>
                  </a:cubicBezTo>
                  <a:cubicBezTo>
                    <a:pt x="321" y="151"/>
                    <a:pt x="322" y="149"/>
                    <a:pt x="323" y="148"/>
                  </a:cubicBezTo>
                  <a:cubicBezTo>
                    <a:pt x="324" y="147"/>
                    <a:pt x="326" y="147"/>
                    <a:pt x="327" y="146"/>
                  </a:cubicBezTo>
                  <a:cubicBezTo>
                    <a:pt x="328" y="145"/>
                    <a:pt x="328" y="145"/>
                    <a:pt x="328" y="144"/>
                  </a:cubicBezTo>
                  <a:cubicBezTo>
                    <a:pt x="325" y="143"/>
                    <a:pt x="323" y="144"/>
                    <a:pt x="320" y="143"/>
                  </a:cubicBezTo>
                  <a:cubicBezTo>
                    <a:pt x="317" y="141"/>
                    <a:pt x="312" y="142"/>
                    <a:pt x="308" y="142"/>
                  </a:cubicBezTo>
                  <a:cubicBezTo>
                    <a:pt x="308" y="140"/>
                    <a:pt x="310" y="138"/>
                    <a:pt x="310" y="137"/>
                  </a:cubicBezTo>
                  <a:cubicBezTo>
                    <a:pt x="311" y="136"/>
                    <a:pt x="311" y="136"/>
                    <a:pt x="311" y="135"/>
                  </a:cubicBezTo>
                  <a:cubicBezTo>
                    <a:pt x="312" y="135"/>
                    <a:pt x="312" y="135"/>
                    <a:pt x="313" y="134"/>
                  </a:cubicBezTo>
                  <a:cubicBezTo>
                    <a:pt x="315" y="133"/>
                    <a:pt x="314" y="132"/>
                    <a:pt x="314" y="130"/>
                  </a:cubicBezTo>
                  <a:cubicBezTo>
                    <a:pt x="315" y="128"/>
                    <a:pt x="316" y="128"/>
                    <a:pt x="317" y="130"/>
                  </a:cubicBezTo>
                  <a:cubicBezTo>
                    <a:pt x="318" y="131"/>
                    <a:pt x="316" y="133"/>
                    <a:pt x="318" y="134"/>
                  </a:cubicBezTo>
                  <a:cubicBezTo>
                    <a:pt x="319" y="134"/>
                    <a:pt x="320" y="134"/>
                    <a:pt x="321" y="134"/>
                  </a:cubicBezTo>
                  <a:cubicBezTo>
                    <a:pt x="321" y="134"/>
                    <a:pt x="321" y="134"/>
                    <a:pt x="322" y="134"/>
                  </a:cubicBezTo>
                  <a:cubicBezTo>
                    <a:pt x="322" y="134"/>
                    <a:pt x="322" y="134"/>
                    <a:pt x="322" y="133"/>
                  </a:cubicBezTo>
                  <a:cubicBezTo>
                    <a:pt x="324" y="133"/>
                    <a:pt x="325" y="132"/>
                    <a:pt x="326" y="131"/>
                  </a:cubicBezTo>
                  <a:cubicBezTo>
                    <a:pt x="327" y="130"/>
                    <a:pt x="329" y="130"/>
                    <a:pt x="329" y="129"/>
                  </a:cubicBezTo>
                  <a:cubicBezTo>
                    <a:pt x="330" y="128"/>
                    <a:pt x="330" y="128"/>
                    <a:pt x="331" y="127"/>
                  </a:cubicBezTo>
                  <a:cubicBezTo>
                    <a:pt x="331" y="127"/>
                    <a:pt x="332" y="127"/>
                    <a:pt x="333" y="127"/>
                  </a:cubicBezTo>
                  <a:cubicBezTo>
                    <a:pt x="334" y="126"/>
                    <a:pt x="336" y="127"/>
                    <a:pt x="338" y="126"/>
                  </a:cubicBezTo>
                  <a:cubicBezTo>
                    <a:pt x="339" y="126"/>
                    <a:pt x="340" y="124"/>
                    <a:pt x="341" y="124"/>
                  </a:cubicBezTo>
                  <a:cubicBezTo>
                    <a:pt x="342" y="123"/>
                    <a:pt x="343" y="123"/>
                    <a:pt x="345" y="123"/>
                  </a:cubicBezTo>
                  <a:cubicBezTo>
                    <a:pt x="346" y="122"/>
                    <a:pt x="347" y="121"/>
                    <a:pt x="347" y="120"/>
                  </a:cubicBezTo>
                  <a:cubicBezTo>
                    <a:pt x="348" y="119"/>
                    <a:pt x="348" y="118"/>
                    <a:pt x="349" y="118"/>
                  </a:cubicBezTo>
                  <a:cubicBezTo>
                    <a:pt x="350" y="118"/>
                    <a:pt x="351" y="118"/>
                    <a:pt x="351" y="118"/>
                  </a:cubicBezTo>
                  <a:cubicBezTo>
                    <a:pt x="352" y="118"/>
                    <a:pt x="355" y="118"/>
                    <a:pt x="355" y="117"/>
                  </a:cubicBezTo>
                  <a:cubicBezTo>
                    <a:pt x="357" y="115"/>
                    <a:pt x="354" y="114"/>
                    <a:pt x="354" y="112"/>
                  </a:cubicBezTo>
                  <a:cubicBezTo>
                    <a:pt x="353" y="112"/>
                    <a:pt x="353" y="112"/>
                    <a:pt x="353" y="112"/>
                  </a:cubicBezTo>
                  <a:cubicBezTo>
                    <a:pt x="352" y="110"/>
                    <a:pt x="353" y="111"/>
                    <a:pt x="354" y="109"/>
                  </a:cubicBezTo>
                  <a:cubicBezTo>
                    <a:pt x="354" y="108"/>
                    <a:pt x="354" y="107"/>
                    <a:pt x="355" y="106"/>
                  </a:cubicBezTo>
                  <a:cubicBezTo>
                    <a:pt x="355" y="105"/>
                    <a:pt x="356" y="104"/>
                    <a:pt x="358" y="104"/>
                  </a:cubicBezTo>
                  <a:cubicBezTo>
                    <a:pt x="359" y="105"/>
                    <a:pt x="359" y="106"/>
                    <a:pt x="359" y="107"/>
                  </a:cubicBezTo>
                  <a:cubicBezTo>
                    <a:pt x="360" y="108"/>
                    <a:pt x="361" y="108"/>
                    <a:pt x="362" y="109"/>
                  </a:cubicBezTo>
                  <a:cubicBezTo>
                    <a:pt x="363" y="109"/>
                    <a:pt x="364" y="109"/>
                    <a:pt x="365" y="109"/>
                  </a:cubicBezTo>
                  <a:cubicBezTo>
                    <a:pt x="366" y="108"/>
                    <a:pt x="366" y="108"/>
                    <a:pt x="367" y="108"/>
                  </a:cubicBezTo>
                  <a:cubicBezTo>
                    <a:pt x="368" y="107"/>
                    <a:pt x="370" y="104"/>
                    <a:pt x="371" y="105"/>
                  </a:cubicBezTo>
                  <a:cubicBezTo>
                    <a:pt x="372" y="105"/>
                    <a:pt x="372" y="107"/>
                    <a:pt x="372" y="108"/>
                  </a:cubicBezTo>
                  <a:cubicBezTo>
                    <a:pt x="373" y="108"/>
                    <a:pt x="373" y="110"/>
                    <a:pt x="373" y="110"/>
                  </a:cubicBezTo>
                  <a:cubicBezTo>
                    <a:pt x="375" y="111"/>
                    <a:pt x="378" y="111"/>
                    <a:pt x="377" y="114"/>
                  </a:cubicBezTo>
                  <a:cubicBezTo>
                    <a:pt x="376" y="115"/>
                    <a:pt x="375" y="115"/>
                    <a:pt x="375" y="116"/>
                  </a:cubicBezTo>
                  <a:cubicBezTo>
                    <a:pt x="374" y="117"/>
                    <a:pt x="374" y="119"/>
                    <a:pt x="375" y="120"/>
                  </a:cubicBezTo>
                  <a:cubicBezTo>
                    <a:pt x="375" y="120"/>
                    <a:pt x="380" y="120"/>
                    <a:pt x="381" y="120"/>
                  </a:cubicBezTo>
                  <a:cubicBezTo>
                    <a:pt x="383" y="119"/>
                    <a:pt x="384" y="118"/>
                    <a:pt x="385" y="117"/>
                  </a:cubicBezTo>
                  <a:cubicBezTo>
                    <a:pt x="386" y="116"/>
                    <a:pt x="386" y="116"/>
                    <a:pt x="387" y="115"/>
                  </a:cubicBezTo>
                  <a:cubicBezTo>
                    <a:pt x="387" y="115"/>
                    <a:pt x="387" y="115"/>
                    <a:pt x="388" y="114"/>
                  </a:cubicBezTo>
                  <a:cubicBezTo>
                    <a:pt x="389" y="112"/>
                    <a:pt x="389" y="111"/>
                    <a:pt x="389" y="108"/>
                  </a:cubicBezTo>
                  <a:cubicBezTo>
                    <a:pt x="389" y="107"/>
                    <a:pt x="389" y="107"/>
                    <a:pt x="389" y="105"/>
                  </a:cubicBezTo>
                  <a:cubicBezTo>
                    <a:pt x="388" y="105"/>
                    <a:pt x="389" y="105"/>
                    <a:pt x="388" y="104"/>
                  </a:cubicBezTo>
                  <a:cubicBezTo>
                    <a:pt x="388" y="103"/>
                    <a:pt x="386" y="103"/>
                    <a:pt x="385" y="102"/>
                  </a:cubicBezTo>
                  <a:cubicBezTo>
                    <a:pt x="384" y="101"/>
                    <a:pt x="384" y="100"/>
                    <a:pt x="383" y="100"/>
                  </a:cubicBezTo>
                  <a:cubicBezTo>
                    <a:pt x="382" y="100"/>
                    <a:pt x="381" y="100"/>
                    <a:pt x="380" y="100"/>
                  </a:cubicBezTo>
                  <a:cubicBezTo>
                    <a:pt x="379" y="100"/>
                    <a:pt x="377" y="100"/>
                    <a:pt x="376" y="99"/>
                  </a:cubicBezTo>
                  <a:cubicBezTo>
                    <a:pt x="374" y="98"/>
                    <a:pt x="374" y="97"/>
                    <a:pt x="373" y="95"/>
                  </a:cubicBezTo>
                  <a:cubicBezTo>
                    <a:pt x="372" y="94"/>
                    <a:pt x="371" y="92"/>
                    <a:pt x="370" y="91"/>
                  </a:cubicBezTo>
                  <a:cubicBezTo>
                    <a:pt x="370" y="91"/>
                    <a:pt x="370" y="91"/>
                    <a:pt x="370" y="90"/>
                  </a:cubicBezTo>
                  <a:cubicBezTo>
                    <a:pt x="370" y="89"/>
                    <a:pt x="371" y="89"/>
                    <a:pt x="371" y="89"/>
                  </a:cubicBezTo>
                  <a:cubicBezTo>
                    <a:pt x="372" y="88"/>
                    <a:pt x="372" y="89"/>
                    <a:pt x="372" y="87"/>
                  </a:cubicBezTo>
                  <a:cubicBezTo>
                    <a:pt x="372" y="87"/>
                    <a:pt x="372" y="86"/>
                    <a:pt x="372" y="86"/>
                  </a:cubicBezTo>
                  <a:cubicBezTo>
                    <a:pt x="369" y="85"/>
                    <a:pt x="364" y="86"/>
                    <a:pt x="367" y="82"/>
                  </a:cubicBezTo>
                  <a:cubicBezTo>
                    <a:pt x="368" y="81"/>
                    <a:pt x="368" y="80"/>
                    <a:pt x="370" y="79"/>
                  </a:cubicBezTo>
                  <a:cubicBezTo>
                    <a:pt x="371" y="78"/>
                    <a:pt x="372" y="76"/>
                    <a:pt x="374" y="75"/>
                  </a:cubicBezTo>
                  <a:cubicBezTo>
                    <a:pt x="375" y="75"/>
                    <a:pt x="378" y="75"/>
                    <a:pt x="377" y="73"/>
                  </a:cubicBezTo>
                  <a:cubicBezTo>
                    <a:pt x="376" y="72"/>
                    <a:pt x="373" y="71"/>
                    <a:pt x="372" y="70"/>
                  </a:cubicBezTo>
                  <a:cubicBezTo>
                    <a:pt x="370" y="70"/>
                    <a:pt x="369" y="69"/>
                    <a:pt x="368" y="69"/>
                  </a:cubicBezTo>
                  <a:cubicBezTo>
                    <a:pt x="365" y="69"/>
                    <a:pt x="363" y="68"/>
                    <a:pt x="361" y="68"/>
                  </a:cubicBezTo>
                  <a:cubicBezTo>
                    <a:pt x="361" y="67"/>
                    <a:pt x="361" y="66"/>
                    <a:pt x="362" y="65"/>
                  </a:cubicBezTo>
                  <a:cubicBezTo>
                    <a:pt x="362" y="64"/>
                    <a:pt x="363" y="64"/>
                    <a:pt x="364" y="63"/>
                  </a:cubicBezTo>
                  <a:cubicBezTo>
                    <a:pt x="366" y="62"/>
                    <a:pt x="366" y="62"/>
                    <a:pt x="366" y="61"/>
                  </a:cubicBezTo>
                  <a:cubicBezTo>
                    <a:pt x="366" y="59"/>
                    <a:pt x="366" y="58"/>
                    <a:pt x="367" y="57"/>
                  </a:cubicBezTo>
                  <a:cubicBezTo>
                    <a:pt x="369" y="55"/>
                    <a:pt x="371" y="54"/>
                    <a:pt x="374" y="54"/>
                  </a:cubicBezTo>
                  <a:cubicBezTo>
                    <a:pt x="376" y="54"/>
                    <a:pt x="378" y="54"/>
                    <a:pt x="380" y="53"/>
                  </a:cubicBezTo>
                  <a:cubicBezTo>
                    <a:pt x="382" y="42"/>
                    <a:pt x="382" y="42"/>
                    <a:pt x="382" y="42"/>
                  </a:cubicBezTo>
                  <a:cubicBezTo>
                    <a:pt x="382" y="42"/>
                    <a:pt x="382" y="42"/>
                    <a:pt x="381" y="42"/>
                  </a:cubicBezTo>
                  <a:cubicBezTo>
                    <a:pt x="378" y="42"/>
                    <a:pt x="374" y="42"/>
                    <a:pt x="371" y="42"/>
                  </a:cubicBezTo>
                  <a:cubicBezTo>
                    <a:pt x="368" y="42"/>
                    <a:pt x="366" y="42"/>
                    <a:pt x="363" y="42"/>
                  </a:cubicBezTo>
                  <a:cubicBezTo>
                    <a:pt x="359" y="41"/>
                    <a:pt x="355" y="41"/>
                    <a:pt x="351" y="39"/>
                  </a:cubicBezTo>
                  <a:cubicBezTo>
                    <a:pt x="350" y="39"/>
                    <a:pt x="349" y="38"/>
                    <a:pt x="347" y="37"/>
                  </a:cubicBezTo>
                  <a:cubicBezTo>
                    <a:pt x="346" y="37"/>
                    <a:pt x="344" y="37"/>
                    <a:pt x="343" y="37"/>
                  </a:cubicBezTo>
                  <a:cubicBezTo>
                    <a:pt x="341" y="36"/>
                    <a:pt x="339" y="36"/>
                    <a:pt x="337" y="36"/>
                  </a:cubicBezTo>
                  <a:cubicBezTo>
                    <a:pt x="334" y="35"/>
                    <a:pt x="332" y="35"/>
                    <a:pt x="329" y="35"/>
                  </a:cubicBezTo>
                  <a:cubicBezTo>
                    <a:pt x="328" y="35"/>
                    <a:pt x="327" y="35"/>
                    <a:pt x="326" y="35"/>
                  </a:cubicBezTo>
                  <a:cubicBezTo>
                    <a:pt x="322" y="33"/>
                    <a:pt x="317" y="30"/>
                    <a:pt x="314" y="27"/>
                  </a:cubicBezTo>
                  <a:cubicBezTo>
                    <a:pt x="312" y="26"/>
                    <a:pt x="310" y="24"/>
                    <a:pt x="309" y="22"/>
                  </a:cubicBezTo>
                  <a:cubicBezTo>
                    <a:pt x="308" y="20"/>
                    <a:pt x="308" y="18"/>
                    <a:pt x="306" y="17"/>
                  </a:cubicBezTo>
                  <a:cubicBezTo>
                    <a:pt x="305" y="16"/>
                    <a:pt x="304" y="15"/>
                    <a:pt x="303" y="14"/>
                  </a:cubicBezTo>
                  <a:cubicBezTo>
                    <a:pt x="302" y="13"/>
                    <a:pt x="301" y="12"/>
                    <a:pt x="301" y="12"/>
                  </a:cubicBezTo>
                  <a:cubicBezTo>
                    <a:pt x="299" y="10"/>
                    <a:pt x="300" y="10"/>
                    <a:pt x="300" y="9"/>
                  </a:cubicBezTo>
                  <a:cubicBezTo>
                    <a:pt x="300" y="8"/>
                    <a:pt x="300" y="7"/>
                    <a:pt x="301" y="6"/>
                  </a:cubicBezTo>
                  <a:cubicBezTo>
                    <a:pt x="301" y="6"/>
                    <a:pt x="303" y="6"/>
                    <a:pt x="303" y="6"/>
                  </a:cubicBezTo>
                  <a:cubicBezTo>
                    <a:pt x="304" y="5"/>
                    <a:pt x="306" y="4"/>
                    <a:pt x="306" y="3"/>
                  </a:cubicBezTo>
                  <a:cubicBezTo>
                    <a:pt x="306" y="0"/>
                    <a:pt x="303" y="0"/>
                    <a:pt x="301" y="0"/>
                  </a:cubicBezTo>
                  <a:cubicBezTo>
                    <a:pt x="299" y="0"/>
                    <a:pt x="297" y="1"/>
                    <a:pt x="296" y="2"/>
                  </a:cubicBezTo>
                  <a:cubicBezTo>
                    <a:pt x="293" y="3"/>
                    <a:pt x="290" y="4"/>
                    <a:pt x="288" y="6"/>
                  </a:cubicBezTo>
                  <a:cubicBezTo>
                    <a:pt x="286" y="7"/>
                    <a:pt x="283" y="10"/>
                    <a:pt x="281" y="8"/>
                  </a:cubicBezTo>
                  <a:cubicBezTo>
                    <a:pt x="280" y="7"/>
                    <a:pt x="279" y="6"/>
                    <a:pt x="277" y="7"/>
                  </a:cubicBezTo>
                  <a:cubicBezTo>
                    <a:pt x="276" y="7"/>
                    <a:pt x="275" y="8"/>
                    <a:pt x="274" y="9"/>
                  </a:cubicBezTo>
                  <a:cubicBezTo>
                    <a:pt x="273" y="9"/>
                    <a:pt x="272" y="9"/>
                    <a:pt x="271" y="9"/>
                  </a:cubicBezTo>
                  <a:cubicBezTo>
                    <a:pt x="266" y="9"/>
                    <a:pt x="261" y="8"/>
                    <a:pt x="256" y="8"/>
                  </a:cubicBezTo>
                  <a:cubicBezTo>
                    <a:pt x="255" y="8"/>
                    <a:pt x="254" y="8"/>
                    <a:pt x="253" y="8"/>
                  </a:cubicBezTo>
                  <a:cubicBezTo>
                    <a:pt x="251" y="8"/>
                    <a:pt x="250" y="9"/>
                    <a:pt x="249" y="9"/>
                  </a:cubicBezTo>
                  <a:cubicBezTo>
                    <a:pt x="247" y="10"/>
                    <a:pt x="247" y="10"/>
                    <a:pt x="247" y="11"/>
                  </a:cubicBezTo>
                  <a:cubicBezTo>
                    <a:pt x="246" y="12"/>
                    <a:pt x="246" y="12"/>
                    <a:pt x="246" y="14"/>
                  </a:cubicBezTo>
                  <a:cubicBezTo>
                    <a:pt x="246" y="15"/>
                    <a:pt x="246" y="16"/>
                    <a:pt x="246" y="17"/>
                  </a:cubicBezTo>
                  <a:cubicBezTo>
                    <a:pt x="245" y="19"/>
                    <a:pt x="244" y="20"/>
                    <a:pt x="243" y="21"/>
                  </a:cubicBezTo>
                  <a:cubicBezTo>
                    <a:pt x="243" y="23"/>
                    <a:pt x="243" y="25"/>
                    <a:pt x="241" y="26"/>
                  </a:cubicBezTo>
                  <a:cubicBezTo>
                    <a:pt x="239" y="26"/>
                    <a:pt x="237" y="26"/>
                    <a:pt x="236" y="26"/>
                  </a:cubicBezTo>
                  <a:cubicBezTo>
                    <a:pt x="235" y="26"/>
                    <a:pt x="234" y="26"/>
                    <a:pt x="234" y="25"/>
                  </a:cubicBezTo>
                  <a:cubicBezTo>
                    <a:pt x="233" y="25"/>
                    <a:pt x="233" y="25"/>
                    <a:pt x="232" y="24"/>
                  </a:cubicBezTo>
                  <a:cubicBezTo>
                    <a:pt x="232" y="24"/>
                    <a:pt x="230" y="24"/>
                    <a:pt x="230" y="24"/>
                  </a:cubicBezTo>
                  <a:cubicBezTo>
                    <a:pt x="229" y="24"/>
                    <a:pt x="227" y="24"/>
                    <a:pt x="227" y="23"/>
                  </a:cubicBezTo>
                  <a:cubicBezTo>
                    <a:pt x="226" y="22"/>
                    <a:pt x="227" y="21"/>
                    <a:pt x="226" y="20"/>
                  </a:cubicBezTo>
                  <a:cubicBezTo>
                    <a:pt x="226" y="19"/>
                    <a:pt x="225" y="19"/>
                    <a:pt x="224" y="19"/>
                  </a:cubicBezTo>
                  <a:cubicBezTo>
                    <a:pt x="223" y="19"/>
                    <a:pt x="221" y="18"/>
                    <a:pt x="220" y="18"/>
                  </a:cubicBezTo>
                  <a:cubicBezTo>
                    <a:pt x="219" y="18"/>
                    <a:pt x="218" y="18"/>
                    <a:pt x="217" y="18"/>
                  </a:cubicBezTo>
                  <a:cubicBezTo>
                    <a:pt x="216" y="18"/>
                    <a:pt x="215" y="18"/>
                    <a:pt x="213" y="18"/>
                  </a:cubicBezTo>
                  <a:cubicBezTo>
                    <a:pt x="213" y="19"/>
                    <a:pt x="213" y="20"/>
                    <a:pt x="213" y="22"/>
                  </a:cubicBezTo>
                  <a:cubicBezTo>
                    <a:pt x="212" y="23"/>
                    <a:pt x="212" y="25"/>
                    <a:pt x="211" y="27"/>
                  </a:cubicBezTo>
                  <a:cubicBezTo>
                    <a:pt x="209" y="29"/>
                    <a:pt x="207" y="30"/>
                    <a:pt x="208" y="34"/>
                  </a:cubicBezTo>
                  <a:cubicBezTo>
                    <a:pt x="208" y="35"/>
                    <a:pt x="209" y="35"/>
                    <a:pt x="210" y="36"/>
                  </a:cubicBezTo>
                  <a:cubicBezTo>
                    <a:pt x="210" y="36"/>
                    <a:pt x="210" y="37"/>
                    <a:pt x="211" y="37"/>
                  </a:cubicBezTo>
                  <a:cubicBezTo>
                    <a:pt x="211" y="37"/>
                    <a:pt x="212" y="37"/>
                    <a:pt x="213" y="38"/>
                  </a:cubicBezTo>
                  <a:cubicBezTo>
                    <a:pt x="213" y="38"/>
                    <a:pt x="212" y="41"/>
                    <a:pt x="212" y="42"/>
                  </a:cubicBezTo>
                  <a:cubicBezTo>
                    <a:pt x="211" y="42"/>
                    <a:pt x="209" y="43"/>
                    <a:pt x="208" y="43"/>
                  </a:cubicBezTo>
                  <a:cubicBezTo>
                    <a:pt x="206" y="44"/>
                    <a:pt x="204" y="44"/>
                    <a:pt x="203" y="43"/>
                  </a:cubicBezTo>
                  <a:cubicBezTo>
                    <a:pt x="201" y="42"/>
                    <a:pt x="201" y="39"/>
                    <a:pt x="198" y="39"/>
                  </a:cubicBezTo>
                  <a:cubicBezTo>
                    <a:pt x="197" y="39"/>
                    <a:pt x="197" y="40"/>
                    <a:pt x="196" y="40"/>
                  </a:cubicBezTo>
                  <a:cubicBezTo>
                    <a:pt x="195" y="41"/>
                    <a:pt x="194" y="41"/>
                    <a:pt x="192" y="42"/>
                  </a:cubicBezTo>
                  <a:cubicBezTo>
                    <a:pt x="191" y="42"/>
                    <a:pt x="190" y="43"/>
                    <a:pt x="190" y="44"/>
                  </a:cubicBezTo>
                  <a:cubicBezTo>
                    <a:pt x="189" y="46"/>
                    <a:pt x="189" y="47"/>
                    <a:pt x="189" y="49"/>
                  </a:cubicBezTo>
                  <a:cubicBezTo>
                    <a:pt x="189" y="50"/>
                    <a:pt x="189" y="52"/>
                    <a:pt x="189" y="54"/>
                  </a:cubicBezTo>
                  <a:cubicBezTo>
                    <a:pt x="191" y="54"/>
                    <a:pt x="193" y="53"/>
                    <a:pt x="194" y="54"/>
                  </a:cubicBezTo>
                  <a:cubicBezTo>
                    <a:pt x="196" y="55"/>
                    <a:pt x="194" y="58"/>
                    <a:pt x="194" y="59"/>
                  </a:cubicBezTo>
                  <a:cubicBezTo>
                    <a:pt x="193" y="60"/>
                    <a:pt x="193" y="60"/>
                    <a:pt x="192" y="61"/>
                  </a:cubicBezTo>
                  <a:cubicBezTo>
                    <a:pt x="192" y="62"/>
                    <a:pt x="193" y="62"/>
                    <a:pt x="193" y="63"/>
                  </a:cubicBezTo>
                  <a:cubicBezTo>
                    <a:pt x="194" y="65"/>
                    <a:pt x="195" y="66"/>
                    <a:pt x="195" y="68"/>
                  </a:cubicBezTo>
                  <a:cubicBezTo>
                    <a:pt x="192" y="68"/>
                    <a:pt x="190" y="67"/>
                    <a:pt x="188" y="66"/>
                  </a:cubicBezTo>
                  <a:cubicBezTo>
                    <a:pt x="187" y="65"/>
                    <a:pt x="187" y="64"/>
                    <a:pt x="186" y="63"/>
                  </a:cubicBezTo>
                  <a:cubicBezTo>
                    <a:pt x="186" y="63"/>
                    <a:pt x="186" y="60"/>
                    <a:pt x="185" y="60"/>
                  </a:cubicBezTo>
                  <a:cubicBezTo>
                    <a:pt x="184" y="59"/>
                    <a:pt x="182" y="60"/>
                    <a:pt x="181" y="60"/>
                  </a:cubicBezTo>
                  <a:cubicBezTo>
                    <a:pt x="179" y="60"/>
                    <a:pt x="177" y="60"/>
                    <a:pt x="175" y="60"/>
                  </a:cubicBezTo>
                  <a:cubicBezTo>
                    <a:pt x="174" y="60"/>
                    <a:pt x="173" y="60"/>
                    <a:pt x="172" y="61"/>
                  </a:cubicBezTo>
                  <a:cubicBezTo>
                    <a:pt x="171" y="61"/>
                    <a:pt x="171" y="62"/>
                    <a:pt x="170" y="63"/>
                  </a:cubicBezTo>
                  <a:cubicBezTo>
                    <a:pt x="170" y="63"/>
                    <a:pt x="169" y="63"/>
                    <a:pt x="168" y="63"/>
                  </a:cubicBezTo>
                  <a:cubicBezTo>
                    <a:pt x="167" y="63"/>
                    <a:pt x="167" y="63"/>
                    <a:pt x="166" y="64"/>
                  </a:cubicBezTo>
                  <a:cubicBezTo>
                    <a:pt x="164" y="64"/>
                    <a:pt x="162" y="63"/>
                    <a:pt x="161" y="62"/>
                  </a:cubicBezTo>
                  <a:cubicBezTo>
                    <a:pt x="159" y="62"/>
                    <a:pt x="158" y="62"/>
                    <a:pt x="157" y="60"/>
                  </a:cubicBezTo>
                  <a:cubicBezTo>
                    <a:pt x="157" y="59"/>
                    <a:pt x="157" y="57"/>
                    <a:pt x="157" y="56"/>
                  </a:cubicBezTo>
                  <a:cubicBezTo>
                    <a:pt x="156" y="55"/>
                    <a:pt x="156" y="54"/>
                    <a:pt x="155" y="52"/>
                  </a:cubicBezTo>
                  <a:cubicBezTo>
                    <a:pt x="155" y="52"/>
                    <a:pt x="153" y="50"/>
                    <a:pt x="153" y="50"/>
                  </a:cubicBezTo>
                  <a:cubicBezTo>
                    <a:pt x="152" y="49"/>
                    <a:pt x="148" y="49"/>
                    <a:pt x="147" y="50"/>
                  </a:cubicBezTo>
                  <a:cubicBezTo>
                    <a:pt x="147" y="50"/>
                    <a:pt x="146" y="51"/>
                    <a:pt x="145" y="51"/>
                  </a:cubicBezTo>
                  <a:cubicBezTo>
                    <a:pt x="145" y="52"/>
                    <a:pt x="144" y="53"/>
                    <a:pt x="144" y="53"/>
                  </a:cubicBezTo>
                  <a:cubicBezTo>
                    <a:pt x="143" y="55"/>
                    <a:pt x="144" y="58"/>
                    <a:pt x="145" y="59"/>
                  </a:cubicBezTo>
                  <a:cubicBezTo>
                    <a:pt x="146" y="60"/>
                    <a:pt x="146" y="61"/>
                    <a:pt x="147" y="62"/>
                  </a:cubicBezTo>
                  <a:cubicBezTo>
                    <a:pt x="147" y="63"/>
                    <a:pt x="147" y="65"/>
                    <a:pt x="146" y="66"/>
                  </a:cubicBezTo>
                  <a:cubicBezTo>
                    <a:pt x="146" y="67"/>
                    <a:pt x="145" y="68"/>
                    <a:pt x="144" y="69"/>
                  </a:cubicBezTo>
                  <a:cubicBezTo>
                    <a:pt x="143" y="70"/>
                    <a:pt x="143" y="70"/>
                    <a:pt x="143" y="71"/>
                  </a:cubicBezTo>
                  <a:cubicBezTo>
                    <a:pt x="141" y="72"/>
                    <a:pt x="140" y="73"/>
                    <a:pt x="138" y="74"/>
                  </a:cubicBezTo>
                  <a:cubicBezTo>
                    <a:pt x="136" y="75"/>
                    <a:pt x="136" y="77"/>
                    <a:pt x="135" y="79"/>
                  </a:cubicBezTo>
                  <a:cubicBezTo>
                    <a:pt x="135" y="81"/>
                    <a:pt x="133" y="82"/>
                    <a:pt x="132" y="84"/>
                  </a:cubicBezTo>
                  <a:cubicBezTo>
                    <a:pt x="132" y="85"/>
                    <a:pt x="132" y="85"/>
                    <a:pt x="131" y="86"/>
                  </a:cubicBezTo>
                  <a:cubicBezTo>
                    <a:pt x="131" y="87"/>
                    <a:pt x="130" y="88"/>
                    <a:pt x="129" y="88"/>
                  </a:cubicBezTo>
                  <a:cubicBezTo>
                    <a:pt x="129" y="89"/>
                    <a:pt x="129" y="92"/>
                    <a:pt x="129" y="92"/>
                  </a:cubicBezTo>
                  <a:cubicBezTo>
                    <a:pt x="130" y="93"/>
                    <a:pt x="132" y="93"/>
                    <a:pt x="132" y="93"/>
                  </a:cubicBezTo>
                  <a:cubicBezTo>
                    <a:pt x="133" y="94"/>
                    <a:pt x="134" y="94"/>
                    <a:pt x="134" y="95"/>
                  </a:cubicBezTo>
                  <a:cubicBezTo>
                    <a:pt x="136" y="96"/>
                    <a:pt x="135" y="97"/>
                    <a:pt x="135" y="98"/>
                  </a:cubicBezTo>
                  <a:cubicBezTo>
                    <a:pt x="134" y="101"/>
                    <a:pt x="133" y="102"/>
                    <a:pt x="130" y="101"/>
                  </a:cubicBezTo>
                  <a:cubicBezTo>
                    <a:pt x="129" y="101"/>
                    <a:pt x="126" y="101"/>
                    <a:pt x="125" y="99"/>
                  </a:cubicBezTo>
                  <a:cubicBezTo>
                    <a:pt x="124" y="97"/>
                    <a:pt x="125" y="94"/>
                    <a:pt x="124" y="92"/>
                  </a:cubicBezTo>
                  <a:cubicBezTo>
                    <a:pt x="123" y="90"/>
                    <a:pt x="121" y="90"/>
                    <a:pt x="119" y="90"/>
                  </a:cubicBezTo>
                  <a:cubicBezTo>
                    <a:pt x="119" y="89"/>
                    <a:pt x="119" y="88"/>
                    <a:pt x="119" y="88"/>
                  </a:cubicBezTo>
                  <a:cubicBezTo>
                    <a:pt x="119" y="88"/>
                    <a:pt x="120" y="87"/>
                    <a:pt x="120" y="87"/>
                  </a:cubicBezTo>
                  <a:cubicBezTo>
                    <a:pt x="120" y="87"/>
                    <a:pt x="120" y="86"/>
                    <a:pt x="120" y="86"/>
                  </a:cubicBezTo>
                  <a:cubicBezTo>
                    <a:pt x="120" y="85"/>
                    <a:pt x="122" y="84"/>
                    <a:pt x="122" y="83"/>
                  </a:cubicBezTo>
                  <a:cubicBezTo>
                    <a:pt x="121" y="82"/>
                    <a:pt x="121" y="82"/>
                    <a:pt x="120" y="82"/>
                  </a:cubicBezTo>
                  <a:cubicBezTo>
                    <a:pt x="119" y="81"/>
                    <a:pt x="118" y="80"/>
                    <a:pt x="116" y="80"/>
                  </a:cubicBezTo>
                  <a:cubicBezTo>
                    <a:pt x="116" y="80"/>
                    <a:pt x="115" y="80"/>
                    <a:pt x="114" y="80"/>
                  </a:cubicBezTo>
                  <a:cubicBezTo>
                    <a:pt x="114" y="80"/>
                    <a:pt x="114" y="79"/>
                    <a:pt x="113" y="79"/>
                  </a:cubicBezTo>
                  <a:cubicBezTo>
                    <a:pt x="112" y="79"/>
                    <a:pt x="111" y="79"/>
                    <a:pt x="110" y="78"/>
                  </a:cubicBezTo>
                  <a:cubicBezTo>
                    <a:pt x="108" y="78"/>
                    <a:pt x="107" y="77"/>
                    <a:pt x="106" y="75"/>
                  </a:cubicBezTo>
                  <a:cubicBezTo>
                    <a:pt x="105" y="73"/>
                    <a:pt x="104" y="71"/>
                    <a:pt x="103" y="70"/>
                  </a:cubicBezTo>
                  <a:cubicBezTo>
                    <a:pt x="102" y="69"/>
                    <a:pt x="101" y="68"/>
                    <a:pt x="100" y="67"/>
                  </a:cubicBezTo>
                  <a:cubicBezTo>
                    <a:pt x="100" y="66"/>
                    <a:pt x="99" y="66"/>
                    <a:pt x="99" y="65"/>
                  </a:cubicBezTo>
                  <a:cubicBezTo>
                    <a:pt x="99" y="65"/>
                    <a:pt x="99" y="63"/>
                    <a:pt x="99" y="63"/>
                  </a:cubicBezTo>
                  <a:cubicBezTo>
                    <a:pt x="99" y="62"/>
                    <a:pt x="99" y="61"/>
                    <a:pt x="99" y="60"/>
                  </a:cubicBezTo>
                  <a:cubicBezTo>
                    <a:pt x="99" y="58"/>
                    <a:pt x="97" y="56"/>
                    <a:pt x="95" y="55"/>
                  </a:cubicBezTo>
                  <a:cubicBezTo>
                    <a:pt x="92" y="54"/>
                    <a:pt x="92" y="57"/>
                    <a:pt x="91" y="59"/>
                  </a:cubicBezTo>
                  <a:cubicBezTo>
                    <a:pt x="91" y="61"/>
                    <a:pt x="90" y="63"/>
                    <a:pt x="89" y="64"/>
                  </a:cubicBezTo>
                  <a:cubicBezTo>
                    <a:pt x="87" y="65"/>
                    <a:pt x="85" y="65"/>
                    <a:pt x="83" y="67"/>
                  </a:cubicBezTo>
                  <a:cubicBezTo>
                    <a:pt x="81" y="68"/>
                    <a:pt x="81" y="70"/>
                    <a:pt x="82" y="72"/>
                  </a:cubicBezTo>
                  <a:cubicBezTo>
                    <a:pt x="83" y="73"/>
                    <a:pt x="84" y="72"/>
                    <a:pt x="85" y="74"/>
                  </a:cubicBezTo>
                  <a:cubicBezTo>
                    <a:pt x="85" y="75"/>
                    <a:pt x="85" y="76"/>
                    <a:pt x="85" y="77"/>
                  </a:cubicBezTo>
                  <a:cubicBezTo>
                    <a:pt x="85" y="78"/>
                    <a:pt x="85" y="78"/>
                    <a:pt x="83" y="79"/>
                  </a:cubicBezTo>
                  <a:cubicBezTo>
                    <a:pt x="83" y="79"/>
                    <a:pt x="82" y="80"/>
                    <a:pt x="82" y="80"/>
                  </a:cubicBezTo>
                  <a:cubicBezTo>
                    <a:pt x="82" y="80"/>
                    <a:pt x="81" y="80"/>
                    <a:pt x="80" y="80"/>
                  </a:cubicBezTo>
                  <a:cubicBezTo>
                    <a:pt x="78" y="81"/>
                    <a:pt x="78" y="84"/>
                    <a:pt x="77" y="85"/>
                  </a:cubicBezTo>
                  <a:cubicBezTo>
                    <a:pt x="77" y="87"/>
                    <a:pt x="75" y="88"/>
                    <a:pt x="74" y="89"/>
                  </a:cubicBezTo>
                  <a:cubicBezTo>
                    <a:pt x="72" y="90"/>
                    <a:pt x="72" y="91"/>
                    <a:pt x="71" y="92"/>
                  </a:cubicBezTo>
                  <a:cubicBezTo>
                    <a:pt x="67" y="94"/>
                    <a:pt x="63" y="91"/>
                    <a:pt x="60" y="90"/>
                  </a:cubicBezTo>
                  <a:cubicBezTo>
                    <a:pt x="58" y="89"/>
                    <a:pt x="57" y="88"/>
                    <a:pt x="56" y="88"/>
                  </a:cubicBezTo>
                  <a:cubicBezTo>
                    <a:pt x="54" y="89"/>
                    <a:pt x="54" y="90"/>
                    <a:pt x="53" y="92"/>
                  </a:cubicBezTo>
                  <a:cubicBezTo>
                    <a:pt x="52" y="93"/>
                    <a:pt x="51" y="94"/>
                    <a:pt x="49" y="94"/>
                  </a:cubicBezTo>
                  <a:cubicBezTo>
                    <a:pt x="46" y="95"/>
                    <a:pt x="43" y="95"/>
                    <a:pt x="40" y="96"/>
                  </a:cubicBezTo>
                  <a:cubicBezTo>
                    <a:pt x="39" y="96"/>
                    <a:pt x="39" y="97"/>
                    <a:pt x="38" y="98"/>
                  </a:cubicBezTo>
                  <a:cubicBezTo>
                    <a:pt x="37" y="98"/>
                    <a:pt x="35" y="98"/>
                    <a:pt x="35" y="98"/>
                  </a:cubicBezTo>
                  <a:cubicBezTo>
                    <a:pt x="34" y="99"/>
                    <a:pt x="33" y="99"/>
                    <a:pt x="32" y="99"/>
                  </a:cubicBezTo>
                  <a:cubicBezTo>
                    <a:pt x="31" y="99"/>
                    <a:pt x="30" y="98"/>
                    <a:pt x="29" y="98"/>
                  </a:cubicBezTo>
                  <a:cubicBezTo>
                    <a:pt x="27" y="98"/>
                    <a:pt x="25" y="99"/>
                    <a:pt x="23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8"/>
                    <a:pt x="21" y="99"/>
                    <a:pt x="19" y="100"/>
                  </a:cubicBezTo>
                  <a:cubicBezTo>
                    <a:pt x="17" y="105"/>
                    <a:pt x="14" y="106"/>
                    <a:pt x="15" y="108"/>
                  </a:cubicBezTo>
                  <a:cubicBezTo>
                    <a:pt x="17" y="112"/>
                    <a:pt x="13" y="112"/>
                    <a:pt x="16" y="115"/>
                  </a:cubicBezTo>
                  <a:cubicBezTo>
                    <a:pt x="17" y="116"/>
                    <a:pt x="20" y="117"/>
                    <a:pt x="21" y="119"/>
                  </a:cubicBezTo>
                  <a:cubicBezTo>
                    <a:pt x="21" y="121"/>
                    <a:pt x="21" y="123"/>
                    <a:pt x="22" y="125"/>
                  </a:cubicBezTo>
                  <a:cubicBezTo>
                    <a:pt x="22" y="127"/>
                    <a:pt x="23" y="130"/>
                    <a:pt x="25" y="132"/>
                  </a:cubicBezTo>
                  <a:cubicBezTo>
                    <a:pt x="26" y="133"/>
                    <a:pt x="28" y="133"/>
                    <a:pt x="29" y="135"/>
                  </a:cubicBezTo>
                  <a:cubicBezTo>
                    <a:pt x="31" y="138"/>
                    <a:pt x="28" y="139"/>
                    <a:pt x="27" y="142"/>
                  </a:cubicBezTo>
                  <a:cubicBezTo>
                    <a:pt x="26" y="144"/>
                    <a:pt x="28" y="148"/>
                    <a:pt x="26" y="150"/>
                  </a:cubicBezTo>
                  <a:cubicBezTo>
                    <a:pt x="25" y="151"/>
                    <a:pt x="23" y="151"/>
                    <a:pt x="22" y="152"/>
                  </a:cubicBezTo>
                  <a:cubicBezTo>
                    <a:pt x="21" y="152"/>
                    <a:pt x="20" y="153"/>
                    <a:pt x="20" y="153"/>
                  </a:cubicBezTo>
                  <a:cubicBezTo>
                    <a:pt x="17" y="156"/>
                    <a:pt x="14" y="157"/>
                    <a:pt x="11" y="159"/>
                  </a:cubicBezTo>
                  <a:cubicBezTo>
                    <a:pt x="9" y="161"/>
                    <a:pt x="11" y="160"/>
                    <a:pt x="9" y="161"/>
                  </a:cubicBezTo>
                  <a:cubicBezTo>
                    <a:pt x="7" y="162"/>
                    <a:pt x="5" y="161"/>
                    <a:pt x="4" y="161"/>
                  </a:cubicBezTo>
                  <a:cubicBezTo>
                    <a:pt x="2" y="162"/>
                    <a:pt x="0" y="161"/>
                    <a:pt x="1" y="164"/>
                  </a:cubicBezTo>
                  <a:cubicBezTo>
                    <a:pt x="8" y="166"/>
                    <a:pt x="7" y="173"/>
                    <a:pt x="12" y="177"/>
                  </a:cubicBezTo>
                  <a:cubicBezTo>
                    <a:pt x="12" y="177"/>
                    <a:pt x="14" y="177"/>
                    <a:pt x="15" y="178"/>
                  </a:cubicBezTo>
                  <a:cubicBezTo>
                    <a:pt x="15" y="178"/>
                    <a:pt x="18" y="179"/>
                    <a:pt x="18" y="179"/>
                  </a:cubicBezTo>
                  <a:cubicBezTo>
                    <a:pt x="19" y="181"/>
                    <a:pt x="19" y="184"/>
                    <a:pt x="22" y="184"/>
                  </a:cubicBezTo>
                  <a:cubicBezTo>
                    <a:pt x="23" y="189"/>
                    <a:pt x="23" y="194"/>
                    <a:pt x="18" y="196"/>
                  </a:cubicBezTo>
                  <a:cubicBezTo>
                    <a:pt x="13" y="198"/>
                    <a:pt x="9" y="200"/>
                    <a:pt x="12" y="205"/>
                  </a:cubicBezTo>
                  <a:cubicBezTo>
                    <a:pt x="13" y="207"/>
                    <a:pt x="17" y="210"/>
                    <a:pt x="16" y="212"/>
                  </a:cubicBezTo>
                  <a:cubicBezTo>
                    <a:pt x="15" y="215"/>
                    <a:pt x="13" y="212"/>
                    <a:pt x="12" y="214"/>
                  </a:cubicBezTo>
                  <a:cubicBezTo>
                    <a:pt x="11" y="216"/>
                    <a:pt x="18" y="223"/>
                    <a:pt x="20" y="224"/>
                  </a:cubicBezTo>
                  <a:cubicBezTo>
                    <a:pt x="23" y="226"/>
                    <a:pt x="28" y="225"/>
                    <a:pt x="31" y="228"/>
                  </a:cubicBezTo>
                  <a:cubicBezTo>
                    <a:pt x="33" y="229"/>
                    <a:pt x="33" y="232"/>
                    <a:pt x="35" y="233"/>
                  </a:cubicBezTo>
                  <a:cubicBezTo>
                    <a:pt x="39" y="235"/>
                    <a:pt x="45" y="232"/>
                    <a:pt x="48" y="231"/>
                  </a:cubicBezTo>
                  <a:cubicBezTo>
                    <a:pt x="50" y="230"/>
                    <a:pt x="55" y="228"/>
                    <a:pt x="57" y="229"/>
                  </a:cubicBezTo>
                  <a:cubicBezTo>
                    <a:pt x="59" y="230"/>
                    <a:pt x="59" y="239"/>
                    <a:pt x="58" y="240"/>
                  </a:cubicBezTo>
                  <a:cubicBezTo>
                    <a:pt x="57" y="243"/>
                    <a:pt x="54" y="244"/>
                    <a:pt x="53" y="245"/>
                  </a:cubicBezTo>
                  <a:cubicBezTo>
                    <a:pt x="51" y="247"/>
                    <a:pt x="50" y="251"/>
                    <a:pt x="48" y="251"/>
                  </a:cubicBezTo>
                  <a:cubicBezTo>
                    <a:pt x="47" y="254"/>
                    <a:pt x="47" y="257"/>
                    <a:pt x="47" y="259"/>
                  </a:cubicBezTo>
                  <a:cubicBezTo>
                    <a:pt x="47" y="260"/>
                    <a:pt x="47" y="262"/>
                    <a:pt x="47" y="263"/>
                  </a:cubicBezTo>
                  <a:cubicBezTo>
                    <a:pt x="47" y="263"/>
                    <a:pt x="47" y="263"/>
                    <a:pt x="46" y="263"/>
                  </a:cubicBezTo>
                  <a:cubicBezTo>
                    <a:pt x="48" y="263"/>
                    <a:pt x="50" y="263"/>
                    <a:pt x="52" y="263"/>
                  </a:cubicBezTo>
                  <a:cubicBezTo>
                    <a:pt x="54" y="263"/>
                    <a:pt x="54" y="262"/>
                    <a:pt x="55" y="262"/>
                  </a:cubicBezTo>
                  <a:cubicBezTo>
                    <a:pt x="56" y="261"/>
                    <a:pt x="56" y="261"/>
                    <a:pt x="57" y="260"/>
                  </a:cubicBezTo>
                  <a:cubicBezTo>
                    <a:pt x="58" y="259"/>
                    <a:pt x="57" y="259"/>
                    <a:pt x="59" y="259"/>
                  </a:cubicBezTo>
                  <a:cubicBezTo>
                    <a:pt x="62" y="258"/>
                    <a:pt x="65" y="259"/>
                    <a:pt x="68" y="259"/>
                  </a:cubicBezTo>
                  <a:cubicBezTo>
                    <a:pt x="69" y="258"/>
                    <a:pt x="71" y="258"/>
                    <a:pt x="72" y="257"/>
                  </a:cubicBezTo>
                  <a:cubicBezTo>
                    <a:pt x="74" y="257"/>
                    <a:pt x="74" y="256"/>
                    <a:pt x="75" y="255"/>
                  </a:cubicBezTo>
                  <a:cubicBezTo>
                    <a:pt x="76" y="254"/>
                    <a:pt x="78" y="254"/>
                    <a:pt x="79" y="253"/>
                  </a:cubicBezTo>
                  <a:cubicBezTo>
                    <a:pt x="79" y="253"/>
                    <a:pt x="79" y="252"/>
                    <a:pt x="80" y="252"/>
                  </a:cubicBezTo>
                  <a:cubicBezTo>
                    <a:pt x="80" y="251"/>
                    <a:pt x="81" y="251"/>
                    <a:pt x="81" y="251"/>
                  </a:cubicBezTo>
                  <a:cubicBezTo>
                    <a:pt x="82" y="250"/>
                    <a:pt x="83" y="248"/>
                    <a:pt x="84" y="246"/>
                  </a:cubicBezTo>
                  <a:cubicBezTo>
                    <a:pt x="84" y="245"/>
                    <a:pt x="84" y="244"/>
                    <a:pt x="84" y="243"/>
                  </a:cubicBezTo>
                  <a:cubicBezTo>
                    <a:pt x="84" y="243"/>
                    <a:pt x="85" y="242"/>
                    <a:pt x="85" y="242"/>
                  </a:cubicBezTo>
                  <a:cubicBezTo>
                    <a:pt x="85" y="240"/>
                    <a:pt x="85" y="239"/>
                    <a:pt x="85" y="238"/>
                  </a:cubicBezTo>
                  <a:cubicBezTo>
                    <a:pt x="86" y="237"/>
                    <a:pt x="86" y="237"/>
                    <a:pt x="87" y="236"/>
                  </a:cubicBezTo>
                  <a:cubicBezTo>
                    <a:pt x="88" y="235"/>
                    <a:pt x="89" y="233"/>
                    <a:pt x="91" y="232"/>
                  </a:cubicBezTo>
                  <a:cubicBezTo>
                    <a:pt x="92" y="231"/>
                    <a:pt x="94" y="231"/>
                    <a:pt x="95" y="230"/>
                  </a:cubicBezTo>
                  <a:cubicBezTo>
                    <a:pt x="97" y="229"/>
                    <a:pt x="97" y="226"/>
                    <a:pt x="97" y="225"/>
                  </a:cubicBezTo>
                  <a:cubicBezTo>
                    <a:pt x="98" y="223"/>
                    <a:pt x="97" y="222"/>
                    <a:pt x="99" y="221"/>
                  </a:cubicBezTo>
                  <a:cubicBezTo>
                    <a:pt x="100" y="219"/>
                    <a:pt x="103" y="218"/>
                    <a:pt x="105" y="217"/>
                  </a:cubicBezTo>
                  <a:cubicBezTo>
                    <a:pt x="106" y="216"/>
                    <a:pt x="108" y="214"/>
                    <a:pt x="109" y="213"/>
                  </a:cubicBezTo>
                  <a:cubicBezTo>
                    <a:pt x="110" y="212"/>
                    <a:pt x="111" y="212"/>
                    <a:pt x="112" y="212"/>
                  </a:cubicBezTo>
                  <a:cubicBezTo>
                    <a:pt x="113" y="212"/>
                    <a:pt x="113" y="212"/>
                    <a:pt x="114" y="211"/>
                  </a:cubicBezTo>
                  <a:cubicBezTo>
                    <a:pt x="116" y="210"/>
                    <a:pt x="117" y="210"/>
                    <a:pt x="119" y="209"/>
                  </a:cubicBezTo>
                  <a:cubicBezTo>
                    <a:pt x="119" y="206"/>
                    <a:pt x="126" y="209"/>
                    <a:pt x="128" y="210"/>
                  </a:cubicBezTo>
                  <a:cubicBezTo>
                    <a:pt x="132" y="213"/>
                    <a:pt x="136" y="215"/>
                    <a:pt x="140" y="218"/>
                  </a:cubicBezTo>
                  <a:cubicBezTo>
                    <a:pt x="141" y="218"/>
                    <a:pt x="143" y="218"/>
                    <a:pt x="142" y="220"/>
                  </a:cubicBezTo>
                  <a:cubicBezTo>
                    <a:pt x="143" y="220"/>
                    <a:pt x="143" y="221"/>
                    <a:pt x="143" y="221"/>
                  </a:cubicBezTo>
                  <a:cubicBezTo>
                    <a:pt x="145" y="221"/>
                    <a:pt x="146" y="221"/>
                    <a:pt x="148" y="222"/>
                  </a:cubicBezTo>
                  <a:cubicBezTo>
                    <a:pt x="148" y="222"/>
                    <a:pt x="149" y="222"/>
                    <a:pt x="149" y="223"/>
                  </a:cubicBezTo>
                  <a:cubicBezTo>
                    <a:pt x="150" y="223"/>
                    <a:pt x="151" y="222"/>
                    <a:pt x="152" y="223"/>
                  </a:cubicBezTo>
                  <a:cubicBezTo>
                    <a:pt x="152" y="223"/>
                    <a:pt x="153" y="224"/>
                    <a:pt x="154" y="224"/>
                  </a:cubicBezTo>
                  <a:cubicBezTo>
                    <a:pt x="154" y="225"/>
                    <a:pt x="154" y="225"/>
                    <a:pt x="156" y="225"/>
                  </a:cubicBezTo>
                  <a:cubicBezTo>
                    <a:pt x="157" y="226"/>
                    <a:pt x="158" y="226"/>
                    <a:pt x="159" y="227"/>
                  </a:cubicBezTo>
                  <a:cubicBezTo>
                    <a:pt x="160" y="228"/>
                    <a:pt x="160" y="228"/>
                    <a:pt x="161" y="229"/>
                  </a:cubicBezTo>
                  <a:cubicBezTo>
                    <a:pt x="161" y="229"/>
                    <a:pt x="161" y="229"/>
                    <a:pt x="162" y="229"/>
                  </a:cubicBezTo>
                  <a:cubicBezTo>
                    <a:pt x="162" y="229"/>
                    <a:pt x="163" y="230"/>
                    <a:pt x="163" y="230"/>
                  </a:cubicBezTo>
                  <a:cubicBezTo>
                    <a:pt x="165" y="231"/>
                    <a:pt x="166" y="234"/>
                    <a:pt x="168" y="236"/>
                  </a:cubicBezTo>
                  <a:cubicBezTo>
                    <a:pt x="168" y="236"/>
                    <a:pt x="168" y="236"/>
                    <a:pt x="168" y="236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0" y="238"/>
                    <a:pt x="171" y="238"/>
                    <a:pt x="171" y="238"/>
                  </a:cubicBezTo>
                  <a:cubicBezTo>
                    <a:pt x="172" y="239"/>
                    <a:pt x="172" y="239"/>
                    <a:pt x="173" y="240"/>
                  </a:cubicBezTo>
                  <a:cubicBezTo>
                    <a:pt x="174" y="240"/>
                    <a:pt x="175" y="240"/>
                    <a:pt x="176" y="240"/>
                  </a:cubicBezTo>
                  <a:cubicBezTo>
                    <a:pt x="177" y="240"/>
                    <a:pt x="178" y="240"/>
                    <a:pt x="179" y="240"/>
                  </a:cubicBezTo>
                  <a:cubicBezTo>
                    <a:pt x="180" y="240"/>
                    <a:pt x="181" y="240"/>
                    <a:pt x="181" y="240"/>
                  </a:cubicBezTo>
                  <a:cubicBezTo>
                    <a:pt x="183" y="241"/>
                    <a:pt x="184" y="242"/>
                    <a:pt x="185" y="243"/>
                  </a:cubicBezTo>
                  <a:cubicBezTo>
                    <a:pt x="186" y="243"/>
                    <a:pt x="187" y="244"/>
                    <a:pt x="188" y="245"/>
                  </a:cubicBezTo>
                  <a:cubicBezTo>
                    <a:pt x="188" y="245"/>
                    <a:pt x="188" y="247"/>
                    <a:pt x="188" y="248"/>
                  </a:cubicBezTo>
                  <a:cubicBezTo>
                    <a:pt x="188" y="250"/>
                    <a:pt x="188" y="251"/>
                    <a:pt x="189" y="253"/>
                  </a:cubicBezTo>
                  <a:cubicBezTo>
                    <a:pt x="189" y="254"/>
                    <a:pt x="189" y="256"/>
                    <a:pt x="190" y="257"/>
                  </a:cubicBezTo>
                  <a:cubicBezTo>
                    <a:pt x="190" y="258"/>
                    <a:pt x="191" y="258"/>
                    <a:pt x="191" y="259"/>
                  </a:cubicBezTo>
                  <a:cubicBezTo>
                    <a:pt x="191" y="260"/>
                    <a:pt x="191" y="262"/>
                    <a:pt x="191" y="263"/>
                  </a:cubicBezTo>
                  <a:cubicBezTo>
                    <a:pt x="191" y="263"/>
                    <a:pt x="191" y="264"/>
                    <a:pt x="191" y="265"/>
                  </a:cubicBezTo>
                  <a:cubicBezTo>
                    <a:pt x="191" y="265"/>
                    <a:pt x="190" y="266"/>
                    <a:pt x="190" y="266"/>
                  </a:cubicBezTo>
                  <a:cubicBezTo>
                    <a:pt x="190" y="268"/>
                    <a:pt x="190" y="270"/>
                    <a:pt x="190" y="272"/>
                  </a:cubicBezTo>
                  <a:cubicBezTo>
                    <a:pt x="190" y="274"/>
                    <a:pt x="190" y="277"/>
                    <a:pt x="191" y="278"/>
                  </a:cubicBezTo>
                  <a:cubicBezTo>
                    <a:pt x="192" y="280"/>
                    <a:pt x="193" y="281"/>
                    <a:pt x="193" y="282"/>
                  </a:cubicBezTo>
                  <a:cubicBezTo>
                    <a:pt x="194" y="283"/>
                    <a:pt x="194" y="284"/>
                    <a:pt x="194" y="285"/>
                  </a:cubicBezTo>
                  <a:cubicBezTo>
                    <a:pt x="195" y="287"/>
                    <a:pt x="195" y="289"/>
                    <a:pt x="197" y="290"/>
                  </a:cubicBezTo>
                  <a:cubicBezTo>
                    <a:pt x="197" y="292"/>
                    <a:pt x="199" y="293"/>
                    <a:pt x="199" y="294"/>
                  </a:cubicBezTo>
                  <a:cubicBezTo>
                    <a:pt x="200" y="295"/>
                    <a:pt x="200" y="296"/>
                    <a:pt x="200" y="298"/>
                  </a:cubicBezTo>
                  <a:cubicBezTo>
                    <a:pt x="200" y="299"/>
                    <a:pt x="199" y="301"/>
                    <a:pt x="199" y="303"/>
                  </a:cubicBezTo>
                  <a:cubicBezTo>
                    <a:pt x="199" y="304"/>
                    <a:pt x="199" y="304"/>
                    <a:pt x="199" y="305"/>
                  </a:cubicBezTo>
                  <a:cubicBezTo>
                    <a:pt x="199" y="308"/>
                    <a:pt x="199" y="312"/>
                    <a:pt x="199" y="314"/>
                  </a:cubicBezTo>
                  <a:cubicBezTo>
                    <a:pt x="198" y="315"/>
                    <a:pt x="198" y="316"/>
                    <a:pt x="197" y="316"/>
                  </a:cubicBezTo>
                  <a:cubicBezTo>
                    <a:pt x="196" y="317"/>
                    <a:pt x="196" y="317"/>
                    <a:pt x="196" y="319"/>
                  </a:cubicBezTo>
                  <a:cubicBezTo>
                    <a:pt x="196" y="320"/>
                    <a:pt x="197" y="322"/>
                    <a:pt x="197" y="323"/>
                  </a:cubicBezTo>
                  <a:cubicBezTo>
                    <a:pt x="198" y="326"/>
                    <a:pt x="199" y="324"/>
                    <a:pt x="200" y="323"/>
                  </a:cubicBezTo>
                  <a:cubicBezTo>
                    <a:pt x="201" y="322"/>
                    <a:pt x="203" y="322"/>
                    <a:pt x="205" y="323"/>
                  </a:cubicBezTo>
                  <a:cubicBezTo>
                    <a:pt x="207" y="323"/>
                    <a:pt x="209" y="322"/>
                    <a:pt x="209" y="324"/>
                  </a:cubicBezTo>
                  <a:cubicBezTo>
                    <a:pt x="210" y="325"/>
                    <a:pt x="209" y="325"/>
                    <a:pt x="210" y="326"/>
                  </a:cubicBezTo>
                  <a:cubicBezTo>
                    <a:pt x="210" y="327"/>
                    <a:pt x="211" y="327"/>
                    <a:pt x="211" y="327"/>
                  </a:cubicBezTo>
                  <a:cubicBezTo>
                    <a:pt x="212" y="328"/>
                    <a:pt x="211" y="330"/>
                    <a:pt x="211" y="331"/>
                  </a:cubicBezTo>
                  <a:cubicBezTo>
                    <a:pt x="211" y="333"/>
                    <a:pt x="211" y="335"/>
                    <a:pt x="213" y="336"/>
                  </a:cubicBezTo>
                  <a:cubicBezTo>
                    <a:pt x="215" y="337"/>
                    <a:pt x="220" y="336"/>
                    <a:pt x="221" y="338"/>
                  </a:cubicBezTo>
                  <a:cubicBezTo>
                    <a:pt x="221" y="338"/>
                    <a:pt x="222" y="340"/>
                    <a:pt x="222" y="341"/>
                  </a:cubicBezTo>
                  <a:cubicBezTo>
                    <a:pt x="222" y="342"/>
                    <a:pt x="221" y="343"/>
                    <a:pt x="221" y="344"/>
                  </a:cubicBezTo>
                  <a:cubicBezTo>
                    <a:pt x="222" y="346"/>
                    <a:pt x="223" y="345"/>
                    <a:pt x="224" y="346"/>
                  </a:cubicBezTo>
                  <a:cubicBezTo>
                    <a:pt x="226" y="346"/>
                    <a:pt x="227" y="346"/>
                    <a:pt x="228" y="347"/>
                  </a:cubicBezTo>
                  <a:cubicBezTo>
                    <a:pt x="228" y="348"/>
                    <a:pt x="229" y="349"/>
                    <a:pt x="229" y="350"/>
                  </a:cubicBezTo>
                  <a:cubicBezTo>
                    <a:pt x="230" y="351"/>
                    <a:pt x="229" y="353"/>
                    <a:pt x="230" y="354"/>
                  </a:cubicBezTo>
                  <a:cubicBezTo>
                    <a:pt x="230" y="354"/>
                    <a:pt x="231" y="354"/>
                    <a:pt x="231" y="355"/>
                  </a:cubicBezTo>
                  <a:cubicBezTo>
                    <a:pt x="231" y="355"/>
                    <a:pt x="231" y="356"/>
                    <a:pt x="232" y="356"/>
                  </a:cubicBezTo>
                  <a:cubicBezTo>
                    <a:pt x="232" y="357"/>
                    <a:pt x="233" y="357"/>
                    <a:pt x="233" y="358"/>
                  </a:cubicBezTo>
                  <a:cubicBezTo>
                    <a:pt x="233" y="360"/>
                    <a:pt x="233" y="360"/>
                    <a:pt x="234" y="361"/>
                  </a:cubicBezTo>
                  <a:cubicBezTo>
                    <a:pt x="235" y="362"/>
                    <a:pt x="236" y="363"/>
                    <a:pt x="237" y="363"/>
                  </a:cubicBezTo>
                  <a:cubicBezTo>
                    <a:pt x="239" y="364"/>
                    <a:pt x="240" y="367"/>
                    <a:pt x="243" y="367"/>
                  </a:cubicBezTo>
                  <a:cubicBezTo>
                    <a:pt x="244" y="367"/>
                    <a:pt x="246" y="367"/>
                    <a:pt x="247" y="368"/>
                  </a:cubicBezTo>
                  <a:cubicBezTo>
                    <a:pt x="247" y="369"/>
                    <a:pt x="247" y="370"/>
                    <a:pt x="248" y="371"/>
                  </a:cubicBezTo>
                  <a:cubicBezTo>
                    <a:pt x="249" y="371"/>
                    <a:pt x="250" y="372"/>
                    <a:pt x="251" y="372"/>
                  </a:cubicBezTo>
                  <a:cubicBezTo>
                    <a:pt x="251" y="373"/>
                    <a:pt x="251" y="373"/>
                    <a:pt x="252" y="373"/>
                  </a:cubicBezTo>
                  <a:cubicBezTo>
                    <a:pt x="252" y="373"/>
                    <a:pt x="252" y="373"/>
                    <a:pt x="252" y="373"/>
                  </a:cubicBezTo>
                  <a:cubicBezTo>
                    <a:pt x="252" y="374"/>
                    <a:pt x="252" y="374"/>
                    <a:pt x="253" y="375"/>
                  </a:cubicBezTo>
                  <a:cubicBezTo>
                    <a:pt x="253" y="375"/>
                    <a:pt x="253" y="375"/>
                    <a:pt x="253" y="376"/>
                  </a:cubicBezTo>
                  <a:cubicBezTo>
                    <a:pt x="254" y="378"/>
                    <a:pt x="255" y="381"/>
                    <a:pt x="255" y="384"/>
                  </a:cubicBezTo>
                  <a:cubicBezTo>
                    <a:pt x="255" y="386"/>
                    <a:pt x="256" y="386"/>
                    <a:pt x="257" y="387"/>
                  </a:cubicBezTo>
                  <a:cubicBezTo>
                    <a:pt x="258" y="389"/>
                    <a:pt x="260" y="392"/>
                    <a:pt x="260" y="394"/>
                  </a:cubicBezTo>
                  <a:cubicBezTo>
                    <a:pt x="262" y="395"/>
                    <a:pt x="263" y="397"/>
                    <a:pt x="264" y="398"/>
                  </a:cubicBezTo>
                  <a:cubicBezTo>
                    <a:pt x="265" y="398"/>
                    <a:pt x="267" y="398"/>
                    <a:pt x="268" y="399"/>
                  </a:cubicBezTo>
                  <a:cubicBezTo>
                    <a:pt x="269" y="400"/>
                    <a:pt x="270" y="401"/>
                    <a:pt x="271" y="402"/>
                  </a:cubicBezTo>
                  <a:cubicBezTo>
                    <a:pt x="272" y="403"/>
                    <a:pt x="274" y="404"/>
                    <a:pt x="276" y="405"/>
                  </a:cubicBezTo>
                  <a:cubicBezTo>
                    <a:pt x="276" y="406"/>
                    <a:pt x="277" y="407"/>
                    <a:pt x="277" y="408"/>
                  </a:cubicBezTo>
                  <a:cubicBezTo>
                    <a:pt x="278" y="408"/>
                    <a:pt x="279" y="409"/>
                    <a:pt x="280" y="410"/>
                  </a:cubicBezTo>
                  <a:cubicBezTo>
                    <a:pt x="281" y="413"/>
                    <a:pt x="280" y="416"/>
                    <a:pt x="281" y="419"/>
                  </a:cubicBezTo>
                  <a:cubicBezTo>
                    <a:pt x="282" y="419"/>
                    <a:pt x="282" y="419"/>
                    <a:pt x="283" y="420"/>
                  </a:cubicBezTo>
                  <a:cubicBezTo>
                    <a:pt x="283" y="420"/>
                    <a:pt x="284" y="420"/>
                    <a:pt x="284" y="420"/>
                  </a:cubicBezTo>
                  <a:cubicBezTo>
                    <a:pt x="285" y="421"/>
                    <a:pt x="286" y="422"/>
                    <a:pt x="287" y="423"/>
                  </a:cubicBezTo>
                  <a:cubicBezTo>
                    <a:pt x="287" y="424"/>
                    <a:pt x="287" y="424"/>
                    <a:pt x="288" y="424"/>
                  </a:cubicBezTo>
                  <a:cubicBezTo>
                    <a:pt x="288" y="425"/>
                    <a:pt x="289" y="426"/>
                    <a:pt x="289" y="426"/>
                  </a:cubicBezTo>
                  <a:cubicBezTo>
                    <a:pt x="290" y="427"/>
                    <a:pt x="291" y="427"/>
                    <a:pt x="292" y="428"/>
                  </a:cubicBezTo>
                  <a:cubicBezTo>
                    <a:pt x="293" y="430"/>
                    <a:pt x="294" y="432"/>
                    <a:pt x="295" y="433"/>
                  </a:cubicBezTo>
                  <a:cubicBezTo>
                    <a:pt x="296" y="434"/>
                    <a:pt x="297" y="434"/>
                    <a:pt x="297" y="435"/>
                  </a:cubicBezTo>
                  <a:cubicBezTo>
                    <a:pt x="297" y="436"/>
                    <a:pt x="297" y="437"/>
                    <a:pt x="297" y="438"/>
                  </a:cubicBezTo>
                  <a:cubicBezTo>
                    <a:pt x="298" y="440"/>
                    <a:pt x="298" y="439"/>
                    <a:pt x="301" y="440"/>
                  </a:cubicBezTo>
                  <a:cubicBezTo>
                    <a:pt x="302" y="440"/>
                    <a:pt x="303" y="441"/>
                    <a:pt x="304" y="442"/>
                  </a:cubicBezTo>
                  <a:cubicBezTo>
                    <a:pt x="304" y="442"/>
                    <a:pt x="305" y="445"/>
                    <a:pt x="306" y="443"/>
                  </a:cubicBezTo>
                  <a:cubicBezTo>
                    <a:pt x="306" y="443"/>
                    <a:pt x="306" y="444"/>
                    <a:pt x="306" y="444"/>
                  </a:cubicBezTo>
                  <a:cubicBezTo>
                    <a:pt x="308" y="444"/>
                    <a:pt x="310" y="444"/>
                    <a:pt x="311" y="444"/>
                  </a:cubicBezTo>
                  <a:cubicBezTo>
                    <a:pt x="313" y="445"/>
                    <a:pt x="312" y="447"/>
                    <a:pt x="313" y="448"/>
                  </a:cubicBezTo>
                  <a:cubicBezTo>
                    <a:pt x="313" y="449"/>
                    <a:pt x="314" y="450"/>
                    <a:pt x="315" y="450"/>
                  </a:cubicBezTo>
                  <a:cubicBezTo>
                    <a:pt x="316" y="451"/>
                    <a:pt x="317" y="451"/>
                    <a:pt x="318" y="452"/>
                  </a:cubicBezTo>
                  <a:cubicBezTo>
                    <a:pt x="319" y="454"/>
                    <a:pt x="317" y="460"/>
                    <a:pt x="319" y="461"/>
                  </a:cubicBezTo>
                  <a:cubicBezTo>
                    <a:pt x="322" y="457"/>
                    <a:pt x="327" y="457"/>
                    <a:pt x="332" y="457"/>
                  </a:cubicBezTo>
                  <a:cubicBezTo>
                    <a:pt x="333" y="457"/>
                    <a:pt x="334" y="456"/>
                    <a:pt x="336" y="456"/>
                  </a:cubicBezTo>
                  <a:cubicBezTo>
                    <a:pt x="337" y="456"/>
                    <a:pt x="338" y="456"/>
                    <a:pt x="339" y="456"/>
                  </a:cubicBezTo>
                  <a:cubicBezTo>
                    <a:pt x="341" y="456"/>
                    <a:pt x="343" y="458"/>
                    <a:pt x="345" y="460"/>
                  </a:cubicBezTo>
                  <a:cubicBezTo>
                    <a:pt x="347" y="462"/>
                    <a:pt x="348" y="463"/>
                    <a:pt x="350" y="462"/>
                  </a:cubicBezTo>
                  <a:cubicBezTo>
                    <a:pt x="351" y="462"/>
                    <a:pt x="352" y="462"/>
                    <a:pt x="353" y="462"/>
                  </a:cubicBezTo>
                  <a:cubicBezTo>
                    <a:pt x="353" y="461"/>
                    <a:pt x="354" y="460"/>
                    <a:pt x="354" y="460"/>
                  </a:cubicBezTo>
                  <a:cubicBezTo>
                    <a:pt x="355" y="460"/>
                    <a:pt x="357" y="460"/>
                    <a:pt x="358" y="460"/>
                  </a:cubicBezTo>
                  <a:cubicBezTo>
                    <a:pt x="359" y="461"/>
                    <a:pt x="359" y="463"/>
                    <a:pt x="360" y="464"/>
                  </a:cubicBezTo>
                  <a:cubicBezTo>
                    <a:pt x="360" y="465"/>
                    <a:pt x="361" y="466"/>
                    <a:pt x="361" y="467"/>
                  </a:cubicBezTo>
                  <a:cubicBezTo>
                    <a:pt x="362" y="469"/>
                    <a:pt x="363" y="470"/>
                    <a:pt x="363" y="473"/>
                  </a:cubicBezTo>
                  <a:cubicBezTo>
                    <a:pt x="364" y="474"/>
                    <a:pt x="364" y="475"/>
                    <a:pt x="365" y="477"/>
                  </a:cubicBezTo>
                  <a:cubicBezTo>
                    <a:pt x="365" y="477"/>
                    <a:pt x="366" y="478"/>
                    <a:pt x="366" y="479"/>
                  </a:cubicBezTo>
                  <a:cubicBezTo>
                    <a:pt x="366" y="480"/>
                    <a:pt x="365" y="481"/>
                    <a:pt x="365" y="482"/>
                  </a:cubicBezTo>
                  <a:cubicBezTo>
                    <a:pt x="365" y="483"/>
                    <a:pt x="365" y="484"/>
                    <a:pt x="365" y="484"/>
                  </a:cubicBezTo>
                  <a:cubicBezTo>
                    <a:pt x="367" y="485"/>
                    <a:pt x="368" y="485"/>
                    <a:pt x="370" y="486"/>
                  </a:cubicBezTo>
                  <a:cubicBezTo>
                    <a:pt x="370" y="486"/>
                    <a:pt x="371" y="486"/>
                    <a:pt x="371" y="487"/>
                  </a:cubicBezTo>
                  <a:cubicBezTo>
                    <a:pt x="373" y="489"/>
                    <a:pt x="372" y="491"/>
                    <a:pt x="373" y="493"/>
                  </a:cubicBezTo>
                  <a:cubicBezTo>
                    <a:pt x="374" y="494"/>
                    <a:pt x="375" y="495"/>
                    <a:pt x="377" y="494"/>
                  </a:cubicBezTo>
                  <a:cubicBezTo>
                    <a:pt x="378" y="494"/>
                    <a:pt x="378" y="493"/>
                    <a:pt x="379" y="492"/>
                  </a:cubicBezTo>
                  <a:cubicBezTo>
                    <a:pt x="380" y="491"/>
                    <a:pt x="382" y="492"/>
                    <a:pt x="384" y="492"/>
                  </a:cubicBezTo>
                  <a:cubicBezTo>
                    <a:pt x="385" y="493"/>
                    <a:pt x="386" y="492"/>
                    <a:pt x="387" y="492"/>
                  </a:cubicBezTo>
                  <a:cubicBezTo>
                    <a:pt x="393" y="490"/>
                    <a:pt x="394" y="495"/>
                    <a:pt x="394" y="499"/>
                  </a:cubicBezTo>
                  <a:cubicBezTo>
                    <a:pt x="394" y="502"/>
                    <a:pt x="394" y="504"/>
                    <a:pt x="391" y="505"/>
                  </a:cubicBezTo>
                  <a:cubicBezTo>
                    <a:pt x="391" y="505"/>
                    <a:pt x="391" y="505"/>
                    <a:pt x="390" y="505"/>
                  </a:cubicBezTo>
                  <a:cubicBezTo>
                    <a:pt x="389" y="505"/>
                    <a:pt x="389" y="506"/>
                    <a:pt x="388" y="507"/>
                  </a:cubicBezTo>
                  <a:cubicBezTo>
                    <a:pt x="388" y="507"/>
                    <a:pt x="386" y="508"/>
                    <a:pt x="386" y="509"/>
                  </a:cubicBezTo>
                  <a:cubicBezTo>
                    <a:pt x="386" y="509"/>
                    <a:pt x="387" y="509"/>
                    <a:pt x="388" y="509"/>
                  </a:cubicBezTo>
                  <a:cubicBezTo>
                    <a:pt x="388" y="510"/>
                    <a:pt x="388" y="510"/>
                    <a:pt x="388" y="510"/>
                  </a:cubicBezTo>
                  <a:cubicBezTo>
                    <a:pt x="389" y="510"/>
                    <a:pt x="389" y="512"/>
                    <a:pt x="389" y="512"/>
                  </a:cubicBezTo>
                  <a:cubicBezTo>
                    <a:pt x="390" y="513"/>
                    <a:pt x="392" y="513"/>
                    <a:pt x="393" y="514"/>
                  </a:cubicBezTo>
                  <a:cubicBezTo>
                    <a:pt x="394" y="514"/>
                    <a:pt x="396" y="515"/>
                    <a:pt x="398" y="515"/>
                  </a:cubicBezTo>
                  <a:cubicBezTo>
                    <a:pt x="399" y="515"/>
                    <a:pt x="400" y="512"/>
                    <a:pt x="401" y="512"/>
                  </a:cubicBezTo>
                  <a:cubicBezTo>
                    <a:pt x="402" y="511"/>
                    <a:pt x="402" y="511"/>
                    <a:pt x="403" y="511"/>
                  </a:cubicBezTo>
                  <a:cubicBezTo>
                    <a:pt x="404" y="511"/>
                    <a:pt x="406" y="511"/>
                    <a:pt x="407" y="512"/>
                  </a:cubicBezTo>
                  <a:cubicBezTo>
                    <a:pt x="408" y="512"/>
                    <a:pt x="408" y="512"/>
                    <a:pt x="408" y="513"/>
                  </a:cubicBezTo>
                  <a:cubicBezTo>
                    <a:pt x="409" y="513"/>
                    <a:pt x="409" y="513"/>
                    <a:pt x="409" y="513"/>
                  </a:cubicBezTo>
                  <a:cubicBezTo>
                    <a:pt x="410" y="513"/>
                    <a:pt x="411" y="514"/>
                    <a:pt x="412" y="514"/>
                  </a:cubicBezTo>
                  <a:cubicBezTo>
                    <a:pt x="414" y="514"/>
                    <a:pt x="415" y="514"/>
                    <a:pt x="417" y="516"/>
                  </a:cubicBezTo>
                  <a:cubicBezTo>
                    <a:pt x="418" y="517"/>
                    <a:pt x="418" y="518"/>
                    <a:pt x="418" y="520"/>
                  </a:cubicBezTo>
                  <a:cubicBezTo>
                    <a:pt x="418" y="521"/>
                    <a:pt x="418" y="522"/>
                    <a:pt x="419" y="522"/>
                  </a:cubicBezTo>
                  <a:cubicBezTo>
                    <a:pt x="419" y="523"/>
                    <a:pt x="419" y="524"/>
                    <a:pt x="420" y="525"/>
                  </a:cubicBezTo>
                  <a:cubicBezTo>
                    <a:pt x="420" y="525"/>
                    <a:pt x="421" y="525"/>
                    <a:pt x="422" y="526"/>
                  </a:cubicBezTo>
                  <a:cubicBezTo>
                    <a:pt x="423" y="526"/>
                    <a:pt x="422" y="528"/>
                    <a:pt x="422" y="529"/>
                  </a:cubicBezTo>
                  <a:cubicBezTo>
                    <a:pt x="422" y="531"/>
                    <a:pt x="422" y="532"/>
                    <a:pt x="422" y="534"/>
                  </a:cubicBezTo>
                  <a:cubicBezTo>
                    <a:pt x="421" y="537"/>
                    <a:pt x="419" y="538"/>
                    <a:pt x="416" y="538"/>
                  </a:cubicBezTo>
                  <a:cubicBezTo>
                    <a:pt x="416" y="540"/>
                    <a:pt x="418" y="541"/>
                    <a:pt x="419" y="542"/>
                  </a:cubicBezTo>
                  <a:cubicBezTo>
                    <a:pt x="422" y="543"/>
                    <a:pt x="425" y="545"/>
                    <a:pt x="427" y="547"/>
                  </a:cubicBezTo>
                  <a:cubicBezTo>
                    <a:pt x="428" y="547"/>
                    <a:pt x="429" y="547"/>
                    <a:pt x="430" y="548"/>
                  </a:cubicBezTo>
                  <a:cubicBezTo>
                    <a:pt x="431" y="548"/>
                    <a:pt x="432" y="549"/>
                    <a:pt x="432" y="550"/>
                  </a:cubicBezTo>
                  <a:cubicBezTo>
                    <a:pt x="433" y="550"/>
                    <a:pt x="434" y="551"/>
                    <a:pt x="435" y="551"/>
                  </a:cubicBezTo>
                  <a:cubicBezTo>
                    <a:pt x="436" y="552"/>
                    <a:pt x="436" y="554"/>
                    <a:pt x="437" y="555"/>
                  </a:cubicBezTo>
                  <a:cubicBezTo>
                    <a:pt x="438" y="556"/>
                    <a:pt x="439" y="557"/>
                    <a:pt x="441" y="557"/>
                  </a:cubicBezTo>
                  <a:cubicBezTo>
                    <a:pt x="441" y="557"/>
                    <a:pt x="444" y="557"/>
                    <a:pt x="444" y="556"/>
                  </a:cubicBezTo>
                  <a:cubicBezTo>
                    <a:pt x="445" y="556"/>
                    <a:pt x="445" y="556"/>
                    <a:pt x="445" y="555"/>
                  </a:cubicBezTo>
                  <a:cubicBezTo>
                    <a:pt x="446" y="555"/>
                    <a:pt x="446" y="554"/>
                    <a:pt x="447" y="553"/>
                  </a:cubicBezTo>
                  <a:cubicBezTo>
                    <a:pt x="447" y="553"/>
                    <a:pt x="447" y="552"/>
                    <a:pt x="447" y="551"/>
                  </a:cubicBezTo>
                  <a:cubicBezTo>
                    <a:pt x="447" y="550"/>
                    <a:pt x="448" y="548"/>
                    <a:pt x="449" y="548"/>
                  </a:cubicBezTo>
                  <a:cubicBezTo>
                    <a:pt x="453" y="553"/>
                    <a:pt x="457" y="558"/>
                    <a:pt x="460" y="564"/>
                  </a:cubicBezTo>
                  <a:cubicBezTo>
                    <a:pt x="461" y="566"/>
                    <a:pt x="462" y="568"/>
                    <a:pt x="462" y="570"/>
                  </a:cubicBezTo>
                  <a:cubicBezTo>
                    <a:pt x="462" y="573"/>
                    <a:pt x="463" y="577"/>
                    <a:pt x="464" y="580"/>
                  </a:cubicBezTo>
                  <a:cubicBezTo>
                    <a:pt x="464" y="583"/>
                    <a:pt x="464" y="587"/>
                    <a:pt x="466" y="589"/>
                  </a:cubicBezTo>
                  <a:cubicBezTo>
                    <a:pt x="467" y="590"/>
                    <a:pt x="468" y="591"/>
                    <a:pt x="469" y="593"/>
                  </a:cubicBezTo>
                  <a:cubicBezTo>
                    <a:pt x="469" y="594"/>
                    <a:pt x="469" y="595"/>
                    <a:pt x="469" y="596"/>
                  </a:cubicBezTo>
                  <a:cubicBezTo>
                    <a:pt x="470" y="597"/>
                    <a:pt x="470" y="599"/>
                    <a:pt x="471" y="600"/>
                  </a:cubicBezTo>
                  <a:cubicBezTo>
                    <a:pt x="471" y="602"/>
                    <a:pt x="471" y="603"/>
                    <a:pt x="472" y="605"/>
                  </a:cubicBezTo>
                  <a:cubicBezTo>
                    <a:pt x="472" y="606"/>
                    <a:pt x="473" y="607"/>
                    <a:pt x="473" y="608"/>
                  </a:cubicBezTo>
                  <a:cubicBezTo>
                    <a:pt x="473" y="611"/>
                    <a:pt x="473" y="614"/>
                    <a:pt x="474" y="616"/>
                  </a:cubicBezTo>
                  <a:cubicBezTo>
                    <a:pt x="474" y="617"/>
                    <a:pt x="474" y="617"/>
                    <a:pt x="474" y="617"/>
                  </a:cubicBezTo>
                  <a:cubicBezTo>
                    <a:pt x="474" y="618"/>
                    <a:pt x="474" y="619"/>
                    <a:pt x="474" y="619"/>
                  </a:cubicBezTo>
                  <a:cubicBezTo>
                    <a:pt x="474" y="620"/>
                    <a:pt x="474" y="621"/>
                    <a:pt x="474" y="622"/>
                  </a:cubicBezTo>
                  <a:cubicBezTo>
                    <a:pt x="475" y="624"/>
                    <a:pt x="475" y="625"/>
                    <a:pt x="475" y="628"/>
                  </a:cubicBezTo>
                  <a:cubicBezTo>
                    <a:pt x="475" y="630"/>
                    <a:pt x="475" y="634"/>
                    <a:pt x="475" y="637"/>
                  </a:cubicBezTo>
                  <a:cubicBezTo>
                    <a:pt x="476" y="641"/>
                    <a:pt x="481" y="643"/>
                    <a:pt x="482" y="647"/>
                  </a:cubicBezTo>
                  <a:cubicBezTo>
                    <a:pt x="482" y="648"/>
                    <a:pt x="482" y="650"/>
                    <a:pt x="481" y="652"/>
                  </a:cubicBezTo>
                  <a:cubicBezTo>
                    <a:pt x="481" y="653"/>
                    <a:pt x="481" y="655"/>
                    <a:pt x="480" y="657"/>
                  </a:cubicBezTo>
                  <a:cubicBezTo>
                    <a:pt x="479" y="658"/>
                    <a:pt x="479" y="659"/>
                    <a:pt x="477" y="659"/>
                  </a:cubicBezTo>
                  <a:cubicBezTo>
                    <a:pt x="474" y="659"/>
                    <a:pt x="472" y="659"/>
                    <a:pt x="470" y="660"/>
                  </a:cubicBezTo>
                  <a:cubicBezTo>
                    <a:pt x="468" y="660"/>
                    <a:pt x="466" y="661"/>
                    <a:pt x="464" y="662"/>
                  </a:cubicBezTo>
                  <a:cubicBezTo>
                    <a:pt x="462" y="662"/>
                    <a:pt x="461" y="663"/>
                    <a:pt x="460" y="663"/>
                  </a:cubicBezTo>
                  <a:cubicBezTo>
                    <a:pt x="459" y="668"/>
                    <a:pt x="464" y="670"/>
                    <a:pt x="464" y="675"/>
                  </a:cubicBezTo>
                  <a:cubicBezTo>
                    <a:pt x="465" y="677"/>
                    <a:pt x="463" y="678"/>
                    <a:pt x="463" y="680"/>
                  </a:cubicBezTo>
                  <a:cubicBezTo>
                    <a:pt x="461" y="682"/>
                    <a:pt x="461" y="685"/>
                    <a:pt x="460" y="688"/>
                  </a:cubicBezTo>
                  <a:cubicBezTo>
                    <a:pt x="459" y="689"/>
                    <a:pt x="459" y="690"/>
                    <a:pt x="458" y="691"/>
                  </a:cubicBezTo>
                  <a:cubicBezTo>
                    <a:pt x="456" y="692"/>
                    <a:pt x="455" y="692"/>
                    <a:pt x="454" y="693"/>
                  </a:cubicBezTo>
                  <a:cubicBezTo>
                    <a:pt x="454" y="693"/>
                    <a:pt x="453" y="693"/>
                    <a:pt x="453" y="694"/>
                  </a:cubicBezTo>
                  <a:cubicBezTo>
                    <a:pt x="452" y="694"/>
                    <a:pt x="452" y="694"/>
                    <a:pt x="452" y="694"/>
                  </a:cubicBezTo>
                  <a:cubicBezTo>
                    <a:pt x="451" y="694"/>
                    <a:pt x="451" y="695"/>
                    <a:pt x="451" y="695"/>
                  </a:cubicBezTo>
                  <a:cubicBezTo>
                    <a:pt x="450" y="696"/>
                    <a:pt x="449" y="697"/>
                    <a:pt x="447" y="698"/>
                  </a:cubicBezTo>
                  <a:cubicBezTo>
                    <a:pt x="446" y="699"/>
                    <a:pt x="446" y="699"/>
                    <a:pt x="445" y="700"/>
                  </a:cubicBezTo>
                  <a:cubicBezTo>
                    <a:pt x="445" y="701"/>
                    <a:pt x="445" y="702"/>
                    <a:pt x="445" y="703"/>
                  </a:cubicBezTo>
                  <a:cubicBezTo>
                    <a:pt x="445" y="704"/>
                    <a:pt x="446" y="707"/>
                    <a:pt x="445" y="708"/>
                  </a:cubicBezTo>
                  <a:cubicBezTo>
                    <a:pt x="444" y="709"/>
                    <a:pt x="443" y="709"/>
                    <a:pt x="443" y="710"/>
                  </a:cubicBezTo>
                  <a:cubicBezTo>
                    <a:pt x="442" y="711"/>
                    <a:pt x="441" y="713"/>
                    <a:pt x="441" y="714"/>
                  </a:cubicBezTo>
                  <a:cubicBezTo>
                    <a:pt x="442" y="716"/>
                    <a:pt x="443" y="717"/>
                    <a:pt x="444" y="718"/>
                  </a:cubicBezTo>
                  <a:cubicBezTo>
                    <a:pt x="445" y="718"/>
                    <a:pt x="444" y="718"/>
                    <a:pt x="445" y="719"/>
                  </a:cubicBezTo>
                  <a:cubicBezTo>
                    <a:pt x="446" y="719"/>
                    <a:pt x="447" y="720"/>
                    <a:pt x="447" y="720"/>
                  </a:cubicBezTo>
                  <a:cubicBezTo>
                    <a:pt x="448" y="720"/>
                    <a:pt x="448" y="721"/>
                    <a:pt x="449" y="721"/>
                  </a:cubicBezTo>
                  <a:cubicBezTo>
                    <a:pt x="451" y="721"/>
                    <a:pt x="453" y="721"/>
                    <a:pt x="455" y="721"/>
                  </a:cubicBezTo>
                  <a:cubicBezTo>
                    <a:pt x="458" y="721"/>
                    <a:pt x="460" y="720"/>
                    <a:pt x="463" y="720"/>
                  </a:cubicBezTo>
                  <a:cubicBezTo>
                    <a:pt x="464" y="720"/>
                    <a:pt x="465" y="720"/>
                    <a:pt x="466" y="720"/>
                  </a:cubicBezTo>
                  <a:cubicBezTo>
                    <a:pt x="468" y="720"/>
                    <a:pt x="469" y="719"/>
                    <a:pt x="470" y="719"/>
                  </a:cubicBezTo>
                  <a:cubicBezTo>
                    <a:pt x="471" y="719"/>
                    <a:pt x="471" y="719"/>
                    <a:pt x="472" y="719"/>
                  </a:cubicBezTo>
                  <a:cubicBezTo>
                    <a:pt x="473" y="718"/>
                    <a:pt x="474" y="717"/>
                    <a:pt x="474" y="717"/>
                  </a:cubicBezTo>
                  <a:cubicBezTo>
                    <a:pt x="475" y="716"/>
                    <a:pt x="475" y="715"/>
                    <a:pt x="475" y="714"/>
                  </a:cubicBezTo>
                  <a:cubicBezTo>
                    <a:pt x="476" y="714"/>
                    <a:pt x="476" y="713"/>
                    <a:pt x="477" y="712"/>
                  </a:cubicBezTo>
                  <a:cubicBezTo>
                    <a:pt x="477" y="712"/>
                    <a:pt x="477" y="711"/>
                    <a:pt x="477" y="710"/>
                  </a:cubicBezTo>
                  <a:cubicBezTo>
                    <a:pt x="478" y="709"/>
                    <a:pt x="478" y="709"/>
                    <a:pt x="478" y="708"/>
                  </a:cubicBezTo>
                  <a:cubicBezTo>
                    <a:pt x="479" y="705"/>
                    <a:pt x="478" y="704"/>
                    <a:pt x="480" y="702"/>
                  </a:cubicBezTo>
                  <a:cubicBezTo>
                    <a:pt x="481" y="700"/>
                    <a:pt x="483" y="698"/>
                    <a:pt x="485" y="697"/>
                  </a:cubicBezTo>
                  <a:cubicBezTo>
                    <a:pt x="485" y="695"/>
                    <a:pt x="489" y="692"/>
                    <a:pt x="491" y="691"/>
                  </a:cubicBezTo>
                  <a:cubicBezTo>
                    <a:pt x="493" y="690"/>
                    <a:pt x="495" y="688"/>
                    <a:pt x="498" y="686"/>
                  </a:cubicBezTo>
                  <a:cubicBezTo>
                    <a:pt x="502" y="683"/>
                    <a:pt x="500" y="678"/>
                    <a:pt x="500" y="674"/>
                  </a:cubicBezTo>
                  <a:cubicBezTo>
                    <a:pt x="501" y="671"/>
                    <a:pt x="500" y="668"/>
                    <a:pt x="500" y="665"/>
                  </a:cubicBezTo>
                  <a:cubicBezTo>
                    <a:pt x="500" y="663"/>
                    <a:pt x="500" y="661"/>
                    <a:pt x="500" y="660"/>
                  </a:cubicBezTo>
                  <a:cubicBezTo>
                    <a:pt x="500" y="659"/>
                    <a:pt x="500" y="657"/>
                    <a:pt x="501" y="656"/>
                  </a:cubicBezTo>
                  <a:cubicBezTo>
                    <a:pt x="501" y="656"/>
                    <a:pt x="502" y="655"/>
                    <a:pt x="503" y="655"/>
                  </a:cubicBezTo>
                  <a:cubicBezTo>
                    <a:pt x="503" y="654"/>
                    <a:pt x="504" y="653"/>
                    <a:pt x="505" y="652"/>
                  </a:cubicBezTo>
                  <a:cubicBezTo>
                    <a:pt x="505" y="651"/>
                    <a:pt x="505" y="651"/>
                    <a:pt x="506" y="651"/>
                  </a:cubicBezTo>
                  <a:cubicBezTo>
                    <a:pt x="507" y="650"/>
                    <a:pt x="508" y="649"/>
                    <a:pt x="510" y="649"/>
                  </a:cubicBezTo>
                  <a:cubicBezTo>
                    <a:pt x="512" y="648"/>
                    <a:pt x="515" y="648"/>
                    <a:pt x="517" y="647"/>
                  </a:cubicBezTo>
                  <a:cubicBezTo>
                    <a:pt x="517" y="647"/>
                    <a:pt x="517" y="646"/>
                    <a:pt x="517" y="646"/>
                  </a:cubicBezTo>
                  <a:cubicBezTo>
                    <a:pt x="517" y="646"/>
                    <a:pt x="519" y="646"/>
                    <a:pt x="518" y="646"/>
                  </a:cubicBezTo>
                  <a:cubicBezTo>
                    <a:pt x="520" y="646"/>
                    <a:pt x="520" y="646"/>
                    <a:pt x="521" y="646"/>
                  </a:cubicBezTo>
                  <a:cubicBezTo>
                    <a:pt x="523" y="646"/>
                    <a:pt x="525" y="646"/>
                    <a:pt x="526" y="645"/>
                  </a:cubicBezTo>
                  <a:cubicBezTo>
                    <a:pt x="527" y="645"/>
                    <a:pt x="528" y="644"/>
                    <a:pt x="529" y="644"/>
                  </a:cubicBezTo>
                  <a:cubicBezTo>
                    <a:pt x="530" y="644"/>
                    <a:pt x="530" y="644"/>
                    <a:pt x="531" y="643"/>
                  </a:cubicBezTo>
                  <a:cubicBezTo>
                    <a:pt x="531" y="643"/>
                    <a:pt x="532" y="643"/>
                    <a:pt x="532" y="642"/>
                  </a:cubicBezTo>
                  <a:cubicBezTo>
                    <a:pt x="532" y="641"/>
                    <a:pt x="532" y="640"/>
                    <a:pt x="532" y="639"/>
                  </a:cubicBezTo>
                  <a:cubicBezTo>
                    <a:pt x="532" y="638"/>
                    <a:pt x="531" y="636"/>
                    <a:pt x="531" y="635"/>
                  </a:cubicBezTo>
                  <a:cubicBezTo>
                    <a:pt x="531" y="634"/>
                    <a:pt x="531" y="633"/>
                    <a:pt x="532" y="632"/>
                  </a:cubicBezTo>
                  <a:cubicBezTo>
                    <a:pt x="532" y="632"/>
                    <a:pt x="533" y="631"/>
                    <a:pt x="533" y="631"/>
                  </a:cubicBezTo>
                  <a:cubicBezTo>
                    <a:pt x="534" y="629"/>
                    <a:pt x="534" y="626"/>
                    <a:pt x="534" y="624"/>
                  </a:cubicBezTo>
                  <a:cubicBezTo>
                    <a:pt x="534" y="622"/>
                    <a:pt x="534" y="620"/>
                    <a:pt x="534" y="617"/>
                  </a:cubicBezTo>
                  <a:cubicBezTo>
                    <a:pt x="534" y="616"/>
                    <a:pt x="534" y="614"/>
                    <a:pt x="534" y="613"/>
                  </a:cubicBezTo>
                  <a:cubicBezTo>
                    <a:pt x="534" y="611"/>
                    <a:pt x="533" y="609"/>
                    <a:pt x="533" y="607"/>
                  </a:cubicBezTo>
                  <a:cubicBezTo>
                    <a:pt x="532" y="605"/>
                    <a:pt x="531" y="604"/>
                    <a:pt x="529" y="604"/>
                  </a:cubicBezTo>
                  <a:cubicBezTo>
                    <a:pt x="529" y="603"/>
                    <a:pt x="528" y="601"/>
                    <a:pt x="527" y="600"/>
                  </a:cubicBezTo>
                  <a:cubicBezTo>
                    <a:pt x="526" y="598"/>
                    <a:pt x="526" y="597"/>
                    <a:pt x="524" y="597"/>
                  </a:cubicBezTo>
                  <a:cubicBezTo>
                    <a:pt x="523" y="597"/>
                    <a:pt x="522" y="597"/>
                    <a:pt x="521" y="597"/>
                  </a:cubicBezTo>
                  <a:cubicBezTo>
                    <a:pt x="520" y="596"/>
                    <a:pt x="520" y="596"/>
                    <a:pt x="520" y="595"/>
                  </a:cubicBezTo>
                  <a:cubicBezTo>
                    <a:pt x="519" y="594"/>
                    <a:pt x="518" y="594"/>
                    <a:pt x="517" y="593"/>
                  </a:cubicBezTo>
                  <a:cubicBezTo>
                    <a:pt x="516" y="592"/>
                    <a:pt x="516" y="591"/>
                    <a:pt x="515" y="590"/>
                  </a:cubicBezTo>
                  <a:cubicBezTo>
                    <a:pt x="514" y="590"/>
                    <a:pt x="512" y="591"/>
                    <a:pt x="511" y="590"/>
                  </a:cubicBezTo>
                  <a:cubicBezTo>
                    <a:pt x="510" y="590"/>
                    <a:pt x="509" y="590"/>
                    <a:pt x="508" y="590"/>
                  </a:cubicBezTo>
                  <a:cubicBezTo>
                    <a:pt x="506" y="590"/>
                    <a:pt x="506" y="589"/>
                    <a:pt x="504" y="589"/>
                  </a:cubicBezTo>
                  <a:cubicBezTo>
                    <a:pt x="503" y="585"/>
                    <a:pt x="503" y="581"/>
                    <a:pt x="503" y="577"/>
                  </a:cubicBezTo>
                  <a:cubicBezTo>
                    <a:pt x="503" y="575"/>
                    <a:pt x="503" y="574"/>
                    <a:pt x="503" y="572"/>
                  </a:cubicBezTo>
                  <a:cubicBezTo>
                    <a:pt x="504" y="571"/>
                    <a:pt x="504" y="568"/>
                    <a:pt x="505" y="567"/>
                  </a:cubicBezTo>
                  <a:cubicBezTo>
                    <a:pt x="506" y="566"/>
                    <a:pt x="507" y="566"/>
                    <a:pt x="508" y="565"/>
                  </a:cubicBezTo>
                  <a:cubicBezTo>
                    <a:pt x="509" y="564"/>
                    <a:pt x="509" y="562"/>
                    <a:pt x="509" y="561"/>
                  </a:cubicBezTo>
                  <a:cubicBezTo>
                    <a:pt x="509" y="558"/>
                    <a:pt x="510" y="555"/>
                    <a:pt x="511" y="553"/>
                  </a:cubicBezTo>
                  <a:cubicBezTo>
                    <a:pt x="512" y="552"/>
                    <a:pt x="513" y="551"/>
                    <a:pt x="514" y="550"/>
                  </a:cubicBezTo>
                  <a:cubicBezTo>
                    <a:pt x="515" y="550"/>
                    <a:pt x="515" y="550"/>
                    <a:pt x="515" y="549"/>
                  </a:cubicBezTo>
                  <a:cubicBezTo>
                    <a:pt x="516" y="549"/>
                    <a:pt x="516" y="548"/>
                    <a:pt x="516" y="548"/>
                  </a:cubicBezTo>
                  <a:cubicBezTo>
                    <a:pt x="517" y="546"/>
                    <a:pt x="518" y="544"/>
                    <a:pt x="518" y="543"/>
                  </a:cubicBezTo>
                  <a:cubicBezTo>
                    <a:pt x="519" y="541"/>
                    <a:pt x="519" y="540"/>
                    <a:pt x="520" y="538"/>
                  </a:cubicBezTo>
                  <a:cubicBezTo>
                    <a:pt x="521" y="537"/>
                    <a:pt x="521" y="536"/>
                    <a:pt x="522" y="535"/>
                  </a:cubicBezTo>
                  <a:cubicBezTo>
                    <a:pt x="523" y="534"/>
                    <a:pt x="523" y="534"/>
                    <a:pt x="523" y="533"/>
                  </a:cubicBezTo>
                  <a:cubicBezTo>
                    <a:pt x="524" y="532"/>
                    <a:pt x="524" y="532"/>
                    <a:pt x="525" y="531"/>
                  </a:cubicBezTo>
                  <a:cubicBezTo>
                    <a:pt x="526" y="530"/>
                    <a:pt x="526" y="529"/>
                    <a:pt x="527" y="528"/>
                  </a:cubicBezTo>
                  <a:cubicBezTo>
                    <a:pt x="528" y="527"/>
                    <a:pt x="530" y="526"/>
                    <a:pt x="531" y="525"/>
                  </a:cubicBezTo>
                  <a:cubicBezTo>
                    <a:pt x="533" y="524"/>
                    <a:pt x="535" y="521"/>
                    <a:pt x="537" y="522"/>
                  </a:cubicBezTo>
                  <a:cubicBezTo>
                    <a:pt x="538" y="523"/>
                    <a:pt x="539" y="524"/>
                    <a:pt x="539" y="525"/>
                  </a:cubicBezTo>
                  <a:cubicBezTo>
                    <a:pt x="540" y="525"/>
                    <a:pt x="540" y="526"/>
                    <a:pt x="541" y="527"/>
                  </a:cubicBezTo>
                  <a:cubicBezTo>
                    <a:pt x="542" y="528"/>
                    <a:pt x="542" y="528"/>
                    <a:pt x="543" y="530"/>
                  </a:cubicBezTo>
                  <a:cubicBezTo>
                    <a:pt x="543" y="531"/>
                    <a:pt x="545" y="533"/>
                    <a:pt x="546" y="534"/>
                  </a:cubicBezTo>
                  <a:cubicBezTo>
                    <a:pt x="547" y="534"/>
                    <a:pt x="547" y="534"/>
                    <a:pt x="548" y="534"/>
                  </a:cubicBezTo>
                  <a:cubicBezTo>
                    <a:pt x="548" y="535"/>
                    <a:pt x="548" y="536"/>
                    <a:pt x="549" y="536"/>
                  </a:cubicBezTo>
                  <a:cubicBezTo>
                    <a:pt x="551" y="537"/>
                    <a:pt x="552" y="538"/>
                    <a:pt x="554" y="539"/>
                  </a:cubicBezTo>
                  <a:cubicBezTo>
                    <a:pt x="555" y="540"/>
                    <a:pt x="557" y="540"/>
                    <a:pt x="558" y="540"/>
                  </a:cubicBezTo>
                  <a:cubicBezTo>
                    <a:pt x="559" y="541"/>
                    <a:pt x="559" y="541"/>
                    <a:pt x="561" y="542"/>
                  </a:cubicBezTo>
                  <a:cubicBezTo>
                    <a:pt x="561" y="542"/>
                    <a:pt x="562" y="542"/>
                    <a:pt x="562" y="542"/>
                  </a:cubicBezTo>
                  <a:cubicBezTo>
                    <a:pt x="563" y="543"/>
                    <a:pt x="564" y="542"/>
                    <a:pt x="565" y="542"/>
                  </a:cubicBezTo>
                  <a:cubicBezTo>
                    <a:pt x="567" y="542"/>
                    <a:pt x="568" y="542"/>
                    <a:pt x="570" y="542"/>
                  </a:cubicBezTo>
                  <a:cubicBezTo>
                    <a:pt x="571" y="542"/>
                    <a:pt x="571" y="542"/>
                    <a:pt x="572" y="542"/>
                  </a:cubicBezTo>
                  <a:cubicBezTo>
                    <a:pt x="572" y="542"/>
                    <a:pt x="572" y="541"/>
                    <a:pt x="573" y="541"/>
                  </a:cubicBezTo>
                  <a:cubicBezTo>
                    <a:pt x="574" y="541"/>
                    <a:pt x="575" y="543"/>
                    <a:pt x="575" y="544"/>
                  </a:cubicBezTo>
                  <a:cubicBezTo>
                    <a:pt x="576" y="545"/>
                    <a:pt x="576" y="546"/>
                    <a:pt x="578" y="547"/>
                  </a:cubicBezTo>
                  <a:cubicBezTo>
                    <a:pt x="579" y="547"/>
                    <a:pt x="580" y="548"/>
                    <a:pt x="581" y="549"/>
                  </a:cubicBezTo>
                  <a:cubicBezTo>
                    <a:pt x="581" y="551"/>
                    <a:pt x="582" y="553"/>
                    <a:pt x="582" y="555"/>
                  </a:cubicBezTo>
                  <a:cubicBezTo>
                    <a:pt x="582" y="559"/>
                    <a:pt x="583" y="562"/>
                    <a:pt x="583" y="566"/>
                  </a:cubicBezTo>
                  <a:cubicBezTo>
                    <a:pt x="583" y="568"/>
                    <a:pt x="582" y="572"/>
                    <a:pt x="584" y="574"/>
                  </a:cubicBezTo>
                  <a:cubicBezTo>
                    <a:pt x="585" y="575"/>
                    <a:pt x="588" y="576"/>
                    <a:pt x="589" y="577"/>
                  </a:cubicBezTo>
                  <a:cubicBezTo>
                    <a:pt x="591" y="578"/>
                    <a:pt x="593" y="579"/>
                    <a:pt x="595" y="580"/>
                  </a:cubicBezTo>
                  <a:cubicBezTo>
                    <a:pt x="597" y="580"/>
                    <a:pt x="598" y="581"/>
                    <a:pt x="600" y="582"/>
                  </a:cubicBezTo>
                  <a:cubicBezTo>
                    <a:pt x="601" y="582"/>
                    <a:pt x="604" y="582"/>
                    <a:pt x="605" y="582"/>
                  </a:cubicBezTo>
                  <a:cubicBezTo>
                    <a:pt x="606" y="581"/>
                    <a:pt x="605" y="579"/>
                    <a:pt x="605" y="578"/>
                  </a:cubicBezTo>
                  <a:cubicBezTo>
                    <a:pt x="605" y="577"/>
                    <a:pt x="606" y="576"/>
                    <a:pt x="606" y="574"/>
                  </a:cubicBezTo>
                  <a:cubicBezTo>
                    <a:pt x="606" y="572"/>
                    <a:pt x="606" y="570"/>
                    <a:pt x="606" y="568"/>
                  </a:cubicBezTo>
                  <a:cubicBezTo>
                    <a:pt x="607" y="565"/>
                    <a:pt x="608" y="562"/>
                    <a:pt x="610" y="560"/>
                  </a:cubicBezTo>
                  <a:cubicBezTo>
                    <a:pt x="611" y="559"/>
                    <a:pt x="612" y="559"/>
                    <a:pt x="612" y="557"/>
                  </a:cubicBezTo>
                  <a:cubicBezTo>
                    <a:pt x="612" y="556"/>
                    <a:pt x="612" y="555"/>
                    <a:pt x="612" y="555"/>
                  </a:cubicBezTo>
                  <a:cubicBezTo>
                    <a:pt x="612" y="554"/>
                    <a:pt x="612" y="552"/>
                    <a:pt x="612" y="55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8" name="Freeform 19">
              <a:extLst>
                <a:ext uri="{FF2B5EF4-FFF2-40B4-BE49-F238E27FC236}">
                  <a16:creationId xmlns:a16="http://schemas.microsoft.com/office/drawing/2014/main" id="{C9BE8D69-2A36-4732-846D-21684F313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6280150"/>
              <a:ext cx="320675" cy="239713"/>
            </a:xfrm>
            <a:custGeom>
              <a:avLst/>
              <a:gdLst/>
              <a:ahLst/>
              <a:cxnLst>
                <a:cxn ang="0">
                  <a:pos x="135" y="7"/>
                </a:cxn>
                <a:cxn ang="0">
                  <a:pos x="121" y="12"/>
                </a:cxn>
                <a:cxn ang="0">
                  <a:pos x="110" y="16"/>
                </a:cxn>
                <a:cxn ang="0">
                  <a:pos x="103" y="19"/>
                </a:cxn>
                <a:cxn ang="0">
                  <a:pos x="86" y="19"/>
                </a:cxn>
                <a:cxn ang="0">
                  <a:pos x="77" y="17"/>
                </a:cxn>
                <a:cxn ang="0">
                  <a:pos x="67" y="19"/>
                </a:cxn>
                <a:cxn ang="0">
                  <a:pos x="58" y="14"/>
                </a:cxn>
                <a:cxn ang="0">
                  <a:pos x="53" y="6"/>
                </a:cxn>
                <a:cxn ang="0">
                  <a:pos x="37" y="1"/>
                </a:cxn>
                <a:cxn ang="0">
                  <a:pos x="32" y="14"/>
                </a:cxn>
                <a:cxn ang="0">
                  <a:pos x="22" y="9"/>
                </a:cxn>
                <a:cxn ang="0">
                  <a:pos x="15" y="3"/>
                </a:cxn>
                <a:cxn ang="0">
                  <a:pos x="6" y="14"/>
                </a:cxn>
                <a:cxn ang="0">
                  <a:pos x="7" y="28"/>
                </a:cxn>
                <a:cxn ang="0">
                  <a:pos x="1" y="34"/>
                </a:cxn>
                <a:cxn ang="0">
                  <a:pos x="6" y="47"/>
                </a:cxn>
                <a:cxn ang="0">
                  <a:pos x="13" y="51"/>
                </a:cxn>
                <a:cxn ang="0">
                  <a:pos x="35" y="57"/>
                </a:cxn>
                <a:cxn ang="0">
                  <a:pos x="52" y="69"/>
                </a:cxn>
                <a:cxn ang="0">
                  <a:pos x="69" y="88"/>
                </a:cxn>
                <a:cxn ang="0">
                  <a:pos x="77" y="88"/>
                </a:cxn>
                <a:cxn ang="0">
                  <a:pos x="83" y="90"/>
                </a:cxn>
                <a:cxn ang="0">
                  <a:pos x="92" y="94"/>
                </a:cxn>
                <a:cxn ang="0">
                  <a:pos x="103" y="109"/>
                </a:cxn>
                <a:cxn ang="0">
                  <a:pos x="109" y="125"/>
                </a:cxn>
                <a:cxn ang="0">
                  <a:pos x="122" y="126"/>
                </a:cxn>
                <a:cxn ang="0">
                  <a:pos x="144" y="121"/>
                </a:cxn>
                <a:cxn ang="0">
                  <a:pos x="142" y="106"/>
                </a:cxn>
                <a:cxn ang="0">
                  <a:pos x="150" y="98"/>
                </a:cxn>
                <a:cxn ang="0">
                  <a:pos x="147" y="87"/>
                </a:cxn>
                <a:cxn ang="0">
                  <a:pos x="148" y="79"/>
                </a:cxn>
                <a:cxn ang="0">
                  <a:pos x="141" y="61"/>
                </a:cxn>
                <a:cxn ang="0">
                  <a:pos x="156" y="52"/>
                </a:cxn>
                <a:cxn ang="0">
                  <a:pos x="163" y="45"/>
                </a:cxn>
                <a:cxn ang="0">
                  <a:pos x="154" y="42"/>
                </a:cxn>
                <a:cxn ang="0">
                  <a:pos x="159" y="31"/>
                </a:cxn>
                <a:cxn ang="0">
                  <a:pos x="164" y="19"/>
                </a:cxn>
                <a:cxn ang="0">
                  <a:pos x="167" y="10"/>
                </a:cxn>
                <a:cxn ang="0">
                  <a:pos x="168" y="1"/>
                </a:cxn>
                <a:cxn ang="0">
                  <a:pos x="144" y="12"/>
                </a:cxn>
              </a:cxnLst>
              <a:rect l="0" t="0" r="r" b="b"/>
              <a:pathLst>
                <a:path w="171" h="128">
                  <a:moveTo>
                    <a:pt x="144" y="12"/>
                  </a:moveTo>
                  <a:cubicBezTo>
                    <a:pt x="141" y="11"/>
                    <a:pt x="138" y="8"/>
                    <a:pt x="135" y="7"/>
                  </a:cubicBezTo>
                  <a:cubicBezTo>
                    <a:pt x="133" y="7"/>
                    <a:pt x="132" y="8"/>
                    <a:pt x="130" y="8"/>
                  </a:cubicBezTo>
                  <a:cubicBezTo>
                    <a:pt x="126" y="8"/>
                    <a:pt x="123" y="10"/>
                    <a:pt x="121" y="12"/>
                  </a:cubicBezTo>
                  <a:cubicBezTo>
                    <a:pt x="120" y="13"/>
                    <a:pt x="118" y="14"/>
                    <a:pt x="117" y="15"/>
                  </a:cubicBezTo>
                  <a:cubicBezTo>
                    <a:pt x="115" y="16"/>
                    <a:pt x="113" y="15"/>
                    <a:pt x="110" y="16"/>
                  </a:cubicBezTo>
                  <a:cubicBezTo>
                    <a:pt x="109" y="17"/>
                    <a:pt x="108" y="17"/>
                    <a:pt x="106" y="17"/>
                  </a:cubicBezTo>
                  <a:cubicBezTo>
                    <a:pt x="105" y="18"/>
                    <a:pt x="105" y="19"/>
                    <a:pt x="103" y="19"/>
                  </a:cubicBezTo>
                  <a:cubicBezTo>
                    <a:pt x="100" y="21"/>
                    <a:pt x="95" y="19"/>
                    <a:pt x="91" y="19"/>
                  </a:cubicBezTo>
                  <a:cubicBezTo>
                    <a:pt x="90" y="19"/>
                    <a:pt x="87" y="20"/>
                    <a:pt x="86" y="19"/>
                  </a:cubicBezTo>
                  <a:cubicBezTo>
                    <a:pt x="85" y="19"/>
                    <a:pt x="86" y="18"/>
                    <a:pt x="85" y="18"/>
                  </a:cubicBezTo>
                  <a:cubicBezTo>
                    <a:pt x="82" y="17"/>
                    <a:pt x="80" y="17"/>
                    <a:pt x="77" y="17"/>
                  </a:cubicBezTo>
                  <a:cubicBezTo>
                    <a:pt x="74" y="17"/>
                    <a:pt x="71" y="17"/>
                    <a:pt x="68" y="18"/>
                  </a:cubicBezTo>
                  <a:cubicBezTo>
                    <a:pt x="67" y="19"/>
                    <a:pt x="68" y="19"/>
                    <a:pt x="67" y="19"/>
                  </a:cubicBezTo>
                  <a:cubicBezTo>
                    <a:pt x="65" y="20"/>
                    <a:pt x="64" y="19"/>
                    <a:pt x="63" y="18"/>
                  </a:cubicBezTo>
                  <a:cubicBezTo>
                    <a:pt x="61" y="17"/>
                    <a:pt x="59" y="15"/>
                    <a:pt x="58" y="14"/>
                  </a:cubicBezTo>
                  <a:cubicBezTo>
                    <a:pt x="57" y="13"/>
                    <a:pt x="57" y="11"/>
                    <a:pt x="56" y="10"/>
                  </a:cubicBezTo>
                  <a:cubicBezTo>
                    <a:pt x="55" y="9"/>
                    <a:pt x="54" y="8"/>
                    <a:pt x="53" y="6"/>
                  </a:cubicBezTo>
                  <a:cubicBezTo>
                    <a:pt x="51" y="3"/>
                    <a:pt x="49" y="1"/>
                    <a:pt x="44" y="0"/>
                  </a:cubicBezTo>
                  <a:cubicBezTo>
                    <a:pt x="42" y="0"/>
                    <a:pt x="39" y="0"/>
                    <a:pt x="37" y="1"/>
                  </a:cubicBezTo>
                  <a:cubicBezTo>
                    <a:pt x="36" y="2"/>
                    <a:pt x="37" y="6"/>
                    <a:pt x="36" y="7"/>
                  </a:cubicBezTo>
                  <a:cubicBezTo>
                    <a:pt x="36" y="11"/>
                    <a:pt x="34" y="12"/>
                    <a:pt x="32" y="14"/>
                  </a:cubicBezTo>
                  <a:cubicBezTo>
                    <a:pt x="31" y="14"/>
                    <a:pt x="28" y="16"/>
                    <a:pt x="27" y="16"/>
                  </a:cubicBezTo>
                  <a:cubicBezTo>
                    <a:pt x="26" y="16"/>
                    <a:pt x="23" y="10"/>
                    <a:pt x="22" y="9"/>
                  </a:cubicBezTo>
                  <a:cubicBezTo>
                    <a:pt x="21" y="7"/>
                    <a:pt x="20" y="3"/>
                    <a:pt x="19" y="2"/>
                  </a:cubicBezTo>
                  <a:cubicBezTo>
                    <a:pt x="18" y="1"/>
                    <a:pt x="16" y="2"/>
                    <a:pt x="15" y="3"/>
                  </a:cubicBezTo>
                  <a:cubicBezTo>
                    <a:pt x="14" y="5"/>
                    <a:pt x="15" y="6"/>
                    <a:pt x="13" y="8"/>
                  </a:cubicBezTo>
                  <a:cubicBezTo>
                    <a:pt x="10" y="10"/>
                    <a:pt x="7" y="11"/>
                    <a:pt x="6" y="14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21"/>
                    <a:pt x="8" y="25"/>
                    <a:pt x="7" y="28"/>
                  </a:cubicBezTo>
                  <a:cubicBezTo>
                    <a:pt x="7" y="30"/>
                    <a:pt x="5" y="30"/>
                    <a:pt x="4" y="31"/>
                  </a:cubicBezTo>
                  <a:cubicBezTo>
                    <a:pt x="3" y="31"/>
                    <a:pt x="2" y="33"/>
                    <a:pt x="1" y="34"/>
                  </a:cubicBezTo>
                  <a:cubicBezTo>
                    <a:pt x="0" y="37"/>
                    <a:pt x="2" y="41"/>
                    <a:pt x="3" y="43"/>
                  </a:cubicBezTo>
                  <a:cubicBezTo>
                    <a:pt x="4" y="46"/>
                    <a:pt x="4" y="46"/>
                    <a:pt x="6" y="47"/>
                  </a:cubicBezTo>
                  <a:cubicBezTo>
                    <a:pt x="8" y="47"/>
                    <a:pt x="9" y="47"/>
                    <a:pt x="11" y="48"/>
                  </a:cubicBezTo>
                  <a:cubicBezTo>
                    <a:pt x="11" y="49"/>
                    <a:pt x="12" y="50"/>
                    <a:pt x="13" y="51"/>
                  </a:cubicBezTo>
                  <a:cubicBezTo>
                    <a:pt x="16" y="54"/>
                    <a:pt x="19" y="52"/>
                    <a:pt x="23" y="52"/>
                  </a:cubicBezTo>
                  <a:cubicBezTo>
                    <a:pt x="28" y="52"/>
                    <a:pt x="32" y="52"/>
                    <a:pt x="35" y="57"/>
                  </a:cubicBezTo>
                  <a:cubicBezTo>
                    <a:pt x="37" y="60"/>
                    <a:pt x="40" y="60"/>
                    <a:pt x="43" y="62"/>
                  </a:cubicBezTo>
                  <a:cubicBezTo>
                    <a:pt x="46" y="63"/>
                    <a:pt x="50" y="66"/>
                    <a:pt x="52" y="69"/>
                  </a:cubicBezTo>
                  <a:cubicBezTo>
                    <a:pt x="54" y="74"/>
                    <a:pt x="58" y="81"/>
                    <a:pt x="62" y="84"/>
                  </a:cubicBezTo>
                  <a:cubicBezTo>
                    <a:pt x="64" y="85"/>
                    <a:pt x="67" y="86"/>
                    <a:pt x="69" y="88"/>
                  </a:cubicBezTo>
                  <a:cubicBezTo>
                    <a:pt x="71" y="88"/>
                    <a:pt x="72" y="89"/>
                    <a:pt x="74" y="89"/>
                  </a:cubicBezTo>
                  <a:cubicBezTo>
                    <a:pt x="75" y="89"/>
                    <a:pt x="75" y="88"/>
                    <a:pt x="77" y="88"/>
                  </a:cubicBezTo>
                  <a:cubicBezTo>
                    <a:pt x="78" y="88"/>
                    <a:pt x="79" y="89"/>
                    <a:pt x="80" y="90"/>
                  </a:cubicBezTo>
                  <a:cubicBezTo>
                    <a:pt x="81" y="90"/>
                    <a:pt x="82" y="90"/>
                    <a:pt x="83" y="90"/>
                  </a:cubicBezTo>
                  <a:cubicBezTo>
                    <a:pt x="85" y="90"/>
                    <a:pt x="86" y="90"/>
                    <a:pt x="88" y="90"/>
                  </a:cubicBezTo>
                  <a:cubicBezTo>
                    <a:pt x="91" y="90"/>
                    <a:pt x="91" y="92"/>
                    <a:pt x="92" y="94"/>
                  </a:cubicBezTo>
                  <a:cubicBezTo>
                    <a:pt x="94" y="97"/>
                    <a:pt x="97" y="98"/>
                    <a:pt x="100" y="101"/>
                  </a:cubicBezTo>
                  <a:cubicBezTo>
                    <a:pt x="103" y="103"/>
                    <a:pt x="103" y="106"/>
                    <a:pt x="103" y="109"/>
                  </a:cubicBezTo>
                  <a:cubicBezTo>
                    <a:pt x="103" y="113"/>
                    <a:pt x="103" y="117"/>
                    <a:pt x="105" y="121"/>
                  </a:cubicBezTo>
                  <a:cubicBezTo>
                    <a:pt x="106" y="124"/>
                    <a:pt x="106" y="125"/>
                    <a:pt x="109" y="125"/>
                  </a:cubicBezTo>
                  <a:cubicBezTo>
                    <a:pt x="111" y="125"/>
                    <a:pt x="114" y="124"/>
                    <a:pt x="116" y="124"/>
                  </a:cubicBezTo>
                  <a:cubicBezTo>
                    <a:pt x="118" y="124"/>
                    <a:pt x="120" y="125"/>
                    <a:pt x="122" y="126"/>
                  </a:cubicBezTo>
                  <a:cubicBezTo>
                    <a:pt x="127" y="128"/>
                    <a:pt x="132" y="127"/>
                    <a:pt x="136" y="128"/>
                  </a:cubicBezTo>
                  <a:cubicBezTo>
                    <a:pt x="140" y="128"/>
                    <a:pt x="146" y="125"/>
                    <a:pt x="144" y="121"/>
                  </a:cubicBezTo>
                  <a:cubicBezTo>
                    <a:pt x="143" y="117"/>
                    <a:pt x="138" y="114"/>
                    <a:pt x="140" y="110"/>
                  </a:cubicBezTo>
                  <a:cubicBezTo>
                    <a:pt x="140" y="108"/>
                    <a:pt x="141" y="107"/>
                    <a:pt x="142" y="106"/>
                  </a:cubicBezTo>
                  <a:cubicBezTo>
                    <a:pt x="144" y="103"/>
                    <a:pt x="146" y="103"/>
                    <a:pt x="148" y="101"/>
                  </a:cubicBezTo>
                  <a:cubicBezTo>
                    <a:pt x="149" y="100"/>
                    <a:pt x="149" y="99"/>
                    <a:pt x="150" y="98"/>
                  </a:cubicBezTo>
                  <a:cubicBezTo>
                    <a:pt x="152" y="97"/>
                    <a:pt x="153" y="97"/>
                    <a:pt x="153" y="94"/>
                  </a:cubicBezTo>
                  <a:cubicBezTo>
                    <a:pt x="153" y="89"/>
                    <a:pt x="149" y="91"/>
                    <a:pt x="147" y="87"/>
                  </a:cubicBezTo>
                  <a:cubicBezTo>
                    <a:pt x="146" y="86"/>
                    <a:pt x="146" y="84"/>
                    <a:pt x="146" y="83"/>
                  </a:cubicBezTo>
                  <a:cubicBezTo>
                    <a:pt x="146" y="81"/>
                    <a:pt x="147" y="81"/>
                    <a:pt x="148" y="79"/>
                  </a:cubicBezTo>
                  <a:cubicBezTo>
                    <a:pt x="149" y="76"/>
                    <a:pt x="143" y="72"/>
                    <a:pt x="142" y="70"/>
                  </a:cubicBezTo>
                  <a:cubicBezTo>
                    <a:pt x="139" y="66"/>
                    <a:pt x="140" y="65"/>
                    <a:pt x="141" y="61"/>
                  </a:cubicBezTo>
                  <a:cubicBezTo>
                    <a:pt x="142" y="57"/>
                    <a:pt x="147" y="52"/>
                    <a:pt x="151" y="52"/>
                  </a:cubicBezTo>
                  <a:cubicBezTo>
                    <a:pt x="153" y="52"/>
                    <a:pt x="154" y="52"/>
                    <a:pt x="156" y="52"/>
                  </a:cubicBezTo>
                  <a:cubicBezTo>
                    <a:pt x="157" y="53"/>
                    <a:pt x="158" y="55"/>
                    <a:pt x="160" y="54"/>
                  </a:cubicBezTo>
                  <a:cubicBezTo>
                    <a:pt x="165" y="53"/>
                    <a:pt x="167" y="48"/>
                    <a:pt x="163" y="45"/>
                  </a:cubicBezTo>
                  <a:cubicBezTo>
                    <a:pt x="162" y="44"/>
                    <a:pt x="160" y="43"/>
                    <a:pt x="158" y="43"/>
                  </a:cubicBezTo>
                  <a:cubicBezTo>
                    <a:pt x="157" y="42"/>
                    <a:pt x="155" y="43"/>
                    <a:pt x="154" y="42"/>
                  </a:cubicBezTo>
                  <a:cubicBezTo>
                    <a:pt x="152" y="41"/>
                    <a:pt x="152" y="37"/>
                    <a:pt x="152" y="35"/>
                  </a:cubicBezTo>
                  <a:cubicBezTo>
                    <a:pt x="153" y="31"/>
                    <a:pt x="156" y="31"/>
                    <a:pt x="159" y="31"/>
                  </a:cubicBezTo>
                  <a:cubicBezTo>
                    <a:pt x="165" y="29"/>
                    <a:pt x="162" y="27"/>
                    <a:pt x="163" y="22"/>
                  </a:cubicBezTo>
                  <a:cubicBezTo>
                    <a:pt x="163" y="21"/>
                    <a:pt x="164" y="20"/>
                    <a:pt x="164" y="19"/>
                  </a:cubicBezTo>
                  <a:cubicBezTo>
                    <a:pt x="164" y="17"/>
                    <a:pt x="163" y="15"/>
                    <a:pt x="164" y="14"/>
                  </a:cubicBezTo>
                  <a:cubicBezTo>
                    <a:pt x="164" y="12"/>
                    <a:pt x="166" y="11"/>
                    <a:pt x="167" y="10"/>
                  </a:cubicBezTo>
                  <a:cubicBezTo>
                    <a:pt x="169" y="9"/>
                    <a:pt x="170" y="6"/>
                    <a:pt x="171" y="5"/>
                  </a:cubicBezTo>
                  <a:cubicBezTo>
                    <a:pt x="171" y="3"/>
                    <a:pt x="170" y="1"/>
                    <a:pt x="168" y="1"/>
                  </a:cubicBezTo>
                  <a:cubicBezTo>
                    <a:pt x="166" y="1"/>
                    <a:pt x="165" y="4"/>
                    <a:pt x="164" y="5"/>
                  </a:cubicBezTo>
                  <a:lnTo>
                    <a:pt x="144" y="1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9" name="Freeform 20">
              <a:extLst>
                <a:ext uri="{FF2B5EF4-FFF2-40B4-BE49-F238E27FC236}">
                  <a16:creationId xmlns:a16="http://schemas.microsoft.com/office/drawing/2014/main" id="{B0932DF9-4F40-4161-AF78-914DC4868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0688" y="5835650"/>
              <a:ext cx="161925" cy="334963"/>
            </a:xfrm>
            <a:custGeom>
              <a:avLst/>
              <a:gdLst/>
              <a:ahLst/>
              <a:cxnLst>
                <a:cxn ang="0">
                  <a:pos x="69" y="8"/>
                </a:cxn>
                <a:cxn ang="0">
                  <a:pos x="74" y="14"/>
                </a:cxn>
                <a:cxn ang="0">
                  <a:pos x="77" y="21"/>
                </a:cxn>
                <a:cxn ang="0">
                  <a:pos x="77" y="28"/>
                </a:cxn>
                <a:cxn ang="0">
                  <a:pos x="85" y="34"/>
                </a:cxn>
                <a:cxn ang="0">
                  <a:pos x="87" y="46"/>
                </a:cxn>
                <a:cxn ang="0">
                  <a:pos x="86" y="56"/>
                </a:cxn>
                <a:cxn ang="0">
                  <a:pos x="85" y="65"/>
                </a:cxn>
                <a:cxn ang="0">
                  <a:pos x="83" y="72"/>
                </a:cxn>
                <a:cxn ang="0">
                  <a:pos x="77" y="76"/>
                </a:cxn>
                <a:cxn ang="0">
                  <a:pos x="75" y="80"/>
                </a:cxn>
                <a:cxn ang="0">
                  <a:pos x="79" y="90"/>
                </a:cxn>
                <a:cxn ang="0">
                  <a:pos x="76" y="114"/>
                </a:cxn>
                <a:cxn ang="0">
                  <a:pos x="75" y="126"/>
                </a:cxn>
                <a:cxn ang="0">
                  <a:pos x="74" y="132"/>
                </a:cxn>
                <a:cxn ang="0">
                  <a:pos x="73" y="138"/>
                </a:cxn>
                <a:cxn ang="0">
                  <a:pos x="72" y="145"/>
                </a:cxn>
                <a:cxn ang="0">
                  <a:pos x="70" y="152"/>
                </a:cxn>
                <a:cxn ang="0">
                  <a:pos x="69" y="153"/>
                </a:cxn>
                <a:cxn ang="0">
                  <a:pos x="68" y="162"/>
                </a:cxn>
                <a:cxn ang="0">
                  <a:pos x="64" y="162"/>
                </a:cxn>
                <a:cxn ang="0">
                  <a:pos x="57" y="156"/>
                </a:cxn>
                <a:cxn ang="0">
                  <a:pos x="53" y="155"/>
                </a:cxn>
                <a:cxn ang="0">
                  <a:pos x="40" y="150"/>
                </a:cxn>
                <a:cxn ang="0">
                  <a:pos x="41" y="157"/>
                </a:cxn>
                <a:cxn ang="0">
                  <a:pos x="34" y="175"/>
                </a:cxn>
                <a:cxn ang="0">
                  <a:pos x="21" y="178"/>
                </a:cxn>
                <a:cxn ang="0">
                  <a:pos x="17" y="179"/>
                </a:cxn>
                <a:cxn ang="0">
                  <a:pos x="14" y="165"/>
                </a:cxn>
                <a:cxn ang="0">
                  <a:pos x="8" y="155"/>
                </a:cxn>
                <a:cxn ang="0">
                  <a:pos x="6" y="151"/>
                </a:cxn>
                <a:cxn ang="0">
                  <a:pos x="9" y="138"/>
                </a:cxn>
                <a:cxn ang="0">
                  <a:pos x="14" y="131"/>
                </a:cxn>
                <a:cxn ang="0">
                  <a:pos x="12" y="120"/>
                </a:cxn>
                <a:cxn ang="0">
                  <a:pos x="17" y="116"/>
                </a:cxn>
                <a:cxn ang="0">
                  <a:pos x="19" y="110"/>
                </a:cxn>
                <a:cxn ang="0">
                  <a:pos x="18" y="104"/>
                </a:cxn>
                <a:cxn ang="0">
                  <a:pos x="13" y="102"/>
                </a:cxn>
                <a:cxn ang="0">
                  <a:pos x="10" y="105"/>
                </a:cxn>
                <a:cxn ang="0">
                  <a:pos x="11" y="98"/>
                </a:cxn>
                <a:cxn ang="0">
                  <a:pos x="13" y="88"/>
                </a:cxn>
                <a:cxn ang="0">
                  <a:pos x="17" y="85"/>
                </a:cxn>
                <a:cxn ang="0">
                  <a:pos x="17" y="68"/>
                </a:cxn>
                <a:cxn ang="0">
                  <a:pos x="12" y="58"/>
                </a:cxn>
                <a:cxn ang="0">
                  <a:pos x="11" y="52"/>
                </a:cxn>
                <a:cxn ang="0">
                  <a:pos x="8" y="48"/>
                </a:cxn>
                <a:cxn ang="0">
                  <a:pos x="3" y="43"/>
                </a:cxn>
                <a:cxn ang="0">
                  <a:pos x="6" y="32"/>
                </a:cxn>
                <a:cxn ang="0">
                  <a:pos x="7" y="24"/>
                </a:cxn>
                <a:cxn ang="0">
                  <a:pos x="9" y="16"/>
                </a:cxn>
                <a:cxn ang="0">
                  <a:pos x="13" y="12"/>
                </a:cxn>
                <a:cxn ang="0">
                  <a:pos x="10" y="19"/>
                </a:cxn>
                <a:cxn ang="0">
                  <a:pos x="17" y="22"/>
                </a:cxn>
                <a:cxn ang="0">
                  <a:pos x="27" y="23"/>
                </a:cxn>
                <a:cxn ang="0">
                  <a:pos x="32" y="25"/>
                </a:cxn>
                <a:cxn ang="0">
                  <a:pos x="38" y="22"/>
                </a:cxn>
                <a:cxn ang="0">
                  <a:pos x="47" y="14"/>
                </a:cxn>
                <a:cxn ang="0">
                  <a:pos x="52" y="10"/>
                </a:cxn>
                <a:cxn ang="0">
                  <a:pos x="56" y="2"/>
                </a:cxn>
              </a:cxnLst>
              <a:rect l="0" t="0" r="r" b="b"/>
              <a:pathLst>
                <a:path w="87" h="179">
                  <a:moveTo>
                    <a:pt x="67" y="5"/>
                  </a:moveTo>
                  <a:cubicBezTo>
                    <a:pt x="67" y="6"/>
                    <a:pt x="68" y="8"/>
                    <a:pt x="69" y="8"/>
                  </a:cubicBezTo>
                  <a:cubicBezTo>
                    <a:pt x="71" y="9"/>
                    <a:pt x="73" y="9"/>
                    <a:pt x="73" y="11"/>
                  </a:cubicBezTo>
                  <a:cubicBezTo>
                    <a:pt x="74" y="12"/>
                    <a:pt x="73" y="13"/>
                    <a:pt x="74" y="14"/>
                  </a:cubicBezTo>
                  <a:cubicBezTo>
                    <a:pt x="74" y="15"/>
                    <a:pt x="75" y="14"/>
                    <a:pt x="76" y="15"/>
                  </a:cubicBezTo>
                  <a:cubicBezTo>
                    <a:pt x="77" y="16"/>
                    <a:pt x="77" y="19"/>
                    <a:pt x="77" y="21"/>
                  </a:cubicBezTo>
                  <a:cubicBezTo>
                    <a:pt x="77" y="22"/>
                    <a:pt x="77" y="23"/>
                    <a:pt x="76" y="25"/>
                  </a:cubicBezTo>
                  <a:cubicBezTo>
                    <a:pt x="76" y="26"/>
                    <a:pt x="76" y="27"/>
                    <a:pt x="77" y="28"/>
                  </a:cubicBezTo>
                  <a:cubicBezTo>
                    <a:pt x="79" y="30"/>
                    <a:pt x="81" y="29"/>
                    <a:pt x="83" y="30"/>
                  </a:cubicBezTo>
                  <a:cubicBezTo>
                    <a:pt x="85" y="31"/>
                    <a:pt x="85" y="32"/>
                    <a:pt x="85" y="34"/>
                  </a:cubicBezTo>
                  <a:cubicBezTo>
                    <a:pt x="85" y="37"/>
                    <a:pt x="87" y="40"/>
                    <a:pt x="87" y="43"/>
                  </a:cubicBezTo>
                  <a:cubicBezTo>
                    <a:pt x="87" y="44"/>
                    <a:pt x="87" y="45"/>
                    <a:pt x="87" y="46"/>
                  </a:cubicBezTo>
                  <a:cubicBezTo>
                    <a:pt x="87" y="48"/>
                    <a:pt x="86" y="49"/>
                    <a:pt x="86" y="50"/>
                  </a:cubicBezTo>
                  <a:cubicBezTo>
                    <a:pt x="86" y="52"/>
                    <a:pt x="86" y="54"/>
                    <a:pt x="86" y="56"/>
                  </a:cubicBezTo>
                  <a:cubicBezTo>
                    <a:pt x="86" y="58"/>
                    <a:pt x="86" y="60"/>
                    <a:pt x="86" y="62"/>
                  </a:cubicBezTo>
                  <a:cubicBezTo>
                    <a:pt x="85" y="63"/>
                    <a:pt x="85" y="64"/>
                    <a:pt x="85" y="65"/>
                  </a:cubicBezTo>
                  <a:cubicBezTo>
                    <a:pt x="85" y="66"/>
                    <a:pt x="85" y="67"/>
                    <a:pt x="85" y="68"/>
                  </a:cubicBezTo>
                  <a:cubicBezTo>
                    <a:pt x="84" y="69"/>
                    <a:pt x="83" y="71"/>
                    <a:pt x="83" y="72"/>
                  </a:cubicBezTo>
                  <a:cubicBezTo>
                    <a:pt x="82" y="73"/>
                    <a:pt x="81" y="74"/>
                    <a:pt x="81" y="74"/>
                  </a:cubicBezTo>
                  <a:cubicBezTo>
                    <a:pt x="79" y="75"/>
                    <a:pt x="77" y="74"/>
                    <a:pt x="77" y="76"/>
                  </a:cubicBezTo>
                  <a:cubicBezTo>
                    <a:pt x="76" y="76"/>
                    <a:pt x="77" y="77"/>
                    <a:pt x="76" y="78"/>
                  </a:cubicBezTo>
                  <a:cubicBezTo>
                    <a:pt x="76" y="79"/>
                    <a:pt x="76" y="79"/>
                    <a:pt x="75" y="80"/>
                  </a:cubicBezTo>
                  <a:cubicBezTo>
                    <a:pt x="75" y="81"/>
                    <a:pt x="75" y="84"/>
                    <a:pt x="76" y="86"/>
                  </a:cubicBezTo>
                  <a:cubicBezTo>
                    <a:pt x="77" y="87"/>
                    <a:pt x="78" y="88"/>
                    <a:pt x="79" y="90"/>
                  </a:cubicBezTo>
                  <a:cubicBezTo>
                    <a:pt x="79" y="91"/>
                    <a:pt x="80" y="92"/>
                    <a:pt x="80" y="94"/>
                  </a:cubicBezTo>
                  <a:cubicBezTo>
                    <a:pt x="79" y="101"/>
                    <a:pt x="77" y="107"/>
                    <a:pt x="76" y="114"/>
                  </a:cubicBezTo>
                  <a:cubicBezTo>
                    <a:pt x="76" y="117"/>
                    <a:pt x="76" y="119"/>
                    <a:pt x="76" y="122"/>
                  </a:cubicBezTo>
                  <a:cubicBezTo>
                    <a:pt x="76" y="123"/>
                    <a:pt x="76" y="125"/>
                    <a:pt x="75" y="126"/>
                  </a:cubicBezTo>
                  <a:cubicBezTo>
                    <a:pt x="75" y="128"/>
                    <a:pt x="75" y="129"/>
                    <a:pt x="75" y="130"/>
                  </a:cubicBezTo>
                  <a:cubicBezTo>
                    <a:pt x="75" y="131"/>
                    <a:pt x="74" y="131"/>
                    <a:pt x="74" y="132"/>
                  </a:cubicBezTo>
                  <a:cubicBezTo>
                    <a:pt x="74" y="133"/>
                    <a:pt x="74" y="134"/>
                    <a:pt x="73" y="135"/>
                  </a:cubicBezTo>
                  <a:cubicBezTo>
                    <a:pt x="73" y="136"/>
                    <a:pt x="73" y="137"/>
                    <a:pt x="73" y="138"/>
                  </a:cubicBezTo>
                  <a:cubicBezTo>
                    <a:pt x="72" y="140"/>
                    <a:pt x="73" y="142"/>
                    <a:pt x="72" y="143"/>
                  </a:cubicBezTo>
                  <a:cubicBezTo>
                    <a:pt x="72" y="144"/>
                    <a:pt x="72" y="145"/>
                    <a:pt x="72" y="145"/>
                  </a:cubicBezTo>
                  <a:cubicBezTo>
                    <a:pt x="71" y="147"/>
                    <a:pt x="71" y="148"/>
                    <a:pt x="71" y="150"/>
                  </a:cubicBezTo>
                  <a:cubicBezTo>
                    <a:pt x="71" y="151"/>
                    <a:pt x="70" y="151"/>
                    <a:pt x="70" y="152"/>
                  </a:cubicBezTo>
                  <a:cubicBezTo>
                    <a:pt x="70" y="152"/>
                    <a:pt x="69" y="152"/>
                    <a:pt x="69" y="153"/>
                  </a:cubicBezTo>
                  <a:cubicBezTo>
                    <a:pt x="69" y="153"/>
                    <a:pt x="69" y="153"/>
                    <a:pt x="69" y="153"/>
                  </a:cubicBezTo>
                  <a:cubicBezTo>
                    <a:pt x="68" y="155"/>
                    <a:pt x="68" y="156"/>
                    <a:pt x="68" y="158"/>
                  </a:cubicBezTo>
                  <a:cubicBezTo>
                    <a:pt x="68" y="158"/>
                    <a:pt x="68" y="161"/>
                    <a:pt x="68" y="162"/>
                  </a:cubicBezTo>
                  <a:cubicBezTo>
                    <a:pt x="67" y="162"/>
                    <a:pt x="67" y="161"/>
                    <a:pt x="66" y="161"/>
                  </a:cubicBezTo>
                  <a:cubicBezTo>
                    <a:pt x="65" y="161"/>
                    <a:pt x="65" y="162"/>
                    <a:pt x="64" y="162"/>
                  </a:cubicBezTo>
                  <a:cubicBezTo>
                    <a:pt x="63" y="163"/>
                    <a:pt x="61" y="163"/>
                    <a:pt x="60" y="161"/>
                  </a:cubicBezTo>
                  <a:cubicBezTo>
                    <a:pt x="59" y="159"/>
                    <a:pt x="59" y="158"/>
                    <a:pt x="57" y="156"/>
                  </a:cubicBezTo>
                  <a:cubicBezTo>
                    <a:pt x="57" y="155"/>
                    <a:pt x="57" y="155"/>
                    <a:pt x="55" y="155"/>
                  </a:cubicBezTo>
                  <a:cubicBezTo>
                    <a:pt x="55" y="154"/>
                    <a:pt x="54" y="155"/>
                    <a:pt x="53" y="155"/>
                  </a:cubicBezTo>
                  <a:cubicBezTo>
                    <a:pt x="49" y="154"/>
                    <a:pt x="47" y="152"/>
                    <a:pt x="44" y="150"/>
                  </a:cubicBezTo>
                  <a:cubicBezTo>
                    <a:pt x="44" y="150"/>
                    <a:pt x="41" y="149"/>
                    <a:pt x="40" y="150"/>
                  </a:cubicBezTo>
                  <a:cubicBezTo>
                    <a:pt x="39" y="152"/>
                    <a:pt x="42" y="153"/>
                    <a:pt x="42" y="154"/>
                  </a:cubicBezTo>
                  <a:cubicBezTo>
                    <a:pt x="43" y="155"/>
                    <a:pt x="42" y="156"/>
                    <a:pt x="41" y="157"/>
                  </a:cubicBezTo>
                  <a:cubicBezTo>
                    <a:pt x="39" y="160"/>
                    <a:pt x="41" y="162"/>
                    <a:pt x="41" y="166"/>
                  </a:cubicBezTo>
                  <a:cubicBezTo>
                    <a:pt x="41" y="170"/>
                    <a:pt x="38" y="173"/>
                    <a:pt x="34" y="175"/>
                  </a:cubicBezTo>
                  <a:cubicBezTo>
                    <a:pt x="31" y="176"/>
                    <a:pt x="28" y="176"/>
                    <a:pt x="25" y="177"/>
                  </a:cubicBezTo>
                  <a:cubicBezTo>
                    <a:pt x="24" y="177"/>
                    <a:pt x="23" y="178"/>
                    <a:pt x="21" y="178"/>
                  </a:cubicBezTo>
                  <a:cubicBezTo>
                    <a:pt x="21" y="178"/>
                    <a:pt x="20" y="177"/>
                    <a:pt x="19" y="178"/>
                  </a:cubicBezTo>
                  <a:cubicBezTo>
                    <a:pt x="18" y="178"/>
                    <a:pt x="18" y="179"/>
                    <a:pt x="17" y="179"/>
                  </a:cubicBezTo>
                  <a:cubicBezTo>
                    <a:pt x="16" y="176"/>
                    <a:pt x="16" y="173"/>
                    <a:pt x="15" y="170"/>
                  </a:cubicBezTo>
                  <a:cubicBezTo>
                    <a:pt x="15" y="168"/>
                    <a:pt x="15" y="167"/>
                    <a:pt x="14" y="165"/>
                  </a:cubicBezTo>
                  <a:cubicBezTo>
                    <a:pt x="13" y="163"/>
                    <a:pt x="11" y="161"/>
                    <a:pt x="10" y="158"/>
                  </a:cubicBezTo>
                  <a:cubicBezTo>
                    <a:pt x="10" y="157"/>
                    <a:pt x="9" y="157"/>
                    <a:pt x="8" y="155"/>
                  </a:cubicBezTo>
                  <a:cubicBezTo>
                    <a:pt x="7" y="154"/>
                    <a:pt x="6" y="154"/>
                    <a:pt x="5" y="153"/>
                  </a:cubicBezTo>
                  <a:cubicBezTo>
                    <a:pt x="4" y="152"/>
                    <a:pt x="5" y="152"/>
                    <a:pt x="6" y="151"/>
                  </a:cubicBezTo>
                  <a:cubicBezTo>
                    <a:pt x="8" y="149"/>
                    <a:pt x="9" y="144"/>
                    <a:pt x="9" y="141"/>
                  </a:cubicBezTo>
                  <a:cubicBezTo>
                    <a:pt x="9" y="140"/>
                    <a:pt x="8" y="139"/>
                    <a:pt x="9" y="138"/>
                  </a:cubicBezTo>
                  <a:cubicBezTo>
                    <a:pt x="9" y="137"/>
                    <a:pt x="9" y="137"/>
                    <a:pt x="10" y="137"/>
                  </a:cubicBezTo>
                  <a:cubicBezTo>
                    <a:pt x="12" y="135"/>
                    <a:pt x="13" y="133"/>
                    <a:pt x="14" y="131"/>
                  </a:cubicBezTo>
                  <a:cubicBezTo>
                    <a:pt x="14" y="129"/>
                    <a:pt x="15" y="126"/>
                    <a:pt x="14" y="124"/>
                  </a:cubicBezTo>
                  <a:cubicBezTo>
                    <a:pt x="14" y="123"/>
                    <a:pt x="13" y="122"/>
                    <a:pt x="12" y="120"/>
                  </a:cubicBezTo>
                  <a:cubicBezTo>
                    <a:pt x="12" y="117"/>
                    <a:pt x="15" y="116"/>
                    <a:pt x="15" y="113"/>
                  </a:cubicBezTo>
                  <a:cubicBezTo>
                    <a:pt x="15" y="114"/>
                    <a:pt x="16" y="116"/>
                    <a:pt x="17" y="116"/>
                  </a:cubicBezTo>
                  <a:cubicBezTo>
                    <a:pt x="17" y="115"/>
                    <a:pt x="17" y="115"/>
                    <a:pt x="18" y="114"/>
                  </a:cubicBezTo>
                  <a:cubicBezTo>
                    <a:pt x="19" y="112"/>
                    <a:pt x="19" y="111"/>
                    <a:pt x="19" y="110"/>
                  </a:cubicBezTo>
                  <a:cubicBezTo>
                    <a:pt x="20" y="108"/>
                    <a:pt x="24" y="106"/>
                    <a:pt x="22" y="104"/>
                  </a:cubicBezTo>
                  <a:cubicBezTo>
                    <a:pt x="21" y="104"/>
                    <a:pt x="19" y="104"/>
                    <a:pt x="18" y="104"/>
                  </a:cubicBezTo>
                  <a:cubicBezTo>
                    <a:pt x="16" y="104"/>
                    <a:pt x="17" y="103"/>
                    <a:pt x="16" y="102"/>
                  </a:cubicBezTo>
                  <a:cubicBezTo>
                    <a:pt x="15" y="100"/>
                    <a:pt x="15" y="101"/>
                    <a:pt x="13" y="102"/>
                  </a:cubicBezTo>
                  <a:cubicBezTo>
                    <a:pt x="13" y="102"/>
                    <a:pt x="12" y="102"/>
                    <a:pt x="12" y="103"/>
                  </a:cubicBezTo>
                  <a:cubicBezTo>
                    <a:pt x="11" y="103"/>
                    <a:pt x="11" y="104"/>
                    <a:pt x="10" y="105"/>
                  </a:cubicBezTo>
                  <a:cubicBezTo>
                    <a:pt x="9" y="105"/>
                    <a:pt x="9" y="104"/>
                    <a:pt x="9" y="103"/>
                  </a:cubicBezTo>
                  <a:cubicBezTo>
                    <a:pt x="10" y="101"/>
                    <a:pt x="11" y="100"/>
                    <a:pt x="11" y="98"/>
                  </a:cubicBezTo>
                  <a:cubicBezTo>
                    <a:pt x="11" y="97"/>
                    <a:pt x="11" y="94"/>
                    <a:pt x="12" y="93"/>
                  </a:cubicBezTo>
                  <a:cubicBezTo>
                    <a:pt x="13" y="91"/>
                    <a:pt x="13" y="90"/>
                    <a:pt x="13" y="88"/>
                  </a:cubicBezTo>
                  <a:cubicBezTo>
                    <a:pt x="15" y="87"/>
                    <a:pt x="20" y="89"/>
                    <a:pt x="21" y="87"/>
                  </a:cubicBezTo>
                  <a:cubicBezTo>
                    <a:pt x="22" y="85"/>
                    <a:pt x="18" y="85"/>
                    <a:pt x="17" y="85"/>
                  </a:cubicBezTo>
                  <a:cubicBezTo>
                    <a:pt x="16" y="82"/>
                    <a:pt x="17" y="78"/>
                    <a:pt x="17" y="74"/>
                  </a:cubicBezTo>
                  <a:cubicBezTo>
                    <a:pt x="17" y="73"/>
                    <a:pt x="17" y="69"/>
                    <a:pt x="17" y="68"/>
                  </a:cubicBezTo>
                  <a:cubicBezTo>
                    <a:pt x="16" y="67"/>
                    <a:pt x="14" y="66"/>
                    <a:pt x="13" y="66"/>
                  </a:cubicBezTo>
                  <a:cubicBezTo>
                    <a:pt x="12" y="63"/>
                    <a:pt x="13" y="61"/>
                    <a:pt x="12" y="58"/>
                  </a:cubicBezTo>
                  <a:cubicBezTo>
                    <a:pt x="12" y="56"/>
                    <a:pt x="12" y="55"/>
                    <a:pt x="11" y="53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1"/>
                    <a:pt x="9" y="51"/>
                    <a:pt x="9" y="50"/>
                  </a:cubicBezTo>
                  <a:cubicBezTo>
                    <a:pt x="8" y="49"/>
                    <a:pt x="8" y="48"/>
                    <a:pt x="8" y="48"/>
                  </a:cubicBezTo>
                  <a:cubicBezTo>
                    <a:pt x="7" y="46"/>
                    <a:pt x="7" y="47"/>
                    <a:pt x="5" y="47"/>
                  </a:cubicBezTo>
                  <a:cubicBezTo>
                    <a:pt x="3" y="46"/>
                    <a:pt x="0" y="45"/>
                    <a:pt x="3" y="43"/>
                  </a:cubicBezTo>
                  <a:cubicBezTo>
                    <a:pt x="4" y="41"/>
                    <a:pt x="5" y="41"/>
                    <a:pt x="5" y="39"/>
                  </a:cubicBezTo>
                  <a:cubicBezTo>
                    <a:pt x="5" y="36"/>
                    <a:pt x="5" y="34"/>
                    <a:pt x="6" y="32"/>
                  </a:cubicBezTo>
                  <a:cubicBezTo>
                    <a:pt x="6" y="30"/>
                    <a:pt x="5" y="28"/>
                    <a:pt x="6" y="27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8" y="23"/>
                    <a:pt x="8" y="21"/>
                    <a:pt x="8" y="20"/>
                  </a:cubicBezTo>
                  <a:cubicBezTo>
                    <a:pt x="9" y="19"/>
                    <a:pt x="9" y="17"/>
                    <a:pt x="9" y="16"/>
                  </a:cubicBezTo>
                  <a:cubicBezTo>
                    <a:pt x="9" y="14"/>
                    <a:pt x="9" y="13"/>
                    <a:pt x="11" y="12"/>
                  </a:cubicBezTo>
                  <a:cubicBezTo>
                    <a:pt x="11" y="12"/>
                    <a:pt x="12" y="11"/>
                    <a:pt x="13" y="12"/>
                  </a:cubicBezTo>
                  <a:cubicBezTo>
                    <a:pt x="13" y="13"/>
                    <a:pt x="11" y="15"/>
                    <a:pt x="11" y="15"/>
                  </a:cubicBezTo>
                  <a:cubicBezTo>
                    <a:pt x="9" y="17"/>
                    <a:pt x="10" y="17"/>
                    <a:pt x="10" y="19"/>
                  </a:cubicBezTo>
                  <a:cubicBezTo>
                    <a:pt x="10" y="21"/>
                    <a:pt x="10" y="20"/>
                    <a:pt x="11" y="21"/>
                  </a:cubicBezTo>
                  <a:cubicBezTo>
                    <a:pt x="13" y="22"/>
                    <a:pt x="15" y="22"/>
                    <a:pt x="17" y="22"/>
                  </a:cubicBezTo>
                  <a:cubicBezTo>
                    <a:pt x="19" y="22"/>
                    <a:pt x="21" y="21"/>
                    <a:pt x="24" y="21"/>
                  </a:cubicBezTo>
                  <a:cubicBezTo>
                    <a:pt x="25" y="22"/>
                    <a:pt x="26" y="23"/>
                    <a:pt x="27" y="23"/>
                  </a:cubicBezTo>
                  <a:cubicBezTo>
                    <a:pt x="27" y="23"/>
                    <a:pt x="28" y="23"/>
                    <a:pt x="29" y="23"/>
                  </a:cubicBezTo>
                  <a:cubicBezTo>
                    <a:pt x="29" y="24"/>
                    <a:pt x="31" y="25"/>
                    <a:pt x="32" y="25"/>
                  </a:cubicBezTo>
                  <a:cubicBezTo>
                    <a:pt x="32" y="25"/>
                    <a:pt x="33" y="24"/>
                    <a:pt x="34" y="23"/>
                  </a:cubicBezTo>
                  <a:cubicBezTo>
                    <a:pt x="35" y="22"/>
                    <a:pt x="36" y="22"/>
                    <a:pt x="38" y="22"/>
                  </a:cubicBezTo>
                  <a:cubicBezTo>
                    <a:pt x="41" y="21"/>
                    <a:pt x="40" y="18"/>
                    <a:pt x="42" y="16"/>
                  </a:cubicBezTo>
                  <a:cubicBezTo>
                    <a:pt x="44" y="14"/>
                    <a:pt x="45" y="14"/>
                    <a:pt x="47" y="14"/>
                  </a:cubicBezTo>
                  <a:cubicBezTo>
                    <a:pt x="48" y="13"/>
                    <a:pt x="49" y="12"/>
                    <a:pt x="50" y="11"/>
                  </a:cubicBezTo>
                  <a:cubicBezTo>
                    <a:pt x="51" y="11"/>
                    <a:pt x="52" y="10"/>
                    <a:pt x="52" y="10"/>
                  </a:cubicBezTo>
                  <a:cubicBezTo>
                    <a:pt x="53" y="9"/>
                    <a:pt x="53" y="8"/>
                    <a:pt x="53" y="7"/>
                  </a:cubicBezTo>
                  <a:cubicBezTo>
                    <a:pt x="53" y="4"/>
                    <a:pt x="54" y="3"/>
                    <a:pt x="56" y="2"/>
                  </a:cubicBezTo>
                  <a:cubicBezTo>
                    <a:pt x="59" y="0"/>
                    <a:pt x="65" y="1"/>
                    <a:pt x="67" y="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0" name="Freeform 21">
              <a:extLst>
                <a:ext uri="{FF2B5EF4-FFF2-40B4-BE49-F238E27FC236}">
                  <a16:creationId xmlns:a16="http://schemas.microsoft.com/office/drawing/2014/main" id="{3A7531A0-7D0A-4FC5-9191-6D33297837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9500" y="3751263"/>
              <a:ext cx="1041400" cy="944563"/>
            </a:xfrm>
            <a:custGeom>
              <a:avLst/>
              <a:gdLst/>
              <a:ahLst/>
              <a:cxnLst>
                <a:cxn ang="0">
                  <a:pos x="549" y="385"/>
                </a:cxn>
                <a:cxn ang="0">
                  <a:pos x="543" y="329"/>
                </a:cxn>
                <a:cxn ang="0">
                  <a:pos x="531" y="290"/>
                </a:cxn>
                <a:cxn ang="0">
                  <a:pos x="533" y="257"/>
                </a:cxn>
                <a:cxn ang="0">
                  <a:pos x="522" y="235"/>
                </a:cxn>
                <a:cxn ang="0">
                  <a:pos x="532" y="203"/>
                </a:cxn>
                <a:cxn ang="0">
                  <a:pos x="552" y="184"/>
                </a:cxn>
                <a:cxn ang="0">
                  <a:pos x="546" y="161"/>
                </a:cxn>
                <a:cxn ang="0">
                  <a:pos x="524" y="97"/>
                </a:cxn>
                <a:cxn ang="0">
                  <a:pos x="518" y="61"/>
                </a:cxn>
                <a:cxn ang="0">
                  <a:pos x="473" y="42"/>
                </a:cxn>
                <a:cxn ang="0">
                  <a:pos x="315" y="39"/>
                </a:cxn>
                <a:cxn ang="0">
                  <a:pos x="293" y="41"/>
                </a:cxn>
                <a:cxn ang="0">
                  <a:pos x="243" y="1"/>
                </a:cxn>
                <a:cxn ang="0">
                  <a:pos x="187" y="10"/>
                </a:cxn>
                <a:cxn ang="0">
                  <a:pos x="156" y="17"/>
                </a:cxn>
                <a:cxn ang="0">
                  <a:pos x="114" y="50"/>
                </a:cxn>
                <a:cxn ang="0">
                  <a:pos x="77" y="63"/>
                </a:cxn>
                <a:cxn ang="0">
                  <a:pos x="36" y="71"/>
                </a:cxn>
                <a:cxn ang="0">
                  <a:pos x="14" y="81"/>
                </a:cxn>
                <a:cxn ang="0">
                  <a:pos x="16" y="93"/>
                </a:cxn>
                <a:cxn ang="0">
                  <a:pos x="33" y="138"/>
                </a:cxn>
                <a:cxn ang="0">
                  <a:pos x="16" y="170"/>
                </a:cxn>
                <a:cxn ang="0">
                  <a:pos x="31" y="187"/>
                </a:cxn>
                <a:cxn ang="0">
                  <a:pos x="37" y="212"/>
                </a:cxn>
                <a:cxn ang="0">
                  <a:pos x="43" y="231"/>
                </a:cxn>
                <a:cxn ang="0">
                  <a:pos x="38" y="260"/>
                </a:cxn>
                <a:cxn ang="0">
                  <a:pos x="44" y="276"/>
                </a:cxn>
                <a:cxn ang="0">
                  <a:pos x="47" y="292"/>
                </a:cxn>
                <a:cxn ang="0">
                  <a:pos x="60" y="310"/>
                </a:cxn>
                <a:cxn ang="0">
                  <a:pos x="61" y="338"/>
                </a:cxn>
                <a:cxn ang="0">
                  <a:pos x="88" y="356"/>
                </a:cxn>
                <a:cxn ang="0">
                  <a:pos x="118" y="367"/>
                </a:cxn>
                <a:cxn ang="0">
                  <a:pos x="138" y="375"/>
                </a:cxn>
                <a:cxn ang="0">
                  <a:pos x="140" y="398"/>
                </a:cxn>
                <a:cxn ang="0">
                  <a:pos x="157" y="412"/>
                </a:cxn>
                <a:cxn ang="0">
                  <a:pos x="167" y="393"/>
                </a:cxn>
                <a:cxn ang="0">
                  <a:pos x="191" y="400"/>
                </a:cxn>
                <a:cxn ang="0">
                  <a:pos x="208" y="414"/>
                </a:cxn>
                <a:cxn ang="0">
                  <a:pos x="231" y="426"/>
                </a:cxn>
                <a:cxn ang="0">
                  <a:pos x="269" y="455"/>
                </a:cxn>
                <a:cxn ang="0">
                  <a:pos x="286" y="475"/>
                </a:cxn>
                <a:cxn ang="0">
                  <a:pos x="308" y="466"/>
                </a:cxn>
                <a:cxn ang="0">
                  <a:pos x="321" y="487"/>
                </a:cxn>
                <a:cxn ang="0">
                  <a:pos x="338" y="483"/>
                </a:cxn>
                <a:cxn ang="0">
                  <a:pos x="376" y="480"/>
                </a:cxn>
                <a:cxn ang="0">
                  <a:pos x="393" y="473"/>
                </a:cxn>
                <a:cxn ang="0">
                  <a:pos x="427" y="479"/>
                </a:cxn>
                <a:cxn ang="0">
                  <a:pos x="445" y="490"/>
                </a:cxn>
                <a:cxn ang="0">
                  <a:pos x="477" y="503"/>
                </a:cxn>
                <a:cxn ang="0">
                  <a:pos x="477" y="486"/>
                </a:cxn>
                <a:cxn ang="0">
                  <a:pos x="474" y="462"/>
                </a:cxn>
                <a:cxn ang="0">
                  <a:pos x="500" y="424"/>
                </a:cxn>
                <a:cxn ang="0">
                  <a:pos x="551" y="390"/>
                </a:cxn>
                <a:cxn ang="0">
                  <a:pos x="545" y="359"/>
                </a:cxn>
              </a:cxnLst>
              <a:rect l="0" t="0" r="r" b="b"/>
              <a:pathLst>
                <a:path w="557" h="505">
                  <a:moveTo>
                    <a:pt x="552" y="381"/>
                  </a:moveTo>
                  <a:cubicBezTo>
                    <a:pt x="552" y="381"/>
                    <a:pt x="552" y="382"/>
                    <a:pt x="552" y="382"/>
                  </a:cubicBezTo>
                  <a:cubicBezTo>
                    <a:pt x="552" y="382"/>
                    <a:pt x="552" y="381"/>
                    <a:pt x="552" y="381"/>
                  </a:cubicBezTo>
                  <a:moveTo>
                    <a:pt x="549" y="385"/>
                  </a:moveTo>
                  <a:cubicBezTo>
                    <a:pt x="550" y="385"/>
                    <a:pt x="550" y="385"/>
                    <a:pt x="550" y="385"/>
                  </a:cubicBezTo>
                  <a:cubicBezTo>
                    <a:pt x="550" y="385"/>
                    <a:pt x="550" y="385"/>
                    <a:pt x="550" y="385"/>
                  </a:cubicBezTo>
                  <a:lnTo>
                    <a:pt x="549" y="385"/>
                  </a:lnTo>
                  <a:close/>
                  <a:moveTo>
                    <a:pt x="557" y="352"/>
                  </a:moveTo>
                  <a:cubicBezTo>
                    <a:pt x="556" y="350"/>
                    <a:pt x="556" y="351"/>
                    <a:pt x="555" y="350"/>
                  </a:cubicBezTo>
                  <a:cubicBezTo>
                    <a:pt x="554" y="348"/>
                    <a:pt x="554" y="346"/>
                    <a:pt x="554" y="344"/>
                  </a:cubicBezTo>
                  <a:cubicBezTo>
                    <a:pt x="552" y="342"/>
                    <a:pt x="550" y="339"/>
                    <a:pt x="548" y="336"/>
                  </a:cubicBezTo>
                  <a:cubicBezTo>
                    <a:pt x="548" y="335"/>
                    <a:pt x="547" y="332"/>
                    <a:pt x="546" y="331"/>
                  </a:cubicBezTo>
                  <a:cubicBezTo>
                    <a:pt x="546" y="331"/>
                    <a:pt x="545" y="331"/>
                    <a:pt x="544" y="331"/>
                  </a:cubicBezTo>
                  <a:cubicBezTo>
                    <a:pt x="543" y="331"/>
                    <a:pt x="543" y="330"/>
                    <a:pt x="543" y="329"/>
                  </a:cubicBezTo>
                  <a:cubicBezTo>
                    <a:pt x="543" y="329"/>
                    <a:pt x="543" y="328"/>
                    <a:pt x="543" y="328"/>
                  </a:cubicBezTo>
                  <a:cubicBezTo>
                    <a:pt x="542" y="327"/>
                    <a:pt x="542" y="327"/>
                    <a:pt x="542" y="326"/>
                  </a:cubicBezTo>
                  <a:cubicBezTo>
                    <a:pt x="541" y="324"/>
                    <a:pt x="540" y="323"/>
                    <a:pt x="540" y="321"/>
                  </a:cubicBezTo>
                  <a:cubicBezTo>
                    <a:pt x="538" y="317"/>
                    <a:pt x="536" y="314"/>
                    <a:pt x="535" y="310"/>
                  </a:cubicBezTo>
                  <a:cubicBezTo>
                    <a:pt x="534" y="307"/>
                    <a:pt x="533" y="304"/>
                    <a:pt x="533" y="301"/>
                  </a:cubicBezTo>
                  <a:cubicBezTo>
                    <a:pt x="533" y="299"/>
                    <a:pt x="533" y="298"/>
                    <a:pt x="533" y="296"/>
                  </a:cubicBezTo>
                  <a:cubicBezTo>
                    <a:pt x="532" y="294"/>
                    <a:pt x="532" y="291"/>
                    <a:pt x="531" y="290"/>
                  </a:cubicBezTo>
                  <a:cubicBezTo>
                    <a:pt x="530" y="288"/>
                    <a:pt x="529" y="290"/>
                    <a:pt x="527" y="289"/>
                  </a:cubicBezTo>
                  <a:cubicBezTo>
                    <a:pt x="524" y="288"/>
                    <a:pt x="525" y="285"/>
                    <a:pt x="525" y="282"/>
                  </a:cubicBezTo>
                  <a:cubicBezTo>
                    <a:pt x="525" y="280"/>
                    <a:pt x="525" y="278"/>
                    <a:pt x="525" y="276"/>
                  </a:cubicBezTo>
                  <a:cubicBezTo>
                    <a:pt x="526" y="274"/>
                    <a:pt x="527" y="274"/>
                    <a:pt x="528" y="272"/>
                  </a:cubicBezTo>
                  <a:cubicBezTo>
                    <a:pt x="528" y="271"/>
                    <a:pt x="528" y="269"/>
                    <a:pt x="528" y="268"/>
                  </a:cubicBezTo>
                  <a:cubicBezTo>
                    <a:pt x="529" y="266"/>
                    <a:pt x="529" y="266"/>
                    <a:pt x="530" y="264"/>
                  </a:cubicBezTo>
                  <a:cubicBezTo>
                    <a:pt x="531" y="262"/>
                    <a:pt x="532" y="260"/>
                    <a:pt x="533" y="257"/>
                  </a:cubicBezTo>
                  <a:cubicBezTo>
                    <a:pt x="533" y="255"/>
                    <a:pt x="532" y="254"/>
                    <a:pt x="534" y="253"/>
                  </a:cubicBezTo>
                  <a:cubicBezTo>
                    <a:pt x="534" y="252"/>
                    <a:pt x="535" y="253"/>
                    <a:pt x="535" y="252"/>
                  </a:cubicBezTo>
                  <a:cubicBezTo>
                    <a:pt x="535" y="251"/>
                    <a:pt x="535" y="249"/>
                    <a:pt x="535" y="249"/>
                  </a:cubicBezTo>
                  <a:cubicBezTo>
                    <a:pt x="535" y="247"/>
                    <a:pt x="534" y="247"/>
                    <a:pt x="533" y="245"/>
                  </a:cubicBezTo>
                  <a:cubicBezTo>
                    <a:pt x="532" y="244"/>
                    <a:pt x="531" y="243"/>
                    <a:pt x="530" y="242"/>
                  </a:cubicBezTo>
                  <a:cubicBezTo>
                    <a:pt x="528" y="240"/>
                    <a:pt x="528" y="240"/>
                    <a:pt x="526" y="240"/>
                  </a:cubicBezTo>
                  <a:cubicBezTo>
                    <a:pt x="524" y="239"/>
                    <a:pt x="523" y="237"/>
                    <a:pt x="522" y="235"/>
                  </a:cubicBezTo>
                  <a:cubicBezTo>
                    <a:pt x="520" y="232"/>
                    <a:pt x="520" y="231"/>
                    <a:pt x="516" y="232"/>
                  </a:cubicBezTo>
                  <a:cubicBezTo>
                    <a:pt x="512" y="232"/>
                    <a:pt x="513" y="227"/>
                    <a:pt x="514" y="224"/>
                  </a:cubicBezTo>
                  <a:cubicBezTo>
                    <a:pt x="515" y="223"/>
                    <a:pt x="515" y="221"/>
                    <a:pt x="515" y="219"/>
                  </a:cubicBezTo>
                  <a:cubicBezTo>
                    <a:pt x="516" y="218"/>
                    <a:pt x="518" y="217"/>
                    <a:pt x="520" y="216"/>
                  </a:cubicBezTo>
                  <a:cubicBezTo>
                    <a:pt x="523" y="214"/>
                    <a:pt x="526" y="213"/>
                    <a:pt x="528" y="210"/>
                  </a:cubicBezTo>
                  <a:cubicBezTo>
                    <a:pt x="530" y="209"/>
                    <a:pt x="529" y="210"/>
                    <a:pt x="530" y="208"/>
                  </a:cubicBezTo>
                  <a:cubicBezTo>
                    <a:pt x="531" y="206"/>
                    <a:pt x="531" y="205"/>
                    <a:pt x="532" y="203"/>
                  </a:cubicBezTo>
                  <a:cubicBezTo>
                    <a:pt x="532" y="203"/>
                    <a:pt x="532" y="201"/>
                    <a:pt x="533" y="201"/>
                  </a:cubicBezTo>
                  <a:cubicBezTo>
                    <a:pt x="533" y="200"/>
                    <a:pt x="534" y="200"/>
                    <a:pt x="535" y="199"/>
                  </a:cubicBezTo>
                  <a:cubicBezTo>
                    <a:pt x="536" y="198"/>
                    <a:pt x="537" y="197"/>
                    <a:pt x="539" y="196"/>
                  </a:cubicBezTo>
                  <a:cubicBezTo>
                    <a:pt x="542" y="195"/>
                    <a:pt x="544" y="196"/>
                    <a:pt x="547" y="196"/>
                  </a:cubicBezTo>
                  <a:cubicBezTo>
                    <a:pt x="550" y="195"/>
                    <a:pt x="549" y="195"/>
                    <a:pt x="550" y="193"/>
                  </a:cubicBezTo>
                  <a:cubicBezTo>
                    <a:pt x="551" y="192"/>
                    <a:pt x="552" y="190"/>
                    <a:pt x="552" y="188"/>
                  </a:cubicBezTo>
                  <a:cubicBezTo>
                    <a:pt x="552" y="187"/>
                    <a:pt x="552" y="185"/>
                    <a:pt x="552" y="184"/>
                  </a:cubicBezTo>
                  <a:cubicBezTo>
                    <a:pt x="553" y="183"/>
                    <a:pt x="554" y="182"/>
                    <a:pt x="554" y="181"/>
                  </a:cubicBezTo>
                  <a:cubicBezTo>
                    <a:pt x="555" y="179"/>
                    <a:pt x="555" y="178"/>
                    <a:pt x="555" y="176"/>
                  </a:cubicBezTo>
                  <a:cubicBezTo>
                    <a:pt x="555" y="174"/>
                    <a:pt x="555" y="172"/>
                    <a:pt x="555" y="170"/>
                  </a:cubicBezTo>
                  <a:cubicBezTo>
                    <a:pt x="555" y="168"/>
                    <a:pt x="556" y="164"/>
                    <a:pt x="552" y="165"/>
                  </a:cubicBezTo>
                  <a:cubicBezTo>
                    <a:pt x="551" y="165"/>
                    <a:pt x="551" y="167"/>
                    <a:pt x="550" y="166"/>
                  </a:cubicBezTo>
                  <a:cubicBezTo>
                    <a:pt x="549" y="166"/>
                    <a:pt x="549" y="165"/>
                    <a:pt x="548" y="165"/>
                  </a:cubicBezTo>
                  <a:cubicBezTo>
                    <a:pt x="547" y="163"/>
                    <a:pt x="547" y="163"/>
                    <a:pt x="546" y="161"/>
                  </a:cubicBezTo>
                  <a:cubicBezTo>
                    <a:pt x="546" y="159"/>
                    <a:pt x="547" y="156"/>
                    <a:pt x="547" y="154"/>
                  </a:cubicBezTo>
                  <a:cubicBezTo>
                    <a:pt x="546" y="153"/>
                    <a:pt x="545" y="153"/>
                    <a:pt x="545" y="151"/>
                  </a:cubicBezTo>
                  <a:cubicBezTo>
                    <a:pt x="543" y="149"/>
                    <a:pt x="542" y="145"/>
                    <a:pt x="540" y="142"/>
                  </a:cubicBezTo>
                  <a:cubicBezTo>
                    <a:pt x="538" y="136"/>
                    <a:pt x="537" y="131"/>
                    <a:pt x="534" y="125"/>
                  </a:cubicBezTo>
                  <a:cubicBezTo>
                    <a:pt x="532" y="120"/>
                    <a:pt x="529" y="116"/>
                    <a:pt x="527" y="111"/>
                  </a:cubicBezTo>
                  <a:cubicBezTo>
                    <a:pt x="526" y="108"/>
                    <a:pt x="523" y="106"/>
                    <a:pt x="523" y="102"/>
                  </a:cubicBezTo>
                  <a:cubicBezTo>
                    <a:pt x="523" y="99"/>
                    <a:pt x="523" y="99"/>
                    <a:pt x="524" y="97"/>
                  </a:cubicBezTo>
                  <a:cubicBezTo>
                    <a:pt x="525" y="95"/>
                    <a:pt x="526" y="94"/>
                    <a:pt x="526" y="92"/>
                  </a:cubicBezTo>
                  <a:cubicBezTo>
                    <a:pt x="525" y="88"/>
                    <a:pt x="521" y="85"/>
                    <a:pt x="521" y="81"/>
                  </a:cubicBezTo>
                  <a:cubicBezTo>
                    <a:pt x="520" y="80"/>
                    <a:pt x="521" y="78"/>
                    <a:pt x="521" y="77"/>
                  </a:cubicBezTo>
                  <a:cubicBezTo>
                    <a:pt x="521" y="77"/>
                    <a:pt x="520" y="76"/>
                    <a:pt x="521" y="75"/>
                  </a:cubicBezTo>
                  <a:cubicBezTo>
                    <a:pt x="521" y="74"/>
                    <a:pt x="522" y="75"/>
                    <a:pt x="522" y="74"/>
                  </a:cubicBezTo>
                  <a:cubicBezTo>
                    <a:pt x="523" y="72"/>
                    <a:pt x="523" y="67"/>
                    <a:pt x="522" y="65"/>
                  </a:cubicBezTo>
                  <a:cubicBezTo>
                    <a:pt x="521" y="63"/>
                    <a:pt x="519" y="62"/>
                    <a:pt x="518" y="61"/>
                  </a:cubicBezTo>
                  <a:cubicBezTo>
                    <a:pt x="518" y="60"/>
                    <a:pt x="516" y="59"/>
                    <a:pt x="516" y="57"/>
                  </a:cubicBezTo>
                  <a:cubicBezTo>
                    <a:pt x="516" y="56"/>
                    <a:pt x="516" y="55"/>
                    <a:pt x="516" y="54"/>
                  </a:cubicBezTo>
                  <a:cubicBezTo>
                    <a:pt x="515" y="54"/>
                    <a:pt x="513" y="52"/>
                    <a:pt x="512" y="51"/>
                  </a:cubicBezTo>
                  <a:cubicBezTo>
                    <a:pt x="508" y="49"/>
                    <a:pt x="504" y="50"/>
                    <a:pt x="500" y="49"/>
                  </a:cubicBezTo>
                  <a:cubicBezTo>
                    <a:pt x="495" y="48"/>
                    <a:pt x="491" y="45"/>
                    <a:pt x="486" y="43"/>
                  </a:cubicBezTo>
                  <a:cubicBezTo>
                    <a:pt x="484" y="43"/>
                    <a:pt x="482" y="42"/>
                    <a:pt x="480" y="42"/>
                  </a:cubicBezTo>
                  <a:cubicBezTo>
                    <a:pt x="478" y="42"/>
                    <a:pt x="475" y="42"/>
                    <a:pt x="473" y="42"/>
                  </a:cubicBezTo>
                  <a:cubicBezTo>
                    <a:pt x="466" y="42"/>
                    <a:pt x="460" y="42"/>
                    <a:pt x="453" y="42"/>
                  </a:cubicBezTo>
                  <a:cubicBezTo>
                    <a:pt x="445" y="42"/>
                    <a:pt x="436" y="41"/>
                    <a:pt x="428" y="41"/>
                  </a:cubicBezTo>
                  <a:cubicBezTo>
                    <a:pt x="416" y="41"/>
                    <a:pt x="404" y="42"/>
                    <a:pt x="392" y="41"/>
                  </a:cubicBezTo>
                  <a:cubicBezTo>
                    <a:pt x="375" y="41"/>
                    <a:pt x="359" y="40"/>
                    <a:pt x="343" y="39"/>
                  </a:cubicBezTo>
                  <a:cubicBezTo>
                    <a:pt x="336" y="38"/>
                    <a:pt x="329" y="37"/>
                    <a:pt x="322" y="36"/>
                  </a:cubicBezTo>
                  <a:cubicBezTo>
                    <a:pt x="321" y="35"/>
                    <a:pt x="320" y="35"/>
                    <a:pt x="319" y="35"/>
                  </a:cubicBezTo>
                  <a:cubicBezTo>
                    <a:pt x="319" y="37"/>
                    <a:pt x="317" y="38"/>
                    <a:pt x="315" y="39"/>
                  </a:cubicBezTo>
                  <a:cubicBezTo>
                    <a:pt x="314" y="41"/>
                    <a:pt x="310" y="41"/>
                    <a:pt x="309" y="43"/>
                  </a:cubicBezTo>
                  <a:cubicBezTo>
                    <a:pt x="308" y="45"/>
                    <a:pt x="309" y="46"/>
                    <a:pt x="307" y="48"/>
                  </a:cubicBezTo>
                  <a:cubicBezTo>
                    <a:pt x="306" y="49"/>
                    <a:pt x="303" y="48"/>
                    <a:pt x="301" y="48"/>
                  </a:cubicBezTo>
                  <a:cubicBezTo>
                    <a:pt x="298" y="49"/>
                    <a:pt x="295" y="51"/>
                    <a:pt x="292" y="50"/>
                  </a:cubicBezTo>
                  <a:cubicBezTo>
                    <a:pt x="292" y="49"/>
                    <a:pt x="292" y="48"/>
                    <a:pt x="292" y="47"/>
                  </a:cubicBezTo>
                  <a:cubicBezTo>
                    <a:pt x="293" y="45"/>
                    <a:pt x="296" y="43"/>
                    <a:pt x="296" y="42"/>
                  </a:cubicBezTo>
                  <a:cubicBezTo>
                    <a:pt x="296" y="40"/>
                    <a:pt x="295" y="39"/>
                    <a:pt x="293" y="41"/>
                  </a:cubicBezTo>
                  <a:cubicBezTo>
                    <a:pt x="292" y="41"/>
                    <a:pt x="292" y="44"/>
                    <a:pt x="291" y="44"/>
                  </a:cubicBezTo>
                  <a:cubicBezTo>
                    <a:pt x="290" y="45"/>
                    <a:pt x="289" y="43"/>
                    <a:pt x="287" y="43"/>
                  </a:cubicBezTo>
                  <a:cubicBezTo>
                    <a:pt x="286" y="43"/>
                    <a:pt x="283" y="44"/>
                    <a:pt x="282" y="44"/>
                  </a:cubicBezTo>
                  <a:cubicBezTo>
                    <a:pt x="280" y="44"/>
                    <a:pt x="269" y="46"/>
                    <a:pt x="253" y="35"/>
                  </a:cubicBezTo>
                  <a:cubicBezTo>
                    <a:pt x="252" y="27"/>
                    <a:pt x="252" y="27"/>
                    <a:pt x="252" y="27"/>
                  </a:cubicBezTo>
                  <a:cubicBezTo>
                    <a:pt x="253" y="20"/>
                    <a:pt x="246" y="10"/>
                    <a:pt x="245" y="7"/>
                  </a:cubicBezTo>
                  <a:cubicBezTo>
                    <a:pt x="245" y="5"/>
                    <a:pt x="243" y="3"/>
                    <a:pt x="243" y="1"/>
                  </a:cubicBezTo>
                  <a:cubicBezTo>
                    <a:pt x="237" y="0"/>
                    <a:pt x="230" y="1"/>
                    <a:pt x="225" y="1"/>
                  </a:cubicBezTo>
                  <a:cubicBezTo>
                    <a:pt x="220" y="1"/>
                    <a:pt x="214" y="1"/>
                    <a:pt x="210" y="1"/>
                  </a:cubicBezTo>
                  <a:cubicBezTo>
                    <a:pt x="208" y="1"/>
                    <a:pt x="206" y="1"/>
                    <a:pt x="205" y="2"/>
                  </a:cubicBezTo>
                  <a:cubicBezTo>
                    <a:pt x="202" y="2"/>
                    <a:pt x="201" y="4"/>
                    <a:pt x="199" y="5"/>
                  </a:cubicBezTo>
                  <a:cubicBezTo>
                    <a:pt x="196" y="8"/>
                    <a:pt x="193" y="9"/>
                    <a:pt x="192" y="13"/>
                  </a:cubicBezTo>
                  <a:cubicBezTo>
                    <a:pt x="191" y="13"/>
                    <a:pt x="190" y="13"/>
                    <a:pt x="189" y="13"/>
                  </a:cubicBezTo>
                  <a:cubicBezTo>
                    <a:pt x="188" y="12"/>
                    <a:pt x="187" y="10"/>
                    <a:pt x="187" y="10"/>
                  </a:cubicBezTo>
                  <a:cubicBezTo>
                    <a:pt x="184" y="8"/>
                    <a:pt x="181" y="11"/>
                    <a:pt x="178" y="12"/>
                  </a:cubicBezTo>
                  <a:cubicBezTo>
                    <a:pt x="178" y="12"/>
                    <a:pt x="176" y="12"/>
                    <a:pt x="176" y="12"/>
                  </a:cubicBezTo>
                  <a:cubicBezTo>
                    <a:pt x="174" y="13"/>
                    <a:pt x="174" y="16"/>
                    <a:pt x="172" y="16"/>
                  </a:cubicBezTo>
                  <a:cubicBezTo>
                    <a:pt x="171" y="17"/>
                    <a:pt x="168" y="18"/>
                    <a:pt x="166" y="17"/>
                  </a:cubicBezTo>
                  <a:cubicBezTo>
                    <a:pt x="164" y="17"/>
                    <a:pt x="164" y="16"/>
                    <a:pt x="163" y="15"/>
                  </a:cubicBezTo>
                  <a:cubicBezTo>
                    <a:pt x="162" y="14"/>
                    <a:pt x="157" y="14"/>
                    <a:pt x="156" y="15"/>
                  </a:cubicBezTo>
                  <a:cubicBezTo>
                    <a:pt x="155" y="15"/>
                    <a:pt x="156" y="17"/>
                    <a:pt x="156" y="17"/>
                  </a:cubicBezTo>
                  <a:cubicBezTo>
                    <a:pt x="156" y="18"/>
                    <a:pt x="155" y="18"/>
                    <a:pt x="155" y="19"/>
                  </a:cubicBezTo>
                  <a:cubicBezTo>
                    <a:pt x="152" y="21"/>
                    <a:pt x="148" y="21"/>
                    <a:pt x="145" y="24"/>
                  </a:cubicBezTo>
                  <a:cubicBezTo>
                    <a:pt x="144" y="24"/>
                    <a:pt x="143" y="26"/>
                    <a:pt x="143" y="27"/>
                  </a:cubicBezTo>
                  <a:cubicBezTo>
                    <a:pt x="141" y="28"/>
                    <a:pt x="139" y="30"/>
                    <a:pt x="137" y="32"/>
                  </a:cubicBezTo>
                  <a:cubicBezTo>
                    <a:pt x="135" y="34"/>
                    <a:pt x="135" y="37"/>
                    <a:pt x="133" y="40"/>
                  </a:cubicBezTo>
                  <a:cubicBezTo>
                    <a:pt x="131" y="43"/>
                    <a:pt x="129" y="47"/>
                    <a:pt x="125" y="47"/>
                  </a:cubicBezTo>
                  <a:cubicBezTo>
                    <a:pt x="121" y="47"/>
                    <a:pt x="117" y="47"/>
                    <a:pt x="114" y="50"/>
                  </a:cubicBezTo>
                  <a:cubicBezTo>
                    <a:pt x="113" y="50"/>
                    <a:pt x="113" y="51"/>
                    <a:pt x="112" y="51"/>
                  </a:cubicBezTo>
                  <a:cubicBezTo>
                    <a:pt x="109" y="53"/>
                    <a:pt x="105" y="53"/>
                    <a:pt x="102" y="54"/>
                  </a:cubicBezTo>
                  <a:cubicBezTo>
                    <a:pt x="101" y="54"/>
                    <a:pt x="101" y="54"/>
                    <a:pt x="100" y="55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8"/>
                    <a:pt x="98" y="57"/>
                    <a:pt x="97" y="58"/>
                  </a:cubicBezTo>
                  <a:cubicBezTo>
                    <a:pt x="95" y="58"/>
                    <a:pt x="95" y="59"/>
                    <a:pt x="93" y="59"/>
                  </a:cubicBezTo>
                  <a:cubicBezTo>
                    <a:pt x="88" y="62"/>
                    <a:pt x="83" y="63"/>
                    <a:pt x="77" y="63"/>
                  </a:cubicBezTo>
                  <a:cubicBezTo>
                    <a:pt x="72" y="63"/>
                    <a:pt x="69" y="63"/>
                    <a:pt x="65" y="65"/>
                  </a:cubicBezTo>
                  <a:cubicBezTo>
                    <a:pt x="61" y="67"/>
                    <a:pt x="57" y="69"/>
                    <a:pt x="54" y="71"/>
                  </a:cubicBezTo>
                  <a:cubicBezTo>
                    <a:pt x="50" y="73"/>
                    <a:pt x="46" y="74"/>
                    <a:pt x="43" y="76"/>
                  </a:cubicBezTo>
                  <a:cubicBezTo>
                    <a:pt x="46" y="75"/>
                    <a:pt x="46" y="70"/>
                    <a:pt x="48" y="69"/>
                  </a:cubicBezTo>
                  <a:cubicBezTo>
                    <a:pt x="45" y="68"/>
                    <a:pt x="43" y="68"/>
                    <a:pt x="40" y="70"/>
                  </a:cubicBezTo>
                  <a:cubicBezTo>
                    <a:pt x="39" y="70"/>
                    <a:pt x="38" y="71"/>
                    <a:pt x="38" y="71"/>
                  </a:cubicBezTo>
                  <a:cubicBezTo>
                    <a:pt x="37" y="72"/>
                    <a:pt x="36" y="71"/>
                    <a:pt x="36" y="71"/>
                  </a:cubicBezTo>
                  <a:cubicBezTo>
                    <a:pt x="34" y="72"/>
                    <a:pt x="31" y="72"/>
                    <a:pt x="29" y="73"/>
                  </a:cubicBezTo>
                  <a:cubicBezTo>
                    <a:pt x="29" y="73"/>
                    <a:pt x="28" y="74"/>
                    <a:pt x="27" y="74"/>
                  </a:cubicBezTo>
                  <a:cubicBezTo>
                    <a:pt x="25" y="75"/>
                    <a:pt x="21" y="76"/>
                    <a:pt x="18" y="77"/>
                  </a:cubicBezTo>
                  <a:cubicBezTo>
                    <a:pt x="18" y="77"/>
                    <a:pt x="18" y="78"/>
                    <a:pt x="19" y="78"/>
                  </a:cubicBezTo>
                  <a:cubicBezTo>
                    <a:pt x="19" y="79"/>
                    <a:pt x="20" y="79"/>
                    <a:pt x="20" y="80"/>
                  </a:cubicBezTo>
                  <a:cubicBezTo>
                    <a:pt x="19" y="80"/>
                    <a:pt x="18" y="80"/>
                    <a:pt x="17" y="80"/>
                  </a:cubicBezTo>
                  <a:cubicBezTo>
                    <a:pt x="16" y="80"/>
                    <a:pt x="15" y="80"/>
                    <a:pt x="14" y="81"/>
                  </a:cubicBezTo>
                  <a:cubicBezTo>
                    <a:pt x="12" y="81"/>
                    <a:pt x="11" y="82"/>
                    <a:pt x="9" y="82"/>
                  </a:cubicBezTo>
                  <a:cubicBezTo>
                    <a:pt x="6" y="82"/>
                    <a:pt x="3" y="81"/>
                    <a:pt x="0" y="83"/>
                  </a:cubicBezTo>
                  <a:cubicBezTo>
                    <a:pt x="0" y="84"/>
                    <a:pt x="1" y="85"/>
                    <a:pt x="1" y="85"/>
                  </a:cubicBezTo>
                  <a:cubicBezTo>
                    <a:pt x="1" y="86"/>
                    <a:pt x="1" y="87"/>
                    <a:pt x="1" y="87"/>
                  </a:cubicBezTo>
                  <a:cubicBezTo>
                    <a:pt x="2" y="88"/>
                    <a:pt x="5" y="89"/>
                    <a:pt x="7" y="90"/>
                  </a:cubicBezTo>
                  <a:cubicBezTo>
                    <a:pt x="8" y="91"/>
                    <a:pt x="9" y="92"/>
                    <a:pt x="10" y="93"/>
                  </a:cubicBezTo>
                  <a:cubicBezTo>
                    <a:pt x="11" y="93"/>
                    <a:pt x="14" y="94"/>
                    <a:pt x="16" y="93"/>
                  </a:cubicBezTo>
                  <a:cubicBezTo>
                    <a:pt x="18" y="93"/>
                    <a:pt x="20" y="90"/>
                    <a:pt x="21" y="89"/>
                  </a:cubicBezTo>
                  <a:cubicBezTo>
                    <a:pt x="22" y="88"/>
                    <a:pt x="23" y="93"/>
                    <a:pt x="23" y="94"/>
                  </a:cubicBezTo>
                  <a:cubicBezTo>
                    <a:pt x="23" y="96"/>
                    <a:pt x="22" y="99"/>
                    <a:pt x="23" y="101"/>
                  </a:cubicBezTo>
                  <a:cubicBezTo>
                    <a:pt x="23" y="103"/>
                    <a:pt x="24" y="106"/>
                    <a:pt x="24" y="108"/>
                  </a:cubicBezTo>
                  <a:cubicBezTo>
                    <a:pt x="26" y="113"/>
                    <a:pt x="27" y="117"/>
                    <a:pt x="29" y="122"/>
                  </a:cubicBezTo>
                  <a:cubicBezTo>
                    <a:pt x="30" y="124"/>
                    <a:pt x="32" y="127"/>
                    <a:pt x="33" y="130"/>
                  </a:cubicBezTo>
                  <a:cubicBezTo>
                    <a:pt x="34" y="132"/>
                    <a:pt x="33" y="136"/>
                    <a:pt x="33" y="138"/>
                  </a:cubicBezTo>
                  <a:cubicBezTo>
                    <a:pt x="33" y="141"/>
                    <a:pt x="33" y="143"/>
                    <a:pt x="32" y="145"/>
                  </a:cubicBezTo>
                  <a:cubicBezTo>
                    <a:pt x="31" y="148"/>
                    <a:pt x="30" y="149"/>
                    <a:pt x="28" y="151"/>
                  </a:cubicBezTo>
                  <a:cubicBezTo>
                    <a:pt x="27" y="152"/>
                    <a:pt x="26" y="155"/>
                    <a:pt x="25" y="156"/>
                  </a:cubicBezTo>
                  <a:cubicBezTo>
                    <a:pt x="25" y="156"/>
                    <a:pt x="24" y="156"/>
                    <a:pt x="23" y="157"/>
                  </a:cubicBezTo>
                  <a:cubicBezTo>
                    <a:pt x="23" y="158"/>
                    <a:pt x="22" y="159"/>
                    <a:pt x="22" y="160"/>
                  </a:cubicBezTo>
                  <a:cubicBezTo>
                    <a:pt x="21" y="162"/>
                    <a:pt x="20" y="163"/>
                    <a:pt x="19" y="164"/>
                  </a:cubicBezTo>
                  <a:cubicBezTo>
                    <a:pt x="18" y="166"/>
                    <a:pt x="17" y="168"/>
                    <a:pt x="16" y="170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5" y="172"/>
                    <a:pt x="15" y="172"/>
                  </a:cubicBezTo>
                  <a:cubicBezTo>
                    <a:pt x="15" y="174"/>
                    <a:pt x="17" y="174"/>
                    <a:pt x="17" y="175"/>
                  </a:cubicBezTo>
                  <a:cubicBezTo>
                    <a:pt x="19" y="176"/>
                    <a:pt x="20" y="177"/>
                    <a:pt x="21" y="178"/>
                  </a:cubicBezTo>
                  <a:cubicBezTo>
                    <a:pt x="22" y="180"/>
                    <a:pt x="23" y="181"/>
                    <a:pt x="25" y="182"/>
                  </a:cubicBezTo>
                  <a:cubicBezTo>
                    <a:pt x="26" y="183"/>
                    <a:pt x="27" y="183"/>
                    <a:pt x="28" y="184"/>
                  </a:cubicBezTo>
                  <a:cubicBezTo>
                    <a:pt x="29" y="185"/>
                    <a:pt x="30" y="185"/>
                    <a:pt x="31" y="187"/>
                  </a:cubicBezTo>
                  <a:cubicBezTo>
                    <a:pt x="33" y="188"/>
                    <a:pt x="33" y="190"/>
                    <a:pt x="34" y="192"/>
                  </a:cubicBezTo>
                  <a:cubicBezTo>
                    <a:pt x="34" y="192"/>
                    <a:pt x="34" y="193"/>
                    <a:pt x="34" y="193"/>
                  </a:cubicBezTo>
                  <a:cubicBezTo>
                    <a:pt x="36" y="196"/>
                    <a:pt x="40" y="196"/>
                    <a:pt x="41" y="199"/>
                  </a:cubicBezTo>
                  <a:cubicBezTo>
                    <a:pt x="41" y="200"/>
                    <a:pt x="40" y="202"/>
                    <a:pt x="40" y="203"/>
                  </a:cubicBezTo>
                  <a:cubicBezTo>
                    <a:pt x="40" y="204"/>
                    <a:pt x="40" y="205"/>
                    <a:pt x="39" y="206"/>
                  </a:cubicBezTo>
                  <a:cubicBezTo>
                    <a:pt x="39" y="208"/>
                    <a:pt x="38" y="208"/>
                    <a:pt x="37" y="210"/>
                  </a:cubicBezTo>
                  <a:cubicBezTo>
                    <a:pt x="36" y="211"/>
                    <a:pt x="36" y="210"/>
                    <a:pt x="37" y="212"/>
                  </a:cubicBezTo>
                  <a:cubicBezTo>
                    <a:pt x="37" y="214"/>
                    <a:pt x="37" y="215"/>
                    <a:pt x="37" y="217"/>
                  </a:cubicBezTo>
                  <a:cubicBezTo>
                    <a:pt x="37" y="218"/>
                    <a:pt x="38" y="221"/>
                    <a:pt x="38" y="222"/>
                  </a:cubicBezTo>
                  <a:cubicBezTo>
                    <a:pt x="39" y="223"/>
                    <a:pt x="39" y="223"/>
                    <a:pt x="39" y="223"/>
                  </a:cubicBezTo>
                  <a:cubicBezTo>
                    <a:pt x="40" y="223"/>
                    <a:pt x="40" y="224"/>
                    <a:pt x="40" y="224"/>
                  </a:cubicBezTo>
                  <a:cubicBezTo>
                    <a:pt x="40" y="224"/>
                    <a:pt x="41" y="224"/>
                    <a:pt x="42" y="225"/>
                  </a:cubicBezTo>
                  <a:cubicBezTo>
                    <a:pt x="42" y="225"/>
                    <a:pt x="42" y="227"/>
                    <a:pt x="42" y="227"/>
                  </a:cubicBezTo>
                  <a:cubicBezTo>
                    <a:pt x="42" y="229"/>
                    <a:pt x="43" y="230"/>
                    <a:pt x="43" y="231"/>
                  </a:cubicBezTo>
                  <a:cubicBezTo>
                    <a:pt x="43" y="232"/>
                    <a:pt x="42" y="232"/>
                    <a:pt x="43" y="233"/>
                  </a:cubicBezTo>
                  <a:cubicBezTo>
                    <a:pt x="43" y="234"/>
                    <a:pt x="46" y="235"/>
                    <a:pt x="46" y="236"/>
                  </a:cubicBezTo>
                  <a:cubicBezTo>
                    <a:pt x="49" y="238"/>
                    <a:pt x="47" y="241"/>
                    <a:pt x="47" y="244"/>
                  </a:cubicBezTo>
                  <a:cubicBezTo>
                    <a:pt x="46" y="247"/>
                    <a:pt x="46" y="249"/>
                    <a:pt x="46" y="252"/>
                  </a:cubicBezTo>
                  <a:cubicBezTo>
                    <a:pt x="46" y="252"/>
                    <a:pt x="46" y="252"/>
                    <a:pt x="46" y="253"/>
                  </a:cubicBezTo>
                  <a:cubicBezTo>
                    <a:pt x="45" y="255"/>
                    <a:pt x="43" y="255"/>
                    <a:pt x="41" y="255"/>
                  </a:cubicBezTo>
                  <a:cubicBezTo>
                    <a:pt x="37" y="256"/>
                    <a:pt x="38" y="257"/>
                    <a:pt x="38" y="260"/>
                  </a:cubicBezTo>
                  <a:cubicBezTo>
                    <a:pt x="38" y="261"/>
                    <a:pt x="38" y="264"/>
                    <a:pt x="38" y="265"/>
                  </a:cubicBezTo>
                  <a:cubicBezTo>
                    <a:pt x="39" y="266"/>
                    <a:pt x="40" y="265"/>
                    <a:pt x="41" y="265"/>
                  </a:cubicBezTo>
                  <a:cubicBezTo>
                    <a:pt x="40" y="265"/>
                    <a:pt x="39" y="266"/>
                    <a:pt x="38" y="267"/>
                  </a:cubicBezTo>
                  <a:cubicBezTo>
                    <a:pt x="39" y="269"/>
                    <a:pt x="41" y="271"/>
                    <a:pt x="42" y="273"/>
                  </a:cubicBezTo>
                  <a:cubicBezTo>
                    <a:pt x="42" y="273"/>
                    <a:pt x="42" y="274"/>
                    <a:pt x="42" y="274"/>
                  </a:cubicBezTo>
                  <a:cubicBezTo>
                    <a:pt x="42" y="275"/>
                    <a:pt x="43" y="275"/>
                    <a:pt x="43" y="275"/>
                  </a:cubicBezTo>
                  <a:cubicBezTo>
                    <a:pt x="43" y="275"/>
                    <a:pt x="44" y="277"/>
                    <a:pt x="44" y="276"/>
                  </a:cubicBezTo>
                  <a:cubicBezTo>
                    <a:pt x="44" y="278"/>
                    <a:pt x="45" y="280"/>
                    <a:pt x="45" y="282"/>
                  </a:cubicBezTo>
                  <a:cubicBezTo>
                    <a:pt x="45" y="283"/>
                    <a:pt x="44" y="283"/>
                    <a:pt x="44" y="284"/>
                  </a:cubicBezTo>
                  <a:cubicBezTo>
                    <a:pt x="44" y="284"/>
                    <a:pt x="43" y="284"/>
                    <a:pt x="43" y="284"/>
                  </a:cubicBezTo>
                  <a:cubicBezTo>
                    <a:pt x="43" y="285"/>
                    <a:pt x="42" y="285"/>
                    <a:pt x="41" y="285"/>
                  </a:cubicBezTo>
                  <a:cubicBezTo>
                    <a:pt x="40" y="286"/>
                    <a:pt x="41" y="287"/>
                    <a:pt x="42" y="288"/>
                  </a:cubicBezTo>
                  <a:cubicBezTo>
                    <a:pt x="42" y="288"/>
                    <a:pt x="42" y="288"/>
                    <a:pt x="43" y="289"/>
                  </a:cubicBezTo>
                  <a:cubicBezTo>
                    <a:pt x="45" y="290"/>
                    <a:pt x="46" y="291"/>
                    <a:pt x="47" y="292"/>
                  </a:cubicBezTo>
                  <a:cubicBezTo>
                    <a:pt x="48" y="293"/>
                    <a:pt x="50" y="293"/>
                    <a:pt x="51" y="294"/>
                  </a:cubicBezTo>
                  <a:cubicBezTo>
                    <a:pt x="52" y="295"/>
                    <a:pt x="52" y="295"/>
                    <a:pt x="53" y="296"/>
                  </a:cubicBezTo>
                  <a:cubicBezTo>
                    <a:pt x="54" y="298"/>
                    <a:pt x="54" y="299"/>
                    <a:pt x="54" y="301"/>
                  </a:cubicBezTo>
                  <a:cubicBezTo>
                    <a:pt x="55" y="302"/>
                    <a:pt x="55" y="303"/>
                    <a:pt x="55" y="303"/>
                  </a:cubicBezTo>
                  <a:cubicBezTo>
                    <a:pt x="55" y="304"/>
                    <a:pt x="56" y="304"/>
                    <a:pt x="56" y="304"/>
                  </a:cubicBezTo>
                  <a:cubicBezTo>
                    <a:pt x="57" y="305"/>
                    <a:pt x="58" y="306"/>
                    <a:pt x="58" y="307"/>
                  </a:cubicBezTo>
                  <a:cubicBezTo>
                    <a:pt x="59" y="308"/>
                    <a:pt x="59" y="309"/>
                    <a:pt x="60" y="310"/>
                  </a:cubicBezTo>
                  <a:cubicBezTo>
                    <a:pt x="60" y="312"/>
                    <a:pt x="60" y="311"/>
                    <a:pt x="60" y="313"/>
                  </a:cubicBezTo>
                  <a:cubicBezTo>
                    <a:pt x="59" y="315"/>
                    <a:pt x="59" y="317"/>
                    <a:pt x="58" y="319"/>
                  </a:cubicBezTo>
                  <a:cubicBezTo>
                    <a:pt x="57" y="321"/>
                    <a:pt x="57" y="322"/>
                    <a:pt x="57" y="324"/>
                  </a:cubicBezTo>
                  <a:cubicBezTo>
                    <a:pt x="56" y="326"/>
                    <a:pt x="57" y="328"/>
                    <a:pt x="56" y="330"/>
                  </a:cubicBezTo>
                  <a:cubicBezTo>
                    <a:pt x="56" y="332"/>
                    <a:pt x="54" y="333"/>
                    <a:pt x="54" y="336"/>
                  </a:cubicBezTo>
                  <a:cubicBezTo>
                    <a:pt x="54" y="337"/>
                    <a:pt x="54" y="337"/>
                    <a:pt x="54" y="338"/>
                  </a:cubicBezTo>
                  <a:cubicBezTo>
                    <a:pt x="56" y="338"/>
                    <a:pt x="59" y="338"/>
                    <a:pt x="61" y="338"/>
                  </a:cubicBezTo>
                  <a:cubicBezTo>
                    <a:pt x="65" y="338"/>
                    <a:pt x="68" y="338"/>
                    <a:pt x="72" y="338"/>
                  </a:cubicBezTo>
                  <a:cubicBezTo>
                    <a:pt x="75" y="338"/>
                    <a:pt x="75" y="338"/>
                    <a:pt x="76" y="340"/>
                  </a:cubicBezTo>
                  <a:cubicBezTo>
                    <a:pt x="76" y="340"/>
                    <a:pt x="77" y="340"/>
                    <a:pt x="77" y="341"/>
                  </a:cubicBezTo>
                  <a:cubicBezTo>
                    <a:pt x="78" y="341"/>
                    <a:pt x="78" y="341"/>
                    <a:pt x="78" y="342"/>
                  </a:cubicBezTo>
                  <a:cubicBezTo>
                    <a:pt x="78" y="342"/>
                    <a:pt x="79" y="343"/>
                    <a:pt x="79" y="343"/>
                  </a:cubicBezTo>
                  <a:cubicBezTo>
                    <a:pt x="81" y="346"/>
                    <a:pt x="82" y="348"/>
                    <a:pt x="84" y="350"/>
                  </a:cubicBezTo>
                  <a:cubicBezTo>
                    <a:pt x="85" y="352"/>
                    <a:pt x="86" y="355"/>
                    <a:pt x="88" y="356"/>
                  </a:cubicBezTo>
                  <a:cubicBezTo>
                    <a:pt x="89" y="356"/>
                    <a:pt x="90" y="356"/>
                    <a:pt x="91" y="356"/>
                  </a:cubicBezTo>
                  <a:cubicBezTo>
                    <a:pt x="93" y="356"/>
                    <a:pt x="95" y="358"/>
                    <a:pt x="97" y="358"/>
                  </a:cubicBezTo>
                  <a:cubicBezTo>
                    <a:pt x="99" y="359"/>
                    <a:pt x="102" y="361"/>
                    <a:pt x="104" y="362"/>
                  </a:cubicBezTo>
                  <a:cubicBezTo>
                    <a:pt x="106" y="362"/>
                    <a:pt x="107" y="363"/>
                    <a:pt x="108" y="363"/>
                  </a:cubicBezTo>
                  <a:cubicBezTo>
                    <a:pt x="110" y="364"/>
                    <a:pt x="111" y="364"/>
                    <a:pt x="113" y="365"/>
                  </a:cubicBezTo>
                  <a:cubicBezTo>
                    <a:pt x="114" y="365"/>
                    <a:pt x="114" y="366"/>
                    <a:pt x="115" y="366"/>
                  </a:cubicBezTo>
                  <a:cubicBezTo>
                    <a:pt x="116" y="367"/>
                    <a:pt x="117" y="366"/>
                    <a:pt x="118" y="367"/>
                  </a:cubicBezTo>
                  <a:cubicBezTo>
                    <a:pt x="118" y="367"/>
                    <a:pt x="119" y="368"/>
                    <a:pt x="120" y="369"/>
                  </a:cubicBezTo>
                  <a:cubicBezTo>
                    <a:pt x="120" y="369"/>
                    <a:pt x="122" y="369"/>
                    <a:pt x="122" y="369"/>
                  </a:cubicBezTo>
                  <a:cubicBezTo>
                    <a:pt x="124" y="370"/>
                    <a:pt x="125" y="370"/>
                    <a:pt x="127" y="370"/>
                  </a:cubicBezTo>
                  <a:cubicBezTo>
                    <a:pt x="129" y="370"/>
                    <a:pt x="131" y="369"/>
                    <a:pt x="133" y="370"/>
                  </a:cubicBezTo>
                  <a:cubicBezTo>
                    <a:pt x="135" y="370"/>
                    <a:pt x="135" y="370"/>
                    <a:pt x="136" y="371"/>
                  </a:cubicBezTo>
                  <a:cubicBezTo>
                    <a:pt x="138" y="372"/>
                    <a:pt x="137" y="370"/>
                    <a:pt x="138" y="372"/>
                  </a:cubicBezTo>
                  <a:cubicBezTo>
                    <a:pt x="138" y="372"/>
                    <a:pt x="138" y="374"/>
                    <a:pt x="138" y="375"/>
                  </a:cubicBezTo>
                  <a:cubicBezTo>
                    <a:pt x="137" y="376"/>
                    <a:pt x="136" y="377"/>
                    <a:pt x="136" y="378"/>
                  </a:cubicBezTo>
                  <a:cubicBezTo>
                    <a:pt x="135" y="379"/>
                    <a:pt x="134" y="380"/>
                    <a:pt x="133" y="381"/>
                  </a:cubicBezTo>
                  <a:cubicBezTo>
                    <a:pt x="132" y="382"/>
                    <a:pt x="130" y="383"/>
                    <a:pt x="129" y="385"/>
                  </a:cubicBezTo>
                  <a:cubicBezTo>
                    <a:pt x="128" y="386"/>
                    <a:pt x="128" y="388"/>
                    <a:pt x="128" y="389"/>
                  </a:cubicBezTo>
                  <a:cubicBezTo>
                    <a:pt x="129" y="392"/>
                    <a:pt x="131" y="392"/>
                    <a:pt x="133" y="393"/>
                  </a:cubicBezTo>
                  <a:cubicBezTo>
                    <a:pt x="135" y="394"/>
                    <a:pt x="136" y="395"/>
                    <a:pt x="137" y="396"/>
                  </a:cubicBezTo>
                  <a:cubicBezTo>
                    <a:pt x="138" y="397"/>
                    <a:pt x="139" y="397"/>
                    <a:pt x="140" y="398"/>
                  </a:cubicBezTo>
                  <a:cubicBezTo>
                    <a:pt x="140" y="398"/>
                    <a:pt x="141" y="400"/>
                    <a:pt x="141" y="400"/>
                  </a:cubicBezTo>
                  <a:cubicBezTo>
                    <a:pt x="142" y="401"/>
                    <a:pt x="142" y="401"/>
                    <a:pt x="143" y="402"/>
                  </a:cubicBezTo>
                  <a:cubicBezTo>
                    <a:pt x="144" y="404"/>
                    <a:pt x="145" y="405"/>
                    <a:pt x="145" y="407"/>
                  </a:cubicBezTo>
                  <a:cubicBezTo>
                    <a:pt x="145" y="409"/>
                    <a:pt x="146" y="410"/>
                    <a:pt x="147" y="412"/>
                  </a:cubicBezTo>
                  <a:cubicBezTo>
                    <a:pt x="148" y="413"/>
                    <a:pt x="148" y="414"/>
                    <a:pt x="149" y="415"/>
                  </a:cubicBezTo>
                  <a:cubicBezTo>
                    <a:pt x="152" y="417"/>
                    <a:pt x="154" y="415"/>
                    <a:pt x="156" y="413"/>
                  </a:cubicBezTo>
                  <a:cubicBezTo>
                    <a:pt x="156" y="412"/>
                    <a:pt x="157" y="412"/>
                    <a:pt x="157" y="412"/>
                  </a:cubicBezTo>
                  <a:cubicBezTo>
                    <a:pt x="158" y="410"/>
                    <a:pt x="158" y="411"/>
                    <a:pt x="160" y="410"/>
                  </a:cubicBezTo>
                  <a:cubicBezTo>
                    <a:pt x="162" y="408"/>
                    <a:pt x="161" y="407"/>
                    <a:pt x="163" y="406"/>
                  </a:cubicBezTo>
                  <a:cubicBezTo>
                    <a:pt x="164" y="405"/>
                    <a:pt x="165" y="405"/>
                    <a:pt x="166" y="405"/>
                  </a:cubicBezTo>
                  <a:cubicBezTo>
                    <a:pt x="167" y="404"/>
                    <a:pt x="169" y="403"/>
                    <a:pt x="171" y="403"/>
                  </a:cubicBezTo>
                  <a:cubicBezTo>
                    <a:pt x="173" y="402"/>
                    <a:pt x="174" y="402"/>
                    <a:pt x="174" y="400"/>
                  </a:cubicBezTo>
                  <a:cubicBezTo>
                    <a:pt x="173" y="397"/>
                    <a:pt x="171" y="397"/>
                    <a:pt x="169" y="395"/>
                  </a:cubicBezTo>
                  <a:cubicBezTo>
                    <a:pt x="168" y="394"/>
                    <a:pt x="168" y="394"/>
                    <a:pt x="167" y="393"/>
                  </a:cubicBezTo>
                  <a:cubicBezTo>
                    <a:pt x="166" y="391"/>
                    <a:pt x="165" y="390"/>
                    <a:pt x="165" y="388"/>
                  </a:cubicBezTo>
                  <a:cubicBezTo>
                    <a:pt x="169" y="388"/>
                    <a:pt x="174" y="388"/>
                    <a:pt x="177" y="390"/>
                  </a:cubicBezTo>
                  <a:cubicBezTo>
                    <a:pt x="177" y="390"/>
                    <a:pt x="178" y="391"/>
                    <a:pt x="177" y="392"/>
                  </a:cubicBezTo>
                  <a:cubicBezTo>
                    <a:pt x="179" y="393"/>
                    <a:pt x="179" y="392"/>
                    <a:pt x="180" y="393"/>
                  </a:cubicBezTo>
                  <a:cubicBezTo>
                    <a:pt x="181" y="394"/>
                    <a:pt x="183" y="395"/>
                    <a:pt x="184" y="395"/>
                  </a:cubicBezTo>
                  <a:cubicBezTo>
                    <a:pt x="184" y="397"/>
                    <a:pt x="185" y="397"/>
                    <a:pt x="187" y="398"/>
                  </a:cubicBezTo>
                  <a:cubicBezTo>
                    <a:pt x="189" y="398"/>
                    <a:pt x="190" y="400"/>
                    <a:pt x="191" y="400"/>
                  </a:cubicBezTo>
                  <a:cubicBezTo>
                    <a:pt x="192" y="401"/>
                    <a:pt x="192" y="400"/>
                    <a:pt x="193" y="401"/>
                  </a:cubicBezTo>
                  <a:cubicBezTo>
                    <a:pt x="194" y="401"/>
                    <a:pt x="193" y="402"/>
                    <a:pt x="194" y="402"/>
                  </a:cubicBezTo>
                  <a:cubicBezTo>
                    <a:pt x="196" y="403"/>
                    <a:pt x="200" y="402"/>
                    <a:pt x="201" y="402"/>
                  </a:cubicBezTo>
                  <a:cubicBezTo>
                    <a:pt x="204" y="402"/>
                    <a:pt x="208" y="399"/>
                    <a:pt x="210" y="402"/>
                  </a:cubicBezTo>
                  <a:cubicBezTo>
                    <a:pt x="210" y="403"/>
                    <a:pt x="210" y="406"/>
                    <a:pt x="210" y="407"/>
                  </a:cubicBezTo>
                  <a:cubicBezTo>
                    <a:pt x="209" y="409"/>
                    <a:pt x="207" y="409"/>
                    <a:pt x="206" y="411"/>
                  </a:cubicBezTo>
                  <a:cubicBezTo>
                    <a:pt x="206" y="412"/>
                    <a:pt x="207" y="413"/>
                    <a:pt x="208" y="414"/>
                  </a:cubicBezTo>
                  <a:cubicBezTo>
                    <a:pt x="209" y="415"/>
                    <a:pt x="210" y="417"/>
                    <a:pt x="212" y="417"/>
                  </a:cubicBezTo>
                  <a:cubicBezTo>
                    <a:pt x="213" y="418"/>
                    <a:pt x="214" y="420"/>
                    <a:pt x="215" y="421"/>
                  </a:cubicBezTo>
                  <a:cubicBezTo>
                    <a:pt x="217" y="422"/>
                    <a:pt x="219" y="421"/>
                    <a:pt x="220" y="421"/>
                  </a:cubicBezTo>
                  <a:cubicBezTo>
                    <a:pt x="221" y="422"/>
                    <a:pt x="221" y="422"/>
                    <a:pt x="222" y="423"/>
                  </a:cubicBezTo>
                  <a:cubicBezTo>
                    <a:pt x="222" y="423"/>
                    <a:pt x="222" y="423"/>
                    <a:pt x="223" y="423"/>
                  </a:cubicBezTo>
                  <a:cubicBezTo>
                    <a:pt x="225" y="424"/>
                    <a:pt x="226" y="423"/>
                    <a:pt x="227" y="424"/>
                  </a:cubicBezTo>
                  <a:cubicBezTo>
                    <a:pt x="229" y="424"/>
                    <a:pt x="229" y="425"/>
                    <a:pt x="231" y="426"/>
                  </a:cubicBezTo>
                  <a:cubicBezTo>
                    <a:pt x="233" y="426"/>
                    <a:pt x="235" y="426"/>
                    <a:pt x="237" y="427"/>
                  </a:cubicBezTo>
                  <a:cubicBezTo>
                    <a:pt x="239" y="427"/>
                    <a:pt x="240" y="428"/>
                    <a:pt x="243" y="428"/>
                  </a:cubicBezTo>
                  <a:cubicBezTo>
                    <a:pt x="243" y="429"/>
                    <a:pt x="243" y="429"/>
                    <a:pt x="243" y="429"/>
                  </a:cubicBezTo>
                  <a:cubicBezTo>
                    <a:pt x="245" y="429"/>
                    <a:pt x="247" y="430"/>
                    <a:pt x="249" y="431"/>
                  </a:cubicBezTo>
                  <a:cubicBezTo>
                    <a:pt x="253" y="433"/>
                    <a:pt x="256" y="433"/>
                    <a:pt x="260" y="434"/>
                  </a:cubicBezTo>
                  <a:cubicBezTo>
                    <a:pt x="257" y="440"/>
                    <a:pt x="259" y="446"/>
                    <a:pt x="264" y="449"/>
                  </a:cubicBezTo>
                  <a:cubicBezTo>
                    <a:pt x="267" y="451"/>
                    <a:pt x="269" y="452"/>
                    <a:pt x="269" y="455"/>
                  </a:cubicBezTo>
                  <a:cubicBezTo>
                    <a:pt x="269" y="457"/>
                    <a:pt x="269" y="459"/>
                    <a:pt x="269" y="460"/>
                  </a:cubicBezTo>
                  <a:cubicBezTo>
                    <a:pt x="268" y="462"/>
                    <a:pt x="267" y="463"/>
                    <a:pt x="268" y="465"/>
                  </a:cubicBezTo>
                  <a:cubicBezTo>
                    <a:pt x="268" y="465"/>
                    <a:pt x="269" y="465"/>
                    <a:pt x="270" y="465"/>
                  </a:cubicBezTo>
                  <a:cubicBezTo>
                    <a:pt x="271" y="465"/>
                    <a:pt x="271" y="465"/>
                    <a:pt x="271" y="466"/>
                  </a:cubicBezTo>
                  <a:cubicBezTo>
                    <a:pt x="272" y="467"/>
                    <a:pt x="272" y="469"/>
                    <a:pt x="272" y="470"/>
                  </a:cubicBezTo>
                  <a:cubicBezTo>
                    <a:pt x="273" y="473"/>
                    <a:pt x="272" y="475"/>
                    <a:pt x="276" y="475"/>
                  </a:cubicBezTo>
                  <a:cubicBezTo>
                    <a:pt x="279" y="476"/>
                    <a:pt x="283" y="476"/>
                    <a:pt x="286" y="475"/>
                  </a:cubicBezTo>
                  <a:cubicBezTo>
                    <a:pt x="290" y="475"/>
                    <a:pt x="289" y="473"/>
                    <a:pt x="289" y="469"/>
                  </a:cubicBezTo>
                  <a:cubicBezTo>
                    <a:pt x="290" y="466"/>
                    <a:pt x="291" y="465"/>
                    <a:pt x="294" y="464"/>
                  </a:cubicBezTo>
                  <a:cubicBezTo>
                    <a:pt x="296" y="464"/>
                    <a:pt x="296" y="463"/>
                    <a:pt x="298" y="463"/>
                  </a:cubicBezTo>
                  <a:cubicBezTo>
                    <a:pt x="298" y="463"/>
                    <a:pt x="299" y="463"/>
                    <a:pt x="299" y="462"/>
                  </a:cubicBezTo>
                  <a:cubicBezTo>
                    <a:pt x="301" y="462"/>
                    <a:pt x="301" y="461"/>
                    <a:pt x="302" y="460"/>
                  </a:cubicBezTo>
                  <a:cubicBezTo>
                    <a:pt x="304" y="458"/>
                    <a:pt x="307" y="460"/>
                    <a:pt x="307" y="463"/>
                  </a:cubicBezTo>
                  <a:cubicBezTo>
                    <a:pt x="307" y="464"/>
                    <a:pt x="307" y="465"/>
                    <a:pt x="308" y="466"/>
                  </a:cubicBezTo>
                  <a:cubicBezTo>
                    <a:pt x="309" y="467"/>
                    <a:pt x="311" y="466"/>
                    <a:pt x="311" y="468"/>
                  </a:cubicBezTo>
                  <a:cubicBezTo>
                    <a:pt x="312" y="468"/>
                    <a:pt x="315" y="470"/>
                    <a:pt x="315" y="471"/>
                  </a:cubicBezTo>
                  <a:cubicBezTo>
                    <a:pt x="316" y="472"/>
                    <a:pt x="316" y="473"/>
                    <a:pt x="316" y="473"/>
                  </a:cubicBezTo>
                  <a:cubicBezTo>
                    <a:pt x="317" y="474"/>
                    <a:pt x="318" y="475"/>
                    <a:pt x="318" y="476"/>
                  </a:cubicBezTo>
                  <a:cubicBezTo>
                    <a:pt x="319" y="477"/>
                    <a:pt x="319" y="477"/>
                    <a:pt x="319" y="479"/>
                  </a:cubicBezTo>
                  <a:cubicBezTo>
                    <a:pt x="319" y="481"/>
                    <a:pt x="319" y="483"/>
                    <a:pt x="319" y="485"/>
                  </a:cubicBezTo>
                  <a:cubicBezTo>
                    <a:pt x="319" y="487"/>
                    <a:pt x="319" y="486"/>
                    <a:pt x="321" y="487"/>
                  </a:cubicBezTo>
                  <a:cubicBezTo>
                    <a:pt x="321" y="488"/>
                    <a:pt x="322" y="488"/>
                    <a:pt x="323" y="488"/>
                  </a:cubicBezTo>
                  <a:cubicBezTo>
                    <a:pt x="323" y="489"/>
                    <a:pt x="324" y="490"/>
                    <a:pt x="325" y="490"/>
                  </a:cubicBezTo>
                  <a:cubicBezTo>
                    <a:pt x="326" y="491"/>
                    <a:pt x="326" y="491"/>
                    <a:pt x="327" y="491"/>
                  </a:cubicBezTo>
                  <a:cubicBezTo>
                    <a:pt x="328" y="491"/>
                    <a:pt x="329" y="492"/>
                    <a:pt x="329" y="493"/>
                  </a:cubicBezTo>
                  <a:cubicBezTo>
                    <a:pt x="331" y="493"/>
                    <a:pt x="333" y="493"/>
                    <a:pt x="334" y="493"/>
                  </a:cubicBezTo>
                  <a:cubicBezTo>
                    <a:pt x="334" y="491"/>
                    <a:pt x="334" y="490"/>
                    <a:pt x="334" y="488"/>
                  </a:cubicBezTo>
                  <a:cubicBezTo>
                    <a:pt x="334" y="485"/>
                    <a:pt x="335" y="484"/>
                    <a:pt x="338" y="483"/>
                  </a:cubicBezTo>
                  <a:cubicBezTo>
                    <a:pt x="341" y="480"/>
                    <a:pt x="345" y="482"/>
                    <a:pt x="349" y="481"/>
                  </a:cubicBezTo>
                  <a:cubicBezTo>
                    <a:pt x="350" y="479"/>
                    <a:pt x="349" y="478"/>
                    <a:pt x="349" y="476"/>
                  </a:cubicBezTo>
                  <a:cubicBezTo>
                    <a:pt x="351" y="476"/>
                    <a:pt x="354" y="476"/>
                    <a:pt x="356" y="476"/>
                  </a:cubicBezTo>
                  <a:cubicBezTo>
                    <a:pt x="359" y="476"/>
                    <a:pt x="361" y="473"/>
                    <a:pt x="365" y="473"/>
                  </a:cubicBezTo>
                  <a:cubicBezTo>
                    <a:pt x="366" y="474"/>
                    <a:pt x="366" y="475"/>
                    <a:pt x="368" y="475"/>
                  </a:cubicBezTo>
                  <a:cubicBezTo>
                    <a:pt x="369" y="476"/>
                    <a:pt x="370" y="475"/>
                    <a:pt x="371" y="475"/>
                  </a:cubicBezTo>
                  <a:cubicBezTo>
                    <a:pt x="373" y="476"/>
                    <a:pt x="374" y="479"/>
                    <a:pt x="376" y="480"/>
                  </a:cubicBezTo>
                  <a:cubicBezTo>
                    <a:pt x="376" y="480"/>
                    <a:pt x="378" y="480"/>
                    <a:pt x="378" y="480"/>
                  </a:cubicBezTo>
                  <a:cubicBezTo>
                    <a:pt x="379" y="481"/>
                    <a:pt x="380" y="481"/>
                    <a:pt x="381" y="481"/>
                  </a:cubicBezTo>
                  <a:cubicBezTo>
                    <a:pt x="381" y="482"/>
                    <a:pt x="381" y="483"/>
                    <a:pt x="382" y="483"/>
                  </a:cubicBezTo>
                  <a:cubicBezTo>
                    <a:pt x="382" y="483"/>
                    <a:pt x="385" y="483"/>
                    <a:pt x="385" y="483"/>
                  </a:cubicBezTo>
                  <a:cubicBezTo>
                    <a:pt x="386" y="483"/>
                    <a:pt x="389" y="481"/>
                    <a:pt x="389" y="480"/>
                  </a:cubicBezTo>
                  <a:cubicBezTo>
                    <a:pt x="390" y="478"/>
                    <a:pt x="389" y="477"/>
                    <a:pt x="390" y="475"/>
                  </a:cubicBezTo>
                  <a:cubicBezTo>
                    <a:pt x="391" y="474"/>
                    <a:pt x="392" y="473"/>
                    <a:pt x="393" y="473"/>
                  </a:cubicBezTo>
                  <a:cubicBezTo>
                    <a:pt x="395" y="473"/>
                    <a:pt x="398" y="475"/>
                    <a:pt x="399" y="471"/>
                  </a:cubicBezTo>
                  <a:cubicBezTo>
                    <a:pt x="399" y="471"/>
                    <a:pt x="400" y="470"/>
                    <a:pt x="401" y="470"/>
                  </a:cubicBezTo>
                  <a:cubicBezTo>
                    <a:pt x="402" y="470"/>
                    <a:pt x="402" y="471"/>
                    <a:pt x="403" y="471"/>
                  </a:cubicBezTo>
                  <a:cubicBezTo>
                    <a:pt x="405" y="471"/>
                    <a:pt x="408" y="471"/>
                    <a:pt x="410" y="471"/>
                  </a:cubicBezTo>
                  <a:cubicBezTo>
                    <a:pt x="413" y="472"/>
                    <a:pt x="417" y="473"/>
                    <a:pt x="420" y="474"/>
                  </a:cubicBezTo>
                  <a:cubicBezTo>
                    <a:pt x="422" y="475"/>
                    <a:pt x="423" y="476"/>
                    <a:pt x="425" y="477"/>
                  </a:cubicBezTo>
                  <a:cubicBezTo>
                    <a:pt x="426" y="478"/>
                    <a:pt x="425" y="478"/>
                    <a:pt x="427" y="479"/>
                  </a:cubicBezTo>
                  <a:cubicBezTo>
                    <a:pt x="428" y="479"/>
                    <a:pt x="429" y="478"/>
                    <a:pt x="430" y="478"/>
                  </a:cubicBezTo>
                  <a:cubicBezTo>
                    <a:pt x="431" y="479"/>
                    <a:pt x="432" y="480"/>
                    <a:pt x="433" y="481"/>
                  </a:cubicBezTo>
                  <a:cubicBezTo>
                    <a:pt x="433" y="482"/>
                    <a:pt x="433" y="482"/>
                    <a:pt x="434" y="483"/>
                  </a:cubicBezTo>
                  <a:cubicBezTo>
                    <a:pt x="434" y="483"/>
                    <a:pt x="435" y="485"/>
                    <a:pt x="435" y="485"/>
                  </a:cubicBezTo>
                  <a:cubicBezTo>
                    <a:pt x="436" y="485"/>
                    <a:pt x="436" y="485"/>
                    <a:pt x="437" y="485"/>
                  </a:cubicBezTo>
                  <a:cubicBezTo>
                    <a:pt x="439" y="486"/>
                    <a:pt x="441" y="487"/>
                    <a:pt x="442" y="488"/>
                  </a:cubicBezTo>
                  <a:cubicBezTo>
                    <a:pt x="444" y="489"/>
                    <a:pt x="444" y="489"/>
                    <a:pt x="445" y="490"/>
                  </a:cubicBezTo>
                  <a:cubicBezTo>
                    <a:pt x="446" y="492"/>
                    <a:pt x="447" y="492"/>
                    <a:pt x="448" y="493"/>
                  </a:cubicBezTo>
                  <a:cubicBezTo>
                    <a:pt x="452" y="494"/>
                    <a:pt x="455" y="494"/>
                    <a:pt x="459" y="496"/>
                  </a:cubicBezTo>
                  <a:cubicBezTo>
                    <a:pt x="460" y="496"/>
                    <a:pt x="462" y="497"/>
                    <a:pt x="464" y="498"/>
                  </a:cubicBezTo>
                  <a:cubicBezTo>
                    <a:pt x="464" y="498"/>
                    <a:pt x="465" y="499"/>
                    <a:pt x="466" y="499"/>
                  </a:cubicBezTo>
                  <a:cubicBezTo>
                    <a:pt x="466" y="500"/>
                    <a:pt x="467" y="500"/>
                    <a:pt x="468" y="500"/>
                  </a:cubicBezTo>
                  <a:cubicBezTo>
                    <a:pt x="470" y="501"/>
                    <a:pt x="471" y="503"/>
                    <a:pt x="474" y="503"/>
                  </a:cubicBezTo>
                  <a:cubicBezTo>
                    <a:pt x="475" y="503"/>
                    <a:pt x="476" y="503"/>
                    <a:pt x="477" y="503"/>
                  </a:cubicBezTo>
                  <a:cubicBezTo>
                    <a:pt x="478" y="503"/>
                    <a:pt x="478" y="504"/>
                    <a:pt x="479" y="505"/>
                  </a:cubicBezTo>
                  <a:cubicBezTo>
                    <a:pt x="481" y="505"/>
                    <a:pt x="485" y="505"/>
                    <a:pt x="487" y="505"/>
                  </a:cubicBezTo>
                  <a:cubicBezTo>
                    <a:pt x="488" y="502"/>
                    <a:pt x="485" y="500"/>
                    <a:pt x="485" y="497"/>
                  </a:cubicBezTo>
                  <a:cubicBezTo>
                    <a:pt x="484" y="497"/>
                    <a:pt x="484" y="497"/>
                    <a:pt x="483" y="496"/>
                  </a:cubicBezTo>
                  <a:cubicBezTo>
                    <a:pt x="483" y="496"/>
                    <a:pt x="483" y="495"/>
                    <a:pt x="482" y="495"/>
                  </a:cubicBezTo>
                  <a:cubicBezTo>
                    <a:pt x="482" y="495"/>
                    <a:pt x="481" y="495"/>
                    <a:pt x="480" y="495"/>
                  </a:cubicBezTo>
                  <a:cubicBezTo>
                    <a:pt x="476" y="494"/>
                    <a:pt x="477" y="489"/>
                    <a:pt x="477" y="486"/>
                  </a:cubicBezTo>
                  <a:cubicBezTo>
                    <a:pt x="477" y="484"/>
                    <a:pt x="478" y="481"/>
                    <a:pt x="477" y="479"/>
                  </a:cubicBezTo>
                  <a:cubicBezTo>
                    <a:pt x="476" y="479"/>
                    <a:pt x="476" y="478"/>
                    <a:pt x="475" y="478"/>
                  </a:cubicBezTo>
                  <a:cubicBezTo>
                    <a:pt x="475" y="477"/>
                    <a:pt x="475" y="475"/>
                    <a:pt x="475" y="474"/>
                  </a:cubicBezTo>
                  <a:cubicBezTo>
                    <a:pt x="475" y="472"/>
                    <a:pt x="474" y="471"/>
                    <a:pt x="473" y="468"/>
                  </a:cubicBezTo>
                  <a:cubicBezTo>
                    <a:pt x="473" y="467"/>
                    <a:pt x="473" y="467"/>
                    <a:pt x="473" y="466"/>
                  </a:cubicBezTo>
                  <a:cubicBezTo>
                    <a:pt x="473" y="465"/>
                    <a:pt x="473" y="464"/>
                    <a:pt x="473" y="464"/>
                  </a:cubicBezTo>
                  <a:cubicBezTo>
                    <a:pt x="473" y="462"/>
                    <a:pt x="473" y="464"/>
                    <a:pt x="474" y="462"/>
                  </a:cubicBezTo>
                  <a:cubicBezTo>
                    <a:pt x="476" y="461"/>
                    <a:pt x="477" y="459"/>
                    <a:pt x="478" y="458"/>
                  </a:cubicBezTo>
                  <a:cubicBezTo>
                    <a:pt x="480" y="457"/>
                    <a:pt x="481" y="457"/>
                    <a:pt x="482" y="455"/>
                  </a:cubicBezTo>
                  <a:cubicBezTo>
                    <a:pt x="483" y="455"/>
                    <a:pt x="484" y="454"/>
                    <a:pt x="484" y="453"/>
                  </a:cubicBezTo>
                  <a:cubicBezTo>
                    <a:pt x="485" y="451"/>
                    <a:pt x="487" y="448"/>
                    <a:pt x="488" y="445"/>
                  </a:cubicBezTo>
                  <a:cubicBezTo>
                    <a:pt x="491" y="440"/>
                    <a:pt x="494" y="436"/>
                    <a:pt x="497" y="431"/>
                  </a:cubicBezTo>
                  <a:cubicBezTo>
                    <a:pt x="498" y="429"/>
                    <a:pt x="499" y="427"/>
                    <a:pt x="500" y="426"/>
                  </a:cubicBezTo>
                  <a:cubicBezTo>
                    <a:pt x="500" y="426"/>
                    <a:pt x="500" y="425"/>
                    <a:pt x="500" y="424"/>
                  </a:cubicBezTo>
                  <a:cubicBezTo>
                    <a:pt x="500" y="424"/>
                    <a:pt x="500" y="423"/>
                    <a:pt x="501" y="423"/>
                  </a:cubicBezTo>
                  <a:cubicBezTo>
                    <a:pt x="501" y="421"/>
                    <a:pt x="501" y="419"/>
                    <a:pt x="502" y="419"/>
                  </a:cubicBezTo>
                  <a:cubicBezTo>
                    <a:pt x="503" y="417"/>
                    <a:pt x="505" y="417"/>
                    <a:pt x="506" y="416"/>
                  </a:cubicBezTo>
                  <a:cubicBezTo>
                    <a:pt x="508" y="412"/>
                    <a:pt x="512" y="410"/>
                    <a:pt x="514" y="406"/>
                  </a:cubicBezTo>
                  <a:cubicBezTo>
                    <a:pt x="517" y="403"/>
                    <a:pt x="521" y="398"/>
                    <a:pt x="525" y="396"/>
                  </a:cubicBezTo>
                  <a:cubicBezTo>
                    <a:pt x="530" y="392"/>
                    <a:pt x="536" y="390"/>
                    <a:pt x="542" y="390"/>
                  </a:cubicBezTo>
                  <a:cubicBezTo>
                    <a:pt x="544" y="390"/>
                    <a:pt x="550" y="391"/>
                    <a:pt x="551" y="390"/>
                  </a:cubicBezTo>
                  <a:cubicBezTo>
                    <a:pt x="553" y="389"/>
                    <a:pt x="552" y="385"/>
                    <a:pt x="552" y="382"/>
                  </a:cubicBezTo>
                  <a:cubicBezTo>
                    <a:pt x="552" y="383"/>
                    <a:pt x="552" y="383"/>
                    <a:pt x="551" y="384"/>
                  </a:cubicBezTo>
                  <a:cubicBezTo>
                    <a:pt x="551" y="383"/>
                    <a:pt x="552" y="382"/>
                    <a:pt x="552" y="382"/>
                  </a:cubicBezTo>
                  <a:cubicBezTo>
                    <a:pt x="552" y="377"/>
                    <a:pt x="552" y="372"/>
                    <a:pt x="552" y="367"/>
                  </a:cubicBezTo>
                  <a:cubicBezTo>
                    <a:pt x="552" y="365"/>
                    <a:pt x="552" y="364"/>
                    <a:pt x="551" y="362"/>
                  </a:cubicBezTo>
                  <a:cubicBezTo>
                    <a:pt x="550" y="361"/>
                    <a:pt x="548" y="360"/>
                    <a:pt x="548" y="360"/>
                  </a:cubicBezTo>
                  <a:cubicBezTo>
                    <a:pt x="547" y="360"/>
                    <a:pt x="545" y="359"/>
                    <a:pt x="545" y="359"/>
                  </a:cubicBezTo>
                  <a:cubicBezTo>
                    <a:pt x="541" y="354"/>
                    <a:pt x="556" y="355"/>
                    <a:pt x="556" y="355"/>
                  </a:cubicBezTo>
                  <a:cubicBezTo>
                    <a:pt x="557" y="354"/>
                    <a:pt x="557" y="353"/>
                    <a:pt x="557" y="35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1" name="Freeform 22">
              <a:extLst>
                <a:ext uri="{FF2B5EF4-FFF2-40B4-BE49-F238E27FC236}">
                  <a16:creationId xmlns:a16="http://schemas.microsoft.com/office/drawing/2014/main" id="{5E1765B1-947C-4196-90C6-940A6E54C6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94238" y="4368800"/>
              <a:ext cx="700088" cy="392113"/>
            </a:xfrm>
            <a:custGeom>
              <a:avLst/>
              <a:gdLst/>
              <a:ahLst/>
              <a:cxnLst>
                <a:cxn ang="0">
                  <a:pos x="261" y="202"/>
                </a:cxn>
                <a:cxn ang="0">
                  <a:pos x="275" y="194"/>
                </a:cxn>
                <a:cxn ang="0">
                  <a:pos x="288" y="192"/>
                </a:cxn>
                <a:cxn ang="0">
                  <a:pos x="306" y="190"/>
                </a:cxn>
                <a:cxn ang="0">
                  <a:pos x="322" y="178"/>
                </a:cxn>
                <a:cxn ang="0">
                  <a:pos x="334" y="162"/>
                </a:cxn>
                <a:cxn ang="0">
                  <a:pos x="344" y="152"/>
                </a:cxn>
                <a:cxn ang="0">
                  <a:pos x="354" y="140"/>
                </a:cxn>
                <a:cxn ang="0">
                  <a:pos x="368" y="137"/>
                </a:cxn>
                <a:cxn ang="0">
                  <a:pos x="373" y="135"/>
                </a:cxn>
                <a:cxn ang="0">
                  <a:pos x="354" y="101"/>
                </a:cxn>
                <a:cxn ang="0">
                  <a:pos x="332" y="94"/>
                </a:cxn>
                <a:cxn ang="0">
                  <a:pos x="317" y="87"/>
                </a:cxn>
                <a:cxn ang="0">
                  <a:pos x="306" y="72"/>
                </a:cxn>
                <a:cxn ang="0">
                  <a:pos x="289" y="65"/>
                </a:cxn>
                <a:cxn ang="0">
                  <a:pos x="272" y="63"/>
                </a:cxn>
                <a:cxn ang="0">
                  <a:pos x="268" y="76"/>
                </a:cxn>
                <a:cxn ang="0">
                  <a:pos x="252" y="82"/>
                </a:cxn>
                <a:cxn ang="0">
                  <a:pos x="242" y="66"/>
                </a:cxn>
                <a:cxn ang="0">
                  <a:pos x="241" y="48"/>
                </a:cxn>
                <a:cxn ang="0">
                  <a:pos x="232" y="40"/>
                </a:cxn>
                <a:cxn ang="0">
                  <a:pos x="218" y="35"/>
                </a:cxn>
                <a:cxn ang="0">
                  <a:pos x="193" y="26"/>
                </a:cxn>
                <a:cxn ang="0">
                  <a:pos x="181" y="10"/>
                </a:cxn>
                <a:cxn ang="0">
                  <a:pos x="157" y="13"/>
                </a:cxn>
                <a:cxn ang="0">
                  <a:pos x="145" y="19"/>
                </a:cxn>
                <a:cxn ang="0">
                  <a:pos x="137" y="4"/>
                </a:cxn>
                <a:cxn ang="0">
                  <a:pos x="126" y="9"/>
                </a:cxn>
                <a:cxn ang="0">
                  <a:pos x="115" y="20"/>
                </a:cxn>
                <a:cxn ang="0">
                  <a:pos x="102" y="26"/>
                </a:cxn>
                <a:cxn ang="0">
                  <a:pos x="86" y="30"/>
                </a:cxn>
                <a:cxn ang="0">
                  <a:pos x="78" y="41"/>
                </a:cxn>
                <a:cxn ang="0">
                  <a:pos x="71" y="41"/>
                </a:cxn>
                <a:cxn ang="0">
                  <a:pos x="61" y="48"/>
                </a:cxn>
                <a:cxn ang="0">
                  <a:pos x="51" y="56"/>
                </a:cxn>
                <a:cxn ang="0">
                  <a:pos x="39" y="55"/>
                </a:cxn>
                <a:cxn ang="0">
                  <a:pos x="28" y="59"/>
                </a:cxn>
                <a:cxn ang="0">
                  <a:pos x="15" y="73"/>
                </a:cxn>
                <a:cxn ang="0">
                  <a:pos x="11" y="75"/>
                </a:cxn>
                <a:cxn ang="0">
                  <a:pos x="2" y="68"/>
                </a:cxn>
                <a:cxn ang="0">
                  <a:pos x="11" y="88"/>
                </a:cxn>
                <a:cxn ang="0">
                  <a:pos x="23" y="102"/>
                </a:cxn>
                <a:cxn ang="0">
                  <a:pos x="18" y="117"/>
                </a:cxn>
                <a:cxn ang="0">
                  <a:pos x="29" y="137"/>
                </a:cxn>
                <a:cxn ang="0">
                  <a:pos x="40" y="148"/>
                </a:cxn>
                <a:cxn ang="0">
                  <a:pos x="54" y="164"/>
                </a:cxn>
                <a:cxn ang="0">
                  <a:pos x="66" y="171"/>
                </a:cxn>
                <a:cxn ang="0">
                  <a:pos x="83" y="186"/>
                </a:cxn>
                <a:cxn ang="0">
                  <a:pos x="91" y="194"/>
                </a:cxn>
                <a:cxn ang="0">
                  <a:pos x="102" y="207"/>
                </a:cxn>
                <a:cxn ang="0">
                  <a:pos x="114" y="210"/>
                </a:cxn>
                <a:cxn ang="0">
                  <a:pos x="127" y="208"/>
                </a:cxn>
                <a:cxn ang="0">
                  <a:pos x="136" y="207"/>
                </a:cxn>
                <a:cxn ang="0">
                  <a:pos x="151" y="192"/>
                </a:cxn>
                <a:cxn ang="0">
                  <a:pos x="157" y="175"/>
                </a:cxn>
                <a:cxn ang="0">
                  <a:pos x="172" y="178"/>
                </a:cxn>
                <a:cxn ang="0">
                  <a:pos x="194" y="187"/>
                </a:cxn>
                <a:cxn ang="0">
                  <a:pos x="215" y="196"/>
                </a:cxn>
                <a:cxn ang="0">
                  <a:pos x="238" y="193"/>
                </a:cxn>
                <a:cxn ang="0">
                  <a:pos x="254" y="200"/>
                </a:cxn>
                <a:cxn ang="0">
                  <a:pos x="261" y="202"/>
                </a:cxn>
              </a:cxnLst>
              <a:rect l="0" t="0" r="r" b="b"/>
              <a:pathLst>
                <a:path w="375" h="210">
                  <a:moveTo>
                    <a:pt x="159" y="8"/>
                  </a:move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7"/>
                    <a:pt x="159" y="7"/>
                  </a:cubicBezTo>
                  <a:cubicBezTo>
                    <a:pt x="159" y="7"/>
                    <a:pt x="159" y="8"/>
                    <a:pt x="159" y="8"/>
                  </a:cubicBezTo>
                  <a:moveTo>
                    <a:pt x="261" y="202"/>
                  </a:moveTo>
                  <a:cubicBezTo>
                    <a:pt x="262" y="202"/>
                    <a:pt x="263" y="203"/>
                    <a:pt x="264" y="202"/>
                  </a:cubicBezTo>
                  <a:cubicBezTo>
                    <a:pt x="267" y="202"/>
                    <a:pt x="268" y="201"/>
                    <a:pt x="270" y="200"/>
                  </a:cubicBezTo>
                  <a:cubicBezTo>
                    <a:pt x="271" y="199"/>
                    <a:pt x="271" y="198"/>
                    <a:pt x="272" y="197"/>
                  </a:cubicBezTo>
                  <a:cubicBezTo>
                    <a:pt x="272" y="196"/>
                    <a:pt x="273" y="196"/>
                    <a:pt x="273" y="196"/>
                  </a:cubicBezTo>
                  <a:cubicBezTo>
                    <a:pt x="274" y="195"/>
                    <a:pt x="274" y="194"/>
                    <a:pt x="275" y="194"/>
                  </a:cubicBezTo>
                  <a:cubicBezTo>
                    <a:pt x="276" y="193"/>
                    <a:pt x="277" y="192"/>
                    <a:pt x="278" y="191"/>
                  </a:cubicBezTo>
                  <a:cubicBezTo>
                    <a:pt x="279" y="191"/>
                    <a:pt x="279" y="189"/>
                    <a:pt x="280" y="188"/>
                  </a:cubicBezTo>
                  <a:cubicBezTo>
                    <a:pt x="282" y="188"/>
                    <a:pt x="282" y="189"/>
                    <a:pt x="282" y="190"/>
                  </a:cubicBezTo>
                  <a:cubicBezTo>
                    <a:pt x="283" y="190"/>
                    <a:pt x="284" y="190"/>
                    <a:pt x="285" y="191"/>
                  </a:cubicBezTo>
                  <a:cubicBezTo>
                    <a:pt x="286" y="191"/>
                    <a:pt x="287" y="192"/>
                    <a:pt x="288" y="192"/>
                  </a:cubicBezTo>
                  <a:cubicBezTo>
                    <a:pt x="292" y="194"/>
                    <a:pt x="296" y="193"/>
                    <a:pt x="300" y="192"/>
                  </a:cubicBezTo>
                  <a:cubicBezTo>
                    <a:pt x="301" y="192"/>
                    <a:pt x="302" y="193"/>
                    <a:pt x="303" y="192"/>
                  </a:cubicBezTo>
                  <a:cubicBezTo>
                    <a:pt x="303" y="192"/>
                    <a:pt x="303" y="192"/>
                    <a:pt x="303" y="191"/>
                  </a:cubicBezTo>
                  <a:cubicBezTo>
                    <a:pt x="303" y="191"/>
                    <a:pt x="304" y="191"/>
                    <a:pt x="304" y="191"/>
                  </a:cubicBezTo>
                  <a:cubicBezTo>
                    <a:pt x="305" y="190"/>
                    <a:pt x="305" y="190"/>
                    <a:pt x="306" y="190"/>
                  </a:cubicBezTo>
                  <a:cubicBezTo>
                    <a:pt x="308" y="189"/>
                    <a:pt x="310" y="188"/>
                    <a:pt x="311" y="187"/>
                  </a:cubicBezTo>
                  <a:cubicBezTo>
                    <a:pt x="312" y="186"/>
                    <a:pt x="314" y="185"/>
                    <a:pt x="315" y="184"/>
                  </a:cubicBezTo>
                  <a:cubicBezTo>
                    <a:pt x="316" y="184"/>
                    <a:pt x="317" y="183"/>
                    <a:pt x="318" y="182"/>
                  </a:cubicBezTo>
                  <a:cubicBezTo>
                    <a:pt x="319" y="181"/>
                    <a:pt x="319" y="181"/>
                    <a:pt x="319" y="180"/>
                  </a:cubicBezTo>
                  <a:cubicBezTo>
                    <a:pt x="320" y="179"/>
                    <a:pt x="320" y="179"/>
                    <a:pt x="322" y="178"/>
                  </a:cubicBezTo>
                  <a:cubicBezTo>
                    <a:pt x="323" y="178"/>
                    <a:pt x="323" y="178"/>
                    <a:pt x="324" y="178"/>
                  </a:cubicBezTo>
                  <a:cubicBezTo>
                    <a:pt x="325" y="177"/>
                    <a:pt x="326" y="178"/>
                    <a:pt x="326" y="178"/>
                  </a:cubicBezTo>
                  <a:cubicBezTo>
                    <a:pt x="327" y="177"/>
                    <a:pt x="327" y="176"/>
                    <a:pt x="327" y="175"/>
                  </a:cubicBezTo>
                  <a:cubicBezTo>
                    <a:pt x="329" y="173"/>
                    <a:pt x="331" y="171"/>
                    <a:pt x="331" y="168"/>
                  </a:cubicBezTo>
                  <a:cubicBezTo>
                    <a:pt x="331" y="165"/>
                    <a:pt x="333" y="164"/>
                    <a:pt x="334" y="162"/>
                  </a:cubicBezTo>
                  <a:cubicBezTo>
                    <a:pt x="334" y="161"/>
                    <a:pt x="334" y="159"/>
                    <a:pt x="334" y="159"/>
                  </a:cubicBezTo>
                  <a:cubicBezTo>
                    <a:pt x="335" y="158"/>
                    <a:pt x="335" y="157"/>
                    <a:pt x="336" y="156"/>
                  </a:cubicBezTo>
                  <a:cubicBezTo>
                    <a:pt x="336" y="155"/>
                    <a:pt x="336" y="153"/>
                    <a:pt x="337" y="153"/>
                  </a:cubicBezTo>
                  <a:cubicBezTo>
                    <a:pt x="338" y="153"/>
                    <a:pt x="340" y="153"/>
                    <a:pt x="341" y="153"/>
                  </a:cubicBezTo>
                  <a:cubicBezTo>
                    <a:pt x="342" y="153"/>
                    <a:pt x="343" y="152"/>
                    <a:pt x="344" y="152"/>
                  </a:cubicBezTo>
                  <a:cubicBezTo>
                    <a:pt x="344" y="151"/>
                    <a:pt x="345" y="150"/>
                    <a:pt x="345" y="150"/>
                  </a:cubicBezTo>
                  <a:cubicBezTo>
                    <a:pt x="345" y="149"/>
                    <a:pt x="345" y="149"/>
                    <a:pt x="346" y="149"/>
                  </a:cubicBezTo>
                  <a:cubicBezTo>
                    <a:pt x="347" y="147"/>
                    <a:pt x="347" y="145"/>
                    <a:pt x="350" y="143"/>
                  </a:cubicBezTo>
                  <a:cubicBezTo>
                    <a:pt x="351" y="143"/>
                    <a:pt x="352" y="143"/>
                    <a:pt x="352" y="142"/>
                  </a:cubicBezTo>
                  <a:cubicBezTo>
                    <a:pt x="353" y="141"/>
                    <a:pt x="353" y="141"/>
                    <a:pt x="354" y="140"/>
                  </a:cubicBezTo>
                  <a:cubicBezTo>
                    <a:pt x="355" y="140"/>
                    <a:pt x="356" y="139"/>
                    <a:pt x="357" y="138"/>
                  </a:cubicBezTo>
                  <a:cubicBezTo>
                    <a:pt x="358" y="137"/>
                    <a:pt x="357" y="136"/>
                    <a:pt x="359" y="136"/>
                  </a:cubicBezTo>
                  <a:cubicBezTo>
                    <a:pt x="360" y="136"/>
                    <a:pt x="361" y="137"/>
                    <a:pt x="363" y="138"/>
                  </a:cubicBezTo>
                  <a:cubicBezTo>
                    <a:pt x="364" y="138"/>
                    <a:pt x="365" y="138"/>
                    <a:pt x="366" y="137"/>
                  </a:cubicBezTo>
                  <a:cubicBezTo>
                    <a:pt x="368" y="137"/>
                    <a:pt x="367" y="137"/>
                    <a:pt x="368" y="137"/>
                  </a:cubicBezTo>
                  <a:cubicBezTo>
                    <a:pt x="369" y="136"/>
                    <a:pt x="369" y="136"/>
                    <a:pt x="370" y="136"/>
                  </a:cubicBezTo>
                  <a:cubicBezTo>
                    <a:pt x="371" y="135"/>
                    <a:pt x="373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4" y="135"/>
                    <a:pt x="373" y="135"/>
                    <a:pt x="373" y="135"/>
                  </a:cubicBezTo>
                  <a:cubicBezTo>
                    <a:pt x="372" y="133"/>
                    <a:pt x="373" y="132"/>
                    <a:pt x="374" y="130"/>
                  </a:cubicBezTo>
                  <a:cubicBezTo>
                    <a:pt x="374" y="129"/>
                    <a:pt x="374" y="127"/>
                    <a:pt x="374" y="125"/>
                  </a:cubicBezTo>
                  <a:cubicBezTo>
                    <a:pt x="374" y="122"/>
                    <a:pt x="372" y="121"/>
                    <a:pt x="369" y="119"/>
                  </a:cubicBezTo>
                  <a:cubicBezTo>
                    <a:pt x="364" y="116"/>
                    <a:pt x="362" y="110"/>
                    <a:pt x="365" y="104"/>
                  </a:cubicBezTo>
                  <a:cubicBezTo>
                    <a:pt x="361" y="103"/>
                    <a:pt x="358" y="103"/>
                    <a:pt x="354" y="101"/>
                  </a:cubicBezTo>
                  <a:cubicBezTo>
                    <a:pt x="352" y="100"/>
                    <a:pt x="350" y="99"/>
                    <a:pt x="348" y="99"/>
                  </a:cubicBezTo>
                  <a:cubicBezTo>
                    <a:pt x="348" y="99"/>
                    <a:pt x="348" y="99"/>
                    <a:pt x="348" y="98"/>
                  </a:cubicBezTo>
                  <a:cubicBezTo>
                    <a:pt x="345" y="98"/>
                    <a:pt x="344" y="97"/>
                    <a:pt x="342" y="97"/>
                  </a:cubicBezTo>
                  <a:cubicBezTo>
                    <a:pt x="340" y="96"/>
                    <a:pt x="338" y="96"/>
                    <a:pt x="336" y="96"/>
                  </a:cubicBezTo>
                  <a:cubicBezTo>
                    <a:pt x="334" y="95"/>
                    <a:pt x="334" y="94"/>
                    <a:pt x="332" y="94"/>
                  </a:cubicBezTo>
                  <a:cubicBezTo>
                    <a:pt x="331" y="93"/>
                    <a:pt x="330" y="94"/>
                    <a:pt x="328" y="93"/>
                  </a:cubicBezTo>
                  <a:cubicBezTo>
                    <a:pt x="327" y="93"/>
                    <a:pt x="327" y="93"/>
                    <a:pt x="327" y="93"/>
                  </a:cubicBezTo>
                  <a:cubicBezTo>
                    <a:pt x="326" y="92"/>
                    <a:pt x="326" y="92"/>
                    <a:pt x="325" y="91"/>
                  </a:cubicBezTo>
                  <a:cubicBezTo>
                    <a:pt x="324" y="91"/>
                    <a:pt x="322" y="92"/>
                    <a:pt x="320" y="91"/>
                  </a:cubicBezTo>
                  <a:cubicBezTo>
                    <a:pt x="319" y="90"/>
                    <a:pt x="318" y="88"/>
                    <a:pt x="317" y="87"/>
                  </a:cubicBezTo>
                  <a:cubicBezTo>
                    <a:pt x="315" y="87"/>
                    <a:pt x="314" y="85"/>
                    <a:pt x="313" y="84"/>
                  </a:cubicBezTo>
                  <a:cubicBezTo>
                    <a:pt x="312" y="83"/>
                    <a:pt x="311" y="82"/>
                    <a:pt x="311" y="81"/>
                  </a:cubicBezTo>
                  <a:cubicBezTo>
                    <a:pt x="312" y="79"/>
                    <a:pt x="314" y="79"/>
                    <a:pt x="315" y="77"/>
                  </a:cubicBezTo>
                  <a:cubicBezTo>
                    <a:pt x="315" y="76"/>
                    <a:pt x="315" y="73"/>
                    <a:pt x="315" y="72"/>
                  </a:cubicBezTo>
                  <a:cubicBezTo>
                    <a:pt x="313" y="69"/>
                    <a:pt x="309" y="72"/>
                    <a:pt x="306" y="72"/>
                  </a:cubicBezTo>
                  <a:cubicBezTo>
                    <a:pt x="305" y="72"/>
                    <a:pt x="301" y="73"/>
                    <a:pt x="299" y="72"/>
                  </a:cubicBezTo>
                  <a:cubicBezTo>
                    <a:pt x="298" y="72"/>
                    <a:pt x="299" y="71"/>
                    <a:pt x="298" y="71"/>
                  </a:cubicBezTo>
                  <a:cubicBezTo>
                    <a:pt x="297" y="70"/>
                    <a:pt x="297" y="71"/>
                    <a:pt x="296" y="70"/>
                  </a:cubicBezTo>
                  <a:cubicBezTo>
                    <a:pt x="295" y="70"/>
                    <a:pt x="294" y="68"/>
                    <a:pt x="292" y="68"/>
                  </a:cubicBezTo>
                  <a:cubicBezTo>
                    <a:pt x="290" y="67"/>
                    <a:pt x="289" y="67"/>
                    <a:pt x="289" y="65"/>
                  </a:cubicBezTo>
                  <a:cubicBezTo>
                    <a:pt x="288" y="65"/>
                    <a:pt x="286" y="64"/>
                    <a:pt x="285" y="63"/>
                  </a:cubicBezTo>
                  <a:cubicBezTo>
                    <a:pt x="284" y="62"/>
                    <a:pt x="284" y="63"/>
                    <a:pt x="282" y="62"/>
                  </a:cubicBezTo>
                  <a:cubicBezTo>
                    <a:pt x="283" y="61"/>
                    <a:pt x="282" y="60"/>
                    <a:pt x="282" y="60"/>
                  </a:cubicBezTo>
                  <a:cubicBezTo>
                    <a:pt x="279" y="58"/>
                    <a:pt x="274" y="58"/>
                    <a:pt x="270" y="58"/>
                  </a:cubicBezTo>
                  <a:cubicBezTo>
                    <a:pt x="270" y="60"/>
                    <a:pt x="271" y="61"/>
                    <a:pt x="272" y="63"/>
                  </a:cubicBezTo>
                  <a:cubicBezTo>
                    <a:pt x="273" y="64"/>
                    <a:pt x="273" y="64"/>
                    <a:pt x="274" y="65"/>
                  </a:cubicBezTo>
                  <a:cubicBezTo>
                    <a:pt x="276" y="67"/>
                    <a:pt x="278" y="67"/>
                    <a:pt x="279" y="70"/>
                  </a:cubicBezTo>
                  <a:cubicBezTo>
                    <a:pt x="279" y="72"/>
                    <a:pt x="278" y="72"/>
                    <a:pt x="276" y="73"/>
                  </a:cubicBezTo>
                  <a:cubicBezTo>
                    <a:pt x="274" y="73"/>
                    <a:pt x="272" y="74"/>
                    <a:pt x="271" y="75"/>
                  </a:cubicBezTo>
                  <a:cubicBezTo>
                    <a:pt x="270" y="75"/>
                    <a:pt x="269" y="75"/>
                    <a:pt x="268" y="76"/>
                  </a:cubicBezTo>
                  <a:cubicBezTo>
                    <a:pt x="266" y="77"/>
                    <a:pt x="267" y="78"/>
                    <a:pt x="265" y="80"/>
                  </a:cubicBezTo>
                  <a:cubicBezTo>
                    <a:pt x="263" y="81"/>
                    <a:pt x="263" y="80"/>
                    <a:pt x="262" y="82"/>
                  </a:cubicBezTo>
                  <a:cubicBezTo>
                    <a:pt x="262" y="82"/>
                    <a:pt x="261" y="82"/>
                    <a:pt x="261" y="83"/>
                  </a:cubicBezTo>
                  <a:cubicBezTo>
                    <a:pt x="259" y="85"/>
                    <a:pt x="257" y="87"/>
                    <a:pt x="254" y="85"/>
                  </a:cubicBezTo>
                  <a:cubicBezTo>
                    <a:pt x="253" y="84"/>
                    <a:pt x="253" y="83"/>
                    <a:pt x="252" y="82"/>
                  </a:cubicBezTo>
                  <a:cubicBezTo>
                    <a:pt x="251" y="80"/>
                    <a:pt x="250" y="79"/>
                    <a:pt x="250" y="77"/>
                  </a:cubicBezTo>
                  <a:cubicBezTo>
                    <a:pt x="250" y="75"/>
                    <a:pt x="249" y="74"/>
                    <a:pt x="248" y="72"/>
                  </a:cubicBezTo>
                  <a:cubicBezTo>
                    <a:pt x="247" y="71"/>
                    <a:pt x="247" y="71"/>
                    <a:pt x="246" y="70"/>
                  </a:cubicBezTo>
                  <a:cubicBezTo>
                    <a:pt x="246" y="70"/>
                    <a:pt x="245" y="68"/>
                    <a:pt x="245" y="68"/>
                  </a:cubicBezTo>
                  <a:cubicBezTo>
                    <a:pt x="244" y="67"/>
                    <a:pt x="243" y="67"/>
                    <a:pt x="242" y="66"/>
                  </a:cubicBezTo>
                  <a:cubicBezTo>
                    <a:pt x="241" y="65"/>
                    <a:pt x="240" y="64"/>
                    <a:pt x="238" y="63"/>
                  </a:cubicBezTo>
                  <a:cubicBezTo>
                    <a:pt x="236" y="62"/>
                    <a:pt x="234" y="62"/>
                    <a:pt x="233" y="59"/>
                  </a:cubicBezTo>
                  <a:cubicBezTo>
                    <a:pt x="233" y="58"/>
                    <a:pt x="233" y="56"/>
                    <a:pt x="234" y="55"/>
                  </a:cubicBezTo>
                  <a:cubicBezTo>
                    <a:pt x="235" y="53"/>
                    <a:pt x="237" y="52"/>
                    <a:pt x="238" y="51"/>
                  </a:cubicBezTo>
                  <a:cubicBezTo>
                    <a:pt x="239" y="50"/>
                    <a:pt x="240" y="49"/>
                    <a:pt x="241" y="48"/>
                  </a:cubicBezTo>
                  <a:cubicBezTo>
                    <a:pt x="241" y="47"/>
                    <a:pt x="242" y="46"/>
                    <a:pt x="243" y="45"/>
                  </a:cubicBezTo>
                  <a:cubicBezTo>
                    <a:pt x="243" y="44"/>
                    <a:pt x="243" y="42"/>
                    <a:pt x="243" y="42"/>
                  </a:cubicBezTo>
                  <a:cubicBezTo>
                    <a:pt x="242" y="40"/>
                    <a:pt x="243" y="42"/>
                    <a:pt x="241" y="41"/>
                  </a:cubicBezTo>
                  <a:cubicBezTo>
                    <a:pt x="240" y="40"/>
                    <a:pt x="240" y="40"/>
                    <a:pt x="238" y="40"/>
                  </a:cubicBezTo>
                  <a:cubicBezTo>
                    <a:pt x="236" y="39"/>
                    <a:pt x="234" y="40"/>
                    <a:pt x="232" y="40"/>
                  </a:cubicBezTo>
                  <a:cubicBezTo>
                    <a:pt x="230" y="40"/>
                    <a:pt x="229" y="40"/>
                    <a:pt x="227" y="39"/>
                  </a:cubicBezTo>
                  <a:cubicBezTo>
                    <a:pt x="227" y="39"/>
                    <a:pt x="225" y="39"/>
                    <a:pt x="225" y="39"/>
                  </a:cubicBezTo>
                  <a:cubicBezTo>
                    <a:pt x="224" y="38"/>
                    <a:pt x="223" y="37"/>
                    <a:pt x="223" y="37"/>
                  </a:cubicBezTo>
                  <a:cubicBezTo>
                    <a:pt x="222" y="36"/>
                    <a:pt x="221" y="37"/>
                    <a:pt x="220" y="36"/>
                  </a:cubicBezTo>
                  <a:cubicBezTo>
                    <a:pt x="219" y="36"/>
                    <a:pt x="219" y="35"/>
                    <a:pt x="218" y="35"/>
                  </a:cubicBezTo>
                  <a:cubicBezTo>
                    <a:pt x="216" y="34"/>
                    <a:pt x="215" y="34"/>
                    <a:pt x="213" y="33"/>
                  </a:cubicBezTo>
                  <a:cubicBezTo>
                    <a:pt x="212" y="33"/>
                    <a:pt x="211" y="32"/>
                    <a:pt x="209" y="32"/>
                  </a:cubicBezTo>
                  <a:cubicBezTo>
                    <a:pt x="207" y="31"/>
                    <a:pt x="204" y="29"/>
                    <a:pt x="202" y="28"/>
                  </a:cubicBezTo>
                  <a:cubicBezTo>
                    <a:pt x="200" y="28"/>
                    <a:pt x="198" y="26"/>
                    <a:pt x="196" y="26"/>
                  </a:cubicBezTo>
                  <a:cubicBezTo>
                    <a:pt x="195" y="26"/>
                    <a:pt x="194" y="26"/>
                    <a:pt x="193" y="26"/>
                  </a:cubicBezTo>
                  <a:cubicBezTo>
                    <a:pt x="191" y="25"/>
                    <a:pt x="190" y="22"/>
                    <a:pt x="189" y="20"/>
                  </a:cubicBezTo>
                  <a:cubicBezTo>
                    <a:pt x="187" y="18"/>
                    <a:pt x="186" y="16"/>
                    <a:pt x="184" y="13"/>
                  </a:cubicBezTo>
                  <a:cubicBezTo>
                    <a:pt x="184" y="13"/>
                    <a:pt x="183" y="12"/>
                    <a:pt x="183" y="12"/>
                  </a:cubicBezTo>
                  <a:cubicBezTo>
                    <a:pt x="183" y="11"/>
                    <a:pt x="183" y="11"/>
                    <a:pt x="182" y="11"/>
                  </a:cubicBezTo>
                  <a:cubicBezTo>
                    <a:pt x="182" y="10"/>
                    <a:pt x="181" y="10"/>
                    <a:pt x="181" y="10"/>
                  </a:cubicBezTo>
                  <a:cubicBezTo>
                    <a:pt x="180" y="8"/>
                    <a:pt x="180" y="8"/>
                    <a:pt x="177" y="8"/>
                  </a:cubicBezTo>
                  <a:cubicBezTo>
                    <a:pt x="173" y="8"/>
                    <a:pt x="170" y="8"/>
                    <a:pt x="166" y="8"/>
                  </a:cubicBezTo>
                  <a:cubicBezTo>
                    <a:pt x="164" y="8"/>
                    <a:pt x="161" y="8"/>
                    <a:pt x="159" y="8"/>
                  </a:cubicBezTo>
                  <a:cubicBezTo>
                    <a:pt x="160" y="8"/>
                    <a:pt x="160" y="8"/>
                    <a:pt x="160" y="9"/>
                  </a:cubicBezTo>
                  <a:cubicBezTo>
                    <a:pt x="161" y="11"/>
                    <a:pt x="158" y="12"/>
                    <a:pt x="157" y="13"/>
                  </a:cubicBezTo>
                  <a:cubicBezTo>
                    <a:pt x="157" y="14"/>
                    <a:pt x="157" y="17"/>
                    <a:pt x="158" y="18"/>
                  </a:cubicBezTo>
                  <a:cubicBezTo>
                    <a:pt x="156" y="16"/>
                    <a:pt x="154" y="19"/>
                    <a:pt x="153" y="20"/>
                  </a:cubicBezTo>
                  <a:cubicBezTo>
                    <a:pt x="152" y="21"/>
                    <a:pt x="151" y="22"/>
                    <a:pt x="150" y="22"/>
                  </a:cubicBezTo>
                  <a:cubicBezTo>
                    <a:pt x="149" y="22"/>
                    <a:pt x="146" y="22"/>
                    <a:pt x="146" y="22"/>
                  </a:cubicBezTo>
                  <a:cubicBezTo>
                    <a:pt x="145" y="21"/>
                    <a:pt x="145" y="20"/>
                    <a:pt x="145" y="19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4" y="17"/>
                    <a:pt x="142" y="16"/>
                    <a:pt x="141" y="16"/>
                  </a:cubicBezTo>
                  <a:cubicBezTo>
                    <a:pt x="139" y="15"/>
                    <a:pt x="139" y="15"/>
                    <a:pt x="140" y="13"/>
                  </a:cubicBezTo>
                  <a:cubicBezTo>
                    <a:pt x="141" y="12"/>
                    <a:pt x="141" y="11"/>
                    <a:pt x="142" y="10"/>
                  </a:cubicBezTo>
                  <a:cubicBezTo>
                    <a:pt x="142" y="8"/>
                    <a:pt x="139" y="4"/>
                    <a:pt x="137" y="4"/>
                  </a:cubicBezTo>
                  <a:cubicBezTo>
                    <a:pt x="136" y="3"/>
                    <a:pt x="135" y="2"/>
                    <a:pt x="134" y="1"/>
                  </a:cubicBezTo>
                  <a:cubicBezTo>
                    <a:pt x="133" y="0"/>
                    <a:pt x="133" y="0"/>
                    <a:pt x="131" y="1"/>
                  </a:cubicBezTo>
                  <a:cubicBezTo>
                    <a:pt x="130" y="1"/>
                    <a:pt x="129" y="3"/>
                    <a:pt x="128" y="4"/>
                  </a:cubicBezTo>
                  <a:cubicBezTo>
                    <a:pt x="126" y="5"/>
                    <a:pt x="123" y="6"/>
                    <a:pt x="121" y="6"/>
                  </a:cubicBezTo>
                  <a:cubicBezTo>
                    <a:pt x="122" y="7"/>
                    <a:pt x="124" y="8"/>
                    <a:pt x="126" y="9"/>
                  </a:cubicBezTo>
                  <a:cubicBezTo>
                    <a:pt x="126" y="10"/>
                    <a:pt x="130" y="12"/>
                    <a:pt x="129" y="13"/>
                  </a:cubicBezTo>
                  <a:cubicBezTo>
                    <a:pt x="129" y="14"/>
                    <a:pt x="128" y="14"/>
                    <a:pt x="127" y="15"/>
                  </a:cubicBezTo>
                  <a:cubicBezTo>
                    <a:pt x="125" y="16"/>
                    <a:pt x="123" y="17"/>
                    <a:pt x="121" y="17"/>
                  </a:cubicBezTo>
                  <a:cubicBezTo>
                    <a:pt x="120" y="18"/>
                    <a:pt x="118" y="19"/>
                    <a:pt x="117" y="20"/>
                  </a:cubicBezTo>
                  <a:cubicBezTo>
                    <a:pt x="116" y="20"/>
                    <a:pt x="116" y="21"/>
                    <a:pt x="115" y="20"/>
                  </a:cubicBezTo>
                  <a:cubicBezTo>
                    <a:pt x="114" y="19"/>
                    <a:pt x="113" y="21"/>
                    <a:pt x="112" y="21"/>
                  </a:cubicBezTo>
                  <a:cubicBezTo>
                    <a:pt x="111" y="22"/>
                    <a:pt x="110" y="21"/>
                    <a:pt x="109" y="21"/>
                  </a:cubicBezTo>
                  <a:cubicBezTo>
                    <a:pt x="108" y="21"/>
                    <a:pt x="105" y="22"/>
                    <a:pt x="105" y="23"/>
                  </a:cubicBezTo>
                  <a:cubicBezTo>
                    <a:pt x="105" y="23"/>
                    <a:pt x="105" y="24"/>
                    <a:pt x="105" y="24"/>
                  </a:cubicBezTo>
                  <a:cubicBezTo>
                    <a:pt x="104" y="25"/>
                    <a:pt x="103" y="26"/>
                    <a:pt x="102" y="26"/>
                  </a:cubicBezTo>
                  <a:cubicBezTo>
                    <a:pt x="101" y="27"/>
                    <a:pt x="101" y="28"/>
                    <a:pt x="100" y="28"/>
                  </a:cubicBezTo>
                  <a:cubicBezTo>
                    <a:pt x="99" y="28"/>
                    <a:pt x="98" y="28"/>
                    <a:pt x="97" y="28"/>
                  </a:cubicBezTo>
                  <a:cubicBezTo>
                    <a:pt x="96" y="28"/>
                    <a:pt x="94" y="29"/>
                    <a:pt x="93" y="29"/>
                  </a:cubicBezTo>
                  <a:cubicBezTo>
                    <a:pt x="91" y="29"/>
                    <a:pt x="90" y="30"/>
                    <a:pt x="88" y="30"/>
                  </a:cubicBezTo>
                  <a:cubicBezTo>
                    <a:pt x="87" y="30"/>
                    <a:pt x="87" y="30"/>
                    <a:pt x="86" y="30"/>
                  </a:cubicBezTo>
                  <a:cubicBezTo>
                    <a:pt x="85" y="30"/>
                    <a:pt x="84" y="31"/>
                    <a:pt x="83" y="32"/>
                  </a:cubicBezTo>
                  <a:cubicBezTo>
                    <a:pt x="83" y="32"/>
                    <a:pt x="82" y="32"/>
                    <a:pt x="82" y="33"/>
                  </a:cubicBezTo>
                  <a:cubicBezTo>
                    <a:pt x="81" y="34"/>
                    <a:pt x="81" y="36"/>
                    <a:pt x="81" y="37"/>
                  </a:cubicBezTo>
                  <a:cubicBezTo>
                    <a:pt x="81" y="38"/>
                    <a:pt x="82" y="40"/>
                    <a:pt x="81" y="40"/>
                  </a:cubicBezTo>
                  <a:cubicBezTo>
                    <a:pt x="80" y="41"/>
                    <a:pt x="79" y="41"/>
                    <a:pt x="78" y="41"/>
                  </a:cubicBezTo>
                  <a:cubicBezTo>
                    <a:pt x="78" y="41"/>
                    <a:pt x="76" y="41"/>
                    <a:pt x="75" y="41"/>
                  </a:cubicBezTo>
                  <a:cubicBezTo>
                    <a:pt x="75" y="40"/>
                    <a:pt x="75" y="38"/>
                    <a:pt x="74" y="38"/>
                  </a:cubicBezTo>
                  <a:cubicBezTo>
                    <a:pt x="74" y="37"/>
                    <a:pt x="72" y="36"/>
                    <a:pt x="71" y="38"/>
                  </a:cubicBezTo>
                  <a:cubicBezTo>
                    <a:pt x="71" y="38"/>
                    <a:pt x="71" y="39"/>
                    <a:pt x="71" y="40"/>
                  </a:cubicBezTo>
                  <a:cubicBezTo>
                    <a:pt x="71" y="40"/>
                    <a:pt x="71" y="40"/>
                    <a:pt x="71" y="41"/>
                  </a:cubicBezTo>
                  <a:cubicBezTo>
                    <a:pt x="70" y="42"/>
                    <a:pt x="70" y="43"/>
                    <a:pt x="70" y="44"/>
                  </a:cubicBezTo>
                  <a:cubicBezTo>
                    <a:pt x="68" y="44"/>
                    <a:pt x="66" y="41"/>
                    <a:pt x="65" y="43"/>
                  </a:cubicBezTo>
                  <a:cubicBezTo>
                    <a:pt x="64" y="43"/>
                    <a:pt x="64" y="44"/>
                    <a:pt x="64" y="45"/>
                  </a:cubicBezTo>
                  <a:cubicBezTo>
                    <a:pt x="64" y="46"/>
                    <a:pt x="63" y="46"/>
                    <a:pt x="63" y="47"/>
                  </a:cubicBezTo>
                  <a:cubicBezTo>
                    <a:pt x="63" y="47"/>
                    <a:pt x="62" y="48"/>
                    <a:pt x="61" y="48"/>
                  </a:cubicBezTo>
                  <a:cubicBezTo>
                    <a:pt x="61" y="48"/>
                    <a:pt x="61" y="49"/>
                    <a:pt x="61" y="49"/>
                  </a:cubicBezTo>
                  <a:cubicBezTo>
                    <a:pt x="61" y="49"/>
                    <a:pt x="60" y="49"/>
                    <a:pt x="60" y="49"/>
                  </a:cubicBezTo>
                  <a:cubicBezTo>
                    <a:pt x="57" y="49"/>
                    <a:pt x="57" y="49"/>
                    <a:pt x="55" y="51"/>
                  </a:cubicBezTo>
                  <a:cubicBezTo>
                    <a:pt x="55" y="52"/>
                    <a:pt x="54" y="53"/>
                    <a:pt x="53" y="54"/>
                  </a:cubicBezTo>
                  <a:cubicBezTo>
                    <a:pt x="52" y="55"/>
                    <a:pt x="51" y="55"/>
                    <a:pt x="51" y="56"/>
                  </a:cubicBezTo>
                  <a:cubicBezTo>
                    <a:pt x="50" y="57"/>
                    <a:pt x="50" y="58"/>
                    <a:pt x="49" y="57"/>
                  </a:cubicBezTo>
                  <a:cubicBezTo>
                    <a:pt x="49" y="57"/>
                    <a:pt x="48" y="56"/>
                    <a:pt x="48" y="56"/>
                  </a:cubicBezTo>
                  <a:cubicBezTo>
                    <a:pt x="46" y="55"/>
                    <a:pt x="45" y="56"/>
                    <a:pt x="44" y="56"/>
                  </a:cubicBezTo>
                  <a:cubicBezTo>
                    <a:pt x="43" y="56"/>
                    <a:pt x="43" y="55"/>
                    <a:pt x="42" y="55"/>
                  </a:cubicBezTo>
                  <a:cubicBezTo>
                    <a:pt x="42" y="55"/>
                    <a:pt x="40" y="55"/>
                    <a:pt x="39" y="55"/>
                  </a:cubicBezTo>
                  <a:cubicBezTo>
                    <a:pt x="39" y="55"/>
                    <a:pt x="39" y="57"/>
                    <a:pt x="38" y="57"/>
                  </a:cubicBezTo>
                  <a:cubicBezTo>
                    <a:pt x="37" y="59"/>
                    <a:pt x="36" y="59"/>
                    <a:pt x="34" y="59"/>
                  </a:cubicBezTo>
                  <a:cubicBezTo>
                    <a:pt x="33" y="59"/>
                    <a:pt x="33" y="60"/>
                    <a:pt x="32" y="59"/>
                  </a:cubicBezTo>
                  <a:cubicBezTo>
                    <a:pt x="31" y="59"/>
                    <a:pt x="31" y="58"/>
                    <a:pt x="30" y="58"/>
                  </a:cubicBezTo>
                  <a:cubicBezTo>
                    <a:pt x="29" y="57"/>
                    <a:pt x="29" y="59"/>
                    <a:pt x="28" y="59"/>
                  </a:cubicBezTo>
                  <a:cubicBezTo>
                    <a:pt x="27" y="60"/>
                    <a:pt x="26" y="60"/>
                    <a:pt x="26" y="61"/>
                  </a:cubicBezTo>
                  <a:cubicBezTo>
                    <a:pt x="24" y="61"/>
                    <a:pt x="23" y="63"/>
                    <a:pt x="22" y="64"/>
                  </a:cubicBezTo>
                  <a:cubicBezTo>
                    <a:pt x="20" y="65"/>
                    <a:pt x="18" y="66"/>
                    <a:pt x="17" y="68"/>
                  </a:cubicBezTo>
                  <a:cubicBezTo>
                    <a:pt x="16" y="69"/>
                    <a:pt x="15" y="70"/>
                    <a:pt x="15" y="70"/>
                  </a:cubicBezTo>
                  <a:cubicBezTo>
                    <a:pt x="15" y="71"/>
                    <a:pt x="15" y="72"/>
                    <a:pt x="15" y="73"/>
                  </a:cubicBezTo>
                  <a:cubicBezTo>
                    <a:pt x="15" y="74"/>
                    <a:pt x="14" y="74"/>
                    <a:pt x="13" y="76"/>
                  </a:cubicBezTo>
                  <a:cubicBezTo>
                    <a:pt x="13" y="77"/>
                    <a:pt x="13" y="78"/>
                    <a:pt x="12" y="79"/>
                  </a:cubicBezTo>
                  <a:cubicBezTo>
                    <a:pt x="12" y="78"/>
                    <a:pt x="12" y="78"/>
                    <a:pt x="12" y="77"/>
                  </a:cubicBezTo>
                  <a:cubicBezTo>
                    <a:pt x="11" y="76"/>
                    <a:pt x="11" y="77"/>
                    <a:pt x="11" y="76"/>
                  </a:cubicBezTo>
                  <a:cubicBezTo>
                    <a:pt x="11" y="76"/>
                    <a:pt x="11" y="75"/>
                    <a:pt x="11" y="75"/>
                  </a:cubicBezTo>
                  <a:cubicBezTo>
                    <a:pt x="10" y="74"/>
                    <a:pt x="9" y="74"/>
                    <a:pt x="9" y="73"/>
                  </a:cubicBezTo>
                  <a:cubicBezTo>
                    <a:pt x="8" y="72"/>
                    <a:pt x="8" y="71"/>
                    <a:pt x="8" y="70"/>
                  </a:cubicBezTo>
                  <a:cubicBezTo>
                    <a:pt x="8" y="68"/>
                    <a:pt x="7" y="64"/>
                    <a:pt x="5" y="65"/>
                  </a:cubicBezTo>
                  <a:cubicBezTo>
                    <a:pt x="3" y="66"/>
                    <a:pt x="3" y="66"/>
                    <a:pt x="2" y="67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9"/>
                    <a:pt x="2" y="69"/>
                    <a:pt x="1" y="69"/>
                  </a:cubicBezTo>
                  <a:cubicBezTo>
                    <a:pt x="0" y="73"/>
                    <a:pt x="6" y="73"/>
                    <a:pt x="6" y="76"/>
                  </a:cubicBezTo>
                  <a:cubicBezTo>
                    <a:pt x="7" y="78"/>
                    <a:pt x="7" y="80"/>
                    <a:pt x="7" y="81"/>
                  </a:cubicBezTo>
                  <a:cubicBezTo>
                    <a:pt x="7" y="83"/>
                    <a:pt x="7" y="84"/>
                    <a:pt x="8" y="86"/>
                  </a:cubicBezTo>
                  <a:cubicBezTo>
                    <a:pt x="8" y="88"/>
                    <a:pt x="9" y="87"/>
                    <a:pt x="11" y="88"/>
                  </a:cubicBezTo>
                  <a:cubicBezTo>
                    <a:pt x="13" y="89"/>
                    <a:pt x="12" y="91"/>
                    <a:pt x="14" y="92"/>
                  </a:cubicBezTo>
                  <a:cubicBezTo>
                    <a:pt x="14" y="93"/>
                    <a:pt x="16" y="93"/>
                    <a:pt x="17" y="94"/>
                  </a:cubicBezTo>
                  <a:cubicBezTo>
                    <a:pt x="18" y="95"/>
                    <a:pt x="18" y="96"/>
                    <a:pt x="20" y="96"/>
                  </a:cubicBezTo>
                  <a:cubicBezTo>
                    <a:pt x="21" y="97"/>
                    <a:pt x="23" y="97"/>
                    <a:pt x="24" y="99"/>
                  </a:cubicBezTo>
                  <a:cubicBezTo>
                    <a:pt x="24" y="100"/>
                    <a:pt x="23" y="101"/>
                    <a:pt x="23" y="102"/>
                  </a:cubicBezTo>
                  <a:cubicBezTo>
                    <a:pt x="23" y="103"/>
                    <a:pt x="23" y="104"/>
                    <a:pt x="23" y="105"/>
                  </a:cubicBezTo>
                  <a:cubicBezTo>
                    <a:pt x="23" y="106"/>
                    <a:pt x="22" y="107"/>
                    <a:pt x="21" y="108"/>
                  </a:cubicBezTo>
                  <a:cubicBezTo>
                    <a:pt x="21" y="108"/>
                    <a:pt x="20" y="109"/>
                    <a:pt x="20" y="110"/>
                  </a:cubicBezTo>
                  <a:cubicBezTo>
                    <a:pt x="19" y="111"/>
                    <a:pt x="18" y="112"/>
                    <a:pt x="18" y="113"/>
                  </a:cubicBezTo>
                  <a:cubicBezTo>
                    <a:pt x="17" y="114"/>
                    <a:pt x="17" y="116"/>
                    <a:pt x="18" y="117"/>
                  </a:cubicBezTo>
                  <a:cubicBezTo>
                    <a:pt x="20" y="118"/>
                    <a:pt x="21" y="119"/>
                    <a:pt x="22" y="120"/>
                  </a:cubicBezTo>
                  <a:cubicBezTo>
                    <a:pt x="23" y="121"/>
                    <a:pt x="24" y="123"/>
                    <a:pt x="24" y="124"/>
                  </a:cubicBezTo>
                  <a:cubicBezTo>
                    <a:pt x="25" y="126"/>
                    <a:pt x="26" y="128"/>
                    <a:pt x="27" y="130"/>
                  </a:cubicBezTo>
                  <a:cubicBezTo>
                    <a:pt x="27" y="131"/>
                    <a:pt x="27" y="131"/>
                    <a:pt x="28" y="132"/>
                  </a:cubicBezTo>
                  <a:cubicBezTo>
                    <a:pt x="28" y="133"/>
                    <a:pt x="28" y="136"/>
                    <a:pt x="29" y="137"/>
                  </a:cubicBezTo>
                  <a:cubicBezTo>
                    <a:pt x="29" y="139"/>
                    <a:pt x="29" y="139"/>
                    <a:pt x="30" y="140"/>
                  </a:cubicBezTo>
                  <a:cubicBezTo>
                    <a:pt x="31" y="141"/>
                    <a:pt x="32" y="142"/>
                    <a:pt x="33" y="144"/>
                  </a:cubicBezTo>
                  <a:cubicBezTo>
                    <a:pt x="33" y="145"/>
                    <a:pt x="33" y="145"/>
                    <a:pt x="34" y="145"/>
                  </a:cubicBezTo>
                  <a:cubicBezTo>
                    <a:pt x="34" y="146"/>
                    <a:pt x="36" y="146"/>
                    <a:pt x="37" y="147"/>
                  </a:cubicBezTo>
                  <a:cubicBezTo>
                    <a:pt x="38" y="147"/>
                    <a:pt x="38" y="148"/>
                    <a:pt x="40" y="148"/>
                  </a:cubicBezTo>
                  <a:cubicBezTo>
                    <a:pt x="40" y="148"/>
                    <a:pt x="42" y="147"/>
                    <a:pt x="42" y="147"/>
                  </a:cubicBezTo>
                  <a:cubicBezTo>
                    <a:pt x="43" y="148"/>
                    <a:pt x="43" y="148"/>
                    <a:pt x="44" y="148"/>
                  </a:cubicBezTo>
                  <a:cubicBezTo>
                    <a:pt x="45" y="150"/>
                    <a:pt x="47" y="151"/>
                    <a:pt x="48" y="152"/>
                  </a:cubicBezTo>
                  <a:cubicBezTo>
                    <a:pt x="49" y="153"/>
                    <a:pt x="50" y="155"/>
                    <a:pt x="51" y="156"/>
                  </a:cubicBezTo>
                  <a:cubicBezTo>
                    <a:pt x="53" y="159"/>
                    <a:pt x="54" y="161"/>
                    <a:pt x="54" y="164"/>
                  </a:cubicBezTo>
                  <a:cubicBezTo>
                    <a:pt x="54" y="164"/>
                    <a:pt x="54" y="164"/>
                    <a:pt x="54" y="165"/>
                  </a:cubicBezTo>
                  <a:cubicBezTo>
                    <a:pt x="55" y="166"/>
                    <a:pt x="58" y="166"/>
                    <a:pt x="59" y="167"/>
                  </a:cubicBezTo>
                  <a:cubicBezTo>
                    <a:pt x="60" y="167"/>
                    <a:pt x="62" y="168"/>
                    <a:pt x="63" y="169"/>
                  </a:cubicBezTo>
                  <a:cubicBezTo>
                    <a:pt x="63" y="169"/>
                    <a:pt x="63" y="169"/>
                    <a:pt x="63" y="170"/>
                  </a:cubicBezTo>
                  <a:cubicBezTo>
                    <a:pt x="64" y="170"/>
                    <a:pt x="65" y="171"/>
                    <a:pt x="66" y="171"/>
                  </a:cubicBezTo>
                  <a:cubicBezTo>
                    <a:pt x="66" y="172"/>
                    <a:pt x="67" y="173"/>
                    <a:pt x="67" y="174"/>
                  </a:cubicBezTo>
                  <a:cubicBezTo>
                    <a:pt x="68" y="175"/>
                    <a:pt x="69" y="176"/>
                    <a:pt x="69" y="177"/>
                  </a:cubicBezTo>
                  <a:cubicBezTo>
                    <a:pt x="71" y="183"/>
                    <a:pt x="77" y="176"/>
                    <a:pt x="79" y="181"/>
                  </a:cubicBezTo>
                  <a:cubicBezTo>
                    <a:pt x="79" y="182"/>
                    <a:pt x="79" y="183"/>
                    <a:pt x="80" y="184"/>
                  </a:cubicBezTo>
                  <a:cubicBezTo>
                    <a:pt x="81" y="184"/>
                    <a:pt x="82" y="185"/>
                    <a:pt x="83" y="186"/>
                  </a:cubicBezTo>
                  <a:cubicBezTo>
                    <a:pt x="84" y="187"/>
                    <a:pt x="85" y="188"/>
                    <a:pt x="86" y="188"/>
                  </a:cubicBezTo>
                  <a:cubicBezTo>
                    <a:pt x="86" y="189"/>
                    <a:pt x="87" y="189"/>
                    <a:pt x="88" y="190"/>
                  </a:cubicBezTo>
                  <a:cubicBezTo>
                    <a:pt x="88" y="190"/>
                    <a:pt x="89" y="192"/>
                    <a:pt x="89" y="193"/>
                  </a:cubicBezTo>
                  <a:cubicBezTo>
                    <a:pt x="89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1" y="194"/>
                  </a:cubicBezTo>
                  <a:cubicBezTo>
                    <a:pt x="92" y="195"/>
                    <a:pt x="94" y="195"/>
                    <a:pt x="95" y="196"/>
                  </a:cubicBezTo>
                  <a:cubicBezTo>
                    <a:pt x="96" y="197"/>
                    <a:pt x="97" y="198"/>
                    <a:pt x="97" y="198"/>
                  </a:cubicBezTo>
                  <a:cubicBezTo>
                    <a:pt x="98" y="199"/>
                    <a:pt x="99" y="200"/>
                    <a:pt x="99" y="201"/>
                  </a:cubicBezTo>
                  <a:cubicBezTo>
                    <a:pt x="101" y="201"/>
                    <a:pt x="101" y="203"/>
                    <a:pt x="101" y="204"/>
                  </a:cubicBezTo>
                  <a:cubicBezTo>
                    <a:pt x="101" y="205"/>
                    <a:pt x="101" y="206"/>
                    <a:pt x="102" y="207"/>
                  </a:cubicBezTo>
                  <a:cubicBezTo>
                    <a:pt x="102" y="208"/>
                    <a:pt x="104" y="209"/>
                    <a:pt x="104" y="209"/>
                  </a:cubicBezTo>
                  <a:cubicBezTo>
                    <a:pt x="105" y="210"/>
                    <a:pt x="106" y="209"/>
                    <a:pt x="107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9" y="210"/>
                    <a:pt x="110" y="210"/>
                    <a:pt x="111" y="210"/>
                  </a:cubicBezTo>
                  <a:cubicBezTo>
                    <a:pt x="112" y="210"/>
                    <a:pt x="113" y="210"/>
                    <a:pt x="114" y="210"/>
                  </a:cubicBezTo>
                  <a:cubicBezTo>
                    <a:pt x="115" y="210"/>
                    <a:pt x="116" y="209"/>
                    <a:pt x="117" y="209"/>
                  </a:cubicBezTo>
                  <a:cubicBezTo>
                    <a:pt x="118" y="209"/>
                    <a:pt x="119" y="209"/>
                    <a:pt x="119" y="209"/>
                  </a:cubicBezTo>
                  <a:cubicBezTo>
                    <a:pt x="120" y="208"/>
                    <a:pt x="120" y="204"/>
                    <a:pt x="123" y="204"/>
                  </a:cubicBezTo>
                  <a:cubicBezTo>
                    <a:pt x="124" y="204"/>
                    <a:pt x="125" y="205"/>
                    <a:pt x="126" y="206"/>
                  </a:cubicBezTo>
                  <a:cubicBezTo>
                    <a:pt x="126" y="207"/>
                    <a:pt x="126" y="207"/>
                    <a:pt x="127" y="208"/>
                  </a:cubicBezTo>
                  <a:cubicBezTo>
                    <a:pt x="127" y="208"/>
                    <a:pt x="128" y="208"/>
                    <a:pt x="128" y="209"/>
                  </a:cubicBezTo>
                  <a:cubicBezTo>
                    <a:pt x="128" y="209"/>
                    <a:pt x="128" y="209"/>
                    <a:pt x="129" y="209"/>
                  </a:cubicBezTo>
                  <a:cubicBezTo>
                    <a:pt x="129" y="210"/>
                    <a:pt x="130" y="209"/>
                    <a:pt x="131" y="209"/>
                  </a:cubicBezTo>
                  <a:cubicBezTo>
                    <a:pt x="131" y="209"/>
                    <a:pt x="132" y="209"/>
                    <a:pt x="133" y="209"/>
                  </a:cubicBezTo>
                  <a:cubicBezTo>
                    <a:pt x="134" y="209"/>
                    <a:pt x="135" y="208"/>
                    <a:pt x="136" y="207"/>
                  </a:cubicBezTo>
                  <a:cubicBezTo>
                    <a:pt x="138" y="205"/>
                    <a:pt x="138" y="202"/>
                    <a:pt x="139" y="199"/>
                  </a:cubicBezTo>
                  <a:cubicBezTo>
                    <a:pt x="139" y="197"/>
                    <a:pt x="141" y="197"/>
                    <a:pt x="141" y="195"/>
                  </a:cubicBezTo>
                  <a:cubicBezTo>
                    <a:pt x="142" y="195"/>
                    <a:pt x="142" y="193"/>
                    <a:pt x="142" y="193"/>
                  </a:cubicBezTo>
                  <a:cubicBezTo>
                    <a:pt x="143" y="192"/>
                    <a:pt x="145" y="192"/>
                    <a:pt x="147" y="193"/>
                  </a:cubicBezTo>
                  <a:cubicBezTo>
                    <a:pt x="148" y="194"/>
                    <a:pt x="150" y="194"/>
                    <a:pt x="151" y="192"/>
                  </a:cubicBezTo>
                  <a:cubicBezTo>
                    <a:pt x="151" y="191"/>
                    <a:pt x="150" y="190"/>
                    <a:pt x="150" y="188"/>
                  </a:cubicBezTo>
                  <a:cubicBezTo>
                    <a:pt x="149" y="186"/>
                    <a:pt x="150" y="184"/>
                    <a:pt x="150" y="183"/>
                  </a:cubicBezTo>
                  <a:cubicBezTo>
                    <a:pt x="150" y="180"/>
                    <a:pt x="152" y="178"/>
                    <a:pt x="153" y="176"/>
                  </a:cubicBezTo>
                  <a:cubicBezTo>
                    <a:pt x="153" y="175"/>
                    <a:pt x="153" y="175"/>
                    <a:pt x="154" y="175"/>
                  </a:cubicBezTo>
                  <a:cubicBezTo>
                    <a:pt x="155" y="175"/>
                    <a:pt x="156" y="175"/>
                    <a:pt x="157" y="175"/>
                  </a:cubicBezTo>
                  <a:cubicBezTo>
                    <a:pt x="159" y="175"/>
                    <a:pt x="158" y="177"/>
                    <a:pt x="159" y="178"/>
                  </a:cubicBezTo>
                  <a:cubicBezTo>
                    <a:pt x="161" y="180"/>
                    <a:pt x="163" y="180"/>
                    <a:pt x="165" y="179"/>
                  </a:cubicBezTo>
                  <a:cubicBezTo>
                    <a:pt x="167" y="179"/>
                    <a:pt x="166" y="177"/>
                    <a:pt x="166" y="176"/>
                  </a:cubicBezTo>
                  <a:cubicBezTo>
                    <a:pt x="167" y="175"/>
                    <a:pt x="171" y="175"/>
                    <a:pt x="171" y="177"/>
                  </a:cubicBezTo>
                  <a:cubicBezTo>
                    <a:pt x="171" y="177"/>
                    <a:pt x="172" y="178"/>
                    <a:pt x="172" y="178"/>
                  </a:cubicBezTo>
                  <a:cubicBezTo>
                    <a:pt x="174" y="179"/>
                    <a:pt x="175" y="179"/>
                    <a:pt x="177" y="180"/>
                  </a:cubicBezTo>
                  <a:cubicBezTo>
                    <a:pt x="179" y="181"/>
                    <a:pt x="183" y="182"/>
                    <a:pt x="185" y="184"/>
                  </a:cubicBezTo>
                  <a:cubicBezTo>
                    <a:pt x="186" y="185"/>
                    <a:pt x="186" y="186"/>
                    <a:pt x="187" y="187"/>
                  </a:cubicBezTo>
                  <a:cubicBezTo>
                    <a:pt x="188" y="187"/>
                    <a:pt x="190" y="187"/>
                    <a:pt x="192" y="187"/>
                  </a:cubicBezTo>
                  <a:cubicBezTo>
                    <a:pt x="192" y="187"/>
                    <a:pt x="193" y="187"/>
                    <a:pt x="194" y="187"/>
                  </a:cubicBezTo>
                  <a:cubicBezTo>
                    <a:pt x="195" y="186"/>
                    <a:pt x="195" y="186"/>
                    <a:pt x="196" y="186"/>
                  </a:cubicBezTo>
                  <a:cubicBezTo>
                    <a:pt x="198" y="185"/>
                    <a:pt x="199" y="186"/>
                    <a:pt x="200" y="188"/>
                  </a:cubicBezTo>
                  <a:cubicBezTo>
                    <a:pt x="201" y="189"/>
                    <a:pt x="200" y="191"/>
                    <a:pt x="202" y="192"/>
                  </a:cubicBezTo>
                  <a:cubicBezTo>
                    <a:pt x="204" y="193"/>
                    <a:pt x="207" y="194"/>
                    <a:pt x="210" y="195"/>
                  </a:cubicBezTo>
                  <a:cubicBezTo>
                    <a:pt x="212" y="196"/>
                    <a:pt x="213" y="196"/>
                    <a:pt x="215" y="196"/>
                  </a:cubicBezTo>
                  <a:cubicBezTo>
                    <a:pt x="218" y="196"/>
                    <a:pt x="221" y="197"/>
                    <a:pt x="224" y="196"/>
                  </a:cubicBezTo>
                  <a:cubicBezTo>
                    <a:pt x="225" y="196"/>
                    <a:pt x="227" y="195"/>
                    <a:pt x="228" y="194"/>
                  </a:cubicBezTo>
                  <a:cubicBezTo>
                    <a:pt x="229" y="192"/>
                    <a:pt x="228" y="190"/>
                    <a:pt x="230" y="190"/>
                  </a:cubicBezTo>
                  <a:cubicBezTo>
                    <a:pt x="232" y="189"/>
                    <a:pt x="233" y="190"/>
                    <a:pt x="234" y="191"/>
                  </a:cubicBezTo>
                  <a:cubicBezTo>
                    <a:pt x="235" y="193"/>
                    <a:pt x="237" y="192"/>
                    <a:pt x="238" y="193"/>
                  </a:cubicBezTo>
                  <a:cubicBezTo>
                    <a:pt x="239" y="194"/>
                    <a:pt x="239" y="194"/>
                    <a:pt x="240" y="195"/>
                  </a:cubicBezTo>
                  <a:cubicBezTo>
                    <a:pt x="240" y="196"/>
                    <a:pt x="240" y="197"/>
                    <a:pt x="240" y="197"/>
                  </a:cubicBezTo>
                  <a:cubicBezTo>
                    <a:pt x="241" y="200"/>
                    <a:pt x="247" y="198"/>
                    <a:pt x="249" y="198"/>
                  </a:cubicBezTo>
                  <a:cubicBezTo>
                    <a:pt x="250" y="198"/>
                    <a:pt x="252" y="198"/>
                    <a:pt x="253" y="199"/>
                  </a:cubicBezTo>
                  <a:cubicBezTo>
                    <a:pt x="254" y="199"/>
                    <a:pt x="254" y="200"/>
                    <a:pt x="254" y="200"/>
                  </a:cubicBezTo>
                  <a:cubicBezTo>
                    <a:pt x="255" y="200"/>
                    <a:pt x="255" y="201"/>
                    <a:pt x="255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2"/>
                    <a:pt x="256" y="202"/>
                    <a:pt x="257" y="203"/>
                  </a:cubicBezTo>
                  <a:cubicBezTo>
                    <a:pt x="258" y="203"/>
                    <a:pt x="259" y="202"/>
                    <a:pt x="261" y="20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2" name="Freeform 23">
              <a:extLst>
                <a:ext uri="{FF2B5EF4-FFF2-40B4-BE49-F238E27FC236}">
                  <a16:creationId xmlns:a16="http://schemas.microsoft.com/office/drawing/2014/main" id="{CAA77036-7F73-4504-8EEF-E6FE67CC7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9375" y="4606925"/>
              <a:ext cx="604838" cy="287338"/>
            </a:xfrm>
            <a:custGeom>
              <a:avLst/>
              <a:gdLst/>
              <a:ahLst/>
              <a:cxnLst>
                <a:cxn ang="0">
                  <a:pos x="23" y="143"/>
                </a:cxn>
                <a:cxn ang="0">
                  <a:pos x="37" y="152"/>
                </a:cxn>
                <a:cxn ang="0">
                  <a:pos x="76" y="151"/>
                </a:cxn>
                <a:cxn ang="0">
                  <a:pos x="90" y="147"/>
                </a:cxn>
                <a:cxn ang="0">
                  <a:pos x="93" y="130"/>
                </a:cxn>
                <a:cxn ang="0">
                  <a:pos x="118" y="125"/>
                </a:cxn>
                <a:cxn ang="0">
                  <a:pos x="133" y="115"/>
                </a:cxn>
                <a:cxn ang="0">
                  <a:pos x="144" y="116"/>
                </a:cxn>
                <a:cxn ang="0">
                  <a:pos x="161" y="116"/>
                </a:cxn>
                <a:cxn ang="0">
                  <a:pos x="173" y="111"/>
                </a:cxn>
                <a:cxn ang="0">
                  <a:pos x="182" y="94"/>
                </a:cxn>
                <a:cxn ang="0">
                  <a:pos x="207" y="89"/>
                </a:cxn>
                <a:cxn ang="0">
                  <a:pos x="221" y="91"/>
                </a:cxn>
                <a:cxn ang="0">
                  <a:pos x="236" y="88"/>
                </a:cxn>
                <a:cxn ang="0">
                  <a:pos x="248" y="102"/>
                </a:cxn>
                <a:cxn ang="0">
                  <a:pos x="262" y="102"/>
                </a:cxn>
                <a:cxn ang="0">
                  <a:pos x="275" y="90"/>
                </a:cxn>
                <a:cxn ang="0">
                  <a:pos x="281" y="76"/>
                </a:cxn>
                <a:cxn ang="0">
                  <a:pos x="289" y="57"/>
                </a:cxn>
                <a:cxn ang="0">
                  <a:pos x="301" y="52"/>
                </a:cxn>
                <a:cxn ang="0">
                  <a:pos x="323" y="43"/>
                </a:cxn>
                <a:cxn ang="0">
                  <a:pos x="320" y="40"/>
                </a:cxn>
                <a:cxn ang="0">
                  <a:pos x="298" y="30"/>
                </a:cxn>
                <a:cxn ang="0">
                  <a:pos x="289" y="23"/>
                </a:cxn>
                <a:cxn ang="0">
                  <a:pos x="276" y="16"/>
                </a:cxn>
                <a:cxn ang="0">
                  <a:pos x="255" y="13"/>
                </a:cxn>
                <a:cxn ang="0">
                  <a:pos x="241" y="25"/>
                </a:cxn>
                <a:cxn ang="0">
                  <a:pos x="232" y="22"/>
                </a:cxn>
                <a:cxn ang="0">
                  <a:pos x="212" y="18"/>
                </a:cxn>
                <a:cxn ang="0">
                  <a:pos x="190" y="30"/>
                </a:cxn>
                <a:cxn ang="0">
                  <a:pos x="181" y="32"/>
                </a:cxn>
                <a:cxn ang="0">
                  <a:pos x="175" y="21"/>
                </a:cxn>
                <a:cxn ang="0">
                  <a:pos x="167" y="10"/>
                </a:cxn>
                <a:cxn ang="0">
                  <a:pos x="155" y="4"/>
                </a:cxn>
                <a:cxn ang="0">
                  <a:pos x="142" y="17"/>
                </a:cxn>
                <a:cxn ang="0">
                  <a:pos x="126" y="7"/>
                </a:cxn>
                <a:cxn ang="0">
                  <a:pos x="117" y="9"/>
                </a:cxn>
                <a:cxn ang="0">
                  <a:pos x="105" y="12"/>
                </a:cxn>
                <a:cxn ang="0">
                  <a:pos x="96" y="22"/>
                </a:cxn>
                <a:cxn ang="0">
                  <a:pos x="87" y="28"/>
                </a:cxn>
                <a:cxn ang="0">
                  <a:pos x="78" y="47"/>
                </a:cxn>
                <a:cxn ang="0">
                  <a:pos x="70" y="52"/>
                </a:cxn>
                <a:cxn ang="0">
                  <a:pos x="57" y="62"/>
                </a:cxn>
                <a:cxn ang="0">
                  <a:pos x="51" y="64"/>
                </a:cxn>
                <a:cxn ang="0">
                  <a:pos x="31" y="60"/>
                </a:cxn>
                <a:cxn ang="0">
                  <a:pos x="23" y="69"/>
                </a:cxn>
                <a:cxn ang="0">
                  <a:pos x="8" y="75"/>
                </a:cxn>
                <a:cxn ang="0">
                  <a:pos x="4" y="88"/>
                </a:cxn>
                <a:cxn ang="0">
                  <a:pos x="4" y="101"/>
                </a:cxn>
                <a:cxn ang="0">
                  <a:pos x="9" y="118"/>
                </a:cxn>
                <a:cxn ang="0">
                  <a:pos x="12" y="126"/>
                </a:cxn>
                <a:cxn ang="0">
                  <a:pos x="9" y="135"/>
                </a:cxn>
              </a:cxnLst>
              <a:rect l="0" t="0" r="r" b="b"/>
              <a:pathLst>
                <a:path w="324" h="153">
                  <a:moveTo>
                    <a:pt x="9" y="135"/>
                  </a:moveTo>
                  <a:cubicBezTo>
                    <a:pt x="10" y="135"/>
                    <a:pt x="11" y="135"/>
                    <a:pt x="12" y="136"/>
                  </a:cubicBezTo>
                  <a:cubicBezTo>
                    <a:pt x="14" y="136"/>
                    <a:pt x="16" y="137"/>
                    <a:pt x="17" y="138"/>
                  </a:cubicBezTo>
                  <a:cubicBezTo>
                    <a:pt x="19" y="139"/>
                    <a:pt x="20" y="142"/>
                    <a:pt x="23" y="143"/>
                  </a:cubicBezTo>
                  <a:cubicBezTo>
                    <a:pt x="24" y="143"/>
                    <a:pt x="25" y="143"/>
                    <a:pt x="26" y="143"/>
                  </a:cubicBezTo>
                  <a:cubicBezTo>
                    <a:pt x="28" y="144"/>
                    <a:pt x="29" y="146"/>
                    <a:pt x="30" y="147"/>
                  </a:cubicBezTo>
                  <a:cubicBezTo>
                    <a:pt x="30" y="149"/>
                    <a:pt x="31" y="151"/>
                    <a:pt x="32" y="152"/>
                  </a:cubicBezTo>
                  <a:cubicBezTo>
                    <a:pt x="33" y="153"/>
                    <a:pt x="35" y="152"/>
                    <a:pt x="37" y="152"/>
                  </a:cubicBezTo>
                  <a:cubicBezTo>
                    <a:pt x="44" y="152"/>
                    <a:pt x="51" y="152"/>
                    <a:pt x="59" y="152"/>
                  </a:cubicBezTo>
                  <a:cubicBezTo>
                    <a:pt x="63" y="152"/>
                    <a:pt x="69" y="153"/>
                    <a:pt x="73" y="152"/>
                  </a:cubicBezTo>
                  <a:cubicBezTo>
                    <a:pt x="73" y="152"/>
                    <a:pt x="75" y="151"/>
                    <a:pt x="75" y="151"/>
                  </a:cubicBezTo>
                  <a:cubicBezTo>
                    <a:pt x="75" y="152"/>
                    <a:pt x="76" y="151"/>
                    <a:pt x="76" y="151"/>
                  </a:cubicBezTo>
                  <a:cubicBezTo>
                    <a:pt x="76" y="151"/>
                    <a:pt x="76" y="150"/>
                    <a:pt x="76" y="150"/>
                  </a:cubicBezTo>
                  <a:cubicBezTo>
                    <a:pt x="78" y="149"/>
                    <a:pt x="79" y="149"/>
                    <a:pt x="80" y="149"/>
                  </a:cubicBezTo>
                  <a:cubicBezTo>
                    <a:pt x="82" y="148"/>
                    <a:pt x="83" y="148"/>
                    <a:pt x="85" y="148"/>
                  </a:cubicBezTo>
                  <a:cubicBezTo>
                    <a:pt x="86" y="148"/>
                    <a:pt x="89" y="148"/>
                    <a:pt x="90" y="147"/>
                  </a:cubicBezTo>
                  <a:cubicBezTo>
                    <a:pt x="92" y="147"/>
                    <a:pt x="93" y="145"/>
                    <a:pt x="93" y="144"/>
                  </a:cubicBezTo>
                  <a:cubicBezTo>
                    <a:pt x="92" y="141"/>
                    <a:pt x="89" y="142"/>
                    <a:pt x="89" y="139"/>
                  </a:cubicBezTo>
                  <a:cubicBezTo>
                    <a:pt x="90" y="138"/>
                    <a:pt x="91" y="137"/>
                    <a:pt x="92" y="136"/>
                  </a:cubicBezTo>
                  <a:cubicBezTo>
                    <a:pt x="92" y="134"/>
                    <a:pt x="92" y="132"/>
                    <a:pt x="93" y="130"/>
                  </a:cubicBezTo>
                  <a:cubicBezTo>
                    <a:pt x="93" y="130"/>
                    <a:pt x="95" y="128"/>
                    <a:pt x="96" y="128"/>
                  </a:cubicBezTo>
                  <a:cubicBezTo>
                    <a:pt x="97" y="127"/>
                    <a:pt x="100" y="128"/>
                    <a:pt x="101" y="128"/>
                  </a:cubicBezTo>
                  <a:cubicBezTo>
                    <a:pt x="105" y="127"/>
                    <a:pt x="109" y="126"/>
                    <a:pt x="113" y="126"/>
                  </a:cubicBezTo>
                  <a:cubicBezTo>
                    <a:pt x="114" y="125"/>
                    <a:pt x="116" y="126"/>
                    <a:pt x="118" y="125"/>
                  </a:cubicBezTo>
                  <a:cubicBezTo>
                    <a:pt x="119" y="125"/>
                    <a:pt x="121" y="125"/>
                    <a:pt x="122" y="124"/>
                  </a:cubicBezTo>
                  <a:cubicBezTo>
                    <a:pt x="123" y="124"/>
                    <a:pt x="126" y="125"/>
                    <a:pt x="127" y="124"/>
                  </a:cubicBezTo>
                  <a:cubicBezTo>
                    <a:pt x="128" y="124"/>
                    <a:pt x="130" y="122"/>
                    <a:pt x="130" y="121"/>
                  </a:cubicBezTo>
                  <a:cubicBezTo>
                    <a:pt x="131" y="119"/>
                    <a:pt x="132" y="116"/>
                    <a:pt x="133" y="115"/>
                  </a:cubicBezTo>
                  <a:cubicBezTo>
                    <a:pt x="134" y="114"/>
                    <a:pt x="136" y="114"/>
                    <a:pt x="137" y="114"/>
                  </a:cubicBezTo>
                  <a:cubicBezTo>
                    <a:pt x="138" y="114"/>
                    <a:pt x="141" y="114"/>
                    <a:pt x="141" y="115"/>
                  </a:cubicBezTo>
                  <a:cubicBezTo>
                    <a:pt x="142" y="115"/>
                    <a:pt x="141" y="116"/>
                    <a:pt x="142" y="116"/>
                  </a:cubicBezTo>
                  <a:cubicBezTo>
                    <a:pt x="142" y="117"/>
                    <a:pt x="143" y="116"/>
                    <a:pt x="144" y="116"/>
                  </a:cubicBezTo>
                  <a:cubicBezTo>
                    <a:pt x="146" y="116"/>
                    <a:pt x="149" y="116"/>
                    <a:pt x="150" y="117"/>
                  </a:cubicBezTo>
                  <a:cubicBezTo>
                    <a:pt x="152" y="118"/>
                    <a:pt x="152" y="121"/>
                    <a:pt x="153" y="122"/>
                  </a:cubicBezTo>
                  <a:cubicBezTo>
                    <a:pt x="155" y="121"/>
                    <a:pt x="155" y="119"/>
                    <a:pt x="157" y="117"/>
                  </a:cubicBezTo>
                  <a:cubicBezTo>
                    <a:pt x="158" y="117"/>
                    <a:pt x="159" y="117"/>
                    <a:pt x="161" y="116"/>
                  </a:cubicBezTo>
                  <a:cubicBezTo>
                    <a:pt x="161" y="115"/>
                    <a:pt x="162" y="115"/>
                    <a:pt x="163" y="114"/>
                  </a:cubicBezTo>
                  <a:cubicBezTo>
                    <a:pt x="163" y="114"/>
                    <a:pt x="164" y="114"/>
                    <a:pt x="165" y="114"/>
                  </a:cubicBezTo>
                  <a:cubicBezTo>
                    <a:pt x="167" y="114"/>
                    <a:pt x="168" y="112"/>
                    <a:pt x="170" y="111"/>
                  </a:cubicBezTo>
                  <a:cubicBezTo>
                    <a:pt x="171" y="111"/>
                    <a:pt x="172" y="111"/>
                    <a:pt x="173" y="111"/>
                  </a:cubicBezTo>
                  <a:cubicBezTo>
                    <a:pt x="174" y="111"/>
                    <a:pt x="175" y="110"/>
                    <a:pt x="175" y="109"/>
                  </a:cubicBezTo>
                  <a:cubicBezTo>
                    <a:pt x="177" y="108"/>
                    <a:pt x="178" y="106"/>
                    <a:pt x="179" y="104"/>
                  </a:cubicBezTo>
                  <a:cubicBezTo>
                    <a:pt x="180" y="102"/>
                    <a:pt x="180" y="101"/>
                    <a:pt x="180" y="99"/>
                  </a:cubicBezTo>
                  <a:cubicBezTo>
                    <a:pt x="181" y="97"/>
                    <a:pt x="182" y="96"/>
                    <a:pt x="182" y="94"/>
                  </a:cubicBezTo>
                  <a:cubicBezTo>
                    <a:pt x="183" y="92"/>
                    <a:pt x="182" y="90"/>
                    <a:pt x="183" y="89"/>
                  </a:cubicBezTo>
                  <a:cubicBezTo>
                    <a:pt x="184" y="86"/>
                    <a:pt x="190" y="88"/>
                    <a:pt x="192" y="88"/>
                  </a:cubicBezTo>
                  <a:cubicBezTo>
                    <a:pt x="196" y="88"/>
                    <a:pt x="199" y="88"/>
                    <a:pt x="203" y="88"/>
                  </a:cubicBezTo>
                  <a:cubicBezTo>
                    <a:pt x="205" y="88"/>
                    <a:pt x="206" y="88"/>
                    <a:pt x="207" y="89"/>
                  </a:cubicBezTo>
                  <a:cubicBezTo>
                    <a:pt x="208" y="89"/>
                    <a:pt x="208" y="90"/>
                    <a:pt x="209" y="91"/>
                  </a:cubicBezTo>
                  <a:cubicBezTo>
                    <a:pt x="209" y="91"/>
                    <a:pt x="210" y="91"/>
                    <a:pt x="211" y="91"/>
                  </a:cubicBezTo>
                  <a:cubicBezTo>
                    <a:pt x="213" y="91"/>
                    <a:pt x="215" y="91"/>
                    <a:pt x="216" y="91"/>
                  </a:cubicBezTo>
                  <a:cubicBezTo>
                    <a:pt x="218" y="91"/>
                    <a:pt x="219" y="92"/>
                    <a:pt x="221" y="91"/>
                  </a:cubicBezTo>
                  <a:cubicBezTo>
                    <a:pt x="222" y="91"/>
                    <a:pt x="223" y="89"/>
                    <a:pt x="225" y="89"/>
                  </a:cubicBezTo>
                  <a:cubicBezTo>
                    <a:pt x="226" y="89"/>
                    <a:pt x="227" y="89"/>
                    <a:pt x="228" y="88"/>
                  </a:cubicBezTo>
                  <a:cubicBezTo>
                    <a:pt x="229" y="88"/>
                    <a:pt x="230" y="88"/>
                    <a:pt x="232" y="88"/>
                  </a:cubicBezTo>
                  <a:cubicBezTo>
                    <a:pt x="233" y="88"/>
                    <a:pt x="235" y="87"/>
                    <a:pt x="236" y="88"/>
                  </a:cubicBezTo>
                  <a:cubicBezTo>
                    <a:pt x="237" y="88"/>
                    <a:pt x="237" y="89"/>
                    <a:pt x="237" y="89"/>
                  </a:cubicBezTo>
                  <a:cubicBezTo>
                    <a:pt x="238" y="89"/>
                    <a:pt x="239" y="89"/>
                    <a:pt x="240" y="90"/>
                  </a:cubicBezTo>
                  <a:cubicBezTo>
                    <a:pt x="243" y="92"/>
                    <a:pt x="243" y="96"/>
                    <a:pt x="244" y="99"/>
                  </a:cubicBezTo>
                  <a:cubicBezTo>
                    <a:pt x="245" y="100"/>
                    <a:pt x="247" y="101"/>
                    <a:pt x="248" y="102"/>
                  </a:cubicBezTo>
                  <a:cubicBezTo>
                    <a:pt x="250" y="103"/>
                    <a:pt x="250" y="103"/>
                    <a:pt x="252" y="104"/>
                  </a:cubicBezTo>
                  <a:cubicBezTo>
                    <a:pt x="252" y="105"/>
                    <a:pt x="253" y="106"/>
                    <a:pt x="254" y="107"/>
                  </a:cubicBezTo>
                  <a:cubicBezTo>
                    <a:pt x="256" y="107"/>
                    <a:pt x="257" y="105"/>
                    <a:pt x="258" y="103"/>
                  </a:cubicBezTo>
                  <a:cubicBezTo>
                    <a:pt x="260" y="102"/>
                    <a:pt x="260" y="102"/>
                    <a:pt x="262" y="102"/>
                  </a:cubicBezTo>
                  <a:cubicBezTo>
                    <a:pt x="264" y="102"/>
                    <a:pt x="266" y="103"/>
                    <a:pt x="268" y="102"/>
                  </a:cubicBezTo>
                  <a:cubicBezTo>
                    <a:pt x="269" y="101"/>
                    <a:pt x="270" y="99"/>
                    <a:pt x="270" y="98"/>
                  </a:cubicBezTo>
                  <a:cubicBezTo>
                    <a:pt x="271" y="97"/>
                    <a:pt x="271" y="95"/>
                    <a:pt x="272" y="94"/>
                  </a:cubicBezTo>
                  <a:cubicBezTo>
                    <a:pt x="273" y="92"/>
                    <a:pt x="274" y="91"/>
                    <a:pt x="275" y="90"/>
                  </a:cubicBezTo>
                  <a:cubicBezTo>
                    <a:pt x="276" y="89"/>
                    <a:pt x="276" y="90"/>
                    <a:pt x="276" y="88"/>
                  </a:cubicBezTo>
                  <a:cubicBezTo>
                    <a:pt x="276" y="86"/>
                    <a:pt x="277" y="86"/>
                    <a:pt x="277" y="84"/>
                  </a:cubicBezTo>
                  <a:cubicBezTo>
                    <a:pt x="278" y="83"/>
                    <a:pt x="278" y="82"/>
                    <a:pt x="279" y="80"/>
                  </a:cubicBezTo>
                  <a:cubicBezTo>
                    <a:pt x="279" y="79"/>
                    <a:pt x="280" y="77"/>
                    <a:pt x="281" y="76"/>
                  </a:cubicBezTo>
                  <a:cubicBezTo>
                    <a:pt x="281" y="75"/>
                    <a:pt x="283" y="73"/>
                    <a:pt x="283" y="72"/>
                  </a:cubicBezTo>
                  <a:cubicBezTo>
                    <a:pt x="283" y="70"/>
                    <a:pt x="283" y="69"/>
                    <a:pt x="284" y="67"/>
                  </a:cubicBezTo>
                  <a:cubicBezTo>
                    <a:pt x="284" y="65"/>
                    <a:pt x="285" y="64"/>
                    <a:pt x="286" y="62"/>
                  </a:cubicBezTo>
                  <a:cubicBezTo>
                    <a:pt x="287" y="61"/>
                    <a:pt x="289" y="59"/>
                    <a:pt x="289" y="57"/>
                  </a:cubicBezTo>
                  <a:cubicBezTo>
                    <a:pt x="290" y="56"/>
                    <a:pt x="289" y="56"/>
                    <a:pt x="290" y="55"/>
                  </a:cubicBezTo>
                  <a:cubicBezTo>
                    <a:pt x="290" y="55"/>
                    <a:pt x="291" y="54"/>
                    <a:pt x="292" y="54"/>
                  </a:cubicBezTo>
                  <a:cubicBezTo>
                    <a:pt x="293" y="53"/>
                    <a:pt x="296" y="54"/>
                    <a:pt x="297" y="53"/>
                  </a:cubicBezTo>
                  <a:cubicBezTo>
                    <a:pt x="299" y="53"/>
                    <a:pt x="300" y="52"/>
                    <a:pt x="301" y="52"/>
                  </a:cubicBezTo>
                  <a:cubicBezTo>
                    <a:pt x="303" y="52"/>
                    <a:pt x="305" y="53"/>
                    <a:pt x="307" y="53"/>
                  </a:cubicBezTo>
                  <a:cubicBezTo>
                    <a:pt x="309" y="53"/>
                    <a:pt x="311" y="53"/>
                    <a:pt x="312" y="53"/>
                  </a:cubicBezTo>
                  <a:cubicBezTo>
                    <a:pt x="316" y="52"/>
                    <a:pt x="319" y="51"/>
                    <a:pt x="322" y="47"/>
                  </a:cubicBezTo>
                  <a:cubicBezTo>
                    <a:pt x="322" y="46"/>
                    <a:pt x="323" y="45"/>
                    <a:pt x="323" y="43"/>
                  </a:cubicBezTo>
                  <a:cubicBezTo>
                    <a:pt x="324" y="43"/>
                    <a:pt x="324" y="43"/>
                    <a:pt x="324" y="42"/>
                  </a:cubicBezTo>
                  <a:cubicBezTo>
                    <a:pt x="324" y="42"/>
                    <a:pt x="324" y="42"/>
                    <a:pt x="324" y="42"/>
                  </a:cubicBezTo>
                  <a:cubicBezTo>
                    <a:pt x="323" y="42"/>
                    <a:pt x="322" y="42"/>
                    <a:pt x="322" y="41"/>
                  </a:cubicBezTo>
                  <a:cubicBezTo>
                    <a:pt x="321" y="41"/>
                    <a:pt x="320" y="40"/>
                    <a:pt x="320" y="40"/>
                  </a:cubicBezTo>
                  <a:cubicBezTo>
                    <a:pt x="318" y="39"/>
                    <a:pt x="316" y="38"/>
                    <a:pt x="315" y="38"/>
                  </a:cubicBezTo>
                  <a:cubicBezTo>
                    <a:pt x="311" y="36"/>
                    <a:pt x="308" y="36"/>
                    <a:pt x="304" y="35"/>
                  </a:cubicBezTo>
                  <a:cubicBezTo>
                    <a:pt x="303" y="34"/>
                    <a:pt x="302" y="34"/>
                    <a:pt x="301" y="32"/>
                  </a:cubicBezTo>
                  <a:cubicBezTo>
                    <a:pt x="300" y="31"/>
                    <a:pt x="300" y="31"/>
                    <a:pt x="298" y="30"/>
                  </a:cubicBezTo>
                  <a:cubicBezTo>
                    <a:pt x="297" y="29"/>
                    <a:pt x="295" y="28"/>
                    <a:pt x="293" y="27"/>
                  </a:cubicBezTo>
                  <a:cubicBezTo>
                    <a:pt x="292" y="27"/>
                    <a:pt x="292" y="27"/>
                    <a:pt x="291" y="27"/>
                  </a:cubicBezTo>
                  <a:cubicBezTo>
                    <a:pt x="291" y="27"/>
                    <a:pt x="290" y="25"/>
                    <a:pt x="290" y="25"/>
                  </a:cubicBezTo>
                  <a:cubicBezTo>
                    <a:pt x="289" y="24"/>
                    <a:pt x="289" y="24"/>
                    <a:pt x="289" y="23"/>
                  </a:cubicBezTo>
                  <a:cubicBezTo>
                    <a:pt x="288" y="22"/>
                    <a:pt x="287" y="21"/>
                    <a:pt x="286" y="20"/>
                  </a:cubicBezTo>
                  <a:cubicBezTo>
                    <a:pt x="285" y="20"/>
                    <a:pt x="284" y="21"/>
                    <a:pt x="283" y="21"/>
                  </a:cubicBezTo>
                  <a:cubicBezTo>
                    <a:pt x="281" y="20"/>
                    <a:pt x="282" y="20"/>
                    <a:pt x="281" y="19"/>
                  </a:cubicBezTo>
                  <a:cubicBezTo>
                    <a:pt x="279" y="18"/>
                    <a:pt x="278" y="17"/>
                    <a:pt x="276" y="16"/>
                  </a:cubicBezTo>
                  <a:cubicBezTo>
                    <a:pt x="273" y="15"/>
                    <a:pt x="269" y="14"/>
                    <a:pt x="266" y="13"/>
                  </a:cubicBezTo>
                  <a:cubicBezTo>
                    <a:pt x="264" y="13"/>
                    <a:pt x="261" y="13"/>
                    <a:pt x="259" y="13"/>
                  </a:cubicBezTo>
                  <a:cubicBezTo>
                    <a:pt x="258" y="13"/>
                    <a:pt x="258" y="12"/>
                    <a:pt x="257" y="12"/>
                  </a:cubicBezTo>
                  <a:cubicBezTo>
                    <a:pt x="256" y="12"/>
                    <a:pt x="255" y="13"/>
                    <a:pt x="255" y="13"/>
                  </a:cubicBezTo>
                  <a:cubicBezTo>
                    <a:pt x="254" y="17"/>
                    <a:pt x="251" y="15"/>
                    <a:pt x="249" y="15"/>
                  </a:cubicBezTo>
                  <a:cubicBezTo>
                    <a:pt x="248" y="15"/>
                    <a:pt x="247" y="16"/>
                    <a:pt x="246" y="17"/>
                  </a:cubicBezTo>
                  <a:cubicBezTo>
                    <a:pt x="245" y="19"/>
                    <a:pt x="246" y="20"/>
                    <a:pt x="245" y="22"/>
                  </a:cubicBezTo>
                  <a:cubicBezTo>
                    <a:pt x="245" y="23"/>
                    <a:pt x="242" y="25"/>
                    <a:pt x="241" y="25"/>
                  </a:cubicBezTo>
                  <a:cubicBezTo>
                    <a:pt x="241" y="25"/>
                    <a:pt x="238" y="25"/>
                    <a:pt x="238" y="25"/>
                  </a:cubicBezTo>
                  <a:cubicBezTo>
                    <a:pt x="237" y="25"/>
                    <a:pt x="237" y="24"/>
                    <a:pt x="237" y="23"/>
                  </a:cubicBezTo>
                  <a:cubicBezTo>
                    <a:pt x="236" y="23"/>
                    <a:pt x="235" y="23"/>
                    <a:pt x="234" y="22"/>
                  </a:cubicBezTo>
                  <a:cubicBezTo>
                    <a:pt x="234" y="22"/>
                    <a:pt x="232" y="22"/>
                    <a:pt x="232" y="22"/>
                  </a:cubicBezTo>
                  <a:cubicBezTo>
                    <a:pt x="230" y="21"/>
                    <a:pt x="229" y="18"/>
                    <a:pt x="227" y="17"/>
                  </a:cubicBezTo>
                  <a:cubicBezTo>
                    <a:pt x="226" y="17"/>
                    <a:pt x="225" y="18"/>
                    <a:pt x="224" y="17"/>
                  </a:cubicBezTo>
                  <a:cubicBezTo>
                    <a:pt x="222" y="17"/>
                    <a:pt x="222" y="16"/>
                    <a:pt x="221" y="15"/>
                  </a:cubicBezTo>
                  <a:cubicBezTo>
                    <a:pt x="217" y="15"/>
                    <a:pt x="215" y="18"/>
                    <a:pt x="212" y="18"/>
                  </a:cubicBezTo>
                  <a:cubicBezTo>
                    <a:pt x="210" y="18"/>
                    <a:pt x="207" y="18"/>
                    <a:pt x="205" y="18"/>
                  </a:cubicBezTo>
                  <a:cubicBezTo>
                    <a:pt x="205" y="20"/>
                    <a:pt x="206" y="21"/>
                    <a:pt x="205" y="23"/>
                  </a:cubicBezTo>
                  <a:cubicBezTo>
                    <a:pt x="201" y="24"/>
                    <a:pt x="197" y="22"/>
                    <a:pt x="194" y="25"/>
                  </a:cubicBezTo>
                  <a:cubicBezTo>
                    <a:pt x="191" y="26"/>
                    <a:pt x="190" y="27"/>
                    <a:pt x="190" y="30"/>
                  </a:cubicBezTo>
                  <a:cubicBezTo>
                    <a:pt x="190" y="32"/>
                    <a:pt x="190" y="33"/>
                    <a:pt x="190" y="35"/>
                  </a:cubicBezTo>
                  <a:cubicBezTo>
                    <a:pt x="189" y="35"/>
                    <a:pt x="187" y="35"/>
                    <a:pt x="185" y="35"/>
                  </a:cubicBezTo>
                  <a:cubicBezTo>
                    <a:pt x="185" y="34"/>
                    <a:pt x="184" y="33"/>
                    <a:pt x="183" y="33"/>
                  </a:cubicBezTo>
                  <a:cubicBezTo>
                    <a:pt x="182" y="33"/>
                    <a:pt x="182" y="33"/>
                    <a:pt x="181" y="32"/>
                  </a:cubicBezTo>
                  <a:cubicBezTo>
                    <a:pt x="180" y="32"/>
                    <a:pt x="179" y="31"/>
                    <a:pt x="179" y="30"/>
                  </a:cubicBezTo>
                  <a:cubicBezTo>
                    <a:pt x="178" y="30"/>
                    <a:pt x="177" y="30"/>
                    <a:pt x="177" y="29"/>
                  </a:cubicBezTo>
                  <a:cubicBezTo>
                    <a:pt x="175" y="28"/>
                    <a:pt x="175" y="29"/>
                    <a:pt x="175" y="27"/>
                  </a:cubicBezTo>
                  <a:cubicBezTo>
                    <a:pt x="175" y="25"/>
                    <a:pt x="175" y="23"/>
                    <a:pt x="175" y="21"/>
                  </a:cubicBezTo>
                  <a:cubicBezTo>
                    <a:pt x="175" y="19"/>
                    <a:pt x="175" y="19"/>
                    <a:pt x="174" y="18"/>
                  </a:cubicBezTo>
                  <a:cubicBezTo>
                    <a:pt x="174" y="17"/>
                    <a:pt x="173" y="16"/>
                    <a:pt x="172" y="15"/>
                  </a:cubicBezTo>
                  <a:cubicBezTo>
                    <a:pt x="172" y="15"/>
                    <a:pt x="172" y="14"/>
                    <a:pt x="171" y="13"/>
                  </a:cubicBezTo>
                  <a:cubicBezTo>
                    <a:pt x="171" y="12"/>
                    <a:pt x="168" y="10"/>
                    <a:pt x="167" y="10"/>
                  </a:cubicBezTo>
                  <a:cubicBezTo>
                    <a:pt x="167" y="8"/>
                    <a:pt x="165" y="9"/>
                    <a:pt x="164" y="8"/>
                  </a:cubicBezTo>
                  <a:cubicBezTo>
                    <a:pt x="163" y="7"/>
                    <a:pt x="163" y="6"/>
                    <a:pt x="163" y="5"/>
                  </a:cubicBezTo>
                  <a:cubicBezTo>
                    <a:pt x="163" y="2"/>
                    <a:pt x="160" y="0"/>
                    <a:pt x="158" y="2"/>
                  </a:cubicBezTo>
                  <a:cubicBezTo>
                    <a:pt x="157" y="3"/>
                    <a:pt x="157" y="4"/>
                    <a:pt x="155" y="4"/>
                  </a:cubicBezTo>
                  <a:cubicBezTo>
                    <a:pt x="155" y="5"/>
                    <a:pt x="154" y="5"/>
                    <a:pt x="154" y="5"/>
                  </a:cubicBezTo>
                  <a:cubicBezTo>
                    <a:pt x="152" y="5"/>
                    <a:pt x="152" y="6"/>
                    <a:pt x="150" y="6"/>
                  </a:cubicBezTo>
                  <a:cubicBezTo>
                    <a:pt x="147" y="7"/>
                    <a:pt x="146" y="8"/>
                    <a:pt x="145" y="11"/>
                  </a:cubicBezTo>
                  <a:cubicBezTo>
                    <a:pt x="145" y="15"/>
                    <a:pt x="146" y="17"/>
                    <a:pt x="142" y="17"/>
                  </a:cubicBezTo>
                  <a:cubicBezTo>
                    <a:pt x="139" y="18"/>
                    <a:pt x="135" y="18"/>
                    <a:pt x="132" y="17"/>
                  </a:cubicBezTo>
                  <a:cubicBezTo>
                    <a:pt x="128" y="17"/>
                    <a:pt x="129" y="15"/>
                    <a:pt x="128" y="12"/>
                  </a:cubicBezTo>
                  <a:cubicBezTo>
                    <a:pt x="128" y="11"/>
                    <a:pt x="128" y="9"/>
                    <a:pt x="127" y="8"/>
                  </a:cubicBezTo>
                  <a:cubicBezTo>
                    <a:pt x="127" y="7"/>
                    <a:pt x="127" y="7"/>
                    <a:pt x="126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2" y="7"/>
                    <a:pt x="121" y="8"/>
                  </a:cubicBezTo>
                  <a:cubicBezTo>
                    <a:pt x="120" y="8"/>
                    <a:pt x="120" y="8"/>
                    <a:pt x="119" y="9"/>
                  </a:cubicBezTo>
                  <a:cubicBezTo>
                    <a:pt x="118" y="9"/>
                    <a:pt x="119" y="9"/>
                    <a:pt x="117" y="9"/>
                  </a:cubicBezTo>
                  <a:cubicBezTo>
                    <a:pt x="116" y="10"/>
                    <a:pt x="115" y="10"/>
                    <a:pt x="114" y="10"/>
                  </a:cubicBezTo>
                  <a:cubicBezTo>
                    <a:pt x="112" y="9"/>
                    <a:pt x="111" y="8"/>
                    <a:pt x="110" y="8"/>
                  </a:cubicBezTo>
                  <a:cubicBezTo>
                    <a:pt x="108" y="8"/>
                    <a:pt x="109" y="9"/>
                    <a:pt x="108" y="10"/>
                  </a:cubicBezTo>
                  <a:cubicBezTo>
                    <a:pt x="107" y="11"/>
                    <a:pt x="106" y="12"/>
                    <a:pt x="105" y="12"/>
                  </a:cubicBezTo>
                  <a:cubicBezTo>
                    <a:pt x="104" y="13"/>
                    <a:pt x="104" y="13"/>
                    <a:pt x="103" y="14"/>
                  </a:cubicBezTo>
                  <a:cubicBezTo>
                    <a:pt x="103" y="15"/>
                    <a:pt x="102" y="15"/>
                    <a:pt x="101" y="15"/>
                  </a:cubicBezTo>
                  <a:cubicBezTo>
                    <a:pt x="98" y="17"/>
                    <a:pt x="98" y="19"/>
                    <a:pt x="97" y="21"/>
                  </a:cubicBezTo>
                  <a:cubicBezTo>
                    <a:pt x="96" y="21"/>
                    <a:pt x="96" y="21"/>
                    <a:pt x="96" y="22"/>
                  </a:cubicBezTo>
                  <a:cubicBezTo>
                    <a:pt x="96" y="22"/>
                    <a:pt x="95" y="23"/>
                    <a:pt x="95" y="24"/>
                  </a:cubicBezTo>
                  <a:cubicBezTo>
                    <a:pt x="94" y="24"/>
                    <a:pt x="93" y="25"/>
                    <a:pt x="92" y="25"/>
                  </a:cubicBezTo>
                  <a:cubicBezTo>
                    <a:pt x="91" y="25"/>
                    <a:pt x="89" y="25"/>
                    <a:pt x="88" y="25"/>
                  </a:cubicBezTo>
                  <a:cubicBezTo>
                    <a:pt x="87" y="25"/>
                    <a:pt x="87" y="27"/>
                    <a:pt x="87" y="28"/>
                  </a:cubicBezTo>
                  <a:cubicBezTo>
                    <a:pt x="86" y="29"/>
                    <a:pt x="86" y="30"/>
                    <a:pt x="85" y="31"/>
                  </a:cubicBezTo>
                  <a:cubicBezTo>
                    <a:pt x="85" y="31"/>
                    <a:pt x="85" y="33"/>
                    <a:pt x="85" y="34"/>
                  </a:cubicBezTo>
                  <a:cubicBezTo>
                    <a:pt x="84" y="36"/>
                    <a:pt x="82" y="37"/>
                    <a:pt x="82" y="40"/>
                  </a:cubicBezTo>
                  <a:cubicBezTo>
                    <a:pt x="82" y="43"/>
                    <a:pt x="80" y="45"/>
                    <a:pt x="78" y="47"/>
                  </a:cubicBezTo>
                  <a:cubicBezTo>
                    <a:pt x="78" y="48"/>
                    <a:pt x="78" y="49"/>
                    <a:pt x="77" y="50"/>
                  </a:cubicBezTo>
                  <a:cubicBezTo>
                    <a:pt x="77" y="50"/>
                    <a:pt x="76" y="49"/>
                    <a:pt x="75" y="50"/>
                  </a:cubicBezTo>
                  <a:cubicBezTo>
                    <a:pt x="74" y="50"/>
                    <a:pt x="74" y="50"/>
                    <a:pt x="73" y="50"/>
                  </a:cubicBezTo>
                  <a:cubicBezTo>
                    <a:pt x="71" y="51"/>
                    <a:pt x="71" y="51"/>
                    <a:pt x="70" y="52"/>
                  </a:cubicBezTo>
                  <a:cubicBezTo>
                    <a:pt x="70" y="53"/>
                    <a:pt x="70" y="53"/>
                    <a:pt x="69" y="54"/>
                  </a:cubicBezTo>
                  <a:cubicBezTo>
                    <a:pt x="68" y="55"/>
                    <a:pt x="67" y="56"/>
                    <a:pt x="66" y="56"/>
                  </a:cubicBezTo>
                  <a:cubicBezTo>
                    <a:pt x="65" y="57"/>
                    <a:pt x="63" y="58"/>
                    <a:pt x="62" y="59"/>
                  </a:cubicBezTo>
                  <a:cubicBezTo>
                    <a:pt x="61" y="60"/>
                    <a:pt x="59" y="61"/>
                    <a:pt x="57" y="62"/>
                  </a:cubicBezTo>
                  <a:cubicBezTo>
                    <a:pt x="56" y="62"/>
                    <a:pt x="56" y="62"/>
                    <a:pt x="55" y="63"/>
                  </a:cubicBezTo>
                  <a:cubicBezTo>
                    <a:pt x="55" y="63"/>
                    <a:pt x="54" y="63"/>
                    <a:pt x="54" y="63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3" y="65"/>
                    <a:pt x="52" y="64"/>
                    <a:pt x="51" y="64"/>
                  </a:cubicBezTo>
                  <a:cubicBezTo>
                    <a:pt x="47" y="65"/>
                    <a:pt x="43" y="66"/>
                    <a:pt x="39" y="64"/>
                  </a:cubicBezTo>
                  <a:cubicBezTo>
                    <a:pt x="38" y="64"/>
                    <a:pt x="37" y="63"/>
                    <a:pt x="36" y="63"/>
                  </a:cubicBezTo>
                  <a:cubicBezTo>
                    <a:pt x="35" y="62"/>
                    <a:pt x="34" y="62"/>
                    <a:pt x="33" y="62"/>
                  </a:cubicBezTo>
                  <a:cubicBezTo>
                    <a:pt x="33" y="61"/>
                    <a:pt x="33" y="60"/>
                    <a:pt x="31" y="60"/>
                  </a:cubicBezTo>
                  <a:cubicBezTo>
                    <a:pt x="30" y="61"/>
                    <a:pt x="30" y="63"/>
                    <a:pt x="29" y="63"/>
                  </a:cubicBezTo>
                  <a:cubicBezTo>
                    <a:pt x="28" y="64"/>
                    <a:pt x="27" y="65"/>
                    <a:pt x="26" y="66"/>
                  </a:cubicBezTo>
                  <a:cubicBezTo>
                    <a:pt x="25" y="66"/>
                    <a:pt x="25" y="67"/>
                    <a:pt x="24" y="68"/>
                  </a:cubicBezTo>
                  <a:cubicBezTo>
                    <a:pt x="24" y="68"/>
                    <a:pt x="23" y="68"/>
                    <a:pt x="23" y="69"/>
                  </a:cubicBezTo>
                  <a:cubicBezTo>
                    <a:pt x="22" y="70"/>
                    <a:pt x="22" y="71"/>
                    <a:pt x="21" y="72"/>
                  </a:cubicBezTo>
                  <a:cubicBezTo>
                    <a:pt x="19" y="73"/>
                    <a:pt x="18" y="74"/>
                    <a:pt x="15" y="74"/>
                  </a:cubicBezTo>
                  <a:cubicBezTo>
                    <a:pt x="14" y="75"/>
                    <a:pt x="13" y="74"/>
                    <a:pt x="12" y="74"/>
                  </a:cubicBezTo>
                  <a:cubicBezTo>
                    <a:pt x="10" y="74"/>
                    <a:pt x="9" y="75"/>
                    <a:pt x="8" y="75"/>
                  </a:cubicBezTo>
                  <a:cubicBezTo>
                    <a:pt x="8" y="75"/>
                    <a:pt x="8" y="75"/>
                    <a:pt x="8" y="76"/>
                  </a:cubicBezTo>
                  <a:cubicBezTo>
                    <a:pt x="8" y="77"/>
                    <a:pt x="8" y="79"/>
                    <a:pt x="8" y="80"/>
                  </a:cubicBezTo>
                  <a:cubicBezTo>
                    <a:pt x="8" y="82"/>
                    <a:pt x="7" y="84"/>
                    <a:pt x="6" y="85"/>
                  </a:cubicBezTo>
                  <a:cubicBezTo>
                    <a:pt x="6" y="86"/>
                    <a:pt x="5" y="87"/>
                    <a:pt x="4" y="88"/>
                  </a:cubicBezTo>
                  <a:cubicBezTo>
                    <a:pt x="3" y="89"/>
                    <a:pt x="2" y="91"/>
                    <a:pt x="1" y="93"/>
                  </a:cubicBezTo>
                  <a:cubicBezTo>
                    <a:pt x="1" y="94"/>
                    <a:pt x="0" y="95"/>
                    <a:pt x="1" y="96"/>
                  </a:cubicBezTo>
                  <a:cubicBezTo>
                    <a:pt x="1" y="97"/>
                    <a:pt x="2" y="99"/>
                    <a:pt x="2" y="100"/>
                  </a:cubicBezTo>
                  <a:cubicBezTo>
                    <a:pt x="3" y="100"/>
                    <a:pt x="4" y="101"/>
                    <a:pt x="4" y="101"/>
                  </a:cubicBezTo>
                  <a:cubicBezTo>
                    <a:pt x="5" y="102"/>
                    <a:pt x="5" y="103"/>
                    <a:pt x="5" y="104"/>
                  </a:cubicBezTo>
                  <a:cubicBezTo>
                    <a:pt x="6" y="107"/>
                    <a:pt x="5" y="110"/>
                    <a:pt x="6" y="113"/>
                  </a:cubicBezTo>
                  <a:cubicBezTo>
                    <a:pt x="6" y="114"/>
                    <a:pt x="7" y="116"/>
                    <a:pt x="8" y="117"/>
                  </a:cubicBezTo>
                  <a:cubicBezTo>
                    <a:pt x="8" y="118"/>
                    <a:pt x="9" y="118"/>
                    <a:pt x="9" y="118"/>
                  </a:cubicBezTo>
                  <a:cubicBezTo>
                    <a:pt x="10" y="119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3"/>
                    <a:pt x="11" y="124"/>
                    <a:pt x="12" y="126"/>
                  </a:cubicBezTo>
                  <a:cubicBezTo>
                    <a:pt x="13" y="127"/>
                    <a:pt x="13" y="129"/>
                    <a:pt x="13" y="130"/>
                  </a:cubicBezTo>
                  <a:cubicBezTo>
                    <a:pt x="13" y="130"/>
                    <a:pt x="12" y="131"/>
                    <a:pt x="12" y="131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1" y="133"/>
                    <a:pt x="10" y="134"/>
                    <a:pt x="9" y="13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3" name="Freeform 24">
              <a:extLst>
                <a:ext uri="{FF2B5EF4-FFF2-40B4-BE49-F238E27FC236}">
                  <a16:creationId xmlns:a16="http://schemas.microsoft.com/office/drawing/2014/main" id="{13368A21-F0A4-4C49-AF64-4EEDCB6DFC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0000" y="4768850"/>
              <a:ext cx="660400" cy="425450"/>
            </a:xfrm>
            <a:custGeom>
              <a:avLst/>
              <a:gdLst/>
              <a:ahLst/>
              <a:cxnLst>
                <a:cxn ang="0">
                  <a:pos x="3" y="150"/>
                </a:cxn>
                <a:cxn ang="0">
                  <a:pos x="12" y="165"/>
                </a:cxn>
                <a:cxn ang="0">
                  <a:pos x="27" y="181"/>
                </a:cxn>
                <a:cxn ang="0">
                  <a:pos x="42" y="192"/>
                </a:cxn>
                <a:cxn ang="0">
                  <a:pos x="44" y="198"/>
                </a:cxn>
                <a:cxn ang="0">
                  <a:pos x="58" y="213"/>
                </a:cxn>
                <a:cxn ang="0">
                  <a:pos x="71" y="221"/>
                </a:cxn>
                <a:cxn ang="0">
                  <a:pos x="88" y="225"/>
                </a:cxn>
                <a:cxn ang="0">
                  <a:pos x="104" y="226"/>
                </a:cxn>
                <a:cxn ang="0">
                  <a:pos x="123" y="219"/>
                </a:cxn>
                <a:cxn ang="0">
                  <a:pos x="132" y="214"/>
                </a:cxn>
                <a:cxn ang="0">
                  <a:pos x="150" y="211"/>
                </a:cxn>
                <a:cxn ang="0">
                  <a:pos x="165" y="200"/>
                </a:cxn>
                <a:cxn ang="0">
                  <a:pos x="172" y="196"/>
                </a:cxn>
                <a:cxn ang="0">
                  <a:pos x="197" y="196"/>
                </a:cxn>
                <a:cxn ang="0">
                  <a:pos x="234" y="193"/>
                </a:cxn>
                <a:cxn ang="0">
                  <a:pos x="251" y="191"/>
                </a:cxn>
                <a:cxn ang="0">
                  <a:pos x="255" y="185"/>
                </a:cxn>
                <a:cxn ang="0">
                  <a:pos x="259" y="180"/>
                </a:cxn>
                <a:cxn ang="0">
                  <a:pos x="262" y="174"/>
                </a:cxn>
                <a:cxn ang="0">
                  <a:pos x="267" y="162"/>
                </a:cxn>
                <a:cxn ang="0">
                  <a:pos x="275" y="154"/>
                </a:cxn>
                <a:cxn ang="0">
                  <a:pos x="281" y="148"/>
                </a:cxn>
                <a:cxn ang="0">
                  <a:pos x="285" y="133"/>
                </a:cxn>
                <a:cxn ang="0">
                  <a:pos x="292" y="121"/>
                </a:cxn>
                <a:cxn ang="0">
                  <a:pos x="302" y="101"/>
                </a:cxn>
                <a:cxn ang="0">
                  <a:pos x="307" y="91"/>
                </a:cxn>
                <a:cxn ang="0">
                  <a:pos x="311" y="85"/>
                </a:cxn>
                <a:cxn ang="0">
                  <a:pos x="315" y="78"/>
                </a:cxn>
                <a:cxn ang="0">
                  <a:pos x="327" y="70"/>
                </a:cxn>
                <a:cxn ang="0">
                  <a:pos x="341" y="64"/>
                </a:cxn>
                <a:cxn ang="0">
                  <a:pos x="353" y="52"/>
                </a:cxn>
                <a:cxn ang="0">
                  <a:pos x="348" y="38"/>
                </a:cxn>
                <a:cxn ang="0">
                  <a:pos x="337" y="30"/>
                </a:cxn>
                <a:cxn ang="0">
                  <a:pos x="312" y="12"/>
                </a:cxn>
                <a:cxn ang="0">
                  <a:pos x="296" y="21"/>
                </a:cxn>
                <a:cxn ang="0">
                  <a:pos x="282" y="4"/>
                </a:cxn>
                <a:cxn ang="0">
                  <a:pos x="270" y="2"/>
                </a:cxn>
                <a:cxn ang="0">
                  <a:pos x="253" y="5"/>
                </a:cxn>
                <a:cxn ang="0">
                  <a:pos x="234" y="2"/>
                </a:cxn>
                <a:cxn ang="0">
                  <a:pos x="221" y="18"/>
                </a:cxn>
                <a:cxn ang="0">
                  <a:pos x="207" y="28"/>
                </a:cxn>
                <a:cxn ang="0">
                  <a:pos x="195" y="36"/>
                </a:cxn>
                <a:cxn ang="0">
                  <a:pos x="183" y="29"/>
                </a:cxn>
                <a:cxn ang="0">
                  <a:pos x="169" y="38"/>
                </a:cxn>
                <a:cxn ang="0">
                  <a:pos x="143" y="42"/>
                </a:cxn>
                <a:cxn ang="0">
                  <a:pos x="131" y="53"/>
                </a:cxn>
                <a:cxn ang="0">
                  <a:pos x="122" y="63"/>
                </a:cxn>
                <a:cxn ang="0">
                  <a:pos x="115" y="66"/>
                </a:cxn>
                <a:cxn ang="0">
                  <a:pos x="72" y="61"/>
                </a:cxn>
                <a:cxn ang="0">
                  <a:pos x="54" y="50"/>
                </a:cxn>
                <a:cxn ang="0">
                  <a:pos x="52" y="61"/>
                </a:cxn>
                <a:cxn ang="0">
                  <a:pos x="36" y="69"/>
                </a:cxn>
                <a:cxn ang="0">
                  <a:pos x="21" y="68"/>
                </a:cxn>
                <a:cxn ang="0">
                  <a:pos x="26" y="74"/>
                </a:cxn>
                <a:cxn ang="0">
                  <a:pos x="28" y="82"/>
                </a:cxn>
                <a:cxn ang="0">
                  <a:pos x="19" y="90"/>
                </a:cxn>
                <a:cxn ang="0">
                  <a:pos x="17" y="103"/>
                </a:cxn>
                <a:cxn ang="0">
                  <a:pos x="17" y="113"/>
                </a:cxn>
                <a:cxn ang="0">
                  <a:pos x="17" y="122"/>
                </a:cxn>
                <a:cxn ang="0">
                  <a:pos x="2" y="131"/>
                </a:cxn>
                <a:cxn ang="0">
                  <a:pos x="53" y="47"/>
                </a:cxn>
              </a:cxnLst>
              <a:rect l="0" t="0" r="r" b="b"/>
              <a:pathLst>
                <a:path w="353" h="228">
                  <a:moveTo>
                    <a:pt x="2" y="136"/>
                  </a:moveTo>
                  <a:cubicBezTo>
                    <a:pt x="4" y="138"/>
                    <a:pt x="5" y="139"/>
                    <a:pt x="5" y="141"/>
                  </a:cubicBezTo>
                  <a:cubicBezTo>
                    <a:pt x="5" y="143"/>
                    <a:pt x="4" y="144"/>
                    <a:pt x="4" y="146"/>
                  </a:cubicBezTo>
                  <a:cubicBezTo>
                    <a:pt x="3" y="147"/>
                    <a:pt x="3" y="148"/>
                    <a:pt x="3" y="150"/>
                  </a:cubicBezTo>
                  <a:cubicBezTo>
                    <a:pt x="3" y="152"/>
                    <a:pt x="3" y="152"/>
                    <a:pt x="5" y="153"/>
                  </a:cubicBezTo>
                  <a:cubicBezTo>
                    <a:pt x="6" y="154"/>
                    <a:pt x="7" y="154"/>
                    <a:pt x="8" y="155"/>
                  </a:cubicBezTo>
                  <a:cubicBezTo>
                    <a:pt x="9" y="159"/>
                    <a:pt x="6" y="162"/>
                    <a:pt x="10" y="165"/>
                  </a:cubicBezTo>
                  <a:cubicBezTo>
                    <a:pt x="10" y="165"/>
                    <a:pt x="11" y="165"/>
                    <a:pt x="12" y="165"/>
                  </a:cubicBezTo>
                  <a:cubicBezTo>
                    <a:pt x="12" y="165"/>
                    <a:pt x="13" y="167"/>
                    <a:pt x="13" y="167"/>
                  </a:cubicBezTo>
                  <a:cubicBezTo>
                    <a:pt x="14" y="168"/>
                    <a:pt x="15" y="169"/>
                    <a:pt x="17" y="170"/>
                  </a:cubicBezTo>
                  <a:cubicBezTo>
                    <a:pt x="20" y="172"/>
                    <a:pt x="23" y="174"/>
                    <a:pt x="25" y="177"/>
                  </a:cubicBezTo>
                  <a:cubicBezTo>
                    <a:pt x="26" y="178"/>
                    <a:pt x="26" y="180"/>
                    <a:pt x="27" y="181"/>
                  </a:cubicBezTo>
                  <a:cubicBezTo>
                    <a:pt x="28" y="182"/>
                    <a:pt x="30" y="183"/>
                    <a:pt x="32" y="183"/>
                  </a:cubicBezTo>
                  <a:cubicBezTo>
                    <a:pt x="31" y="186"/>
                    <a:pt x="31" y="187"/>
                    <a:pt x="34" y="189"/>
                  </a:cubicBezTo>
                  <a:cubicBezTo>
                    <a:pt x="35" y="190"/>
                    <a:pt x="37" y="190"/>
                    <a:pt x="38" y="191"/>
                  </a:cubicBezTo>
                  <a:cubicBezTo>
                    <a:pt x="39" y="191"/>
                    <a:pt x="40" y="193"/>
                    <a:pt x="42" y="192"/>
                  </a:cubicBezTo>
                  <a:cubicBezTo>
                    <a:pt x="41" y="192"/>
                    <a:pt x="41" y="193"/>
                    <a:pt x="41" y="193"/>
                  </a:cubicBezTo>
                  <a:cubicBezTo>
                    <a:pt x="42" y="194"/>
                    <a:pt x="43" y="195"/>
                    <a:pt x="43" y="196"/>
                  </a:cubicBezTo>
                  <a:cubicBezTo>
                    <a:pt x="44" y="196"/>
                    <a:pt x="44" y="196"/>
                    <a:pt x="43" y="197"/>
                  </a:cubicBezTo>
                  <a:cubicBezTo>
                    <a:pt x="44" y="197"/>
                    <a:pt x="44" y="197"/>
                    <a:pt x="44" y="198"/>
                  </a:cubicBezTo>
                  <a:cubicBezTo>
                    <a:pt x="45" y="198"/>
                    <a:pt x="45" y="199"/>
                    <a:pt x="46" y="199"/>
                  </a:cubicBezTo>
                  <a:cubicBezTo>
                    <a:pt x="47" y="201"/>
                    <a:pt x="48" y="201"/>
                    <a:pt x="49" y="203"/>
                  </a:cubicBezTo>
                  <a:cubicBezTo>
                    <a:pt x="50" y="205"/>
                    <a:pt x="50" y="208"/>
                    <a:pt x="51" y="210"/>
                  </a:cubicBezTo>
                  <a:cubicBezTo>
                    <a:pt x="53" y="212"/>
                    <a:pt x="56" y="212"/>
                    <a:pt x="58" y="213"/>
                  </a:cubicBezTo>
                  <a:cubicBezTo>
                    <a:pt x="60" y="214"/>
                    <a:pt x="60" y="215"/>
                    <a:pt x="63" y="215"/>
                  </a:cubicBezTo>
                  <a:cubicBezTo>
                    <a:pt x="64" y="215"/>
                    <a:pt x="64" y="215"/>
                    <a:pt x="65" y="215"/>
                  </a:cubicBezTo>
                  <a:cubicBezTo>
                    <a:pt x="66" y="216"/>
                    <a:pt x="66" y="216"/>
                    <a:pt x="66" y="217"/>
                  </a:cubicBezTo>
                  <a:cubicBezTo>
                    <a:pt x="68" y="218"/>
                    <a:pt x="70" y="219"/>
                    <a:pt x="71" y="221"/>
                  </a:cubicBezTo>
                  <a:cubicBezTo>
                    <a:pt x="72" y="222"/>
                    <a:pt x="72" y="222"/>
                    <a:pt x="73" y="223"/>
                  </a:cubicBezTo>
                  <a:cubicBezTo>
                    <a:pt x="75" y="223"/>
                    <a:pt x="77" y="223"/>
                    <a:pt x="78" y="223"/>
                  </a:cubicBezTo>
                  <a:cubicBezTo>
                    <a:pt x="80" y="223"/>
                    <a:pt x="82" y="224"/>
                    <a:pt x="84" y="224"/>
                  </a:cubicBezTo>
                  <a:cubicBezTo>
                    <a:pt x="85" y="225"/>
                    <a:pt x="87" y="224"/>
                    <a:pt x="88" y="225"/>
                  </a:cubicBezTo>
                  <a:cubicBezTo>
                    <a:pt x="89" y="225"/>
                    <a:pt x="89" y="225"/>
                    <a:pt x="90" y="226"/>
                  </a:cubicBezTo>
                  <a:cubicBezTo>
                    <a:pt x="91" y="226"/>
                    <a:pt x="92" y="226"/>
                    <a:pt x="92" y="226"/>
                  </a:cubicBezTo>
                  <a:cubicBezTo>
                    <a:pt x="94" y="226"/>
                    <a:pt x="95" y="226"/>
                    <a:pt x="97" y="226"/>
                  </a:cubicBezTo>
                  <a:cubicBezTo>
                    <a:pt x="99" y="226"/>
                    <a:pt x="101" y="226"/>
                    <a:pt x="104" y="226"/>
                  </a:cubicBezTo>
                  <a:cubicBezTo>
                    <a:pt x="107" y="225"/>
                    <a:pt x="113" y="228"/>
                    <a:pt x="116" y="226"/>
                  </a:cubicBezTo>
                  <a:cubicBezTo>
                    <a:pt x="116" y="225"/>
                    <a:pt x="116" y="223"/>
                    <a:pt x="117" y="222"/>
                  </a:cubicBezTo>
                  <a:cubicBezTo>
                    <a:pt x="117" y="221"/>
                    <a:pt x="118" y="221"/>
                    <a:pt x="119" y="220"/>
                  </a:cubicBezTo>
                  <a:cubicBezTo>
                    <a:pt x="120" y="220"/>
                    <a:pt x="122" y="219"/>
                    <a:pt x="123" y="219"/>
                  </a:cubicBezTo>
                  <a:cubicBezTo>
                    <a:pt x="123" y="219"/>
                    <a:pt x="125" y="218"/>
                    <a:pt x="125" y="218"/>
                  </a:cubicBezTo>
                  <a:cubicBezTo>
                    <a:pt x="126" y="217"/>
                    <a:pt x="127" y="213"/>
                    <a:pt x="129" y="214"/>
                  </a:cubicBezTo>
                  <a:cubicBezTo>
                    <a:pt x="129" y="215"/>
                    <a:pt x="130" y="215"/>
                    <a:pt x="130" y="215"/>
                  </a:cubicBezTo>
                  <a:cubicBezTo>
                    <a:pt x="131" y="215"/>
                    <a:pt x="131" y="214"/>
                    <a:pt x="132" y="214"/>
                  </a:cubicBezTo>
                  <a:cubicBezTo>
                    <a:pt x="133" y="213"/>
                    <a:pt x="136" y="214"/>
                    <a:pt x="138" y="213"/>
                  </a:cubicBezTo>
                  <a:cubicBezTo>
                    <a:pt x="139" y="210"/>
                    <a:pt x="141" y="206"/>
                    <a:pt x="144" y="204"/>
                  </a:cubicBezTo>
                  <a:cubicBezTo>
                    <a:pt x="144" y="205"/>
                    <a:pt x="145" y="206"/>
                    <a:pt x="146" y="206"/>
                  </a:cubicBezTo>
                  <a:cubicBezTo>
                    <a:pt x="147" y="208"/>
                    <a:pt x="148" y="210"/>
                    <a:pt x="150" y="211"/>
                  </a:cubicBezTo>
                  <a:cubicBezTo>
                    <a:pt x="152" y="212"/>
                    <a:pt x="154" y="211"/>
                    <a:pt x="155" y="209"/>
                  </a:cubicBezTo>
                  <a:cubicBezTo>
                    <a:pt x="155" y="208"/>
                    <a:pt x="155" y="208"/>
                    <a:pt x="155" y="206"/>
                  </a:cubicBezTo>
                  <a:cubicBezTo>
                    <a:pt x="156" y="205"/>
                    <a:pt x="157" y="204"/>
                    <a:pt x="158" y="203"/>
                  </a:cubicBezTo>
                  <a:cubicBezTo>
                    <a:pt x="160" y="202"/>
                    <a:pt x="163" y="202"/>
                    <a:pt x="165" y="200"/>
                  </a:cubicBezTo>
                  <a:cubicBezTo>
                    <a:pt x="165" y="200"/>
                    <a:pt x="165" y="199"/>
                    <a:pt x="165" y="199"/>
                  </a:cubicBezTo>
                  <a:cubicBezTo>
                    <a:pt x="166" y="199"/>
                    <a:pt x="166" y="199"/>
                    <a:pt x="166" y="198"/>
                  </a:cubicBezTo>
                  <a:cubicBezTo>
                    <a:pt x="167" y="198"/>
                    <a:pt x="167" y="197"/>
                    <a:pt x="168" y="197"/>
                  </a:cubicBezTo>
                  <a:cubicBezTo>
                    <a:pt x="169" y="196"/>
                    <a:pt x="170" y="196"/>
                    <a:pt x="172" y="196"/>
                  </a:cubicBezTo>
                  <a:cubicBezTo>
                    <a:pt x="173" y="196"/>
                    <a:pt x="175" y="195"/>
                    <a:pt x="176" y="195"/>
                  </a:cubicBezTo>
                  <a:cubicBezTo>
                    <a:pt x="177" y="196"/>
                    <a:pt x="177" y="197"/>
                    <a:pt x="178" y="197"/>
                  </a:cubicBezTo>
                  <a:cubicBezTo>
                    <a:pt x="182" y="198"/>
                    <a:pt x="185" y="198"/>
                    <a:pt x="188" y="198"/>
                  </a:cubicBezTo>
                  <a:cubicBezTo>
                    <a:pt x="191" y="197"/>
                    <a:pt x="193" y="196"/>
                    <a:pt x="197" y="196"/>
                  </a:cubicBezTo>
                  <a:cubicBezTo>
                    <a:pt x="200" y="196"/>
                    <a:pt x="203" y="198"/>
                    <a:pt x="206" y="198"/>
                  </a:cubicBezTo>
                  <a:cubicBezTo>
                    <a:pt x="208" y="198"/>
                    <a:pt x="209" y="198"/>
                    <a:pt x="210" y="198"/>
                  </a:cubicBezTo>
                  <a:cubicBezTo>
                    <a:pt x="212" y="198"/>
                    <a:pt x="212" y="197"/>
                    <a:pt x="213" y="197"/>
                  </a:cubicBezTo>
                  <a:cubicBezTo>
                    <a:pt x="220" y="196"/>
                    <a:pt x="230" y="202"/>
                    <a:pt x="234" y="193"/>
                  </a:cubicBezTo>
                  <a:cubicBezTo>
                    <a:pt x="235" y="192"/>
                    <a:pt x="236" y="189"/>
                    <a:pt x="239" y="189"/>
                  </a:cubicBezTo>
                  <a:cubicBezTo>
                    <a:pt x="240" y="189"/>
                    <a:pt x="241" y="189"/>
                    <a:pt x="242" y="190"/>
                  </a:cubicBezTo>
                  <a:cubicBezTo>
                    <a:pt x="244" y="191"/>
                    <a:pt x="245" y="191"/>
                    <a:pt x="246" y="191"/>
                  </a:cubicBezTo>
                  <a:cubicBezTo>
                    <a:pt x="248" y="191"/>
                    <a:pt x="250" y="191"/>
                    <a:pt x="251" y="191"/>
                  </a:cubicBezTo>
                  <a:cubicBezTo>
                    <a:pt x="253" y="190"/>
                    <a:pt x="253" y="189"/>
                    <a:pt x="254" y="188"/>
                  </a:cubicBezTo>
                  <a:cubicBezTo>
                    <a:pt x="253" y="188"/>
                    <a:pt x="254" y="187"/>
                    <a:pt x="254" y="187"/>
                  </a:cubicBezTo>
                  <a:cubicBezTo>
                    <a:pt x="254" y="187"/>
                    <a:pt x="254" y="186"/>
                    <a:pt x="255" y="186"/>
                  </a:cubicBezTo>
                  <a:cubicBezTo>
                    <a:pt x="254" y="186"/>
                    <a:pt x="255" y="186"/>
                    <a:pt x="255" y="185"/>
                  </a:cubicBezTo>
                  <a:cubicBezTo>
                    <a:pt x="255" y="185"/>
                    <a:pt x="255" y="186"/>
                    <a:pt x="255" y="186"/>
                  </a:cubicBezTo>
                  <a:cubicBezTo>
                    <a:pt x="255" y="186"/>
                    <a:pt x="256" y="183"/>
                    <a:pt x="256" y="184"/>
                  </a:cubicBezTo>
                  <a:cubicBezTo>
                    <a:pt x="256" y="184"/>
                    <a:pt x="257" y="184"/>
                    <a:pt x="257" y="183"/>
                  </a:cubicBezTo>
                  <a:cubicBezTo>
                    <a:pt x="258" y="182"/>
                    <a:pt x="258" y="181"/>
                    <a:pt x="259" y="180"/>
                  </a:cubicBezTo>
                  <a:cubicBezTo>
                    <a:pt x="259" y="180"/>
                    <a:pt x="260" y="179"/>
                    <a:pt x="260" y="179"/>
                  </a:cubicBezTo>
                  <a:cubicBezTo>
                    <a:pt x="261" y="178"/>
                    <a:pt x="261" y="177"/>
                    <a:pt x="261" y="177"/>
                  </a:cubicBezTo>
                  <a:cubicBezTo>
                    <a:pt x="261" y="176"/>
                    <a:pt x="262" y="176"/>
                    <a:pt x="262" y="176"/>
                  </a:cubicBezTo>
                  <a:cubicBezTo>
                    <a:pt x="263" y="175"/>
                    <a:pt x="262" y="174"/>
                    <a:pt x="262" y="174"/>
                  </a:cubicBezTo>
                  <a:cubicBezTo>
                    <a:pt x="262" y="173"/>
                    <a:pt x="263" y="171"/>
                    <a:pt x="263" y="170"/>
                  </a:cubicBezTo>
                  <a:cubicBezTo>
                    <a:pt x="264" y="168"/>
                    <a:pt x="265" y="167"/>
                    <a:pt x="266" y="166"/>
                  </a:cubicBezTo>
                  <a:cubicBezTo>
                    <a:pt x="266" y="165"/>
                    <a:pt x="267" y="165"/>
                    <a:pt x="267" y="164"/>
                  </a:cubicBezTo>
                  <a:cubicBezTo>
                    <a:pt x="267" y="164"/>
                    <a:pt x="267" y="163"/>
                    <a:pt x="267" y="162"/>
                  </a:cubicBezTo>
                  <a:cubicBezTo>
                    <a:pt x="268" y="161"/>
                    <a:pt x="269" y="161"/>
                    <a:pt x="270" y="160"/>
                  </a:cubicBezTo>
                  <a:cubicBezTo>
                    <a:pt x="271" y="159"/>
                    <a:pt x="270" y="158"/>
                    <a:pt x="272" y="158"/>
                  </a:cubicBezTo>
                  <a:cubicBezTo>
                    <a:pt x="272" y="157"/>
                    <a:pt x="272" y="157"/>
                    <a:pt x="272" y="157"/>
                  </a:cubicBezTo>
                  <a:cubicBezTo>
                    <a:pt x="274" y="157"/>
                    <a:pt x="274" y="154"/>
                    <a:pt x="275" y="154"/>
                  </a:cubicBezTo>
                  <a:cubicBezTo>
                    <a:pt x="275" y="153"/>
                    <a:pt x="275" y="153"/>
                    <a:pt x="276" y="153"/>
                  </a:cubicBezTo>
                  <a:cubicBezTo>
                    <a:pt x="276" y="153"/>
                    <a:pt x="276" y="153"/>
                    <a:pt x="277" y="153"/>
                  </a:cubicBezTo>
                  <a:cubicBezTo>
                    <a:pt x="278" y="152"/>
                    <a:pt x="278" y="152"/>
                    <a:pt x="278" y="151"/>
                  </a:cubicBezTo>
                  <a:cubicBezTo>
                    <a:pt x="279" y="151"/>
                    <a:pt x="280" y="150"/>
                    <a:pt x="281" y="148"/>
                  </a:cubicBezTo>
                  <a:cubicBezTo>
                    <a:pt x="282" y="147"/>
                    <a:pt x="282" y="145"/>
                    <a:pt x="282" y="143"/>
                  </a:cubicBezTo>
                  <a:cubicBezTo>
                    <a:pt x="282" y="142"/>
                    <a:pt x="283" y="140"/>
                    <a:pt x="283" y="138"/>
                  </a:cubicBezTo>
                  <a:cubicBezTo>
                    <a:pt x="283" y="137"/>
                    <a:pt x="283" y="135"/>
                    <a:pt x="283" y="134"/>
                  </a:cubicBezTo>
                  <a:cubicBezTo>
                    <a:pt x="284" y="134"/>
                    <a:pt x="284" y="134"/>
                    <a:pt x="285" y="133"/>
                  </a:cubicBezTo>
                  <a:cubicBezTo>
                    <a:pt x="285" y="132"/>
                    <a:pt x="285" y="131"/>
                    <a:pt x="286" y="130"/>
                  </a:cubicBezTo>
                  <a:cubicBezTo>
                    <a:pt x="287" y="129"/>
                    <a:pt x="287" y="128"/>
                    <a:pt x="288" y="127"/>
                  </a:cubicBezTo>
                  <a:cubicBezTo>
                    <a:pt x="288" y="126"/>
                    <a:pt x="288" y="124"/>
                    <a:pt x="289" y="123"/>
                  </a:cubicBezTo>
                  <a:cubicBezTo>
                    <a:pt x="289" y="122"/>
                    <a:pt x="291" y="121"/>
                    <a:pt x="292" y="121"/>
                  </a:cubicBezTo>
                  <a:cubicBezTo>
                    <a:pt x="294" y="119"/>
                    <a:pt x="296" y="116"/>
                    <a:pt x="296" y="114"/>
                  </a:cubicBezTo>
                  <a:cubicBezTo>
                    <a:pt x="297" y="112"/>
                    <a:pt x="296" y="111"/>
                    <a:pt x="297" y="109"/>
                  </a:cubicBezTo>
                  <a:cubicBezTo>
                    <a:pt x="297" y="108"/>
                    <a:pt x="297" y="107"/>
                    <a:pt x="298" y="106"/>
                  </a:cubicBezTo>
                  <a:cubicBezTo>
                    <a:pt x="299" y="104"/>
                    <a:pt x="300" y="102"/>
                    <a:pt x="302" y="101"/>
                  </a:cubicBezTo>
                  <a:cubicBezTo>
                    <a:pt x="303" y="101"/>
                    <a:pt x="305" y="101"/>
                    <a:pt x="306" y="100"/>
                  </a:cubicBezTo>
                  <a:cubicBezTo>
                    <a:pt x="306" y="99"/>
                    <a:pt x="306" y="98"/>
                    <a:pt x="306" y="96"/>
                  </a:cubicBezTo>
                  <a:cubicBezTo>
                    <a:pt x="307" y="95"/>
                    <a:pt x="307" y="94"/>
                    <a:pt x="307" y="92"/>
                  </a:cubicBezTo>
                  <a:cubicBezTo>
                    <a:pt x="307" y="92"/>
                    <a:pt x="307" y="91"/>
                    <a:pt x="307" y="91"/>
                  </a:cubicBezTo>
                  <a:cubicBezTo>
                    <a:pt x="308" y="90"/>
                    <a:pt x="308" y="89"/>
                    <a:pt x="309" y="88"/>
                  </a:cubicBezTo>
                  <a:cubicBezTo>
                    <a:pt x="309" y="88"/>
                    <a:pt x="310" y="87"/>
                    <a:pt x="310" y="87"/>
                  </a:cubicBezTo>
                  <a:cubicBezTo>
                    <a:pt x="310" y="86"/>
                    <a:pt x="310" y="86"/>
                    <a:pt x="310" y="86"/>
                  </a:cubicBezTo>
                  <a:cubicBezTo>
                    <a:pt x="310" y="86"/>
                    <a:pt x="311" y="85"/>
                    <a:pt x="311" y="85"/>
                  </a:cubicBezTo>
                  <a:cubicBezTo>
                    <a:pt x="311" y="85"/>
                    <a:pt x="312" y="84"/>
                    <a:pt x="312" y="84"/>
                  </a:cubicBezTo>
                  <a:cubicBezTo>
                    <a:pt x="313" y="83"/>
                    <a:pt x="312" y="82"/>
                    <a:pt x="312" y="81"/>
                  </a:cubicBezTo>
                  <a:cubicBezTo>
                    <a:pt x="313" y="80"/>
                    <a:pt x="313" y="80"/>
                    <a:pt x="314" y="80"/>
                  </a:cubicBezTo>
                  <a:cubicBezTo>
                    <a:pt x="314" y="79"/>
                    <a:pt x="314" y="78"/>
                    <a:pt x="315" y="78"/>
                  </a:cubicBezTo>
                  <a:cubicBezTo>
                    <a:pt x="316" y="77"/>
                    <a:pt x="316" y="76"/>
                    <a:pt x="317" y="75"/>
                  </a:cubicBezTo>
                  <a:cubicBezTo>
                    <a:pt x="318" y="73"/>
                    <a:pt x="318" y="73"/>
                    <a:pt x="320" y="73"/>
                  </a:cubicBezTo>
                  <a:cubicBezTo>
                    <a:pt x="321" y="73"/>
                    <a:pt x="323" y="73"/>
                    <a:pt x="324" y="73"/>
                  </a:cubicBezTo>
                  <a:cubicBezTo>
                    <a:pt x="326" y="72"/>
                    <a:pt x="326" y="71"/>
                    <a:pt x="327" y="70"/>
                  </a:cubicBezTo>
                  <a:cubicBezTo>
                    <a:pt x="328" y="68"/>
                    <a:pt x="329" y="68"/>
                    <a:pt x="330" y="68"/>
                  </a:cubicBezTo>
                  <a:cubicBezTo>
                    <a:pt x="332" y="68"/>
                    <a:pt x="332" y="67"/>
                    <a:pt x="333" y="67"/>
                  </a:cubicBezTo>
                  <a:cubicBezTo>
                    <a:pt x="335" y="67"/>
                    <a:pt x="338" y="68"/>
                    <a:pt x="340" y="67"/>
                  </a:cubicBezTo>
                  <a:cubicBezTo>
                    <a:pt x="341" y="66"/>
                    <a:pt x="341" y="65"/>
                    <a:pt x="341" y="64"/>
                  </a:cubicBezTo>
                  <a:cubicBezTo>
                    <a:pt x="343" y="62"/>
                    <a:pt x="346" y="60"/>
                    <a:pt x="348" y="60"/>
                  </a:cubicBezTo>
                  <a:cubicBezTo>
                    <a:pt x="348" y="59"/>
                    <a:pt x="349" y="58"/>
                    <a:pt x="349" y="58"/>
                  </a:cubicBezTo>
                  <a:cubicBezTo>
                    <a:pt x="350" y="57"/>
                    <a:pt x="349" y="56"/>
                    <a:pt x="350" y="55"/>
                  </a:cubicBezTo>
                  <a:cubicBezTo>
                    <a:pt x="350" y="53"/>
                    <a:pt x="351" y="52"/>
                    <a:pt x="353" y="52"/>
                  </a:cubicBezTo>
                  <a:cubicBezTo>
                    <a:pt x="353" y="50"/>
                    <a:pt x="353" y="47"/>
                    <a:pt x="353" y="45"/>
                  </a:cubicBezTo>
                  <a:cubicBezTo>
                    <a:pt x="353" y="44"/>
                    <a:pt x="353" y="42"/>
                    <a:pt x="353" y="41"/>
                  </a:cubicBezTo>
                  <a:cubicBezTo>
                    <a:pt x="352" y="40"/>
                    <a:pt x="351" y="40"/>
                    <a:pt x="351" y="39"/>
                  </a:cubicBezTo>
                  <a:cubicBezTo>
                    <a:pt x="350" y="39"/>
                    <a:pt x="349" y="39"/>
                    <a:pt x="348" y="38"/>
                  </a:cubicBezTo>
                  <a:cubicBezTo>
                    <a:pt x="347" y="38"/>
                    <a:pt x="346" y="38"/>
                    <a:pt x="345" y="38"/>
                  </a:cubicBezTo>
                  <a:cubicBezTo>
                    <a:pt x="342" y="38"/>
                    <a:pt x="339" y="36"/>
                    <a:pt x="338" y="38"/>
                  </a:cubicBezTo>
                  <a:cubicBezTo>
                    <a:pt x="336" y="38"/>
                    <a:pt x="337" y="35"/>
                    <a:pt x="337" y="33"/>
                  </a:cubicBezTo>
                  <a:cubicBezTo>
                    <a:pt x="337" y="32"/>
                    <a:pt x="337" y="31"/>
                    <a:pt x="337" y="30"/>
                  </a:cubicBezTo>
                  <a:cubicBezTo>
                    <a:pt x="336" y="29"/>
                    <a:pt x="336" y="29"/>
                    <a:pt x="334" y="29"/>
                  </a:cubicBezTo>
                  <a:cubicBezTo>
                    <a:pt x="314" y="7"/>
                    <a:pt x="314" y="7"/>
                    <a:pt x="314" y="7"/>
                  </a:cubicBezTo>
                  <a:cubicBezTo>
                    <a:pt x="314" y="7"/>
                    <a:pt x="314" y="7"/>
                    <a:pt x="314" y="8"/>
                  </a:cubicBezTo>
                  <a:cubicBezTo>
                    <a:pt x="313" y="9"/>
                    <a:pt x="313" y="11"/>
                    <a:pt x="312" y="12"/>
                  </a:cubicBezTo>
                  <a:cubicBezTo>
                    <a:pt x="312" y="13"/>
                    <a:pt x="311" y="15"/>
                    <a:pt x="310" y="16"/>
                  </a:cubicBezTo>
                  <a:cubicBezTo>
                    <a:pt x="308" y="17"/>
                    <a:pt x="306" y="16"/>
                    <a:pt x="304" y="16"/>
                  </a:cubicBezTo>
                  <a:cubicBezTo>
                    <a:pt x="302" y="16"/>
                    <a:pt x="302" y="16"/>
                    <a:pt x="300" y="17"/>
                  </a:cubicBezTo>
                  <a:cubicBezTo>
                    <a:pt x="299" y="19"/>
                    <a:pt x="298" y="21"/>
                    <a:pt x="296" y="21"/>
                  </a:cubicBezTo>
                  <a:cubicBezTo>
                    <a:pt x="295" y="20"/>
                    <a:pt x="294" y="19"/>
                    <a:pt x="294" y="18"/>
                  </a:cubicBezTo>
                  <a:cubicBezTo>
                    <a:pt x="292" y="17"/>
                    <a:pt x="292" y="17"/>
                    <a:pt x="290" y="16"/>
                  </a:cubicBezTo>
                  <a:cubicBezTo>
                    <a:pt x="289" y="15"/>
                    <a:pt x="287" y="14"/>
                    <a:pt x="286" y="13"/>
                  </a:cubicBezTo>
                  <a:cubicBezTo>
                    <a:pt x="285" y="10"/>
                    <a:pt x="285" y="6"/>
                    <a:pt x="282" y="4"/>
                  </a:cubicBezTo>
                  <a:cubicBezTo>
                    <a:pt x="281" y="3"/>
                    <a:pt x="280" y="3"/>
                    <a:pt x="279" y="3"/>
                  </a:cubicBezTo>
                  <a:cubicBezTo>
                    <a:pt x="279" y="3"/>
                    <a:pt x="279" y="2"/>
                    <a:pt x="278" y="2"/>
                  </a:cubicBezTo>
                  <a:cubicBezTo>
                    <a:pt x="277" y="1"/>
                    <a:pt x="275" y="2"/>
                    <a:pt x="274" y="2"/>
                  </a:cubicBezTo>
                  <a:cubicBezTo>
                    <a:pt x="272" y="2"/>
                    <a:pt x="271" y="2"/>
                    <a:pt x="270" y="2"/>
                  </a:cubicBezTo>
                  <a:cubicBezTo>
                    <a:pt x="269" y="3"/>
                    <a:pt x="268" y="3"/>
                    <a:pt x="267" y="3"/>
                  </a:cubicBezTo>
                  <a:cubicBezTo>
                    <a:pt x="265" y="3"/>
                    <a:pt x="264" y="5"/>
                    <a:pt x="263" y="5"/>
                  </a:cubicBezTo>
                  <a:cubicBezTo>
                    <a:pt x="261" y="6"/>
                    <a:pt x="260" y="5"/>
                    <a:pt x="258" y="5"/>
                  </a:cubicBezTo>
                  <a:cubicBezTo>
                    <a:pt x="257" y="5"/>
                    <a:pt x="255" y="5"/>
                    <a:pt x="253" y="5"/>
                  </a:cubicBezTo>
                  <a:cubicBezTo>
                    <a:pt x="252" y="5"/>
                    <a:pt x="251" y="5"/>
                    <a:pt x="251" y="5"/>
                  </a:cubicBezTo>
                  <a:cubicBezTo>
                    <a:pt x="250" y="4"/>
                    <a:pt x="250" y="3"/>
                    <a:pt x="249" y="3"/>
                  </a:cubicBezTo>
                  <a:cubicBezTo>
                    <a:pt x="248" y="2"/>
                    <a:pt x="247" y="2"/>
                    <a:pt x="245" y="2"/>
                  </a:cubicBezTo>
                  <a:cubicBezTo>
                    <a:pt x="241" y="2"/>
                    <a:pt x="238" y="2"/>
                    <a:pt x="234" y="2"/>
                  </a:cubicBezTo>
                  <a:cubicBezTo>
                    <a:pt x="232" y="2"/>
                    <a:pt x="226" y="0"/>
                    <a:pt x="225" y="3"/>
                  </a:cubicBezTo>
                  <a:cubicBezTo>
                    <a:pt x="224" y="4"/>
                    <a:pt x="225" y="6"/>
                    <a:pt x="224" y="8"/>
                  </a:cubicBezTo>
                  <a:cubicBezTo>
                    <a:pt x="224" y="10"/>
                    <a:pt x="223" y="11"/>
                    <a:pt x="222" y="13"/>
                  </a:cubicBezTo>
                  <a:cubicBezTo>
                    <a:pt x="222" y="15"/>
                    <a:pt x="222" y="16"/>
                    <a:pt x="221" y="18"/>
                  </a:cubicBezTo>
                  <a:cubicBezTo>
                    <a:pt x="220" y="20"/>
                    <a:pt x="219" y="22"/>
                    <a:pt x="217" y="23"/>
                  </a:cubicBezTo>
                  <a:cubicBezTo>
                    <a:pt x="217" y="24"/>
                    <a:pt x="216" y="25"/>
                    <a:pt x="215" y="25"/>
                  </a:cubicBezTo>
                  <a:cubicBezTo>
                    <a:pt x="214" y="25"/>
                    <a:pt x="213" y="25"/>
                    <a:pt x="212" y="25"/>
                  </a:cubicBezTo>
                  <a:cubicBezTo>
                    <a:pt x="210" y="26"/>
                    <a:pt x="209" y="28"/>
                    <a:pt x="207" y="28"/>
                  </a:cubicBezTo>
                  <a:cubicBezTo>
                    <a:pt x="206" y="28"/>
                    <a:pt x="205" y="28"/>
                    <a:pt x="205" y="28"/>
                  </a:cubicBezTo>
                  <a:cubicBezTo>
                    <a:pt x="204" y="29"/>
                    <a:pt x="203" y="29"/>
                    <a:pt x="203" y="30"/>
                  </a:cubicBezTo>
                  <a:cubicBezTo>
                    <a:pt x="201" y="31"/>
                    <a:pt x="200" y="31"/>
                    <a:pt x="199" y="31"/>
                  </a:cubicBezTo>
                  <a:cubicBezTo>
                    <a:pt x="197" y="33"/>
                    <a:pt x="197" y="35"/>
                    <a:pt x="195" y="36"/>
                  </a:cubicBezTo>
                  <a:cubicBezTo>
                    <a:pt x="194" y="35"/>
                    <a:pt x="194" y="32"/>
                    <a:pt x="192" y="31"/>
                  </a:cubicBezTo>
                  <a:cubicBezTo>
                    <a:pt x="191" y="30"/>
                    <a:pt x="188" y="30"/>
                    <a:pt x="186" y="30"/>
                  </a:cubicBezTo>
                  <a:cubicBezTo>
                    <a:pt x="185" y="30"/>
                    <a:pt x="184" y="31"/>
                    <a:pt x="184" y="30"/>
                  </a:cubicBezTo>
                  <a:cubicBezTo>
                    <a:pt x="183" y="30"/>
                    <a:pt x="184" y="29"/>
                    <a:pt x="183" y="29"/>
                  </a:cubicBezTo>
                  <a:cubicBezTo>
                    <a:pt x="183" y="28"/>
                    <a:pt x="180" y="28"/>
                    <a:pt x="179" y="28"/>
                  </a:cubicBezTo>
                  <a:cubicBezTo>
                    <a:pt x="178" y="28"/>
                    <a:pt x="176" y="28"/>
                    <a:pt x="175" y="29"/>
                  </a:cubicBezTo>
                  <a:cubicBezTo>
                    <a:pt x="174" y="30"/>
                    <a:pt x="173" y="33"/>
                    <a:pt x="172" y="35"/>
                  </a:cubicBezTo>
                  <a:cubicBezTo>
                    <a:pt x="172" y="36"/>
                    <a:pt x="170" y="38"/>
                    <a:pt x="169" y="38"/>
                  </a:cubicBezTo>
                  <a:cubicBezTo>
                    <a:pt x="168" y="39"/>
                    <a:pt x="165" y="38"/>
                    <a:pt x="164" y="38"/>
                  </a:cubicBezTo>
                  <a:cubicBezTo>
                    <a:pt x="163" y="39"/>
                    <a:pt x="161" y="39"/>
                    <a:pt x="160" y="39"/>
                  </a:cubicBezTo>
                  <a:cubicBezTo>
                    <a:pt x="158" y="40"/>
                    <a:pt x="156" y="39"/>
                    <a:pt x="155" y="40"/>
                  </a:cubicBezTo>
                  <a:cubicBezTo>
                    <a:pt x="151" y="40"/>
                    <a:pt x="147" y="41"/>
                    <a:pt x="143" y="42"/>
                  </a:cubicBezTo>
                  <a:cubicBezTo>
                    <a:pt x="142" y="42"/>
                    <a:pt x="139" y="41"/>
                    <a:pt x="138" y="42"/>
                  </a:cubicBezTo>
                  <a:cubicBezTo>
                    <a:pt x="137" y="42"/>
                    <a:pt x="135" y="44"/>
                    <a:pt x="135" y="44"/>
                  </a:cubicBezTo>
                  <a:cubicBezTo>
                    <a:pt x="134" y="46"/>
                    <a:pt x="134" y="48"/>
                    <a:pt x="134" y="50"/>
                  </a:cubicBezTo>
                  <a:cubicBezTo>
                    <a:pt x="133" y="51"/>
                    <a:pt x="132" y="52"/>
                    <a:pt x="131" y="53"/>
                  </a:cubicBezTo>
                  <a:cubicBezTo>
                    <a:pt x="131" y="56"/>
                    <a:pt x="134" y="55"/>
                    <a:pt x="135" y="58"/>
                  </a:cubicBezTo>
                  <a:cubicBezTo>
                    <a:pt x="135" y="59"/>
                    <a:pt x="134" y="61"/>
                    <a:pt x="132" y="61"/>
                  </a:cubicBezTo>
                  <a:cubicBezTo>
                    <a:pt x="131" y="62"/>
                    <a:pt x="128" y="62"/>
                    <a:pt x="127" y="62"/>
                  </a:cubicBezTo>
                  <a:cubicBezTo>
                    <a:pt x="125" y="62"/>
                    <a:pt x="124" y="62"/>
                    <a:pt x="122" y="63"/>
                  </a:cubicBezTo>
                  <a:cubicBezTo>
                    <a:pt x="121" y="63"/>
                    <a:pt x="120" y="63"/>
                    <a:pt x="118" y="64"/>
                  </a:cubicBezTo>
                  <a:cubicBezTo>
                    <a:pt x="118" y="64"/>
                    <a:pt x="118" y="65"/>
                    <a:pt x="118" y="65"/>
                  </a:cubicBezTo>
                  <a:cubicBezTo>
                    <a:pt x="118" y="65"/>
                    <a:pt x="117" y="66"/>
                    <a:pt x="117" y="65"/>
                  </a:cubicBezTo>
                  <a:cubicBezTo>
                    <a:pt x="117" y="65"/>
                    <a:pt x="115" y="66"/>
                    <a:pt x="115" y="66"/>
                  </a:cubicBezTo>
                  <a:cubicBezTo>
                    <a:pt x="111" y="67"/>
                    <a:pt x="105" y="66"/>
                    <a:pt x="101" y="66"/>
                  </a:cubicBezTo>
                  <a:cubicBezTo>
                    <a:pt x="93" y="66"/>
                    <a:pt x="86" y="66"/>
                    <a:pt x="79" y="66"/>
                  </a:cubicBezTo>
                  <a:cubicBezTo>
                    <a:pt x="77" y="66"/>
                    <a:pt x="75" y="67"/>
                    <a:pt x="74" y="66"/>
                  </a:cubicBezTo>
                  <a:cubicBezTo>
                    <a:pt x="73" y="65"/>
                    <a:pt x="72" y="63"/>
                    <a:pt x="72" y="61"/>
                  </a:cubicBezTo>
                  <a:cubicBezTo>
                    <a:pt x="71" y="60"/>
                    <a:pt x="70" y="58"/>
                    <a:pt x="68" y="57"/>
                  </a:cubicBezTo>
                  <a:cubicBezTo>
                    <a:pt x="67" y="57"/>
                    <a:pt x="66" y="57"/>
                    <a:pt x="65" y="57"/>
                  </a:cubicBezTo>
                  <a:cubicBezTo>
                    <a:pt x="62" y="56"/>
                    <a:pt x="61" y="53"/>
                    <a:pt x="59" y="52"/>
                  </a:cubicBezTo>
                  <a:cubicBezTo>
                    <a:pt x="58" y="51"/>
                    <a:pt x="56" y="50"/>
                    <a:pt x="54" y="50"/>
                  </a:cubicBezTo>
                  <a:cubicBezTo>
                    <a:pt x="53" y="49"/>
                    <a:pt x="52" y="49"/>
                    <a:pt x="51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49" y="52"/>
                    <a:pt x="46" y="55"/>
                    <a:pt x="48" y="57"/>
                  </a:cubicBezTo>
                  <a:cubicBezTo>
                    <a:pt x="50" y="59"/>
                    <a:pt x="53" y="58"/>
                    <a:pt x="52" y="61"/>
                  </a:cubicBezTo>
                  <a:cubicBezTo>
                    <a:pt x="51" y="63"/>
                    <a:pt x="48" y="64"/>
                    <a:pt x="47" y="65"/>
                  </a:cubicBezTo>
                  <a:cubicBezTo>
                    <a:pt x="46" y="66"/>
                    <a:pt x="45" y="66"/>
                    <a:pt x="44" y="66"/>
                  </a:cubicBezTo>
                  <a:cubicBezTo>
                    <a:pt x="43" y="67"/>
                    <a:pt x="43" y="67"/>
                    <a:pt x="42" y="67"/>
                  </a:cubicBezTo>
                  <a:cubicBezTo>
                    <a:pt x="39" y="67"/>
                    <a:pt x="38" y="69"/>
                    <a:pt x="36" y="69"/>
                  </a:cubicBezTo>
                  <a:cubicBezTo>
                    <a:pt x="35" y="69"/>
                    <a:pt x="34" y="70"/>
                    <a:pt x="33" y="69"/>
                  </a:cubicBezTo>
                  <a:cubicBezTo>
                    <a:pt x="32" y="69"/>
                    <a:pt x="32" y="67"/>
                    <a:pt x="31" y="66"/>
                  </a:cubicBezTo>
                  <a:cubicBezTo>
                    <a:pt x="30" y="64"/>
                    <a:pt x="26" y="63"/>
                    <a:pt x="25" y="64"/>
                  </a:cubicBezTo>
                  <a:cubicBezTo>
                    <a:pt x="23" y="66"/>
                    <a:pt x="24" y="68"/>
                    <a:pt x="21" y="68"/>
                  </a:cubicBezTo>
                  <a:cubicBezTo>
                    <a:pt x="20" y="68"/>
                    <a:pt x="17" y="67"/>
                    <a:pt x="17" y="68"/>
                  </a:cubicBezTo>
                  <a:cubicBezTo>
                    <a:pt x="16" y="69"/>
                    <a:pt x="17" y="70"/>
                    <a:pt x="17" y="70"/>
                  </a:cubicBezTo>
                  <a:cubicBezTo>
                    <a:pt x="18" y="71"/>
                    <a:pt x="19" y="72"/>
                    <a:pt x="21" y="73"/>
                  </a:cubicBezTo>
                  <a:cubicBezTo>
                    <a:pt x="22" y="74"/>
                    <a:pt x="24" y="73"/>
                    <a:pt x="26" y="74"/>
                  </a:cubicBezTo>
                  <a:cubicBezTo>
                    <a:pt x="26" y="74"/>
                    <a:pt x="26" y="75"/>
                    <a:pt x="27" y="75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80"/>
                    <a:pt x="28" y="82"/>
                    <a:pt x="28" y="82"/>
                  </a:cubicBezTo>
                  <a:cubicBezTo>
                    <a:pt x="28" y="83"/>
                    <a:pt x="27" y="84"/>
                    <a:pt x="26" y="85"/>
                  </a:cubicBezTo>
                  <a:cubicBezTo>
                    <a:pt x="25" y="86"/>
                    <a:pt x="24" y="88"/>
                    <a:pt x="24" y="89"/>
                  </a:cubicBezTo>
                  <a:cubicBezTo>
                    <a:pt x="23" y="90"/>
                    <a:pt x="23" y="90"/>
                    <a:pt x="22" y="91"/>
                  </a:cubicBezTo>
                  <a:cubicBezTo>
                    <a:pt x="21" y="91"/>
                    <a:pt x="20" y="90"/>
                    <a:pt x="19" y="90"/>
                  </a:cubicBezTo>
                  <a:cubicBezTo>
                    <a:pt x="18" y="90"/>
                    <a:pt x="17" y="91"/>
                    <a:pt x="17" y="91"/>
                  </a:cubicBezTo>
                  <a:cubicBezTo>
                    <a:pt x="15" y="92"/>
                    <a:pt x="14" y="97"/>
                    <a:pt x="16" y="99"/>
                  </a:cubicBezTo>
                  <a:cubicBezTo>
                    <a:pt x="16" y="100"/>
                    <a:pt x="20" y="99"/>
                    <a:pt x="19" y="102"/>
                  </a:cubicBezTo>
                  <a:cubicBezTo>
                    <a:pt x="19" y="102"/>
                    <a:pt x="17" y="103"/>
                    <a:pt x="17" y="103"/>
                  </a:cubicBezTo>
                  <a:cubicBezTo>
                    <a:pt x="16" y="103"/>
                    <a:pt x="14" y="105"/>
                    <a:pt x="14" y="106"/>
                  </a:cubicBezTo>
                  <a:cubicBezTo>
                    <a:pt x="13" y="107"/>
                    <a:pt x="14" y="108"/>
                    <a:pt x="14" y="108"/>
                  </a:cubicBezTo>
                  <a:cubicBezTo>
                    <a:pt x="14" y="109"/>
                    <a:pt x="14" y="110"/>
                    <a:pt x="15" y="110"/>
                  </a:cubicBezTo>
                  <a:cubicBezTo>
                    <a:pt x="15" y="112"/>
                    <a:pt x="15" y="112"/>
                    <a:pt x="17" y="113"/>
                  </a:cubicBezTo>
                  <a:cubicBezTo>
                    <a:pt x="18" y="113"/>
                    <a:pt x="18" y="113"/>
                    <a:pt x="18" y="115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8"/>
                    <a:pt x="17" y="119"/>
                    <a:pt x="17" y="120"/>
                  </a:cubicBezTo>
                  <a:cubicBezTo>
                    <a:pt x="17" y="121"/>
                    <a:pt x="17" y="121"/>
                    <a:pt x="17" y="122"/>
                  </a:cubicBezTo>
                  <a:cubicBezTo>
                    <a:pt x="17" y="124"/>
                    <a:pt x="16" y="124"/>
                    <a:pt x="14" y="124"/>
                  </a:cubicBezTo>
                  <a:cubicBezTo>
                    <a:pt x="13" y="124"/>
                    <a:pt x="12" y="125"/>
                    <a:pt x="10" y="125"/>
                  </a:cubicBezTo>
                  <a:cubicBezTo>
                    <a:pt x="8" y="125"/>
                    <a:pt x="8" y="126"/>
                    <a:pt x="6" y="127"/>
                  </a:cubicBezTo>
                  <a:cubicBezTo>
                    <a:pt x="4" y="128"/>
                    <a:pt x="3" y="128"/>
                    <a:pt x="2" y="131"/>
                  </a:cubicBezTo>
                  <a:cubicBezTo>
                    <a:pt x="1" y="132"/>
                    <a:pt x="1" y="132"/>
                    <a:pt x="0" y="133"/>
                  </a:cubicBezTo>
                  <a:cubicBezTo>
                    <a:pt x="1" y="134"/>
                    <a:pt x="2" y="135"/>
                    <a:pt x="2" y="136"/>
                  </a:cubicBezTo>
                  <a:moveTo>
                    <a:pt x="51" y="49"/>
                  </a:moveTo>
                  <a:cubicBezTo>
                    <a:pt x="52" y="49"/>
                    <a:pt x="53" y="48"/>
                    <a:pt x="53" y="47"/>
                  </a:cubicBezTo>
                  <a:cubicBezTo>
                    <a:pt x="53" y="48"/>
                    <a:pt x="52" y="49"/>
                    <a:pt x="51" y="49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4" name="Freeform 25">
              <a:extLst>
                <a:ext uri="{FF2B5EF4-FFF2-40B4-BE49-F238E27FC236}">
                  <a16:creationId xmlns:a16="http://schemas.microsoft.com/office/drawing/2014/main" id="{A15FA8BE-7A81-477A-A077-62CE1F451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1075" y="5016500"/>
              <a:ext cx="311150" cy="225425"/>
            </a:xfrm>
            <a:custGeom>
              <a:avLst/>
              <a:gdLst/>
              <a:ahLst/>
              <a:cxnLst>
                <a:cxn ang="0">
                  <a:pos x="159" y="13"/>
                </a:cxn>
                <a:cxn ang="0">
                  <a:pos x="155" y="0"/>
                </a:cxn>
                <a:cxn ang="0">
                  <a:pos x="145" y="15"/>
                </a:cxn>
                <a:cxn ang="0">
                  <a:pos x="125" y="14"/>
                </a:cxn>
                <a:cxn ang="0">
                  <a:pos x="119" y="23"/>
                </a:cxn>
                <a:cxn ang="0">
                  <a:pos x="105" y="21"/>
                </a:cxn>
                <a:cxn ang="0">
                  <a:pos x="84" y="25"/>
                </a:cxn>
                <a:cxn ang="0">
                  <a:pos x="78" y="32"/>
                </a:cxn>
                <a:cxn ang="0">
                  <a:pos x="69" y="41"/>
                </a:cxn>
                <a:cxn ang="0">
                  <a:pos x="57" y="37"/>
                </a:cxn>
                <a:cxn ang="0">
                  <a:pos x="49" y="35"/>
                </a:cxn>
                <a:cxn ang="0">
                  <a:pos x="29" y="31"/>
                </a:cxn>
                <a:cxn ang="0">
                  <a:pos x="19" y="40"/>
                </a:cxn>
                <a:cxn ang="0">
                  <a:pos x="3" y="50"/>
                </a:cxn>
                <a:cxn ang="0">
                  <a:pos x="11" y="57"/>
                </a:cxn>
                <a:cxn ang="0">
                  <a:pos x="6" y="69"/>
                </a:cxn>
                <a:cxn ang="0">
                  <a:pos x="9" y="77"/>
                </a:cxn>
                <a:cxn ang="0">
                  <a:pos x="19" y="87"/>
                </a:cxn>
                <a:cxn ang="0">
                  <a:pos x="28" y="92"/>
                </a:cxn>
                <a:cxn ang="0">
                  <a:pos x="24" y="104"/>
                </a:cxn>
                <a:cxn ang="0">
                  <a:pos x="10" y="109"/>
                </a:cxn>
                <a:cxn ang="0">
                  <a:pos x="10" y="113"/>
                </a:cxn>
                <a:cxn ang="0">
                  <a:pos x="18" y="117"/>
                </a:cxn>
                <a:cxn ang="0">
                  <a:pos x="26" y="116"/>
                </a:cxn>
                <a:cxn ang="0">
                  <a:pos x="33" y="113"/>
                </a:cxn>
                <a:cxn ang="0">
                  <a:pos x="43" y="116"/>
                </a:cxn>
                <a:cxn ang="0">
                  <a:pos x="51" y="120"/>
                </a:cxn>
                <a:cxn ang="0">
                  <a:pos x="61" y="116"/>
                </a:cxn>
                <a:cxn ang="0">
                  <a:pos x="56" y="108"/>
                </a:cxn>
                <a:cxn ang="0">
                  <a:pos x="58" y="101"/>
                </a:cxn>
                <a:cxn ang="0">
                  <a:pos x="66" y="108"/>
                </a:cxn>
                <a:cxn ang="0">
                  <a:pos x="74" y="114"/>
                </a:cxn>
                <a:cxn ang="0">
                  <a:pos x="80" y="112"/>
                </a:cxn>
                <a:cxn ang="0">
                  <a:pos x="90" y="119"/>
                </a:cxn>
                <a:cxn ang="0">
                  <a:pos x="95" y="117"/>
                </a:cxn>
                <a:cxn ang="0">
                  <a:pos x="99" y="109"/>
                </a:cxn>
                <a:cxn ang="0">
                  <a:pos x="102" y="99"/>
                </a:cxn>
                <a:cxn ang="0">
                  <a:pos x="104" y="90"/>
                </a:cxn>
                <a:cxn ang="0">
                  <a:pos x="113" y="88"/>
                </a:cxn>
                <a:cxn ang="0">
                  <a:pos x="120" y="87"/>
                </a:cxn>
                <a:cxn ang="0">
                  <a:pos x="133" y="91"/>
                </a:cxn>
                <a:cxn ang="0">
                  <a:pos x="132" y="82"/>
                </a:cxn>
                <a:cxn ang="0">
                  <a:pos x="126" y="75"/>
                </a:cxn>
                <a:cxn ang="0">
                  <a:pos x="121" y="70"/>
                </a:cxn>
                <a:cxn ang="0">
                  <a:pos x="116" y="65"/>
                </a:cxn>
                <a:cxn ang="0">
                  <a:pos x="121" y="58"/>
                </a:cxn>
                <a:cxn ang="0">
                  <a:pos x="128" y="53"/>
                </a:cxn>
                <a:cxn ang="0">
                  <a:pos x="137" y="47"/>
                </a:cxn>
                <a:cxn ang="0">
                  <a:pos x="144" y="43"/>
                </a:cxn>
                <a:cxn ang="0">
                  <a:pos x="152" y="40"/>
                </a:cxn>
                <a:cxn ang="0">
                  <a:pos x="151" y="33"/>
                </a:cxn>
                <a:cxn ang="0">
                  <a:pos x="165" y="33"/>
                </a:cxn>
                <a:cxn ang="0">
                  <a:pos x="163" y="22"/>
                </a:cxn>
              </a:cxnLst>
              <a:rect l="0" t="0" r="r" b="b"/>
              <a:pathLst>
                <a:path w="167" h="120">
                  <a:moveTo>
                    <a:pt x="163" y="22"/>
                  </a:moveTo>
                  <a:cubicBezTo>
                    <a:pt x="162" y="21"/>
                    <a:pt x="161" y="21"/>
                    <a:pt x="160" y="20"/>
                  </a:cubicBezTo>
                  <a:cubicBezTo>
                    <a:pt x="158" y="19"/>
                    <a:pt x="158" y="19"/>
                    <a:pt x="158" y="17"/>
                  </a:cubicBezTo>
                  <a:cubicBezTo>
                    <a:pt x="158" y="15"/>
                    <a:pt x="158" y="14"/>
                    <a:pt x="159" y="13"/>
                  </a:cubicBezTo>
                  <a:cubicBezTo>
                    <a:pt x="159" y="11"/>
                    <a:pt x="160" y="10"/>
                    <a:pt x="160" y="8"/>
                  </a:cubicBezTo>
                  <a:cubicBezTo>
                    <a:pt x="160" y="6"/>
                    <a:pt x="159" y="5"/>
                    <a:pt x="157" y="3"/>
                  </a:cubicBezTo>
                  <a:cubicBezTo>
                    <a:pt x="157" y="2"/>
                    <a:pt x="156" y="1"/>
                    <a:pt x="15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4" y="0"/>
                    <a:pt x="154" y="1"/>
                    <a:pt x="153" y="1"/>
                  </a:cubicBezTo>
                  <a:cubicBezTo>
                    <a:pt x="152" y="3"/>
                    <a:pt x="150" y="2"/>
                    <a:pt x="149" y="3"/>
                  </a:cubicBezTo>
                  <a:cubicBezTo>
                    <a:pt x="147" y="4"/>
                    <a:pt x="146" y="6"/>
                    <a:pt x="146" y="9"/>
                  </a:cubicBezTo>
                  <a:cubicBezTo>
                    <a:pt x="146" y="11"/>
                    <a:pt x="146" y="13"/>
                    <a:pt x="145" y="15"/>
                  </a:cubicBezTo>
                  <a:cubicBezTo>
                    <a:pt x="144" y="18"/>
                    <a:pt x="141" y="18"/>
                    <a:pt x="138" y="18"/>
                  </a:cubicBezTo>
                  <a:cubicBezTo>
                    <a:pt x="136" y="17"/>
                    <a:pt x="133" y="18"/>
                    <a:pt x="131" y="17"/>
                  </a:cubicBezTo>
                  <a:cubicBezTo>
                    <a:pt x="129" y="15"/>
                    <a:pt x="131" y="12"/>
                    <a:pt x="129" y="11"/>
                  </a:cubicBezTo>
                  <a:cubicBezTo>
                    <a:pt x="128" y="10"/>
                    <a:pt x="126" y="13"/>
                    <a:pt x="125" y="14"/>
                  </a:cubicBezTo>
                  <a:cubicBezTo>
                    <a:pt x="124" y="15"/>
                    <a:pt x="125" y="14"/>
                    <a:pt x="124" y="15"/>
                  </a:cubicBezTo>
                  <a:cubicBezTo>
                    <a:pt x="124" y="15"/>
                    <a:pt x="123" y="15"/>
                    <a:pt x="123" y="15"/>
                  </a:cubicBezTo>
                  <a:cubicBezTo>
                    <a:pt x="122" y="15"/>
                    <a:pt x="122" y="15"/>
                    <a:pt x="122" y="16"/>
                  </a:cubicBezTo>
                  <a:cubicBezTo>
                    <a:pt x="121" y="18"/>
                    <a:pt x="119" y="20"/>
                    <a:pt x="119" y="23"/>
                  </a:cubicBezTo>
                  <a:cubicBezTo>
                    <a:pt x="118" y="23"/>
                    <a:pt x="118" y="22"/>
                    <a:pt x="116" y="22"/>
                  </a:cubicBezTo>
                  <a:cubicBezTo>
                    <a:pt x="115" y="21"/>
                    <a:pt x="113" y="22"/>
                    <a:pt x="112" y="22"/>
                  </a:cubicBezTo>
                  <a:cubicBezTo>
                    <a:pt x="111" y="22"/>
                    <a:pt x="111" y="22"/>
                    <a:pt x="111" y="21"/>
                  </a:cubicBezTo>
                  <a:cubicBezTo>
                    <a:pt x="109" y="21"/>
                    <a:pt x="107" y="21"/>
                    <a:pt x="105" y="21"/>
                  </a:cubicBezTo>
                  <a:cubicBezTo>
                    <a:pt x="104" y="21"/>
                    <a:pt x="103" y="20"/>
                    <a:pt x="102" y="20"/>
                  </a:cubicBezTo>
                  <a:cubicBezTo>
                    <a:pt x="100" y="19"/>
                    <a:pt x="99" y="20"/>
                    <a:pt x="97" y="21"/>
                  </a:cubicBezTo>
                  <a:cubicBezTo>
                    <a:pt x="95" y="22"/>
                    <a:pt x="93" y="22"/>
                    <a:pt x="90" y="23"/>
                  </a:cubicBezTo>
                  <a:cubicBezTo>
                    <a:pt x="88" y="23"/>
                    <a:pt x="85" y="23"/>
                    <a:pt x="84" y="25"/>
                  </a:cubicBezTo>
                  <a:cubicBezTo>
                    <a:pt x="84" y="26"/>
                    <a:pt x="83" y="27"/>
                    <a:pt x="83" y="27"/>
                  </a:cubicBezTo>
                  <a:cubicBezTo>
                    <a:pt x="83" y="28"/>
                    <a:pt x="82" y="28"/>
                    <a:pt x="82" y="28"/>
                  </a:cubicBezTo>
                  <a:cubicBezTo>
                    <a:pt x="81" y="29"/>
                    <a:pt x="81" y="29"/>
                    <a:pt x="81" y="30"/>
                  </a:cubicBezTo>
                  <a:cubicBezTo>
                    <a:pt x="80" y="31"/>
                    <a:pt x="79" y="32"/>
                    <a:pt x="78" y="32"/>
                  </a:cubicBezTo>
                  <a:cubicBezTo>
                    <a:pt x="77" y="32"/>
                    <a:pt x="76" y="31"/>
                    <a:pt x="76" y="32"/>
                  </a:cubicBezTo>
                  <a:cubicBezTo>
                    <a:pt x="75" y="32"/>
                    <a:pt x="74" y="33"/>
                    <a:pt x="74" y="33"/>
                  </a:cubicBezTo>
                  <a:cubicBezTo>
                    <a:pt x="73" y="34"/>
                    <a:pt x="73" y="35"/>
                    <a:pt x="72" y="35"/>
                  </a:cubicBezTo>
                  <a:cubicBezTo>
                    <a:pt x="71" y="37"/>
                    <a:pt x="72" y="40"/>
                    <a:pt x="69" y="41"/>
                  </a:cubicBezTo>
                  <a:cubicBezTo>
                    <a:pt x="67" y="41"/>
                    <a:pt x="65" y="40"/>
                    <a:pt x="63" y="39"/>
                  </a:cubicBezTo>
                  <a:cubicBezTo>
                    <a:pt x="62" y="39"/>
                    <a:pt x="61" y="39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9" y="37"/>
                    <a:pt x="57" y="38"/>
                    <a:pt x="57" y="37"/>
                  </a:cubicBezTo>
                  <a:cubicBezTo>
                    <a:pt x="55" y="37"/>
                    <a:pt x="52" y="37"/>
                    <a:pt x="50" y="36"/>
                  </a:cubicBezTo>
                  <a:cubicBezTo>
                    <a:pt x="49" y="36"/>
                    <a:pt x="48" y="36"/>
                    <a:pt x="47" y="36"/>
                  </a:cubicBezTo>
                  <a:cubicBezTo>
                    <a:pt x="48" y="36"/>
                    <a:pt x="48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3" y="33"/>
                    <a:pt x="38" y="34"/>
                    <a:pt x="33" y="32"/>
                  </a:cubicBezTo>
                  <a:cubicBezTo>
                    <a:pt x="32" y="32"/>
                    <a:pt x="31" y="31"/>
                    <a:pt x="29" y="31"/>
                  </a:cubicBezTo>
                  <a:cubicBezTo>
                    <a:pt x="29" y="30"/>
                    <a:pt x="28" y="31"/>
                    <a:pt x="28" y="31"/>
                  </a:cubicBezTo>
                  <a:cubicBezTo>
                    <a:pt x="27" y="30"/>
                    <a:pt x="26" y="30"/>
                    <a:pt x="25" y="30"/>
                  </a:cubicBezTo>
                  <a:cubicBezTo>
                    <a:pt x="24" y="30"/>
                    <a:pt x="22" y="29"/>
                    <a:pt x="21" y="29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7" y="41"/>
                    <a:pt x="15" y="41"/>
                    <a:pt x="13" y="41"/>
                  </a:cubicBezTo>
                  <a:cubicBezTo>
                    <a:pt x="10" y="41"/>
                    <a:pt x="8" y="42"/>
                    <a:pt x="6" y="44"/>
                  </a:cubicBezTo>
                  <a:cubicBezTo>
                    <a:pt x="5" y="45"/>
                    <a:pt x="5" y="46"/>
                    <a:pt x="5" y="48"/>
                  </a:cubicBezTo>
                  <a:cubicBezTo>
                    <a:pt x="5" y="49"/>
                    <a:pt x="5" y="49"/>
                    <a:pt x="3" y="50"/>
                  </a:cubicBezTo>
                  <a:cubicBezTo>
                    <a:pt x="2" y="51"/>
                    <a:pt x="1" y="51"/>
                    <a:pt x="1" y="52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2" y="55"/>
                    <a:pt x="4" y="56"/>
                    <a:pt x="7" y="56"/>
                  </a:cubicBezTo>
                  <a:cubicBezTo>
                    <a:pt x="8" y="56"/>
                    <a:pt x="9" y="57"/>
                    <a:pt x="11" y="57"/>
                  </a:cubicBezTo>
                  <a:cubicBezTo>
                    <a:pt x="12" y="58"/>
                    <a:pt x="15" y="59"/>
                    <a:pt x="16" y="60"/>
                  </a:cubicBezTo>
                  <a:cubicBezTo>
                    <a:pt x="17" y="62"/>
                    <a:pt x="14" y="62"/>
                    <a:pt x="13" y="62"/>
                  </a:cubicBezTo>
                  <a:cubicBezTo>
                    <a:pt x="11" y="63"/>
                    <a:pt x="10" y="65"/>
                    <a:pt x="9" y="66"/>
                  </a:cubicBezTo>
                  <a:cubicBezTo>
                    <a:pt x="7" y="67"/>
                    <a:pt x="7" y="68"/>
                    <a:pt x="6" y="69"/>
                  </a:cubicBezTo>
                  <a:cubicBezTo>
                    <a:pt x="3" y="73"/>
                    <a:pt x="8" y="72"/>
                    <a:pt x="11" y="73"/>
                  </a:cubicBezTo>
                  <a:cubicBezTo>
                    <a:pt x="11" y="73"/>
                    <a:pt x="11" y="74"/>
                    <a:pt x="11" y="74"/>
                  </a:cubicBezTo>
                  <a:cubicBezTo>
                    <a:pt x="11" y="76"/>
                    <a:pt x="11" y="75"/>
                    <a:pt x="10" y="76"/>
                  </a:cubicBezTo>
                  <a:cubicBezTo>
                    <a:pt x="10" y="76"/>
                    <a:pt x="9" y="76"/>
                    <a:pt x="9" y="77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10" y="79"/>
                    <a:pt x="11" y="81"/>
                    <a:pt x="12" y="82"/>
                  </a:cubicBezTo>
                  <a:cubicBezTo>
                    <a:pt x="13" y="84"/>
                    <a:pt x="13" y="85"/>
                    <a:pt x="15" y="86"/>
                  </a:cubicBezTo>
                  <a:cubicBezTo>
                    <a:pt x="16" y="87"/>
                    <a:pt x="18" y="87"/>
                    <a:pt x="19" y="87"/>
                  </a:cubicBezTo>
                  <a:cubicBezTo>
                    <a:pt x="20" y="87"/>
                    <a:pt x="21" y="87"/>
                    <a:pt x="22" y="87"/>
                  </a:cubicBezTo>
                  <a:cubicBezTo>
                    <a:pt x="23" y="87"/>
                    <a:pt x="23" y="88"/>
                    <a:pt x="24" y="89"/>
                  </a:cubicBezTo>
                  <a:cubicBezTo>
                    <a:pt x="25" y="90"/>
                    <a:pt x="27" y="90"/>
                    <a:pt x="27" y="91"/>
                  </a:cubicBezTo>
                  <a:cubicBezTo>
                    <a:pt x="28" y="92"/>
                    <a:pt x="27" y="92"/>
                    <a:pt x="28" y="92"/>
                  </a:cubicBezTo>
                  <a:cubicBezTo>
                    <a:pt x="28" y="94"/>
                    <a:pt x="28" y="94"/>
                    <a:pt x="28" y="95"/>
                  </a:cubicBezTo>
                  <a:cubicBezTo>
                    <a:pt x="28" y="98"/>
                    <a:pt x="28" y="99"/>
                    <a:pt x="27" y="101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5" y="103"/>
                    <a:pt x="25" y="103"/>
                    <a:pt x="24" y="104"/>
                  </a:cubicBezTo>
                  <a:cubicBezTo>
                    <a:pt x="23" y="105"/>
                    <a:pt x="22" y="106"/>
                    <a:pt x="20" y="107"/>
                  </a:cubicBezTo>
                  <a:cubicBezTo>
                    <a:pt x="19" y="107"/>
                    <a:pt x="16" y="107"/>
                    <a:pt x="14" y="107"/>
                  </a:cubicBezTo>
                  <a:cubicBezTo>
                    <a:pt x="14" y="108"/>
                    <a:pt x="13" y="108"/>
                    <a:pt x="12" y="108"/>
                  </a:cubicBezTo>
                  <a:cubicBezTo>
                    <a:pt x="12" y="109"/>
                    <a:pt x="11" y="108"/>
                    <a:pt x="10" y="109"/>
                  </a:cubicBezTo>
                  <a:cubicBezTo>
                    <a:pt x="9" y="109"/>
                    <a:pt x="8" y="110"/>
                    <a:pt x="7" y="110"/>
                  </a:cubicBezTo>
                  <a:cubicBezTo>
                    <a:pt x="8" y="110"/>
                    <a:pt x="8" y="111"/>
                    <a:pt x="8" y="112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10" y="113"/>
                    <a:pt x="9" y="113"/>
                    <a:pt x="10" y="113"/>
                  </a:cubicBezTo>
                  <a:cubicBezTo>
                    <a:pt x="10" y="114"/>
                    <a:pt x="11" y="115"/>
                    <a:pt x="11" y="116"/>
                  </a:cubicBezTo>
                  <a:cubicBezTo>
                    <a:pt x="12" y="116"/>
                    <a:pt x="13" y="116"/>
                    <a:pt x="13" y="116"/>
                  </a:cubicBezTo>
                  <a:cubicBezTo>
                    <a:pt x="14" y="117"/>
                    <a:pt x="15" y="117"/>
                    <a:pt x="15" y="117"/>
                  </a:cubicBezTo>
                  <a:cubicBezTo>
                    <a:pt x="16" y="117"/>
                    <a:pt x="17" y="117"/>
                    <a:pt x="18" y="117"/>
                  </a:cubicBezTo>
                  <a:cubicBezTo>
                    <a:pt x="19" y="117"/>
                    <a:pt x="20" y="117"/>
                    <a:pt x="21" y="118"/>
                  </a:cubicBezTo>
                  <a:cubicBezTo>
                    <a:pt x="21" y="118"/>
                    <a:pt x="22" y="119"/>
                    <a:pt x="22" y="119"/>
                  </a:cubicBezTo>
                  <a:cubicBezTo>
                    <a:pt x="24" y="119"/>
                    <a:pt x="25" y="117"/>
                    <a:pt x="26" y="116"/>
                  </a:cubicBezTo>
                  <a:cubicBezTo>
                    <a:pt x="26" y="116"/>
                    <a:pt x="26" y="116"/>
                    <a:pt x="26" y="116"/>
                  </a:cubicBezTo>
                  <a:cubicBezTo>
                    <a:pt x="26" y="115"/>
                    <a:pt x="26" y="115"/>
                    <a:pt x="27" y="115"/>
                  </a:cubicBezTo>
                  <a:cubicBezTo>
                    <a:pt x="27" y="114"/>
                    <a:pt x="29" y="112"/>
                    <a:pt x="30" y="112"/>
                  </a:cubicBezTo>
                  <a:cubicBezTo>
                    <a:pt x="30" y="112"/>
                    <a:pt x="31" y="111"/>
                    <a:pt x="31" y="112"/>
                  </a:cubicBezTo>
                  <a:cubicBezTo>
                    <a:pt x="32" y="112"/>
                    <a:pt x="32" y="112"/>
                    <a:pt x="33" y="113"/>
                  </a:cubicBezTo>
                  <a:cubicBezTo>
                    <a:pt x="34" y="113"/>
                    <a:pt x="34" y="113"/>
                    <a:pt x="35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7" y="114"/>
                    <a:pt x="39" y="113"/>
                    <a:pt x="41" y="114"/>
                  </a:cubicBezTo>
                  <a:cubicBezTo>
                    <a:pt x="42" y="115"/>
                    <a:pt x="42" y="116"/>
                    <a:pt x="43" y="116"/>
                  </a:cubicBezTo>
                  <a:cubicBezTo>
                    <a:pt x="44" y="117"/>
                    <a:pt x="45" y="117"/>
                    <a:pt x="46" y="118"/>
                  </a:cubicBezTo>
                  <a:cubicBezTo>
                    <a:pt x="47" y="118"/>
                    <a:pt x="48" y="119"/>
                    <a:pt x="49" y="119"/>
                  </a:cubicBezTo>
                  <a:cubicBezTo>
                    <a:pt x="49" y="120"/>
                    <a:pt x="50" y="120"/>
                    <a:pt x="50" y="120"/>
                  </a:cubicBezTo>
                  <a:cubicBezTo>
                    <a:pt x="50" y="120"/>
                    <a:pt x="51" y="120"/>
                    <a:pt x="51" y="120"/>
                  </a:cubicBezTo>
                  <a:cubicBezTo>
                    <a:pt x="52" y="120"/>
                    <a:pt x="52" y="120"/>
                    <a:pt x="52" y="120"/>
                  </a:cubicBezTo>
                  <a:cubicBezTo>
                    <a:pt x="53" y="119"/>
                    <a:pt x="53" y="119"/>
                    <a:pt x="53" y="118"/>
                  </a:cubicBezTo>
                  <a:cubicBezTo>
                    <a:pt x="54" y="118"/>
                    <a:pt x="55" y="119"/>
                    <a:pt x="56" y="119"/>
                  </a:cubicBezTo>
                  <a:cubicBezTo>
                    <a:pt x="57" y="119"/>
                    <a:pt x="60" y="117"/>
                    <a:pt x="61" y="116"/>
                  </a:cubicBezTo>
                  <a:cubicBezTo>
                    <a:pt x="61" y="115"/>
                    <a:pt x="61" y="114"/>
                    <a:pt x="60" y="114"/>
                  </a:cubicBezTo>
                  <a:cubicBezTo>
                    <a:pt x="59" y="113"/>
                    <a:pt x="59" y="112"/>
                    <a:pt x="58" y="112"/>
                  </a:cubicBezTo>
                  <a:cubicBezTo>
                    <a:pt x="58" y="111"/>
                    <a:pt x="57" y="110"/>
                    <a:pt x="57" y="109"/>
                  </a:cubicBezTo>
                  <a:cubicBezTo>
                    <a:pt x="57" y="108"/>
                    <a:pt x="57" y="108"/>
                    <a:pt x="56" y="108"/>
                  </a:cubicBezTo>
                  <a:cubicBezTo>
                    <a:pt x="56" y="108"/>
                    <a:pt x="56" y="107"/>
                    <a:pt x="56" y="107"/>
                  </a:cubicBezTo>
                  <a:cubicBezTo>
                    <a:pt x="55" y="106"/>
                    <a:pt x="56" y="105"/>
                    <a:pt x="56" y="104"/>
                  </a:cubicBezTo>
                  <a:cubicBezTo>
                    <a:pt x="57" y="103"/>
                    <a:pt x="57" y="103"/>
                    <a:pt x="58" y="102"/>
                  </a:cubicBezTo>
                  <a:cubicBezTo>
                    <a:pt x="58" y="102"/>
                    <a:pt x="58" y="101"/>
                    <a:pt x="58" y="101"/>
                  </a:cubicBezTo>
                  <a:cubicBezTo>
                    <a:pt x="59" y="101"/>
                    <a:pt x="58" y="102"/>
                    <a:pt x="59" y="103"/>
                  </a:cubicBezTo>
                  <a:cubicBezTo>
                    <a:pt x="60" y="104"/>
                    <a:pt x="61" y="104"/>
                    <a:pt x="62" y="105"/>
                  </a:cubicBezTo>
                  <a:cubicBezTo>
                    <a:pt x="63" y="105"/>
                    <a:pt x="64" y="106"/>
                    <a:pt x="64" y="107"/>
                  </a:cubicBezTo>
                  <a:cubicBezTo>
                    <a:pt x="65" y="107"/>
                    <a:pt x="66" y="108"/>
                    <a:pt x="66" y="108"/>
                  </a:cubicBezTo>
                  <a:cubicBezTo>
                    <a:pt x="67" y="108"/>
                    <a:pt x="67" y="108"/>
                    <a:pt x="68" y="109"/>
                  </a:cubicBezTo>
                  <a:cubicBezTo>
                    <a:pt x="68" y="110"/>
                    <a:pt x="69" y="111"/>
                    <a:pt x="69" y="112"/>
                  </a:cubicBezTo>
                  <a:cubicBezTo>
                    <a:pt x="69" y="112"/>
                    <a:pt x="70" y="113"/>
                    <a:pt x="70" y="114"/>
                  </a:cubicBezTo>
                  <a:cubicBezTo>
                    <a:pt x="71" y="114"/>
                    <a:pt x="73" y="114"/>
                    <a:pt x="74" y="114"/>
                  </a:cubicBezTo>
                  <a:cubicBezTo>
                    <a:pt x="75" y="114"/>
                    <a:pt x="75" y="114"/>
                    <a:pt x="75" y="113"/>
                  </a:cubicBezTo>
                  <a:cubicBezTo>
                    <a:pt x="76" y="112"/>
                    <a:pt x="77" y="112"/>
                    <a:pt x="77" y="111"/>
                  </a:cubicBezTo>
                  <a:cubicBezTo>
                    <a:pt x="77" y="110"/>
                    <a:pt x="77" y="109"/>
                    <a:pt x="78" y="110"/>
                  </a:cubicBezTo>
                  <a:cubicBezTo>
                    <a:pt x="79" y="111"/>
                    <a:pt x="79" y="112"/>
                    <a:pt x="80" y="112"/>
                  </a:cubicBezTo>
                  <a:cubicBezTo>
                    <a:pt x="80" y="113"/>
                    <a:pt x="80" y="113"/>
                    <a:pt x="81" y="113"/>
                  </a:cubicBezTo>
                  <a:cubicBezTo>
                    <a:pt x="81" y="113"/>
                    <a:pt x="81" y="113"/>
                    <a:pt x="82" y="113"/>
                  </a:cubicBezTo>
                  <a:cubicBezTo>
                    <a:pt x="82" y="114"/>
                    <a:pt x="83" y="115"/>
                    <a:pt x="83" y="115"/>
                  </a:cubicBezTo>
                  <a:cubicBezTo>
                    <a:pt x="85" y="117"/>
                    <a:pt x="87" y="119"/>
                    <a:pt x="90" y="119"/>
                  </a:cubicBezTo>
                  <a:cubicBezTo>
                    <a:pt x="91" y="119"/>
                    <a:pt x="91" y="119"/>
                    <a:pt x="92" y="119"/>
                  </a:cubicBezTo>
                  <a:cubicBezTo>
                    <a:pt x="92" y="119"/>
                    <a:pt x="92" y="118"/>
                    <a:pt x="93" y="118"/>
                  </a:cubicBezTo>
                  <a:cubicBezTo>
                    <a:pt x="93" y="118"/>
                    <a:pt x="93" y="117"/>
                    <a:pt x="93" y="117"/>
                  </a:cubicBezTo>
                  <a:cubicBezTo>
                    <a:pt x="94" y="116"/>
                    <a:pt x="94" y="117"/>
                    <a:pt x="95" y="117"/>
                  </a:cubicBezTo>
                  <a:cubicBezTo>
                    <a:pt x="97" y="117"/>
                    <a:pt x="99" y="115"/>
                    <a:pt x="100" y="114"/>
                  </a:cubicBezTo>
                  <a:cubicBezTo>
                    <a:pt x="101" y="113"/>
                    <a:pt x="101" y="113"/>
                    <a:pt x="100" y="112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9" y="110"/>
                    <a:pt x="99" y="110"/>
                    <a:pt x="99" y="109"/>
                  </a:cubicBezTo>
                  <a:cubicBezTo>
                    <a:pt x="99" y="108"/>
                    <a:pt x="99" y="107"/>
                    <a:pt x="99" y="106"/>
                  </a:cubicBezTo>
                  <a:cubicBezTo>
                    <a:pt x="99" y="105"/>
                    <a:pt x="99" y="104"/>
                    <a:pt x="99" y="103"/>
                  </a:cubicBezTo>
                  <a:cubicBezTo>
                    <a:pt x="99" y="103"/>
                    <a:pt x="99" y="103"/>
                    <a:pt x="99" y="102"/>
                  </a:cubicBezTo>
                  <a:cubicBezTo>
                    <a:pt x="99" y="100"/>
                    <a:pt x="100" y="100"/>
                    <a:pt x="102" y="99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2" y="96"/>
                    <a:pt x="100" y="96"/>
                    <a:pt x="100" y="94"/>
                  </a:cubicBezTo>
                  <a:cubicBezTo>
                    <a:pt x="100" y="94"/>
                    <a:pt x="101" y="93"/>
                    <a:pt x="102" y="93"/>
                  </a:cubicBezTo>
                  <a:cubicBezTo>
                    <a:pt x="102" y="92"/>
                    <a:pt x="103" y="91"/>
                    <a:pt x="104" y="90"/>
                  </a:cubicBezTo>
                  <a:cubicBezTo>
                    <a:pt x="105" y="90"/>
                    <a:pt x="105" y="89"/>
                    <a:pt x="106" y="89"/>
                  </a:cubicBezTo>
                  <a:cubicBezTo>
                    <a:pt x="107" y="88"/>
                    <a:pt x="108" y="88"/>
                    <a:pt x="109" y="88"/>
                  </a:cubicBezTo>
                  <a:cubicBezTo>
                    <a:pt x="110" y="87"/>
                    <a:pt x="110" y="87"/>
                    <a:pt x="111" y="87"/>
                  </a:cubicBezTo>
                  <a:cubicBezTo>
                    <a:pt x="112" y="87"/>
                    <a:pt x="112" y="87"/>
                    <a:pt x="113" y="88"/>
                  </a:cubicBezTo>
                  <a:cubicBezTo>
                    <a:pt x="114" y="88"/>
                    <a:pt x="113" y="88"/>
                    <a:pt x="114" y="88"/>
                  </a:cubicBezTo>
                  <a:cubicBezTo>
                    <a:pt x="116" y="87"/>
                    <a:pt x="117" y="89"/>
                    <a:pt x="119" y="89"/>
                  </a:cubicBezTo>
                  <a:cubicBezTo>
                    <a:pt x="119" y="88"/>
                    <a:pt x="119" y="87"/>
                    <a:pt x="119" y="87"/>
                  </a:cubicBezTo>
                  <a:cubicBezTo>
                    <a:pt x="119" y="87"/>
                    <a:pt x="120" y="87"/>
                    <a:pt x="120" y="87"/>
                  </a:cubicBezTo>
                  <a:cubicBezTo>
                    <a:pt x="120" y="86"/>
                    <a:pt x="123" y="87"/>
                    <a:pt x="123" y="88"/>
                  </a:cubicBezTo>
                  <a:cubicBezTo>
                    <a:pt x="124" y="88"/>
                    <a:pt x="125" y="89"/>
                    <a:pt x="126" y="89"/>
                  </a:cubicBezTo>
                  <a:cubicBezTo>
                    <a:pt x="127" y="90"/>
                    <a:pt x="129" y="91"/>
                    <a:pt x="131" y="91"/>
                  </a:cubicBezTo>
                  <a:cubicBezTo>
                    <a:pt x="132" y="91"/>
                    <a:pt x="133" y="91"/>
                    <a:pt x="133" y="91"/>
                  </a:cubicBezTo>
                  <a:cubicBezTo>
                    <a:pt x="135" y="91"/>
                    <a:pt x="137" y="91"/>
                    <a:pt x="137" y="89"/>
                  </a:cubicBezTo>
                  <a:cubicBezTo>
                    <a:pt x="138" y="88"/>
                    <a:pt x="136" y="86"/>
                    <a:pt x="135" y="84"/>
                  </a:cubicBezTo>
                  <a:cubicBezTo>
                    <a:pt x="135" y="84"/>
                    <a:pt x="135" y="82"/>
                    <a:pt x="135" y="82"/>
                  </a:cubicBezTo>
                  <a:cubicBezTo>
                    <a:pt x="134" y="82"/>
                    <a:pt x="133" y="82"/>
                    <a:pt x="132" y="82"/>
                  </a:cubicBezTo>
                  <a:cubicBezTo>
                    <a:pt x="132" y="81"/>
                    <a:pt x="132" y="82"/>
                    <a:pt x="132" y="81"/>
                  </a:cubicBezTo>
                  <a:cubicBezTo>
                    <a:pt x="131" y="81"/>
                    <a:pt x="131" y="80"/>
                    <a:pt x="131" y="79"/>
                  </a:cubicBezTo>
                  <a:cubicBezTo>
                    <a:pt x="130" y="78"/>
                    <a:pt x="130" y="76"/>
                    <a:pt x="128" y="75"/>
                  </a:cubicBezTo>
                  <a:cubicBezTo>
                    <a:pt x="128" y="75"/>
                    <a:pt x="127" y="76"/>
                    <a:pt x="126" y="75"/>
                  </a:cubicBezTo>
                  <a:cubicBezTo>
                    <a:pt x="125" y="75"/>
                    <a:pt x="125" y="73"/>
                    <a:pt x="124" y="73"/>
                  </a:cubicBezTo>
                  <a:cubicBezTo>
                    <a:pt x="123" y="72"/>
                    <a:pt x="123" y="71"/>
                    <a:pt x="122" y="71"/>
                  </a:cubicBezTo>
                  <a:cubicBezTo>
                    <a:pt x="122" y="71"/>
                    <a:pt x="122" y="71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0" y="70"/>
                    <a:pt x="119" y="70"/>
                    <a:pt x="119" y="69"/>
                  </a:cubicBezTo>
                  <a:cubicBezTo>
                    <a:pt x="119" y="69"/>
                    <a:pt x="118" y="68"/>
                    <a:pt x="118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17" y="67"/>
                    <a:pt x="117" y="66"/>
                    <a:pt x="116" y="65"/>
                  </a:cubicBezTo>
                  <a:cubicBezTo>
                    <a:pt x="116" y="65"/>
                    <a:pt x="115" y="64"/>
                    <a:pt x="115" y="64"/>
                  </a:cubicBezTo>
                  <a:cubicBezTo>
                    <a:pt x="115" y="62"/>
                    <a:pt x="116" y="61"/>
                    <a:pt x="117" y="60"/>
                  </a:cubicBezTo>
                  <a:cubicBezTo>
                    <a:pt x="118" y="59"/>
                    <a:pt x="118" y="58"/>
                    <a:pt x="119" y="58"/>
                  </a:cubicBezTo>
                  <a:cubicBezTo>
                    <a:pt x="120" y="57"/>
                    <a:pt x="121" y="58"/>
                    <a:pt x="121" y="58"/>
                  </a:cubicBezTo>
                  <a:cubicBezTo>
                    <a:pt x="122" y="58"/>
                    <a:pt x="123" y="58"/>
                    <a:pt x="123" y="58"/>
                  </a:cubicBezTo>
                  <a:cubicBezTo>
                    <a:pt x="124" y="57"/>
                    <a:pt x="124" y="55"/>
                    <a:pt x="125" y="55"/>
                  </a:cubicBezTo>
                  <a:cubicBezTo>
                    <a:pt x="126" y="54"/>
                    <a:pt x="125" y="54"/>
                    <a:pt x="126" y="54"/>
                  </a:cubicBezTo>
                  <a:cubicBezTo>
                    <a:pt x="127" y="54"/>
                    <a:pt x="128" y="54"/>
                    <a:pt x="128" y="53"/>
                  </a:cubicBezTo>
                  <a:cubicBezTo>
                    <a:pt x="129" y="53"/>
                    <a:pt x="129" y="53"/>
                    <a:pt x="130" y="52"/>
                  </a:cubicBezTo>
                  <a:cubicBezTo>
                    <a:pt x="130" y="51"/>
                    <a:pt x="132" y="50"/>
                    <a:pt x="133" y="50"/>
                  </a:cubicBezTo>
                  <a:cubicBezTo>
                    <a:pt x="134" y="50"/>
                    <a:pt x="135" y="50"/>
                    <a:pt x="136" y="50"/>
                  </a:cubicBezTo>
                  <a:cubicBezTo>
                    <a:pt x="137" y="49"/>
                    <a:pt x="136" y="47"/>
                    <a:pt x="137" y="47"/>
                  </a:cubicBezTo>
                  <a:cubicBezTo>
                    <a:pt x="138" y="46"/>
                    <a:pt x="140" y="47"/>
                    <a:pt x="141" y="47"/>
                  </a:cubicBezTo>
                  <a:cubicBezTo>
                    <a:pt x="142" y="47"/>
                    <a:pt x="142" y="47"/>
                    <a:pt x="142" y="46"/>
                  </a:cubicBezTo>
                  <a:cubicBezTo>
                    <a:pt x="142" y="46"/>
                    <a:pt x="142" y="45"/>
                    <a:pt x="142" y="45"/>
                  </a:cubicBezTo>
                  <a:cubicBezTo>
                    <a:pt x="142" y="44"/>
                    <a:pt x="143" y="44"/>
                    <a:pt x="144" y="43"/>
                  </a:cubicBezTo>
                  <a:cubicBezTo>
                    <a:pt x="146" y="43"/>
                    <a:pt x="148" y="42"/>
                    <a:pt x="150" y="43"/>
                  </a:cubicBezTo>
                  <a:cubicBezTo>
                    <a:pt x="151" y="43"/>
                    <a:pt x="152" y="43"/>
                    <a:pt x="152" y="43"/>
                  </a:cubicBezTo>
                  <a:cubicBezTo>
                    <a:pt x="153" y="43"/>
                    <a:pt x="153" y="42"/>
                    <a:pt x="153" y="42"/>
                  </a:cubicBezTo>
                  <a:cubicBezTo>
                    <a:pt x="153" y="41"/>
                    <a:pt x="152" y="41"/>
                    <a:pt x="152" y="40"/>
                  </a:cubicBezTo>
                  <a:cubicBezTo>
                    <a:pt x="151" y="39"/>
                    <a:pt x="151" y="38"/>
                    <a:pt x="150" y="37"/>
                  </a:cubicBezTo>
                  <a:cubicBezTo>
                    <a:pt x="150" y="37"/>
                    <a:pt x="149" y="36"/>
                    <a:pt x="148" y="35"/>
                  </a:cubicBezTo>
                  <a:cubicBezTo>
                    <a:pt x="148" y="35"/>
                    <a:pt x="148" y="34"/>
                    <a:pt x="149" y="34"/>
                  </a:cubicBezTo>
                  <a:cubicBezTo>
                    <a:pt x="149" y="33"/>
                    <a:pt x="150" y="33"/>
                    <a:pt x="151" y="33"/>
                  </a:cubicBezTo>
                  <a:cubicBezTo>
                    <a:pt x="152" y="33"/>
                    <a:pt x="152" y="33"/>
                    <a:pt x="153" y="33"/>
                  </a:cubicBezTo>
                  <a:cubicBezTo>
                    <a:pt x="153" y="32"/>
                    <a:pt x="154" y="31"/>
                    <a:pt x="155" y="31"/>
                  </a:cubicBezTo>
                  <a:cubicBezTo>
                    <a:pt x="156" y="30"/>
                    <a:pt x="159" y="32"/>
                    <a:pt x="160" y="33"/>
                  </a:cubicBezTo>
                  <a:cubicBezTo>
                    <a:pt x="162" y="33"/>
                    <a:pt x="163" y="33"/>
                    <a:pt x="165" y="33"/>
                  </a:cubicBezTo>
                  <a:cubicBezTo>
                    <a:pt x="165" y="33"/>
                    <a:pt x="166" y="33"/>
                    <a:pt x="167" y="33"/>
                  </a:cubicBezTo>
                  <a:cubicBezTo>
                    <a:pt x="167" y="32"/>
                    <a:pt x="167" y="32"/>
                    <a:pt x="167" y="32"/>
                  </a:cubicBezTo>
                  <a:cubicBezTo>
                    <a:pt x="166" y="32"/>
                    <a:pt x="165" y="32"/>
                    <a:pt x="165" y="32"/>
                  </a:cubicBezTo>
                  <a:cubicBezTo>
                    <a:pt x="161" y="29"/>
                    <a:pt x="164" y="26"/>
                    <a:pt x="163" y="2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5" name="Freeform 26">
              <a:extLst>
                <a:ext uri="{FF2B5EF4-FFF2-40B4-BE49-F238E27FC236}">
                  <a16:creationId xmlns:a16="http://schemas.microsoft.com/office/drawing/2014/main" id="{4A1F7BCC-1FB9-4437-9689-87271442F5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5838" y="5073650"/>
              <a:ext cx="584200" cy="542925"/>
            </a:xfrm>
            <a:custGeom>
              <a:avLst/>
              <a:gdLst/>
              <a:ahLst/>
              <a:cxnLst>
                <a:cxn ang="0">
                  <a:pos x="261" y="120"/>
                </a:cxn>
                <a:cxn ang="0">
                  <a:pos x="275" y="132"/>
                </a:cxn>
                <a:cxn ang="0">
                  <a:pos x="294" y="124"/>
                </a:cxn>
                <a:cxn ang="0">
                  <a:pos x="305" y="104"/>
                </a:cxn>
                <a:cxn ang="0">
                  <a:pos x="291" y="87"/>
                </a:cxn>
                <a:cxn ang="0">
                  <a:pos x="288" y="72"/>
                </a:cxn>
                <a:cxn ang="0">
                  <a:pos x="284" y="56"/>
                </a:cxn>
                <a:cxn ang="0">
                  <a:pos x="275" y="56"/>
                </a:cxn>
                <a:cxn ang="0">
                  <a:pos x="244" y="63"/>
                </a:cxn>
                <a:cxn ang="0">
                  <a:pos x="223" y="58"/>
                </a:cxn>
                <a:cxn ang="0">
                  <a:pos x="201" y="40"/>
                </a:cxn>
                <a:cxn ang="0">
                  <a:pos x="194" y="29"/>
                </a:cxn>
                <a:cxn ang="0">
                  <a:pos x="169" y="7"/>
                </a:cxn>
                <a:cxn ang="0">
                  <a:pos x="152" y="1"/>
                </a:cxn>
                <a:cxn ang="0">
                  <a:pos x="149" y="10"/>
                </a:cxn>
                <a:cxn ang="0">
                  <a:pos x="139" y="16"/>
                </a:cxn>
                <a:cxn ang="0">
                  <a:pos x="125" y="23"/>
                </a:cxn>
                <a:cxn ang="0">
                  <a:pos x="114" y="30"/>
                </a:cxn>
                <a:cxn ang="0">
                  <a:pos x="118" y="40"/>
                </a:cxn>
                <a:cxn ang="0">
                  <a:pos x="128" y="49"/>
                </a:cxn>
                <a:cxn ang="0">
                  <a:pos x="130" y="61"/>
                </a:cxn>
                <a:cxn ang="0">
                  <a:pos x="116" y="59"/>
                </a:cxn>
                <a:cxn ang="0">
                  <a:pos x="101" y="60"/>
                </a:cxn>
                <a:cxn ang="0">
                  <a:pos x="96" y="73"/>
                </a:cxn>
                <a:cxn ang="0">
                  <a:pos x="92" y="87"/>
                </a:cxn>
                <a:cxn ang="0">
                  <a:pos x="79" y="83"/>
                </a:cxn>
                <a:cxn ang="0">
                  <a:pos x="71" y="84"/>
                </a:cxn>
                <a:cxn ang="0">
                  <a:pos x="59" y="75"/>
                </a:cxn>
                <a:cxn ang="0">
                  <a:pos x="53" y="78"/>
                </a:cxn>
                <a:cxn ang="0">
                  <a:pos x="50" y="88"/>
                </a:cxn>
                <a:cxn ang="0">
                  <a:pos x="40" y="86"/>
                </a:cxn>
                <a:cxn ang="0">
                  <a:pos x="27" y="82"/>
                </a:cxn>
                <a:cxn ang="0">
                  <a:pos x="15" y="87"/>
                </a:cxn>
                <a:cxn ang="0">
                  <a:pos x="5" y="82"/>
                </a:cxn>
                <a:cxn ang="0">
                  <a:pos x="1" y="87"/>
                </a:cxn>
                <a:cxn ang="0">
                  <a:pos x="16" y="127"/>
                </a:cxn>
                <a:cxn ang="0">
                  <a:pos x="25" y="131"/>
                </a:cxn>
                <a:cxn ang="0">
                  <a:pos x="37" y="109"/>
                </a:cxn>
                <a:cxn ang="0">
                  <a:pos x="54" y="109"/>
                </a:cxn>
                <a:cxn ang="0">
                  <a:pos x="64" y="125"/>
                </a:cxn>
                <a:cxn ang="0">
                  <a:pos x="70" y="130"/>
                </a:cxn>
                <a:cxn ang="0">
                  <a:pos x="75" y="151"/>
                </a:cxn>
                <a:cxn ang="0">
                  <a:pos x="93" y="179"/>
                </a:cxn>
                <a:cxn ang="0">
                  <a:pos x="95" y="203"/>
                </a:cxn>
                <a:cxn ang="0">
                  <a:pos x="106" y="217"/>
                </a:cxn>
                <a:cxn ang="0">
                  <a:pos x="119" y="235"/>
                </a:cxn>
                <a:cxn ang="0">
                  <a:pos x="134" y="242"/>
                </a:cxn>
                <a:cxn ang="0">
                  <a:pos x="157" y="246"/>
                </a:cxn>
                <a:cxn ang="0">
                  <a:pos x="200" y="287"/>
                </a:cxn>
                <a:cxn ang="0">
                  <a:pos x="202" y="278"/>
                </a:cxn>
                <a:cxn ang="0">
                  <a:pos x="195" y="264"/>
                </a:cxn>
                <a:cxn ang="0">
                  <a:pos x="192" y="250"/>
                </a:cxn>
                <a:cxn ang="0">
                  <a:pos x="169" y="224"/>
                </a:cxn>
                <a:cxn ang="0">
                  <a:pos x="142" y="196"/>
                </a:cxn>
                <a:cxn ang="0">
                  <a:pos x="135" y="175"/>
                </a:cxn>
                <a:cxn ang="0">
                  <a:pos x="131" y="151"/>
                </a:cxn>
                <a:cxn ang="0">
                  <a:pos x="118" y="134"/>
                </a:cxn>
                <a:cxn ang="0">
                  <a:pos x="133" y="107"/>
                </a:cxn>
                <a:cxn ang="0">
                  <a:pos x="150" y="118"/>
                </a:cxn>
                <a:cxn ang="0">
                  <a:pos x="174" y="105"/>
                </a:cxn>
                <a:cxn ang="0">
                  <a:pos x="192" y="114"/>
                </a:cxn>
                <a:cxn ang="0">
                  <a:pos x="221" y="116"/>
                </a:cxn>
                <a:cxn ang="0">
                  <a:pos x="237" y="114"/>
                </a:cxn>
              </a:cxnLst>
              <a:rect l="0" t="0" r="r" b="b"/>
              <a:pathLst>
                <a:path w="312" h="291">
                  <a:moveTo>
                    <a:pt x="9" y="78"/>
                  </a:move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moveTo>
                    <a:pt x="255" y="117"/>
                  </a:moveTo>
                  <a:cubicBezTo>
                    <a:pt x="256" y="117"/>
                    <a:pt x="257" y="118"/>
                    <a:pt x="259" y="118"/>
                  </a:cubicBezTo>
                  <a:cubicBezTo>
                    <a:pt x="259" y="119"/>
                    <a:pt x="260" y="120"/>
                    <a:pt x="261" y="120"/>
                  </a:cubicBezTo>
                  <a:cubicBezTo>
                    <a:pt x="263" y="121"/>
                    <a:pt x="266" y="121"/>
                    <a:pt x="267" y="121"/>
                  </a:cubicBezTo>
                  <a:cubicBezTo>
                    <a:pt x="268" y="118"/>
                    <a:pt x="272" y="120"/>
                    <a:pt x="273" y="122"/>
                  </a:cubicBezTo>
                  <a:cubicBezTo>
                    <a:pt x="273" y="122"/>
                    <a:pt x="273" y="123"/>
                    <a:pt x="273" y="124"/>
                  </a:cubicBezTo>
                  <a:cubicBezTo>
                    <a:pt x="273" y="124"/>
                    <a:pt x="274" y="125"/>
                    <a:pt x="274" y="125"/>
                  </a:cubicBezTo>
                  <a:cubicBezTo>
                    <a:pt x="275" y="126"/>
                    <a:pt x="277" y="127"/>
                    <a:pt x="277" y="128"/>
                  </a:cubicBezTo>
                  <a:cubicBezTo>
                    <a:pt x="276" y="130"/>
                    <a:pt x="275" y="130"/>
                    <a:pt x="275" y="132"/>
                  </a:cubicBezTo>
                  <a:cubicBezTo>
                    <a:pt x="275" y="134"/>
                    <a:pt x="276" y="136"/>
                    <a:pt x="278" y="137"/>
                  </a:cubicBezTo>
                  <a:cubicBezTo>
                    <a:pt x="279" y="137"/>
                    <a:pt x="278" y="137"/>
                    <a:pt x="280" y="138"/>
                  </a:cubicBezTo>
                  <a:cubicBezTo>
                    <a:pt x="281" y="138"/>
                    <a:pt x="282" y="138"/>
                    <a:pt x="282" y="138"/>
                  </a:cubicBezTo>
                  <a:cubicBezTo>
                    <a:pt x="284" y="137"/>
                    <a:pt x="286" y="137"/>
                    <a:pt x="288" y="136"/>
                  </a:cubicBezTo>
                  <a:cubicBezTo>
                    <a:pt x="290" y="135"/>
                    <a:pt x="297" y="134"/>
                    <a:pt x="295" y="131"/>
                  </a:cubicBezTo>
                  <a:cubicBezTo>
                    <a:pt x="294" y="128"/>
                    <a:pt x="291" y="126"/>
                    <a:pt x="294" y="124"/>
                  </a:cubicBezTo>
                  <a:cubicBezTo>
                    <a:pt x="294" y="123"/>
                    <a:pt x="296" y="122"/>
                    <a:pt x="296" y="121"/>
                  </a:cubicBezTo>
                  <a:cubicBezTo>
                    <a:pt x="296" y="120"/>
                    <a:pt x="295" y="119"/>
                    <a:pt x="296" y="118"/>
                  </a:cubicBezTo>
                  <a:cubicBezTo>
                    <a:pt x="297" y="116"/>
                    <a:pt x="301" y="115"/>
                    <a:pt x="303" y="114"/>
                  </a:cubicBezTo>
                  <a:cubicBezTo>
                    <a:pt x="305" y="114"/>
                    <a:pt x="312" y="114"/>
                    <a:pt x="310" y="110"/>
                  </a:cubicBezTo>
                  <a:cubicBezTo>
                    <a:pt x="310" y="109"/>
                    <a:pt x="309" y="109"/>
                    <a:pt x="308" y="108"/>
                  </a:cubicBezTo>
                  <a:cubicBezTo>
                    <a:pt x="307" y="107"/>
                    <a:pt x="306" y="105"/>
                    <a:pt x="305" y="104"/>
                  </a:cubicBezTo>
                  <a:cubicBezTo>
                    <a:pt x="303" y="102"/>
                    <a:pt x="303" y="102"/>
                    <a:pt x="301" y="102"/>
                  </a:cubicBezTo>
                  <a:cubicBezTo>
                    <a:pt x="297" y="101"/>
                    <a:pt x="294" y="99"/>
                    <a:pt x="292" y="98"/>
                  </a:cubicBezTo>
                  <a:cubicBezTo>
                    <a:pt x="291" y="98"/>
                    <a:pt x="290" y="97"/>
                    <a:pt x="290" y="96"/>
                  </a:cubicBezTo>
                  <a:cubicBezTo>
                    <a:pt x="288" y="94"/>
                    <a:pt x="292" y="93"/>
                    <a:pt x="292" y="90"/>
                  </a:cubicBezTo>
                  <a:cubicBezTo>
                    <a:pt x="291" y="89"/>
                    <a:pt x="290" y="89"/>
                    <a:pt x="290" y="88"/>
                  </a:cubicBezTo>
                  <a:cubicBezTo>
                    <a:pt x="290" y="87"/>
                    <a:pt x="291" y="87"/>
                    <a:pt x="291" y="87"/>
                  </a:cubicBezTo>
                  <a:cubicBezTo>
                    <a:pt x="292" y="85"/>
                    <a:pt x="291" y="84"/>
                    <a:pt x="290" y="83"/>
                  </a:cubicBezTo>
                  <a:cubicBezTo>
                    <a:pt x="290" y="82"/>
                    <a:pt x="290" y="82"/>
                    <a:pt x="289" y="82"/>
                  </a:cubicBezTo>
                  <a:cubicBezTo>
                    <a:pt x="288" y="80"/>
                    <a:pt x="288" y="81"/>
                    <a:pt x="286" y="80"/>
                  </a:cubicBezTo>
                  <a:cubicBezTo>
                    <a:pt x="286" y="79"/>
                    <a:pt x="286" y="78"/>
                    <a:pt x="286" y="76"/>
                  </a:cubicBezTo>
                  <a:cubicBezTo>
                    <a:pt x="286" y="75"/>
                    <a:pt x="287" y="75"/>
                    <a:pt x="287" y="74"/>
                  </a:cubicBezTo>
                  <a:cubicBezTo>
                    <a:pt x="287" y="73"/>
                    <a:pt x="288" y="73"/>
                    <a:pt x="288" y="72"/>
                  </a:cubicBezTo>
                  <a:cubicBezTo>
                    <a:pt x="288" y="70"/>
                    <a:pt x="286" y="70"/>
                    <a:pt x="286" y="68"/>
                  </a:cubicBezTo>
                  <a:cubicBezTo>
                    <a:pt x="286" y="67"/>
                    <a:pt x="286" y="65"/>
                    <a:pt x="286" y="64"/>
                  </a:cubicBezTo>
                  <a:cubicBezTo>
                    <a:pt x="286" y="64"/>
                    <a:pt x="286" y="63"/>
                    <a:pt x="286" y="63"/>
                  </a:cubicBezTo>
                  <a:cubicBezTo>
                    <a:pt x="286" y="62"/>
                    <a:pt x="285" y="62"/>
                    <a:pt x="285" y="62"/>
                  </a:cubicBezTo>
                  <a:cubicBezTo>
                    <a:pt x="285" y="62"/>
                    <a:pt x="285" y="61"/>
                    <a:pt x="284" y="60"/>
                  </a:cubicBezTo>
                  <a:cubicBezTo>
                    <a:pt x="284" y="59"/>
                    <a:pt x="284" y="58"/>
                    <a:pt x="284" y="56"/>
                  </a:cubicBezTo>
                  <a:cubicBezTo>
                    <a:pt x="284" y="54"/>
                    <a:pt x="284" y="52"/>
                    <a:pt x="284" y="50"/>
                  </a:cubicBezTo>
                  <a:cubicBezTo>
                    <a:pt x="284" y="50"/>
                    <a:pt x="284" y="50"/>
                    <a:pt x="284" y="51"/>
                  </a:cubicBezTo>
                  <a:cubicBezTo>
                    <a:pt x="283" y="51"/>
                    <a:pt x="283" y="52"/>
                    <a:pt x="282" y="52"/>
                  </a:cubicBezTo>
                  <a:cubicBezTo>
                    <a:pt x="282" y="52"/>
                    <a:pt x="281" y="52"/>
                    <a:pt x="281" y="51"/>
                  </a:cubicBezTo>
                  <a:cubicBezTo>
                    <a:pt x="279" y="50"/>
                    <a:pt x="278" y="54"/>
                    <a:pt x="277" y="55"/>
                  </a:cubicBezTo>
                  <a:cubicBezTo>
                    <a:pt x="277" y="55"/>
                    <a:pt x="275" y="56"/>
                    <a:pt x="275" y="56"/>
                  </a:cubicBezTo>
                  <a:cubicBezTo>
                    <a:pt x="274" y="56"/>
                    <a:pt x="272" y="57"/>
                    <a:pt x="271" y="57"/>
                  </a:cubicBezTo>
                  <a:cubicBezTo>
                    <a:pt x="270" y="58"/>
                    <a:pt x="269" y="58"/>
                    <a:pt x="269" y="59"/>
                  </a:cubicBezTo>
                  <a:cubicBezTo>
                    <a:pt x="268" y="60"/>
                    <a:pt x="268" y="62"/>
                    <a:pt x="268" y="63"/>
                  </a:cubicBezTo>
                  <a:cubicBezTo>
                    <a:pt x="265" y="65"/>
                    <a:pt x="259" y="62"/>
                    <a:pt x="256" y="63"/>
                  </a:cubicBezTo>
                  <a:cubicBezTo>
                    <a:pt x="253" y="63"/>
                    <a:pt x="251" y="63"/>
                    <a:pt x="249" y="63"/>
                  </a:cubicBezTo>
                  <a:cubicBezTo>
                    <a:pt x="247" y="63"/>
                    <a:pt x="246" y="63"/>
                    <a:pt x="244" y="63"/>
                  </a:cubicBezTo>
                  <a:cubicBezTo>
                    <a:pt x="244" y="63"/>
                    <a:pt x="243" y="63"/>
                    <a:pt x="242" y="63"/>
                  </a:cubicBezTo>
                  <a:cubicBezTo>
                    <a:pt x="241" y="62"/>
                    <a:pt x="241" y="62"/>
                    <a:pt x="240" y="62"/>
                  </a:cubicBezTo>
                  <a:cubicBezTo>
                    <a:pt x="239" y="61"/>
                    <a:pt x="237" y="62"/>
                    <a:pt x="236" y="61"/>
                  </a:cubicBezTo>
                  <a:cubicBezTo>
                    <a:pt x="234" y="61"/>
                    <a:pt x="232" y="60"/>
                    <a:pt x="230" y="60"/>
                  </a:cubicBezTo>
                  <a:cubicBezTo>
                    <a:pt x="229" y="60"/>
                    <a:pt x="227" y="60"/>
                    <a:pt x="225" y="60"/>
                  </a:cubicBezTo>
                  <a:cubicBezTo>
                    <a:pt x="224" y="59"/>
                    <a:pt x="224" y="59"/>
                    <a:pt x="223" y="58"/>
                  </a:cubicBezTo>
                  <a:cubicBezTo>
                    <a:pt x="222" y="56"/>
                    <a:pt x="220" y="55"/>
                    <a:pt x="218" y="54"/>
                  </a:cubicBezTo>
                  <a:cubicBezTo>
                    <a:pt x="218" y="53"/>
                    <a:pt x="218" y="53"/>
                    <a:pt x="217" y="52"/>
                  </a:cubicBezTo>
                  <a:cubicBezTo>
                    <a:pt x="216" y="52"/>
                    <a:pt x="216" y="52"/>
                    <a:pt x="215" y="52"/>
                  </a:cubicBezTo>
                  <a:cubicBezTo>
                    <a:pt x="212" y="52"/>
                    <a:pt x="212" y="51"/>
                    <a:pt x="210" y="50"/>
                  </a:cubicBezTo>
                  <a:cubicBezTo>
                    <a:pt x="208" y="49"/>
                    <a:pt x="205" y="49"/>
                    <a:pt x="203" y="47"/>
                  </a:cubicBezTo>
                  <a:cubicBezTo>
                    <a:pt x="202" y="45"/>
                    <a:pt x="202" y="42"/>
                    <a:pt x="201" y="40"/>
                  </a:cubicBezTo>
                  <a:cubicBezTo>
                    <a:pt x="200" y="38"/>
                    <a:pt x="199" y="38"/>
                    <a:pt x="198" y="36"/>
                  </a:cubicBezTo>
                  <a:cubicBezTo>
                    <a:pt x="197" y="36"/>
                    <a:pt x="197" y="35"/>
                    <a:pt x="196" y="35"/>
                  </a:cubicBezTo>
                  <a:cubicBezTo>
                    <a:pt x="196" y="34"/>
                    <a:pt x="196" y="34"/>
                    <a:pt x="195" y="34"/>
                  </a:cubicBezTo>
                  <a:cubicBezTo>
                    <a:pt x="196" y="33"/>
                    <a:pt x="196" y="33"/>
                    <a:pt x="195" y="33"/>
                  </a:cubicBezTo>
                  <a:cubicBezTo>
                    <a:pt x="195" y="32"/>
                    <a:pt x="194" y="31"/>
                    <a:pt x="193" y="30"/>
                  </a:cubicBezTo>
                  <a:cubicBezTo>
                    <a:pt x="193" y="30"/>
                    <a:pt x="193" y="29"/>
                    <a:pt x="194" y="29"/>
                  </a:cubicBezTo>
                  <a:cubicBezTo>
                    <a:pt x="192" y="30"/>
                    <a:pt x="191" y="28"/>
                    <a:pt x="190" y="28"/>
                  </a:cubicBezTo>
                  <a:cubicBezTo>
                    <a:pt x="189" y="27"/>
                    <a:pt x="187" y="27"/>
                    <a:pt x="186" y="26"/>
                  </a:cubicBezTo>
                  <a:cubicBezTo>
                    <a:pt x="183" y="24"/>
                    <a:pt x="183" y="23"/>
                    <a:pt x="184" y="20"/>
                  </a:cubicBezTo>
                  <a:cubicBezTo>
                    <a:pt x="182" y="20"/>
                    <a:pt x="180" y="19"/>
                    <a:pt x="179" y="18"/>
                  </a:cubicBezTo>
                  <a:cubicBezTo>
                    <a:pt x="178" y="17"/>
                    <a:pt x="178" y="15"/>
                    <a:pt x="177" y="14"/>
                  </a:cubicBezTo>
                  <a:cubicBezTo>
                    <a:pt x="175" y="11"/>
                    <a:pt x="172" y="9"/>
                    <a:pt x="169" y="7"/>
                  </a:cubicBezTo>
                  <a:cubicBezTo>
                    <a:pt x="167" y="6"/>
                    <a:pt x="166" y="5"/>
                    <a:pt x="165" y="4"/>
                  </a:cubicBezTo>
                  <a:cubicBezTo>
                    <a:pt x="165" y="4"/>
                    <a:pt x="164" y="2"/>
                    <a:pt x="164" y="2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3" y="3"/>
                    <a:pt x="162" y="3"/>
                    <a:pt x="162" y="3"/>
                  </a:cubicBezTo>
                  <a:cubicBezTo>
                    <a:pt x="160" y="3"/>
                    <a:pt x="159" y="3"/>
                    <a:pt x="157" y="3"/>
                  </a:cubicBezTo>
                  <a:cubicBezTo>
                    <a:pt x="156" y="2"/>
                    <a:pt x="153" y="0"/>
                    <a:pt x="152" y="1"/>
                  </a:cubicBezTo>
                  <a:cubicBezTo>
                    <a:pt x="151" y="1"/>
                    <a:pt x="150" y="2"/>
                    <a:pt x="150" y="3"/>
                  </a:cubicBezTo>
                  <a:cubicBezTo>
                    <a:pt x="149" y="3"/>
                    <a:pt x="149" y="3"/>
                    <a:pt x="148" y="3"/>
                  </a:cubicBezTo>
                  <a:cubicBezTo>
                    <a:pt x="147" y="3"/>
                    <a:pt x="146" y="3"/>
                    <a:pt x="146" y="4"/>
                  </a:cubicBezTo>
                  <a:cubicBezTo>
                    <a:pt x="145" y="4"/>
                    <a:pt x="145" y="5"/>
                    <a:pt x="145" y="5"/>
                  </a:cubicBezTo>
                  <a:cubicBezTo>
                    <a:pt x="146" y="6"/>
                    <a:pt x="147" y="7"/>
                    <a:pt x="147" y="7"/>
                  </a:cubicBezTo>
                  <a:cubicBezTo>
                    <a:pt x="148" y="8"/>
                    <a:pt x="148" y="9"/>
                    <a:pt x="149" y="10"/>
                  </a:cubicBezTo>
                  <a:cubicBezTo>
                    <a:pt x="149" y="11"/>
                    <a:pt x="150" y="11"/>
                    <a:pt x="150" y="12"/>
                  </a:cubicBezTo>
                  <a:cubicBezTo>
                    <a:pt x="150" y="12"/>
                    <a:pt x="150" y="13"/>
                    <a:pt x="149" y="13"/>
                  </a:cubicBezTo>
                  <a:cubicBezTo>
                    <a:pt x="149" y="13"/>
                    <a:pt x="148" y="13"/>
                    <a:pt x="147" y="13"/>
                  </a:cubicBezTo>
                  <a:cubicBezTo>
                    <a:pt x="145" y="12"/>
                    <a:pt x="143" y="13"/>
                    <a:pt x="141" y="13"/>
                  </a:cubicBezTo>
                  <a:cubicBezTo>
                    <a:pt x="140" y="14"/>
                    <a:pt x="139" y="14"/>
                    <a:pt x="139" y="15"/>
                  </a:cubicBezTo>
                  <a:cubicBezTo>
                    <a:pt x="139" y="15"/>
                    <a:pt x="139" y="16"/>
                    <a:pt x="139" y="16"/>
                  </a:cubicBezTo>
                  <a:cubicBezTo>
                    <a:pt x="139" y="17"/>
                    <a:pt x="139" y="17"/>
                    <a:pt x="138" y="17"/>
                  </a:cubicBezTo>
                  <a:cubicBezTo>
                    <a:pt x="137" y="17"/>
                    <a:pt x="135" y="16"/>
                    <a:pt x="134" y="17"/>
                  </a:cubicBezTo>
                  <a:cubicBezTo>
                    <a:pt x="133" y="17"/>
                    <a:pt x="134" y="19"/>
                    <a:pt x="133" y="20"/>
                  </a:cubicBezTo>
                  <a:cubicBezTo>
                    <a:pt x="132" y="20"/>
                    <a:pt x="131" y="20"/>
                    <a:pt x="130" y="20"/>
                  </a:cubicBezTo>
                  <a:cubicBezTo>
                    <a:pt x="129" y="20"/>
                    <a:pt x="127" y="21"/>
                    <a:pt x="127" y="22"/>
                  </a:cubicBezTo>
                  <a:cubicBezTo>
                    <a:pt x="126" y="23"/>
                    <a:pt x="126" y="23"/>
                    <a:pt x="125" y="23"/>
                  </a:cubicBezTo>
                  <a:cubicBezTo>
                    <a:pt x="125" y="24"/>
                    <a:pt x="124" y="24"/>
                    <a:pt x="123" y="24"/>
                  </a:cubicBezTo>
                  <a:cubicBezTo>
                    <a:pt x="122" y="24"/>
                    <a:pt x="123" y="24"/>
                    <a:pt x="122" y="25"/>
                  </a:cubicBezTo>
                  <a:cubicBezTo>
                    <a:pt x="121" y="25"/>
                    <a:pt x="121" y="27"/>
                    <a:pt x="120" y="28"/>
                  </a:cubicBezTo>
                  <a:cubicBezTo>
                    <a:pt x="120" y="28"/>
                    <a:pt x="119" y="28"/>
                    <a:pt x="118" y="28"/>
                  </a:cubicBezTo>
                  <a:cubicBezTo>
                    <a:pt x="118" y="28"/>
                    <a:pt x="117" y="27"/>
                    <a:pt x="116" y="28"/>
                  </a:cubicBezTo>
                  <a:cubicBezTo>
                    <a:pt x="115" y="28"/>
                    <a:pt x="115" y="29"/>
                    <a:pt x="114" y="30"/>
                  </a:cubicBezTo>
                  <a:cubicBezTo>
                    <a:pt x="113" y="31"/>
                    <a:pt x="112" y="32"/>
                    <a:pt x="112" y="34"/>
                  </a:cubicBezTo>
                  <a:cubicBezTo>
                    <a:pt x="112" y="34"/>
                    <a:pt x="113" y="35"/>
                    <a:pt x="113" y="35"/>
                  </a:cubicBezTo>
                  <a:cubicBezTo>
                    <a:pt x="114" y="36"/>
                    <a:pt x="114" y="37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6" y="39"/>
                    <a:pt x="116" y="39"/>
                  </a:cubicBezTo>
                  <a:cubicBezTo>
                    <a:pt x="116" y="40"/>
                    <a:pt x="117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0" y="41"/>
                    <a:pt x="120" y="42"/>
                    <a:pt x="121" y="43"/>
                  </a:cubicBezTo>
                  <a:cubicBezTo>
                    <a:pt x="122" y="43"/>
                    <a:pt x="122" y="45"/>
                    <a:pt x="123" y="45"/>
                  </a:cubicBezTo>
                  <a:cubicBezTo>
                    <a:pt x="124" y="46"/>
                    <a:pt x="125" y="45"/>
                    <a:pt x="125" y="45"/>
                  </a:cubicBezTo>
                  <a:cubicBezTo>
                    <a:pt x="127" y="46"/>
                    <a:pt x="127" y="48"/>
                    <a:pt x="128" y="49"/>
                  </a:cubicBezTo>
                  <a:cubicBezTo>
                    <a:pt x="128" y="50"/>
                    <a:pt x="128" y="51"/>
                    <a:pt x="129" y="51"/>
                  </a:cubicBezTo>
                  <a:cubicBezTo>
                    <a:pt x="129" y="52"/>
                    <a:pt x="129" y="51"/>
                    <a:pt x="129" y="52"/>
                  </a:cubicBezTo>
                  <a:cubicBezTo>
                    <a:pt x="130" y="52"/>
                    <a:pt x="131" y="52"/>
                    <a:pt x="132" y="52"/>
                  </a:cubicBezTo>
                  <a:cubicBezTo>
                    <a:pt x="132" y="52"/>
                    <a:pt x="132" y="54"/>
                    <a:pt x="132" y="54"/>
                  </a:cubicBezTo>
                  <a:cubicBezTo>
                    <a:pt x="133" y="56"/>
                    <a:pt x="135" y="58"/>
                    <a:pt x="134" y="59"/>
                  </a:cubicBezTo>
                  <a:cubicBezTo>
                    <a:pt x="134" y="61"/>
                    <a:pt x="132" y="61"/>
                    <a:pt x="130" y="61"/>
                  </a:cubicBezTo>
                  <a:cubicBezTo>
                    <a:pt x="130" y="61"/>
                    <a:pt x="129" y="61"/>
                    <a:pt x="128" y="61"/>
                  </a:cubicBezTo>
                  <a:cubicBezTo>
                    <a:pt x="126" y="61"/>
                    <a:pt x="124" y="60"/>
                    <a:pt x="123" y="59"/>
                  </a:cubicBezTo>
                  <a:cubicBezTo>
                    <a:pt x="122" y="59"/>
                    <a:pt x="121" y="58"/>
                    <a:pt x="120" y="58"/>
                  </a:cubicBezTo>
                  <a:cubicBezTo>
                    <a:pt x="120" y="57"/>
                    <a:pt x="117" y="56"/>
                    <a:pt x="117" y="57"/>
                  </a:cubicBezTo>
                  <a:cubicBezTo>
                    <a:pt x="117" y="57"/>
                    <a:pt x="116" y="57"/>
                    <a:pt x="116" y="57"/>
                  </a:cubicBezTo>
                  <a:cubicBezTo>
                    <a:pt x="116" y="57"/>
                    <a:pt x="116" y="58"/>
                    <a:pt x="116" y="59"/>
                  </a:cubicBezTo>
                  <a:cubicBezTo>
                    <a:pt x="114" y="59"/>
                    <a:pt x="113" y="57"/>
                    <a:pt x="111" y="58"/>
                  </a:cubicBezTo>
                  <a:cubicBezTo>
                    <a:pt x="110" y="58"/>
                    <a:pt x="111" y="58"/>
                    <a:pt x="110" y="58"/>
                  </a:cubicBezTo>
                  <a:cubicBezTo>
                    <a:pt x="109" y="57"/>
                    <a:pt x="109" y="57"/>
                    <a:pt x="108" y="57"/>
                  </a:cubicBezTo>
                  <a:cubicBezTo>
                    <a:pt x="107" y="57"/>
                    <a:pt x="107" y="57"/>
                    <a:pt x="106" y="58"/>
                  </a:cubicBezTo>
                  <a:cubicBezTo>
                    <a:pt x="105" y="58"/>
                    <a:pt x="104" y="58"/>
                    <a:pt x="103" y="59"/>
                  </a:cubicBezTo>
                  <a:cubicBezTo>
                    <a:pt x="102" y="59"/>
                    <a:pt x="102" y="60"/>
                    <a:pt x="101" y="60"/>
                  </a:cubicBezTo>
                  <a:cubicBezTo>
                    <a:pt x="100" y="61"/>
                    <a:pt x="99" y="62"/>
                    <a:pt x="99" y="63"/>
                  </a:cubicBezTo>
                  <a:cubicBezTo>
                    <a:pt x="98" y="63"/>
                    <a:pt x="97" y="64"/>
                    <a:pt x="97" y="64"/>
                  </a:cubicBezTo>
                  <a:cubicBezTo>
                    <a:pt x="97" y="66"/>
                    <a:pt x="99" y="66"/>
                    <a:pt x="99" y="68"/>
                  </a:cubicBezTo>
                  <a:cubicBezTo>
                    <a:pt x="99" y="68"/>
                    <a:pt x="99" y="68"/>
                    <a:pt x="99" y="69"/>
                  </a:cubicBezTo>
                  <a:cubicBezTo>
                    <a:pt x="97" y="70"/>
                    <a:pt x="96" y="70"/>
                    <a:pt x="96" y="72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4"/>
                    <a:pt x="96" y="75"/>
                    <a:pt x="96" y="76"/>
                  </a:cubicBezTo>
                  <a:cubicBezTo>
                    <a:pt x="96" y="77"/>
                    <a:pt x="96" y="78"/>
                    <a:pt x="96" y="79"/>
                  </a:cubicBezTo>
                  <a:cubicBezTo>
                    <a:pt x="96" y="80"/>
                    <a:pt x="96" y="80"/>
                    <a:pt x="96" y="81"/>
                  </a:cubicBezTo>
                  <a:cubicBezTo>
                    <a:pt x="96" y="81"/>
                    <a:pt x="96" y="81"/>
                    <a:pt x="97" y="82"/>
                  </a:cubicBezTo>
                  <a:cubicBezTo>
                    <a:pt x="98" y="83"/>
                    <a:pt x="98" y="83"/>
                    <a:pt x="97" y="84"/>
                  </a:cubicBezTo>
                  <a:cubicBezTo>
                    <a:pt x="96" y="85"/>
                    <a:pt x="94" y="87"/>
                    <a:pt x="92" y="87"/>
                  </a:cubicBezTo>
                  <a:cubicBezTo>
                    <a:pt x="91" y="87"/>
                    <a:pt x="91" y="86"/>
                    <a:pt x="90" y="87"/>
                  </a:cubicBezTo>
                  <a:cubicBezTo>
                    <a:pt x="90" y="87"/>
                    <a:pt x="90" y="88"/>
                    <a:pt x="90" y="88"/>
                  </a:cubicBezTo>
                  <a:cubicBezTo>
                    <a:pt x="89" y="88"/>
                    <a:pt x="89" y="89"/>
                    <a:pt x="89" y="89"/>
                  </a:cubicBezTo>
                  <a:cubicBezTo>
                    <a:pt x="88" y="89"/>
                    <a:pt x="88" y="89"/>
                    <a:pt x="87" y="89"/>
                  </a:cubicBezTo>
                  <a:cubicBezTo>
                    <a:pt x="84" y="89"/>
                    <a:pt x="82" y="87"/>
                    <a:pt x="80" y="85"/>
                  </a:cubicBezTo>
                  <a:cubicBezTo>
                    <a:pt x="80" y="85"/>
                    <a:pt x="79" y="84"/>
                    <a:pt x="79" y="83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77" y="83"/>
                    <a:pt x="77" y="83"/>
                    <a:pt x="77" y="82"/>
                  </a:cubicBezTo>
                  <a:cubicBezTo>
                    <a:pt x="76" y="82"/>
                    <a:pt x="76" y="81"/>
                    <a:pt x="75" y="80"/>
                  </a:cubicBezTo>
                  <a:cubicBezTo>
                    <a:pt x="74" y="79"/>
                    <a:pt x="74" y="80"/>
                    <a:pt x="74" y="81"/>
                  </a:cubicBezTo>
                  <a:cubicBezTo>
                    <a:pt x="74" y="82"/>
                    <a:pt x="73" y="82"/>
                    <a:pt x="72" y="83"/>
                  </a:cubicBezTo>
                  <a:cubicBezTo>
                    <a:pt x="72" y="84"/>
                    <a:pt x="72" y="84"/>
                    <a:pt x="71" y="84"/>
                  </a:cubicBezTo>
                  <a:cubicBezTo>
                    <a:pt x="70" y="84"/>
                    <a:pt x="68" y="84"/>
                    <a:pt x="67" y="84"/>
                  </a:cubicBezTo>
                  <a:cubicBezTo>
                    <a:pt x="67" y="83"/>
                    <a:pt x="66" y="82"/>
                    <a:pt x="66" y="82"/>
                  </a:cubicBezTo>
                  <a:cubicBezTo>
                    <a:pt x="66" y="81"/>
                    <a:pt x="65" y="80"/>
                    <a:pt x="65" y="79"/>
                  </a:cubicBezTo>
                  <a:cubicBezTo>
                    <a:pt x="64" y="78"/>
                    <a:pt x="64" y="78"/>
                    <a:pt x="63" y="78"/>
                  </a:cubicBezTo>
                  <a:cubicBezTo>
                    <a:pt x="63" y="78"/>
                    <a:pt x="62" y="77"/>
                    <a:pt x="61" y="77"/>
                  </a:cubicBezTo>
                  <a:cubicBezTo>
                    <a:pt x="61" y="76"/>
                    <a:pt x="60" y="75"/>
                    <a:pt x="59" y="75"/>
                  </a:cubicBezTo>
                  <a:cubicBezTo>
                    <a:pt x="58" y="74"/>
                    <a:pt x="57" y="74"/>
                    <a:pt x="56" y="73"/>
                  </a:cubicBezTo>
                  <a:cubicBezTo>
                    <a:pt x="55" y="72"/>
                    <a:pt x="56" y="71"/>
                    <a:pt x="55" y="71"/>
                  </a:cubicBezTo>
                  <a:cubicBezTo>
                    <a:pt x="55" y="71"/>
                    <a:pt x="55" y="72"/>
                    <a:pt x="55" y="72"/>
                  </a:cubicBezTo>
                  <a:cubicBezTo>
                    <a:pt x="54" y="73"/>
                    <a:pt x="54" y="73"/>
                    <a:pt x="53" y="74"/>
                  </a:cubicBezTo>
                  <a:cubicBezTo>
                    <a:pt x="53" y="75"/>
                    <a:pt x="52" y="76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4" y="78"/>
                    <a:pt x="54" y="78"/>
                    <a:pt x="54" y="79"/>
                  </a:cubicBezTo>
                  <a:cubicBezTo>
                    <a:pt x="54" y="80"/>
                    <a:pt x="55" y="81"/>
                    <a:pt x="55" y="82"/>
                  </a:cubicBezTo>
                  <a:cubicBezTo>
                    <a:pt x="56" y="82"/>
                    <a:pt x="56" y="83"/>
                    <a:pt x="57" y="84"/>
                  </a:cubicBezTo>
                  <a:cubicBezTo>
                    <a:pt x="58" y="84"/>
                    <a:pt x="58" y="85"/>
                    <a:pt x="58" y="86"/>
                  </a:cubicBezTo>
                  <a:cubicBezTo>
                    <a:pt x="57" y="87"/>
                    <a:pt x="54" y="89"/>
                    <a:pt x="53" y="89"/>
                  </a:cubicBezTo>
                  <a:cubicBezTo>
                    <a:pt x="52" y="89"/>
                    <a:pt x="51" y="88"/>
                    <a:pt x="50" y="88"/>
                  </a:cubicBezTo>
                  <a:cubicBezTo>
                    <a:pt x="50" y="89"/>
                    <a:pt x="50" y="89"/>
                    <a:pt x="49" y="90"/>
                  </a:cubicBezTo>
                  <a:cubicBezTo>
                    <a:pt x="49" y="90"/>
                    <a:pt x="49" y="90"/>
                    <a:pt x="48" y="90"/>
                  </a:cubicBezTo>
                  <a:cubicBezTo>
                    <a:pt x="48" y="90"/>
                    <a:pt x="47" y="90"/>
                    <a:pt x="47" y="90"/>
                  </a:cubicBezTo>
                  <a:cubicBezTo>
                    <a:pt x="47" y="90"/>
                    <a:pt x="46" y="90"/>
                    <a:pt x="46" y="89"/>
                  </a:cubicBezTo>
                  <a:cubicBezTo>
                    <a:pt x="45" y="89"/>
                    <a:pt x="44" y="88"/>
                    <a:pt x="43" y="88"/>
                  </a:cubicBezTo>
                  <a:cubicBezTo>
                    <a:pt x="42" y="87"/>
                    <a:pt x="41" y="87"/>
                    <a:pt x="40" y="86"/>
                  </a:cubicBezTo>
                  <a:cubicBezTo>
                    <a:pt x="39" y="86"/>
                    <a:pt x="39" y="85"/>
                    <a:pt x="38" y="84"/>
                  </a:cubicBezTo>
                  <a:cubicBezTo>
                    <a:pt x="36" y="83"/>
                    <a:pt x="34" y="84"/>
                    <a:pt x="32" y="8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1" y="83"/>
                    <a:pt x="31" y="83"/>
                    <a:pt x="30" y="83"/>
                  </a:cubicBezTo>
                  <a:cubicBezTo>
                    <a:pt x="29" y="82"/>
                    <a:pt x="29" y="82"/>
                    <a:pt x="28" y="82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6" y="82"/>
                    <a:pt x="24" y="84"/>
                    <a:pt x="24" y="85"/>
                  </a:cubicBezTo>
                  <a:cubicBezTo>
                    <a:pt x="23" y="85"/>
                    <a:pt x="23" y="85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2" y="87"/>
                    <a:pt x="21" y="89"/>
                    <a:pt x="19" y="89"/>
                  </a:cubicBezTo>
                  <a:cubicBezTo>
                    <a:pt x="19" y="89"/>
                    <a:pt x="18" y="88"/>
                    <a:pt x="18" y="88"/>
                  </a:cubicBezTo>
                  <a:cubicBezTo>
                    <a:pt x="17" y="87"/>
                    <a:pt x="16" y="87"/>
                    <a:pt x="15" y="87"/>
                  </a:cubicBezTo>
                  <a:cubicBezTo>
                    <a:pt x="14" y="87"/>
                    <a:pt x="13" y="87"/>
                    <a:pt x="12" y="87"/>
                  </a:cubicBezTo>
                  <a:cubicBezTo>
                    <a:pt x="12" y="87"/>
                    <a:pt x="11" y="87"/>
                    <a:pt x="10" y="86"/>
                  </a:cubicBezTo>
                  <a:cubicBezTo>
                    <a:pt x="10" y="86"/>
                    <a:pt x="9" y="86"/>
                    <a:pt x="8" y="86"/>
                  </a:cubicBezTo>
                  <a:cubicBezTo>
                    <a:pt x="8" y="85"/>
                    <a:pt x="7" y="84"/>
                    <a:pt x="7" y="83"/>
                  </a:cubicBezTo>
                  <a:cubicBezTo>
                    <a:pt x="6" y="83"/>
                    <a:pt x="7" y="83"/>
                    <a:pt x="6" y="82"/>
                  </a:cubicBezTo>
                  <a:cubicBezTo>
                    <a:pt x="6" y="82"/>
                    <a:pt x="6" y="82"/>
                    <a:pt x="5" y="82"/>
                  </a:cubicBezTo>
                  <a:cubicBezTo>
                    <a:pt x="5" y="81"/>
                    <a:pt x="5" y="80"/>
                    <a:pt x="4" y="80"/>
                  </a:cubicBezTo>
                  <a:cubicBezTo>
                    <a:pt x="5" y="80"/>
                    <a:pt x="6" y="79"/>
                    <a:pt x="6" y="79"/>
                  </a:cubicBezTo>
                  <a:cubicBezTo>
                    <a:pt x="5" y="79"/>
                    <a:pt x="4" y="79"/>
                    <a:pt x="4" y="80"/>
                  </a:cubicBezTo>
                  <a:cubicBezTo>
                    <a:pt x="3" y="80"/>
                    <a:pt x="3" y="81"/>
                    <a:pt x="2" y="81"/>
                  </a:cubicBezTo>
                  <a:cubicBezTo>
                    <a:pt x="2" y="82"/>
                    <a:pt x="2" y="82"/>
                    <a:pt x="2" y="83"/>
                  </a:cubicBezTo>
                  <a:cubicBezTo>
                    <a:pt x="2" y="85"/>
                    <a:pt x="1" y="85"/>
                    <a:pt x="1" y="87"/>
                  </a:cubicBezTo>
                  <a:cubicBezTo>
                    <a:pt x="0" y="89"/>
                    <a:pt x="0" y="93"/>
                    <a:pt x="2" y="93"/>
                  </a:cubicBezTo>
                  <a:cubicBezTo>
                    <a:pt x="3" y="94"/>
                    <a:pt x="2" y="96"/>
                    <a:pt x="3" y="98"/>
                  </a:cubicBezTo>
                  <a:cubicBezTo>
                    <a:pt x="3" y="99"/>
                    <a:pt x="4" y="100"/>
                    <a:pt x="4" y="101"/>
                  </a:cubicBezTo>
                  <a:cubicBezTo>
                    <a:pt x="4" y="105"/>
                    <a:pt x="3" y="107"/>
                    <a:pt x="1" y="110"/>
                  </a:cubicBezTo>
                  <a:cubicBezTo>
                    <a:pt x="0" y="112"/>
                    <a:pt x="2" y="113"/>
                    <a:pt x="4" y="114"/>
                  </a:cubicBezTo>
                  <a:cubicBezTo>
                    <a:pt x="8" y="119"/>
                    <a:pt x="13" y="121"/>
                    <a:pt x="16" y="127"/>
                  </a:cubicBezTo>
                  <a:cubicBezTo>
                    <a:pt x="18" y="129"/>
                    <a:pt x="19" y="131"/>
                    <a:pt x="19" y="133"/>
                  </a:cubicBezTo>
                  <a:cubicBezTo>
                    <a:pt x="20" y="134"/>
                    <a:pt x="20" y="137"/>
                    <a:pt x="20" y="137"/>
                  </a:cubicBezTo>
                  <a:cubicBezTo>
                    <a:pt x="21" y="137"/>
                    <a:pt x="23" y="137"/>
                    <a:pt x="24" y="137"/>
                  </a:cubicBezTo>
                  <a:cubicBezTo>
                    <a:pt x="24" y="136"/>
                    <a:pt x="23" y="136"/>
                    <a:pt x="23" y="136"/>
                  </a:cubicBezTo>
                  <a:cubicBezTo>
                    <a:pt x="23" y="135"/>
                    <a:pt x="23" y="135"/>
                    <a:pt x="23" y="134"/>
                  </a:cubicBezTo>
                  <a:cubicBezTo>
                    <a:pt x="22" y="132"/>
                    <a:pt x="23" y="132"/>
                    <a:pt x="25" y="131"/>
                  </a:cubicBezTo>
                  <a:cubicBezTo>
                    <a:pt x="26" y="129"/>
                    <a:pt x="27" y="128"/>
                    <a:pt x="27" y="126"/>
                  </a:cubicBezTo>
                  <a:cubicBezTo>
                    <a:pt x="28" y="125"/>
                    <a:pt x="28" y="123"/>
                    <a:pt x="30" y="124"/>
                  </a:cubicBezTo>
                  <a:cubicBezTo>
                    <a:pt x="30" y="125"/>
                    <a:pt x="30" y="128"/>
                    <a:pt x="32" y="128"/>
                  </a:cubicBezTo>
                  <a:cubicBezTo>
                    <a:pt x="33" y="127"/>
                    <a:pt x="32" y="126"/>
                    <a:pt x="32" y="125"/>
                  </a:cubicBezTo>
                  <a:cubicBezTo>
                    <a:pt x="31" y="122"/>
                    <a:pt x="33" y="118"/>
                    <a:pt x="34" y="115"/>
                  </a:cubicBezTo>
                  <a:cubicBezTo>
                    <a:pt x="35" y="113"/>
                    <a:pt x="36" y="111"/>
                    <a:pt x="37" y="109"/>
                  </a:cubicBezTo>
                  <a:cubicBezTo>
                    <a:pt x="39" y="106"/>
                    <a:pt x="41" y="104"/>
                    <a:pt x="42" y="101"/>
                  </a:cubicBezTo>
                  <a:cubicBezTo>
                    <a:pt x="44" y="98"/>
                    <a:pt x="45" y="96"/>
                    <a:pt x="48" y="96"/>
                  </a:cubicBezTo>
                  <a:cubicBezTo>
                    <a:pt x="48" y="97"/>
                    <a:pt x="47" y="98"/>
                    <a:pt x="47" y="99"/>
                  </a:cubicBezTo>
                  <a:cubicBezTo>
                    <a:pt x="47" y="101"/>
                    <a:pt x="49" y="101"/>
                    <a:pt x="50" y="102"/>
                  </a:cubicBezTo>
                  <a:cubicBezTo>
                    <a:pt x="52" y="103"/>
                    <a:pt x="54" y="104"/>
                    <a:pt x="54" y="106"/>
                  </a:cubicBezTo>
                  <a:cubicBezTo>
                    <a:pt x="54" y="107"/>
                    <a:pt x="54" y="108"/>
                    <a:pt x="54" y="109"/>
                  </a:cubicBezTo>
                  <a:cubicBezTo>
                    <a:pt x="54" y="109"/>
                    <a:pt x="52" y="111"/>
                    <a:pt x="52" y="112"/>
                  </a:cubicBezTo>
                  <a:cubicBezTo>
                    <a:pt x="52" y="112"/>
                    <a:pt x="51" y="113"/>
                    <a:pt x="51" y="114"/>
                  </a:cubicBezTo>
                  <a:cubicBezTo>
                    <a:pt x="50" y="115"/>
                    <a:pt x="50" y="115"/>
                    <a:pt x="49" y="116"/>
                  </a:cubicBezTo>
                  <a:cubicBezTo>
                    <a:pt x="48" y="119"/>
                    <a:pt x="50" y="119"/>
                    <a:pt x="53" y="121"/>
                  </a:cubicBezTo>
                  <a:cubicBezTo>
                    <a:pt x="55" y="122"/>
                    <a:pt x="57" y="123"/>
                    <a:pt x="59" y="123"/>
                  </a:cubicBezTo>
                  <a:cubicBezTo>
                    <a:pt x="61" y="124"/>
                    <a:pt x="63" y="125"/>
                    <a:pt x="64" y="125"/>
                  </a:cubicBezTo>
                  <a:cubicBezTo>
                    <a:pt x="65" y="124"/>
                    <a:pt x="65" y="123"/>
                    <a:pt x="67" y="122"/>
                  </a:cubicBezTo>
                  <a:cubicBezTo>
                    <a:pt x="68" y="122"/>
                    <a:pt x="70" y="122"/>
                    <a:pt x="71" y="123"/>
                  </a:cubicBezTo>
                  <a:cubicBezTo>
                    <a:pt x="72" y="123"/>
                    <a:pt x="72" y="123"/>
                    <a:pt x="72" y="124"/>
                  </a:cubicBezTo>
                  <a:cubicBezTo>
                    <a:pt x="72" y="124"/>
                    <a:pt x="72" y="124"/>
                    <a:pt x="73" y="124"/>
                  </a:cubicBezTo>
                  <a:cubicBezTo>
                    <a:pt x="73" y="125"/>
                    <a:pt x="73" y="124"/>
                    <a:pt x="73" y="125"/>
                  </a:cubicBezTo>
                  <a:cubicBezTo>
                    <a:pt x="74" y="128"/>
                    <a:pt x="70" y="129"/>
                    <a:pt x="70" y="130"/>
                  </a:cubicBezTo>
                  <a:cubicBezTo>
                    <a:pt x="70" y="131"/>
                    <a:pt x="71" y="132"/>
                    <a:pt x="71" y="133"/>
                  </a:cubicBezTo>
                  <a:cubicBezTo>
                    <a:pt x="71" y="134"/>
                    <a:pt x="71" y="136"/>
                    <a:pt x="71" y="137"/>
                  </a:cubicBezTo>
                  <a:cubicBezTo>
                    <a:pt x="71" y="138"/>
                    <a:pt x="70" y="139"/>
                    <a:pt x="70" y="140"/>
                  </a:cubicBezTo>
                  <a:cubicBezTo>
                    <a:pt x="70" y="141"/>
                    <a:pt x="71" y="143"/>
                    <a:pt x="72" y="144"/>
                  </a:cubicBezTo>
                  <a:cubicBezTo>
                    <a:pt x="72" y="146"/>
                    <a:pt x="73" y="148"/>
                    <a:pt x="74" y="150"/>
                  </a:cubicBezTo>
                  <a:cubicBezTo>
                    <a:pt x="74" y="150"/>
                    <a:pt x="75" y="150"/>
                    <a:pt x="75" y="151"/>
                  </a:cubicBezTo>
                  <a:cubicBezTo>
                    <a:pt x="75" y="151"/>
                    <a:pt x="75" y="152"/>
                    <a:pt x="76" y="153"/>
                  </a:cubicBezTo>
                  <a:cubicBezTo>
                    <a:pt x="77" y="157"/>
                    <a:pt x="80" y="160"/>
                    <a:pt x="82" y="163"/>
                  </a:cubicBezTo>
                  <a:cubicBezTo>
                    <a:pt x="83" y="165"/>
                    <a:pt x="84" y="166"/>
                    <a:pt x="85" y="167"/>
                  </a:cubicBezTo>
                  <a:cubicBezTo>
                    <a:pt x="86" y="168"/>
                    <a:pt x="89" y="169"/>
                    <a:pt x="90" y="172"/>
                  </a:cubicBezTo>
                  <a:cubicBezTo>
                    <a:pt x="90" y="173"/>
                    <a:pt x="89" y="174"/>
                    <a:pt x="90" y="175"/>
                  </a:cubicBezTo>
                  <a:cubicBezTo>
                    <a:pt x="90" y="176"/>
                    <a:pt x="94" y="177"/>
                    <a:pt x="93" y="179"/>
                  </a:cubicBezTo>
                  <a:cubicBezTo>
                    <a:pt x="93" y="180"/>
                    <a:pt x="92" y="180"/>
                    <a:pt x="92" y="181"/>
                  </a:cubicBezTo>
                  <a:cubicBezTo>
                    <a:pt x="91" y="181"/>
                    <a:pt x="92" y="182"/>
                    <a:pt x="91" y="182"/>
                  </a:cubicBezTo>
                  <a:cubicBezTo>
                    <a:pt x="90" y="184"/>
                    <a:pt x="87" y="183"/>
                    <a:pt x="85" y="184"/>
                  </a:cubicBezTo>
                  <a:cubicBezTo>
                    <a:pt x="82" y="186"/>
                    <a:pt x="85" y="189"/>
                    <a:pt x="86" y="190"/>
                  </a:cubicBezTo>
                  <a:cubicBezTo>
                    <a:pt x="88" y="193"/>
                    <a:pt x="90" y="197"/>
                    <a:pt x="92" y="200"/>
                  </a:cubicBezTo>
                  <a:cubicBezTo>
                    <a:pt x="93" y="201"/>
                    <a:pt x="94" y="202"/>
                    <a:pt x="95" y="203"/>
                  </a:cubicBezTo>
                  <a:cubicBezTo>
                    <a:pt x="96" y="203"/>
                    <a:pt x="96" y="204"/>
                    <a:pt x="97" y="205"/>
                  </a:cubicBezTo>
                  <a:cubicBezTo>
                    <a:pt x="98" y="206"/>
                    <a:pt x="98" y="207"/>
                    <a:pt x="99" y="208"/>
                  </a:cubicBezTo>
                  <a:cubicBezTo>
                    <a:pt x="99" y="209"/>
                    <a:pt x="99" y="211"/>
                    <a:pt x="100" y="212"/>
                  </a:cubicBezTo>
                  <a:cubicBezTo>
                    <a:pt x="101" y="212"/>
                    <a:pt x="103" y="212"/>
                    <a:pt x="103" y="212"/>
                  </a:cubicBezTo>
                  <a:cubicBezTo>
                    <a:pt x="104" y="213"/>
                    <a:pt x="103" y="214"/>
                    <a:pt x="104" y="215"/>
                  </a:cubicBezTo>
                  <a:cubicBezTo>
                    <a:pt x="104" y="215"/>
                    <a:pt x="105" y="216"/>
                    <a:pt x="106" y="217"/>
                  </a:cubicBezTo>
                  <a:cubicBezTo>
                    <a:pt x="107" y="219"/>
                    <a:pt x="111" y="220"/>
                    <a:pt x="111" y="222"/>
                  </a:cubicBezTo>
                  <a:cubicBezTo>
                    <a:pt x="112" y="223"/>
                    <a:pt x="111" y="224"/>
                    <a:pt x="112" y="225"/>
                  </a:cubicBezTo>
                  <a:cubicBezTo>
                    <a:pt x="113" y="226"/>
                    <a:pt x="114" y="226"/>
                    <a:pt x="115" y="227"/>
                  </a:cubicBezTo>
                  <a:cubicBezTo>
                    <a:pt x="116" y="228"/>
                    <a:pt x="116" y="228"/>
                    <a:pt x="117" y="228"/>
                  </a:cubicBezTo>
                  <a:cubicBezTo>
                    <a:pt x="117" y="229"/>
                    <a:pt x="118" y="229"/>
                    <a:pt x="118" y="230"/>
                  </a:cubicBezTo>
                  <a:cubicBezTo>
                    <a:pt x="119" y="232"/>
                    <a:pt x="119" y="233"/>
                    <a:pt x="119" y="235"/>
                  </a:cubicBezTo>
                  <a:cubicBezTo>
                    <a:pt x="119" y="236"/>
                    <a:pt x="119" y="237"/>
                    <a:pt x="120" y="238"/>
                  </a:cubicBezTo>
                  <a:cubicBezTo>
                    <a:pt x="120" y="240"/>
                    <a:pt x="122" y="240"/>
                    <a:pt x="123" y="240"/>
                  </a:cubicBezTo>
                  <a:cubicBezTo>
                    <a:pt x="125" y="240"/>
                    <a:pt x="126" y="240"/>
                    <a:pt x="127" y="241"/>
                  </a:cubicBezTo>
                  <a:cubicBezTo>
                    <a:pt x="128" y="241"/>
                    <a:pt x="128" y="242"/>
                    <a:pt x="128" y="242"/>
                  </a:cubicBezTo>
                  <a:cubicBezTo>
                    <a:pt x="129" y="242"/>
                    <a:pt x="131" y="242"/>
                    <a:pt x="133" y="242"/>
                  </a:cubicBezTo>
                  <a:cubicBezTo>
                    <a:pt x="133" y="242"/>
                    <a:pt x="134" y="242"/>
                    <a:pt x="134" y="242"/>
                  </a:cubicBezTo>
                  <a:cubicBezTo>
                    <a:pt x="135" y="242"/>
                    <a:pt x="135" y="241"/>
                    <a:pt x="136" y="241"/>
                  </a:cubicBezTo>
                  <a:cubicBezTo>
                    <a:pt x="137" y="241"/>
                    <a:pt x="138" y="241"/>
                    <a:pt x="139" y="241"/>
                  </a:cubicBezTo>
                  <a:cubicBezTo>
                    <a:pt x="142" y="241"/>
                    <a:pt x="144" y="239"/>
                    <a:pt x="146" y="240"/>
                  </a:cubicBezTo>
                  <a:cubicBezTo>
                    <a:pt x="148" y="241"/>
                    <a:pt x="149" y="241"/>
                    <a:pt x="150" y="242"/>
                  </a:cubicBezTo>
                  <a:cubicBezTo>
                    <a:pt x="152" y="243"/>
                    <a:pt x="153" y="243"/>
                    <a:pt x="155" y="244"/>
                  </a:cubicBezTo>
                  <a:cubicBezTo>
                    <a:pt x="156" y="245"/>
                    <a:pt x="156" y="245"/>
                    <a:pt x="157" y="246"/>
                  </a:cubicBezTo>
                  <a:cubicBezTo>
                    <a:pt x="159" y="248"/>
                    <a:pt x="160" y="249"/>
                    <a:pt x="163" y="251"/>
                  </a:cubicBezTo>
                  <a:cubicBezTo>
                    <a:pt x="166" y="253"/>
                    <a:pt x="169" y="253"/>
                    <a:pt x="171" y="254"/>
                  </a:cubicBezTo>
                  <a:cubicBezTo>
                    <a:pt x="173" y="255"/>
                    <a:pt x="174" y="257"/>
                    <a:pt x="176" y="259"/>
                  </a:cubicBezTo>
                  <a:cubicBezTo>
                    <a:pt x="178" y="263"/>
                    <a:pt x="182" y="265"/>
                    <a:pt x="185" y="269"/>
                  </a:cubicBezTo>
                  <a:cubicBezTo>
                    <a:pt x="187" y="271"/>
                    <a:pt x="188" y="273"/>
                    <a:pt x="190" y="275"/>
                  </a:cubicBezTo>
                  <a:cubicBezTo>
                    <a:pt x="194" y="278"/>
                    <a:pt x="198" y="282"/>
                    <a:pt x="200" y="287"/>
                  </a:cubicBezTo>
                  <a:cubicBezTo>
                    <a:pt x="201" y="288"/>
                    <a:pt x="202" y="291"/>
                    <a:pt x="204" y="291"/>
                  </a:cubicBezTo>
                  <a:cubicBezTo>
                    <a:pt x="205" y="291"/>
                    <a:pt x="209" y="291"/>
                    <a:pt x="210" y="290"/>
                  </a:cubicBezTo>
                  <a:cubicBezTo>
                    <a:pt x="209" y="290"/>
                    <a:pt x="209" y="289"/>
                    <a:pt x="209" y="289"/>
                  </a:cubicBezTo>
                  <a:cubicBezTo>
                    <a:pt x="209" y="289"/>
                    <a:pt x="208" y="288"/>
                    <a:pt x="208" y="288"/>
                  </a:cubicBezTo>
                  <a:cubicBezTo>
                    <a:pt x="207" y="287"/>
                    <a:pt x="208" y="286"/>
                    <a:pt x="207" y="285"/>
                  </a:cubicBezTo>
                  <a:cubicBezTo>
                    <a:pt x="207" y="283"/>
                    <a:pt x="204" y="281"/>
                    <a:pt x="202" y="278"/>
                  </a:cubicBezTo>
                  <a:cubicBezTo>
                    <a:pt x="202" y="277"/>
                    <a:pt x="202" y="276"/>
                    <a:pt x="201" y="276"/>
                  </a:cubicBezTo>
                  <a:cubicBezTo>
                    <a:pt x="200" y="275"/>
                    <a:pt x="196" y="275"/>
                    <a:pt x="195" y="274"/>
                  </a:cubicBezTo>
                  <a:cubicBezTo>
                    <a:pt x="195" y="273"/>
                    <a:pt x="196" y="272"/>
                    <a:pt x="197" y="271"/>
                  </a:cubicBezTo>
                  <a:cubicBezTo>
                    <a:pt x="197" y="270"/>
                    <a:pt x="197" y="269"/>
                    <a:pt x="197" y="268"/>
                  </a:cubicBezTo>
                  <a:cubicBezTo>
                    <a:pt x="197" y="267"/>
                    <a:pt x="197" y="266"/>
                    <a:pt x="197" y="265"/>
                  </a:cubicBezTo>
                  <a:cubicBezTo>
                    <a:pt x="197" y="265"/>
                    <a:pt x="196" y="265"/>
                    <a:pt x="195" y="264"/>
                  </a:cubicBezTo>
                  <a:cubicBezTo>
                    <a:pt x="195" y="264"/>
                    <a:pt x="195" y="264"/>
                    <a:pt x="195" y="263"/>
                  </a:cubicBezTo>
                  <a:cubicBezTo>
                    <a:pt x="195" y="263"/>
                    <a:pt x="195" y="262"/>
                    <a:pt x="194" y="261"/>
                  </a:cubicBezTo>
                  <a:cubicBezTo>
                    <a:pt x="194" y="261"/>
                    <a:pt x="193" y="260"/>
                    <a:pt x="193" y="260"/>
                  </a:cubicBezTo>
                  <a:cubicBezTo>
                    <a:pt x="193" y="259"/>
                    <a:pt x="193" y="258"/>
                    <a:pt x="193" y="258"/>
                  </a:cubicBezTo>
                  <a:cubicBezTo>
                    <a:pt x="192" y="256"/>
                    <a:pt x="192" y="255"/>
                    <a:pt x="192" y="253"/>
                  </a:cubicBezTo>
                  <a:cubicBezTo>
                    <a:pt x="192" y="252"/>
                    <a:pt x="192" y="251"/>
                    <a:pt x="192" y="250"/>
                  </a:cubicBezTo>
                  <a:cubicBezTo>
                    <a:pt x="192" y="249"/>
                    <a:pt x="192" y="248"/>
                    <a:pt x="191" y="247"/>
                  </a:cubicBezTo>
                  <a:cubicBezTo>
                    <a:pt x="191" y="246"/>
                    <a:pt x="189" y="246"/>
                    <a:pt x="188" y="245"/>
                  </a:cubicBezTo>
                  <a:cubicBezTo>
                    <a:pt x="185" y="242"/>
                    <a:pt x="182" y="239"/>
                    <a:pt x="179" y="237"/>
                  </a:cubicBezTo>
                  <a:cubicBezTo>
                    <a:pt x="179" y="236"/>
                    <a:pt x="178" y="235"/>
                    <a:pt x="178" y="234"/>
                  </a:cubicBezTo>
                  <a:cubicBezTo>
                    <a:pt x="177" y="233"/>
                    <a:pt x="176" y="232"/>
                    <a:pt x="174" y="231"/>
                  </a:cubicBezTo>
                  <a:cubicBezTo>
                    <a:pt x="172" y="229"/>
                    <a:pt x="171" y="226"/>
                    <a:pt x="169" y="224"/>
                  </a:cubicBezTo>
                  <a:cubicBezTo>
                    <a:pt x="169" y="223"/>
                    <a:pt x="168" y="222"/>
                    <a:pt x="167" y="221"/>
                  </a:cubicBezTo>
                  <a:cubicBezTo>
                    <a:pt x="166" y="220"/>
                    <a:pt x="165" y="219"/>
                    <a:pt x="165" y="219"/>
                  </a:cubicBezTo>
                  <a:cubicBezTo>
                    <a:pt x="164" y="218"/>
                    <a:pt x="163" y="215"/>
                    <a:pt x="163" y="214"/>
                  </a:cubicBezTo>
                  <a:cubicBezTo>
                    <a:pt x="161" y="210"/>
                    <a:pt x="159" y="207"/>
                    <a:pt x="155" y="206"/>
                  </a:cubicBezTo>
                  <a:cubicBezTo>
                    <a:pt x="151" y="205"/>
                    <a:pt x="147" y="202"/>
                    <a:pt x="144" y="199"/>
                  </a:cubicBezTo>
                  <a:cubicBezTo>
                    <a:pt x="143" y="198"/>
                    <a:pt x="142" y="197"/>
                    <a:pt x="142" y="196"/>
                  </a:cubicBezTo>
                  <a:cubicBezTo>
                    <a:pt x="142" y="195"/>
                    <a:pt x="142" y="194"/>
                    <a:pt x="142" y="193"/>
                  </a:cubicBezTo>
                  <a:cubicBezTo>
                    <a:pt x="141" y="191"/>
                    <a:pt x="141" y="189"/>
                    <a:pt x="140" y="188"/>
                  </a:cubicBezTo>
                  <a:cubicBezTo>
                    <a:pt x="139" y="186"/>
                    <a:pt x="137" y="184"/>
                    <a:pt x="137" y="182"/>
                  </a:cubicBezTo>
                  <a:cubicBezTo>
                    <a:pt x="137" y="181"/>
                    <a:pt x="137" y="180"/>
                    <a:pt x="137" y="179"/>
                  </a:cubicBezTo>
                  <a:cubicBezTo>
                    <a:pt x="136" y="178"/>
                    <a:pt x="135" y="178"/>
                    <a:pt x="135" y="177"/>
                  </a:cubicBezTo>
                  <a:cubicBezTo>
                    <a:pt x="135" y="177"/>
                    <a:pt x="135" y="176"/>
                    <a:pt x="135" y="175"/>
                  </a:cubicBezTo>
                  <a:cubicBezTo>
                    <a:pt x="135" y="172"/>
                    <a:pt x="135" y="169"/>
                    <a:pt x="135" y="165"/>
                  </a:cubicBezTo>
                  <a:cubicBezTo>
                    <a:pt x="135" y="165"/>
                    <a:pt x="135" y="164"/>
                    <a:pt x="135" y="163"/>
                  </a:cubicBezTo>
                  <a:cubicBezTo>
                    <a:pt x="135" y="163"/>
                    <a:pt x="134" y="162"/>
                    <a:pt x="134" y="162"/>
                  </a:cubicBezTo>
                  <a:cubicBezTo>
                    <a:pt x="134" y="161"/>
                    <a:pt x="134" y="160"/>
                    <a:pt x="134" y="160"/>
                  </a:cubicBezTo>
                  <a:cubicBezTo>
                    <a:pt x="134" y="157"/>
                    <a:pt x="134" y="155"/>
                    <a:pt x="133" y="153"/>
                  </a:cubicBezTo>
                  <a:cubicBezTo>
                    <a:pt x="132" y="152"/>
                    <a:pt x="132" y="151"/>
                    <a:pt x="131" y="151"/>
                  </a:cubicBezTo>
                  <a:cubicBezTo>
                    <a:pt x="131" y="151"/>
                    <a:pt x="130" y="151"/>
                    <a:pt x="130" y="151"/>
                  </a:cubicBezTo>
                  <a:cubicBezTo>
                    <a:pt x="127" y="151"/>
                    <a:pt x="125" y="147"/>
                    <a:pt x="123" y="145"/>
                  </a:cubicBezTo>
                  <a:cubicBezTo>
                    <a:pt x="123" y="145"/>
                    <a:pt x="122" y="144"/>
                    <a:pt x="122" y="144"/>
                  </a:cubicBezTo>
                  <a:cubicBezTo>
                    <a:pt x="122" y="143"/>
                    <a:pt x="121" y="143"/>
                    <a:pt x="121" y="142"/>
                  </a:cubicBezTo>
                  <a:cubicBezTo>
                    <a:pt x="120" y="141"/>
                    <a:pt x="119" y="140"/>
                    <a:pt x="119" y="139"/>
                  </a:cubicBezTo>
                  <a:cubicBezTo>
                    <a:pt x="118" y="137"/>
                    <a:pt x="118" y="136"/>
                    <a:pt x="118" y="134"/>
                  </a:cubicBezTo>
                  <a:cubicBezTo>
                    <a:pt x="118" y="133"/>
                    <a:pt x="117" y="133"/>
                    <a:pt x="117" y="132"/>
                  </a:cubicBezTo>
                  <a:cubicBezTo>
                    <a:pt x="116" y="129"/>
                    <a:pt x="117" y="126"/>
                    <a:pt x="118" y="124"/>
                  </a:cubicBezTo>
                  <a:cubicBezTo>
                    <a:pt x="119" y="120"/>
                    <a:pt x="118" y="116"/>
                    <a:pt x="118" y="112"/>
                  </a:cubicBezTo>
                  <a:cubicBezTo>
                    <a:pt x="118" y="109"/>
                    <a:pt x="121" y="106"/>
                    <a:pt x="125" y="105"/>
                  </a:cubicBezTo>
                  <a:cubicBezTo>
                    <a:pt x="126" y="105"/>
                    <a:pt x="128" y="106"/>
                    <a:pt x="129" y="106"/>
                  </a:cubicBezTo>
                  <a:cubicBezTo>
                    <a:pt x="131" y="106"/>
                    <a:pt x="132" y="106"/>
                    <a:pt x="133" y="107"/>
                  </a:cubicBezTo>
                  <a:cubicBezTo>
                    <a:pt x="134" y="108"/>
                    <a:pt x="134" y="109"/>
                    <a:pt x="135" y="110"/>
                  </a:cubicBezTo>
                  <a:cubicBezTo>
                    <a:pt x="136" y="112"/>
                    <a:pt x="136" y="113"/>
                    <a:pt x="137" y="114"/>
                  </a:cubicBezTo>
                  <a:cubicBezTo>
                    <a:pt x="138" y="116"/>
                    <a:pt x="140" y="117"/>
                    <a:pt x="141" y="119"/>
                  </a:cubicBezTo>
                  <a:cubicBezTo>
                    <a:pt x="142" y="122"/>
                    <a:pt x="143" y="124"/>
                    <a:pt x="146" y="124"/>
                  </a:cubicBezTo>
                  <a:cubicBezTo>
                    <a:pt x="147" y="123"/>
                    <a:pt x="148" y="122"/>
                    <a:pt x="149" y="121"/>
                  </a:cubicBezTo>
                  <a:cubicBezTo>
                    <a:pt x="150" y="120"/>
                    <a:pt x="150" y="119"/>
                    <a:pt x="150" y="118"/>
                  </a:cubicBezTo>
                  <a:cubicBezTo>
                    <a:pt x="151" y="116"/>
                    <a:pt x="152" y="115"/>
                    <a:pt x="152" y="114"/>
                  </a:cubicBezTo>
                  <a:cubicBezTo>
                    <a:pt x="153" y="112"/>
                    <a:pt x="154" y="111"/>
                    <a:pt x="154" y="110"/>
                  </a:cubicBezTo>
                  <a:cubicBezTo>
                    <a:pt x="155" y="109"/>
                    <a:pt x="156" y="108"/>
                    <a:pt x="158" y="107"/>
                  </a:cubicBezTo>
                  <a:cubicBezTo>
                    <a:pt x="160" y="107"/>
                    <a:pt x="162" y="107"/>
                    <a:pt x="164" y="107"/>
                  </a:cubicBezTo>
                  <a:cubicBezTo>
                    <a:pt x="167" y="107"/>
                    <a:pt x="171" y="109"/>
                    <a:pt x="174" y="109"/>
                  </a:cubicBezTo>
                  <a:cubicBezTo>
                    <a:pt x="174" y="108"/>
                    <a:pt x="174" y="106"/>
                    <a:pt x="174" y="105"/>
                  </a:cubicBezTo>
                  <a:cubicBezTo>
                    <a:pt x="175" y="103"/>
                    <a:pt x="178" y="105"/>
                    <a:pt x="179" y="106"/>
                  </a:cubicBezTo>
                  <a:cubicBezTo>
                    <a:pt x="180" y="107"/>
                    <a:pt x="180" y="107"/>
                    <a:pt x="182" y="107"/>
                  </a:cubicBezTo>
                  <a:cubicBezTo>
                    <a:pt x="183" y="107"/>
                    <a:pt x="185" y="107"/>
                    <a:pt x="186" y="107"/>
                  </a:cubicBezTo>
                  <a:cubicBezTo>
                    <a:pt x="186" y="108"/>
                    <a:pt x="186" y="108"/>
                    <a:pt x="186" y="109"/>
                  </a:cubicBezTo>
                  <a:cubicBezTo>
                    <a:pt x="187" y="110"/>
                    <a:pt x="188" y="110"/>
                    <a:pt x="189" y="112"/>
                  </a:cubicBezTo>
                  <a:cubicBezTo>
                    <a:pt x="191" y="113"/>
                    <a:pt x="190" y="114"/>
                    <a:pt x="192" y="114"/>
                  </a:cubicBezTo>
                  <a:cubicBezTo>
                    <a:pt x="196" y="115"/>
                    <a:pt x="195" y="111"/>
                    <a:pt x="197" y="109"/>
                  </a:cubicBezTo>
                  <a:cubicBezTo>
                    <a:pt x="199" y="109"/>
                    <a:pt x="198" y="111"/>
                    <a:pt x="199" y="112"/>
                  </a:cubicBezTo>
                  <a:cubicBezTo>
                    <a:pt x="200" y="113"/>
                    <a:pt x="200" y="113"/>
                    <a:pt x="201" y="113"/>
                  </a:cubicBezTo>
                  <a:cubicBezTo>
                    <a:pt x="203" y="113"/>
                    <a:pt x="204" y="113"/>
                    <a:pt x="205" y="115"/>
                  </a:cubicBezTo>
                  <a:cubicBezTo>
                    <a:pt x="205" y="115"/>
                    <a:pt x="205" y="116"/>
                    <a:pt x="205" y="117"/>
                  </a:cubicBezTo>
                  <a:cubicBezTo>
                    <a:pt x="210" y="117"/>
                    <a:pt x="215" y="115"/>
                    <a:pt x="221" y="116"/>
                  </a:cubicBezTo>
                  <a:cubicBezTo>
                    <a:pt x="223" y="116"/>
                    <a:pt x="224" y="118"/>
                    <a:pt x="225" y="120"/>
                  </a:cubicBezTo>
                  <a:cubicBezTo>
                    <a:pt x="227" y="120"/>
                    <a:pt x="228" y="119"/>
                    <a:pt x="229" y="119"/>
                  </a:cubicBezTo>
                  <a:cubicBezTo>
                    <a:pt x="231" y="119"/>
                    <a:pt x="232" y="119"/>
                    <a:pt x="233" y="118"/>
                  </a:cubicBezTo>
                  <a:cubicBezTo>
                    <a:pt x="233" y="118"/>
                    <a:pt x="233" y="117"/>
                    <a:pt x="233" y="116"/>
                  </a:cubicBezTo>
                  <a:cubicBezTo>
                    <a:pt x="233" y="116"/>
                    <a:pt x="234" y="116"/>
                    <a:pt x="234" y="115"/>
                  </a:cubicBezTo>
                  <a:cubicBezTo>
                    <a:pt x="235" y="114"/>
                    <a:pt x="236" y="113"/>
                    <a:pt x="237" y="114"/>
                  </a:cubicBezTo>
                  <a:cubicBezTo>
                    <a:pt x="239" y="114"/>
                    <a:pt x="239" y="116"/>
                    <a:pt x="240" y="117"/>
                  </a:cubicBezTo>
                  <a:cubicBezTo>
                    <a:pt x="241" y="119"/>
                    <a:pt x="244" y="120"/>
                    <a:pt x="246" y="120"/>
                  </a:cubicBezTo>
                  <a:cubicBezTo>
                    <a:pt x="246" y="118"/>
                    <a:pt x="245" y="116"/>
                    <a:pt x="246" y="115"/>
                  </a:cubicBezTo>
                  <a:cubicBezTo>
                    <a:pt x="249" y="114"/>
                    <a:pt x="252" y="116"/>
                    <a:pt x="255" y="11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6" name="Freeform 27">
              <a:extLst>
                <a:ext uri="{FF2B5EF4-FFF2-40B4-BE49-F238E27FC236}">
                  <a16:creationId xmlns:a16="http://schemas.microsoft.com/office/drawing/2014/main" id="{B005CEF8-8F12-4B10-ADD6-8193C5D30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3325" y="5265738"/>
              <a:ext cx="381000" cy="420688"/>
            </a:xfrm>
            <a:custGeom>
              <a:avLst/>
              <a:gdLst/>
              <a:ahLst/>
              <a:cxnLst>
                <a:cxn ang="0">
                  <a:pos x="193" y="94"/>
                </a:cxn>
                <a:cxn ang="0">
                  <a:pos x="188" y="87"/>
                </a:cxn>
                <a:cxn ang="0">
                  <a:pos x="192" y="80"/>
                </a:cxn>
                <a:cxn ang="0">
                  <a:pos x="181" y="74"/>
                </a:cxn>
                <a:cxn ang="0">
                  <a:pos x="179" y="68"/>
                </a:cxn>
                <a:cxn ang="0">
                  <a:pos x="191" y="41"/>
                </a:cxn>
                <a:cxn ang="0">
                  <a:pos x="164" y="35"/>
                </a:cxn>
                <a:cxn ang="0">
                  <a:pos x="158" y="22"/>
                </a:cxn>
                <a:cxn ang="0">
                  <a:pos x="145" y="17"/>
                </a:cxn>
                <a:cxn ang="0">
                  <a:pos x="130" y="17"/>
                </a:cxn>
                <a:cxn ang="0">
                  <a:pos x="117" y="13"/>
                </a:cxn>
                <a:cxn ang="0">
                  <a:pos x="105" y="13"/>
                </a:cxn>
                <a:cxn ang="0">
                  <a:pos x="83" y="9"/>
                </a:cxn>
                <a:cxn ang="0">
                  <a:pos x="70" y="6"/>
                </a:cxn>
                <a:cxn ang="0">
                  <a:pos x="58" y="2"/>
                </a:cxn>
                <a:cxn ang="0">
                  <a:pos x="38" y="7"/>
                </a:cxn>
                <a:cxn ang="0">
                  <a:pos x="30" y="21"/>
                </a:cxn>
                <a:cxn ang="0">
                  <a:pos x="17" y="4"/>
                </a:cxn>
                <a:cxn ang="0">
                  <a:pos x="2" y="21"/>
                </a:cxn>
                <a:cxn ang="0">
                  <a:pos x="5" y="39"/>
                </a:cxn>
                <a:cxn ang="0">
                  <a:pos x="15" y="48"/>
                </a:cxn>
                <a:cxn ang="0">
                  <a:pos x="19" y="60"/>
                </a:cxn>
                <a:cxn ang="0">
                  <a:pos x="21" y="76"/>
                </a:cxn>
                <a:cxn ang="0">
                  <a:pos x="26" y="93"/>
                </a:cxn>
                <a:cxn ang="0">
                  <a:pos x="49" y="116"/>
                </a:cxn>
                <a:cxn ang="0">
                  <a:pos x="62" y="131"/>
                </a:cxn>
                <a:cxn ang="0">
                  <a:pos x="76" y="147"/>
                </a:cxn>
                <a:cxn ang="0">
                  <a:pos x="78" y="158"/>
                </a:cxn>
                <a:cxn ang="0">
                  <a:pos x="81" y="165"/>
                </a:cxn>
                <a:cxn ang="0">
                  <a:pos x="86" y="175"/>
                </a:cxn>
                <a:cxn ang="0">
                  <a:pos x="94" y="187"/>
                </a:cxn>
                <a:cxn ang="0">
                  <a:pos x="98" y="191"/>
                </a:cxn>
                <a:cxn ang="0">
                  <a:pos x="104" y="192"/>
                </a:cxn>
                <a:cxn ang="0">
                  <a:pos x="112" y="203"/>
                </a:cxn>
                <a:cxn ang="0">
                  <a:pos x="131" y="214"/>
                </a:cxn>
                <a:cxn ang="0">
                  <a:pos x="140" y="223"/>
                </a:cxn>
                <a:cxn ang="0">
                  <a:pos x="143" y="209"/>
                </a:cxn>
                <a:cxn ang="0">
                  <a:pos x="140" y="200"/>
                </a:cxn>
                <a:cxn ang="0">
                  <a:pos x="143" y="189"/>
                </a:cxn>
                <a:cxn ang="0">
                  <a:pos x="147" y="180"/>
                </a:cxn>
                <a:cxn ang="0">
                  <a:pos x="150" y="167"/>
                </a:cxn>
                <a:cxn ang="0">
                  <a:pos x="163" y="158"/>
                </a:cxn>
                <a:cxn ang="0">
                  <a:pos x="171" y="164"/>
                </a:cxn>
                <a:cxn ang="0">
                  <a:pos x="168" y="151"/>
                </a:cxn>
                <a:cxn ang="0">
                  <a:pos x="166" y="142"/>
                </a:cxn>
                <a:cxn ang="0">
                  <a:pos x="178" y="144"/>
                </a:cxn>
                <a:cxn ang="0">
                  <a:pos x="184" y="138"/>
                </a:cxn>
                <a:cxn ang="0">
                  <a:pos x="193" y="143"/>
                </a:cxn>
                <a:cxn ang="0">
                  <a:pos x="197" y="133"/>
                </a:cxn>
                <a:cxn ang="0">
                  <a:pos x="189" y="117"/>
                </a:cxn>
                <a:cxn ang="0">
                  <a:pos x="183" y="105"/>
                </a:cxn>
                <a:cxn ang="0">
                  <a:pos x="203" y="106"/>
                </a:cxn>
              </a:cxnLst>
              <a:rect l="0" t="0" r="r" b="b"/>
              <a:pathLst>
                <a:path w="204" h="225">
                  <a:moveTo>
                    <a:pt x="204" y="100"/>
                  </a:moveTo>
                  <a:cubicBezTo>
                    <a:pt x="204" y="99"/>
                    <a:pt x="201" y="98"/>
                    <a:pt x="200" y="98"/>
                  </a:cubicBezTo>
                  <a:cubicBezTo>
                    <a:pt x="199" y="98"/>
                    <a:pt x="197" y="97"/>
                    <a:pt x="196" y="96"/>
                  </a:cubicBezTo>
                  <a:cubicBezTo>
                    <a:pt x="195" y="96"/>
                    <a:pt x="194" y="95"/>
                    <a:pt x="193" y="94"/>
                  </a:cubicBezTo>
                  <a:cubicBezTo>
                    <a:pt x="193" y="94"/>
                    <a:pt x="192" y="93"/>
                    <a:pt x="192" y="94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191" y="92"/>
                    <a:pt x="191" y="91"/>
                    <a:pt x="190" y="90"/>
                  </a:cubicBezTo>
                  <a:cubicBezTo>
                    <a:pt x="189" y="89"/>
                    <a:pt x="188" y="88"/>
                    <a:pt x="188" y="87"/>
                  </a:cubicBezTo>
                  <a:cubicBezTo>
                    <a:pt x="188" y="86"/>
                    <a:pt x="188" y="84"/>
                    <a:pt x="189" y="83"/>
                  </a:cubicBezTo>
                  <a:cubicBezTo>
                    <a:pt x="190" y="83"/>
                    <a:pt x="191" y="83"/>
                    <a:pt x="191" y="83"/>
                  </a:cubicBezTo>
                  <a:cubicBezTo>
                    <a:pt x="191" y="82"/>
                    <a:pt x="191" y="82"/>
                    <a:pt x="192" y="82"/>
                  </a:cubicBezTo>
                  <a:cubicBezTo>
                    <a:pt x="192" y="81"/>
                    <a:pt x="192" y="81"/>
                    <a:pt x="192" y="80"/>
                  </a:cubicBezTo>
                  <a:cubicBezTo>
                    <a:pt x="192" y="79"/>
                    <a:pt x="193" y="78"/>
                    <a:pt x="193" y="77"/>
                  </a:cubicBezTo>
                  <a:cubicBezTo>
                    <a:pt x="192" y="75"/>
                    <a:pt x="189" y="76"/>
                    <a:pt x="187" y="76"/>
                  </a:cubicBezTo>
                  <a:cubicBezTo>
                    <a:pt x="186" y="76"/>
                    <a:pt x="184" y="75"/>
                    <a:pt x="183" y="75"/>
                  </a:cubicBezTo>
                  <a:cubicBezTo>
                    <a:pt x="182" y="75"/>
                    <a:pt x="182" y="74"/>
                    <a:pt x="181" y="74"/>
                  </a:cubicBezTo>
                  <a:cubicBezTo>
                    <a:pt x="180" y="74"/>
                    <a:pt x="181" y="73"/>
                    <a:pt x="181" y="73"/>
                  </a:cubicBezTo>
                  <a:cubicBezTo>
                    <a:pt x="180" y="72"/>
                    <a:pt x="179" y="72"/>
                    <a:pt x="179" y="71"/>
                  </a:cubicBezTo>
                  <a:cubicBezTo>
                    <a:pt x="179" y="71"/>
                    <a:pt x="179" y="70"/>
                    <a:pt x="179" y="70"/>
                  </a:cubicBezTo>
                  <a:cubicBezTo>
                    <a:pt x="179" y="69"/>
                    <a:pt x="179" y="68"/>
                    <a:pt x="179" y="68"/>
                  </a:cubicBezTo>
                  <a:cubicBezTo>
                    <a:pt x="179" y="67"/>
                    <a:pt x="179" y="67"/>
                    <a:pt x="180" y="66"/>
                  </a:cubicBezTo>
                  <a:cubicBezTo>
                    <a:pt x="180" y="65"/>
                    <a:pt x="180" y="65"/>
                    <a:pt x="181" y="64"/>
                  </a:cubicBezTo>
                  <a:cubicBezTo>
                    <a:pt x="182" y="58"/>
                    <a:pt x="185" y="53"/>
                    <a:pt x="189" y="49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0" y="38"/>
                    <a:pt x="186" y="33"/>
                    <a:pt x="179" y="28"/>
                  </a:cubicBezTo>
                  <a:cubicBezTo>
                    <a:pt x="180" y="31"/>
                    <a:pt x="174" y="32"/>
                    <a:pt x="172" y="33"/>
                  </a:cubicBezTo>
                  <a:cubicBezTo>
                    <a:pt x="170" y="34"/>
                    <a:pt x="168" y="34"/>
                    <a:pt x="166" y="35"/>
                  </a:cubicBezTo>
                  <a:cubicBezTo>
                    <a:pt x="166" y="35"/>
                    <a:pt x="165" y="35"/>
                    <a:pt x="164" y="35"/>
                  </a:cubicBezTo>
                  <a:cubicBezTo>
                    <a:pt x="162" y="34"/>
                    <a:pt x="163" y="34"/>
                    <a:pt x="162" y="34"/>
                  </a:cubicBezTo>
                  <a:cubicBezTo>
                    <a:pt x="160" y="33"/>
                    <a:pt x="159" y="31"/>
                    <a:pt x="159" y="29"/>
                  </a:cubicBezTo>
                  <a:cubicBezTo>
                    <a:pt x="159" y="27"/>
                    <a:pt x="160" y="27"/>
                    <a:pt x="161" y="25"/>
                  </a:cubicBezTo>
                  <a:cubicBezTo>
                    <a:pt x="161" y="24"/>
                    <a:pt x="159" y="23"/>
                    <a:pt x="158" y="22"/>
                  </a:cubicBezTo>
                  <a:cubicBezTo>
                    <a:pt x="158" y="22"/>
                    <a:pt x="157" y="21"/>
                    <a:pt x="157" y="21"/>
                  </a:cubicBezTo>
                  <a:cubicBezTo>
                    <a:pt x="157" y="20"/>
                    <a:pt x="157" y="19"/>
                    <a:pt x="157" y="19"/>
                  </a:cubicBezTo>
                  <a:cubicBezTo>
                    <a:pt x="156" y="17"/>
                    <a:pt x="152" y="15"/>
                    <a:pt x="151" y="18"/>
                  </a:cubicBezTo>
                  <a:cubicBezTo>
                    <a:pt x="150" y="18"/>
                    <a:pt x="147" y="18"/>
                    <a:pt x="145" y="17"/>
                  </a:cubicBezTo>
                  <a:cubicBezTo>
                    <a:pt x="144" y="17"/>
                    <a:pt x="143" y="16"/>
                    <a:pt x="143" y="15"/>
                  </a:cubicBezTo>
                  <a:cubicBezTo>
                    <a:pt x="141" y="15"/>
                    <a:pt x="140" y="14"/>
                    <a:pt x="139" y="14"/>
                  </a:cubicBezTo>
                  <a:cubicBezTo>
                    <a:pt x="136" y="13"/>
                    <a:pt x="133" y="11"/>
                    <a:pt x="130" y="12"/>
                  </a:cubicBezTo>
                  <a:cubicBezTo>
                    <a:pt x="129" y="13"/>
                    <a:pt x="130" y="15"/>
                    <a:pt x="130" y="17"/>
                  </a:cubicBezTo>
                  <a:cubicBezTo>
                    <a:pt x="128" y="17"/>
                    <a:pt x="125" y="16"/>
                    <a:pt x="124" y="14"/>
                  </a:cubicBezTo>
                  <a:cubicBezTo>
                    <a:pt x="123" y="13"/>
                    <a:pt x="123" y="11"/>
                    <a:pt x="121" y="11"/>
                  </a:cubicBezTo>
                  <a:cubicBezTo>
                    <a:pt x="120" y="10"/>
                    <a:pt x="119" y="11"/>
                    <a:pt x="118" y="12"/>
                  </a:cubicBezTo>
                  <a:cubicBezTo>
                    <a:pt x="118" y="13"/>
                    <a:pt x="117" y="13"/>
                    <a:pt x="117" y="13"/>
                  </a:cubicBezTo>
                  <a:cubicBezTo>
                    <a:pt x="117" y="14"/>
                    <a:pt x="117" y="15"/>
                    <a:pt x="117" y="15"/>
                  </a:cubicBezTo>
                  <a:cubicBezTo>
                    <a:pt x="116" y="16"/>
                    <a:pt x="115" y="16"/>
                    <a:pt x="113" y="16"/>
                  </a:cubicBezTo>
                  <a:cubicBezTo>
                    <a:pt x="112" y="16"/>
                    <a:pt x="111" y="17"/>
                    <a:pt x="109" y="17"/>
                  </a:cubicBezTo>
                  <a:cubicBezTo>
                    <a:pt x="108" y="15"/>
                    <a:pt x="107" y="13"/>
                    <a:pt x="105" y="13"/>
                  </a:cubicBezTo>
                  <a:cubicBezTo>
                    <a:pt x="99" y="12"/>
                    <a:pt x="94" y="14"/>
                    <a:pt x="89" y="14"/>
                  </a:cubicBezTo>
                  <a:cubicBezTo>
                    <a:pt x="89" y="13"/>
                    <a:pt x="89" y="12"/>
                    <a:pt x="89" y="12"/>
                  </a:cubicBezTo>
                  <a:cubicBezTo>
                    <a:pt x="88" y="10"/>
                    <a:pt x="87" y="10"/>
                    <a:pt x="85" y="10"/>
                  </a:cubicBezTo>
                  <a:cubicBezTo>
                    <a:pt x="84" y="10"/>
                    <a:pt x="84" y="10"/>
                    <a:pt x="83" y="9"/>
                  </a:cubicBezTo>
                  <a:cubicBezTo>
                    <a:pt x="82" y="8"/>
                    <a:pt x="83" y="6"/>
                    <a:pt x="81" y="6"/>
                  </a:cubicBezTo>
                  <a:cubicBezTo>
                    <a:pt x="79" y="8"/>
                    <a:pt x="80" y="12"/>
                    <a:pt x="76" y="11"/>
                  </a:cubicBezTo>
                  <a:cubicBezTo>
                    <a:pt x="74" y="11"/>
                    <a:pt x="75" y="10"/>
                    <a:pt x="73" y="9"/>
                  </a:cubicBezTo>
                  <a:cubicBezTo>
                    <a:pt x="72" y="7"/>
                    <a:pt x="71" y="7"/>
                    <a:pt x="70" y="6"/>
                  </a:cubicBezTo>
                  <a:cubicBezTo>
                    <a:pt x="70" y="5"/>
                    <a:pt x="70" y="5"/>
                    <a:pt x="70" y="4"/>
                  </a:cubicBezTo>
                  <a:cubicBezTo>
                    <a:pt x="69" y="4"/>
                    <a:pt x="67" y="4"/>
                    <a:pt x="66" y="4"/>
                  </a:cubicBezTo>
                  <a:cubicBezTo>
                    <a:pt x="64" y="4"/>
                    <a:pt x="64" y="4"/>
                    <a:pt x="63" y="3"/>
                  </a:cubicBezTo>
                  <a:cubicBezTo>
                    <a:pt x="62" y="2"/>
                    <a:pt x="59" y="0"/>
                    <a:pt x="58" y="2"/>
                  </a:cubicBezTo>
                  <a:cubicBezTo>
                    <a:pt x="58" y="3"/>
                    <a:pt x="58" y="5"/>
                    <a:pt x="58" y="6"/>
                  </a:cubicBezTo>
                  <a:cubicBezTo>
                    <a:pt x="55" y="6"/>
                    <a:pt x="51" y="4"/>
                    <a:pt x="48" y="4"/>
                  </a:cubicBezTo>
                  <a:cubicBezTo>
                    <a:pt x="46" y="4"/>
                    <a:pt x="44" y="4"/>
                    <a:pt x="42" y="4"/>
                  </a:cubicBezTo>
                  <a:cubicBezTo>
                    <a:pt x="40" y="5"/>
                    <a:pt x="39" y="6"/>
                    <a:pt x="38" y="7"/>
                  </a:cubicBezTo>
                  <a:cubicBezTo>
                    <a:pt x="38" y="8"/>
                    <a:pt x="37" y="9"/>
                    <a:pt x="36" y="11"/>
                  </a:cubicBezTo>
                  <a:cubicBezTo>
                    <a:pt x="36" y="12"/>
                    <a:pt x="35" y="13"/>
                    <a:pt x="34" y="15"/>
                  </a:cubicBezTo>
                  <a:cubicBezTo>
                    <a:pt x="34" y="16"/>
                    <a:pt x="34" y="17"/>
                    <a:pt x="33" y="18"/>
                  </a:cubicBezTo>
                  <a:cubicBezTo>
                    <a:pt x="32" y="19"/>
                    <a:pt x="31" y="20"/>
                    <a:pt x="30" y="21"/>
                  </a:cubicBezTo>
                  <a:cubicBezTo>
                    <a:pt x="27" y="21"/>
                    <a:pt x="26" y="19"/>
                    <a:pt x="25" y="16"/>
                  </a:cubicBezTo>
                  <a:cubicBezTo>
                    <a:pt x="24" y="14"/>
                    <a:pt x="22" y="13"/>
                    <a:pt x="21" y="11"/>
                  </a:cubicBezTo>
                  <a:cubicBezTo>
                    <a:pt x="20" y="10"/>
                    <a:pt x="20" y="9"/>
                    <a:pt x="19" y="7"/>
                  </a:cubicBezTo>
                  <a:cubicBezTo>
                    <a:pt x="18" y="6"/>
                    <a:pt x="18" y="5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cubicBezTo>
                    <a:pt x="12" y="3"/>
                    <a:pt x="10" y="2"/>
                    <a:pt x="9" y="2"/>
                  </a:cubicBezTo>
                  <a:cubicBezTo>
                    <a:pt x="5" y="3"/>
                    <a:pt x="2" y="6"/>
                    <a:pt x="2" y="9"/>
                  </a:cubicBezTo>
                  <a:cubicBezTo>
                    <a:pt x="2" y="13"/>
                    <a:pt x="3" y="17"/>
                    <a:pt x="2" y="21"/>
                  </a:cubicBezTo>
                  <a:cubicBezTo>
                    <a:pt x="1" y="23"/>
                    <a:pt x="0" y="26"/>
                    <a:pt x="1" y="29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3"/>
                    <a:pt x="2" y="34"/>
                    <a:pt x="3" y="36"/>
                  </a:cubicBezTo>
                  <a:cubicBezTo>
                    <a:pt x="3" y="37"/>
                    <a:pt x="4" y="38"/>
                    <a:pt x="5" y="39"/>
                  </a:cubicBezTo>
                  <a:cubicBezTo>
                    <a:pt x="5" y="40"/>
                    <a:pt x="6" y="40"/>
                    <a:pt x="6" y="41"/>
                  </a:cubicBezTo>
                  <a:cubicBezTo>
                    <a:pt x="6" y="41"/>
                    <a:pt x="7" y="42"/>
                    <a:pt x="7" y="42"/>
                  </a:cubicBezTo>
                  <a:cubicBezTo>
                    <a:pt x="9" y="44"/>
                    <a:pt x="11" y="48"/>
                    <a:pt x="14" y="48"/>
                  </a:cubicBezTo>
                  <a:cubicBezTo>
                    <a:pt x="14" y="48"/>
                    <a:pt x="14" y="48"/>
                    <a:pt x="15" y="48"/>
                  </a:cubicBezTo>
                  <a:cubicBezTo>
                    <a:pt x="16" y="48"/>
                    <a:pt x="16" y="49"/>
                    <a:pt x="17" y="50"/>
                  </a:cubicBezTo>
                  <a:cubicBezTo>
                    <a:pt x="18" y="52"/>
                    <a:pt x="18" y="54"/>
                    <a:pt x="18" y="57"/>
                  </a:cubicBezTo>
                  <a:cubicBezTo>
                    <a:pt x="18" y="57"/>
                    <a:pt x="18" y="58"/>
                    <a:pt x="18" y="59"/>
                  </a:cubicBezTo>
                  <a:cubicBezTo>
                    <a:pt x="18" y="59"/>
                    <a:pt x="19" y="60"/>
                    <a:pt x="19" y="60"/>
                  </a:cubicBezTo>
                  <a:cubicBezTo>
                    <a:pt x="19" y="61"/>
                    <a:pt x="19" y="62"/>
                    <a:pt x="19" y="62"/>
                  </a:cubicBezTo>
                  <a:cubicBezTo>
                    <a:pt x="19" y="66"/>
                    <a:pt x="19" y="69"/>
                    <a:pt x="19" y="72"/>
                  </a:cubicBezTo>
                  <a:cubicBezTo>
                    <a:pt x="19" y="73"/>
                    <a:pt x="19" y="74"/>
                    <a:pt x="19" y="74"/>
                  </a:cubicBezTo>
                  <a:cubicBezTo>
                    <a:pt x="19" y="75"/>
                    <a:pt x="20" y="75"/>
                    <a:pt x="21" y="76"/>
                  </a:cubicBezTo>
                  <a:cubicBezTo>
                    <a:pt x="21" y="77"/>
                    <a:pt x="21" y="78"/>
                    <a:pt x="21" y="79"/>
                  </a:cubicBezTo>
                  <a:cubicBezTo>
                    <a:pt x="21" y="81"/>
                    <a:pt x="23" y="83"/>
                    <a:pt x="24" y="85"/>
                  </a:cubicBezTo>
                  <a:cubicBezTo>
                    <a:pt x="25" y="86"/>
                    <a:pt x="25" y="88"/>
                    <a:pt x="26" y="90"/>
                  </a:cubicBezTo>
                  <a:cubicBezTo>
                    <a:pt x="26" y="91"/>
                    <a:pt x="26" y="92"/>
                    <a:pt x="26" y="93"/>
                  </a:cubicBezTo>
                  <a:cubicBezTo>
                    <a:pt x="26" y="94"/>
                    <a:pt x="27" y="95"/>
                    <a:pt x="28" y="96"/>
                  </a:cubicBezTo>
                  <a:cubicBezTo>
                    <a:pt x="31" y="99"/>
                    <a:pt x="35" y="102"/>
                    <a:pt x="39" y="103"/>
                  </a:cubicBezTo>
                  <a:cubicBezTo>
                    <a:pt x="43" y="104"/>
                    <a:pt x="45" y="107"/>
                    <a:pt x="47" y="111"/>
                  </a:cubicBezTo>
                  <a:cubicBezTo>
                    <a:pt x="47" y="112"/>
                    <a:pt x="48" y="115"/>
                    <a:pt x="49" y="116"/>
                  </a:cubicBezTo>
                  <a:cubicBezTo>
                    <a:pt x="49" y="116"/>
                    <a:pt x="50" y="117"/>
                    <a:pt x="51" y="118"/>
                  </a:cubicBezTo>
                  <a:cubicBezTo>
                    <a:pt x="52" y="119"/>
                    <a:pt x="53" y="120"/>
                    <a:pt x="53" y="121"/>
                  </a:cubicBezTo>
                  <a:cubicBezTo>
                    <a:pt x="55" y="123"/>
                    <a:pt x="56" y="126"/>
                    <a:pt x="58" y="128"/>
                  </a:cubicBezTo>
                  <a:cubicBezTo>
                    <a:pt x="60" y="129"/>
                    <a:pt x="61" y="130"/>
                    <a:pt x="62" y="131"/>
                  </a:cubicBezTo>
                  <a:cubicBezTo>
                    <a:pt x="62" y="132"/>
                    <a:pt x="63" y="133"/>
                    <a:pt x="63" y="134"/>
                  </a:cubicBezTo>
                  <a:cubicBezTo>
                    <a:pt x="66" y="136"/>
                    <a:pt x="69" y="139"/>
                    <a:pt x="72" y="142"/>
                  </a:cubicBezTo>
                  <a:cubicBezTo>
                    <a:pt x="73" y="143"/>
                    <a:pt x="75" y="143"/>
                    <a:pt x="75" y="144"/>
                  </a:cubicBezTo>
                  <a:cubicBezTo>
                    <a:pt x="76" y="145"/>
                    <a:pt x="76" y="146"/>
                    <a:pt x="76" y="147"/>
                  </a:cubicBezTo>
                  <a:cubicBezTo>
                    <a:pt x="76" y="148"/>
                    <a:pt x="76" y="149"/>
                    <a:pt x="76" y="150"/>
                  </a:cubicBezTo>
                  <a:cubicBezTo>
                    <a:pt x="76" y="152"/>
                    <a:pt x="76" y="153"/>
                    <a:pt x="77" y="155"/>
                  </a:cubicBezTo>
                  <a:cubicBezTo>
                    <a:pt x="77" y="155"/>
                    <a:pt x="77" y="156"/>
                    <a:pt x="77" y="157"/>
                  </a:cubicBezTo>
                  <a:cubicBezTo>
                    <a:pt x="77" y="157"/>
                    <a:pt x="78" y="158"/>
                    <a:pt x="78" y="158"/>
                  </a:cubicBezTo>
                  <a:cubicBezTo>
                    <a:pt x="79" y="159"/>
                    <a:pt x="79" y="160"/>
                    <a:pt x="79" y="160"/>
                  </a:cubicBezTo>
                  <a:cubicBezTo>
                    <a:pt x="79" y="161"/>
                    <a:pt x="79" y="161"/>
                    <a:pt x="79" y="161"/>
                  </a:cubicBezTo>
                  <a:cubicBezTo>
                    <a:pt x="80" y="162"/>
                    <a:pt x="81" y="162"/>
                    <a:pt x="81" y="162"/>
                  </a:cubicBezTo>
                  <a:cubicBezTo>
                    <a:pt x="81" y="163"/>
                    <a:pt x="81" y="164"/>
                    <a:pt x="81" y="165"/>
                  </a:cubicBezTo>
                  <a:cubicBezTo>
                    <a:pt x="81" y="166"/>
                    <a:pt x="81" y="167"/>
                    <a:pt x="81" y="168"/>
                  </a:cubicBezTo>
                  <a:cubicBezTo>
                    <a:pt x="80" y="169"/>
                    <a:pt x="79" y="170"/>
                    <a:pt x="79" y="171"/>
                  </a:cubicBezTo>
                  <a:cubicBezTo>
                    <a:pt x="80" y="172"/>
                    <a:pt x="84" y="172"/>
                    <a:pt x="85" y="173"/>
                  </a:cubicBezTo>
                  <a:cubicBezTo>
                    <a:pt x="86" y="173"/>
                    <a:pt x="86" y="174"/>
                    <a:pt x="86" y="175"/>
                  </a:cubicBezTo>
                  <a:cubicBezTo>
                    <a:pt x="88" y="178"/>
                    <a:pt x="91" y="180"/>
                    <a:pt x="91" y="182"/>
                  </a:cubicBezTo>
                  <a:cubicBezTo>
                    <a:pt x="92" y="183"/>
                    <a:pt x="91" y="184"/>
                    <a:pt x="92" y="185"/>
                  </a:cubicBezTo>
                  <a:cubicBezTo>
                    <a:pt x="92" y="185"/>
                    <a:pt x="93" y="186"/>
                    <a:pt x="93" y="186"/>
                  </a:cubicBezTo>
                  <a:cubicBezTo>
                    <a:pt x="93" y="186"/>
                    <a:pt x="93" y="187"/>
                    <a:pt x="94" y="187"/>
                  </a:cubicBezTo>
                  <a:cubicBezTo>
                    <a:pt x="93" y="188"/>
                    <a:pt x="89" y="188"/>
                    <a:pt x="88" y="188"/>
                  </a:cubicBezTo>
                  <a:cubicBezTo>
                    <a:pt x="88" y="189"/>
                    <a:pt x="89" y="190"/>
                    <a:pt x="90" y="191"/>
                  </a:cubicBezTo>
                  <a:cubicBezTo>
                    <a:pt x="90" y="192"/>
                    <a:pt x="91" y="194"/>
                    <a:pt x="92" y="194"/>
                  </a:cubicBezTo>
                  <a:cubicBezTo>
                    <a:pt x="93" y="192"/>
                    <a:pt x="97" y="191"/>
                    <a:pt x="98" y="191"/>
                  </a:cubicBezTo>
                  <a:cubicBezTo>
                    <a:pt x="99" y="191"/>
                    <a:pt x="100" y="190"/>
                    <a:pt x="100" y="190"/>
                  </a:cubicBezTo>
                  <a:cubicBezTo>
                    <a:pt x="101" y="190"/>
                    <a:pt x="102" y="189"/>
                    <a:pt x="103" y="190"/>
                  </a:cubicBezTo>
                  <a:cubicBezTo>
                    <a:pt x="103" y="190"/>
                    <a:pt x="103" y="191"/>
                    <a:pt x="103" y="191"/>
                  </a:cubicBezTo>
                  <a:cubicBezTo>
                    <a:pt x="103" y="191"/>
                    <a:pt x="104" y="191"/>
                    <a:pt x="104" y="192"/>
                  </a:cubicBezTo>
                  <a:cubicBezTo>
                    <a:pt x="104" y="192"/>
                    <a:pt x="104" y="192"/>
                    <a:pt x="104" y="193"/>
                  </a:cubicBezTo>
                  <a:cubicBezTo>
                    <a:pt x="105" y="194"/>
                    <a:pt x="106" y="195"/>
                    <a:pt x="107" y="196"/>
                  </a:cubicBezTo>
                  <a:cubicBezTo>
                    <a:pt x="108" y="197"/>
                    <a:pt x="108" y="198"/>
                    <a:pt x="108" y="199"/>
                  </a:cubicBezTo>
                  <a:cubicBezTo>
                    <a:pt x="109" y="200"/>
                    <a:pt x="110" y="202"/>
                    <a:pt x="112" y="203"/>
                  </a:cubicBezTo>
                  <a:cubicBezTo>
                    <a:pt x="113" y="204"/>
                    <a:pt x="115" y="206"/>
                    <a:pt x="117" y="207"/>
                  </a:cubicBezTo>
                  <a:cubicBezTo>
                    <a:pt x="119" y="209"/>
                    <a:pt x="121" y="210"/>
                    <a:pt x="122" y="211"/>
                  </a:cubicBezTo>
                  <a:cubicBezTo>
                    <a:pt x="123" y="211"/>
                    <a:pt x="124" y="212"/>
                    <a:pt x="125" y="213"/>
                  </a:cubicBezTo>
                  <a:cubicBezTo>
                    <a:pt x="125" y="215"/>
                    <a:pt x="130" y="214"/>
                    <a:pt x="131" y="214"/>
                  </a:cubicBezTo>
                  <a:cubicBezTo>
                    <a:pt x="132" y="214"/>
                    <a:pt x="133" y="216"/>
                    <a:pt x="134" y="217"/>
                  </a:cubicBezTo>
                  <a:cubicBezTo>
                    <a:pt x="135" y="218"/>
                    <a:pt x="135" y="219"/>
                    <a:pt x="135" y="220"/>
                  </a:cubicBezTo>
                  <a:cubicBezTo>
                    <a:pt x="136" y="221"/>
                    <a:pt x="137" y="223"/>
                    <a:pt x="138" y="224"/>
                  </a:cubicBezTo>
                  <a:cubicBezTo>
                    <a:pt x="139" y="225"/>
                    <a:pt x="139" y="224"/>
                    <a:pt x="140" y="223"/>
                  </a:cubicBezTo>
                  <a:cubicBezTo>
                    <a:pt x="140" y="223"/>
                    <a:pt x="140" y="222"/>
                    <a:pt x="140" y="222"/>
                  </a:cubicBezTo>
                  <a:cubicBezTo>
                    <a:pt x="141" y="222"/>
                    <a:pt x="141" y="221"/>
                    <a:pt x="141" y="221"/>
                  </a:cubicBezTo>
                  <a:cubicBezTo>
                    <a:pt x="143" y="219"/>
                    <a:pt x="143" y="214"/>
                    <a:pt x="143" y="211"/>
                  </a:cubicBezTo>
                  <a:cubicBezTo>
                    <a:pt x="143" y="210"/>
                    <a:pt x="143" y="209"/>
                    <a:pt x="143" y="209"/>
                  </a:cubicBezTo>
                  <a:cubicBezTo>
                    <a:pt x="143" y="208"/>
                    <a:pt x="142" y="207"/>
                    <a:pt x="142" y="207"/>
                  </a:cubicBezTo>
                  <a:cubicBezTo>
                    <a:pt x="142" y="206"/>
                    <a:pt x="142" y="206"/>
                    <a:pt x="141" y="206"/>
                  </a:cubicBezTo>
                  <a:cubicBezTo>
                    <a:pt x="141" y="206"/>
                    <a:pt x="141" y="204"/>
                    <a:pt x="140" y="204"/>
                  </a:cubicBezTo>
                  <a:cubicBezTo>
                    <a:pt x="140" y="202"/>
                    <a:pt x="140" y="201"/>
                    <a:pt x="140" y="200"/>
                  </a:cubicBezTo>
                  <a:cubicBezTo>
                    <a:pt x="140" y="198"/>
                    <a:pt x="139" y="198"/>
                    <a:pt x="139" y="197"/>
                  </a:cubicBezTo>
                  <a:cubicBezTo>
                    <a:pt x="139" y="196"/>
                    <a:pt x="140" y="195"/>
                    <a:pt x="140" y="195"/>
                  </a:cubicBezTo>
                  <a:cubicBezTo>
                    <a:pt x="141" y="193"/>
                    <a:pt x="142" y="192"/>
                    <a:pt x="143" y="190"/>
                  </a:cubicBezTo>
                  <a:cubicBezTo>
                    <a:pt x="143" y="190"/>
                    <a:pt x="143" y="189"/>
                    <a:pt x="143" y="189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44" y="187"/>
                    <a:pt x="144" y="185"/>
                    <a:pt x="144" y="184"/>
                  </a:cubicBezTo>
                  <a:cubicBezTo>
                    <a:pt x="145" y="183"/>
                    <a:pt x="147" y="183"/>
                    <a:pt x="147" y="182"/>
                  </a:cubicBezTo>
                  <a:cubicBezTo>
                    <a:pt x="148" y="181"/>
                    <a:pt x="147" y="181"/>
                    <a:pt x="147" y="180"/>
                  </a:cubicBezTo>
                  <a:cubicBezTo>
                    <a:pt x="148" y="179"/>
                    <a:pt x="148" y="178"/>
                    <a:pt x="148" y="177"/>
                  </a:cubicBezTo>
                  <a:cubicBezTo>
                    <a:pt x="149" y="176"/>
                    <a:pt x="149" y="175"/>
                    <a:pt x="149" y="173"/>
                  </a:cubicBezTo>
                  <a:cubicBezTo>
                    <a:pt x="149" y="172"/>
                    <a:pt x="148" y="171"/>
                    <a:pt x="148" y="170"/>
                  </a:cubicBezTo>
                  <a:cubicBezTo>
                    <a:pt x="148" y="169"/>
                    <a:pt x="149" y="168"/>
                    <a:pt x="150" y="167"/>
                  </a:cubicBezTo>
                  <a:cubicBezTo>
                    <a:pt x="152" y="166"/>
                    <a:pt x="154" y="164"/>
                    <a:pt x="155" y="163"/>
                  </a:cubicBezTo>
                  <a:cubicBezTo>
                    <a:pt x="155" y="162"/>
                    <a:pt x="155" y="162"/>
                    <a:pt x="156" y="162"/>
                  </a:cubicBezTo>
                  <a:cubicBezTo>
                    <a:pt x="156" y="161"/>
                    <a:pt x="157" y="161"/>
                    <a:pt x="157" y="161"/>
                  </a:cubicBezTo>
                  <a:cubicBezTo>
                    <a:pt x="159" y="160"/>
                    <a:pt x="161" y="158"/>
                    <a:pt x="163" y="158"/>
                  </a:cubicBezTo>
                  <a:cubicBezTo>
                    <a:pt x="165" y="158"/>
                    <a:pt x="166" y="159"/>
                    <a:pt x="167" y="161"/>
                  </a:cubicBezTo>
                  <a:cubicBezTo>
                    <a:pt x="167" y="162"/>
                    <a:pt x="167" y="163"/>
                    <a:pt x="168" y="164"/>
                  </a:cubicBezTo>
                  <a:cubicBezTo>
                    <a:pt x="168" y="164"/>
                    <a:pt x="169" y="165"/>
                    <a:pt x="170" y="165"/>
                  </a:cubicBezTo>
                  <a:cubicBezTo>
                    <a:pt x="170" y="164"/>
                    <a:pt x="171" y="165"/>
                    <a:pt x="171" y="164"/>
                  </a:cubicBezTo>
                  <a:cubicBezTo>
                    <a:pt x="172" y="164"/>
                    <a:pt x="172" y="163"/>
                    <a:pt x="172" y="163"/>
                  </a:cubicBezTo>
                  <a:cubicBezTo>
                    <a:pt x="174" y="161"/>
                    <a:pt x="173" y="160"/>
                    <a:pt x="172" y="158"/>
                  </a:cubicBezTo>
                  <a:cubicBezTo>
                    <a:pt x="172" y="157"/>
                    <a:pt x="172" y="156"/>
                    <a:pt x="171" y="155"/>
                  </a:cubicBezTo>
                  <a:cubicBezTo>
                    <a:pt x="170" y="154"/>
                    <a:pt x="169" y="152"/>
                    <a:pt x="168" y="151"/>
                  </a:cubicBezTo>
                  <a:cubicBezTo>
                    <a:pt x="167" y="150"/>
                    <a:pt x="166" y="150"/>
                    <a:pt x="166" y="148"/>
                  </a:cubicBezTo>
                  <a:cubicBezTo>
                    <a:pt x="166" y="147"/>
                    <a:pt x="165" y="145"/>
                    <a:pt x="166" y="144"/>
                  </a:cubicBezTo>
                  <a:cubicBezTo>
                    <a:pt x="166" y="144"/>
                    <a:pt x="166" y="144"/>
                    <a:pt x="167" y="143"/>
                  </a:cubicBezTo>
                  <a:cubicBezTo>
                    <a:pt x="167" y="143"/>
                    <a:pt x="166" y="142"/>
                    <a:pt x="166" y="142"/>
                  </a:cubicBezTo>
                  <a:cubicBezTo>
                    <a:pt x="167" y="141"/>
                    <a:pt x="167" y="141"/>
                    <a:pt x="168" y="141"/>
                  </a:cubicBezTo>
                  <a:cubicBezTo>
                    <a:pt x="170" y="140"/>
                    <a:pt x="172" y="143"/>
                    <a:pt x="173" y="144"/>
                  </a:cubicBezTo>
                  <a:cubicBezTo>
                    <a:pt x="174" y="145"/>
                    <a:pt x="175" y="145"/>
                    <a:pt x="176" y="145"/>
                  </a:cubicBezTo>
                  <a:cubicBezTo>
                    <a:pt x="177" y="144"/>
                    <a:pt x="178" y="144"/>
                    <a:pt x="178" y="144"/>
                  </a:cubicBezTo>
                  <a:cubicBezTo>
                    <a:pt x="179" y="144"/>
                    <a:pt x="180" y="144"/>
                    <a:pt x="180" y="143"/>
                  </a:cubicBezTo>
                  <a:cubicBezTo>
                    <a:pt x="181" y="143"/>
                    <a:pt x="181" y="142"/>
                    <a:pt x="181" y="141"/>
                  </a:cubicBezTo>
                  <a:cubicBezTo>
                    <a:pt x="181" y="140"/>
                    <a:pt x="182" y="140"/>
                    <a:pt x="183" y="139"/>
                  </a:cubicBezTo>
                  <a:cubicBezTo>
                    <a:pt x="184" y="139"/>
                    <a:pt x="184" y="138"/>
                    <a:pt x="184" y="138"/>
                  </a:cubicBezTo>
                  <a:cubicBezTo>
                    <a:pt x="185" y="137"/>
                    <a:pt x="187" y="135"/>
                    <a:pt x="188" y="136"/>
                  </a:cubicBezTo>
                  <a:cubicBezTo>
                    <a:pt x="188" y="136"/>
                    <a:pt x="188" y="138"/>
                    <a:pt x="189" y="139"/>
                  </a:cubicBezTo>
                  <a:cubicBezTo>
                    <a:pt x="190" y="140"/>
                    <a:pt x="191" y="141"/>
                    <a:pt x="191" y="143"/>
                  </a:cubicBezTo>
                  <a:cubicBezTo>
                    <a:pt x="192" y="143"/>
                    <a:pt x="192" y="144"/>
                    <a:pt x="193" y="143"/>
                  </a:cubicBezTo>
                  <a:cubicBezTo>
                    <a:pt x="194" y="143"/>
                    <a:pt x="193" y="143"/>
                    <a:pt x="194" y="142"/>
                  </a:cubicBezTo>
                  <a:cubicBezTo>
                    <a:pt x="194" y="141"/>
                    <a:pt x="195" y="141"/>
                    <a:pt x="196" y="140"/>
                  </a:cubicBezTo>
                  <a:cubicBezTo>
                    <a:pt x="196" y="139"/>
                    <a:pt x="196" y="138"/>
                    <a:pt x="196" y="137"/>
                  </a:cubicBezTo>
                  <a:cubicBezTo>
                    <a:pt x="196" y="135"/>
                    <a:pt x="197" y="134"/>
                    <a:pt x="197" y="133"/>
                  </a:cubicBezTo>
                  <a:cubicBezTo>
                    <a:pt x="197" y="132"/>
                    <a:pt x="196" y="132"/>
                    <a:pt x="196" y="131"/>
                  </a:cubicBezTo>
                  <a:cubicBezTo>
                    <a:pt x="196" y="131"/>
                    <a:pt x="196" y="130"/>
                    <a:pt x="196" y="130"/>
                  </a:cubicBezTo>
                  <a:cubicBezTo>
                    <a:pt x="196" y="128"/>
                    <a:pt x="195" y="127"/>
                    <a:pt x="194" y="125"/>
                  </a:cubicBezTo>
                  <a:cubicBezTo>
                    <a:pt x="192" y="122"/>
                    <a:pt x="190" y="120"/>
                    <a:pt x="189" y="117"/>
                  </a:cubicBezTo>
                  <a:cubicBezTo>
                    <a:pt x="188" y="116"/>
                    <a:pt x="188" y="115"/>
                    <a:pt x="187" y="114"/>
                  </a:cubicBezTo>
                  <a:cubicBezTo>
                    <a:pt x="186" y="112"/>
                    <a:pt x="186" y="113"/>
                    <a:pt x="184" y="112"/>
                  </a:cubicBezTo>
                  <a:cubicBezTo>
                    <a:pt x="183" y="112"/>
                    <a:pt x="182" y="111"/>
                    <a:pt x="182" y="110"/>
                  </a:cubicBezTo>
                  <a:cubicBezTo>
                    <a:pt x="181" y="109"/>
                    <a:pt x="182" y="106"/>
                    <a:pt x="183" y="105"/>
                  </a:cubicBezTo>
                  <a:cubicBezTo>
                    <a:pt x="184" y="106"/>
                    <a:pt x="185" y="107"/>
                    <a:pt x="186" y="107"/>
                  </a:cubicBezTo>
                  <a:cubicBezTo>
                    <a:pt x="188" y="109"/>
                    <a:pt x="192" y="109"/>
                    <a:pt x="195" y="109"/>
                  </a:cubicBezTo>
                  <a:cubicBezTo>
                    <a:pt x="197" y="109"/>
                    <a:pt x="200" y="109"/>
                    <a:pt x="201" y="108"/>
                  </a:cubicBezTo>
                  <a:cubicBezTo>
                    <a:pt x="202" y="107"/>
                    <a:pt x="202" y="107"/>
                    <a:pt x="203" y="106"/>
                  </a:cubicBezTo>
                  <a:cubicBezTo>
                    <a:pt x="204" y="105"/>
                    <a:pt x="204" y="105"/>
                    <a:pt x="204" y="104"/>
                  </a:cubicBezTo>
                  <a:cubicBezTo>
                    <a:pt x="204" y="104"/>
                    <a:pt x="204" y="103"/>
                    <a:pt x="204" y="102"/>
                  </a:cubicBezTo>
                  <a:cubicBezTo>
                    <a:pt x="204" y="102"/>
                    <a:pt x="204" y="100"/>
                    <a:pt x="204" y="10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7" name="Freeform 28">
              <a:extLst>
                <a:ext uri="{FF2B5EF4-FFF2-40B4-BE49-F238E27FC236}">
                  <a16:creationId xmlns:a16="http://schemas.microsoft.com/office/drawing/2014/main" id="{AF0FA2C6-5924-4383-9F43-C7D1504CE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775" y="5527675"/>
              <a:ext cx="280988" cy="252413"/>
            </a:xfrm>
            <a:custGeom>
              <a:avLst/>
              <a:gdLst/>
              <a:ahLst/>
              <a:cxnLst>
                <a:cxn ang="0">
                  <a:pos x="145" y="47"/>
                </a:cxn>
                <a:cxn ang="0">
                  <a:pos x="135" y="45"/>
                </a:cxn>
                <a:cxn ang="0">
                  <a:pos x="132" y="40"/>
                </a:cxn>
                <a:cxn ang="0">
                  <a:pos x="121" y="36"/>
                </a:cxn>
                <a:cxn ang="0">
                  <a:pos x="116" y="31"/>
                </a:cxn>
                <a:cxn ang="0">
                  <a:pos x="110" y="28"/>
                </a:cxn>
                <a:cxn ang="0">
                  <a:pos x="105" y="20"/>
                </a:cxn>
                <a:cxn ang="0">
                  <a:pos x="94" y="10"/>
                </a:cxn>
                <a:cxn ang="0">
                  <a:pos x="88" y="3"/>
                </a:cxn>
                <a:cxn ang="0">
                  <a:pos x="84" y="5"/>
                </a:cxn>
                <a:cxn ang="0">
                  <a:pos x="74" y="2"/>
                </a:cxn>
                <a:cxn ang="0">
                  <a:pos x="74" y="8"/>
                </a:cxn>
                <a:cxn ang="0">
                  <a:pos x="80" y="18"/>
                </a:cxn>
                <a:cxn ang="0">
                  <a:pos x="78" y="25"/>
                </a:cxn>
                <a:cxn ang="0">
                  <a:pos x="71" y="18"/>
                </a:cxn>
                <a:cxn ang="0">
                  <a:pos x="63" y="23"/>
                </a:cxn>
                <a:cxn ang="0">
                  <a:pos x="57" y="33"/>
                </a:cxn>
                <a:cxn ang="0">
                  <a:pos x="55" y="42"/>
                </a:cxn>
                <a:cxn ang="0">
                  <a:pos x="51" y="49"/>
                </a:cxn>
                <a:cxn ang="0">
                  <a:pos x="47" y="57"/>
                </a:cxn>
                <a:cxn ang="0">
                  <a:pos x="49" y="66"/>
                </a:cxn>
                <a:cxn ang="0">
                  <a:pos x="51" y="71"/>
                </a:cxn>
                <a:cxn ang="0">
                  <a:pos x="48" y="83"/>
                </a:cxn>
                <a:cxn ang="0">
                  <a:pos x="42" y="77"/>
                </a:cxn>
                <a:cxn ang="0">
                  <a:pos x="30" y="71"/>
                </a:cxn>
                <a:cxn ang="0">
                  <a:pos x="16" y="59"/>
                </a:cxn>
                <a:cxn ang="0">
                  <a:pos x="12" y="52"/>
                </a:cxn>
                <a:cxn ang="0">
                  <a:pos x="8" y="50"/>
                </a:cxn>
                <a:cxn ang="0">
                  <a:pos x="0" y="54"/>
                </a:cxn>
                <a:cxn ang="0">
                  <a:pos x="5" y="59"/>
                </a:cxn>
                <a:cxn ang="0">
                  <a:pos x="12" y="62"/>
                </a:cxn>
                <a:cxn ang="0">
                  <a:pos x="17" y="66"/>
                </a:cxn>
                <a:cxn ang="0">
                  <a:pos x="26" y="75"/>
                </a:cxn>
                <a:cxn ang="0">
                  <a:pos x="34" y="82"/>
                </a:cxn>
                <a:cxn ang="0">
                  <a:pos x="53" y="94"/>
                </a:cxn>
                <a:cxn ang="0">
                  <a:pos x="62" y="104"/>
                </a:cxn>
                <a:cxn ang="0">
                  <a:pos x="68" y="106"/>
                </a:cxn>
                <a:cxn ang="0">
                  <a:pos x="76" y="116"/>
                </a:cxn>
                <a:cxn ang="0">
                  <a:pos x="82" y="131"/>
                </a:cxn>
                <a:cxn ang="0">
                  <a:pos x="91" y="133"/>
                </a:cxn>
                <a:cxn ang="0">
                  <a:pos x="90" y="111"/>
                </a:cxn>
                <a:cxn ang="0">
                  <a:pos x="95" y="98"/>
                </a:cxn>
                <a:cxn ang="0">
                  <a:pos x="101" y="88"/>
                </a:cxn>
                <a:cxn ang="0">
                  <a:pos x="109" y="76"/>
                </a:cxn>
                <a:cxn ang="0">
                  <a:pos x="113" y="81"/>
                </a:cxn>
                <a:cxn ang="0">
                  <a:pos x="126" y="88"/>
                </a:cxn>
                <a:cxn ang="0">
                  <a:pos x="132" y="81"/>
                </a:cxn>
                <a:cxn ang="0">
                  <a:pos x="132" y="70"/>
                </a:cxn>
                <a:cxn ang="0">
                  <a:pos x="133" y="64"/>
                </a:cxn>
                <a:cxn ang="0">
                  <a:pos x="142" y="62"/>
                </a:cxn>
                <a:cxn ang="0">
                  <a:pos x="148" y="59"/>
                </a:cxn>
              </a:cxnLst>
              <a:rect l="0" t="0" r="r" b="b"/>
              <a:pathLst>
                <a:path w="150" h="135">
                  <a:moveTo>
                    <a:pt x="147" y="51"/>
                  </a:moveTo>
                  <a:cubicBezTo>
                    <a:pt x="146" y="51"/>
                    <a:pt x="146" y="50"/>
                    <a:pt x="146" y="49"/>
                  </a:cubicBezTo>
                  <a:cubicBezTo>
                    <a:pt x="145" y="49"/>
                    <a:pt x="146" y="47"/>
                    <a:pt x="145" y="47"/>
                  </a:cubicBezTo>
                  <a:cubicBezTo>
                    <a:pt x="144" y="46"/>
                    <a:pt x="142" y="47"/>
                    <a:pt x="141" y="47"/>
                  </a:cubicBezTo>
                  <a:cubicBezTo>
                    <a:pt x="140" y="47"/>
                    <a:pt x="136" y="48"/>
                    <a:pt x="136" y="47"/>
                  </a:cubicBezTo>
                  <a:cubicBezTo>
                    <a:pt x="135" y="46"/>
                    <a:pt x="135" y="46"/>
                    <a:pt x="135" y="45"/>
                  </a:cubicBezTo>
                  <a:cubicBezTo>
                    <a:pt x="135" y="44"/>
                    <a:pt x="135" y="44"/>
                    <a:pt x="135" y="43"/>
                  </a:cubicBezTo>
                  <a:cubicBezTo>
                    <a:pt x="134" y="43"/>
                    <a:pt x="134" y="42"/>
                    <a:pt x="133" y="42"/>
                  </a:cubicBezTo>
                  <a:cubicBezTo>
                    <a:pt x="133" y="41"/>
                    <a:pt x="132" y="41"/>
                    <a:pt x="132" y="40"/>
                  </a:cubicBezTo>
                  <a:cubicBezTo>
                    <a:pt x="130" y="40"/>
                    <a:pt x="130" y="39"/>
                    <a:pt x="130" y="38"/>
                  </a:cubicBezTo>
                  <a:cubicBezTo>
                    <a:pt x="129" y="36"/>
                    <a:pt x="128" y="36"/>
                    <a:pt x="127" y="36"/>
                  </a:cubicBezTo>
                  <a:cubicBezTo>
                    <a:pt x="125" y="36"/>
                    <a:pt x="123" y="37"/>
                    <a:pt x="121" y="36"/>
                  </a:cubicBezTo>
                  <a:cubicBezTo>
                    <a:pt x="120" y="36"/>
                    <a:pt x="119" y="35"/>
                    <a:pt x="118" y="34"/>
                  </a:cubicBezTo>
                  <a:cubicBezTo>
                    <a:pt x="117" y="34"/>
                    <a:pt x="117" y="33"/>
                    <a:pt x="116" y="33"/>
                  </a:cubicBezTo>
                  <a:cubicBezTo>
                    <a:pt x="116" y="32"/>
                    <a:pt x="116" y="32"/>
                    <a:pt x="116" y="31"/>
                  </a:cubicBezTo>
                  <a:cubicBezTo>
                    <a:pt x="115" y="31"/>
                    <a:pt x="115" y="31"/>
                    <a:pt x="114" y="31"/>
                  </a:cubicBezTo>
                  <a:cubicBezTo>
                    <a:pt x="113" y="31"/>
                    <a:pt x="113" y="30"/>
                    <a:pt x="112" y="30"/>
                  </a:cubicBezTo>
                  <a:cubicBezTo>
                    <a:pt x="112" y="29"/>
                    <a:pt x="111" y="29"/>
                    <a:pt x="110" y="28"/>
                  </a:cubicBezTo>
                  <a:cubicBezTo>
                    <a:pt x="108" y="27"/>
                    <a:pt x="106" y="25"/>
                    <a:pt x="106" y="23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7" y="22"/>
                    <a:pt x="106" y="21"/>
                    <a:pt x="105" y="20"/>
                  </a:cubicBezTo>
                  <a:cubicBezTo>
                    <a:pt x="103" y="18"/>
                    <a:pt x="101" y="17"/>
                    <a:pt x="100" y="14"/>
                  </a:cubicBezTo>
                  <a:cubicBezTo>
                    <a:pt x="99" y="13"/>
                    <a:pt x="99" y="12"/>
                    <a:pt x="98" y="12"/>
                  </a:cubicBezTo>
                  <a:cubicBezTo>
                    <a:pt x="96" y="11"/>
                    <a:pt x="95" y="11"/>
                    <a:pt x="94" y="10"/>
                  </a:cubicBezTo>
                  <a:cubicBezTo>
                    <a:pt x="93" y="9"/>
                    <a:pt x="93" y="9"/>
                    <a:pt x="92" y="8"/>
                  </a:cubicBezTo>
                  <a:cubicBezTo>
                    <a:pt x="90" y="8"/>
                    <a:pt x="90" y="7"/>
                    <a:pt x="90" y="6"/>
                  </a:cubicBezTo>
                  <a:cubicBezTo>
                    <a:pt x="89" y="5"/>
                    <a:pt x="88" y="4"/>
                    <a:pt x="88" y="3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88" y="4"/>
                    <a:pt x="87" y="4"/>
                    <a:pt x="86" y="4"/>
                  </a:cubicBezTo>
                  <a:cubicBezTo>
                    <a:pt x="86" y="4"/>
                    <a:pt x="85" y="4"/>
                    <a:pt x="84" y="5"/>
                  </a:cubicBezTo>
                  <a:cubicBezTo>
                    <a:pt x="83" y="5"/>
                    <a:pt x="82" y="5"/>
                    <a:pt x="81" y="4"/>
                  </a:cubicBezTo>
                  <a:cubicBezTo>
                    <a:pt x="80" y="3"/>
                    <a:pt x="78" y="0"/>
                    <a:pt x="76" y="1"/>
                  </a:cubicBezTo>
                  <a:cubicBezTo>
                    <a:pt x="75" y="1"/>
                    <a:pt x="75" y="1"/>
                    <a:pt x="74" y="2"/>
                  </a:cubicBezTo>
                  <a:cubicBezTo>
                    <a:pt x="74" y="2"/>
                    <a:pt x="75" y="3"/>
                    <a:pt x="75" y="3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3" y="5"/>
                    <a:pt x="74" y="7"/>
                    <a:pt x="74" y="8"/>
                  </a:cubicBezTo>
                  <a:cubicBezTo>
                    <a:pt x="74" y="10"/>
                    <a:pt x="75" y="10"/>
                    <a:pt x="76" y="11"/>
                  </a:cubicBezTo>
                  <a:cubicBezTo>
                    <a:pt x="77" y="12"/>
                    <a:pt x="78" y="14"/>
                    <a:pt x="79" y="15"/>
                  </a:cubicBezTo>
                  <a:cubicBezTo>
                    <a:pt x="80" y="16"/>
                    <a:pt x="80" y="17"/>
                    <a:pt x="80" y="18"/>
                  </a:cubicBezTo>
                  <a:cubicBezTo>
                    <a:pt x="81" y="20"/>
                    <a:pt x="82" y="21"/>
                    <a:pt x="80" y="23"/>
                  </a:cubicBezTo>
                  <a:cubicBezTo>
                    <a:pt x="80" y="23"/>
                    <a:pt x="80" y="24"/>
                    <a:pt x="79" y="24"/>
                  </a:cubicBezTo>
                  <a:cubicBezTo>
                    <a:pt x="79" y="25"/>
                    <a:pt x="78" y="24"/>
                    <a:pt x="78" y="25"/>
                  </a:cubicBezTo>
                  <a:cubicBezTo>
                    <a:pt x="77" y="25"/>
                    <a:pt x="76" y="24"/>
                    <a:pt x="76" y="24"/>
                  </a:cubicBezTo>
                  <a:cubicBezTo>
                    <a:pt x="75" y="23"/>
                    <a:pt x="75" y="22"/>
                    <a:pt x="75" y="21"/>
                  </a:cubicBezTo>
                  <a:cubicBezTo>
                    <a:pt x="74" y="19"/>
                    <a:pt x="73" y="18"/>
                    <a:pt x="71" y="18"/>
                  </a:cubicBezTo>
                  <a:cubicBezTo>
                    <a:pt x="69" y="18"/>
                    <a:pt x="67" y="20"/>
                    <a:pt x="65" y="21"/>
                  </a:cubicBezTo>
                  <a:cubicBezTo>
                    <a:pt x="65" y="21"/>
                    <a:pt x="64" y="21"/>
                    <a:pt x="64" y="22"/>
                  </a:cubicBezTo>
                  <a:cubicBezTo>
                    <a:pt x="63" y="22"/>
                    <a:pt x="63" y="22"/>
                    <a:pt x="63" y="23"/>
                  </a:cubicBezTo>
                  <a:cubicBezTo>
                    <a:pt x="62" y="24"/>
                    <a:pt x="60" y="26"/>
                    <a:pt x="58" y="27"/>
                  </a:cubicBezTo>
                  <a:cubicBezTo>
                    <a:pt x="57" y="28"/>
                    <a:pt x="56" y="29"/>
                    <a:pt x="56" y="30"/>
                  </a:cubicBezTo>
                  <a:cubicBezTo>
                    <a:pt x="56" y="31"/>
                    <a:pt x="57" y="32"/>
                    <a:pt x="57" y="33"/>
                  </a:cubicBezTo>
                  <a:cubicBezTo>
                    <a:pt x="57" y="35"/>
                    <a:pt x="57" y="36"/>
                    <a:pt x="56" y="37"/>
                  </a:cubicBezTo>
                  <a:cubicBezTo>
                    <a:pt x="56" y="38"/>
                    <a:pt x="56" y="39"/>
                    <a:pt x="55" y="40"/>
                  </a:cubicBezTo>
                  <a:cubicBezTo>
                    <a:pt x="55" y="41"/>
                    <a:pt x="56" y="41"/>
                    <a:pt x="55" y="42"/>
                  </a:cubicBezTo>
                  <a:cubicBezTo>
                    <a:pt x="55" y="43"/>
                    <a:pt x="53" y="43"/>
                    <a:pt x="52" y="44"/>
                  </a:cubicBezTo>
                  <a:cubicBezTo>
                    <a:pt x="52" y="45"/>
                    <a:pt x="52" y="47"/>
                    <a:pt x="51" y="48"/>
                  </a:cubicBezTo>
                  <a:cubicBezTo>
                    <a:pt x="51" y="48"/>
                    <a:pt x="51" y="48"/>
                    <a:pt x="51" y="49"/>
                  </a:cubicBezTo>
                  <a:cubicBezTo>
                    <a:pt x="51" y="49"/>
                    <a:pt x="51" y="50"/>
                    <a:pt x="51" y="50"/>
                  </a:cubicBezTo>
                  <a:cubicBezTo>
                    <a:pt x="50" y="52"/>
                    <a:pt x="49" y="53"/>
                    <a:pt x="48" y="55"/>
                  </a:cubicBezTo>
                  <a:cubicBezTo>
                    <a:pt x="48" y="55"/>
                    <a:pt x="47" y="56"/>
                    <a:pt x="47" y="57"/>
                  </a:cubicBezTo>
                  <a:cubicBezTo>
                    <a:pt x="47" y="58"/>
                    <a:pt x="48" y="58"/>
                    <a:pt x="48" y="60"/>
                  </a:cubicBezTo>
                  <a:cubicBezTo>
                    <a:pt x="48" y="61"/>
                    <a:pt x="48" y="62"/>
                    <a:pt x="48" y="64"/>
                  </a:cubicBezTo>
                  <a:cubicBezTo>
                    <a:pt x="49" y="64"/>
                    <a:pt x="49" y="66"/>
                    <a:pt x="49" y="66"/>
                  </a:cubicBezTo>
                  <a:cubicBezTo>
                    <a:pt x="50" y="66"/>
                    <a:pt x="50" y="66"/>
                    <a:pt x="50" y="67"/>
                  </a:cubicBezTo>
                  <a:cubicBezTo>
                    <a:pt x="50" y="67"/>
                    <a:pt x="51" y="68"/>
                    <a:pt x="51" y="69"/>
                  </a:cubicBezTo>
                  <a:cubicBezTo>
                    <a:pt x="51" y="69"/>
                    <a:pt x="51" y="70"/>
                    <a:pt x="51" y="71"/>
                  </a:cubicBezTo>
                  <a:cubicBezTo>
                    <a:pt x="51" y="74"/>
                    <a:pt x="51" y="79"/>
                    <a:pt x="49" y="81"/>
                  </a:cubicBezTo>
                  <a:cubicBezTo>
                    <a:pt x="49" y="81"/>
                    <a:pt x="49" y="82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ubicBezTo>
                    <a:pt x="47" y="84"/>
                    <a:pt x="47" y="85"/>
                    <a:pt x="46" y="84"/>
                  </a:cubicBezTo>
                  <a:cubicBezTo>
                    <a:pt x="45" y="83"/>
                    <a:pt x="44" y="81"/>
                    <a:pt x="43" y="80"/>
                  </a:cubicBezTo>
                  <a:cubicBezTo>
                    <a:pt x="43" y="79"/>
                    <a:pt x="43" y="78"/>
                    <a:pt x="42" y="77"/>
                  </a:cubicBezTo>
                  <a:cubicBezTo>
                    <a:pt x="41" y="76"/>
                    <a:pt x="40" y="74"/>
                    <a:pt x="39" y="74"/>
                  </a:cubicBezTo>
                  <a:cubicBezTo>
                    <a:pt x="38" y="74"/>
                    <a:pt x="33" y="75"/>
                    <a:pt x="33" y="73"/>
                  </a:cubicBezTo>
                  <a:cubicBezTo>
                    <a:pt x="32" y="72"/>
                    <a:pt x="31" y="71"/>
                    <a:pt x="30" y="71"/>
                  </a:cubicBezTo>
                  <a:cubicBezTo>
                    <a:pt x="29" y="70"/>
                    <a:pt x="27" y="69"/>
                    <a:pt x="25" y="67"/>
                  </a:cubicBezTo>
                  <a:cubicBezTo>
                    <a:pt x="23" y="66"/>
                    <a:pt x="21" y="64"/>
                    <a:pt x="20" y="63"/>
                  </a:cubicBezTo>
                  <a:cubicBezTo>
                    <a:pt x="18" y="62"/>
                    <a:pt x="17" y="60"/>
                    <a:pt x="16" y="59"/>
                  </a:cubicBezTo>
                  <a:cubicBezTo>
                    <a:pt x="16" y="58"/>
                    <a:pt x="16" y="57"/>
                    <a:pt x="15" y="56"/>
                  </a:cubicBezTo>
                  <a:cubicBezTo>
                    <a:pt x="14" y="55"/>
                    <a:pt x="13" y="54"/>
                    <a:pt x="12" y="53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1" y="51"/>
                    <a:pt x="11" y="50"/>
                    <a:pt x="11" y="50"/>
                  </a:cubicBezTo>
                  <a:cubicBezTo>
                    <a:pt x="10" y="49"/>
                    <a:pt x="9" y="50"/>
                    <a:pt x="8" y="50"/>
                  </a:cubicBezTo>
                  <a:cubicBezTo>
                    <a:pt x="8" y="50"/>
                    <a:pt x="7" y="51"/>
                    <a:pt x="6" y="51"/>
                  </a:cubicBezTo>
                  <a:cubicBezTo>
                    <a:pt x="5" y="51"/>
                    <a:pt x="1" y="52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6"/>
                    <a:pt x="0" y="57"/>
                  </a:cubicBezTo>
                  <a:cubicBezTo>
                    <a:pt x="1" y="57"/>
                    <a:pt x="2" y="57"/>
                    <a:pt x="3" y="58"/>
                  </a:cubicBezTo>
                  <a:cubicBezTo>
                    <a:pt x="4" y="58"/>
                    <a:pt x="5" y="58"/>
                    <a:pt x="5" y="59"/>
                  </a:cubicBezTo>
                  <a:cubicBezTo>
                    <a:pt x="5" y="59"/>
                    <a:pt x="6" y="59"/>
                    <a:pt x="6" y="59"/>
                  </a:cubicBezTo>
                  <a:cubicBezTo>
                    <a:pt x="7" y="59"/>
                    <a:pt x="9" y="60"/>
                    <a:pt x="10" y="61"/>
                  </a:cubicBezTo>
                  <a:cubicBezTo>
                    <a:pt x="11" y="62"/>
                    <a:pt x="12" y="62"/>
                    <a:pt x="12" y="62"/>
                  </a:cubicBezTo>
                  <a:cubicBezTo>
                    <a:pt x="13" y="62"/>
                    <a:pt x="13" y="63"/>
                    <a:pt x="14" y="63"/>
                  </a:cubicBezTo>
                  <a:cubicBezTo>
                    <a:pt x="14" y="64"/>
                    <a:pt x="15" y="64"/>
                    <a:pt x="15" y="65"/>
                  </a:cubicBezTo>
                  <a:cubicBezTo>
                    <a:pt x="16" y="65"/>
                    <a:pt x="17" y="65"/>
                    <a:pt x="17" y="66"/>
                  </a:cubicBezTo>
                  <a:cubicBezTo>
                    <a:pt x="19" y="67"/>
                    <a:pt x="20" y="69"/>
                    <a:pt x="22" y="71"/>
                  </a:cubicBezTo>
                  <a:cubicBezTo>
                    <a:pt x="23" y="71"/>
                    <a:pt x="24" y="72"/>
                    <a:pt x="24" y="73"/>
                  </a:cubicBezTo>
                  <a:cubicBezTo>
                    <a:pt x="25" y="73"/>
                    <a:pt x="25" y="74"/>
                    <a:pt x="26" y="75"/>
                  </a:cubicBezTo>
                  <a:cubicBezTo>
                    <a:pt x="27" y="76"/>
                    <a:pt x="29" y="77"/>
                    <a:pt x="30" y="78"/>
                  </a:cubicBezTo>
                  <a:cubicBezTo>
                    <a:pt x="31" y="79"/>
                    <a:pt x="32" y="80"/>
                    <a:pt x="33" y="81"/>
                  </a:cubicBezTo>
                  <a:cubicBezTo>
                    <a:pt x="34" y="81"/>
                    <a:pt x="34" y="82"/>
                    <a:pt x="34" y="82"/>
                  </a:cubicBezTo>
                  <a:cubicBezTo>
                    <a:pt x="35" y="83"/>
                    <a:pt x="35" y="83"/>
                    <a:pt x="36" y="83"/>
                  </a:cubicBezTo>
                  <a:cubicBezTo>
                    <a:pt x="40" y="85"/>
                    <a:pt x="43" y="88"/>
                    <a:pt x="47" y="90"/>
                  </a:cubicBezTo>
                  <a:cubicBezTo>
                    <a:pt x="49" y="91"/>
                    <a:pt x="51" y="93"/>
                    <a:pt x="53" y="94"/>
                  </a:cubicBezTo>
                  <a:cubicBezTo>
                    <a:pt x="55" y="95"/>
                    <a:pt x="57" y="97"/>
                    <a:pt x="58" y="99"/>
                  </a:cubicBezTo>
                  <a:cubicBezTo>
                    <a:pt x="59" y="100"/>
                    <a:pt x="59" y="102"/>
                    <a:pt x="60" y="102"/>
                  </a:cubicBezTo>
                  <a:cubicBezTo>
                    <a:pt x="61" y="103"/>
                    <a:pt x="62" y="103"/>
                    <a:pt x="62" y="104"/>
                  </a:cubicBezTo>
                  <a:cubicBezTo>
                    <a:pt x="63" y="104"/>
                    <a:pt x="64" y="105"/>
                    <a:pt x="65" y="105"/>
                  </a:cubicBezTo>
                  <a:cubicBezTo>
                    <a:pt x="67" y="105"/>
                    <a:pt x="66" y="105"/>
                    <a:pt x="67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9" y="107"/>
                    <a:pt x="69" y="107"/>
                  </a:cubicBezTo>
                  <a:cubicBezTo>
                    <a:pt x="71" y="109"/>
                    <a:pt x="72" y="113"/>
                    <a:pt x="74" y="115"/>
                  </a:cubicBezTo>
                  <a:cubicBezTo>
                    <a:pt x="75" y="116"/>
                    <a:pt x="75" y="116"/>
                    <a:pt x="76" y="116"/>
                  </a:cubicBezTo>
                  <a:cubicBezTo>
                    <a:pt x="77" y="117"/>
                    <a:pt x="77" y="118"/>
                    <a:pt x="78" y="119"/>
                  </a:cubicBezTo>
                  <a:cubicBezTo>
                    <a:pt x="79" y="121"/>
                    <a:pt x="79" y="124"/>
                    <a:pt x="80" y="126"/>
                  </a:cubicBezTo>
                  <a:cubicBezTo>
                    <a:pt x="81" y="128"/>
                    <a:pt x="81" y="129"/>
                    <a:pt x="82" y="131"/>
                  </a:cubicBezTo>
                  <a:cubicBezTo>
                    <a:pt x="83" y="132"/>
                    <a:pt x="85" y="132"/>
                    <a:pt x="86" y="133"/>
                  </a:cubicBezTo>
                  <a:cubicBezTo>
                    <a:pt x="87" y="133"/>
                    <a:pt x="88" y="135"/>
                    <a:pt x="90" y="135"/>
                  </a:cubicBezTo>
                  <a:cubicBezTo>
                    <a:pt x="91" y="134"/>
                    <a:pt x="90" y="134"/>
                    <a:pt x="91" y="133"/>
                  </a:cubicBezTo>
                  <a:cubicBezTo>
                    <a:pt x="91" y="132"/>
                    <a:pt x="91" y="132"/>
                    <a:pt x="91" y="131"/>
                  </a:cubicBezTo>
                  <a:cubicBezTo>
                    <a:pt x="93" y="129"/>
                    <a:pt x="96" y="127"/>
                    <a:pt x="95" y="124"/>
                  </a:cubicBezTo>
                  <a:cubicBezTo>
                    <a:pt x="95" y="120"/>
                    <a:pt x="92" y="115"/>
                    <a:pt x="90" y="111"/>
                  </a:cubicBezTo>
                  <a:cubicBezTo>
                    <a:pt x="88" y="110"/>
                    <a:pt x="86" y="108"/>
                    <a:pt x="86" y="105"/>
                  </a:cubicBezTo>
                  <a:cubicBezTo>
                    <a:pt x="87" y="103"/>
                    <a:pt x="91" y="103"/>
                    <a:pt x="93" y="102"/>
                  </a:cubicBezTo>
                  <a:cubicBezTo>
                    <a:pt x="94" y="101"/>
                    <a:pt x="95" y="100"/>
                    <a:pt x="95" y="98"/>
                  </a:cubicBezTo>
                  <a:cubicBezTo>
                    <a:pt x="96" y="97"/>
                    <a:pt x="97" y="95"/>
                    <a:pt x="97" y="94"/>
                  </a:cubicBezTo>
                  <a:cubicBezTo>
                    <a:pt x="98" y="93"/>
                    <a:pt x="98" y="92"/>
                    <a:pt x="99" y="91"/>
                  </a:cubicBezTo>
                  <a:cubicBezTo>
                    <a:pt x="100" y="90"/>
                    <a:pt x="100" y="89"/>
                    <a:pt x="101" y="88"/>
                  </a:cubicBezTo>
                  <a:cubicBezTo>
                    <a:pt x="103" y="87"/>
                    <a:pt x="104" y="85"/>
                    <a:pt x="105" y="83"/>
                  </a:cubicBezTo>
                  <a:cubicBezTo>
                    <a:pt x="107" y="81"/>
                    <a:pt x="108" y="80"/>
                    <a:pt x="109" y="78"/>
                  </a:cubicBezTo>
                  <a:cubicBezTo>
                    <a:pt x="109" y="77"/>
                    <a:pt x="109" y="77"/>
                    <a:pt x="109" y="76"/>
                  </a:cubicBezTo>
                  <a:cubicBezTo>
                    <a:pt x="109" y="76"/>
                    <a:pt x="111" y="74"/>
                    <a:pt x="111" y="74"/>
                  </a:cubicBezTo>
                  <a:cubicBezTo>
                    <a:pt x="112" y="74"/>
                    <a:pt x="112" y="74"/>
                    <a:pt x="112" y="75"/>
                  </a:cubicBezTo>
                  <a:cubicBezTo>
                    <a:pt x="113" y="77"/>
                    <a:pt x="113" y="79"/>
                    <a:pt x="113" y="81"/>
                  </a:cubicBezTo>
                  <a:cubicBezTo>
                    <a:pt x="113" y="83"/>
                    <a:pt x="113" y="86"/>
                    <a:pt x="113" y="87"/>
                  </a:cubicBezTo>
                  <a:cubicBezTo>
                    <a:pt x="114" y="90"/>
                    <a:pt x="116" y="89"/>
                    <a:pt x="118" y="89"/>
                  </a:cubicBezTo>
                  <a:cubicBezTo>
                    <a:pt x="121" y="89"/>
                    <a:pt x="123" y="89"/>
                    <a:pt x="126" y="88"/>
                  </a:cubicBezTo>
                  <a:cubicBezTo>
                    <a:pt x="127" y="87"/>
                    <a:pt x="129" y="87"/>
                    <a:pt x="130" y="85"/>
                  </a:cubicBezTo>
                  <a:cubicBezTo>
                    <a:pt x="131" y="85"/>
                    <a:pt x="131" y="84"/>
                    <a:pt x="131" y="83"/>
                  </a:cubicBezTo>
                  <a:cubicBezTo>
                    <a:pt x="131" y="82"/>
                    <a:pt x="132" y="82"/>
                    <a:pt x="132" y="81"/>
                  </a:cubicBezTo>
                  <a:cubicBezTo>
                    <a:pt x="133" y="80"/>
                    <a:pt x="133" y="79"/>
                    <a:pt x="133" y="78"/>
                  </a:cubicBezTo>
                  <a:cubicBezTo>
                    <a:pt x="134" y="76"/>
                    <a:pt x="135" y="73"/>
                    <a:pt x="134" y="71"/>
                  </a:cubicBezTo>
                  <a:cubicBezTo>
                    <a:pt x="134" y="71"/>
                    <a:pt x="133" y="70"/>
                    <a:pt x="132" y="70"/>
                  </a:cubicBezTo>
                  <a:cubicBezTo>
                    <a:pt x="132" y="69"/>
                    <a:pt x="131" y="69"/>
                    <a:pt x="130" y="69"/>
                  </a:cubicBezTo>
                  <a:cubicBezTo>
                    <a:pt x="129" y="69"/>
                    <a:pt x="129" y="68"/>
                    <a:pt x="129" y="68"/>
                  </a:cubicBezTo>
                  <a:cubicBezTo>
                    <a:pt x="128" y="66"/>
                    <a:pt x="131" y="64"/>
                    <a:pt x="133" y="64"/>
                  </a:cubicBezTo>
                  <a:cubicBezTo>
                    <a:pt x="134" y="65"/>
                    <a:pt x="135" y="65"/>
                    <a:pt x="136" y="66"/>
                  </a:cubicBezTo>
                  <a:cubicBezTo>
                    <a:pt x="138" y="67"/>
                    <a:pt x="139" y="67"/>
                    <a:pt x="141" y="67"/>
                  </a:cubicBezTo>
                  <a:cubicBezTo>
                    <a:pt x="141" y="65"/>
                    <a:pt x="140" y="62"/>
                    <a:pt x="142" y="62"/>
                  </a:cubicBezTo>
                  <a:cubicBezTo>
                    <a:pt x="143" y="62"/>
                    <a:pt x="145" y="63"/>
                    <a:pt x="146" y="62"/>
                  </a:cubicBezTo>
                  <a:cubicBezTo>
                    <a:pt x="146" y="61"/>
                    <a:pt x="145" y="60"/>
                    <a:pt x="146" y="60"/>
                  </a:cubicBezTo>
                  <a:cubicBezTo>
                    <a:pt x="147" y="59"/>
                    <a:pt x="148" y="59"/>
                    <a:pt x="148" y="59"/>
                  </a:cubicBezTo>
                  <a:cubicBezTo>
                    <a:pt x="149" y="58"/>
                    <a:pt x="149" y="58"/>
                    <a:pt x="149" y="57"/>
                  </a:cubicBezTo>
                  <a:cubicBezTo>
                    <a:pt x="150" y="55"/>
                    <a:pt x="148" y="52"/>
                    <a:pt x="147" y="5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8" name="Freeform 29">
              <a:extLst>
                <a:ext uri="{FF2B5EF4-FFF2-40B4-BE49-F238E27FC236}">
                  <a16:creationId xmlns:a16="http://schemas.microsoft.com/office/drawing/2014/main" id="{37BC89EF-F7E2-4FDC-B7CC-A1E99452F0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7650" y="5132388"/>
              <a:ext cx="406400" cy="601663"/>
            </a:xfrm>
            <a:custGeom>
              <a:avLst/>
              <a:gdLst/>
              <a:ahLst/>
              <a:cxnLst>
                <a:cxn ang="0">
                  <a:pos x="53" y="277"/>
                </a:cxn>
                <a:cxn ang="0">
                  <a:pos x="53" y="278"/>
                </a:cxn>
                <a:cxn ang="0">
                  <a:pos x="54" y="276"/>
                </a:cxn>
                <a:cxn ang="0">
                  <a:pos x="58" y="282"/>
                </a:cxn>
                <a:cxn ang="0">
                  <a:pos x="54" y="280"/>
                </a:cxn>
                <a:cxn ang="0">
                  <a:pos x="208" y="236"/>
                </a:cxn>
                <a:cxn ang="0">
                  <a:pos x="200" y="227"/>
                </a:cxn>
                <a:cxn ang="0">
                  <a:pos x="192" y="213"/>
                </a:cxn>
                <a:cxn ang="0">
                  <a:pos x="188" y="190"/>
                </a:cxn>
                <a:cxn ang="0">
                  <a:pos x="201" y="176"/>
                </a:cxn>
                <a:cxn ang="0">
                  <a:pos x="195" y="148"/>
                </a:cxn>
                <a:cxn ang="0">
                  <a:pos x="198" y="139"/>
                </a:cxn>
                <a:cxn ang="0">
                  <a:pos x="183" y="129"/>
                </a:cxn>
                <a:cxn ang="0">
                  <a:pos x="170" y="135"/>
                </a:cxn>
                <a:cxn ang="0">
                  <a:pos x="147" y="122"/>
                </a:cxn>
                <a:cxn ang="0">
                  <a:pos x="137" y="115"/>
                </a:cxn>
                <a:cxn ang="0">
                  <a:pos x="141" y="103"/>
                </a:cxn>
                <a:cxn ang="0">
                  <a:pos x="137" y="90"/>
                </a:cxn>
                <a:cxn ang="0">
                  <a:pos x="137" y="76"/>
                </a:cxn>
                <a:cxn ang="0">
                  <a:pos x="107" y="61"/>
                </a:cxn>
                <a:cxn ang="0">
                  <a:pos x="105" y="40"/>
                </a:cxn>
                <a:cxn ang="0">
                  <a:pos x="95" y="29"/>
                </a:cxn>
                <a:cxn ang="0">
                  <a:pos x="81" y="12"/>
                </a:cxn>
                <a:cxn ang="0">
                  <a:pos x="44" y="0"/>
                </a:cxn>
                <a:cxn ang="0">
                  <a:pos x="26" y="8"/>
                </a:cxn>
                <a:cxn ang="0">
                  <a:pos x="6" y="18"/>
                </a:cxn>
                <a:cxn ang="0">
                  <a:pos x="2" y="31"/>
                </a:cxn>
                <a:cxn ang="0">
                  <a:pos x="2" y="48"/>
                </a:cxn>
                <a:cxn ang="0">
                  <a:pos x="6" y="64"/>
                </a:cxn>
                <a:cxn ang="0">
                  <a:pos x="19" y="82"/>
                </a:cxn>
                <a:cxn ang="0">
                  <a:pos x="23" y="112"/>
                </a:cxn>
                <a:cxn ang="0">
                  <a:pos x="11" y="142"/>
                </a:cxn>
                <a:cxn ang="0">
                  <a:pos x="24" y="151"/>
                </a:cxn>
                <a:cxn ang="0">
                  <a:pos x="24" y="164"/>
                </a:cxn>
                <a:cxn ang="0">
                  <a:pos x="36" y="173"/>
                </a:cxn>
                <a:cxn ang="0">
                  <a:pos x="15" y="176"/>
                </a:cxn>
                <a:cxn ang="0">
                  <a:pos x="28" y="201"/>
                </a:cxn>
                <a:cxn ang="0">
                  <a:pos x="25" y="214"/>
                </a:cxn>
                <a:cxn ang="0">
                  <a:pos x="13" y="212"/>
                </a:cxn>
                <a:cxn ang="0">
                  <a:pos x="22" y="223"/>
                </a:cxn>
                <a:cxn ang="0">
                  <a:pos x="36" y="241"/>
                </a:cxn>
                <a:cxn ang="0">
                  <a:pos x="51" y="247"/>
                </a:cxn>
                <a:cxn ang="0">
                  <a:pos x="60" y="258"/>
                </a:cxn>
                <a:cxn ang="0">
                  <a:pos x="72" y="270"/>
                </a:cxn>
                <a:cxn ang="0">
                  <a:pos x="82" y="262"/>
                </a:cxn>
                <a:cxn ang="0">
                  <a:pos x="93" y="244"/>
                </a:cxn>
                <a:cxn ang="0">
                  <a:pos x="105" y="245"/>
                </a:cxn>
                <a:cxn ang="0">
                  <a:pos x="117" y="255"/>
                </a:cxn>
                <a:cxn ang="0">
                  <a:pos x="131" y="272"/>
                </a:cxn>
                <a:cxn ang="0">
                  <a:pos x="151" y="289"/>
                </a:cxn>
                <a:cxn ang="0">
                  <a:pos x="143" y="305"/>
                </a:cxn>
                <a:cxn ang="0">
                  <a:pos x="138" y="321"/>
                </a:cxn>
                <a:cxn ang="0">
                  <a:pos x="159" y="316"/>
                </a:cxn>
                <a:cxn ang="0">
                  <a:pos x="174" y="312"/>
                </a:cxn>
                <a:cxn ang="0">
                  <a:pos x="190" y="299"/>
                </a:cxn>
                <a:cxn ang="0">
                  <a:pos x="187" y="276"/>
                </a:cxn>
                <a:cxn ang="0">
                  <a:pos x="202" y="269"/>
                </a:cxn>
              </a:cxnLst>
              <a:rect l="0" t="0" r="r" b="b"/>
              <a:pathLst>
                <a:path w="218" h="322">
                  <a:moveTo>
                    <a:pt x="53" y="277"/>
                  </a:move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6"/>
                  </a:cubicBezTo>
                  <a:cubicBezTo>
                    <a:pt x="53" y="277"/>
                    <a:pt x="53" y="277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cubicBezTo>
                    <a:pt x="53" y="278"/>
                    <a:pt x="53" y="278"/>
                    <a:pt x="53" y="278"/>
                  </a:cubicBezTo>
                  <a:cubicBezTo>
                    <a:pt x="53" y="278"/>
                    <a:pt x="53" y="277"/>
                    <a:pt x="53" y="277"/>
                  </a:cubicBezTo>
                  <a:moveTo>
                    <a:pt x="53" y="278"/>
                  </a:moveTo>
                  <a:cubicBezTo>
                    <a:pt x="53" y="278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moveTo>
                    <a:pt x="54" y="276"/>
                  </a:moveTo>
                  <a:cubicBezTo>
                    <a:pt x="54" y="276"/>
                    <a:pt x="54" y="276"/>
                    <a:pt x="54" y="276"/>
                  </a:cubicBezTo>
                  <a:cubicBezTo>
                    <a:pt x="55" y="275"/>
                    <a:pt x="56" y="275"/>
                    <a:pt x="56" y="275"/>
                  </a:cubicBezTo>
                  <a:cubicBezTo>
                    <a:pt x="55" y="275"/>
                    <a:pt x="54" y="276"/>
                    <a:pt x="54" y="276"/>
                  </a:cubicBezTo>
                  <a:moveTo>
                    <a:pt x="58" y="282"/>
                  </a:moveTo>
                  <a:cubicBezTo>
                    <a:pt x="58" y="283"/>
                    <a:pt x="59" y="284"/>
                    <a:pt x="59" y="285"/>
                  </a:cubicBezTo>
                  <a:cubicBezTo>
                    <a:pt x="59" y="284"/>
                    <a:pt x="58" y="283"/>
                    <a:pt x="58" y="282"/>
                  </a:cubicBezTo>
                  <a:moveTo>
                    <a:pt x="56" y="275"/>
                  </a:moveTo>
                  <a:cubicBezTo>
                    <a:pt x="57" y="275"/>
                    <a:pt x="57" y="275"/>
                    <a:pt x="57" y="275"/>
                  </a:cubicBezTo>
                  <a:cubicBezTo>
                    <a:pt x="57" y="275"/>
                    <a:pt x="57" y="275"/>
                    <a:pt x="56" y="275"/>
                  </a:cubicBezTo>
                  <a:moveTo>
                    <a:pt x="54" y="280"/>
                  </a:moveTo>
                  <a:cubicBezTo>
                    <a:pt x="54" y="280"/>
                    <a:pt x="54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moveTo>
                    <a:pt x="217" y="248"/>
                  </a:moveTo>
                  <a:cubicBezTo>
                    <a:pt x="217" y="248"/>
                    <a:pt x="216" y="248"/>
                    <a:pt x="216" y="247"/>
                  </a:cubicBezTo>
                  <a:cubicBezTo>
                    <a:pt x="216" y="247"/>
                    <a:pt x="215" y="246"/>
                    <a:pt x="215" y="246"/>
                  </a:cubicBezTo>
                  <a:cubicBezTo>
                    <a:pt x="215" y="245"/>
                    <a:pt x="214" y="244"/>
                    <a:pt x="213" y="243"/>
                  </a:cubicBezTo>
                  <a:cubicBezTo>
                    <a:pt x="212" y="242"/>
                    <a:pt x="210" y="240"/>
                    <a:pt x="210" y="238"/>
                  </a:cubicBezTo>
                  <a:cubicBezTo>
                    <a:pt x="210" y="237"/>
                    <a:pt x="209" y="237"/>
                    <a:pt x="208" y="236"/>
                  </a:cubicBezTo>
                  <a:cubicBezTo>
                    <a:pt x="207" y="235"/>
                    <a:pt x="207" y="234"/>
                    <a:pt x="206" y="233"/>
                  </a:cubicBezTo>
                  <a:cubicBezTo>
                    <a:pt x="205" y="232"/>
                    <a:pt x="205" y="231"/>
                    <a:pt x="203" y="231"/>
                  </a:cubicBezTo>
                  <a:cubicBezTo>
                    <a:pt x="202" y="230"/>
                    <a:pt x="200" y="231"/>
                    <a:pt x="198" y="230"/>
                  </a:cubicBezTo>
                  <a:cubicBezTo>
                    <a:pt x="197" y="230"/>
                    <a:pt x="195" y="230"/>
                    <a:pt x="194" y="230"/>
                  </a:cubicBezTo>
                  <a:cubicBezTo>
                    <a:pt x="193" y="229"/>
                    <a:pt x="193" y="226"/>
                    <a:pt x="194" y="226"/>
                  </a:cubicBezTo>
                  <a:cubicBezTo>
                    <a:pt x="196" y="226"/>
                    <a:pt x="198" y="228"/>
                    <a:pt x="200" y="227"/>
                  </a:cubicBezTo>
                  <a:cubicBezTo>
                    <a:pt x="199" y="225"/>
                    <a:pt x="198" y="224"/>
                    <a:pt x="197" y="222"/>
                  </a:cubicBezTo>
                  <a:cubicBezTo>
                    <a:pt x="196" y="221"/>
                    <a:pt x="196" y="221"/>
                    <a:pt x="195" y="220"/>
                  </a:cubicBezTo>
                  <a:cubicBezTo>
                    <a:pt x="195" y="220"/>
                    <a:pt x="194" y="219"/>
                    <a:pt x="194" y="218"/>
                  </a:cubicBezTo>
                  <a:cubicBezTo>
                    <a:pt x="194" y="218"/>
                    <a:pt x="193" y="217"/>
                    <a:pt x="193" y="216"/>
                  </a:cubicBezTo>
                  <a:cubicBezTo>
                    <a:pt x="193" y="215"/>
                    <a:pt x="193" y="214"/>
                    <a:pt x="193" y="214"/>
                  </a:cubicBezTo>
                  <a:cubicBezTo>
                    <a:pt x="192" y="213"/>
                    <a:pt x="192" y="214"/>
                    <a:pt x="192" y="213"/>
                  </a:cubicBezTo>
                  <a:cubicBezTo>
                    <a:pt x="191" y="212"/>
                    <a:pt x="192" y="210"/>
                    <a:pt x="191" y="210"/>
                  </a:cubicBezTo>
                  <a:cubicBezTo>
                    <a:pt x="191" y="209"/>
                    <a:pt x="191" y="209"/>
                    <a:pt x="190" y="209"/>
                  </a:cubicBezTo>
                  <a:cubicBezTo>
                    <a:pt x="190" y="209"/>
                    <a:pt x="190" y="208"/>
                    <a:pt x="190" y="208"/>
                  </a:cubicBezTo>
                  <a:cubicBezTo>
                    <a:pt x="189" y="207"/>
                    <a:pt x="188" y="205"/>
                    <a:pt x="187" y="203"/>
                  </a:cubicBezTo>
                  <a:cubicBezTo>
                    <a:pt x="187" y="201"/>
                    <a:pt x="187" y="196"/>
                    <a:pt x="187" y="194"/>
                  </a:cubicBezTo>
                  <a:cubicBezTo>
                    <a:pt x="187" y="192"/>
                    <a:pt x="188" y="191"/>
                    <a:pt x="188" y="190"/>
                  </a:cubicBezTo>
                  <a:cubicBezTo>
                    <a:pt x="189" y="189"/>
                    <a:pt x="190" y="189"/>
                    <a:pt x="191" y="187"/>
                  </a:cubicBezTo>
                  <a:cubicBezTo>
                    <a:pt x="191" y="186"/>
                    <a:pt x="191" y="186"/>
                    <a:pt x="191" y="185"/>
                  </a:cubicBezTo>
                  <a:cubicBezTo>
                    <a:pt x="191" y="184"/>
                    <a:pt x="192" y="184"/>
                    <a:pt x="192" y="183"/>
                  </a:cubicBezTo>
                  <a:cubicBezTo>
                    <a:pt x="194" y="181"/>
                    <a:pt x="194" y="178"/>
                    <a:pt x="196" y="177"/>
                  </a:cubicBezTo>
                  <a:cubicBezTo>
                    <a:pt x="196" y="176"/>
                    <a:pt x="198" y="176"/>
                    <a:pt x="198" y="176"/>
                  </a:cubicBezTo>
                  <a:cubicBezTo>
                    <a:pt x="199" y="176"/>
                    <a:pt x="201" y="176"/>
                    <a:pt x="201" y="176"/>
                  </a:cubicBezTo>
                  <a:cubicBezTo>
                    <a:pt x="202" y="175"/>
                    <a:pt x="202" y="174"/>
                    <a:pt x="202" y="173"/>
                  </a:cubicBezTo>
                  <a:cubicBezTo>
                    <a:pt x="202" y="169"/>
                    <a:pt x="202" y="165"/>
                    <a:pt x="202" y="161"/>
                  </a:cubicBezTo>
                  <a:cubicBezTo>
                    <a:pt x="202" y="159"/>
                    <a:pt x="201" y="157"/>
                    <a:pt x="199" y="156"/>
                  </a:cubicBezTo>
                  <a:cubicBezTo>
                    <a:pt x="199" y="155"/>
                    <a:pt x="198" y="154"/>
                    <a:pt x="198" y="154"/>
                  </a:cubicBezTo>
                  <a:cubicBezTo>
                    <a:pt x="197" y="153"/>
                    <a:pt x="196" y="153"/>
                    <a:pt x="195" y="152"/>
                  </a:cubicBezTo>
                  <a:cubicBezTo>
                    <a:pt x="194" y="151"/>
                    <a:pt x="195" y="149"/>
                    <a:pt x="195" y="148"/>
                  </a:cubicBezTo>
                  <a:cubicBezTo>
                    <a:pt x="194" y="148"/>
                    <a:pt x="193" y="147"/>
                    <a:pt x="193" y="146"/>
                  </a:cubicBezTo>
                  <a:cubicBezTo>
                    <a:pt x="193" y="145"/>
                    <a:pt x="192" y="145"/>
                    <a:pt x="192" y="144"/>
                  </a:cubicBezTo>
                  <a:cubicBezTo>
                    <a:pt x="193" y="143"/>
                    <a:pt x="193" y="143"/>
                    <a:pt x="194" y="143"/>
                  </a:cubicBezTo>
                  <a:cubicBezTo>
                    <a:pt x="194" y="142"/>
                    <a:pt x="194" y="142"/>
                    <a:pt x="194" y="141"/>
                  </a:cubicBezTo>
                  <a:cubicBezTo>
                    <a:pt x="194" y="140"/>
                    <a:pt x="196" y="140"/>
                    <a:pt x="196" y="140"/>
                  </a:cubicBezTo>
                  <a:cubicBezTo>
                    <a:pt x="197" y="139"/>
                    <a:pt x="197" y="139"/>
                    <a:pt x="198" y="139"/>
                  </a:cubicBezTo>
                  <a:cubicBezTo>
                    <a:pt x="199" y="138"/>
                    <a:pt x="200" y="138"/>
                    <a:pt x="201" y="137"/>
                  </a:cubicBezTo>
                  <a:cubicBezTo>
                    <a:pt x="204" y="137"/>
                    <a:pt x="207" y="137"/>
                    <a:pt x="208" y="135"/>
                  </a:cubicBezTo>
                  <a:cubicBezTo>
                    <a:pt x="209" y="132"/>
                    <a:pt x="206" y="131"/>
                    <a:pt x="204" y="130"/>
                  </a:cubicBezTo>
                  <a:cubicBezTo>
                    <a:pt x="201" y="128"/>
                    <a:pt x="199" y="128"/>
                    <a:pt x="196" y="126"/>
                  </a:cubicBezTo>
                  <a:cubicBezTo>
                    <a:pt x="193" y="125"/>
                    <a:pt x="191" y="122"/>
                    <a:pt x="188" y="123"/>
                  </a:cubicBezTo>
                  <a:cubicBezTo>
                    <a:pt x="185" y="124"/>
                    <a:pt x="185" y="127"/>
                    <a:pt x="183" y="129"/>
                  </a:cubicBezTo>
                  <a:cubicBezTo>
                    <a:pt x="182" y="129"/>
                    <a:pt x="182" y="130"/>
                    <a:pt x="181" y="131"/>
                  </a:cubicBezTo>
                  <a:cubicBezTo>
                    <a:pt x="181" y="131"/>
                    <a:pt x="181" y="132"/>
                    <a:pt x="180" y="133"/>
                  </a:cubicBezTo>
                  <a:cubicBezTo>
                    <a:pt x="180" y="133"/>
                    <a:pt x="180" y="134"/>
                    <a:pt x="180" y="134"/>
                  </a:cubicBezTo>
                  <a:cubicBezTo>
                    <a:pt x="179" y="136"/>
                    <a:pt x="179" y="135"/>
                    <a:pt x="178" y="136"/>
                  </a:cubicBezTo>
                  <a:cubicBezTo>
                    <a:pt x="176" y="138"/>
                    <a:pt x="175" y="138"/>
                    <a:pt x="172" y="137"/>
                  </a:cubicBezTo>
                  <a:cubicBezTo>
                    <a:pt x="170" y="137"/>
                    <a:pt x="170" y="137"/>
                    <a:pt x="170" y="135"/>
                  </a:cubicBezTo>
                  <a:cubicBezTo>
                    <a:pt x="169" y="135"/>
                    <a:pt x="169" y="133"/>
                    <a:pt x="169" y="133"/>
                  </a:cubicBezTo>
                  <a:cubicBezTo>
                    <a:pt x="168" y="132"/>
                    <a:pt x="167" y="132"/>
                    <a:pt x="166" y="131"/>
                  </a:cubicBezTo>
                  <a:cubicBezTo>
                    <a:pt x="165" y="131"/>
                    <a:pt x="164" y="130"/>
                    <a:pt x="163" y="130"/>
                  </a:cubicBezTo>
                  <a:cubicBezTo>
                    <a:pt x="161" y="128"/>
                    <a:pt x="159" y="126"/>
                    <a:pt x="156" y="125"/>
                  </a:cubicBezTo>
                  <a:cubicBezTo>
                    <a:pt x="153" y="124"/>
                    <a:pt x="150" y="123"/>
                    <a:pt x="147" y="122"/>
                  </a:cubicBezTo>
                  <a:cubicBezTo>
                    <a:pt x="147" y="122"/>
                    <a:pt x="147" y="122"/>
                    <a:pt x="147" y="122"/>
                  </a:cubicBezTo>
                  <a:cubicBezTo>
                    <a:pt x="147" y="122"/>
                    <a:pt x="146" y="122"/>
                    <a:pt x="146" y="122"/>
                  </a:cubicBezTo>
                  <a:cubicBezTo>
                    <a:pt x="145" y="121"/>
                    <a:pt x="144" y="121"/>
                    <a:pt x="143" y="120"/>
                  </a:cubicBezTo>
                  <a:cubicBezTo>
                    <a:pt x="143" y="119"/>
                    <a:pt x="143" y="119"/>
                    <a:pt x="143" y="118"/>
                  </a:cubicBezTo>
                  <a:cubicBezTo>
                    <a:pt x="143" y="118"/>
                    <a:pt x="142" y="117"/>
                    <a:pt x="142" y="117"/>
                  </a:cubicBezTo>
                  <a:cubicBezTo>
                    <a:pt x="142" y="116"/>
                    <a:pt x="142" y="116"/>
                    <a:pt x="141" y="115"/>
                  </a:cubicBezTo>
                  <a:cubicBezTo>
                    <a:pt x="141" y="115"/>
                    <a:pt x="138" y="115"/>
                    <a:pt x="137" y="115"/>
                  </a:cubicBezTo>
                  <a:cubicBezTo>
                    <a:pt x="136" y="115"/>
                    <a:pt x="135" y="115"/>
                    <a:pt x="134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2" y="111"/>
                    <a:pt x="133" y="111"/>
                    <a:pt x="134" y="110"/>
                  </a:cubicBezTo>
                  <a:cubicBezTo>
                    <a:pt x="135" y="109"/>
                    <a:pt x="135" y="108"/>
                    <a:pt x="136" y="108"/>
                  </a:cubicBezTo>
                  <a:cubicBezTo>
                    <a:pt x="138" y="107"/>
                    <a:pt x="140" y="108"/>
                    <a:pt x="141" y="108"/>
                  </a:cubicBezTo>
                  <a:cubicBezTo>
                    <a:pt x="143" y="107"/>
                    <a:pt x="142" y="104"/>
                    <a:pt x="141" y="103"/>
                  </a:cubicBezTo>
                  <a:cubicBezTo>
                    <a:pt x="140" y="102"/>
                    <a:pt x="139" y="101"/>
                    <a:pt x="139" y="101"/>
                  </a:cubicBezTo>
                  <a:cubicBezTo>
                    <a:pt x="138" y="100"/>
                    <a:pt x="136" y="100"/>
                    <a:pt x="135" y="99"/>
                  </a:cubicBezTo>
                  <a:cubicBezTo>
                    <a:pt x="134" y="98"/>
                    <a:pt x="133" y="95"/>
                    <a:pt x="134" y="94"/>
                  </a:cubicBezTo>
                  <a:cubicBezTo>
                    <a:pt x="134" y="93"/>
                    <a:pt x="135" y="93"/>
                    <a:pt x="136" y="92"/>
                  </a:cubicBezTo>
                  <a:cubicBezTo>
                    <a:pt x="136" y="92"/>
                    <a:pt x="136" y="92"/>
                    <a:pt x="136" y="91"/>
                  </a:cubicBezTo>
                  <a:cubicBezTo>
                    <a:pt x="137" y="91"/>
                    <a:pt x="137" y="90"/>
                    <a:pt x="137" y="90"/>
                  </a:cubicBezTo>
                  <a:cubicBezTo>
                    <a:pt x="137" y="88"/>
                    <a:pt x="138" y="88"/>
                    <a:pt x="139" y="87"/>
                  </a:cubicBezTo>
                  <a:cubicBezTo>
                    <a:pt x="140" y="86"/>
                    <a:pt x="141" y="85"/>
                    <a:pt x="141" y="84"/>
                  </a:cubicBezTo>
                  <a:cubicBezTo>
                    <a:pt x="141" y="83"/>
                    <a:pt x="140" y="83"/>
                    <a:pt x="139" y="82"/>
                  </a:cubicBezTo>
                  <a:cubicBezTo>
                    <a:pt x="138" y="81"/>
                    <a:pt x="138" y="80"/>
                    <a:pt x="138" y="79"/>
                  </a:cubicBezTo>
                  <a:cubicBezTo>
                    <a:pt x="139" y="78"/>
                    <a:pt x="140" y="78"/>
                    <a:pt x="139" y="77"/>
                  </a:cubicBezTo>
                  <a:cubicBezTo>
                    <a:pt x="139" y="76"/>
                    <a:pt x="138" y="76"/>
                    <a:pt x="137" y="76"/>
                  </a:cubicBezTo>
                  <a:cubicBezTo>
                    <a:pt x="137" y="75"/>
                    <a:pt x="137" y="75"/>
                    <a:pt x="136" y="74"/>
                  </a:cubicBezTo>
                  <a:cubicBezTo>
                    <a:pt x="135" y="73"/>
                    <a:pt x="134" y="73"/>
                    <a:pt x="133" y="73"/>
                  </a:cubicBezTo>
                  <a:cubicBezTo>
                    <a:pt x="126" y="73"/>
                    <a:pt x="120" y="73"/>
                    <a:pt x="114" y="71"/>
                  </a:cubicBezTo>
                  <a:cubicBezTo>
                    <a:pt x="112" y="70"/>
                    <a:pt x="111" y="69"/>
                    <a:pt x="110" y="68"/>
                  </a:cubicBezTo>
                  <a:cubicBezTo>
                    <a:pt x="110" y="67"/>
                    <a:pt x="110" y="66"/>
                    <a:pt x="110" y="65"/>
                  </a:cubicBezTo>
                  <a:cubicBezTo>
                    <a:pt x="110" y="62"/>
                    <a:pt x="110" y="62"/>
                    <a:pt x="107" y="61"/>
                  </a:cubicBezTo>
                  <a:cubicBezTo>
                    <a:pt x="105" y="61"/>
                    <a:pt x="104" y="61"/>
                    <a:pt x="104" y="59"/>
                  </a:cubicBezTo>
                  <a:cubicBezTo>
                    <a:pt x="103" y="58"/>
                    <a:pt x="103" y="57"/>
                    <a:pt x="103" y="56"/>
                  </a:cubicBezTo>
                  <a:cubicBezTo>
                    <a:pt x="104" y="55"/>
                    <a:pt x="107" y="53"/>
                    <a:pt x="106" y="52"/>
                  </a:cubicBezTo>
                  <a:cubicBezTo>
                    <a:pt x="104" y="52"/>
                    <a:pt x="103" y="48"/>
                    <a:pt x="104" y="46"/>
                  </a:cubicBezTo>
                  <a:cubicBezTo>
                    <a:pt x="104" y="45"/>
                    <a:pt x="105" y="45"/>
                    <a:pt x="105" y="44"/>
                  </a:cubicBezTo>
                  <a:cubicBezTo>
                    <a:pt x="105" y="43"/>
                    <a:pt x="105" y="41"/>
                    <a:pt x="105" y="40"/>
                  </a:cubicBezTo>
                  <a:cubicBezTo>
                    <a:pt x="105" y="38"/>
                    <a:pt x="106" y="35"/>
                    <a:pt x="105" y="33"/>
                  </a:cubicBezTo>
                  <a:cubicBezTo>
                    <a:pt x="104" y="32"/>
                    <a:pt x="103" y="32"/>
                    <a:pt x="102" y="32"/>
                  </a:cubicBezTo>
                  <a:cubicBezTo>
                    <a:pt x="101" y="32"/>
                    <a:pt x="100" y="31"/>
                    <a:pt x="100" y="32"/>
                  </a:cubicBezTo>
                  <a:cubicBezTo>
                    <a:pt x="99" y="32"/>
                    <a:pt x="99" y="33"/>
                    <a:pt x="98" y="33"/>
                  </a:cubicBezTo>
                  <a:cubicBezTo>
                    <a:pt x="97" y="33"/>
                    <a:pt x="96" y="31"/>
                    <a:pt x="96" y="30"/>
                  </a:cubicBezTo>
                  <a:cubicBezTo>
                    <a:pt x="96" y="30"/>
                    <a:pt x="95" y="29"/>
                    <a:pt x="95" y="29"/>
                  </a:cubicBezTo>
                  <a:cubicBezTo>
                    <a:pt x="94" y="28"/>
                    <a:pt x="95" y="28"/>
                    <a:pt x="94" y="27"/>
                  </a:cubicBezTo>
                  <a:cubicBezTo>
                    <a:pt x="94" y="26"/>
                    <a:pt x="93" y="25"/>
                    <a:pt x="92" y="25"/>
                  </a:cubicBezTo>
                  <a:cubicBezTo>
                    <a:pt x="90" y="24"/>
                    <a:pt x="90" y="25"/>
                    <a:pt x="90" y="23"/>
                  </a:cubicBezTo>
                  <a:cubicBezTo>
                    <a:pt x="89" y="20"/>
                    <a:pt x="86" y="20"/>
                    <a:pt x="84" y="19"/>
                  </a:cubicBezTo>
                  <a:cubicBezTo>
                    <a:pt x="83" y="19"/>
                    <a:pt x="82" y="19"/>
                    <a:pt x="82" y="18"/>
                  </a:cubicBezTo>
                  <a:cubicBezTo>
                    <a:pt x="80" y="16"/>
                    <a:pt x="81" y="14"/>
                    <a:pt x="81" y="12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5" y="3"/>
                    <a:pt x="75" y="3"/>
                    <a:pt x="74" y="3"/>
                  </a:cubicBezTo>
                  <a:cubicBezTo>
                    <a:pt x="71" y="3"/>
                    <a:pt x="68" y="1"/>
                    <a:pt x="65" y="1"/>
                  </a:cubicBezTo>
                  <a:cubicBezTo>
                    <a:pt x="61" y="1"/>
                    <a:pt x="59" y="2"/>
                    <a:pt x="56" y="3"/>
                  </a:cubicBezTo>
                  <a:cubicBezTo>
                    <a:pt x="53" y="3"/>
                    <a:pt x="50" y="3"/>
                    <a:pt x="46" y="2"/>
                  </a:cubicBezTo>
                  <a:cubicBezTo>
                    <a:pt x="45" y="2"/>
                    <a:pt x="45" y="1"/>
                    <a:pt x="44" y="0"/>
                  </a:cubicBezTo>
                  <a:cubicBezTo>
                    <a:pt x="43" y="0"/>
                    <a:pt x="41" y="1"/>
                    <a:pt x="40" y="1"/>
                  </a:cubicBezTo>
                  <a:cubicBezTo>
                    <a:pt x="38" y="1"/>
                    <a:pt x="37" y="1"/>
                    <a:pt x="36" y="2"/>
                  </a:cubicBezTo>
                  <a:cubicBezTo>
                    <a:pt x="35" y="2"/>
                    <a:pt x="35" y="3"/>
                    <a:pt x="34" y="3"/>
                  </a:cubicBezTo>
                  <a:cubicBezTo>
                    <a:pt x="34" y="4"/>
                    <a:pt x="34" y="4"/>
                    <a:pt x="33" y="4"/>
                  </a:cubicBezTo>
                  <a:cubicBezTo>
                    <a:pt x="33" y="4"/>
                    <a:pt x="33" y="5"/>
                    <a:pt x="33" y="5"/>
                  </a:cubicBezTo>
                  <a:cubicBezTo>
                    <a:pt x="31" y="7"/>
                    <a:pt x="28" y="7"/>
                    <a:pt x="26" y="8"/>
                  </a:cubicBezTo>
                  <a:cubicBezTo>
                    <a:pt x="25" y="9"/>
                    <a:pt x="24" y="10"/>
                    <a:pt x="23" y="11"/>
                  </a:cubicBezTo>
                  <a:cubicBezTo>
                    <a:pt x="23" y="13"/>
                    <a:pt x="23" y="13"/>
                    <a:pt x="23" y="14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16" y="15"/>
                    <a:pt x="15" y="13"/>
                    <a:pt x="14" y="11"/>
                  </a:cubicBezTo>
                  <a:cubicBezTo>
                    <a:pt x="13" y="11"/>
                    <a:pt x="12" y="10"/>
                    <a:pt x="12" y="9"/>
                  </a:cubicBezTo>
                  <a:cubicBezTo>
                    <a:pt x="9" y="11"/>
                    <a:pt x="7" y="15"/>
                    <a:pt x="6" y="18"/>
                  </a:cubicBezTo>
                  <a:cubicBezTo>
                    <a:pt x="4" y="19"/>
                    <a:pt x="1" y="18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0" y="22"/>
                    <a:pt x="0" y="24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29"/>
                    <a:pt x="1" y="30"/>
                    <a:pt x="1" y="30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1"/>
                    <a:pt x="2" y="32"/>
                    <a:pt x="2" y="32"/>
                  </a:cubicBezTo>
                  <a:cubicBezTo>
                    <a:pt x="2" y="33"/>
                    <a:pt x="2" y="35"/>
                    <a:pt x="2" y="36"/>
                  </a:cubicBezTo>
                  <a:cubicBezTo>
                    <a:pt x="2" y="38"/>
                    <a:pt x="4" y="38"/>
                    <a:pt x="4" y="40"/>
                  </a:cubicBezTo>
                  <a:cubicBezTo>
                    <a:pt x="4" y="41"/>
                    <a:pt x="3" y="41"/>
                    <a:pt x="3" y="42"/>
                  </a:cubicBezTo>
                  <a:cubicBezTo>
                    <a:pt x="3" y="43"/>
                    <a:pt x="2" y="43"/>
                    <a:pt x="2" y="44"/>
                  </a:cubicBezTo>
                  <a:cubicBezTo>
                    <a:pt x="2" y="46"/>
                    <a:pt x="2" y="47"/>
                    <a:pt x="2" y="48"/>
                  </a:cubicBezTo>
                  <a:cubicBezTo>
                    <a:pt x="4" y="49"/>
                    <a:pt x="4" y="48"/>
                    <a:pt x="5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7" y="52"/>
                    <a:pt x="8" y="53"/>
                    <a:pt x="7" y="55"/>
                  </a:cubicBezTo>
                  <a:cubicBezTo>
                    <a:pt x="7" y="55"/>
                    <a:pt x="6" y="55"/>
                    <a:pt x="6" y="56"/>
                  </a:cubicBezTo>
                  <a:cubicBezTo>
                    <a:pt x="6" y="57"/>
                    <a:pt x="7" y="57"/>
                    <a:pt x="8" y="58"/>
                  </a:cubicBezTo>
                  <a:cubicBezTo>
                    <a:pt x="8" y="61"/>
                    <a:pt x="4" y="62"/>
                    <a:pt x="6" y="64"/>
                  </a:cubicBezTo>
                  <a:cubicBezTo>
                    <a:pt x="6" y="65"/>
                    <a:pt x="7" y="66"/>
                    <a:pt x="8" y="66"/>
                  </a:cubicBezTo>
                  <a:cubicBezTo>
                    <a:pt x="10" y="67"/>
                    <a:pt x="13" y="69"/>
                    <a:pt x="17" y="70"/>
                  </a:cubicBezTo>
                  <a:cubicBezTo>
                    <a:pt x="19" y="70"/>
                    <a:pt x="19" y="70"/>
                    <a:pt x="21" y="72"/>
                  </a:cubicBezTo>
                  <a:cubicBezTo>
                    <a:pt x="22" y="73"/>
                    <a:pt x="23" y="75"/>
                    <a:pt x="24" y="76"/>
                  </a:cubicBezTo>
                  <a:cubicBezTo>
                    <a:pt x="25" y="77"/>
                    <a:pt x="26" y="77"/>
                    <a:pt x="26" y="78"/>
                  </a:cubicBezTo>
                  <a:cubicBezTo>
                    <a:pt x="28" y="82"/>
                    <a:pt x="21" y="82"/>
                    <a:pt x="19" y="82"/>
                  </a:cubicBezTo>
                  <a:cubicBezTo>
                    <a:pt x="17" y="83"/>
                    <a:pt x="13" y="84"/>
                    <a:pt x="12" y="86"/>
                  </a:cubicBezTo>
                  <a:cubicBezTo>
                    <a:pt x="11" y="87"/>
                    <a:pt x="12" y="88"/>
                    <a:pt x="12" y="89"/>
                  </a:cubicBezTo>
                  <a:cubicBezTo>
                    <a:pt x="12" y="90"/>
                    <a:pt x="10" y="91"/>
                    <a:pt x="10" y="92"/>
                  </a:cubicBezTo>
                  <a:cubicBezTo>
                    <a:pt x="7" y="94"/>
                    <a:pt x="10" y="96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8" y="104"/>
                    <a:pt x="22" y="109"/>
                    <a:pt x="23" y="112"/>
                  </a:cubicBezTo>
                  <a:cubicBezTo>
                    <a:pt x="21" y="120"/>
                    <a:pt x="21" y="120"/>
                    <a:pt x="21" y="120"/>
                  </a:cubicBezTo>
                  <a:cubicBezTo>
                    <a:pt x="17" y="124"/>
                    <a:pt x="14" y="129"/>
                    <a:pt x="13" y="135"/>
                  </a:cubicBezTo>
                  <a:cubicBezTo>
                    <a:pt x="12" y="136"/>
                    <a:pt x="12" y="136"/>
                    <a:pt x="12" y="137"/>
                  </a:cubicBezTo>
                  <a:cubicBezTo>
                    <a:pt x="11" y="138"/>
                    <a:pt x="11" y="138"/>
                    <a:pt x="11" y="139"/>
                  </a:cubicBezTo>
                  <a:cubicBezTo>
                    <a:pt x="11" y="139"/>
                    <a:pt x="11" y="140"/>
                    <a:pt x="11" y="141"/>
                  </a:cubicBezTo>
                  <a:cubicBezTo>
                    <a:pt x="11" y="141"/>
                    <a:pt x="11" y="142"/>
                    <a:pt x="11" y="142"/>
                  </a:cubicBezTo>
                  <a:cubicBezTo>
                    <a:pt x="11" y="143"/>
                    <a:pt x="12" y="143"/>
                    <a:pt x="13" y="144"/>
                  </a:cubicBezTo>
                  <a:cubicBezTo>
                    <a:pt x="13" y="144"/>
                    <a:pt x="12" y="145"/>
                    <a:pt x="13" y="145"/>
                  </a:cubicBezTo>
                  <a:cubicBezTo>
                    <a:pt x="14" y="145"/>
                    <a:pt x="14" y="146"/>
                    <a:pt x="15" y="146"/>
                  </a:cubicBezTo>
                  <a:cubicBezTo>
                    <a:pt x="16" y="146"/>
                    <a:pt x="18" y="147"/>
                    <a:pt x="19" y="147"/>
                  </a:cubicBezTo>
                  <a:cubicBezTo>
                    <a:pt x="21" y="147"/>
                    <a:pt x="24" y="146"/>
                    <a:pt x="25" y="148"/>
                  </a:cubicBezTo>
                  <a:cubicBezTo>
                    <a:pt x="25" y="149"/>
                    <a:pt x="24" y="150"/>
                    <a:pt x="24" y="151"/>
                  </a:cubicBezTo>
                  <a:cubicBezTo>
                    <a:pt x="24" y="152"/>
                    <a:pt x="24" y="152"/>
                    <a:pt x="24" y="153"/>
                  </a:cubicBezTo>
                  <a:cubicBezTo>
                    <a:pt x="23" y="153"/>
                    <a:pt x="23" y="153"/>
                    <a:pt x="23" y="154"/>
                  </a:cubicBezTo>
                  <a:cubicBezTo>
                    <a:pt x="23" y="154"/>
                    <a:pt x="22" y="154"/>
                    <a:pt x="21" y="154"/>
                  </a:cubicBezTo>
                  <a:cubicBezTo>
                    <a:pt x="20" y="155"/>
                    <a:pt x="20" y="157"/>
                    <a:pt x="20" y="158"/>
                  </a:cubicBezTo>
                  <a:cubicBezTo>
                    <a:pt x="20" y="159"/>
                    <a:pt x="21" y="160"/>
                    <a:pt x="22" y="161"/>
                  </a:cubicBezTo>
                  <a:cubicBezTo>
                    <a:pt x="23" y="162"/>
                    <a:pt x="23" y="163"/>
                    <a:pt x="24" y="164"/>
                  </a:cubicBezTo>
                  <a:cubicBezTo>
                    <a:pt x="24" y="164"/>
                    <a:pt x="24" y="164"/>
                    <a:pt x="24" y="165"/>
                  </a:cubicBezTo>
                  <a:cubicBezTo>
                    <a:pt x="24" y="164"/>
                    <a:pt x="25" y="165"/>
                    <a:pt x="25" y="165"/>
                  </a:cubicBezTo>
                  <a:cubicBezTo>
                    <a:pt x="26" y="166"/>
                    <a:pt x="27" y="167"/>
                    <a:pt x="28" y="167"/>
                  </a:cubicBezTo>
                  <a:cubicBezTo>
                    <a:pt x="29" y="168"/>
                    <a:pt x="31" y="169"/>
                    <a:pt x="32" y="169"/>
                  </a:cubicBezTo>
                  <a:cubicBezTo>
                    <a:pt x="33" y="169"/>
                    <a:pt x="36" y="170"/>
                    <a:pt x="36" y="171"/>
                  </a:cubicBezTo>
                  <a:cubicBezTo>
                    <a:pt x="36" y="171"/>
                    <a:pt x="36" y="173"/>
                    <a:pt x="36" y="173"/>
                  </a:cubicBezTo>
                  <a:cubicBezTo>
                    <a:pt x="36" y="174"/>
                    <a:pt x="36" y="175"/>
                    <a:pt x="36" y="175"/>
                  </a:cubicBezTo>
                  <a:cubicBezTo>
                    <a:pt x="36" y="176"/>
                    <a:pt x="36" y="176"/>
                    <a:pt x="35" y="177"/>
                  </a:cubicBezTo>
                  <a:cubicBezTo>
                    <a:pt x="34" y="178"/>
                    <a:pt x="34" y="178"/>
                    <a:pt x="33" y="179"/>
                  </a:cubicBezTo>
                  <a:cubicBezTo>
                    <a:pt x="32" y="180"/>
                    <a:pt x="29" y="180"/>
                    <a:pt x="27" y="180"/>
                  </a:cubicBezTo>
                  <a:cubicBezTo>
                    <a:pt x="24" y="180"/>
                    <a:pt x="20" y="180"/>
                    <a:pt x="18" y="178"/>
                  </a:cubicBezTo>
                  <a:cubicBezTo>
                    <a:pt x="17" y="178"/>
                    <a:pt x="16" y="177"/>
                    <a:pt x="15" y="176"/>
                  </a:cubicBezTo>
                  <a:cubicBezTo>
                    <a:pt x="14" y="177"/>
                    <a:pt x="13" y="180"/>
                    <a:pt x="14" y="181"/>
                  </a:cubicBezTo>
                  <a:cubicBezTo>
                    <a:pt x="14" y="182"/>
                    <a:pt x="15" y="183"/>
                    <a:pt x="16" y="183"/>
                  </a:cubicBezTo>
                  <a:cubicBezTo>
                    <a:pt x="18" y="184"/>
                    <a:pt x="18" y="183"/>
                    <a:pt x="19" y="185"/>
                  </a:cubicBezTo>
                  <a:cubicBezTo>
                    <a:pt x="20" y="186"/>
                    <a:pt x="20" y="187"/>
                    <a:pt x="21" y="188"/>
                  </a:cubicBezTo>
                  <a:cubicBezTo>
                    <a:pt x="22" y="191"/>
                    <a:pt x="24" y="193"/>
                    <a:pt x="26" y="196"/>
                  </a:cubicBezTo>
                  <a:cubicBezTo>
                    <a:pt x="27" y="198"/>
                    <a:pt x="28" y="199"/>
                    <a:pt x="28" y="201"/>
                  </a:cubicBezTo>
                  <a:cubicBezTo>
                    <a:pt x="28" y="201"/>
                    <a:pt x="28" y="202"/>
                    <a:pt x="28" y="202"/>
                  </a:cubicBezTo>
                  <a:cubicBezTo>
                    <a:pt x="28" y="203"/>
                    <a:pt x="29" y="203"/>
                    <a:pt x="29" y="204"/>
                  </a:cubicBezTo>
                  <a:cubicBezTo>
                    <a:pt x="29" y="205"/>
                    <a:pt x="28" y="206"/>
                    <a:pt x="28" y="208"/>
                  </a:cubicBezTo>
                  <a:cubicBezTo>
                    <a:pt x="28" y="209"/>
                    <a:pt x="28" y="210"/>
                    <a:pt x="28" y="211"/>
                  </a:cubicBezTo>
                  <a:cubicBezTo>
                    <a:pt x="27" y="212"/>
                    <a:pt x="26" y="212"/>
                    <a:pt x="26" y="213"/>
                  </a:cubicBezTo>
                  <a:cubicBezTo>
                    <a:pt x="25" y="214"/>
                    <a:pt x="26" y="214"/>
                    <a:pt x="25" y="214"/>
                  </a:cubicBezTo>
                  <a:cubicBezTo>
                    <a:pt x="24" y="215"/>
                    <a:pt x="24" y="214"/>
                    <a:pt x="23" y="214"/>
                  </a:cubicBezTo>
                  <a:cubicBezTo>
                    <a:pt x="23" y="212"/>
                    <a:pt x="22" y="211"/>
                    <a:pt x="21" y="210"/>
                  </a:cubicBezTo>
                  <a:cubicBezTo>
                    <a:pt x="20" y="209"/>
                    <a:pt x="20" y="207"/>
                    <a:pt x="20" y="207"/>
                  </a:cubicBezTo>
                  <a:cubicBezTo>
                    <a:pt x="19" y="206"/>
                    <a:pt x="17" y="208"/>
                    <a:pt x="16" y="209"/>
                  </a:cubicBezTo>
                  <a:cubicBezTo>
                    <a:pt x="16" y="209"/>
                    <a:pt x="16" y="210"/>
                    <a:pt x="15" y="210"/>
                  </a:cubicBezTo>
                  <a:cubicBezTo>
                    <a:pt x="14" y="211"/>
                    <a:pt x="13" y="211"/>
                    <a:pt x="13" y="212"/>
                  </a:cubicBezTo>
                  <a:cubicBezTo>
                    <a:pt x="13" y="213"/>
                    <a:pt x="13" y="214"/>
                    <a:pt x="12" y="214"/>
                  </a:cubicBezTo>
                  <a:cubicBezTo>
                    <a:pt x="12" y="214"/>
                    <a:pt x="12" y="214"/>
                    <a:pt x="12" y="214"/>
                  </a:cubicBezTo>
                  <a:cubicBezTo>
                    <a:pt x="12" y="215"/>
                    <a:pt x="13" y="216"/>
                    <a:pt x="14" y="217"/>
                  </a:cubicBezTo>
                  <a:cubicBezTo>
                    <a:pt x="14" y="218"/>
                    <a:pt x="14" y="219"/>
                    <a:pt x="16" y="219"/>
                  </a:cubicBezTo>
                  <a:cubicBezTo>
                    <a:pt x="17" y="220"/>
                    <a:pt x="17" y="220"/>
                    <a:pt x="18" y="221"/>
                  </a:cubicBezTo>
                  <a:cubicBezTo>
                    <a:pt x="19" y="222"/>
                    <a:pt x="20" y="222"/>
                    <a:pt x="22" y="223"/>
                  </a:cubicBezTo>
                  <a:cubicBezTo>
                    <a:pt x="23" y="223"/>
                    <a:pt x="23" y="224"/>
                    <a:pt x="24" y="225"/>
                  </a:cubicBezTo>
                  <a:cubicBezTo>
                    <a:pt x="25" y="228"/>
                    <a:pt x="27" y="229"/>
                    <a:pt x="29" y="231"/>
                  </a:cubicBezTo>
                  <a:cubicBezTo>
                    <a:pt x="30" y="232"/>
                    <a:pt x="31" y="233"/>
                    <a:pt x="32" y="234"/>
                  </a:cubicBezTo>
                  <a:cubicBezTo>
                    <a:pt x="30" y="234"/>
                    <a:pt x="30" y="234"/>
                    <a:pt x="30" y="234"/>
                  </a:cubicBezTo>
                  <a:cubicBezTo>
                    <a:pt x="30" y="236"/>
                    <a:pt x="32" y="238"/>
                    <a:pt x="34" y="239"/>
                  </a:cubicBezTo>
                  <a:cubicBezTo>
                    <a:pt x="35" y="240"/>
                    <a:pt x="36" y="240"/>
                    <a:pt x="36" y="241"/>
                  </a:cubicBezTo>
                  <a:cubicBezTo>
                    <a:pt x="37" y="241"/>
                    <a:pt x="37" y="242"/>
                    <a:pt x="38" y="242"/>
                  </a:cubicBezTo>
                  <a:cubicBezTo>
                    <a:pt x="39" y="242"/>
                    <a:pt x="39" y="242"/>
                    <a:pt x="40" y="242"/>
                  </a:cubicBezTo>
                  <a:cubicBezTo>
                    <a:pt x="40" y="243"/>
                    <a:pt x="40" y="243"/>
                    <a:pt x="40" y="244"/>
                  </a:cubicBezTo>
                  <a:cubicBezTo>
                    <a:pt x="41" y="244"/>
                    <a:pt x="41" y="245"/>
                    <a:pt x="42" y="245"/>
                  </a:cubicBezTo>
                  <a:cubicBezTo>
                    <a:pt x="43" y="246"/>
                    <a:pt x="44" y="247"/>
                    <a:pt x="45" y="247"/>
                  </a:cubicBezTo>
                  <a:cubicBezTo>
                    <a:pt x="47" y="248"/>
                    <a:pt x="49" y="247"/>
                    <a:pt x="51" y="247"/>
                  </a:cubicBezTo>
                  <a:cubicBezTo>
                    <a:pt x="52" y="247"/>
                    <a:pt x="53" y="247"/>
                    <a:pt x="54" y="249"/>
                  </a:cubicBezTo>
                  <a:cubicBezTo>
                    <a:pt x="54" y="250"/>
                    <a:pt x="54" y="251"/>
                    <a:pt x="56" y="251"/>
                  </a:cubicBezTo>
                  <a:cubicBezTo>
                    <a:pt x="56" y="252"/>
                    <a:pt x="57" y="252"/>
                    <a:pt x="57" y="253"/>
                  </a:cubicBezTo>
                  <a:cubicBezTo>
                    <a:pt x="58" y="253"/>
                    <a:pt x="58" y="254"/>
                    <a:pt x="59" y="254"/>
                  </a:cubicBezTo>
                  <a:cubicBezTo>
                    <a:pt x="59" y="255"/>
                    <a:pt x="59" y="255"/>
                    <a:pt x="59" y="256"/>
                  </a:cubicBezTo>
                  <a:cubicBezTo>
                    <a:pt x="59" y="257"/>
                    <a:pt x="59" y="257"/>
                    <a:pt x="60" y="258"/>
                  </a:cubicBezTo>
                  <a:cubicBezTo>
                    <a:pt x="60" y="259"/>
                    <a:pt x="64" y="258"/>
                    <a:pt x="65" y="258"/>
                  </a:cubicBezTo>
                  <a:cubicBezTo>
                    <a:pt x="66" y="258"/>
                    <a:pt x="68" y="257"/>
                    <a:pt x="69" y="258"/>
                  </a:cubicBezTo>
                  <a:cubicBezTo>
                    <a:pt x="70" y="258"/>
                    <a:pt x="69" y="260"/>
                    <a:pt x="70" y="260"/>
                  </a:cubicBezTo>
                  <a:cubicBezTo>
                    <a:pt x="70" y="261"/>
                    <a:pt x="70" y="262"/>
                    <a:pt x="71" y="262"/>
                  </a:cubicBezTo>
                  <a:cubicBezTo>
                    <a:pt x="72" y="263"/>
                    <a:pt x="74" y="266"/>
                    <a:pt x="73" y="268"/>
                  </a:cubicBezTo>
                  <a:cubicBezTo>
                    <a:pt x="73" y="269"/>
                    <a:pt x="73" y="269"/>
                    <a:pt x="72" y="270"/>
                  </a:cubicBezTo>
                  <a:cubicBezTo>
                    <a:pt x="72" y="270"/>
                    <a:pt x="72" y="270"/>
                    <a:pt x="72" y="270"/>
                  </a:cubicBezTo>
                  <a:cubicBezTo>
                    <a:pt x="73" y="270"/>
                    <a:pt x="75" y="271"/>
                    <a:pt x="75" y="270"/>
                  </a:cubicBezTo>
                  <a:cubicBezTo>
                    <a:pt x="76" y="270"/>
                    <a:pt x="77" y="269"/>
                    <a:pt x="77" y="268"/>
                  </a:cubicBezTo>
                  <a:cubicBezTo>
                    <a:pt x="78" y="268"/>
                    <a:pt x="78" y="267"/>
                    <a:pt x="79" y="266"/>
                  </a:cubicBezTo>
                  <a:cubicBezTo>
                    <a:pt x="80" y="265"/>
                    <a:pt x="81" y="266"/>
                    <a:pt x="82" y="264"/>
                  </a:cubicBezTo>
                  <a:cubicBezTo>
                    <a:pt x="82" y="263"/>
                    <a:pt x="82" y="262"/>
                    <a:pt x="82" y="262"/>
                  </a:cubicBezTo>
                  <a:cubicBezTo>
                    <a:pt x="82" y="259"/>
                    <a:pt x="84" y="258"/>
                    <a:pt x="86" y="257"/>
                  </a:cubicBezTo>
                  <a:cubicBezTo>
                    <a:pt x="86" y="256"/>
                    <a:pt x="87" y="256"/>
                    <a:pt x="88" y="256"/>
                  </a:cubicBezTo>
                  <a:cubicBezTo>
                    <a:pt x="88" y="256"/>
                    <a:pt x="88" y="255"/>
                    <a:pt x="88" y="255"/>
                  </a:cubicBezTo>
                  <a:cubicBezTo>
                    <a:pt x="88" y="254"/>
                    <a:pt x="89" y="253"/>
                    <a:pt x="90" y="252"/>
                  </a:cubicBezTo>
                  <a:cubicBezTo>
                    <a:pt x="91" y="251"/>
                    <a:pt x="92" y="251"/>
                    <a:pt x="93" y="249"/>
                  </a:cubicBezTo>
                  <a:cubicBezTo>
                    <a:pt x="93" y="248"/>
                    <a:pt x="93" y="246"/>
                    <a:pt x="93" y="244"/>
                  </a:cubicBezTo>
                  <a:cubicBezTo>
                    <a:pt x="93" y="241"/>
                    <a:pt x="93" y="239"/>
                    <a:pt x="95" y="236"/>
                  </a:cubicBezTo>
                  <a:cubicBezTo>
                    <a:pt x="96" y="235"/>
                    <a:pt x="97" y="232"/>
                    <a:pt x="98" y="234"/>
                  </a:cubicBezTo>
                  <a:cubicBezTo>
                    <a:pt x="99" y="236"/>
                    <a:pt x="98" y="236"/>
                    <a:pt x="97" y="236"/>
                  </a:cubicBezTo>
                  <a:cubicBezTo>
                    <a:pt x="96" y="237"/>
                    <a:pt x="96" y="236"/>
                    <a:pt x="96" y="238"/>
                  </a:cubicBezTo>
                  <a:cubicBezTo>
                    <a:pt x="96" y="241"/>
                    <a:pt x="99" y="244"/>
                    <a:pt x="100" y="247"/>
                  </a:cubicBezTo>
                  <a:cubicBezTo>
                    <a:pt x="102" y="247"/>
                    <a:pt x="103" y="245"/>
                    <a:pt x="105" y="245"/>
                  </a:cubicBezTo>
                  <a:cubicBezTo>
                    <a:pt x="106" y="244"/>
                    <a:pt x="107" y="244"/>
                    <a:pt x="107" y="243"/>
                  </a:cubicBezTo>
                  <a:cubicBezTo>
                    <a:pt x="108" y="242"/>
                    <a:pt x="107" y="241"/>
                    <a:pt x="108" y="241"/>
                  </a:cubicBezTo>
                  <a:cubicBezTo>
                    <a:pt x="108" y="240"/>
                    <a:pt x="110" y="240"/>
                    <a:pt x="111" y="240"/>
                  </a:cubicBezTo>
                  <a:cubicBezTo>
                    <a:pt x="113" y="242"/>
                    <a:pt x="112" y="243"/>
                    <a:pt x="112" y="245"/>
                  </a:cubicBezTo>
                  <a:cubicBezTo>
                    <a:pt x="115" y="250"/>
                    <a:pt x="115" y="250"/>
                    <a:pt x="115" y="250"/>
                  </a:cubicBezTo>
                  <a:cubicBezTo>
                    <a:pt x="115" y="252"/>
                    <a:pt x="116" y="253"/>
                    <a:pt x="117" y="255"/>
                  </a:cubicBezTo>
                  <a:cubicBezTo>
                    <a:pt x="117" y="257"/>
                    <a:pt x="116" y="258"/>
                    <a:pt x="118" y="260"/>
                  </a:cubicBezTo>
                  <a:cubicBezTo>
                    <a:pt x="119" y="261"/>
                    <a:pt x="122" y="261"/>
                    <a:pt x="124" y="263"/>
                  </a:cubicBezTo>
                  <a:cubicBezTo>
                    <a:pt x="124" y="265"/>
                    <a:pt x="124" y="265"/>
                    <a:pt x="125" y="266"/>
                  </a:cubicBezTo>
                  <a:cubicBezTo>
                    <a:pt x="126" y="267"/>
                    <a:pt x="126" y="267"/>
                    <a:pt x="127" y="268"/>
                  </a:cubicBezTo>
                  <a:cubicBezTo>
                    <a:pt x="128" y="267"/>
                    <a:pt x="130" y="267"/>
                    <a:pt x="132" y="267"/>
                  </a:cubicBezTo>
                  <a:cubicBezTo>
                    <a:pt x="132" y="269"/>
                    <a:pt x="131" y="271"/>
                    <a:pt x="131" y="272"/>
                  </a:cubicBezTo>
                  <a:cubicBezTo>
                    <a:pt x="131" y="274"/>
                    <a:pt x="131" y="276"/>
                    <a:pt x="131" y="278"/>
                  </a:cubicBezTo>
                  <a:cubicBezTo>
                    <a:pt x="134" y="278"/>
                    <a:pt x="134" y="282"/>
                    <a:pt x="136" y="282"/>
                  </a:cubicBezTo>
                  <a:cubicBezTo>
                    <a:pt x="140" y="274"/>
                    <a:pt x="143" y="288"/>
                    <a:pt x="147" y="287"/>
                  </a:cubicBezTo>
                  <a:cubicBezTo>
                    <a:pt x="148" y="287"/>
                    <a:pt x="149" y="285"/>
                    <a:pt x="150" y="286"/>
                  </a:cubicBezTo>
                  <a:cubicBezTo>
                    <a:pt x="151" y="286"/>
                    <a:pt x="152" y="287"/>
                    <a:pt x="152" y="287"/>
                  </a:cubicBezTo>
                  <a:cubicBezTo>
                    <a:pt x="153" y="288"/>
                    <a:pt x="152" y="288"/>
                    <a:pt x="151" y="289"/>
                  </a:cubicBezTo>
                  <a:cubicBezTo>
                    <a:pt x="150" y="290"/>
                    <a:pt x="150" y="291"/>
                    <a:pt x="149" y="292"/>
                  </a:cubicBezTo>
                  <a:cubicBezTo>
                    <a:pt x="148" y="293"/>
                    <a:pt x="146" y="294"/>
                    <a:pt x="146" y="296"/>
                  </a:cubicBezTo>
                  <a:cubicBezTo>
                    <a:pt x="146" y="297"/>
                    <a:pt x="147" y="300"/>
                    <a:pt x="146" y="302"/>
                  </a:cubicBezTo>
                  <a:cubicBezTo>
                    <a:pt x="146" y="302"/>
                    <a:pt x="146" y="302"/>
                    <a:pt x="146" y="302"/>
                  </a:cubicBezTo>
                  <a:cubicBezTo>
                    <a:pt x="146" y="302"/>
                    <a:pt x="145" y="304"/>
                    <a:pt x="145" y="304"/>
                  </a:cubicBezTo>
                  <a:cubicBezTo>
                    <a:pt x="144" y="304"/>
                    <a:pt x="143" y="304"/>
                    <a:pt x="143" y="305"/>
                  </a:cubicBezTo>
                  <a:cubicBezTo>
                    <a:pt x="142" y="306"/>
                    <a:pt x="142" y="307"/>
                    <a:pt x="142" y="308"/>
                  </a:cubicBezTo>
                  <a:cubicBezTo>
                    <a:pt x="142" y="308"/>
                    <a:pt x="141" y="309"/>
                    <a:pt x="140" y="309"/>
                  </a:cubicBezTo>
                  <a:cubicBezTo>
                    <a:pt x="139" y="311"/>
                    <a:pt x="135" y="313"/>
                    <a:pt x="135" y="316"/>
                  </a:cubicBezTo>
                  <a:cubicBezTo>
                    <a:pt x="136" y="317"/>
                    <a:pt x="137" y="318"/>
                    <a:pt x="137" y="319"/>
                  </a:cubicBezTo>
                  <a:cubicBezTo>
                    <a:pt x="138" y="319"/>
                    <a:pt x="138" y="319"/>
                    <a:pt x="138" y="320"/>
                  </a:cubicBezTo>
                  <a:cubicBezTo>
                    <a:pt x="138" y="320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40" y="322"/>
                    <a:pt x="144" y="322"/>
                    <a:pt x="146" y="321"/>
                  </a:cubicBezTo>
                  <a:cubicBezTo>
                    <a:pt x="148" y="320"/>
                    <a:pt x="148" y="320"/>
                    <a:pt x="149" y="318"/>
                  </a:cubicBezTo>
                  <a:cubicBezTo>
                    <a:pt x="149" y="318"/>
                    <a:pt x="149" y="317"/>
                    <a:pt x="150" y="316"/>
                  </a:cubicBezTo>
                  <a:cubicBezTo>
                    <a:pt x="151" y="315"/>
                    <a:pt x="153" y="315"/>
                    <a:pt x="155" y="314"/>
                  </a:cubicBezTo>
                  <a:cubicBezTo>
                    <a:pt x="157" y="313"/>
                    <a:pt x="158" y="314"/>
                    <a:pt x="159" y="316"/>
                  </a:cubicBezTo>
                  <a:cubicBezTo>
                    <a:pt x="160" y="317"/>
                    <a:pt x="159" y="317"/>
                    <a:pt x="160" y="317"/>
                  </a:cubicBezTo>
                  <a:cubicBezTo>
                    <a:pt x="161" y="318"/>
                    <a:pt x="162" y="318"/>
                    <a:pt x="163" y="319"/>
                  </a:cubicBezTo>
                  <a:cubicBezTo>
                    <a:pt x="164" y="319"/>
                    <a:pt x="163" y="320"/>
                    <a:pt x="165" y="319"/>
                  </a:cubicBezTo>
                  <a:cubicBezTo>
                    <a:pt x="165" y="319"/>
                    <a:pt x="166" y="319"/>
                    <a:pt x="167" y="318"/>
                  </a:cubicBezTo>
                  <a:cubicBezTo>
                    <a:pt x="168" y="317"/>
                    <a:pt x="168" y="315"/>
                    <a:pt x="170" y="314"/>
                  </a:cubicBezTo>
                  <a:cubicBezTo>
                    <a:pt x="171" y="313"/>
                    <a:pt x="172" y="313"/>
                    <a:pt x="174" y="312"/>
                  </a:cubicBezTo>
                  <a:cubicBezTo>
                    <a:pt x="178" y="310"/>
                    <a:pt x="181" y="314"/>
                    <a:pt x="184" y="316"/>
                  </a:cubicBezTo>
                  <a:cubicBezTo>
                    <a:pt x="186" y="317"/>
                    <a:pt x="190" y="317"/>
                    <a:pt x="193" y="315"/>
                  </a:cubicBezTo>
                  <a:cubicBezTo>
                    <a:pt x="194" y="314"/>
                    <a:pt x="195" y="312"/>
                    <a:pt x="195" y="311"/>
                  </a:cubicBezTo>
                  <a:cubicBezTo>
                    <a:pt x="195" y="309"/>
                    <a:pt x="195" y="309"/>
                    <a:pt x="194" y="307"/>
                  </a:cubicBezTo>
                  <a:cubicBezTo>
                    <a:pt x="193" y="306"/>
                    <a:pt x="193" y="304"/>
                    <a:pt x="193" y="303"/>
                  </a:cubicBezTo>
                  <a:cubicBezTo>
                    <a:pt x="192" y="301"/>
                    <a:pt x="191" y="301"/>
                    <a:pt x="190" y="299"/>
                  </a:cubicBezTo>
                  <a:cubicBezTo>
                    <a:pt x="190" y="297"/>
                    <a:pt x="190" y="298"/>
                    <a:pt x="189" y="297"/>
                  </a:cubicBezTo>
                  <a:cubicBezTo>
                    <a:pt x="188" y="296"/>
                    <a:pt x="188" y="296"/>
                    <a:pt x="187" y="295"/>
                  </a:cubicBezTo>
                  <a:cubicBezTo>
                    <a:pt x="186" y="293"/>
                    <a:pt x="186" y="293"/>
                    <a:pt x="186" y="290"/>
                  </a:cubicBezTo>
                  <a:cubicBezTo>
                    <a:pt x="186" y="288"/>
                    <a:pt x="187" y="287"/>
                    <a:pt x="187" y="285"/>
                  </a:cubicBezTo>
                  <a:cubicBezTo>
                    <a:pt x="188" y="283"/>
                    <a:pt x="189" y="281"/>
                    <a:pt x="188" y="279"/>
                  </a:cubicBezTo>
                  <a:cubicBezTo>
                    <a:pt x="188" y="278"/>
                    <a:pt x="187" y="277"/>
                    <a:pt x="187" y="276"/>
                  </a:cubicBezTo>
                  <a:cubicBezTo>
                    <a:pt x="187" y="275"/>
                    <a:pt x="187" y="273"/>
                    <a:pt x="187" y="272"/>
                  </a:cubicBezTo>
                  <a:cubicBezTo>
                    <a:pt x="188" y="271"/>
                    <a:pt x="192" y="270"/>
                    <a:pt x="193" y="270"/>
                  </a:cubicBezTo>
                  <a:cubicBezTo>
                    <a:pt x="194" y="270"/>
                    <a:pt x="195" y="270"/>
                    <a:pt x="196" y="270"/>
                  </a:cubicBezTo>
                  <a:cubicBezTo>
                    <a:pt x="197" y="270"/>
                    <a:pt x="197" y="271"/>
                    <a:pt x="198" y="271"/>
                  </a:cubicBezTo>
                  <a:cubicBezTo>
                    <a:pt x="199" y="270"/>
                    <a:pt x="199" y="270"/>
                    <a:pt x="200" y="270"/>
                  </a:cubicBezTo>
                  <a:cubicBezTo>
                    <a:pt x="201" y="269"/>
                    <a:pt x="201" y="270"/>
                    <a:pt x="202" y="269"/>
                  </a:cubicBezTo>
                  <a:cubicBezTo>
                    <a:pt x="202" y="269"/>
                    <a:pt x="204" y="268"/>
                    <a:pt x="205" y="267"/>
                  </a:cubicBezTo>
                  <a:cubicBezTo>
                    <a:pt x="205" y="267"/>
                    <a:pt x="205" y="265"/>
                    <a:pt x="205" y="264"/>
                  </a:cubicBezTo>
                  <a:cubicBezTo>
                    <a:pt x="206" y="262"/>
                    <a:pt x="206" y="260"/>
                    <a:pt x="208" y="258"/>
                  </a:cubicBezTo>
                  <a:cubicBezTo>
                    <a:pt x="210" y="256"/>
                    <a:pt x="213" y="256"/>
                    <a:pt x="214" y="254"/>
                  </a:cubicBezTo>
                  <a:cubicBezTo>
                    <a:pt x="215" y="253"/>
                    <a:pt x="218" y="251"/>
                    <a:pt x="217" y="248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9" name="Freeform 30">
              <a:extLst>
                <a:ext uri="{FF2B5EF4-FFF2-40B4-BE49-F238E27FC236}">
                  <a16:creationId xmlns:a16="http://schemas.microsoft.com/office/drawing/2014/main" id="{E222C837-A4C2-4529-8105-795530358C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6075" y="5565775"/>
              <a:ext cx="187325" cy="219075"/>
            </a:xfrm>
            <a:custGeom>
              <a:avLst/>
              <a:gdLst/>
              <a:ahLst/>
              <a:cxnLst>
                <a:cxn ang="0">
                  <a:pos x="1" y="48"/>
                </a:cxn>
                <a:cxn ang="0">
                  <a:pos x="1" y="48"/>
                </a:cxn>
                <a:cxn ang="0">
                  <a:pos x="1" y="48"/>
                </a:cxn>
                <a:cxn ang="0">
                  <a:pos x="78" y="46"/>
                </a:cxn>
                <a:cxn ang="0">
                  <a:pos x="79" y="35"/>
                </a:cxn>
                <a:cxn ang="0">
                  <a:pos x="72" y="34"/>
                </a:cxn>
                <a:cxn ang="0">
                  <a:pos x="65" y="28"/>
                </a:cxn>
                <a:cxn ang="0">
                  <a:pos x="62" y="18"/>
                </a:cxn>
                <a:cxn ang="0">
                  <a:pos x="58" y="8"/>
                </a:cxn>
                <a:cxn ang="0">
                  <a:pos x="54" y="11"/>
                </a:cxn>
                <a:cxn ang="0">
                  <a:pos x="47" y="15"/>
                </a:cxn>
                <a:cxn ang="0">
                  <a:pos x="44" y="4"/>
                </a:cxn>
                <a:cxn ang="0">
                  <a:pos x="42" y="4"/>
                </a:cxn>
                <a:cxn ang="0">
                  <a:pos x="40" y="17"/>
                </a:cxn>
                <a:cxn ang="0">
                  <a:pos x="35" y="23"/>
                </a:cxn>
                <a:cxn ang="0">
                  <a:pos x="33" y="25"/>
                </a:cxn>
                <a:cxn ang="0">
                  <a:pos x="29" y="32"/>
                </a:cxn>
                <a:cxn ang="0">
                  <a:pos x="24" y="36"/>
                </a:cxn>
                <a:cxn ang="0">
                  <a:pos x="19" y="38"/>
                </a:cxn>
                <a:cxn ang="0">
                  <a:pos x="17" y="39"/>
                </a:cxn>
                <a:cxn ang="0">
                  <a:pos x="13" y="41"/>
                </a:cxn>
                <a:cxn ang="0">
                  <a:pos x="7" y="45"/>
                </a:cxn>
                <a:cxn ang="0">
                  <a:pos x="1" y="44"/>
                </a:cxn>
                <a:cxn ang="0">
                  <a:pos x="0" y="44"/>
                </a:cxn>
                <a:cxn ang="0">
                  <a:pos x="0" y="46"/>
                </a:cxn>
                <a:cxn ang="0">
                  <a:pos x="0" y="45"/>
                </a:cxn>
                <a:cxn ang="0">
                  <a:pos x="0" y="47"/>
                </a:cxn>
                <a:cxn ang="0">
                  <a:pos x="1" y="48"/>
                </a:cxn>
                <a:cxn ang="0">
                  <a:pos x="2" y="48"/>
                </a:cxn>
                <a:cxn ang="0">
                  <a:pos x="3" y="49"/>
                </a:cxn>
                <a:cxn ang="0">
                  <a:pos x="5" y="55"/>
                </a:cxn>
                <a:cxn ang="0">
                  <a:pos x="8" y="62"/>
                </a:cxn>
                <a:cxn ang="0">
                  <a:pos x="17" y="67"/>
                </a:cxn>
                <a:cxn ang="0">
                  <a:pos x="22" y="74"/>
                </a:cxn>
                <a:cxn ang="0">
                  <a:pos x="25" y="82"/>
                </a:cxn>
                <a:cxn ang="0">
                  <a:pos x="27" y="88"/>
                </a:cxn>
                <a:cxn ang="0">
                  <a:pos x="30" y="99"/>
                </a:cxn>
                <a:cxn ang="0">
                  <a:pos x="30" y="114"/>
                </a:cxn>
                <a:cxn ang="0">
                  <a:pos x="34" y="115"/>
                </a:cxn>
                <a:cxn ang="0">
                  <a:pos x="40" y="111"/>
                </a:cxn>
                <a:cxn ang="0">
                  <a:pos x="40" y="106"/>
                </a:cxn>
                <a:cxn ang="0">
                  <a:pos x="45" y="98"/>
                </a:cxn>
                <a:cxn ang="0">
                  <a:pos x="61" y="93"/>
                </a:cxn>
                <a:cxn ang="0">
                  <a:pos x="64" y="98"/>
                </a:cxn>
                <a:cxn ang="0">
                  <a:pos x="69" y="96"/>
                </a:cxn>
                <a:cxn ang="0">
                  <a:pos x="75" y="87"/>
                </a:cxn>
                <a:cxn ang="0">
                  <a:pos x="85" y="89"/>
                </a:cxn>
                <a:cxn ang="0">
                  <a:pos x="84" y="87"/>
                </a:cxn>
                <a:cxn ang="0">
                  <a:pos x="87" y="77"/>
                </a:cxn>
                <a:cxn ang="0">
                  <a:pos x="90" y="73"/>
                </a:cxn>
                <a:cxn ang="0">
                  <a:pos x="93" y="70"/>
                </a:cxn>
                <a:cxn ang="0">
                  <a:pos x="93" y="64"/>
                </a:cxn>
                <a:cxn ang="0">
                  <a:pos x="98" y="57"/>
                </a:cxn>
                <a:cxn ang="0">
                  <a:pos x="97" y="54"/>
                </a:cxn>
                <a:cxn ang="0">
                  <a:pos x="83" y="50"/>
                </a:cxn>
                <a:cxn ang="0">
                  <a:pos x="0" y="47"/>
                </a:cxn>
                <a:cxn ang="0">
                  <a:pos x="1" y="44"/>
                </a:cxn>
                <a:cxn ang="0">
                  <a:pos x="1" y="44"/>
                </a:cxn>
                <a:cxn ang="0">
                  <a:pos x="2" y="62"/>
                </a:cxn>
              </a:cxnLst>
              <a:rect l="0" t="0" r="r" b="b"/>
              <a:pathLst>
                <a:path w="100" h="117">
                  <a:moveTo>
                    <a:pt x="1" y="48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moveTo>
                    <a:pt x="83" y="50"/>
                  </a:moveTo>
                  <a:cubicBezTo>
                    <a:pt x="81" y="50"/>
                    <a:pt x="81" y="46"/>
                    <a:pt x="78" y="46"/>
                  </a:cubicBezTo>
                  <a:cubicBezTo>
                    <a:pt x="78" y="44"/>
                    <a:pt x="78" y="42"/>
                    <a:pt x="78" y="40"/>
                  </a:cubicBezTo>
                  <a:cubicBezTo>
                    <a:pt x="78" y="39"/>
                    <a:pt x="79" y="37"/>
                    <a:pt x="79" y="35"/>
                  </a:cubicBezTo>
                  <a:cubicBezTo>
                    <a:pt x="77" y="35"/>
                    <a:pt x="75" y="35"/>
                    <a:pt x="74" y="36"/>
                  </a:cubicBezTo>
                  <a:cubicBezTo>
                    <a:pt x="73" y="35"/>
                    <a:pt x="73" y="35"/>
                    <a:pt x="72" y="34"/>
                  </a:cubicBezTo>
                  <a:cubicBezTo>
                    <a:pt x="71" y="33"/>
                    <a:pt x="71" y="33"/>
                    <a:pt x="71" y="31"/>
                  </a:cubicBezTo>
                  <a:cubicBezTo>
                    <a:pt x="69" y="29"/>
                    <a:pt x="66" y="29"/>
                    <a:pt x="65" y="28"/>
                  </a:cubicBezTo>
                  <a:cubicBezTo>
                    <a:pt x="63" y="26"/>
                    <a:pt x="64" y="25"/>
                    <a:pt x="64" y="23"/>
                  </a:cubicBezTo>
                  <a:cubicBezTo>
                    <a:pt x="63" y="21"/>
                    <a:pt x="62" y="20"/>
                    <a:pt x="62" y="18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1"/>
                    <a:pt x="60" y="10"/>
                    <a:pt x="58" y="8"/>
                  </a:cubicBezTo>
                  <a:cubicBezTo>
                    <a:pt x="57" y="8"/>
                    <a:pt x="55" y="8"/>
                    <a:pt x="55" y="9"/>
                  </a:cubicBezTo>
                  <a:cubicBezTo>
                    <a:pt x="54" y="9"/>
                    <a:pt x="55" y="10"/>
                    <a:pt x="54" y="11"/>
                  </a:cubicBezTo>
                  <a:cubicBezTo>
                    <a:pt x="54" y="12"/>
                    <a:pt x="53" y="12"/>
                    <a:pt x="52" y="13"/>
                  </a:cubicBezTo>
                  <a:cubicBezTo>
                    <a:pt x="50" y="13"/>
                    <a:pt x="49" y="15"/>
                    <a:pt x="47" y="15"/>
                  </a:cubicBezTo>
                  <a:cubicBezTo>
                    <a:pt x="46" y="12"/>
                    <a:pt x="43" y="9"/>
                    <a:pt x="43" y="6"/>
                  </a:cubicBezTo>
                  <a:cubicBezTo>
                    <a:pt x="43" y="4"/>
                    <a:pt x="43" y="5"/>
                    <a:pt x="44" y="4"/>
                  </a:cubicBezTo>
                  <a:cubicBezTo>
                    <a:pt x="45" y="4"/>
                    <a:pt x="46" y="4"/>
                    <a:pt x="45" y="2"/>
                  </a:cubicBezTo>
                  <a:cubicBezTo>
                    <a:pt x="44" y="0"/>
                    <a:pt x="43" y="3"/>
                    <a:pt x="42" y="4"/>
                  </a:cubicBezTo>
                  <a:cubicBezTo>
                    <a:pt x="40" y="7"/>
                    <a:pt x="40" y="9"/>
                    <a:pt x="40" y="12"/>
                  </a:cubicBezTo>
                  <a:cubicBezTo>
                    <a:pt x="40" y="14"/>
                    <a:pt x="40" y="16"/>
                    <a:pt x="40" y="17"/>
                  </a:cubicBezTo>
                  <a:cubicBezTo>
                    <a:pt x="39" y="19"/>
                    <a:pt x="38" y="19"/>
                    <a:pt x="37" y="20"/>
                  </a:cubicBezTo>
                  <a:cubicBezTo>
                    <a:pt x="36" y="21"/>
                    <a:pt x="35" y="22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4" y="24"/>
                    <a:pt x="33" y="24"/>
                    <a:pt x="33" y="25"/>
                  </a:cubicBezTo>
                  <a:cubicBezTo>
                    <a:pt x="31" y="26"/>
                    <a:pt x="29" y="27"/>
                    <a:pt x="29" y="30"/>
                  </a:cubicBezTo>
                  <a:cubicBezTo>
                    <a:pt x="29" y="30"/>
                    <a:pt x="29" y="31"/>
                    <a:pt x="29" y="32"/>
                  </a:cubicBezTo>
                  <a:cubicBezTo>
                    <a:pt x="28" y="34"/>
                    <a:pt x="27" y="33"/>
                    <a:pt x="26" y="34"/>
                  </a:cubicBezTo>
                  <a:cubicBezTo>
                    <a:pt x="25" y="35"/>
                    <a:pt x="25" y="36"/>
                    <a:pt x="24" y="36"/>
                  </a:cubicBezTo>
                  <a:cubicBezTo>
                    <a:pt x="24" y="37"/>
                    <a:pt x="23" y="38"/>
                    <a:pt x="22" y="38"/>
                  </a:cubicBezTo>
                  <a:cubicBezTo>
                    <a:pt x="22" y="39"/>
                    <a:pt x="20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8" y="38"/>
                    <a:pt x="17" y="39"/>
                  </a:cubicBezTo>
                  <a:cubicBezTo>
                    <a:pt x="16" y="39"/>
                    <a:pt x="17" y="40"/>
                    <a:pt x="17" y="41"/>
                  </a:cubicBezTo>
                  <a:cubicBezTo>
                    <a:pt x="16" y="42"/>
                    <a:pt x="14" y="41"/>
                    <a:pt x="13" y="41"/>
                  </a:cubicBezTo>
                  <a:cubicBezTo>
                    <a:pt x="11" y="41"/>
                    <a:pt x="12" y="44"/>
                    <a:pt x="12" y="46"/>
                  </a:cubicBezTo>
                  <a:cubicBezTo>
                    <a:pt x="10" y="46"/>
                    <a:pt x="9" y="46"/>
                    <a:pt x="7" y="45"/>
                  </a:cubicBezTo>
                  <a:cubicBezTo>
                    <a:pt x="6" y="44"/>
                    <a:pt x="5" y="44"/>
                    <a:pt x="4" y="43"/>
                  </a:cubicBezTo>
                  <a:cubicBezTo>
                    <a:pt x="3" y="43"/>
                    <a:pt x="2" y="43"/>
                    <a:pt x="1" y="44"/>
                  </a:cubicBezTo>
                  <a:cubicBezTo>
                    <a:pt x="1" y="44"/>
                    <a:pt x="0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45"/>
                    <a:pt x="0" y="45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5"/>
                    <a:pt x="0" y="45"/>
                  </a:cubicBezTo>
                  <a:cubicBezTo>
                    <a:pt x="0" y="45"/>
                    <a:pt x="0" y="46"/>
                    <a:pt x="0" y="46"/>
                  </a:cubicBezTo>
                  <a:cubicBezTo>
                    <a:pt x="0" y="46"/>
                    <a:pt x="0" y="46"/>
                    <a:pt x="0" y="47"/>
                  </a:cubicBezTo>
                  <a:cubicBezTo>
                    <a:pt x="0" y="47"/>
                    <a:pt x="1" y="47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49"/>
                    <a:pt x="3" y="49"/>
                  </a:cubicBezTo>
                  <a:cubicBezTo>
                    <a:pt x="4" y="49"/>
                    <a:pt x="5" y="50"/>
                    <a:pt x="5" y="50"/>
                  </a:cubicBezTo>
                  <a:cubicBezTo>
                    <a:pt x="6" y="52"/>
                    <a:pt x="6" y="54"/>
                    <a:pt x="5" y="55"/>
                  </a:cubicBezTo>
                  <a:cubicBezTo>
                    <a:pt x="6" y="56"/>
                    <a:pt x="6" y="57"/>
                    <a:pt x="6" y="58"/>
                  </a:cubicBezTo>
                  <a:cubicBezTo>
                    <a:pt x="7" y="59"/>
                    <a:pt x="7" y="61"/>
                    <a:pt x="8" y="62"/>
                  </a:cubicBezTo>
                  <a:cubicBezTo>
                    <a:pt x="10" y="64"/>
                    <a:pt x="13" y="62"/>
                    <a:pt x="15" y="64"/>
                  </a:cubicBezTo>
                  <a:cubicBezTo>
                    <a:pt x="16" y="65"/>
                    <a:pt x="16" y="66"/>
                    <a:pt x="17" y="67"/>
                  </a:cubicBezTo>
                  <a:cubicBezTo>
                    <a:pt x="18" y="68"/>
                    <a:pt x="19" y="69"/>
                    <a:pt x="20" y="70"/>
                  </a:cubicBezTo>
                  <a:cubicBezTo>
                    <a:pt x="21" y="71"/>
                    <a:pt x="21" y="72"/>
                    <a:pt x="22" y="74"/>
                  </a:cubicBezTo>
                  <a:cubicBezTo>
                    <a:pt x="22" y="75"/>
                    <a:pt x="24" y="77"/>
                    <a:pt x="25" y="79"/>
                  </a:cubicBezTo>
                  <a:cubicBezTo>
                    <a:pt x="26" y="80"/>
                    <a:pt x="25" y="81"/>
                    <a:pt x="25" y="82"/>
                  </a:cubicBezTo>
                  <a:cubicBezTo>
                    <a:pt x="25" y="83"/>
                    <a:pt x="26" y="83"/>
                    <a:pt x="26" y="84"/>
                  </a:cubicBezTo>
                  <a:cubicBezTo>
                    <a:pt x="27" y="86"/>
                    <a:pt x="27" y="87"/>
                    <a:pt x="27" y="88"/>
                  </a:cubicBezTo>
                  <a:cubicBezTo>
                    <a:pt x="27" y="90"/>
                    <a:pt x="28" y="92"/>
                    <a:pt x="28" y="94"/>
                  </a:cubicBezTo>
                  <a:cubicBezTo>
                    <a:pt x="28" y="96"/>
                    <a:pt x="29" y="97"/>
                    <a:pt x="30" y="99"/>
                  </a:cubicBezTo>
                  <a:cubicBezTo>
                    <a:pt x="31" y="101"/>
                    <a:pt x="31" y="104"/>
                    <a:pt x="31" y="106"/>
                  </a:cubicBezTo>
                  <a:cubicBezTo>
                    <a:pt x="31" y="109"/>
                    <a:pt x="31" y="112"/>
                    <a:pt x="30" y="114"/>
                  </a:cubicBezTo>
                  <a:cubicBezTo>
                    <a:pt x="30" y="115"/>
                    <a:pt x="30" y="117"/>
                    <a:pt x="31" y="117"/>
                  </a:cubicBezTo>
                  <a:cubicBezTo>
                    <a:pt x="32" y="117"/>
                    <a:pt x="33" y="116"/>
                    <a:pt x="34" y="115"/>
                  </a:cubicBezTo>
                  <a:cubicBezTo>
                    <a:pt x="35" y="114"/>
                    <a:pt x="36" y="114"/>
                    <a:pt x="37" y="113"/>
                  </a:cubicBezTo>
                  <a:cubicBezTo>
                    <a:pt x="38" y="112"/>
                    <a:pt x="39" y="112"/>
                    <a:pt x="40" y="111"/>
                  </a:cubicBezTo>
                  <a:cubicBezTo>
                    <a:pt x="40" y="110"/>
                    <a:pt x="40" y="109"/>
                    <a:pt x="40" y="108"/>
                  </a:cubicBezTo>
                  <a:cubicBezTo>
                    <a:pt x="40" y="107"/>
                    <a:pt x="40" y="106"/>
                    <a:pt x="40" y="106"/>
                  </a:cubicBezTo>
                  <a:cubicBezTo>
                    <a:pt x="40" y="105"/>
                    <a:pt x="41" y="104"/>
                    <a:pt x="41" y="103"/>
                  </a:cubicBezTo>
                  <a:cubicBezTo>
                    <a:pt x="43" y="101"/>
                    <a:pt x="44" y="99"/>
                    <a:pt x="45" y="98"/>
                  </a:cubicBezTo>
                  <a:cubicBezTo>
                    <a:pt x="47" y="96"/>
                    <a:pt x="49" y="96"/>
                    <a:pt x="51" y="95"/>
                  </a:cubicBezTo>
                  <a:cubicBezTo>
                    <a:pt x="54" y="94"/>
                    <a:pt x="58" y="91"/>
                    <a:pt x="61" y="93"/>
                  </a:cubicBezTo>
                  <a:cubicBezTo>
                    <a:pt x="63" y="94"/>
                    <a:pt x="62" y="94"/>
                    <a:pt x="63" y="95"/>
                  </a:cubicBezTo>
                  <a:cubicBezTo>
                    <a:pt x="63" y="96"/>
                    <a:pt x="64" y="97"/>
                    <a:pt x="64" y="98"/>
                  </a:cubicBezTo>
                  <a:cubicBezTo>
                    <a:pt x="65" y="98"/>
                    <a:pt x="67" y="101"/>
                    <a:pt x="68" y="100"/>
                  </a:cubicBezTo>
                  <a:cubicBezTo>
                    <a:pt x="68" y="99"/>
                    <a:pt x="69" y="97"/>
                    <a:pt x="69" y="96"/>
                  </a:cubicBezTo>
                  <a:cubicBezTo>
                    <a:pt x="70" y="94"/>
                    <a:pt x="70" y="93"/>
                    <a:pt x="72" y="92"/>
                  </a:cubicBezTo>
                  <a:cubicBezTo>
                    <a:pt x="71" y="90"/>
                    <a:pt x="75" y="89"/>
                    <a:pt x="75" y="87"/>
                  </a:cubicBezTo>
                  <a:cubicBezTo>
                    <a:pt x="77" y="86"/>
                    <a:pt x="86" y="86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8"/>
                    <a:pt x="85" y="88"/>
                  </a:cubicBezTo>
                  <a:cubicBezTo>
                    <a:pt x="85" y="87"/>
                    <a:pt x="85" y="87"/>
                    <a:pt x="84" y="87"/>
                  </a:cubicBezTo>
                  <a:cubicBezTo>
                    <a:pt x="84" y="86"/>
                    <a:pt x="83" y="85"/>
                    <a:pt x="82" y="84"/>
                  </a:cubicBezTo>
                  <a:cubicBezTo>
                    <a:pt x="82" y="81"/>
                    <a:pt x="86" y="79"/>
                    <a:pt x="87" y="77"/>
                  </a:cubicBezTo>
                  <a:cubicBezTo>
                    <a:pt x="88" y="77"/>
                    <a:pt x="89" y="76"/>
                    <a:pt x="89" y="76"/>
                  </a:cubicBezTo>
                  <a:cubicBezTo>
                    <a:pt x="89" y="75"/>
                    <a:pt x="89" y="74"/>
                    <a:pt x="90" y="73"/>
                  </a:cubicBezTo>
                  <a:cubicBezTo>
                    <a:pt x="90" y="72"/>
                    <a:pt x="91" y="72"/>
                    <a:pt x="92" y="72"/>
                  </a:cubicBezTo>
                  <a:cubicBezTo>
                    <a:pt x="92" y="72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68"/>
                    <a:pt x="93" y="65"/>
                    <a:pt x="93" y="64"/>
                  </a:cubicBezTo>
                  <a:cubicBezTo>
                    <a:pt x="93" y="62"/>
                    <a:pt x="95" y="61"/>
                    <a:pt x="96" y="60"/>
                  </a:cubicBezTo>
                  <a:cubicBezTo>
                    <a:pt x="97" y="59"/>
                    <a:pt x="97" y="58"/>
                    <a:pt x="98" y="57"/>
                  </a:cubicBezTo>
                  <a:cubicBezTo>
                    <a:pt x="99" y="56"/>
                    <a:pt x="100" y="56"/>
                    <a:pt x="99" y="55"/>
                  </a:cubicBezTo>
                  <a:cubicBezTo>
                    <a:pt x="99" y="55"/>
                    <a:pt x="98" y="54"/>
                    <a:pt x="97" y="54"/>
                  </a:cubicBezTo>
                  <a:cubicBezTo>
                    <a:pt x="96" y="53"/>
                    <a:pt x="95" y="55"/>
                    <a:pt x="94" y="55"/>
                  </a:cubicBezTo>
                  <a:cubicBezTo>
                    <a:pt x="90" y="56"/>
                    <a:pt x="87" y="42"/>
                    <a:pt x="83" y="50"/>
                  </a:cubicBezTo>
                  <a:moveTo>
                    <a:pt x="0" y="46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7"/>
                    <a:pt x="0" y="46"/>
                  </a:cubicBezTo>
                  <a:moveTo>
                    <a:pt x="1" y="44"/>
                  </a:moveTo>
                  <a:cubicBezTo>
                    <a:pt x="1" y="44"/>
                    <a:pt x="1" y="44"/>
                    <a:pt x="0" y="44"/>
                  </a:cubicBezTo>
                  <a:cubicBezTo>
                    <a:pt x="1" y="44"/>
                    <a:pt x="1" y="44"/>
                    <a:pt x="1" y="44"/>
                  </a:cubicBezTo>
                  <a:moveTo>
                    <a:pt x="2" y="62"/>
                  </a:move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0" name="Freeform 31">
              <a:extLst>
                <a:ext uri="{FF2B5EF4-FFF2-40B4-BE49-F238E27FC236}">
                  <a16:creationId xmlns:a16="http://schemas.microsoft.com/office/drawing/2014/main" id="{547EEC32-5781-4BF1-B3B4-00AB0342DB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3525" y="5646738"/>
              <a:ext cx="185738" cy="463550"/>
            </a:xfrm>
            <a:custGeom>
              <a:avLst/>
              <a:gdLst/>
              <a:ahLst/>
              <a:cxnLst>
                <a:cxn ang="0">
                  <a:pos x="44" y="3"/>
                </a:cxn>
                <a:cxn ang="0">
                  <a:pos x="44" y="3"/>
                </a:cxn>
                <a:cxn ang="0">
                  <a:pos x="44" y="3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6" y="5"/>
                </a:cxn>
                <a:cxn ang="0">
                  <a:pos x="45" y="5"/>
                </a:cxn>
                <a:cxn ang="0">
                  <a:pos x="45" y="5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5"/>
                </a:cxn>
                <a:cxn ang="0">
                  <a:pos x="44" y="2"/>
                </a:cxn>
                <a:cxn ang="0">
                  <a:pos x="45" y="1"/>
                </a:cxn>
                <a:cxn ang="0">
                  <a:pos x="45" y="1"/>
                </a:cxn>
                <a:cxn ang="0">
                  <a:pos x="44" y="1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11" y="187"/>
                </a:cxn>
                <a:cxn ang="0">
                  <a:pos x="9" y="201"/>
                </a:cxn>
                <a:cxn ang="0">
                  <a:pos x="15" y="208"/>
                </a:cxn>
                <a:cxn ang="0">
                  <a:pos x="20" y="215"/>
                </a:cxn>
                <a:cxn ang="0">
                  <a:pos x="28" y="221"/>
                </a:cxn>
                <a:cxn ang="0">
                  <a:pos x="34" y="229"/>
                </a:cxn>
                <a:cxn ang="0">
                  <a:pos x="37" y="242"/>
                </a:cxn>
                <a:cxn ang="0">
                  <a:pos x="50" y="244"/>
                </a:cxn>
                <a:cxn ang="0">
                  <a:pos x="56" y="236"/>
                </a:cxn>
                <a:cxn ang="0">
                  <a:pos x="56" y="228"/>
                </a:cxn>
                <a:cxn ang="0">
                  <a:pos x="59" y="219"/>
                </a:cxn>
                <a:cxn ang="0">
                  <a:pos x="73" y="213"/>
                </a:cxn>
                <a:cxn ang="0">
                  <a:pos x="77" y="202"/>
                </a:cxn>
                <a:cxn ang="0">
                  <a:pos x="83" y="185"/>
                </a:cxn>
                <a:cxn ang="0">
                  <a:pos x="92" y="184"/>
                </a:cxn>
                <a:cxn ang="0">
                  <a:pos x="96" y="167"/>
                </a:cxn>
                <a:cxn ang="0">
                  <a:pos x="94" y="155"/>
                </a:cxn>
                <a:cxn ang="0">
                  <a:pos x="81" y="147"/>
                </a:cxn>
                <a:cxn ang="0">
                  <a:pos x="75" y="134"/>
                </a:cxn>
                <a:cxn ang="0">
                  <a:pos x="69" y="125"/>
                </a:cxn>
                <a:cxn ang="0">
                  <a:pos x="68" y="112"/>
                </a:cxn>
                <a:cxn ang="0">
                  <a:pos x="67" y="104"/>
                </a:cxn>
                <a:cxn ang="0">
                  <a:pos x="71" y="95"/>
                </a:cxn>
                <a:cxn ang="0">
                  <a:pos x="72" y="79"/>
                </a:cxn>
                <a:cxn ang="0">
                  <a:pos x="74" y="56"/>
                </a:cxn>
                <a:cxn ang="0">
                  <a:pos x="69" y="39"/>
                </a:cxn>
                <a:cxn ang="0">
                  <a:pos x="61" y="24"/>
                </a:cxn>
                <a:cxn ang="0">
                  <a:pos x="49" y="12"/>
                </a:cxn>
                <a:cxn ang="0">
                  <a:pos x="45" y="21"/>
                </a:cxn>
                <a:cxn ang="0">
                  <a:pos x="28" y="17"/>
                </a:cxn>
                <a:cxn ang="0">
                  <a:pos x="24" y="14"/>
                </a:cxn>
                <a:cxn ang="0">
                  <a:pos x="12" y="30"/>
                </a:cxn>
                <a:cxn ang="0">
                  <a:pos x="5" y="47"/>
                </a:cxn>
                <a:cxn ang="0">
                  <a:pos x="10" y="69"/>
                </a:cxn>
                <a:cxn ang="0">
                  <a:pos x="18" y="82"/>
                </a:cxn>
                <a:cxn ang="0">
                  <a:pos x="19" y="103"/>
                </a:cxn>
                <a:cxn ang="0">
                  <a:pos x="7" y="112"/>
                </a:cxn>
                <a:cxn ang="0">
                  <a:pos x="12" y="121"/>
                </a:cxn>
                <a:cxn ang="0">
                  <a:pos x="11" y="135"/>
                </a:cxn>
                <a:cxn ang="0">
                  <a:pos x="13" y="146"/>
                </a:cxn>
                <a:cxn ang="0">
                  <a:pos x="8" y="143"/>
                </a:cxn>
                <a:cxn ang="0">
                  <a:pos x="2" y="167"/>
                </a:cxn>
              </a:cxnLst>
              <a:rect l="0" t="0" r="r" b="b"/>
              <a:pathLst>
                <a:path w="99" h="248"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lose/>
                  <a:moveTo>
                    <a:pt x="44" y="3"/>
                  </a:move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6" y="5"/>
                    <a:pt x="46" y="5"/>
                  </a:cubicBezTo>
                  <a:cubicBezTo>
                    <a:pt x="46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5" y="1"/>
                  </a:move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6" y="1"/>
                    <a:pt x="46" y="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2" y="174"/>
                  </a:moveTo>
                  <a:cubicBezTo>
                    <a:pt x="3" y="176"/>
                    <a:pt x="8" y="176"/>
                    <a:pt x="9" y="178"/>
                  </a:cubicBezTo>
                  <a:cubicBezTo>
                    <a:pt x="9" y="179"/>
                    <a:pt x="8" y="181"/>
                    <a:pt x="9" y="182"/>
                  </a:cubicBezTo>
                  <a:cubicBezTo>
                    <a:pt x="9" y="184"/>
                    <a:pt x="11" y="185"/>
                    <a:pt x="11" y="187"/>
                  </a:cubicBezTo>
                  <a:cubicBezTo>
                    <a:pt x="12" y="188"/>
                    <a:pt x="11" y="189"/>
                    <a:pt x="10" y="190"/>
                  </a:cubicBezTo>
                  <a:cubicBezTo>
                    <a:pt x="9" y="191"/>
                    <a:pt x="8" y="191"/>
                    <a:pt x="7" y="193"/>
                  </a:cubicBezTo>
                  <a:cubicBezTo>
                    <a:pt x="7" y="194"/>
                    <a:pt x="7" y="196"/>
                    <a:pt x="8" y="197"/>
                  </a:cubicBezTo>
                  <a:cubicBezTo>
                    <a:pt x="8" y="199"/>
                    <a:pt x="8" y="200"/>
                    <a:pt x="9" y="201"/>
                  </a:cubicBezTo>
                  <a:cubicBezTo>
                    <a:pt x="10" y="202"/>
                    <a:pt x="10" y="202"/>
                    <a:pt x="11" y="203"/>
                  </a:cubicBezTo>
                  <a:cubicBezTo>
                    <a:pt x="11" y="204"/>
                    <a:pt x="11" y="204"/>
                    <a:pt x="11" y="205"/>
                  </a:cubicBezTo>
                  <a:cubicBezTo>
                    <a:pt x="11" y="205"/>
                    <a:pt x="12" y="206"/>
                    <a:pt x="13" y="206"/>
                  </a:cubicBezTo>
                  <a:cubicBezTo>
                    <a:pt x="13" y="207"/>
                    <a:pt x="14" y="207"/>
                    <a:pt x="15" y="208"/>
                  </a:cubicBezTo>
                  <a:cubicBezTo>
                    <a:pt x="15" y="209"/>
                    <a:pt x="15" y="209"/>
                    <a:pt x="16" y="209"/>
                  </a:cubicBezTo>
                  <a:cubicBezTo>
                    <a:pt x="16" y="210"/>
                    <a:pt x="18" y="210"/>
                    <a:pt x="19" y="211"/>
                  </a:cubicBezTo>
                  <a:cubicBezTo>
                    <a:pt x="20" y="211"/>
                    <a:pt x="20" y="212"/>
                    <a:pt x="20" y="213"/>
                  </a:cubicBezTo>
                  <a:cubicBezTo>
                    <a:pt x="20" y="213"/>
                    <a:pt x="20" y="214"/>
                    <a:pt x="20" y="215"/>
                  </a:cubicBezTo>
                  <a:cubicBezTo>
                    <a:pt x="21" y="215"/>
                    <a:pt x="21" y="215"/>
                    <a:pt x="21" y="216"/>
                  </a:cubicBezTo>
                  <a:cubicBezTo>
                    <a:pt x="22" y="217"/>
                    <a:pt x="22" y="218"/>
                    <a:pt x="24" y="218"/>
                  </a:cubicBezTo>
                  <a:cubicBezTo>
                    <a:pt x="24" y="219"/>
                    <a:pt x="25" y="219"/>
                    <a:pt x="26" y="220"/>
                  </a:cubicBezTo>
                  <a:cubicBezTo>
                    <a:pt x="27" y="220"/>
                    <a:pt x="27" y="221"/>
                    <a:pt x="28" y="221"/>
                  </a:cubicBezTo>
                  <a:cubicBezTo>
                    <a:pt x="29" y="222"/>
                    <a:pt x="30" y="222"/>
                    <a:pt x="31" y="222"/>
                  </a:cubicBezTo>
                  <a:cubicBezTo>
                    <a:pt x="33" y="222"/>
                    <a:pt x="32" y="225"/>
                    <a:pt x="32" y="226"/>
                  </a:cubicBezTo>
                  <a:cubicBezTo>
                    <a:pt x="32" y="228"/>
                    <a:pt x="32" y="228"/>
                    <a:pt x="33" y="229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5" y="229"/>
                    <a:pt x="36" y="230"/>
                    <a:pt x="37" y="231"/>
                  </a:cubicBezTo>
                  <a:cubicBezTo>
                    <a:pt x="38" y="232"/>
                    <a:pt x="39" y="233"/>
                    <a:pt x="37" y="234"/>
                  </a:cubicBezTo>
                  <a:cubicBezTo>
                    <a:pt x="36" y="235"/>
                    <a:pt x="36" y="235"/>
                    <a:pt x="36" y="236"/>
                  </a:cubicBezTo>
                  <a:cubicBezTo>
                    <a:pt x="35" y="238"/>
                    <a:pt x="36" y="240"/>
                    <a:pt x="37" y="242"/>
                  </a:cubicBezTo>
                  <a:cubicBezTo>
                    <a:pt x="38" y="245"/>
                    <a:pt x="40" y="244"/>
                    <a:pt x="42" y="245"/>
                  </a:cubicBezTo>
                  <a:cubicBezTo>
                    <a:pt x="43" y="245"/>
                    <a:pt x="46" y="248"/>
                    <a:pt x="48" y="247"/>
                  </a:cubicBezTo>
                  <a:cubicBezTo>
                    <a:pt x="48" y="246"/>
                    <a:pt x="48" y="246"/>
                    <a:pt x="49" y="245"/>
                  </a:cubicBezTo>
                  <a:cubicBezTo>
                    <a:pt x="49" y="245"/>
                    <a:pt x="50" y="245"/>
                    <a:pt x="50" y="244"/>
                  </a:cubicBezTo>
                  <a:cubicBezTo>
                    <a:pt x="51" y="244"/>
                    <a:pt x="52" y="242"/>
                    <a:pt x="53" y="241"/>
                  </a:cubicBezTo>
                  <a:cubicBezTo>
                    <a:pt x="53" y="239"/>
                    <a:pt x="53" y="238"/>
                    <a:pt x="54" y="237"/>
                  </a:cubicBezTo>
                  <a:cubicBezTo>
                    <a:pt x="54" y="237"/>
                    <a:pt x="54" y="237"/>
                    <a:pt x="55" y="237"/>
                  </a:cubicBezTo>
                  <a:cubicBezTo>
                    <a:pt x="55" y="237"/>
                    <a:pt x="55" y="237"/>
                    <a:pt x="56" y="236"/>
                  </a:cubicBezTo>
                  <a:cubicBezTo>
                    <a:pt x="56" y="236"/>
                    <a:pt x="56" y="236"/>
                    <a:pt x="57" y="236"/>
                  </a:cubicBezTo>
                  <a:cubicBezTo>
                    <a:pt x="57" y="235"/>
                    <a:pt x="58" y="235"/>
                    <a:pt x="58" y="234"/>
                  </a:cubicBezTo>
                  <a:cubicBezTo>
                    <a:pt x="59" y="233"/>
                    <a:pt x="58" y="232"/>
                    <a:pt x="57" y="231"/>
                  </a:cubicBezTo>
                  <a:cubicBezTo>
                    <a:pt x="57" y="230"/>
                    <a:pt x="57" y="229"/>
                    <a:pt x="56" y="228"/>
                  </a:cubicBezTo>
                  <a:cubicBezTo>
                    <a:pt x="56" y="227"/>
                    <a:pt x="55" y="227"/>
                    <a:pt x="55" y="226"/>
                  </a:cubicBezTo>
                  <a:cubicBezTo>
                    <a:pt x="55" y="225"/>
                    <a:pt x="56" y="223"/>
                    <a:pt x="56" y="223"/>
                  </a:cubicBezTo>
                  <a:cubicBezTo>
                    <a:pt x="57" y="222"/>
                    <a:pt x="57" y="222"/>
                    <a:pt x="57" y="221"/>
                  </a:cubicBezTo>
                  <a:cubicBezTo>
                    <a:pt x="58" y="220"/>
                    <a:pt x="58" y="220"/>
                    <a:pt x="59" y="219"/>
                  </a:cubicBezTo>
                  <a:cubicBezTo>
                    <a:pt x="60" y="217"/>
                    <a:pt x="62" y="216"/>
                    <a:pt x="64" y="215"/>
                  </a:cubicBezTo>
                  <a:cubicBezTo>
                    <a:pt x="65" y="214"/>
                    <a:pt x="66" y="214"/>
                    <a:pt x="68" y="214"/>
                  </a:cubicBezTo>
                  <a:cubicBezTo>
                    <a:pt x="69" y="214"/>
                    <a:pt x="71" y="215"/>
                    <a:pt x="72" y="215"/>
                  </a:cubicBezTo>
                  <a:cubicBezTo>
                    <a:pt x="72" y="215"/>
                    <a:pt x="73" y="213"/>
                    <a:pt x="73" y="213"/>
                  </a:cubicBezTo>
                  <a:cubicBezTo>
                    <a:pt x="73" y="212"/>
                    <a:pt x="73" y="211"/>
                    <a:pt x="74" y="210"/>
                  </a:cubicBezTo>
                  <a:cubicBezTo>
                    <a:pt x="74" y="209"/>
                    <a:pt x="75" y="209"/>
                    <a:pt x="75" y="207"/>
                  </a:cubicBezTo>
                  <a:cubicBezTo>
                    <a:pt x="75" y="207"/>
                    <a:pt x="74" y="206"/>
                    <a:pt x="75" y="206"/>
                  </a:cubicBezTo>
                  <a:cubicBezTo>
                    <a:pt x="75" y="204"/>
                    <a:pt x="76" y="203"/>
                    <a:pt x="77" y="202"/>
                  </a:cubicBezTo>
                  <a:cubicBezTo>
                    <a:pt x="77" y="201"/>
                    <a:pt x="77" y="200"/>
                    <a:pt x="78" y="199"/>
                  </a:cubicBezTo>
                  <a:cubicBezTo>
                    <a:pt x="79" y="197"/>
                    <a:pt x="79" y="196"/>
                    <a:pt x="79" y="194"/>
                  </a:cubicBezTo>
                  <a:cubicBezTo>
                    <a:pt x="79" y="192"/>
                    <a:pt x="80" y="190"/>
                    <a:pt x="81" y="188"/>
                  </a:cubicBezTo>
                  <a:cubicBezTo>
                    <a:pt x="82" y="187"/>
                    <a:pt x="82" y="186"/>
                    <a:pt x="83" y="185"/>
                  </a:cubicBezTo>
                  <a:cubicBezTo>
                    <a:pt x="84" y="185"/>
                    <a:pt x="85" y="186"/>
                    <a:pt x="86" y="185"/>
                  </a:cubicBezTo>
                  <a:cubicBezTo>
                    <a:pt x="86" y="185"/>
                    <a:pt x="87" y="185"/>
                    <a:pt x="87" y="184"/>
                  </a:cubicBezTo>
                  <a:cubicBezTo>
                    <a:pt x="87" y="184"/>
                    <a:pt x="88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4" y="183"/>
                    <a:pt x="93" y="181"/>
                    <a:pt x="94" y="179"/>
                  </a:cubicBezTo>
                  <a:cubicBezTo>
                    <a:pt x="94" y="177"/>
                    <a:pt x="94" y="177"/>
                    <a:pt x="96" y="176"/>
                  </a:cubicBezTo>
                  <a:cubicBezTo>
                    <a:pt x="96" y="176"/>
                    <a:pt x="97" y="175"/>
                    <a:pt x="98" y="175"/>
                  </a:cubicBezTo>
                  <a:cubicBezTo>
                    <a:pt x="99" y="173"/>
                    <a:pt x="97" y="168"/>
                    <a:pt x="96" y="167"/>
                  </a:cubicBezTo>
                  <a:cubicBezTo>
                    <a:pt x="95" y="165"/>
                    <a:pt x="90" y="162"/>
                    <a:pt x="92" y="160"/>
                  </a:cubicBezTo>
                  <a:cubicBezTo>
                    <a:pt x="92" y="159"/>
                    <a:pt x="93" y="159"/>
                    <a:pt x="93" y="158"/>
                  </a:cubicBezTo>
                  <a:cubicBezTo>
                    <a:pt x="93" y="158"/>
                    <a:pt x="93" y="157"/>
                    <a:pt x="93" y="157"/>
                  </a:cubicBezTo>
                  <a:cubicBezTo>
                    <a:pt x="93" y="156"/>
                    <a:pt x="93" y="156"/>
                    <a:pt x="94" y="155"/>
                  </a:cubicBezTo>
                  <a:cubicBezTo>
                    <a:pt x="94" y="153"/>
                    <a:pt x="93" y="151"/>
                    <a:pt x="92" y="150"/>
                  </a:cubicBezTo>
                  <a:cubicBezTo>
                    <a:pt x="91" y="149"/>
                    <a:pt x="89" y="147"/>
                    <a:pt x="87" y="148"/>
                  </a:cubicBezTo>
                  <a:cubicBezTo>
                    <a:pt x="86" y="148"/>
                    <a:pt x="85" y="150"/>
                    <a:pt x="84" y="149"/>
                  </a:cubicBezTo>
                  <a:cubicBezTo>
                    <a:pt x="82" y="149"/>
                    <a:pt x="82" y="147"/>
                    <a:pt x="81" y="147"/>
                  </a:cubicBezTo>
                  <a:cubicBezTo>
                    <a:pt x="80" y="147"/>
                    <a:pt x="79" y="147"/>
                    <a:pt x="79" y="147"/>
                  </a:cubicBezTo>
                  <a:cubicBezTo>
                    <a:pt x="78" y="147"/>
                    <a:pt x="78" y="146"/>
                    <a:pt x="78" y="146"/>
                  </a:cubicBezTo>
                  <a:cubicBezTo>
                    <a:pt x="77" y="143"/>
                    <a:pt x="78" y="140"/>
                    <a:pt x="78" y="137"/>
                  </a:cubicBezTo>
                  <a:cubicBezTo>
                    <a:pt x="77" y="136"/>
                    <a:pt x="76" y="135"/>
                    <a:pt x="75" y="134"/>
                  </a:cubicBezTo>
                  <a:cubicBezTo>
                    <a:pt x="74" y="133"/>
                    <a:pt x="74" y="131"/>
                    <a:pt x="72" y="131"/>
                  </a:cubicBezTo>
                  <a:cubicBezTo>
                    <a:pt x="71" y="131"/>
                    <a:pt x="70" y="132"/>
                    <a:pt x="69" y="131"/>
                  </a:cubicBezTo>
                  <a:cubicBezTo>
                    <a:pt x="69" y="130"/>
                    <a:pt x="69" y="129"/>
                    <a:pt x="69" y="129"/>
                  </a:cubicBezTo>
                  <a:cubicBezTo>
                    <a:pt x="69" y="127"/>
                    <a:pt x="69" y="126"/>
                    <a:pt x="69" y="125"/>
                  </a:cubicBezTo>
                  <a:cubicBezTo>
                    <a:pt x="68" y="123"/>
                    <a:pt x="68" y="122"/>
                    <a:pt x="67" y="120"/>
                  </a:cubicBezTo>
                  <a:cubicBezTo>
                    <a:pt x="67" y="119"/>
                    <a:pt x="66" y="118"/>
                    <a:pt x="67" y="116"/>
                  </a:cubicBezTo>
                  <a:cubicBezTo>
                    <a:pt x="67" y="116"/>
                    <a:pt x="67" y="115"/>
                    <a:pt x="68" y="114"/>
                  </a:cubicBezTo>
                  <a:cubicBezTo>
                    <a:pt x="68" y="113"/>
                    <a:pt x="68" y="113"/>
                    <a:pt x="68" y="112"/>
                  </a:cubicBezTo>
                  <a:cubicBezTo>
                    <a:pt x="69" y="111"/>
                    <a:pt x="70" y="111"/>
                    <a:pt x="70" y="110"/>
                  </a:cubicBezTo>
                  <a:cubicBezTo>
                    <a:pt x="70" y="109"/>
                    <a:pt x="69" y="108"/>
                    <a:pt x="69" y="108"/>
                  </a:cubicBezTo>
                  <a:cubicBezTo>
                    <a:pt x="69" y="107"/>
                    <a:pt x="69" y="107"/>
                    <a:pt x="68" y="106"/>
                  </a:cubicBezTo>
                  <a:cubicBezTo>
                    <a:pt x="68" y="105"/>
                    <a:pt x="67" y="105"/>
                    <a:pt x="67" y="104"/>
                  </a:cubicBezTo>
                  <a:cubicBezTo>
                    <a:pt x="67" y="103"/>
                    <a:pt x="66" y="102"/>
                    <a:pt x="66" y="101"/>
                  </a:cubicBezTo>
                  <a:cubicBezTo>
                    <a:pt x="66" y="101"/>
                    <a:pt x="66" y="100"/>
                    <a:pt x="66" y="100"/>
                  </a:cubicBezTo>
                  <a:cubicBezTo>
                    <a:pt x="67" y="99"/>
                    <a:pt x="66" y="97"/>
                    <a:pt x="68" y="97"/>
                  </a:cubicBezTo>
                  <a:cubicBezTo>
                    <a:pt x="69" y="96"/>
                    <a:pt x="70" y="96"/>
                    <a:pt x="71" y="95"/>
                  </a:cubicBezTo>
                  <a:cubicBezTo>
                    <a:pt x="71" y="95"/>
                    <a:pt x="71" y="94"/>
                    <a:pt x="71" y="94"/>
                  </a:cubicBezTo>
                  <a:cubicBezTo>
                    <a:pt x="71" y="92"/>
                    <a:pt x="71" y="91"/>
                    <a:pt x="71" y="89"/>
                  </a:cubicBezTo>
                  <a:cubicBezTo>
                    <a:pt x="71" y="88"/>
                    <a:pt x="71" y="86"/>
                    <a:pt x="71" y="85"/>
                  </a:cubicBezTo>
                  <a:cubicBezTo>
                    <a:pt x="71" y="83"/>
                    <a:pt x="72" y="81"/>
                    <a:pt x="72" y="79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2"/>
                    <a:pt x="74" y="72"/>
                    <a:pt x="74" y="71"/>
                  </a:cubicBezTo>
                  <a:cubicBezTo>
                    <a:pt x="75" y="69"/>
                    <a:pt x="75" y="66"/>
                    <a:pt x="75" y="63"/>
                  </a:cubicBezTo>
                  <a:cubicBezTo>
                    <a:pt x="75" y="61"/>
                    <a:pt x="75" y="58"/>
                    <a:pt x="74" y="56"/>
                  </a:cubicBezTo>
                  <a:cubicBezTo>
                    <a:pt x="73" y="54"/>
                    <a:pt x="72" y="53"/>
                    <a:pt x="72" y="51"/>
                  </a:cubicBezTo>
                  <a:cubicBezTo>
                    <a:pt x="72" y="49"/>
                    <a:pt x="71" y="47"/>
                    <a:pt x="71" y="45"/>
                  </a:cubicBezTo>
                  <a:cubicBezTo>
                    <a:pt x="71" y="44"/>
                    <a:pt x="71" y="43"/>
                    <a:pt x="70" y="41"/>
                  </a:cubicBezTo>
                  <a:cubicBezTo>
                    <a:pt x="70" y="40"/>
                    <a:pt x="69" y="40"/>
                    <a:pt x="69" y="39"/>
                  </a:cubicBezTo>
                  <a:cubicBezTo>
                    <a:pt x="69" y="38"/>
                    <a:pt x="70" y="37"/>
                    <a:pt x="69" y="36"/>
                  </a:cubicBezTo>
                  <a:cubicBezTo>
                    <a:pt x="68" y="34"/>
                    <a:pt x="66" y="32"/>
                    <a:pt x="66" y="31"/>
                  </a:cubicBezTo>
                  <a:cubicBezTo>
                    <a:pt x="65" y="29"/>
                    <a:pt x="65" y="28"/>
                    <a:pt x="64" y="27"/>
                  </a:cubicBezTo>
                  <a:cubicBezTo>
                    <a:pt x="63" y="26"/>
                    <a:pt x="62" y="25"/>
                    <a:pt x="61" y="24"/>
                  </a:cubicBezTo>
                  <a:cubicBezTo>
                    <a:pt x="60" y="23"/>
                    <a:pt x="60" y="22"/>
                    <a:pt x="59" y="21"/>
                  </a:cubicBezTo>
                  <a:cubicBezTo>
                    <a:pt x="57" y="19"/>
                    <a:pt x="54" y="21"/>
                    <a:pt x="52" y="19"/>
                  </a:cubicBezTo>
                  <a:cubicBezTo>
                    <a:pt x="51" y="18"/>
                    <a:pt x="51" y="16"/>
                    <a:pt x="50" y="15"/>
                  </a:cubicBezTo>
                  <a:cubicBezTo>
                    <a:pt x="50" y="14"/>
                    <a:pt x="50" y="13"/>
                    <a:pt x="49" y="12"/>
                  </a:cubicBezTo>
                  <a:cubicBezTo>
                    <a:pt x="49" y="13"/>
                    <a:pt x="49" y="13"/>
                    <a:pt x="48" y="14"/>
                  </a:cubicBezTo>
                  <a:cubicBezTo>
                    <a:pt x="48" y="15"/>
                    <a:pt x="48" y="16"/>
                    <a:pt x="47" y="17"/>
                  </a:cubicBezTo>
                  <a:cubicBezTo>
                    <a:pt x="47" y="18"/>
                    <a:pt x="46" y="18"/>
                    <a:pt x="46" y="19"/>
                  </a:cubicBezTo>
                  <a:cubicBezTo>
                    <a:pt x="46" y="20"/>
                    <a:pt x="46" y="21"/>
                    <a:pt x="45" y="21"/>
                  </a:cubicBezTo>
                  <a:cubicBezTo>
                    <a:pt x="44" y="23"/>
                    <a:pt x="42" y="23"/>
                    <a:pt x="41" y="24"/>
                  </a:cubicBezTo>
                  <a:cubicBezTo>
                    <a:pt x="38" y="25"/>
                    <a:pt x="36" y="25"/>
                    <a:pt x="33" y="25"/>
                  </a:cubicBezTo>
                  <a:cubicBezTo>
                    <a:pt x="31" y="25"/>
                    <a:pt x="29" y="26"/>
                    <a:pt x="28" y="23"/>
                  </a:cubicBezTo>
                  <a:cubicBezTo>
                    <a:pt x="28" y="22"/>
                    <a:pt x="28" y="19"/>
                    <a:pt x="28" y="17"/>
                  </a:cubicBezTo>
                  <a:cubicBezTo>
                    <a:pt x="28" y="15"/>
                    <a:pt x="28" y="13"/>
                    <a:pt x="27" y="11"/>
                  </a:cubicBezTo>
                  <a:cubicBezTo>
                    <a:pt x="27" y="10"/>
                    <a:pt x="27" y="10"/>
                    <a:pt x="26" y="10"/>
                  </a:cubicBezTo>
                  <a:cubicBezTo>
                    <a:pt x="26" y="10"/>
                    <a:pt x="24" y="12"/>
                    <a:pt x="24" y="12"/>
                  </a:cubicBezTo>
                  <a:cubicBezTo>
                    <a:pt x="24" y="13"/>
                    <a:pt x="24" y="13"/>
                    <a:pt x="24" y="14"/>
                  </a:cubicBezTo>
                  <a:cubicBezTo>
                    <a:pt x="23" y="16"/>
                    <a:pt x="22" y="17"/>
                    <a:pt x="20" y="19"/>
                  </a:cubicBezTo>
                  <a:cubicBezTo>
                    <a:pt x="19" y="21"/>
                    <a:pt x="18" y="23"/>
                    <a:pt x="16" y="24"/>
                  </a:cubicBezTo>
                  <a:cubicBezTo>
                    <a:pt x="15" y="25"/>
                    <a:pt x="15" y="26"/>
                    <a:pt x="14" y="27"/>
                  </a:cubicBezTo>
                  <a:cubicBezTo>
                    <a:pt x="13" y="28"/>
                    <a:pt x="13" y="29"/>
                    <a:pt x="12" y="30"/>
                  </a:cubicBezTo>
                  <a:cubicBezTo>
                    <a:pt x="12" y="31"/>
                    <a:pt x="11" y="33"/>
                    <a:pt x="10" y="34"/>
                  </a:cubicBezTo>
                  <a:cubicBezTo>
                    <a:pt x="10" y="36"/>
                    <a:pt x="9" y="37"/>
                    <a:pt x="8" y="38"/>
                  </a:cubicBezTo>
                  <a:cubicBezTo>
                    <a:pt x="6" y="39"/>
                    <a:pt x="2" y="39"/>
                    <a:pt x="1" y="41"/>
                  </a:cubicBezTo>
                  <a:cubicBezTo>
                    <a:pt x="1" y="44"/>
                    <a:pt x="3" y="46"/>
                    <a:pt x="5" y="47"/>
                  </a:cubicBezTo>
                  <a:cubicBezTo>
                    <a:pt x="7" y="51"/>
                    <a:pt x="10" y="56"/>
                    <a:pt x="10" y="60"/>
                  </a:cubicBezTo>
                  <a:cubicBezTo>
                    <a:pt x="11" y="63"/>
                    <a:pt x="8" y="65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8" y="68"/>
                    <a:pt x="9" y="68"/>
                    <a:pt x="10" y="69"/>
                  </a:cubicBezTo>
                  <a:cubicBezTo>
                    <a:pt x="13" y="70"/>
                    <a:pt x="16" y="68"/>
                    <a:pt x="19" y="70"/>
                  </a:cubicBezTo>
                  <a:cubicBezTo>
                    <a:pt x="20" y="72"/>
                    <a:pt x="20" y="76"/>
                    <a:pt x="19" y="77"/>
                  </a:cubicBezTo>
                  <a:cubicBezTo>
                    <a:pt x="18" y="78"/>
                    <a:pt x="18" y="78"/>
                    <a:pt x="18" y="79"/>
                  </a:cubicBezTo>
                  <a:cubicBezTo>
                    <a:pt x="18" y="80"/>
                    <a:pt x="18" y="81"/>
                    <a:pt x="18" y="82"/>
                  </a:cubicBezTo>
                  <a:cubicBezTo>
                    <a:pt x="18" y="86"/>
                    <a:pt x="19" y="90"/>
                    <a:pt x="18" y="93"/>
                  </a:cubicBezTo>
                  <a:cubicBezTo>
                    <a:pt x="18" y="95"/>
                    <a:pt x="18" y="97"/>
                    <a:pt x="18" y="99"/>
                  </a:cubicBezTo>
                  <a:cubicBezTo>
                    <a:pt x="18" y="100"/>
                    <a:pt x="18" y="100"/>
                    <a:pt x="18" y="101"/>
                  </a:cubicBezTo>
                  <a:cubicBezTo>
                    <a:pt x="18" y="101"/>
                    <a:pt x="19" y="102"/>
                    <a:pt x="19" y="103"/>
                  </a:cubicBezTo>
                  <a:cubicBezTo>
                    <a:pt x="19" y="104"/>
                    <a:pt x="19" y="105"/>
                    <a:pt x="18" y="103"/>
                  </a:cubicBezTo>
                  <a:cubicBezTo>
                    <a:pt x="16" y="104"/>
                    <a:pt x="13" y="103"/>
                    <a:pt x="10" y="104"/>
                  </a:cubicBezTo>
                  <a:cubicBezTo>
                    <a:pt x="8" y="104"/>
                    <a:pt x="8" y="107"/>
                    <a:pt x="8" y="108"/>
                  </a:cubicBezTo>
                  <a:cubicBezTo>
                    <a:pt x="8" y="110"/>
                    <a:pt x="7" y="111"/>
                    <a:pt x="7" y="112"/>
                  </a:cubicBezTo>
                  <a:cubicBezTo>
                    <a:pt x="8" y="113"/>
                    <a:pt x="9" y="114"/>
                    <a:pt x="10" y="115"/>
                  </a:cubicBezTo>
                  <a:cubicBezTo>
                    <a:pt x="11" y="116"/>
                    <a:pt x="11" y="117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1"/>
                  </a:cubicBezTo>
                  <a:cubicBezTo>
                    <a:pt x="12" y="121"/>
                    <a:pt x="12" y="123"/>
                    <a:pt x="13" y="123"/>
                  </a:cubicBezTo>
                  <a:cubicBezTo>
                    <a:pt x="13" y="124"/>
                    <a:pt x="15" y="124"/>
                    <a:pt x="15" y="125"/>
                  </a:cubicBezTo>
                  <a:cubicBezTo>
                    <a:pt x="15" y="126"/>
                    <a:pt x="15" y="127"/>
                    <a:pt x="14" y="128"/>
                  </a:cubicBezTo>
                  <a:cubicBezTo>
                    <a:pt x="13" y="131"/>
                    <a:pt x="11" y="133"/>
                    <a:pt x="11" y="135"/>
                  </a:cubicBezTo>
                  <a:cubicBezTo>
                    <a:pt x="11" y="136"/>
                    <a:pt x="11" y="138"/>
                    <a:pt x="12" y="139"/>
                  </a:cubicBezTo>
                  <a:cubicBezTo>
                    <a:pt x="12" y="139"/>
                    <a:pt x="13" y="140"/>
                    <a:pt x="13" y="140"/>
                  </a:cubicBezTo>
                  <a:cubicBezTo>
                    <a:pt x="14" y="141"/>
                    <a:pt x="13" y="142"/>
                    <a:pt x="13" y="143"/>
                  </a:cubicBezTo>
                  <a:cubicBezTo>
                    <a:pt x="13" y="144"/>
                    <a:pt x="13" y="145"/>
                    <a:pt x="13" y="146"/>
                  </a:cubicBezTo>
                  <a:cubicBezTo>
                    <a:pt x="13" y="146"/>
                    <a:pt x="12" y="148"/>
                    <a:pt x="12" y="148"/>
                  </a:cubicBezTo>
                  <a:cubicBezTo>
                    <a:pt x="11" y="147"/>
                    <a:pt x="11" y="146"/>
                    <a:pt x="11" y="145"/>
                  </a:cubicBezTo>
                  <a:cubicBezTo>
                    <a:pt x="11" y="144"/>
                    <a:pt x="11" y="143"/>
                    <a:pt x="11" y="142"/>
                  </a:cubicBezTo>
                  <a:cubicBezTo>
                    <a:pt x="10" y="142"/>
                    <a:pt x="8" y="142"/>
                    <a:pt x="8" y="143"/>
                  </a:cubicBezTo>
                  <a:cubicBezTo>
                    <a:pt x="7" y="143"/>
                    <a:pt x="6" y="144"/>
                    <a:pt x="5" y="144"/>
                  </a:cubicBezTo>
                  <a:cubicBezTo>
                    <a:pt x="2" y="148"/>
                    <a:pt x="3" y="152"/>
                    <a:pt x="3" y="156"/>
                  </a:cubicBezTo>
                  <a:cubicBezTo>
                    <a:pt x="3" y="159"/>
                    <a:pt x="2" y="162"/>
                    <a:pt x="1" y="165"/>
                  </a:cubicBezTo>
                  <a:cubicBezTo>
                    <a:pt x="1" y="166"/>
                    <a:pt x="2" y="167"/>
                    <a:pt x="2" y="167"/>
                  </a:cubicBezTo>
                  <a:cubicBezTo>
                    <a:pt x="2" y="169"/>
                    <a:pt x="0" y="173"/>
                    <a:pt x="2" y="17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1" name="Freeform 32">
              <a:extLst>
                <a:ext uri="{FF2B5EF4-FFF2-40B4-BE49-F238E27FC236}">
                  <a16:creationId xmlns:a16="http://schemas.microsoft.com/office/drawing/2014/main" id="{AB551F73-847A-4D4D-BEF6-B2660BF30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350" y="5711825"/>
              <a:ext cx="266700" cy="236538"/>
            </a:xfrm>
            <a:custGeom>
              <a:avLst/>
              <a:gdLst/>
              <a:ahLst/>
              <a:cxnLst>
                <a:cxn ang="0">
                  <a:pos x="137" y="46"/>
                </a:cxn>
                <a:cxn ang="0">
                  <a:pos x="136" y="39"/>
                </a:cxn>
                <a:cxn ang="0">
                  <a:pos x="135" y="32"/>
                </a:cxn>
                <a:cxn ang="0">
                  <a:pos x="132" y="28"/>
                </a:cxn>
                <a:cxn ang="0">
                  <a:pos x="122" y="25"/>
                </a:cxn>
                <a:cxn ang="0">
                  <a:pos x="117" y="20"/>
                </a:cxn>
                <a:cxn ang="0">
                  <a:pos x="115" y="18"/>
                </a:cxn>
                <a:cxn ang="0">
                  <a:pos x="113" y="12"/>
                </a:cxn>
                <a:cxn ang="0">
                  <a:pos x="99" y="2"/>
                </a:cxn>
                <a:cxn ang="0">
                  <a:pos x="90" y="9"/>
                </a:cxn>
                <a:cxn ang="0">
                  <a:pos x="84" y="6"/>
                </a:cxn>
                <a:cxn ang="0">
                  <a:pos x="74" y="8"/>
                </a:cxn>
                <a:cxn ang="0">
                  <a:pos x="53" y="9"/>
                </a:cxn>
                <a:cxn ang="0">
                  <a:pos x="46" y="22"/>
                </a:cxn>
                <a:cxn ang="0">
                  <a:pos x="39" y="15"/>
                </a:cxn>
                <a:cxn ang="0">
                  <a:pos x="19" y="25"/>
                </a:cxn>
                <a:cxn ang="0">
                  <a:pos x="18" y="33"/>
                </a:cxn>
                <a:cxn ang="0">
                  <a:pos x="9" y="39"/>
                </a:cxn>
                <a:cxn ang="0">
                  <a:pos x="5" y="50"/>
                </a:cxn>
                <a:cxn ang="0">
                  <a:pos x="5" y="60"/>
                </a:cxn>
                <a:cxn ang="0">
                  <a:pos x="0" y="66"/>
                </a:cxn>
                <a:cxn ang="0">
                  <a:pos x="3" y="73"/>
                </a:cxn>
                <a:cxn ang="0">
                  <a:pos x="2" y="79"/>
                </a:cxn>
                <a:cxn ang="0">
                  <a:pos x="3" y="90"/>
                </a:cxn>
                <a:cxn ang="0">
                  <a:pos x="6" y="96"/>
                </a:cxn>
                <a:cxn ang="0">
                  <a:pos x="12" y="111"/>
                </a:cxn>
                <a:cxn ang="0">
                  <a:pos x="18" y="114"/>
                </a:cxn>
                <a:cxn ang="0">
                  <a:pos x="28" y="120"/>
                </a:cxn>
                <a:cxn ang="0">
                  <a:pos x="26" y="125"/>
                </a:cxn>
                <a:cxn ang="0">
                  <a:pos x="36" y="119"/>
                </a:cxn>
                <a:cxn ang="0">
                  <a:pos x="50" y="116"/>
                </a:cxn>
                <a:cxn ang="0">
                  <a:pos x="58" y="115"/>
                </a:cxn>
                <a:cxn ang="0">
                  <a:pos x="66" y="115"/>
                </a:cxn>
                <a:cxn ang="0">
                  <a:pos x="74" y="108"/>
                </a:cxn>
                <a:cxn ang="0">
                  <a:pos x="87" y="96"/>
                </a:cxn>
                <a:cxn ang="0">
                  <a:pos x="95" y="97"/>
                </a:cxn>
                <a:cxn ang="0">
                  <a:pos x="104" y="98"/>
                </a:cxn>
                <a:cxn ang="0">
                  <a:pos x="115" y="99"/>
                </a:cxn>
                <a:cxn ang="0">
                  <a:pos x="124" y="99"/>
                </a:cxn>
                <a:cxn ang="0">
                  <a:pos x="126" y="89"/>
                </a:cxn>
                <a:cxn ang="0">
                  <a:pos x="130" y="85"/>
                </a:cxn>
                <a:cxn ang="0">
                  <a:pos x="137" y="80"/>
                </a:cxn>
                <a:cxn ang="0">
                  <a:pos x="139" y="65"/>
                </a:cxn>
                <a:cxn ang="0">
                  <a:pos x="142" y="54"/>
                </a:cxn>
              </a:cxnLst>
              <a:rect l="0" t="0" r="r" b="b"/>
              <a:pathLst>
                <a:path w="143" h="126">
                  <a:moveTo>
                    <a:pt x="143" y="52"/>
                  </a:moveTo>
                  <a:cubicBezTo>
                    <a:pt x="143" y="50"/>
                    <a:pt x="140" y="50"/>
                    <a:pt x="139" y="49"/>
                  </a:cubicBezTo>
                  <a:cubicBezTo>
                    <a:pt x="138" y="48"/>
                    <a:pt x="138" y="47"/>
                    <a:pt x="137" y="46"/>
                  </a:cubicBezTo>
                  <a:cubicBezTo>
                    <a:pt x="137" y="45"/>
                    <a:pt x="137" y="44"/>
                    <a:pt x="137" y="44"/>
                  </a:cubicBezTo>
                  <a:cubicBezTo>
                    <a:pt x="137" y="43"/>
                    <a:pt x="137" y="42"/>
                    <a:pt x="137" y="41"/>
                  </a:cubicBezTo>
                  <a:cubicBezTo>
                    <a:pt x="137" y="40"/>
                    <a:pt x="136" y="40"/>
                    <a:pt x="136" y="39"/>
                  </a:cubicBezTo>
                  <a:cubicBezTo>
                    <a:pt x="136" y="38"/>
                    <a:pt x="136" y="37"/>
                    <a:pt x="136" y="37"/>
                  </a:cubicBezTo>
                  <a:cubicBezTo>
                    <a:pt x="136" y="36"/>
                    <a:pt x="135" y="36"/>
                    <a:pt x="135" y="35"/>
                  </a:cubicBezTo>
                  <a:cubicBezTo>
                    <a:pt x="135" y="34"/>
                    <a:pt x="135" y="33"/>
                    <a:pt x="135" y="32"/>
                  </a:cubicBezTo>
                  <a:cubicBezTo>
                    <a:pt x="135" y="31"/>
                    <a:pt x="134" y="30"/>
                    <a:pt x="134" y="30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8"/>
                    <a:pt x="133" y="28"/>
                    <a:pt x="132" y="28"/>
                  </a:cubicBezTo>
                  <a:cubicBezTo>
                    <a:pt x="131" y="28"/>
                    <a:pt x="130" y="27"/>
                    <a:pt x="129" y="27"/>
                  </a:cubicBezTo>
                  <a:cubicBezTo>
                    <a:pt x="128" y="26"/>
                    <a:pt x="127" y="25"/>
                    <a:pt x="126" y="25"/>
                  </a:cubicBezTo>
                  <a:cubicBezTo>
                    <a:pt x="124" y="24"/>
                    <a:pt x="123" y="25"/>
                    <a:pt x="122" y="25"/>
                  </a:cubicBezTo>
                  <a:cubicBezTo>
                    <a:pt x="121" y="24"/>
                    <a:pt x="120" y="24"/>
                    <a:pt x="119" y="24"/>
                  </a:cubicBezTo>
                  <a:cubicBezTo>
                    <a:pt x="118" y="23"/>
                    <a:pt x="118" y="22"/>
                    <a:pt x="118" y="21"/>
                  </a:cubicBezTo>
                  <a:cubicBezTo>
                    <a:pt x="117" y="21"/>
                    <a:pt x="117" y="20"/>
                    <a:pt x="117" y="20"/>
                  </a:cubicBezTo>
                  <a:cubicBezTo>
                    <a:pt x="116" y="20"/>
                    <a:pt x="115" y="20"/>
                    <a:pt x="115" y="2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7"/>
                    <a:pt x="115" y="17"/>
                  </a:cubicBezTo>
                  <a:cubicBezTo>
                    <a:pt x="114" y="16"/>
                    <a:pt x="114" y="16"/>
                    <a:pt x="114" y="15"/>
                  </a:cubicBezTo>
                  <a:cubicBezTo>
                    <a:pt x="113" y="14"/>
                    <a:pt x="113" y="13"/>
                    <a:pt x="113" y="12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1" y="7"/>
                    <a:pt x="110" y="6"/>
                    <a:pt x="109" y="6"/>
                  </a:cubicBezTo>
                  <a:cubicBezTo>
                    <a:pt x="106" y="4"/>
                    <a:pt x="103" y="0"/>
                    <a:pt x="99" y="2"/>
                  </a:cubicBezTo>
                  <a:cubicBezTo>
                    <a:pt x="97" y="3"/>
                    <a:pt x="96" y="3"/>
                    <a:pt x="95" y="4"/>
                  </a:cubicBezTo>
                  <a:cubicBezTo>
                    <a:pt x="93" y="5"/>
                    <a:pt x="93" y="7"/>
                    <a:pt x="92" y="8"/>
                  </a:cubicBezTo>
                  <a:cubicBezTo>
                    <a:pt x="91" y="9"/>
                    <a:pt x="90" y="9"/>
                    <a:pt x="90" y="9"/>
                  </a:cubicBezTo>
                  <a:cubicBezTo>
                    <a:pt x="88" y="10"/>
                    <a:pt x="89" y="9"/>
                    <a:pt x="88" y="9"/>
                  </a:cubicBezTo>
                  <a:cubicBezTo>
                    <a:pt x="87" y="8"/>
                    <a:pt x="86" y="8"/>
                    <a:pt x="85" y="7"/>
                  </a:cubicBezTo>
                  <a:cubicBezTo>
                    <a:pt x="84" y="7"/>
                    <a:pt x="85" y="7"/>
                    <a:pt x="84" y="6"/>
                  </a:cubicBezTo>
                  <a:cubicBezTo>
                    <a:pt x="83" y="4"/>
                    <a:pt x="82" y="3"/>
                    <a:pt x="80" y="4"/>
                  </a:cubicBezTo>
                  <a:cubicBezTo>
                    <a:pt x="78" y="5"/>
                    <a:pt x="76" y="5"/>
                    <a:pt x="75" y="6"/>
                  </a:cubicBezTo>
                  <a:cubicBezTo>
                    <a:pt x="74" y="7"/>
                    <a:pt x="74" y="8"/>
                    <a:pt x="74" y="8"/>
                  </a:cubicBezTo>
                  <a:cubicBezTo>
                    <a:pt x="73" y="10"/>
                    <a:pt x="73" y="10"/>
                    <a:pt x="71" y="11"/>
                  </a:cubicBezTo>
                  <a:cubicBezTo>
                    <a:pt x="69" y="12"/>
                    <a:pt x="65" y="12"/>
                    <a:pt x="63" y="11"/>
                  </a:cubicBezTo>
                  <a:cubicBezTo>
                    <a:pt x="64" y="8"/>
                    <a:pt x="55" y="8"/>
                    <a:pt x="53" y="9"/>
                  </a:cubicBezTo>
                  <a:cubicBezTo>
                    <a:pt x="53" y="11"/>
                    <a:pt x="49" y="12"/>
                    <a:pt x="50" y="14"/>
                  </a:cubicBezTo>
                  <a:cubicBezTo>
                    <a:pt x="48" y="15"/>
                    <a:pt x="48" y="16"/>
                    <a:pt x="47" y="18"/>
                  </a:cubicBezTo>
                  <a:cubicBezTo>
                    <a:pt x="47" y="19"/>
                    <a:pt x="46" y="21"/>
                    <a:pt x="46" y="22"/>
                  </a:cubicBezTo>
                  <a:cubicBezTo>
                    <a:pt x="45" y="23"/>
                    <a:pt x="43" y="20"/>
                    <a:pt x="42" y="20"/>
                  </a:cubicBezTo>
                  <a:cubicBezTo>
                    <a:pt x="42" y="19"/>
                    <a:pt x="41" y="18"/>
                    <a:pt x="41" y="17"/>
                  </a:cubicBezTo>
                  <a:cubicBezTo>
                    <a:pt x="40" y="16"/>
                    <a:pt x="41" y="16"/>
                    <a:pt x="39" y="15"/>
                  </a:cubicBezTo>
                  <a:cubicBezTo>
                    <a:pt x="36" y="13"/>
                    <a:pt x="32" y="16"/>
                    <a:pt x="29" y="17"/>
                  </a:cubicBezTo>
                  <a:cubicBezTo>
                    <a:pt x="27" y="18"/>
                    <a:pt x="25" y="18"/>
                    <a:pt x="23" y="20"/>
                  </a:cubicBezTo>
                  <a:cubicBezTo>
                    <a:pt x="22" y="21"/>
                    <a:pt x="21" y="23"/>
                    <a:pt x="19" y="25"/>
                  </a:cubicBezTo>
                  <a:cubicBezTo>
                    <a:pt x="19" y="26"/>
                    <a:pt x="18" y="27"/>
                    <a:pt x="18" y="28"/>
                  </a:cubicBezTo>
                  <a:cubicBezTo>
                    <a:pt x="18" y="28"/>
                    <a:pt x="18" y="29"/>
                    <a:pt x="18" y="30"/>
                  </a:cubicBezTo>
                  <a:cubicBezTo>
                    <a:pt x="18" y="31"/>
                    <a:pt x="18" y="32"/>
                    <a:pt x="18" y="33"/>
                  </a:cubicBezTo>
                  <a:cubicBezTo>
                    <a:pt x="17" y="34"/>
                    <a:pt x="16" y="34"/>
                    <a:pt x="15" y="35"/>
                  </a:cubicBezTo>
                  <a:cubicBezTo>
                    <a:pt x="14" y="36"/>
                    <a:pt x="13" y="36"/>
                    <a:pt x="12" y="37"/>
                  </a:cubicBezTo>
                  <a:cubicBezTo>
                    <a:pt x="11" y="38"/>
                    <a:pt x="10" y="39"/>
                    <a:pt x="9" y="39"/>
                  </a:cubicBezTo>
                  <a:cubicBezTo>
                    <a:pt x="9" y="39"/>
                    <a:pt x="8" y="38"/>
                    <a:pt x="8" y="38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6"/>
                    <a:pt x="5" y="48"/>
                    <a:pt x="5" y="50"/>
                  </a:cubicBezTo>
                  <a:cubicBezTo>
                    <a:pt x="5" y="51"/>
                    <a:pt x="5" y="53"/>
                    <a:pt x="5" y="54"/>
                  </a:cubicBezTo>
                  <a:cubicBezTo>
                    <a:pt x="5" y="56"/>
                    <a:pt x="5" y="57"/>
                    <a:pt x="5" y="59"/>
                  </a:cubicBezTo>
                  <a:cubicBezTo>
                    <a:pt x="5" y="59"/>
                    <a:pt x="5" y="60"/>
                    <a:pt x="5" y="60"/>
                  </a:cubicBezTo>
                  <a:cubicBezTo>
                    <a:pt x="4" y="61"/>
                    <a:pt x="3" y="61"/>
                    <a:pt x="2" y="62"/>
                  </a:cubicBezTo>
                  <a:cubicBezTo>
                    <a:pt x="0" y="62"/>
                    <a:pt x="1" y="64"/>
                    <a:pt x="0" y="65"/>
                  </a:cubicBezTo>
                  <a:cubicBezTo>
                    <a:pt x="0" y="65"/>
                    <a:pt x="0" y="66"/>
                    <a:pt x="0" y="66"/>
                  </a:cubicBezTo>
                  <a:cubicBezTo>
                    <a:pt x="0" y="67"/>
                    <a:pt x="1" y="68"/>
                    <a:pt x="1" y="69"/>
                  </a:cubicBezTo>
                  <a:cubicBezTo>
                    <a:pt x="1" y="70"/>
                    <a:pt x="2" y="70"/>
                    <a:pt x="2" y="71"/>
                  </a:cubicBezTo>
                  <a:cubicBezTo>
                    <a:pt x="3" y="72"/>
                    <a:pt x="3" y="72"/>
                    <a:pt x="3" y="73"/>
                  </a:cubicBezTo>
                  <a:cubicBezTo>
                    <a:pt x="3" y="73"/>
                    <a:pt x="4" y="74"/>
                    <a:pt x="4" y="75"/>
                  </a:cubicBezTo>
                  <a:cubicBezTo>
                    <a:pt x="4" y="76"/>
                    <a:pt x="3" y="76"/>
                    <a:pt x="2" y="77"/>
                  </a:cubicBezTo>
                  <a:cubicBezTo>
                    <a:pt x="2" y="78"/>
                    <a:pt x="2" y="78"/>
                    <a:pt x="2" y="79"/>
                  </a:cubicBezTo>
                  <a:cubicBezTo>
                    <a:pt x="1" y="80"/>
                    <a:pt x="1" y="81"/>
                    <a:pt x="1" y="81"/>
                  </a:cubicBezTo>
                  <a:cubicBezTo>
                    <a:pt x="0" y="83"/>
                    <a:pt x="1" y="84"/>
                    <a:pt x="1" y="85"/>
                  </a:cubicBezTo>
                  <a:cubicBezTo>
                    <a:pt x="2" y="87"/>
                    <a:pt x="2" y="88"/>
                    <a:pt x="3" y="90"/>
                  </a:cubicBezTo>
                  <a:cubicBezTo>
                    <a:pt x="3" y="91"/>
                    <a:pt x="3" y="92"/>
                    <a:pt x="3" y="94"/>
                  </a:cubicBezTo>
                  <a:cubicBezTo>
                    <a:pt x="3" y="94"/>
                    <a:pt x="3" y="95"/>
                    <a:pt x="3" y="96"/>
                  </a:cubicBezTo>
                  <a:cubicBezTo>
                    <a:pt x="4" y="97"/>
                    <a:pt x="5" y="96"/>
                    <a:pt x="6" y="96"/>
                  </a:cubicBezTo>
                  <a:cubicBezTo>
                    <a:pt x="8" y="96"/>
                    <a:pt x="8" y="98"/>
                    <a:pt x="9" y="99"/>
                  </a:cubicBezTo>
                  <a:cubicBezTo>
                    <a:pt x="10" y="100"/>
                    <a:pt x="11" y="101"/>
                    <a:pt x="12" y="102"/>
                  </a:cubicBezTo>
                  <a:cubicBezTo>
                    <a:pt x="12" y="105"/>
                    <a:pt x="11" y="108"/>
                    <a:pt x="12" y="111"/>
                  </a:cubicBezTo>
                  <a:cubicBezTo>
                    <a:pt x="12" y="111"/>
                    <a:pt x="12" y="112"/>
                    <a:pt x="13" y="112"/>
                  </a:cubicBezTo>
                  <a:cubicBezTo>
                    <a:pt x="13" y="112"/>
                    <a:pt x="14" y="112"/>
                    <a:pt x="15" y="112"/>
                  </a:cubicBezTo>
                  <a:cubicBezTo>
                    <a:pt x="16" y="112"/>
                    <a:pt x="16" y="114"/>
                    <a:pt x="18" y="114"/>
                  </a:cubicBezTo>
                  <a:cubicBezTo>
                    <a:pt x="19" y="115"/>
                    <a:pt x="20" y="113"/>
                    <a:pt x="21" y="113"/>
                  </a:cubicBezTo>
                  <a:cubicBezTo>
                    <a:pt x="23" y="112"/>
                    <a:pt x="25" y="114"/>
                    <a:pt x="26" y="115"/>
                  </a:cubicBezTo>
                  <a:cubicBezTo>
                    <a:pt x="27" y="116"/>
                    <a:pt x="28" y="118"/>
                    <a:pt x="28" y="120"/>
                  </a:cubicBezTo>
                  <a:cubicBezTo>
                    <a:pt x="27" y="121"/>
                    <a:pt x="27" y="121"/>
                    <a:pt x="27" y="122"/>
                  </a:cubicBezTo>
                  <a:cubicBezTo>
                    <a:pt x="27" y="122"/>
                    <a:pt x="27" y="123"/>
                    <a:pt x="27" y="123"/>
                  </a:cubicBezTo>
                  <a:cubicBezTo>
                    <a:pt x="27" y="124"/>
                    <a:pt x="26" y="124"/>
                    <a:pt x="26" y="125"/>
                  </a:cubicBezTo>
                  <a:cubicBezTo>
                    <a:pt x="25" y="125"/>
                    <a:pt x="25" y="126"/>
                    <a:pt x="25" y="126"/>
                  </a:cubicBezTo>
                  <a:cubicBezTo>
                    <a:pt x="27" y="125"/>
                    <a:pt x="29" y="123"/>
                    <a:pt x="31" y="121"/>
                  </a:cubicBezTo>
                  <a:cubicBezTo>
                    <a:pt x="32" y="120"/>
                    <a:pt x="34" y="119"/>
                    <a:pt x="36" y="119"/>
                  </a:cubicBezTo>
                  <a:cubicBezTo>
                    <a:pt x="37" y="118"/>
                    <a:pt x="39" y="117"/>
                    <a:pt x="40" y="116"/>
                  </a:cubicBezTo>
                  <a:cubicBezTo>
                    <a:pt x="42" y="116"/>
                    <a:pt x="44" y="116"/>
                    <a:pt x="45" y="116"/>
                  </a:cubicBezTo>
                  <a:cubicBezTo>
                    <a:pt x="47" y="116"/>
                    <a:pt x="48" y="116"/>
                    <a:pt x="50" y="116"/>
                  </a:cubicBezTo>
                  <a:cubicBezTo>
                    <a:pt x="52" y="116"/>
                    <a:pt x="53" y="117"/>
                    <a:pt x="55" y="117"/>
                  </a:cubicBezTo>
                  <a:cubicBezTo>
                    <a:pt x="56" y="117"/>
                    <a:pt x="57" y="117"/>
                    <a:pt x="57" y="117"/>
                  </a:cubicBezTo>
                  <a:cubicBezTo>
                    <a:pt x="58" y="116"/>
                    <a:pt x="57" y="116"/>
                    <a:pt x="58" y="115"/>
                  </a:cubicBezTo>
                  <a:cubicBezTo>
                    <a:pt x="58" y="115"/>
                    <a:pt x="59" y="115"/>
                    <a:pt x="59" y="115"/>
                  </a:cubicBezTo>
                  <a:cubicBezTo>
                    <a:pt x="60" y="115"/>
                    <a:pt x="61" y="116"/>
                    <a:pt x="62" y="115"/>
                  </a:cubicBezTo>
                  <a:cubicBezTo>
                    <a:pt x="63" y="115"/>
                    <a:pt x="65" y="115"/>
                    <a:pt x="66" y="115"/>
                  </a:cubicBezTo>
                  <a:cubicBezTo>
                    <a:pt x="67" y="115"/>
                    <a:pt x="69" y="114"/>
                    <a:pt x="70" y="113"/>
                  </a:cubicBezTo>
                  <a:cubicBezTo>
                    <a:pt x="71" y="113"/>
                    <a:pt x="72" y="111"/>
                    <a:pt x="73" y="111"/>
                  </a:cubicBezTo>
                  <a:cubicBezTo>
                    <a:pt x="73" y="110"/>
                    <a:pt x="73" y="109"/>
                    <a:pt x="74" y="108"/>
                  </a:cubicBezTo>
                  <a:cubicBezTo>
                    <a:pt x="75" y="106"/>
                    <a:pt x="78" y="105"/>
                    <a:pt x="79" y="103"/>
                  </a:cubicBezTo>
                  <a:cubicBezTo>
                    <a:pt x="80" y="102"/>
                    <a:pt x="81" y="101"/>
                    <a:pt x="82" y="100"/>
                  </a:cubicBezTo>
                  <a:cubicBezTo>
                    <a:pt x="83" y="98"/>
                    <a:pt x="85" y="96"/>
                    <a:pt x="87" y="96"/>
                  </a:cubicBezTo>
                  <a:cubicBezTo>
                    <a:pt x="87" y="96"/>
                    <a:pt x="88" y="96"/>
                    <a:pt x="89" y="97"/>
                  </a:cubicBezTo>
                  <a:cubicBezTo>
                    <a:pt x="90" y="97"/>
                    <a:pt x="92" y="98"/>
                    <a:pt x="93" y="98"/>
                  </a:cubicBezTo>
                  <a:cubicBezTo>
                    <a:pt x="94" y="98"/>
                    <a:pt x="95" y="97"/>
                    <a:pt x="95" y="97"/>
                  </a:cubicBezTo>
                  <a:cubicBezTo>
                    <a:pt x="96" y="96"/>
                    <a:pt x="97" y="96"/>
                    <a:pt x="98" y="96"/>
                  </a:cubicBezTo>
                  <a:cubicBezTo>
                    <a:pt x="99" y="97"/>
                    <a:pt x="101" y="97"/>
                    <a:pt x="102" y="98"/>
                  </a:cubicBezTo>
                  <a:cubicBezTo>
                    <a:pt x="103" y="98"/>
                    <a:pt x="103" y="98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7" y="98"/>
                    <a:pt x="109" y="98"/>
                    <a:pt x="111" y="98"/>
                  </a:cubicBezTo>
                  <a:cubicBezTo>
                    <a:pt x="112" y="98"/>
                    <a:pt x="113" y="99"/>
                    <a:pt x="115" y="99"/>
                  </a:cubicBezTo>
                  <a:cubicBezTo>
                    <a:pt x="116" y="99"/>
                    <a:pt x="117" y="99"/>
                    <a:pt x="118" y="99"/>
                  </a:cubicBezTo>
                  <a:cubicBezTo>
                    <a:pt x="118" y="98"/>
                    <a:pt x="121" y="96"/>
                    <a:pt x="122" y="96"/>
                  </a:cubicBezTo>
                  <a:cubicBezTo>
                    <a:pt x="123" y="97"/>
                    <a:pt x="123" y="99"/>
                    <a:pt x="124" y="99"/>
                  </a:cubicBezTo>
                  <a:cubicBezTo>
                    <a:pt x="125" y="98"/>
                    <a:pt x="125" y="97"/>
                    <a:pt x="125" y="96"/>
                  </a:cubicBezTo>
                  <a:cubicBezTo>
                    <a:pt x="125" y="94"/>
                    <a:pt x="125" y="93"/>
                    <a:pt x="126" y="91"/>
                  </a:cubicBezTo>
                  <a:cubicBezTo>
                    <a:pt x="126" y="90"/>
                    <a:pt x="126" y="90"/>
                    <a:pt x="126" y="89"/>
                  </a:cubicBezTo>
                  <a:cubicBezTo>
                    <a:pt x="126" y="89"/>
                    <a:pt x="126" y="89"/>
                    <a:pt x="127" y="88"/>
                  </a:cubicBezTo>
                  <a:cubicBezTo>
                    <a:pt x="127" y="88"/>
                    <a:pt x="126" y="86"/>
                    <a:pt x="127" y="86"/>
                  </a:cubicBezTo>
                  <a:cubicBezTo>
                    <a:pt x="127" y="84"/>
                    <a:pt x="129" y="85"/>
                    <a:pt x="130" y="85"/>
                  </a:cubicBezTo>
                  <a:cubicBezTo>
                    <a:pt x="131" y="85"/>
                    <a:pt x="132" y="83"/>
                    <a:pt x="133" y="83"/>
                  </a:cubicBezTo>
                  <a:cubicBezTo>
                    <a:pt x="134" y="82"/>
                    <a:pt x="134" y="82"/>
                    <a:pt x="135" y="81"/>
                  </a:cubicBezTo>
                  <a:cubicBezTo>
                    <a:pt x="136" y="81"/>
                    <a:pt x="137" y="81"/>
                    <a:pt x="137" y="80"/>
                  </a:cubicBezTo>
                  <a:cubicBezTo>
                    <a:pt x="138" y="80"/>
                    <a:pt x="138" y="79"/>
                    <a:pt x="138" y="78"/>
                  </a:cubicBezTo>
                  <a:cubicBezTo>
                    <a:pt x="138" y="74"/>
                    <a:pt x="139" y="71"/>
                    <a:pt x="139" y="67"/>
                  </a:cubicBezTo>
                  <a:cubicBezTo>
                    <a:pt x="139" y="66"/>
                    <a:pt x="139" y="65"/>
                    <a:pt x="139" y="65"/>
                  </a:cubicBezTo>
                  <a:cubicBezTo>
                    <a:pt x="138" y="63"/>
                    <a:pt x="137" y="61"/>
                    <a:pt x="137" y="60"/>
                  </a:cubicBezTo>
                  <a:cubicBezTo>
                    <a:pt x="137" y="58"/>
                    <a:pt x="139" y="57"/>
                    <a:pt x="140" y="56"/>
                  </a:cubicBezTo>
                  <a:cubicBezTo>
                    <a:pt x="141" y="55"/>
                    <a:pt x="142" y="55"/>
                    <a:pt x="142" y="54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3"/>
                    <a:pt x="143" y="53"/>
                    <a:pt x="143" y="5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2" name="Freeform 33">
              <a:extLst>
                <a:ext uri="{FF2B5EF4-FFF2-40B4-BE49-F238E27FC236}">
                  <a16:creationId xmlns:a16="http://schemas.microsoft.com/office/drawing/2014/main" id="{35258AA6-27F2-4EAB-A0DC-0B45FB0FE6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5313" y="5438775"/>
              <a:ext cx="666750" cy="452438"/>
            </a:xfrm>
            <a:custGeom>
              <a:avLst/>
              <a:gdLst/>
              <a:ahLst/>
              <a:cxnLst>
                <a:cxn ang="0">
                  <a:pos x="357" y="62"/>
                </a:cxn>
                <a:cxn ang="0">
                  <a:pos x="346" y="45"/>
                </a:cxn>
                <a:cxn ang="0">
                  <a:pos x="318" y="38"/>
                </a:cxn>
                <a:cxn ang="0">
                  <a:pos x="312" y="26"/>
                </a:cxn>
                <a:cxn ang="0">
                  <a:pos x="298" y="24"/>
                </a:cxn>
                <a:cxn ang="0">
                  <a:pos x="287" y="21"/>
                </a:cxn>
                <a:cxn ang="0">
                  <a:pos x="272" y="13"/>
                </a:cxn>
                <a:cxn ang="0">
                  <a:pos x="241" y="16"/>
                </a:cxn>
                <a:cxn ang="0">
                  <a:pos x="206" y="25"/>
                </a:cxn>
                <a:cxn ang="0">
                  <a:pos x="190" y="41"/>
                </a:cxn>
                <a:cxn ang="0">
                  <a:pos x="173" y="50"/>
                </a:cxn>
                <a:cxn ang="0">
                  <a:pos x="147" y="44"/>
                </a:cxn>
                <a:cxn ang="0">
                  <a:pos x="111" y="44"/>
                </a:cxn>
                <a:cxn ang="0">
                  <a:pos x="79" y="36"/>
                </a:cxn>
                <a:cxn ang="0">
                  <a:pos x="38" y="33"/>
                </a:cxn>
                <a:cxn ang="0">
                  <a:pos x="31" y="15"/>
                </a:cxn>
                <a:cxn ang="0">
                  <a:pos x="16" y="9"/>
                </a:cxn>
                <a:cxn ang="0">
                  <a:pos x="5" y="21"/>
                </a:cxn>
                <a:cxn ang="0">
                  <a:pos x="4" y="44"/>
                </a:cxn>
                <a:cxn ang="0">
                  <a:pos x="7" y="52"/>
                </a:cxn>
                <a:cxn ang="0">
                  <a:pos x="8" y="62"/>
                </a:cxn>
                <a:cxn ang="0">
                  <a:pos x="22" y="72"/>
                </a:cxn>
                <a:cxn ang="0">
                  <a:pos x="31" y="84"/>
                </a:cxn>
                <a:cxn ang="0">
                  <a:pos x="16" y="105"/>
                </a:cxn>
                <a:cxn ang="0">
                  <a:pos x="1" y="108"/>
                </a:cxn>
                <a:cxn ang="0">
                  <a:pos x="1" y="131"/>
                </a:cxn>
                <a:cxn ang="0">
                  <a:pos x="9" y="147"/>
                </a:cxn>
                <a:cxn ang="0">
                  <a:pos x="4" y="163"/>
                </a:cxn>
                <a:cxn ang="0">
                  <a:pos x="7" y="167"/>
                </a:cxn>
                <a:cxn ang="0">
                  <a:pos x="21" y="174"/>
                </a:cxn>
                <a:cxn ang="0">
                  <a:pos x="25" y="183"/>
                </a:cxn>
                <a:cxn ang="0">
                  <a:pos x="28" y="195"/>
                </a:cxn>
                <a:cxn ang="0">
                  <a:pos x="26" y="206"/>
                </a:cxn>
                <a:cxn ang="0">
                  <a:pos x="27" y="226"/>
                </a:cxn>
                <a:cxn ang="0">
                  <a:pos x="49" y="230"/>
                </a:cxn>
                <a:cxn ang="0">
                  <a:pos x="76" y="226"/>
                </a:cxn>
                <a:cxn ang="0">
                  <a:pos x="91" y="216"/>
                </a:cxn>
                <a:cxn ang="0">
                  <a:pos x="105" y="216"/>
                </a:cxn>
                <a:cxn ang="0">
                  <a:pos x="116" y="223"/>
                </a:cxn>
                <a:cxn ang="0">
                  <a:pos x="129" y="235"/>
                </a:cxn>
                <a:cxn ang="0">
                  <a:pos x="146" y="237"/>
                </a:cxn>
                <a:cxn ang="0">
                  <a:pos x="162" y="242"/>
                </a:cxn>
                <a:cxn ang="0">
                  <a:pos x="189" y="238"/>
                </a:cxn>
                <a:cxn ang="0">
                  <a:pos x="206" y="227"/>
                </a:cxn>
                <a:cxn ang="0">
                  <a:pos x="209" y="205"/>
                </a:cxn>
                <a:cxn ang="0">
                  <a:pos x="230" y="198"/>
                </a:cxn>
                <a:cxn ang="0">
                  <a:pos x="238" y="189"/>
                </a:cxn>
                <a:cxn ang="0">
                  <a:pos x="266" y="179"/>
                </a:cxn>
                <a:cxn ang="0">
                  <a:pos x="286" y="191"/>
                </a:cxn>
                <a:cxn ang="0">
                  <a:pos x="310" y="189"/>
                </a:cxn>
                <a:cxn ang="0">
                  <a:pos x="302" y="169"/>
                </a:cxn>
                <a:cxn ang="0">
                  <a:pos x="301" y="156"/>
                </a:cxn>
                <a:cxn ang="0">
                  <a:pos x="284" y="148"/>
                </a:cxn>
                <a:cxn ang="0">
                  <a:pos x="292" y="140"/>
                </a:cxn>
                <a:cxn ang="0">
                  <a:pos x="299" y="132"/>
                </a:cxn>
                <a:cxn ang="0">
                  <a:pos x="313" y="121"/>
                </a:cxn>
                <a:cxn ang="0">
                  <a:pos x="310" y="108"/>
                </a:cxn>
                <a:cxn ang="0">
                  <a:pos x="314" y="90"/>
                </a:cxn>
                <a:cxn ang="0">
                  <a:pos x="320" y="76"/>
                </a:cxn>
                <a:cxn ang="0">
                  <a:pos x="339" y="74"/>
                </a:cxn>
                <a:cxn ang="0">
                  <a:pos x="356" y="69"/>
                </a:cxn>
              </a:cxnLst>
              <a:rect l="0" t="0" r="r" b="b"/>
              <a:pathLst>
                <a:path w="357" h="242">
                  <a:moveTo>
                    <a:pt x="345" y="45"/>
                  </a:moveTo>
                  <a:cubicBezTo>
                    <a:pt x="345" y="45"/>
                    <a:pt x="346" y="45"/>
                    <a:pt x="346" y="45"/>
                  </a:cubicBezTo>
                  <a:cubicBezTo>
                    <a:pt x="346" y="45"/>
                    <a:pt x="347" y="45"/>
                    <a:pt x="347" y="45"/>
                  </a:cubicBezTo>
                  <a:lnTo>
                    <a:pt x="345" y="45"/>
                  </a:lnTo>
                  <a:close/>
                  <a:moveTo>
                    <a:pt x="357" y="62"/>
                  </a:moveTo>
                  <a:cubicBezTo>
                    <a:pt x="357" y="62"/>
                    <a:pt x="357" y="61"/>
                    <a:pt x="356" y="60"/>
                  </a:cubicBezTo>
                  <a:cubicBezTo>
                    <a:pt x="356" y="59"/>
                    <a:pt x="354" y="59"/>
                    <a:pt x="354" y="58"/>
                  </a:cubicBezTo>
                  <a:cubicBezTo>
                    <a:pt x="353" y="57"/>
                    <a:pt x="353" y="54"/>
                    <a:pt x="352" y="53"/>
                  </a:cubicBezTo>
                  <a:cubicBezTo>
                    <a:pt x="351" y="51"/>
                    <a:pt x="350" y="50"/>
                    <a:pt x="350" y="48"/>
                  </a:cubicBezTo>
                  <a:cubicBezTo>
                    <a:pt x="349" y="48"/>
                    <a:pt x="347" y="46"/>
                    <a:pt x="346" y="45"/>
                  </a:cubicBezTo>
                  <a:cubicBezTo>
                    <a:pt x="343" y="45"/>
                    <a:pt x="339" y="45"/>
                    <a:pt x="336" y="45"/>
                  </a:cubicBezTo>
                  <a:cubicBezTo>
                    <a:pt x="333" y="44"/>
                    <a:pt x="331" y="43"/>
                    <a:pt x="329" y="43"/>
                  </a:cubicBezTo>
                  <a:cubicBezTo>
                    <a:pt x="326" y="42"/>
                    <a:pt x="323" y="42"/>
                    <a:pt x="321" y="41"/>
                  </a:cubicBezTo>
                  <a:cubicBezTo>
                    <a:pt x="320" y="41"/>
                    <a:pt x="319" y="40"/>
                    <a:pt x="319" y="39"/>
                  </a:cubicBezTo>
                  <a:cubicBezTo>
                    <a:pt x="318" y="39"/>
                    <a:pt x="319" y="38"/>
                    <a:pt x="318" y="38"/>
                  </a:cubicBezTo>
                  <a:cubicBezTo>
                    <a:pt x="318" y="36"/>
                    <a:pt x="317" y="36"/>
                    <a:pt x="316" y="35"/>
                  </a:cubicBezTo>
                  <a:cubicBezTo>
                    <a:pt x="316" y="35"/>
                    <a:pt x="316" y="34"/>
                    <a:pt x="316" y="34"/>
                  </a:cubicBezTo>
                  <a:cubicBezTo>
                    <a:pt x="315" y="34"/>
                    <a:pt x="315" y="34"/>
                    <a:pt x="314" y="33"/>
                  </a:cubicBezTo>
                  <a:cubicBezTo>
                    <a:pt x="313" y="32"/>
                    <a:pt x="314" y="31"/>
                    <a:pt x="313" y="30"/>
                  </a:cubicBezTo>
                  <a:cubicBezTo>
                    <a:pt x="313" y="28"/>
                    <a:pt x="313" y="28"/>
                    <a:pt x="312" y="26"/>
                  </a:cubicBezTo>
                  <a:cubicBezTo>
                    <a:pt x="311" y="26"/>
                    <a:pt x="311" y="25"/>
                    <a:pt x="311" y="25"/>
                  </a:cubicBezTo>
                  <a:cubicBezTo>
                    <a:pt x="311" y="24"/>
                    <a:pt x="311" y="24"/>
                    <a:pt x="311" y="23"/>
                  </a:cubicBezTo>
                  <a:cubicBezTo>
                    <a:pt x="310" y="21"/>
                    <a:pt x="305" y="25"/>
                    <a:pt x="304" y="26"/>
                  </a:cubicBezTo>
                  <a:cubicBezTo>
                    <a:pt x="303" y="26"/>
                    <a:pt x="301" y="26"/>
                    <a:pt x="300" y="26"/>
                  </a:cubicBezTo>
                  <a:cubicBezTo>
                    <a:pt x="300" y="26"/>
                    <a:pt x="299" y="24"/>
                    <a:pt x="298" y="24"/>
                  </a:cubicBezTo>
                  <a:cubicBezTo>
                    <a:pt x="298" y="23"/>
                    <a:pt x="297" y="23"/>
                    <a:pt x="297" y="22"/>
                  </a:cubicBezTo>
                  <a:cubicBezTo>
                    <a:pt x="296" y="20"/>
                    <a:pt x="297" y="20"/>
                    <a:pt x="294" y="20"/>
                  </a:cubicBezTo>
                  <a:cubicBezTo>
                    <a:pt x="293" y="20"/>
                    <a:pt x="292" y="20"/>
                    <a:pt x="291" y="20"/>
                  </a:cubicBezTo>
                  <a:cubicBezTo>
                    <a:pt x="291" y="20"/>
                    <a:pt x="289" y="21"/>
                    <a:pt x="289" y="21"/>
                  </a:cubicBezTo>
                  <a:cubicBezTo>
                    <a:pt x="288" y="21"/>
                    <a:pt x="288" y="21"/>
                    <a:pt x="287" y="21"/>
                  </a:cubicBezTo>
                  <a:cubicBezTo>
                    <a:pt x="286" y="20"/>
                    <a:pt x="284" y="19"/>
                    <a:pt x="283" y="19"/>
                  </a:cubicBezTo>
                  <a:cubicBezTo>
                    <a:pt x="282" y="19"/>
                    <a:pt x="280" y="19"/>
                    <a:pt x="280" y="19"/>
                  </a:cubicBezTo>
                  <a:cubicBezTo>
                    <a:pt x="279" y="19"/>
                    <a:pt x="278" y="18"/>
                    <a:pt x="277" y="18"/>
                  </a:cubicBezTo>
                  <a:cubicBezTo>
                    <a:pt x="276" y="17"/>
                    <a:pt x="275" y="17"/>
                    <a:pt x="274" y="16"/>
                  </a:cubicBezTo>
                  <a:cubicBezTo>
                    <a:pt x="273" y="15"/>
                    <a:pt x="273" y="14"/>
                    <a:pt x="272" y="13"/>
                  </a:cubicBezTo>
                  <a:cubicBezTo>
                    <a:pt x="270" y="12"/>
                    <a:pt x="268" y="11"/>
                    <a:pt x="267" y="11"/>
                  </a:cubicBezTo>
                  <a:cubicBezTo>
                    <a:pt x="266" y="10"/>
                    <a:pt x="264" y="9"/>
                    <a:pt x="263" y="9"/>
                  </a:cubicBezTo>
                  <a:cubicBezTo>
                    <a:pt x="260" y="8"/>
                    <a:pt x="258" y="10"/>
                    <a:pt x="256" y="11"/>
                  </a:cubicBezTo>
                  <a:cubicBezTo>
                    <a:pt x="253" y="13"/>
                    <a:pt x="251" y="14"/>
                    <a:pt x="248" y="15"/>
                  </a:cubicBezTo>
                  <a:cubicBezTo>
                    <a:pt x="246" y="16"/>
                    <a:pt x="244" y="16"/>
                    <a:pt x="241" y="16"/>
                  </a:cubicBezTo>
                  <a:cubicBezTo>
                    <a:pt x="239" y="16"/>
                    <a:pt x="236" y="16"/>
                    <a:pt x="234" y="16"/>
                  </a:cubicBezTo>
                  <a:cubicBezTo>
                    <a:pt x="231" y="16"/>
                    <a:pt x="228" y="18"/>
                    <a:pt x="225" y="19"/>
                  </a:cubicBezTo>
                  <a:cubicBezTo>
                    <a:pt x="224" y="20"/>
                    <a:pt x="223" y="20"/>
                    <a:pt x="221" y="21"/>
                  </a:cubicBezTo>
                  <a:cubicBezTo>
                    <a:pt x="218" y="21"/>
                    <a:pt x="216" y="21"/>
                    <a:pt x="214" y="22"/>
                  </a:cubicBezTo>
                  <a:cubicBezTo>
                    <a:pt x="211" y="23"/>
                    <a:pt x="208" y="23"/>
                    <a:pt x="206" y="25"/>
                  </a:cubicBezTo>
                  <a:cubicBezTo>
                    <a:pt x="205" y="25"/>
                    <a:pt x="204" y="26"/>
                    <a:pt x="203" y="27"/>
                  </a:cubicBezTo>
                  <a:cubicBezTo>
                    <a:pt x="201" y="28"/>
                    <a:pt x="199" y="29"/>
                    <a:pt x="198" y="30"/>
                  </a:cubicBezTo>
                  <a:cubicBezTo>
                    <a:pt x="198" y="31"/>
                    <a:pt x="198" y="32"/>
                    <a:pt x="198" y="33"/>
                  </a:cubicBezTo>
                  <a:cubicBezTo>
                    <a:pt x="198" y="35"/>
                    <a:pt x="197" y="36"/>
                    <a:pt x="195" y="37"/>
                  </a:cubicBezTo>
                  <a:cubicBezTo>
                    <a:pt x="194" y="38"/>
                    <a:pt x="191" y="39"/>
                    <a:pt x="190" y="41"/>
                  </a:cubicBezTo>
                  <a:cubicBezTo>
                    <a:pt x="190" y="42"/>
                    <a:pt x="191" y="43"/>
                    <a:pt x="190" y="44"/>
                  </a:cubicBezTo>
                  <a:cubicBezTo>
                    <a:pt x="189" y="46"/>
                    <a:pt x="187" y="45"/>
                    <a:pt x="185" y="45"/>
                  </a:cubicBezTo>
                  <a:cubicBezTo>
                    <a:pt x="183" y="45"/>
                    <a:pt x="182" y="45"/>
                    <a:pt x="180" y="47"/>
                  </a:cubicBezTo>
                  <a:cubicBezTo>
                    <a:pt x="179" y="48"/>
                    <a:pt x="178" y="48"/>
                    <a:pt x="176" y="49"/>
                  </a:cubicBezTo>
                  <a:cubicBezTo>
                    <a:pt x="175" y="50"/>
                    <a:pt x="175" y="50"/>
                    <a:pt x="173" y="50"/>
                  </a:cubicBezTo>
                  <a:cubicBezTo>
                    <a:pt x="171" y="50"/>
                    <a:pt x="168" y="48"/>
                    <a:pt x="165" y="48"/>
                  </a:cubicBezTo>
                  <a:cubicBezTo>
                    <a:pt x="165" y="48"/>
                    <a:pt x="165" y="48"/>
                    <a:pt x="164" y="48"/>
                  </a:cubicBezTo>
                  <a:cubicBezTo>
                    <a:pt x="163" y="48"/>
                    <a:pt x="162" y="47"/>
                    <a:pt x="161" y="47"/>
                  </a:cubicBezTo>
                  <a:cubicBezTo>
                    <a:pt x="159" y="46"/>
                    <a:pt x="156" y="45"/>
                    <a:pt x="153" y="44"/>
                  </a:cubicBezTo>
                  <a:cubicBezTo>
                    <a:pt x="151" y="44"/>
                    <a:pt x="149" y="44"/>
                    <a:pt x="147" y="44"/>
                  </a:cubicBezTo>
                  <a:cubicBezTo>
                    <a:pt x="145" y="44"/>
                    <a:pt x="143" y="41"/>
                    <a:pt x="141" y="40"/>
                  </a:cubicBezTo>
                  <a:cubicBezTo>
                    <a:pt x="138" y="39"/>
                    <a:pt x="138" y="40"/>
                    <a:pt x="136" y="41"/>
                  </a:cubicBezTo>
                  <a:cubicBezTo>
                    <a:pt x="134" y="42"/>
                    <a:pt x="132" y="42"/>
                    <a:pt x="130" y="42"/>
                  </a:cubicBezTo>
                  <a:cubicBezTo>
                    <a:pt x="126" y="41"/>
                    <a:pt x="122" y="40"/>
                    <a:pt x="118" y="41"/>
                  </a:cubicBezTo>
                  <a:cubicBezTo>
                    <a:pt x="115" y="41"/>
                    <a:pt x="113" y="43"/>
                    <a:pt x="111" y="44"/>
                  </a:cubicBezTo>
                  <a:cubicBezTo>
                    <a:pt x="109" y="45"/>
                    <a:pt x="105" y="45"/>
                    <a:pt x="103" y="45"/>
                  </a:cubicBezTo>
                  <a:cubicBezTo>
                    <a:pt x="99" y="44"/>
                    <a:pt x="97" y="40"/>
                    <a:pt x="93" y="40"/>
                  </a:cubicBezTo>
                  <a:cubicBezTo>
                    <a:pt x="92" y="40"/>
                    <a:pt x="92" y="41"/>
                    <a:pt x="91" y="41"/>
                  </a:cubicBezTo>
                  <a:cubicBezTo>
                    <a:pt x="90" y="41"/>
                    <a:pt x="88" y="40"/>
                    <a:pt x="87" y="39"/>
                  </a:cubicBezTo>
                  <a:cubicBezTo>
                    <a:pt x="84" y="38"/>
                    <a:pt x="82" y="37"/>
                    <a:pt x="79" y="36"/>
                  </a:cubicBezTo>
                  <a:cubicBezTo>
                    <a:pt x="78" y="35"/>
                    <a:pt x="76" y="35"/>
                    <a:pt x="75" y="35"/>
                  </a:cubicBezTo>
                  <a:cubicBezTo>
                    <a:pt x="73" y="34"/>
                    <a:pt x="72" y="33"/>
                    <a:pt x="70" y="33"/>
                  </a:cubicBezTo>
                  <a:cubicBezTo>
                    <a:pt x="67" y="31"/>
                    <a:pt x="64" y="31"/>
                    <a:pt x="61" y="31"/>
                  </a:cubicBezTo>
                  <a:cubicBezTo>
                    <a:pt x="56" y="31"/>
                    <a:pt x="52" y="30"/>
                    <a:pt x="47" y="30"/>
                  </a:cubicBezTo>
                  <a:cubicBezTo>
                    <a:pt x="43" y="30"/>
                    <a:pt x="41" y="34"/>
                    <a:pt x="38" y="33"/>
                  </a:cubicBezTo>
                  <a:cubicBezTo>
                    <a:pt x="36" y="33"/>
                    <a:pt x="35" y="32"/>
                    <a:pt x="33" y="32"/>
                  </a:cubicBezTo>
                  <a:cubicBezTo>
                    <a:pt x="31" y="32"/>
                    <a:pt x="30" y="32"/>
                    <a:pt x="28" y="31"/>
                  </a:cubicBezTo>
                  <a:cubicBezTo>
                    <a:pt x="26" y="29"/>
                    <a:pt x="26" y="24"/>
                    <a:pt x="26" y="22"/>
                  </a:cubicBezTo>
                  <a:cubicBezTo>
                    <a:pt x="26" y="21"/>
                    <a:pt x="26" y="18"/>
                    <a:pt x="27" y="18"/>
                  </a:cubicBezTo>
                  <a:cubicBezTo>
                    <a:pt x="28" y="17"/>
                    <a:pt x="30" y="16"/>
                    <a:pt x="31" y="15"/>
                  </a:cubicBezTo>
                  <a:cubicBezTo>
                    <a:pt x="33" y="14"/>
                    <a:pt x="36" y="13"/>
                    <a:pt x="35" y="10"/>
                  </a:cubicBezTo>
                  <a:cubicBezTo>
                    <a:pt x="34" y="7"/>
                    <a:pt x="29" y="6"/>
                    <a:pt x="26" y="4"/>
                  </a:cubicBezTo>
                  <a:cubicBezTo>
                    <a:pt x="25" y="3"/>
                    <a:pt x="24" y="2"/>
                    <a:pt x="22" y="1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6" y="3"/>
                    <a:pt x="16" y="6"/>
                    <a:pt x="16" y="9"/>
                  </a:cubicBezTo>
                  <a:cubicBezTo>
                    <a:pt x="16" y="10"/>
                    <a:pt x="16" y="11"/>
                    <a:pt x="15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2"/>
                    <a:pt x="10" y="12"/>
                    <a:pt x="10" y="13"/>
                  </a:cubicBezTo>
                  <a:cubicBezTo>
                    <a:pt x="8" y="14"/>
                    <a:pt x="8" y="17"/>
                    <a:pt x="6" y="19"/>
                  </a:cubicBezTo>
                  <a:cubicBezTo>
                    <a:pt x="6" y="20"/>
                    <a:pt x="5" y="20"/>
                    <a:pt x="5" y="21"/>
                  </a:cubicBezTo>
                  <a:cubicBezTo>
                    <a:pt x="5" y="22"/>
                    <a:pt x="5" y="22"/>
                    <a:pt x="5" y="23"/>
                  </a:cubicBezTo>
                  <a:cubicBezTo>
                    <a:pt x="4" y="25"/>
                    <a:pt x="3" y="25"/>
                    <a:pt x="2" y="26"/>
                  </a:cubicBezTo>
                  <a:cubicBezTo>
                    <a:pt x="2" y="27"/>
                    <a:pt x="1" y="28"/>
                    <a:pt x="1" y="30"/>
                  </a:cubicBezTo>
                  <a:cubicBezTo>
                    <a:pt x="1" y="32"/>
                    <a:pt x="1" y="37"/>
                    <a:pt x="1" y="39"/>
                  </a:cubicBezTo>
                  <a:cubicBezTo>
                    <a:pt x="2" y="41"/>
                    <a:pt x="3" y="43"/>
                    <a:pt x="4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5" y="45"/>
                    <a:pt x="5" y="45"/>
                    <a:pt x="5" y="46"/>
                  </a:cubicBezTo>
                  <a:cubicBezTo>
                    <a:pt x="6" y="46"/>
                    <a:pt x="5" y="48"/>
                    <a:pt x="6" y="49"/>
                  </a:cubicBezTo>
                  <a:cubicBezTo>
                    <a:pt x="6" y="50"/>
                    <a:pt x="6" y="49"/>
                    <a:pt x="7" y="50"/>
                  </a:cubicBezTo>
                  <a:cubicBezTo>
                    <a:pt x="7" y="50"/>
                    <a:pt x="7" y="51"/>
                    <a:pt x="7" y="52"/>
                  </a:cubicBezTo>
                  <a:cubicBezTo>
                    <a:pt x="7" y="53"/>
                    <a:pt x="8" y="54"/>
                    <a:pt x="8" y="54"/>
                  </a:cubicBezTo>
                  <a:cubicBezTo>
                    <a:pt x="8" y="55"/>
                    <a:pt x="9" y="56"/>
                    <a:pt x="9" y="56"/>
                  </a:cubicBezTo>
                  <a:cubicBezTo>
                    <a:pt x="10" y="57"/>
                    <a:pt x="10" y="57"/>
                    <a:pt x="11" y="58"/>
                  </a:cubicBezTo>
                  <a:cubicBezTo>
                    <a:pt x="12" y="60"/>
                    <a:pt x="13" y="61"/>
                    <a:pt x="14" y="63"/>
                  </a:cubicBezTo>
                  <a:cubicBezTo>
                    <a:pt x="12" y="64"/>
                    <a:pt x="10" y="62"/>
                    <a:pt x="8" y="62"/>
                  </a:cubicBezTo>
                  <a:cubicBezTo>
                    <a:pt x="7" y="62"/>
                    <a:pt x="7" y="65"/>
                    <a:pt x="8" y="66"/>
                  </a:cubicBezTo>
                  <a:cubicBezTo>
                    <a:pt x="9" y="66"/>
                    <a:pt x="11" y="66"/>
                    <a:pt x="12" y="66"/>
                  </a:cubicBezTo>
                  <a:cubicBezTo>
                    <a:pt x="14" y="67"/>
                    <a:pt x="16" y="66"/>
                    <a:pt x="17" y="67"/>
                  </a:cubicBezTo>
                  <a:cubicBezTo>
                    <a:pt x="19" y="67"/>
                    <a:pt x="19" y="68"/>
                    <a:pt x="20" y="69"/>
                  </a:cubicBezTo>
                  <a:cubicBezTo>
                    <a:pt x="21" y="70"/>
                    <a:pt x="21" y="71"/>
                    <a:pt x="22" y="72"/>
                  </a:cubicBezTo>
                  <a:cubicBezTo>
                    <a:pt x="23" y="73"/>
                    <a:pt x="24" y="73"/>
                    <a:pt x="24" y="74"/>
                  </a:cubicBezTo>
                  <a:cubicBezTo>
                    <a:pt x="24" y="76"/>
                    <a:pt x="26" y="78"/>
                    <a:pt x="27" y="79"/>
                  </a:cubicBezTo>
                  <a:cubicBezTo>
                    <a:pt x="28" y="80"/>
                    <a:pt x="29" y="81"/>
                    <a:pt x="29" y="82"/>
                  </a:cubicBezTo>
                  <a:cubicBezTo>
                    <a:pt x="29" y="82"/>
                    <a:pt x="30" y="83"/>
                    <a:pt x="30" y="83"/>
                  </a:cubicBezTo>
                  <a:cubicBezTo>
                    <a:pt x="30" y="84"/>
                    <a:pt x="31" y="84"/>
                    <a:pt x="31" y="84"/>
                  </a:cubicBezTo>
                  <a:cubicBezTo>
                    <a:pt x="32" y="87"/>
                    <a:pt x="29" y="89"/>
                    <a:pt x="28" y="90"/>
                  </a:cubicBezTo>
                  <a:cubicBezTo>
                    <a:pt x="27" y="92"/>
                    <a:pt x="24" y="92"/>
                    <a:pt x="22" y="94"/>
                  </a:cubicBezTo>
                  <a:cubicBezTo>
                    <a:pt x="20" y="96"/>
                    <a:pt x="20" y="98"/>
                    <a:pt x="19" y="100"/>
                  </a:cubicBezTo>
                  <a:cubicBezTo>
                    <a:pt x="19" y="101"/>
                    <a:pt x="19" y="103"/>
                    <a:pt x="19" y="103"/>
                  </a:cubicBezTo>
                  <a:cubicBezTo>
                    <a:pt x="18" y="104"/>
                    <a:pt x="16" y="105"/>
                    <a:pt x="16" y="105"/>
                  </a:cubicBezTo>
                  <a:cubicBezTo>
                    <a:pt x="15" y="106"/>
                    <a:pt x="15" y="105"/>
                    <a:pt x="14" y="106"/>
                  </a:cubicBezTo>
                  <a:cubicBezTo>
                    <a:pt x="13" y="106"/>
                    <a:pt x="13" y="106"/>
                    <a:pt x="12" y="107"/>
                  </a:cubicBezTo>
                  <a:cubicBezTo>
                    <a:pt x="11" y="107"/>
                    <a:pt x="11" y="106"/>
                    <a:pt x="10" y="106"/>
                  </a:cubicBezTo>
                  <a:cubicBezTo>
                    <a:pt x="9" y="106"/>
                    <a:pt x="8" y="106"/>
                    <a:pt x="7" y="106"/>
                  </a:cubicBezTo>
                  <a:cubicBezTo>
                    <a:pt x="6" y="106"/>
                    <a:pt x="2" y="107"/>
                    <a:pt x="1" y="108"/>
                  </a:cubicBezTo>
                  <a:cubicBezTo>
                    <a:pt x="1" y="109"/>
                    <a:pt x="1" y="111"/>
                    <a:pt x="1" y="112"/>
                  </a:cubicBezTo>
                  <a:cubicBezTo>
                    <a:pt x="1" y="113"/>
                    <a:pt x="2" y="114"/>
                    <a:pt x="2" y="115"/>
                  </a:cubicBezTo>
                  <a:cubicBezTo>
                    <a:pt x="3" y="117"/>
                    <a:pt x="2" y="119"/>
                    <a:pt x="1" y="121"/>
                  </a:cubicBezTo>
                  <a:cubicBezTo>
                    <a:pt x="1" y="123"/>
                    <a:pt x="0" y="124"/>
                    <a:pt x="0" y="126"/>
                  </a:cubicBezTo>
                  <a:cubicBezTo>
                    <a:pt x="0" y="129"/>
                    <a:pt x="0" y="129"/>
                    <a:pt x="1" y="131"/>
                  </a:cubicBezTo>
                  <a:cubicBezTo>
                    <a:pt x="2" y="132"/>
                    <a:pt x="2" y="132"/>
                    <a:pt x="3" y="133"/>
                  </a:cubicBezTo>
                  <a:cubicBezTo>
                    <a:pt x="4" y="134"/>
                    <a:pt x="4" y="133"/>
                    <a:pt x="4" y="135"/>
                  </a:cubicBezTo>
                  <a:cubicBezTo>
                    <a:pt x="5" y="137"/>
                    <a:pt x="6" y="137"/>
                    <a:pt x="7" y="139"/>
                  </a:cubicBezTo>
                  <a:cubicBezTo>
                    <a:pt x="7" y="140"/>
                    <a:pt x="7" y="142"/>
                    <a:pt x="8" y="143"/>
                  </a:cubicBezTo>
                  <a:cubicBezTo>
                    <a:pt x="9" y="145"/>
                    <a:pt x="9" y="145"/>
                    <a:pt x="9" y="147"/>
                  </a:cubicBezTo>
                  <a:cubicBezTo>
                    <a:pt x="9" y="148"/>
                    <a:pt x="8" y="150"/>
                    <a:pt x="7" y="151"/>
                  </a:cubicBezTo>
                  <a:cubicBezTo>
                    <a:pt x="5" y="152"/>
                    <a:pt x="3" y="153"/>
                    <a:pt x="1" y="153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2" y="159"/>
                    <a:pt x="2" y="160"/>
                    <a:pt x="3" y="161"/>
                  </a:cubicBezTo>
                  <a:cubicBezTo>
                    <a:pt x="3" y="162"/>
                    <a:pt x="3" y="162"/>
                    <a:pt x="4" y="163"/>
                  </a:cubicBezTo>
                  <a:cubicBezTo>
                    <a:pt x="4" y="163"/>
                    <a:pt x="4" y="164"/>
                    <a:pt x="4" y="164"/>
                  </a:cubicBezTo>
                  <a:cubicBezTo>
                    <a:pt x="4" y="164"/>
                    <a:pt x="4" y="164"/>
                    <a:pt x="4" y="165"/>
                  </a:cubicBezTo>
                  <a:cubicBezTo>
                    <a:pt x="4" y="165"/>
                    <a:pt x="4" y="165"/>
                    <a:pt x="4" y="166"/>
                  </a:cubicBezTo>
                  <a:cubicBezTo>
                    <a:pt x="4" y="166"/>
                    <a:pt x="5" y="166"/>
                    <a:pt x="6" y="166"/>
                  </a:cubicBezTo>
                  <a:cubicBezTo>
                    <a:pt x="6" y="166"/>
                    <a:pt x="6" y="167"/>
                    <a:pt x="7" y="167"/>
                  </a:cubicBezTo>
                  <a:cubicBezTo>
                    <a:pt x="7" y="168"/>
                    <a:pt x="7" y="169"/>
                    <a:pt x="8" y="170"/>
                  </a:cubicBezTo>
                  <a:cubicBezTo>
                    <a:pt x="9" y="170"/>
                    <a:pt x="10" y="170"/>
                    <a:pt x="11" y="171"/>
                  </a:cubicBezTo>
                  <a:cubicBezTo>
                    <a:pt x="12" y="171"/>
                    <a:pt x="13" y="170"/>
                    <a:pt x="15" y="171"/>
                  </a:cubicBezTo>
                  <a:cubicBezTo>
                    <a:pt x="16" y="171"/>
                    <a:pt x="17" y="172"/>
                    <a:pt x="18" y="173"/>
                  </a:cubicBezTo>
                  <a:cubicBezTo>
                    <a:pt x="19" y="173"/>
                    <a:pt x="20" y="174"/>
                    <a:pt x="21" y="174"/>
                  </a:cubicBezTo>
                  <a:cubicBezTo>
                    <a:pt x="22" y="174"/>
                    <a:pt x="22" y="174"/>
                    <a:pt x="23" y="175"/>
                  </a:cubicBezTo>
                  <a:cubicBezTo>
                    <a:pt x="23" y="175"/>
                    <a:pt x="23" y="175"/>
                    <a:pt x="23" y="176"/>
                  </a:cubicBezTo>
                  <a:cubicBezTo>
                    <a:pt x="23" y="176"/>
                    <a:pt x="24" y="177"/>
                    <a:pt x="24" y="178"/>
                  </a:cubicBezTo>
                  <a:cubicBezTo>
                    <a:pt x="24" y="179"/>
                    <a:pt x="24" y="180"/>
                    <a:pt x="24" y="181"/>
                  </a:cubicBezTo>
                  <a:cubicBezTo>
                    <a:pt x="24" y="182"/>
                    <a:pt x="25" y="182"/>
                    <a:pt x="25" y="183"/>
                  </a:cubicBezTo>
                  <a:cubicBezTo>
                    <a:pt x="25" y="183"/>
                    <a:pt x="25" y="184"/>
                    <a:pt x="25" y="185"/>
                  </a:cubicBezTo>
                  <a:cubicBezTo>
                    <a:pt x="25" y="186"/>
                    <a:pt x="26" y="186"/>
                    <a:pt x="26" y="187"/>
                  </a:cubicBezTo>
                  <a:cubicBezTo>
                    <a:pt x="26" y="188"/>
                    <a:pt x="26" y="189"/>
                    <a:pt x="26" y="190"/>
                  </a:cubicBezTo>
                  <a:cubicBezTo>
                    <a:pt x="26" y="190"/>
                    <a:pt x="26" y="191"/>
                    <a:pt x="26" y="192"/>
                  </a:cubicBezTo>
                  <a:cubicBezTo>
                    <a:pt x="27" y="193"/>
                    <a:pt x="27" y="194"/>
                    <a:pt x="28" y="195"/>
                  </a:cubicBezTo>
                  <a:cubicBezTo>
                    <a:pt x="29" y="196"/>
                    <a:pt x="32" y="196"/>
                    <a:pt x="32" y="198"/>
                  </a:cubicBezTo>
                  <a:cubicBezTo>
                    <a:pt x="32" y="199"/>
                    <a:pt x="31" y="199"/>
                    <a:pt x="31" y="200"/>
                  </a:cubicBezTo>
                  <a:cubicBezTo>
                    <a:pt x="31" y="200"/>
                    <a:pt x="31" y="200"/>
                    <a:pt x="31" y="200"/>
                  </a:cubicBezTo>
                  <a:cubicBezTo>
                    <a:pt x="31" y="201"/>
                    <a:pt x="30" y="201"/>
                    <a:pt x="29" y="202"/>
                  </a:cubicBezTo>
                  <a:cubicBezTo>
                    <a:pt x="28" y="203"/>
                    <a:pt x="26" y="204"/>
                    <a:pt x="26" y="206"/>
                  </a:cubicBezTo>
                  <a:cubicBezTo>
                    <a:pt x="26" y="207"/>
                    <a:pt x="27" y="209"/>
                    <a:pt x="28" y="211"/>
                  </a:cubicBezTo>
                  <a:cubicBezTo>
                    <a:pt x="28" y="211"/>
                    <a:pt x="28" y="212"/>
                    <a:pt x="28" y="213"/>
                  </a:cubicBezTo>
                  <a:cubicBezTo>
                    <a:pt x="28" y="217"/>
                    <a:pt x="27" y="220"/>
                    <a:pt x="27" y="224"/>
                  </a:cubicBezTo>
                  <a:cubicBezTo>
                    <a:pt x="27" y="225"/>
                    <a:pt x="27" y="225"/>
                    <a:pt x="27" y="226"/>
                  </a:cubicBezTo>
                  <a:cubicBezTo>
                    <a:pt x="27" y="226"/>
                    <a:pt x="27" y="226"/>
                    <a:pt x="27" y="226"/>
                  </a:cubicBezTo>
                  <a:cubicBezTo>
                    <a:pt x="28" y="227"/>
                    <a:pt x="29" y="228"/>
                    <a:pt x="30" y="229"/>
                  </a:cubicBezTo>
                  <a:cubicBezTo>
                    <a:pt x="31" y="229"/>
                    <a:pt x="31" y="230"/>
                    <a:pt x="32" y="231"/>
                  </a:cubicBezTo>
                  <a:cubicBezTo>
                    <a:pt x="33" y="232"/>
                    <a:pt x="34" y="231"/>
                    <a:pt x="36" y="231"/>
                  </a:cubicBezTo>
                  <a:cubicBezTo>
                    <a:pt x="37" y="231"/>
                    <a:pt x="39" y="231"/>
                    <a:pt x="41" y="231"/>
                  </a:cubicBezTo>
                  <a:cubicBezTo>
                    <a:pt x="44" y="231"/>
                    <a:pt x="46" y="231"/>
                    <a:pt x="49" y="230"/>
                  </a:cubicBezTo>
                  <a:cubicBezTo>
                    <a:pt x="51" y="229"/>
                    <a:pt x="55" y="227"/>
                    <a:pt x="57" y="228"/>
                  </a:cubicBezTo>
                  <a:cubicBezTo>
                    <a:pt x="58" y="228"/>
                    <a:pt x="59" y="229"/>
                    <a:pt x="60" y="229"/>
                  </a:cubicBezTo>
                  <a:cubicBezTo>
                    <a:pt x="62" y="229"/>
                    <a:pt x="63" y="229"/>
                    <a:pt x="64" y="229"/>
                  </a:cubicBezTo>
                  <a:cubicBezTo>
                    <a:pt x="66" y="228"/>
                    <a:pt x="68" y="229"/>
                    <a:pt x="70" y="228"/>
                  </a:cubicBezTo>
                  <a:cubicBezTo>
                    <a:pt x="72" y="228"/>
                    <a:pt x="75" y="227"/>
                    <a:pt x="76" y="226"/>
                  </a:cubicBezTo>
                  <a:cubicBezTo>
                    <a:pt x="77" y="225"/>
                    <a:pt x="77" y="224"/>
                    <a:pt x="78" y="224"/>
                  </a:cubicBezTo>
                  <a:cubicBezTo>
                    <a:pt x="79" y="224"/>
                    <a:pt x="80" y="224"/>
                    <a:pt x="80" y="224"/>
                  </a:cubicBezTo>
                  <a:cubicBezTo>
                    <a:pt x="81" y="224"/>
                    <a:pt x="82" y="223"/>
                    <a:pt x="83" y="222"/>
                  </a:cubicBezTo>
                  <a:cubicBezTo>
                    <a:pt x="85" y="224"/>
                    <a:pt x="88" y="223"/>
                    <a:pt x="89" y="220"/>
                  </a:cubicBezTo>
                  <a:cubicBezTo>
                    <a:pt x="89" y="219"/>
                    <a:pt x="88" y="215"/>
                    <a:pt x="91" y="216"/>
                  </a:cubicBezTo>
                  <a:cubicBezTo>
                    <a:pt x="92" y="217"/>
                    <a:pt x="93" y="218"/>
                    <a:pt x="94" y="218"/>
                  </a:cubicBezTo>
                  <a:cubicBezTo>
                    <a:pt x="95" y="218"/>
                    <a:pt x="97" y="218"/>
                    <a:pt x="98" y="218"/>
                  </a:cubicBezTo>
                  <a:cubicBezTo>
                    <a:pt x="100" y="218"/>
                    <a:pt x="101" y="219"/>
                    <a:pt x="103" y="218"/>
                  </a:cubicBezTo>
                  <a:cubicBezTo>
                    <a:pt x="103" y="218"/>
                    <a:pt x="103" y="217"/>
                    <a:pt x="104" y="217"/>
                  </a:cubicBezTo>
                  <a:cubicBezTo>
                    <a:pt x="104" y="216"/>
                    <a:pt x="105" y="217"/>
                    <a:pt x="105" y="216"/>
                  </a:cubicBezTo>
                  <a:cubicBezTo>
                    <a:pt x="107" y="216"/>
                    <a:pt x="106" y="218"/>
                    <a:pt x="108" y="218"/>
                  </a:cubicBezTo>
                  <a:cubicBezTo>
                    <a:pt x="109" y="218"/>
                    <a:pt x="110" y="216"/>
                    <a:pt x="110" y="218"/>
                  </a:cubicBezTo>
                  <a:cubicBezTo>
                    <a:pt x="111" y="217"/>
                    <a:pt x="113" y="216"/>
                    <a:pt x="114" y="217"/>
                  </a:cubicBezTo>
                  <a:cubicBezTo>
                    <a:pt x="115" y="218"/>
                    <a:pt x="114" y="221"/>
                    <a:pt x="115" y="222"/>
                  </a:cubicBezTo>
                  <a:cubicBezTo>
                    <a:pt x="115" y="222"/>
                    <a:pt x="116" y="223"/>
                    <a:pt x="116" y="223"/>
                  </a:cubicBezTo>
                  <a:cubicBezTo>
                    <a:pt x="116" y="224"/>
                    <a:pt x="117" y="225"/>
                    <a:pt x="118" y="225"/>
                  </a:cubicBezTo>
                  <a:cubicBezTo>
                    <a:pt x="120" y="226"/>
                    <a:pt x="122" y="226"/>
                    <a:pt x="124" y="228"/>
                  </a:cubicBezTo>
                  <a:cubicBezTo>
                    <a:pt x="124" y="229"/>
                    <a:pt x="125" y="230"/>
                    <a:pt x="126" y="231"/>
                  </a:cubicBezTo>
                  <a:cubicBezTo>
                    <a:pt x="126" y="231"/>
                    <a:pt x="126" y="231"/>
                    <a:pt x="127" y="232"/>
                  </a:cubicBezTo>
                  <a:cubicBezTo>
                    <a:pt x="128" y="232"/>
                    <a:pt x="128" y="234"/>
                    <a:pt x="129" y="235"/>
                  </a:cubicBezTo>
                  <a:cubicBezTo>
                    <a:pt x="130" y="236"/>
                    <a:pt x="130" y="235"/>
                    <a:pt x="131" y="234"/>
                  </a:cubicBezTo>
                  <a:cubicBezTo>
                    <a:pt x="133" y="234"/>
                    <a:pt x="135" y="233"/>
                    <a:pt x="137" y="233"/>
                  </a:cubicBezTo>
                  <a:cubicBezTo>
                    <a:pt x="138" y="234"/>
                    <a:pt x="138" y="235"/>
                    <a:pt x="139" y="235"/>
                  </a:cubicBezTo>
                  <a:cubicBezTo>
                    <a:pt x="140" y="236"/>
                    <a:pt x="141" y="236"/>
                    <a:pt x="142" y="236"/>
                  </a:cubicBezTo>
                  <a:cubicBezTo>
                    <a:pt x="143" y="238"/>
                    <a:pt x="144" y="237"/>
                    <a:pt x="146" y="237"/>
                  </a:cubicBezTo>
                  <a:cubicBezTo>
                    <a:pt x="147" y="237"/>
                    <a:pt x="148" y="238"/>
                    <a:pt x="148" y="238"/>
                  </a:cubicBezTo>
                  <a:cubicBezTo>
                    <a:pt x="150" y="239"/>
                    <a:pt x="151" y="241"/>
                    <a:pt x="152" y="241"/>
                  </a:cubicBezTo>
                  <a:cubicBezTo>
                    <a:pt x="153" y="242"/>
                    <a:pt x="154" y="241"/>
                    <a:pt x="155" y="241"/>
                  </a:cubicBezTo>
                  <a:cubicBezTo>
                    <a:pt x="155" y="242"/>
                    <a:pt x="156" y="242"/>
                    <a:pt x="156" y="242"/>
                  </a:cubicBezTo>
                  <a:cubicBezTo>
                    <a:pt x="158" y="242"/>
                    <a:pt x="160" y="242"/>
                    <a:pt x="162" y="242"/>
                  </a:cubicBezTo>
                  <a:cubicBezTo>
                    <a:pt x="167" y="242"/>
                    <a:pt x="173" y="241"/>
                    <a:pt x="178" y="241"/>
                  </a:cubicBezTo>
                  <a:cubicBezTo>
                    <a:pt x="178" y="239"/>
                    <a:pt x="178" y="237"/>
                    <a:pt x="176" y="236"/>
                  </a:cubicBezTo>
                  <a:cubicBezTo>
                    <a:pt x="179" y="235"/>
                    <a:pt x="181" y="239"/>
                    <a:pt x="184" y="238"/>
                  </a:cubicBezTo>
                  <a:cubicBezTo>
                    <a:pt x="185" y="237"/>
                    <a:pt x="185" y="237"/>
                    <a:pt x="186" y="237"/>
                  </a:cubicBezTo>
                  <a:cubicBezTo>
                    <a:pt x="187" y="237"/>
                    <a:pt x="188" y="238"/>
                    <a:pt x="189" y="238"/>
                  </a:cubicBezTo>
                  <a:cubicBezTo>
                    <a:pt x="191" y="239"/>
                    <a:pt x="192" y="240"/>
                    <a:pt x="195" y="239"/>
                  </a:cubicBezTo>
                  <a:cubicBezTo>
                    <a:pt x="196" y="239"/>
                    <a:pt x="198" y="238"/>
                    <a:pt x="199" y="238"/>
                  </a:cubicBezTo>
                  <a:cubicBezTo>
                    <a:pt x="200" y="237"/>
                    <a:pt x="201" y="236"/>
                    <a:pt x="202" y="236"/>
                  </a:cubicBezTo>
                  <a:cubicBezTo>
                    <a:pt x="203" y="235"/>
                    <a:pt x="204" y="235"/>
                    <a:pt x="205" y="235"/>
                  </a:cubicBezTo>
                  <a:cubicBezTo>
                    <a:pt x="207" y="233"/>
                    <a:pt x="206" y="230"/>
                    <a:pt x="206" y="227"/>
                  </a:cubicBezTo>
                  <a:cubicBezTo>
                    <a:pt x="206" y="227"/>
                    <a:pt x="206" y="226"/>
                    <a:pt x="206" y="226"/>
                  </a:cubicBezTo>
                  <a:cubicBezTo>
                    <a:pt x="206" y="224"/>
                    <a:pt x="207" y="224"/>
                    <a:pt x="207" y="223"/>
                  </a:cubicBezTo>
                  <a:cubicBezTo>
                    <a:pt x="208" y="221"/>
                    <a:pt x="207" y="220"/>
                    <a:pt x="207" y="218"/>
                  </a:cubicBezTo>
                  <a:cubicBezTo>
                    <a:pt x="207" y="215"/>
                    <a:pt x="204" y="214"/>
                    <a:pt x="203" y="211"/>
                  </a:cubicBezTo>
                  <a:cubicBezTo>
                    <a:pt x="202" y="207"/>
                    <a:pt x="205" y="205"/>
                    <a:pt x="209" y="205"/>
                  </a:cubicBezTo>
                  <a:cubicBezTo>
                    <a:pt x="211" y="205"/>
                    <a:pt x="213" y="207"/>
                    <a:pt x="215" y="208"/>
                  </a:cubicBezTo>
                  <a:cubicBezTo>
                    <a:pt x="217" y="208"/>
                    <a:pt x="220" y="210"/>
                    <a:pt x="223" y="210"/>
                  </a:cubicBezTo>
                  <a:cubicBezTo>
                    <a:pt x="223" y="208"/>
                    <a:pt x="223" y="206"/>
                    <a:pt x="223" y="204"/>
                  </a:cubicBezTo>
                  <a:cubicBezTo>
                    <a:pt x="224" y="202"/>
                    <a:pt x="224" y="201"/>
                    <a:pt x="225" y="200"/>
                  </a:cubicBezTo>
                  <a:cubicBezTo>
                    <a:pt x="227" y="198"/>
                    <a:pt x="227" y="198"/>
                    <a:pt x="230" y="198"/>
                  </a:cubicBezTo>
                  <a:cubicBezTo>
                    <a:pt x="229" y="197"/>
                    <a:pt x="230" y="197"/>
                    <a:pt x="230" y="197"/>
                  </a:cubicBezTo>
                  <a:cubicBezTo>
                    <a:pt x="230" y="196"/>
                    <a:pt x="231" y="196"/>
                    <a:pt x="231" y="196"/>
                  </a:cubicBezTo>
                  <a:cubicBezTo>
                    <a:pt x="232" y="195"/>
                    <a:pt x="232" y="195"/>
                    <a:pt x="233" y="194"/>
                  </a:cubicBezTo>
                  <a:cubicBezTo>
                    <a:pt x="233" y="194"/>
                    <a:pt x="233" y="193"/>
                    <a:pt x="233" y="193"/>
                  </a:cubicBezTo>
                  <a:cubicBezTo>
                    <a:pt x="235" y="191"/>
                    <a:pt x="237" y="190"/>
                    <a:pt x="238" y="189"/>
                  </a:cubicBezTo>
                  <a:cubicBezTo>
                    <a:pt x="240" y="189"/>
                    <a:pt x="242" y="189"/>
                    <a:pt x="244" y="188"/>
                  </a:cubicBezTo>
                  <a:cubicBezTo>
                    <a:pt x="245" y="188"/>
                    <a:pt x="246" y="187"/>
                    <a:pt x="247" y="187"/>
                  </a:cubicBezTo>
                  <a:cubicBezTo>
                    <a:pt x="249" y="188"/>
                    <a:pt x="249" y="188"/>
                    <a:pt x="251" y="187"/>
                  </a:cubicBezTo>
                  <a:cubicBezTo>
                    <a:pt x="254" y="185"/>
                    <a:pt x="256" y="183"/>
                    <a:pt x="260" y="181"/>
                  </a:cubicBezTo>
                  <a:cubicBezTo>
                    <a:pt x="262" y="180"/>
                    <a:pt x="263" y="177"/>
                    <a:pt x="266" y="179"/>
                  </a:cubicBezTo>
                  <a:cubicBezTo>
                    <a:pt x="268" y="180"/>
                    <a:pt x="270" y="183"/>
                    <a:pt x="273" y="183"/>
                  </a:cubicBezTo>
                  <a:cubicBezTo>
                    <a:pt x="275" y="183"/>
                    <a:pt x="276" y="182"/>
                    <a:pt x="277" y="183"/>
                  </a:cubicBezTo>
                  <a:cubicBezTo>
                    <a:pt x="278" y="183"/>
                    <a:pt x="278" y="184"/>
                    <a:pt x="279" y="185"/>
                  </a:cubicBezTo>
                  <a:cubicBezTo>
                    <a:pt x="281" y="185"/>
                    <a:pt x="281" y="185"/>
                    <a:pt x="282" y="187"/>
                  </a:cubicBezTo>
                  <a:cubicBezTo>
                    <a:pt x="283" y="188"/>
                    <a:pt x="285" y="190"/>
                    <a:pt x="286" y="191"/>
                  </a:cubicBezTo>
                  <a:cubicBezTo>
                    <a:pt x="287" y="193"/>
                    <a:pt x="286" y="193"/>
                    <a:pt x="288" y="193"/>
                  </a:cubicBezTo>
                  <a:cubicBezTo>
                    <a:pt x="290" y="193"/>
                    <a:pt x="291" y="192"/>
                    <a:pt x="292" y="192"/>
                  </a:cubicBezTo>
                  <a:cubicBezTo>
                    <a:pt x="294" y="191"/>
                    <a:pt x="296" y="190"/>
                    <a:pt x="298" y="190"/>
                  </a:cubicBezTo>
                  <a:cubicBezTo>
                    <a:pt x="301" y="190"/>
                    <a:pt x="303" y="189"/>
                    <a:pt x="306" y="188"/>
                  </a:cubicBezTo>
                  <a:cubicBezTo>
                    <a:pt x="308" y="188"/>
                    <a:pt x="309" y="189"/>
                    <a:pt x="310" y="189"/>
                  </a:cubicBezTo>
                  <a:cubicBezTo>
                    <a:pt x="311" y="189"/>
                    <a:pt x="314" y="189"/>
                    <a:pt x="315" y="188"/>
                  </a:cubicBezTo>
                  <a:cubicBezTo>
                    <a:pt x="316" y="187"/>
                    <a:pt x="315" y="182"/>
                    <a:pt x="314" y="181"/>
                  </a:cubicBezTo>
                  <a:cubicBezTo>
                    <a:pt x="313" y="181"/>
                    <a:pt x="312" y="181"/>
                    <a:pt x="311" y="180"/>
                  </a:cubicBezTo>
                  <a:cubicBezTo>
                    <a:pt x="309" y="179"/>
                    <a:pt x="308" y="177"/>
                    <a:pt x="307" y="175"/>
                  </a:cubicBezTo>
                  <a:cubicBezTo>
                    <a:pt x="305" y="173"/>
                    <a:pt x="303" y="171"/>
                    <a:pt x="302" y="169"/>
                  </a:cubicBezTo>
                  <a:cubicBezTo>
                    <a:pt x="301" y="168"/>
                    <a:pt x="300" y="167"/>
                    <a:pt x="301" y="166"/>
                  </a:cubicBezTo>
                  <a:cubicBezTo>
                    <a:pt x="301" y="167"/>
                    <a:pt x="302" y="165"/>
                    <a:pt x="302" y="165"/>
                  </a:cubicBezTo>
                  <a:cubicBezTo>
                    <a:pt x="303" y="165"/>
                    <a:pt x="304" y="164"/>
                    <a:pt x="304" y="164"/>
                  </a:cubicBezTo>
                  <a:cubicBezTo>
                    <a:pt x="305" y="163"/>
                    <a:pt x="305" y="162"/>
                    <a:pt x="304" y="161"/>
                  </a:cubicBezTo>
                  <a:cubicBezTo>
                    <a:pt x="304" y="159"/>
                    <a:pt x="302" y="158"/>
                    <a:pt x="301" y="156"/>
                  </a:cubicBezTo>
                  <a:cubicBezTo>
                    <a:pt x="301" y="155"/>
                    <a:pt x="302" y="154"/>
                    <a:pt x="300" y="154"/>
                  </a:cubicBezTo>
                  <a:cubicBezTo>
                    <a:pt x="298" y="153"/>
                    <a:pt x="297" y="154"/>
                    <a:pt x="295" y="153"/>
                  </a:cubicBezTo>
                  <a:cubicBezTo>
                    <a:pt x="294" y="152"/>
                    <a:pt x="293" y="151"/>
                    <a:pt x="292" y="150"/>
                  </a:cubicBezTo>
                  <a:cubicBezTo>
                    <a:pt x="291" y="149"/>
                    <a:pt x="286" y="146"/>
                    <a:pt x="285" y="147"/>
                  </a:cubicBezTo>
                  <a:cubicBezTo>
                    <a:pt x="284" y="147"/>
                    <a:pt x="284" y="148"/>
                    <a:pt x="284" y="148"/>
                  </a:cubicBezTo>
                  <a:cubicBezTo>
                    <a:pt x="283" y="148"/>
                    <a:pt x="282" y="148"/>
                    <a:pt x="282" y="148"/>
                  </a:cubicBezTo>
                  <a:cubicBezTo>
                    <a:pt x="281" y="146"/>
                    <a:pt x="281" y="145"/>
                    <a:pt x="283" y="144"/>
                  </a:cubicBezTo>
                  <a:cubicBezTo>
                    <a:pt x="284" y="144"/>
                    <a:pt x="285" y="143"/>
                    <a:pt x="286" y="143"/>
                  </a:cubicBezTo>
                  <a:cubicBezTo>
                    <a:pt x="287" y="142"/>
                    <a:pt x="289" y="143"/>
                    <a:pt x="290" y="143"/>
                  </a:cubicBezTo>
                  <a:cubicBezTo>
                    <a:pt x="292" y="142"/>
                    <a:pt x="291" y="142"/>
                    <a:pt x="292" y="140"/>
                  </a:cubicBezTo>
                  <a:cubicBezTo>
                    <a:pt x="292" y="139"/>
                    <a:pt x="292" y="138"/>
                    <a:pt x="293" y="137"/>
                  </a:cubicBezTo>
                  <a:cubicBezTo>
                    <a:pt x="293" y="136"/>
                    <a:pt x="293" y="134"/>
                    <a:pt x="294" y="135"/>
                  </a:cubicBezTo>
                  <a:cubicBezTo>
                    <a:pt x="295" y="136"/>
                    <a:pt x="297" y="138"/>
                    <a:pt x="298" y="138"/>
                  </a:cubicBezTo>
                  <a:cubicBezTo>
                    <a:pt x="300" y="138"/>
                    <a:pt x="299" y="136"/>
                    <a:pt x="299" y="135"/>
                  </a:cubicBezTo>
                  <a:cubicBezTo>
                    <a:pt x="299" y="134"/>
                    <a:pt x="299" y="133"/>
                    <a:pt x="299" y="132"/>
                  </a:cubicBezTo>
                  <a:cubicBezTo>
                    <a:pt x="299" y="130"/>
                    <a:pt x="300" y="131"/>
                    <a:pt x="301" y="131"/>
                  </a:cubicBezTo>
                  <a:cubicBezTo>
                    <a:pt x="303" y="131"/>
                    <a:pt x="305" y="130"/>
                    <a:pt x="306" y="128"/>
                  </a:cubicBezTo>
                  <a:cubicBezTo>
                    <a:pt x="306" y="126"/>
                    <a:pt x="304" y="125"/>
                    <a:pt x="304" y="123"/>
                  </a:cubicBezTo>
                  <a:cubicBezTo>
                    <a:pt x="307" y="123"/>
                    <a:pt x="310" y="123"/>
                    <a:pt x="312" y="122"/>
                  </a:cubicBezTo>
                  <a:cubicBezTo>
                    <a:pt x="313" y="121"/>
                    <a:pt x="313" y="121"/>
                    <a:pt x="313" y="121"/>
                  </a:cubicBezTo>
                  <a:cubicBezTo>
                    <a:pt x="313" y="120"/>
                    <a:pt x="313" y="120"/>
                    <a:pt x="312" y="120"/>
                  </a:cubicBezTo>
                  <a:cubicBezTo>
                    <a:pt x="312" y="119"/>
                    <a:pt x="312" y="119"/>
                    <a:pt x="312" y="118"/>
                  </a:cubicBezTo>
                  <a:cubicBezTo>
                    <a:pt x="311" y="117"/>
                    <a:pt x="311" y="117"/>
                    <a:pt x="310" y="116"/>
                  </a:cubicBezTo>
                  <a:cubicBezTo>
                    <a:pt x="310" y="116"/>
                    <a:pt x="310" y="114"/>
                    <a:pt x="310" y="114"/>
                  </a:cubicBezTo>
                  <a:cubicBezTo>
                    <a:pt x="310" y="112"/>
                    <a:pt x="310" y="110"/>
                    <a:pt x="310" y="108"/>
                  </a:cubicBezTo>
                  <a:cubicBezTo>
                    <a:pt x="310" y="107"/>
                    <a:pt x="311" y="107"/>
                    <a:pt x="310" y="106"/>
                  </a:cubicBezTo>
                  <a:cubicBezTo>
                    <a:pt x="310" y="105"/>
                    <a:pt x="310" y="105"/>
                    <a:pt x="310" y="104"/>
                  </a:cubicBezTo>
                  <a:cubicBezTo>
                    <a:pt x="310" y="103"/>
                    <a:pt x="310" y="102"/>
                    <a:pt x="311" y="101"/>
                  </a:cubicBezTo>
                  <a:cubicBezTo>
                    <a:pt x="312" y="100"/>
                    <a:pt x="313" y="98"/>
                    <a:pt x="314" y="96"/>
                  </a:cubicBezTo>
                  <a:cubicBezTo>
                    <a:pt x="315" y="94"/>
                    <a:pt x="315" y="92"/>
                    <a:pt x="314" y="90"/>
                  </a:cubicBezTo>
                  <a:cubicBezTo>
                    <a:pt x="313" y="88"/>
                    <a:pt x="314" y="87"/>
                    <a:pt x="315" y="85"/>
                  </a:cubicBezTo>
                  <a:cubicBezTo>
                    <a:pt x="316" y="84"/>
                    <a:pt x="316" y="82"/>
                    <a:pt x="318" y="80"/>
                  </a:cubicBezTo>
                  <a:cubicBezTo>
                    <a:pt x="318" y="80"/>
                    <a:pt x="318" y="79"/>
                    <a:pt x="318" y="79"/>
                  </a:cubicBezTo>
                  <a:cubicBezTo>
                    <a:pt x="319" y="79"/>
                    <a:pt x="319" y="79"/>
                    <a:pt x="319" y="78"/>
                  </a:cubicBezTo>
                  <a:cubicBezTo>
                    <a:pt x="319" y="78"/>
                    <a:pt x="320" y="76"/>
                    <a:pt x="320" y="76"/>
                  </a:cubicBezTo>
                  <a:cubicBezTo>
                    <a:pt x="322" y="75"/>
                    <a:pt x="325" y="76"/>
                    <a:pt x="327" y="76"/>
                  </a:cubicBezTo>
                  <a:cubicBezTo>
                    <a:pt x="329" y="76"/>
                    <a:pt x="330" y="77"/>
                    <a:pt x="332" y="77"/>
                  </a:cubicBezTo>
                  <a:cubicBezTo>
                    <a:pt x="333" y="77"/>
                    <a:pt x="334" y="77"/>
                    <a:pt x="335" y="77"/>
                  </a:cubicBezTo>
                  <a:cubicBezTo>
                    <a:pt x="336" y="77"/>
                    <a:pt x="336" y="77"/>
                    <a:pt x="337" y="75"/>
                  </a:cubicBezTo>
                  <a:cubicBezTo>
                    <a:pt x="338" y="75"/>
                    <a:pt x="338" y="74"/>
                    <a:pt x="339" y="74"/>
                  </a:cubicBezTo>
                  <a:cubicBezTo>
                    <a:pt x="341" y="74"/>
                    <a:pt x="343" y="76"/>
                    <a:pt x="345" y="76"/>
                  </a:cubicBezTo>
                  <a:cubicBezTo>
                    <a:pt x="347" y="76"/>
                    <a:pt x="348" y="74"/>
                    <a:pt x="348" y="72"/>
                  </a:cubicBezTo>
                  <a:cubicBezTo>
                    <a:pt x="349" y="72"/>
                    <a:pt x="351" y="73"/>
                    <a:pt x="352" y="73"/>
                  </a:cubicBezTo>
                  <a:cubicBezTo>
                    <a:pt x="352" y="74"/>
                    <a:pt x="353" y="75"/>
                    <a:pt x="354" y="74"/>
                  </a:cubicBezTo>
                  <a:cubicBezTo>
                    <a:pt x="355" y="74"/>
                    <a:pt x="356" y="69"/>
                    <a:pt x="356" y="69"/>
                  </a:cubicBezTo>
                  <a:cubicBezTo>
                    <a:pt x="357" y="67"/>
                    <a:pt x="357" y="64"/>
                    <a:pt x="357" y="6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3" name="Freeform 34">
              <a:extLst>
                <a:ext uri="{FF2B5EF4-FFF2-40B4-BE49-F238E27FC236}">
                  <a16:creationId xmlns:a16="http://schemas.microsoft.com/office/drawing/2014/main" id="{335DBE1B-F82C-4B25-AF28-CD177E7C2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8938" y="4814888"/>
              <a:ext cx="981075" cy="717550"/>
            </a:xfrm>
            <a:custGeom>
              <a:avLst/>
              <a:gdLst/>
              <a:ahLst/>
              <a:cxnLst>
                <a:cxn ang="0">
                  <a:pos x="474" y="252"/>
                </a:cxn>
                <a:cxn ang="0">
                  <a:pos x="437" y="239"/>
                </a:cxn>
                <a:cxn ang="0">
                  <a:pos x="438" y="138"/>
                </a:cxn>
                <a:cxn ang="0">
                  <a:pos x="412" y="87"/>
                </a:cxn>
                <a:cxn ang="0">
                  <a:pos x="392" y="65"/>
                </a:cxn>
                <a:cxn ang="0">
                  <a:pos x="379" y="32"/>
                </a:cxn>
                <a:cxn ang="0">
                  <a:pos x="336" y="10"/>
                </a:cxn>
                <a:cxn ang="0">
                  <a:pos x="295" y="30"/>
                </a:cxn>
                <a:cxn ang="0">
                  <a:pos x="245" y="34"/>
                </a:cxn>
                <a:cxn ang="0">
                  <a:pos x="212" y="27"/>
                </a:cxn>
                <a:cxn ang="0">
                  <a:pos x="175" y="24"/>
                </a:cxn>
                <a:cxn ang="0">
                  <a:pos x="145" y="27"/>
                </a:cxn>
                <a:cxn ang="0">
                  <a:pos x="125" y="42"/>
                </a:cxn>
                <a:cxn ang="0">
                  <a:pos x="107" y="53"/>
                </a:cxn>
                <a:cxn ang="0">
                  <a:pos x="102" y="62"/>
                </a:cxn>
                <a:cxn ang="0">
                  <a:pos x="94" y="76"/>
                </a:cxn>
                <a:cxn ang="0">
                  <a:pos x="80" y="102"/>
                </a:cxn>
                <a:cxn ang="0">
                  <a:pos x="73" y="123"/>
                </a:cxn>
                <a:cxn ang="0">
                  <a:pos x="64" y="133"/>
                </a:cxn>
                <a:cxn ang="0">
                  <a:pos x="54" y="149"/>
                </a:cxn>
                <a:cxn ang="0">
                  <a:pos x="48" y="159"/>
                </a:cxn>
                <a:cxn ang="0">
                  <a:pos x="34" y="165"/>
                </a:cxn>
                <a:cxn ang="0">
                  <a:pos x="5" y="182"/>
                </a:cxn>
                <a:cxn ang="0">
                  <a:pos x="19" y="199"/>
                </a:cxn>
                <a:cxn ang="0">
                  <a:pos x="29" y="210"/>
                </a:cxn>
                <a:cxn ang="0">
                  <a:pos x="31" y="231"/>
                </a:cxn>
                <a:cxn ang="0">
                  <a:pos x="61" y="246"/>
                </a:cxn>
                <a:cxn ang="0">
                  <a:pos x="61" y="260"/>
                </a:cxn>
                <a:cxn ang="0">
                  <a:pos x="65" y="273"/>
                </a:cxn>
                <a:cxn ang="0">
                  <a:pos x="61" y="285"/>
                </a:cxn>
                <a:cxn ang="0">
                  <a:pos x="71" y="292"/>
                </a:cxn>
                <a:cxn ang="0">
                  <a:pos x="94" y="305"/>
                </a:cxn>
                <a:cxn ang="0">
                  <a:pos x="107" y="299"/>
                </a:cxn>
                <a:cxn ang="0">
                  <a:pos x="122" y="309"/>
                </a:cxn>
                <a:cxn ang="0">
                  <a:pos x="119" y="318"/>
                </a:cxn>
                <a:cxn ang="0">
                  <a:pos x="132" y="335"/>
                </a:cxn>
                <a:cxn ang="0">
                  <a:pos x="138" y="365"/>
                </a:cxn>
                <a:cxn ang="0">
                  <a:pos x="185" y="369"/>
                </a:cxn>
                <a:cxn ang="0">
                  <a:pos x="221" y="378"/>
                </a:cxn>
                <a:cxn ang="0">
                  <a:pos x="263" y="378"/>
                </a:cxn>
                <a:cxn ang="0">
                  <a:pos x="290" y="381"/>
                </a:cxn>
                <a:cxn ang="0">
                  <a:pos x="308" y="364"/>
                </a:cxn>
                <a:cxn ang="0">
                  <a:pos x="344" y="350"/>
                </a:cxn>
                <a:cxn ang="0">
                  <a:pos x="382" y="347"/>
                </a:cxn>
                <a:cxn ang="0">
                  <a:pos x="399" y="355"/>
                </a:cxn>
                <a:cxn ang="0">
                  <a:pos x="414" y="360"/>
                </a:cxn>
                <a:cxn ang="0">
                  <a:pos x="426" y="368"/>
                </a:cxn>
                <a:cxn ang="0">
                  <a:pos x="446" y="379"/>
                </a:cxn>
                <a:cxn ang="0">
                  <a:pos x="458" y="366"/>
                </a:cxn>
                <a:cxn ang="0">
                  <a:pos x="468" y="316"/>
                </a:cxn>
                <a:cxn ang="0">
                  <a:pos x="476" y="294"/>
                </a:cxn>
                <a:cxn ang="0">
                  <a:pos x="491" y="289"/>
                </a:cxn>
                <a:cxn ang="0">
                  <a:pos x="518" y="280"/>
                </a:cxn>
              </a:cxnLst>
              <a:rect l="0" t="0" r="r" b="b"/>
              <a:pathLst>
                <a:path w="525" h="384">
                  <a:moveTo>
                    <a:pt x="525" y="255"/>
                  </a:moveTo>
                  <a:cubicBezTo>
                    <a:pt x="525" y="252"/>
                    <a:pt x="515" y="249"/>
                    <a:pt x="512" y="247"/>
                  </a:cubicBezTo>
                  <a:cubicBezTo>
                    <a:pt x="507" y="244"/>
                    <a:pt x="503" y="241"/>
                    <a:pt x="496" y="243"/>
                  </a:cubicBezTo>
                  <a:cubicBezTo>
                    <a:pt x="493" y="243"/>
                    <a:pt x="493" y="244"/>
                    <a:pt x="491" y="246"/>
                  </a:cubicBezTo>
                  <a:cubicBezTo>
                    <a:pt x="490" y="247"/>
                    <a:pt x="487" y="249"/>
                    <a:pt x="483" y="250"/>
                  </a:cubicBezTo>
                  <a:cubicBezTo>
                    <a:pt x="478" y="252"/>
                    <a:pt x="476" y="252"/>
                    <a:pt x="474" y="252"/>
                  </a:cubicBezTo>
                  <a:cubicBezTo>
                    <a:pt x="472" y="252"/>
                    <a:pt x="470" y="251"/>
                    <a:pt x="468" y="252"/>
                  </a:cubicBezTo>
                  <a:cubicBezTo>
                    <a:pt x="467" y="252"/>
                    <a:pt x="467" y="255"/>
                    <a:pt x="466" y="256"/>
                  </a:cubicBezTo>
                  <a:cubicBezTo>
                    <a:pt x="463" y="259"/>
                    <a:pt x="462" y="257"/>
                    <a:pt x="459" y="256"/>
                  </a:cubicBezTo>
                  <a:cubicBezTo>
                    <a:pt x="457" y="254"/>
                    <a:pt x="455" y="253"/>
                    <a:pt x="453" y="252"/>
                  </a:cubicBezTo>
                  <a:cubicBezTo>
                    <a:pt x="451" y="252"/>
                    <a:pt x="445" y="249"/>
                    <a:pt x="443" y="248"/>
                  </a:cubicBezTo>
                  <a:cubicBezTo>
                    <a:pt x="443" y="247"/>
                    <a:pt x="438" y="239"/>
                    <a:pt x="437" y="239"/>
                  </a:cubicBezTo>
                  <a:cubicBezTo>
                    <a:pt x="433" y="234"/>
                    <a:pt x="428" y="230"/>
                    <a:pt x="432" y="223"/>
                  </a:cubicBezTo>
                  <a:cubicBezTo>
                    <a:pt x="433" y="219"/>
                    <a:pt x="433" y="211"/>
                    <a:pt x="431" y="208"/>
                  </a:cubicBezTo>
                  <a:cubicBezTo>
                    <a:pt x="429" y="204"/>
                    <a:pt x="430" y="191"/>
                    <a:pt x="430" y="185"/>
                  </a:cubicBezTo>
                  <a:cubicBezTo>
                    <a:pt x="431" y="175"/>
                    <a:pt x="433" y="171"/>
                    <a:pt x="437" y="161"/>
                  </a:cubicBezTo>
                  <a:cubicBezTo>
                    <a:pt x="438" y="159"/>
                    <a:pt x="439" y="151"/>
                    <a:pt x="437" y="148"/>
                  </a:cubicBezTo>
                  <a:cubicBezTo>
                    <a:pt x="436" y="146"/>
                    <a:pt x="438" y="141"/>
                    <a:pt x="438" y="138"/>
                  </a:cubicBezTo>
                  <a:cubicBezTo>
                    <a:pt x="438" y="136"/>
                    <a:pt x="434" y="130"/>
                    <a:pt x="434" y="128"/>
                  </a:cubicBezTo>
                  <a:cubicBezTo>
                    <a:pt x="432" y="125"/>
                    <a:pt x="434" y="121"/>
                    <a:pt x="431" y="121"/>
                  </a:cubicBezTo>
                  <a:cubicBezTo>
                    <a:pt x="427" y="121"/>
                    <a:pt x="424" y="119"/>
                    <a:pt x="422" y="115"/>
                  </a:cubicBezTo>
                  <a:cubicBezTo>
                    <a:pt x="420" y="112"/>
                    <a:pt x="421" y="109"/>
                    <a:pt x="421" y="106"/>
                  </a:cubicBezTo>
                  <a:cubicBezTo>
                    <a:pt x="420" y="101"/>
                    <a:pt x="419" y="96"/>
                    <a:pt x="416" y="92"/>
                  </a:cubicBezTo>
                  <a:cubicBezTo>
                    <a:pt x="414" y="91"/>
                    <a:pt x="414" y="90"/>
                    <a:pt x="412" y="87"/>
                  </a:cubicBezTo>
                  <a:cubicBezTo>
                    <a:pt x="411" y="86"/>
                    <a:pt x="409" y="85"/>
                    <a:pt x="408" y="84"/>
                  </a:cubicBezTo>
                  <a:cubicBezTo>
                    <a:pt x="407" y="83"/>
                    <a:pt x="406" y="81"/>
                    <a:pt x="405" y="79"/>
                  </a:cubicBezTo>
                  <a:cubicBezTo>
                    <a:pt x="403" y="77"/>
                    <a:pt x="403" y="73"/>
                    <a:pt x="401" y="72"/>
                  </a:cubicBezTo>
                  <a:cubicBezTo>
                    <a:pt x="399" y="70"/>
                    <a:pt x="396" y="70"/>
                    <a:pt x="394" y="68"/>
                  </a:cubicBezTo>
                  <a:cubicBezTo>
                    <a:pt x="394" y="68"/>
                    <a:pt x="395" y="67"/>
                    <a:pt x="394" y="67"/>
                  </a:cubicBezTo>
                  <a:cubicBezTo>
                    <a:pt x="394" y="66"/>
                    <a:pt x="393" y="66"/>
                    <a:pt x="392" y="65"/>
                  </a:cubicBezTo>
                  <a:cubicBezTo>
                    <a:pt x="391" y="65"/>
                    <a:pt x="392" y="64"/>
                    <a:pt x="391" y="63"/>
                  </a:cubicBezTo>
                  <a:cubicBezTo>
                    <a:pt x="391" y="62"/>
                    <a:pt x="390" y="62"/>
                    <a:pt x="390" y="60"/>
                  </a:cubicBezTo>
                  <a:cubicBezTo>
                    <a:pt x="389" y="59"/>
                    <a:pt x="390" y="58"/>
                    <a:pt x="390" y="57"/>
                  </a:cubicBezTo>
                  <a:cubicBezTo>
                    <a:pt x="390" y="53"/>
                    <a:pt x="390" y="49"/>
                    <a:pt x="388" y="46"/>
                  </a:cubicBezTo>
                  <a:cubicBezTo>
                    <a:pt x="386" y="42"/>
                    <a:pt x="383" y="40"/>
                    <a:pt x="381" y="37"/>
                  </a:cubicBezTo>
                  <a:cubicBezTo>
                    <a:pt x="380" y="36"/>
                    <a:pt x="380" y="34"/>
                    <a:pt x="379" y="32"/>
                  </a:cubicBezTo>
                  <a:cubicBezTo>
                    <a:pt x="378" y="27"/>
                    <a:pt x="374" y="26"/>
                    <a:pt x="372" y="22"/>
                  </a:cubicBezTo>
                  <a:cubicBezTo>
                    <a:pt x="369" y="19"/>
                    <a:pt x="367" y="17"/>
                    <a:pt x="365" y="14"/>
                  </a:cubicBezTo>
                  <a:cubicBezTo>
                    <a:pt x="362" y="10"/>
                    <a:pt x="361" y="4"/>
                    <a:pt x="357" y="2"/>
                  </a:cubicBezTo>
                  <a:cubicBezTo>
                    <a:pt x="353" y="0"/>
                    <a:pt x="348" y="5"/>
                    <a:pt x="344" y="6"/>
                  </a:cubicBezTo>
                  <a:cubicBezTo>
                    <a:pt x="344" y="6"/>
                    <a:pt x="344" y="6"/>
                    <a:pt x="344" y="6"/>
                  </a:cubicBezTo>
                  <a:cubicBezTo>
                    <a:pt x="341" y="7"/>
                    <a:pt x="339" y="8"/>
                    <a:pt x="336" y="10"/>
                  </a:cubicBezTo>
                  <a:cubicBezTo>
                    <a:pt x="333" y="11"/>
                    <a:pt x="329" y="13"/>
                    <a:pt x="328" y="16"/>
                  </a:cubicBezTo>
                  <a:cubicBezTo>
                    <a:pt x="326" y="18"/>
                    <a:pt x="326" y="21"/>
                    <a:pt x="324" y="23"/>
                  </a:cubicBezTo>
                  <a:cubicBezTo>
                    <a:pt x="322" y="26"/>
                    <a:pt x="321" y="25"/>
                    <a:pt x="317" y="25"/>
                  </a:cubicBezTo>
                  <a:cubicBezTo>
                    <a:pt x="313" y="25"/>
                    <a:pt x="308" y="27"/>
                    <a:pt x="303" y="27"/>
                  </a:cubicBezTo>
                  <a:cubicBezTo>
                    <a:pt x="301" y="27"/>
                    <a:pt x="298" y="28"/>
                    <a:pt x="296" y="29"/>
                  </a:cubicBezTo>
                  <a:cubicBezTo>
                    <a:pt x="296" y="29"/>
                    <a:pt x="296" y="30"/>
                    <a:pt x="295" y="30"/>
                  </a:cubicBezTo>
                  <a:cubicBezTo>
                    <a:pt x="295" y="30"/>
                    <a:pt x="293" y="30"/>
                    <a:pt x="293" y="30"/>
                  </a:cubicBezTo>
                  <a:cubicBezTo>
                    <a:pt x="287" y="30"/>
                    <a:pt x="281" y="30"/>
                    <a:pt x="276" y="30"/>
                  </a:cubicBezTo>
                  <a:cubicBezTo>
                    <a:pt x="272" y="30"/>
                    <a:pt x="271" y="32"/>
                    <a:pt x="269" y="35"/>
                  </a:cubicBezTo>
                  <a:cubicBezTo>
                    <a:pt x="268" y="37"/>
                    <a:pt x="267" y="41"/>
                    <a:pt x="264" y="42"/>
                  </a:cubicBezTo>
                  <a:cubicBezTo>
                    <a:pt x="259" y="44"/>
                    <a:pt x="253" y="42"/>
                    <a:pt x="249" y="39"/>
                  </a:cubicBezTo>
                  <a:cubicBezTo>
                    <a:pt x="247" y="37"/>
                    <a:pt x="246" y="35"/>
                    <a:pt x="245" y="34"/>
                  </a:cubicBezTo>
                  <a:cubicBezTo>
                    <a:pt x="244" y="33"/>
                    <a:pt x="242" y="32"/>
                    <a:pt x="241" y="31"/>
                  </a:cubicBezTo>
                  <a:cubicBezTo>
                    <a:pt x="240" y="30"/>
                    <a:pt x="241" y="29"/>
                    <a:pt x="238" y="29"/>
                  </a:cubicBezTo>
                  <a:cubicBezTo>
                    <a:pt x="239" y="25"/>
                    <a:pt x="229" y="29"/>
                    <a:pt x="228" y="29"/>
                  </a:cubicBezTo>
                  <a:cubicBezTo>
                    <a:pt x="223" y="31"/>
                    <a:pt x="220" y="31"/>
                    <a:pt x="216" y="29"/>
                  </a:cubicBezTo>
                  <a:cubicBezTo>
                    <a:pt x="215" y="29"/>
                    <a:pt x="214" y="29"/>
                    <a:pt x="214" y="29"/>
                  </a:cubicBezTo>
                  <a:cubicBezTo>
                    <a:pt x="213" y="29"/>
                    <a:pt x="213" y="28"/>
                    <a:pt x="212" y="27"/>
                  </a:cubicBezTo>
                  <a:cubicBezTo>
                    <a:pt x="210" y="26"/>
                    <a:pt x="205" y="26"/>
                    <a:pt x="203" y="26"/>
                  </a:cubicBezTo>
                  <a:cubicBezTo>
                    <a:pt x="201" y="26"/>
                    <a:pt x="199" y="26"/>
                    <a:pt x="197" y="26"/>
                  </a:cubicBezTo>
                  <a:cubicBezTo>
                    <a:pt x="195" y="26"/>
                    <a:pt x="195" y="27"/>
                    <a:pt x="194" y="29"/>
                  </a:cubicBezTo>
                  <a:cubicBezTo>
                    <a:pt x="194" y="28"/>
                    <a:pt x="192" y="24"/>
                    <a:pt x="191" y="24"/>
                  </a:cubicBezTo>
                  <a:cubicBezTo>
                    <a:pt x="189" y="22"/>
                    <a:pt x="187" y="23"/>
                    <a:pt x="186" y="23"/>
                  </a:cubicBezTo>
                  <a:cubicBezTo>
                    <a:pt x="182" y="23"/>
                    <a:pt x="179" y="24"/>
                    <a:pt x="175" y="24"/>
                  </a:cubicBezTo>
                  <a:cubicBezTo>
                    <a:pt x="171" y="23"/>
                    <a:pt x="172" y="21"/>
                    <a:pt x="170" y="18"/>
                  </a:cubicBezTo>
                  <a:cubicBezTo>
                    <a:pt x="168" y="16"/>
                    <a:pt x="165" y="15"/>
                    <a:pt x="162" y="17"/>
                  </a:cubicBezTo>
                  <a:cubicBezTo>
                    <a:pt x="160" y="18"/>
                    <a:pt x="159" y="19"/>
                    <a:pt x="158" y="20"/>
                  </a:cubicBezTo>
                  <a:cubicBezTo>
                    <a:pt x="157" y="21"/>
                    <a:pt x="156" y="22"/>
                    <a:pt x="155" y="23"/>
                  </a:cubicBezTo>
                  <a:cubicBezTo>
                    <a:pt x="152" y="24"/>
                    <a:pt x="148" y="22"/>
                    <a:pt x="145" y="23"/>
                  </a:cubicBezTo>
                  <a:cubicBezTo>
                    <a:pt x="145" y="24"/>
                    <a:pt x="145" y="25"/>
                    <a:pt x="145" y="27"/>
                  </a:cubicBezTo>
                  <a:cubicBezTo>
                    <a:pt x="143" y="27"/>
                    <a:pt x="142" y="28"/>
                    <a:pt x="142" y="30"/>
                  </a:cubicBezTo>
                  <a:cubicBezTo>
                    <a:pt x="141" y="31"/>
                    <a:pt x="142" y="32"/>
                    <a:pt x="141" y="33"/>
                  </a:cubicBezTo>
                  <a:cubicBezTo>
                    <a:pt x="141" y="33"/>
                    <a:pt x="140" y="34"/>
                    <a:pt x="140" y="35"/>
                  </a:cubicBezTo>
                  <a:cubicBezTo>
                    <a:pt x="138" y="35"/>
                    <a:pt x="135" y="37"/>
                    <a:pt x="133" y="39"/>
                  </a:cubicBezTo>
                  <a:cubicBezTo>
                    <a:pt x="133" y="40"/>
                    <a:pt x="133" y="41"/>
                    <a:pt x="132" y="42"/>
                  </a:cubicBezTo>
                  <a:cubicBezTo>
                    <a:pt x="130" y="43"/>
                    <a:pt x="127" y="42"/>
                    <a:pt x="125" y="42"/>
                  </a:cubicBezTo>
                  <a:cubicBezTo>
                    <a:pt x="124" y="42"/>
                    <a:pt x="124" y="43"/>
                    <a:pt x="122" y="43"/>
                  </a:cubicBezTo>
                  <a:cubicBezTo>
                    <a:pt x="121" y="43"/>
                    <a:pt x="120" y="43"/>
                    <a:pt x="119" y="45"/>
                  </a:cubicBezTo>
                  <a:cubicBezTo>
                    <a:pt x="118" y="46"/>
                    <a:pt x="118" y="47"/>
                    <a:pt x="116" y="48"/>
                  </a:cubicBezTo>
                  <a:cubicBezTo>
                    <a:pt x="115" y="48"/>
                    <a:pt x="113" y="48"/>
                    <a:pt x="112" y="48"/>
                  </a:cubicBezTo>
                  <a:cubicBezTo>
                    <a:pt x="110" y="48"/>
                    <a:pt x="110" y="48"/>
                    <a:pt x="109" y="50"/>
                  </a:cubicBezTo>
                  <a:cubicBezTo>
                    <a:pt x="108" y="51"/>
                    <a:pt x="108" y="52"/>
                    <a:pt x="107" y="53"/>
                  </a:cubicBezTo>
                  <a:cubicBezTo>
                    <a:pt x="106" y="53"/>
                    <a:pt x="106" y="54"/>
                    <a:pt x="106" y="55"/>
                  </a:cubicBezTo>
                  <a:cubicBezTo>
                    <a:pt x="105" y="55"/>
                    <a:pt x="105" y="55"/>
                    <a:pt x="104" y="56"/>
                  </a:cubicBezTo>
                  <a:cubicBezTo>
                    <a:pt x="104" y="57"/>
                    <a:pt x="105" y="58"/>
                    <a:pt x="104" y="59"/>
                  </a:cubicBezTo>
                  <a:cubicBezTo>
                    <a:pt x="104" y="59"/>
                    <a:pt x="103" y="60"/>
                    <a:pt x="103" y="60"/>
                  </a:cubicBezTo>
                  <a:cubicBezTo>
                    <a:pt x="103" y="60"/>
                    <a:pt x="102" y="61"/>
                    <a:pt x="102" y="61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1" y="63"/>
                    <a:pt x="101" y="63"/>
                  </a:cubicBezTo>
                  <a:cubicBezTo>
                    <a:pt x="100" y="64"/>
                    <a:pt x="100" y="65"/>
                    <a:pt x="99" y="66"/>
                  </a:cubicBezTo>
                  <a:cubicBezTo>
                    <a:pt x="99" y="66"/>
                    <a:pt x="99" y="67"/>
                    <a:pt x="99" y="67"/>
                  </a:cubicBezTo>
                  <a:cubicBezTo>
                    <a:pt x="99" y="69"/>
                    <a:pt x="99" y="70"/>
                    <a:pt x="98" y="71"/>
                  </a:cubicBezTo>
                  <a:cubicBezTo>
                    <a:pt x="98" y="73"/>
                    <a:pt x="98" y="74"/>
                    <a:pt x="98" y="75"/>
                  </a:cubicBezTo>
                  <a:cubicBezTo>
                    <a:pt x="97" y="76"/>
                    <a:pt x="95" y="76"/>
                    <a:pt x="94" y="76"/>
                  </a:cubicBezTo>
                  <a:cubicBezTo>
                    <a:pt x="92" y="77"/>
                    <a:pt x="91" y="79"/>
                    <a:pt x="90" y="81"/>
                  </a:cubicBezTo>
                  <a:cubicBezTo>
                    <a:pt x="89" y="82"/>
                    <a:pt x="89" y="83"/>
                    <a:pt x="89" y="84"/>
                  </a:cubicBezTo>
                  <a:cubicBezTo>
                    <a:pt x="88" y="86"/>
                    <a:pt x="89" y="87"/>
                    <a:pt x="88" y="89"/>
                  </a:cubicBezTo>
                  <a:cubicBezTo>
                    <a:pt x="88" y="91"/>
                    <a:pt x="86" y="94"/>
                    <a:pt x="84" y="96"/>
                  </a:cubicBezTo>
                  <a:cubicBezTo>
                    <a:pt x="83" y="96"/>
                    <a:pt x="81" y="97"/>
                    <a:pt x="81" y="98"/>
                  </a:cubicBezTo>
                  <a:cubicBezTo>
                    <a:pt x="80" y="99"/>
                    <a:pt x="80" y="101"/>
                    <a:pt x="80" y="102"/>
                  </a:cubicBezTo>
                  <a:cubicBezTo>
                    <a:pt x="79" y="103"/>
                    <a:pt x="79" y="104"/>
                    <a:pt x="78" y="105"/>
                  </a:cubicBezTo>
                  <a:cubicBezTo>
                    <a:pt x="77" y="106"/>
                    <a:pt x="77" y="107"/>
                    <a:pt x="77" y="108"/>
                  </a:cubicBezTo>
                  <a:cubicBezTo>
                    <a:pt x="76" y="109"/>
                    <a:pt x="76" y="109"/>
                    <a:pt x="75" y="109"/>
                  </a:cubicBezTo>
                  <a:cubicBezTo>
                    <a:pt x="75" y="110"/>
                    <a:pt x="75" y="112"/>
                    <a:pt x="75" y="113"/>
                  </a:cubicBezTo>
                  <a:cubicBezTo>
                    <a:pt x="75" y="115"/>
                    <a:pt x="74" y="117"/>
                    <a:pt x="74" y="118"/>
                  </a:cubicBezTo>
                  <a:cubicBezTo>
                    <a:pt x="74" y="120"/>
                    <a:pt x="74" y="122"/>
                    <a:pt x="73" y="123"/>
                  </a:cubicBezTo>
                  <a:cubicBezTo>
                    <a:pt x="72" y="125"/>
                    <a:pt x="71" y="126"/>
                    <a:pt x="70" y="126"/>
                  </a:cubicBezTo>
                  <a:cubicBezTo>
                    <a:pt x="70" y="127"/>
                    <a:pt x="70" y="127"/>
                    <a:pt x="69" y="12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7" y="128"/>
                    <a:pt x="67" y="128"/>
                    <a:pt x="67" y="129"/>
                  </a:cubicBezTo>
                  <a:cubicBezTo>
                    <a:pt x="66" y="129"/>
                    <a:pt x="66" y="132"/>
                    <a:pt x="64" y="132"/>
                  </a:cubicBezTo>
                  <a:cubicBezTo>
                    <a:pt x="64" y="132"/>
                    <a:pt x="64" y="132"/>
                    <a:pt x="64" y="133"/>
                  </a:cubicBezTo>
                  <a:cubicBezTo>
                    <a:pt x="62" y="133"/>
                    <a:pt x="63" y="134"/>
                    <a:pt x="62" y="135"/>
                  </a:cubicBezTo>
                  <a:cubicBezTo>
                    <a:pt x="61" y="136"/>
                    <a:pt x="60" y="136"/>
                    <a:pt x="59" y="137"/>
                  </a:cubicBezTo>
                  <a:cubicBezTo>
                    <a:pt x="59" y="138"/>
                    <a:pt x="59" y="139"/>
                    <a:pt x="59" y="139"/>
                  </a:cubicBezTo>
                  <a:cubicBezTo>
                    <a:pt x="59" y="140"/>
                    <a:pt x="58" y="140"/>
                    <a:pt x="58" y="141"/>
                  </a:cubicBezTo>
                  <a:cubicBezTo>
                    <a:pt x="57" y="142"/>
                    <a:pt x="56" y="143"/>
                    <a:pt x="55" y="145"/>
                  </a:cubicBezTo>
                  <a:cubicBezTo>
                    <a:pt x="55" y="146"/>
                    <a:pt x="54" y="148"/>
                    <a:pt x="54" y="149"/>
                  </a:cubicBezTo>
                  <a:cubicBezTo>
                    <a:pt x="54" y="149"/>
                    <a:pt x="55" y="150"/>
                    <a:pt x="54" y="151"/>
                  </a:cubicBezTo>
                  <a:cubicBezTo>
                    <a:pt x="54" y="151"/>
                    <a:pt x="53" y="151"/>
                    <a:pt x="53" y="152"/>
                  </a:cubicBezTo>
                  <a:cubicBezTo>
                    <a:pt x="53" y="152"/>
                    <a:pt x="53" y="153"/>
                    <a:pt x="52" y="154"/>
                  </a:cubicBezTo>
                  <a:cubicBezTo>
                    <a:pt x="52" y="154"/>
                    <a:pt x="51" y="155"/>
                    <a:pt x="51" y="155"/>
                  </a:cubicBezTo>
                  <a:cubicBezTo>
                    <a:pt x="50" y="156"/>
                    <a:pt x="50" y="157"/>
                    <a:pt x="49" y="158"/>
                  </a:cubicBezTo>
                  <a:cubicBezTo>
                    <a:pt x="49" y="159"/>
                    <a:pt x="48" y="159"/>
                    <a:pt x="48" y="159"/>
                  </a:cubicBezTo>
                  <a:cubicBezTo>
                    <a:pt x="48" y="158"/>
                    <a:pt x="47" y="161"/>
                    <a:pt x="47" y="161"/>
                  </a:cubicBezTo>
                  <a:cubicBezTo>
                    <a:pt x="46" y="161"/>
                    <a:pt x="46" y="162"/>
                    <a:pt x="46" y="162"/>
                  </a:cubicBezTo>
                  <a:cubicBezTo>
                    <a:pt x="46" y="162"/>
                    <a:pt x="45" y="163"/>
                    <a:pt x="46" y="163"/>
                  </a:cubicBezTo>
                  <a:cubicBezTo>
                    <a:pt x="45" y="164"/>
                    <a:pt x="45" y="165"/>
                    <a:pt x="43" y="166"/>
                  </a:cubicBezTo>
                  <a:cubicBezTo>
                    <a:pt x="42" y="166"/>
                    <a:pt x="40" y="166"/>
                    <a:pt x="38" y="166"/>
                  </a:cubicBezTo>
                  <a:cubicBezTo>
                    <a:pt x="37" y="166"/>
                    <a:pt x="36" y="166"/>
                    <a:pt x="34" y="165"/>
                  </a:cubicBezTo>
                  <a:cubicBezTo>
                    <a:pt x="33" y="164"/>
                    <a:pt x="32" y="164"/>
                    <a:pt x="31" y="164"/>
                  </a:cubicBezTo>
                  <a:cubicBezTo>
                    <a:pt x="28" y="164"/>
                    <a:pt x="27" y="167"/>
                    <a:pt x="26" y="168"/>
                  </a:cubicBezTo>
                  <a:cubicBezTo>
                    <a:pt x="22" y="177"/>
                    <a:pt x="12" y="171"/>
                    <a:pt x="5" y="172"/>
                  </a:cubicBezTo>
                  <a:cubicBezTo>
                    <a:pt x="4" y="172"/>
                    <a:pt x="4" y="173"/>
                    <a:pt x="2" y="173"/>
                  </a:cubicBezTo>
                  <a:cubicBezTo>
                    <a:pt x="2" y="173"/>
                    <a:pt x="1" y="173"/>
                    <a:pt x="0" y="173"/>
                  </a:cubicBezTo>
                  <a:cubicBezTo>
                    <a:pt x="5" y="182"/>
                    <a:pt x="5" y="182"/>
                    <a:pt x="5" y="182"/>
                  </a:cubicBezTo>
                  <a:cubicBezTo>
                    <a:pt x="5" y="184"/>
                    <a:pt x="4" y="186"/>
                    <a:pt x="6" y="188"/>
                  </a:cubicBezTo>
                  <a:cubicBezTo>
                    <a:pt x="6" y="189"/>
                    <a:pt x="7" y="189"/>
                    <a:pt x="8" y="189"/>
                  </a:cubicBezTo>
                  <a:cubicBezTo>
                    <a:pt x="10" y="190"/>
                    <a:pt x="13" y="190"/>
                    <a:pt x="14" y="193"/>
                  </a:cubicBezTo>
                  <a:cubicBezTo>
                    <a:pt x="14" y="195"/>
                    <a:pt x="14" y="194"/>
                    <a:pt x="16" y="195"/>
                  </a:cubicBezTo>
                  <a:cubicBezTo>
                    <a:pt x="17" y="195"/>
                    <a:pt x="18" y="196"/>
                    <a:pt x="18" y="197"/>
                  </a:cubicBezTo>
                  <a:cubicBezTo>
                    <a:pt x="19" y="198"/>
                    <a:pt x="18" y="198"/>
                    <a:pt x="19" y="199"/>
                  </a:cubicBezTo>
                  <a:cubicBezTo>
                    <a:pt x="19" y="199"/>
                    <a:pt x="20" y="200"/>
                    <a:pt x="20" y="200"/>
                  </a:cubicBezTo>
                  <a:cubicBezTo>
                    <a:pt x="20" y="201"/>
                    <a:pt x="21" y="203"/>
                    <a:pt x="22" y="203"/>
                  </a:cubicBezTo>
                  <a:cubicBezTo>
                    <a:pt x="23" y="203"/>
                    <a:pt x="23" y="202"/>
                    <a:pt x="24" y="202"/>
                  </a:cubicBezTo>
                  <a:cubicBezTo>
                    <a:pt x="24" y="201"/>
                    <a:pt x="25" y="202"/>
                    <a:pt x="26" y="202"/>
                  </a:cubicBezTo>
                  <a:cubicBezTo>
                    <a:pt x="27" y="202"/>
                    <a:pt x="28" y="202"/>
                    <a:pt x="29" y="203"/>
                  </a:cubicBezTo>
                  <a:cubicBezTo>
                    <a:pt x="30" y="205"/>
                    <a:pt x="29" y="208"/>
                    <a:pt x="29" y="210"/>
                  </a:cubicBezTo>
                  <a:cubicBezTo>
                    <a:pt x="29" y="211"/>
                    <a:pt x="29" y="213"/>
                    <a:pt x="29" y="214"/>
                  </a:cubicBezTo>
                  <a:cubicBezTo>
                    <a:pt x="29" y="215"/>
                    <a:pt x="28" y="215"/>
                    <a:pt x="28" y="216"/>
                  </a:cubicBezTo>
                  <a:cubicBezTo>
                    <a:pt x="27" y="218"/>
                    <a:pt x="28" y="222"/>
                    <a:pt x="30" y="222"/>
                  </a:cubicBezTo>
                  <a:cubicBezTo>
                    <a:pt x="31" y="223"/>
                    <a:pt x="28" y="225"/>
                    <a:pt x="27" y="226"/>
                  </a:cubicBezTo>
                  <a:cubicBezTo>
                    <a:pt x="27" y="227"/>
                    <a:pt x="27" y="228"/>
                    <a:pt x="28" y="229"/>
                  </a:cubicBezTo>
                  <a:cubicBezTo>
                    <a:pt x="28" y="231"/>
                    <a:pt x="29" y="231"/>
                    <a:pt x="31" y="231"/>
                  </a:cubicBezTo>
                  <a:cubicBezTo>
                    <a:pt x="34" y="232"/>
                    <a:pt x="34" y="232"/>
                    <a:pt x="34" y="235"/>
                  </a:cubicBezTo>
                  <a:cubicBezTo>
                    <a:pt x="34" y="236"/>
                    <a:pt x="34" y="237"/>
                    <a:pt x="34" y="238"/>
                  </a:cubicBezTo>
                  <a:cubicBezTo>
                    <a:pt x="35" y="239"/>
                    <a:pt x="36" y="240"/>
                    <a:pt x="38" y="241"/>
                  </a:cubicBezTo>
                  <a:cubicBezTo>
                    <a:pt x="44" y="243"/>
                    <a:pt x="50" y="243"/>
                    <a:pt x="57" y="243"/>
                  </a:cubicBezTo>
                  <a:cubicBezTo>
                    <a:pt x="58" y="243"/>
                    <a:pt x="59" y="243"/>
                    <a:pt x="60" y="244"/>
                  </a:cubicBezTo>
                  <a:cubicBezTo>
                    <a:pt x="61" y="245"/>
                    <a:pt x="61" y="245"/>
                    <a:pt x="61" y="246"/>
                  </a:cubicBezTo>
                  <a:cubicBezTo>
                    <a:pt x="62" y="246"/>
                    <a:pt x="63" y="246"/>
                    <a:pt x="63" y="247"/>
                  </a:cubicBezTo>
                  <a:cubicBezTo>
                    <a:pt x="64" y="248"/>
                    <a:pt x="63" y="248"/>
                    <a:pt x="62" y="249"/>
                  </a:cubicBezTo>
                  <a:cubicBezTo>
                    <a:pt x="62" y="250"/>
                    <a:pt x="62" y="251"/>
                    <a:pt x="63" y="252"/>
                  </a:cubicBezTo>
                  <a:cubicBezTo>
                    <a:pt x="64" y="253"/>
                    <a:pt x="65" y="253"/>
                    <a:pt x="65" y="254"/>
                  </a:cubicBezTo>
                  <a:cubicBezTo>
                    <a:pt x="65" y="255"/>
                    <a:pt x="64" y="256"/>
                    <a:pt x="63" y="257"/>
                  </a:cubicBezTo>
                  <a:cubicBezTo>
                    <a:pt x="62" y="258"/>
                    <a:pt x="61" y="258"/>
                    <a:pt x="61" y="260"/>
                  </a:cubicBezTo>
                  <a:cubicBezTo>
                    <a:pt x="61" y="260"/>
                    <a:pt x="61" y="261"/>
                    <a:pt x="60" y="261"/>
                  </a:cubicBezTo>
                  <a:cubicBezTo>
                    <a:pt x="60" y="262"/>
                    <a:pt x="60" y="262"/>
                    <a:pt x="60" y="262"/>
                  </a:cubicBezTo>
                  <a:cubicBezTo>
                    <a:pt x="59" y="263"/>
                    <a:pt x="58" y="263"/>
                    <a:pt x="58" y="264"/>
                  </a:cubicBezTo>
                  <a:cubicBezTo>
                    <a:pt x="57" y="265"/>
                    <a:pt x="58" y="268"/>
                    <a:pt x="59" y="269"/>
                  </a:cubicBezTo>
                  <a:cubicBezTo>
                    <a:pt x="60" y="270"/>
                    <a:pt x="62" y="270"/>
                    <a:pt x="63" y="271"/>
                  </a:cubicBezTo>
                  <a:cubicBezTo>
                    <a:pt x="63" y="271"/>
                    <a:pt x="64" y="272"/>
                    <a:pt x="65" y="273"/>
                  </a:cubicBezTo>
                  <a:cubicBezTo>
                    <a:pt x="66" y="274"/>
                    <a:pt x="67" y="277"/>
                    <a:pt x="65" y="278"/>
                  </a:cubicBezTo>
                  <a:cubicBezTo>
                    <a:pt x="64" y="278"/>
                    <a:pt x="62" y="277"/>
                    <a:pt x="60" y="278"/>
                  </a:cubicBezTo>
                  <a:cubicBezTo>
                    <a:pt x="59" y="278"/>
                    <a:pt x="59" y="279"/>
                    <a:pt x="58" y="280"/>
                  </a:cubicBezTo>
                  <a:cubicBezTo>
                    <a:pt x="57" y="281"/>
                    <a:pt x="56" y="281"/>
                    <a:pt x="57" y="282"/>
                  </a:cubicBezTo>
                  <a:cubicBezTo>
                    <a:pt x="57" y="283"/>
                    <a:pt x="57" y="284"/>
                    <a:pt x="58" y="285"/>
                  </a:cubicBezTo>
                  <a:cubicBezTo>
                    <a:pt x="59" y="285"/>
                    <a:pt x="60" y="285"/>
                    <a:pt x="61" y="285"/>
                  </a:cubicBezTo>
                  <a:cubicBezTo>
                    <a:pt x="62" y="285"/>
                    <a:pt x="65" y="285"/>
                    <a:pt x="65" y="285"/>
                  </a:cubicBezTo>
                  <a:cubicBezTo>
                    <a:pt x="66" y="286"/>
                    <a:pt x="66" y="286"/>
                    <a:pt x="66" y="287"/>
                  </a:cubicBezTo>
                  <a:cubicBezTo>
                    <a:pt x="66" y="287"/>
                    <a:pt x="67" y="288"/>
                    <a:pt x="67" y="288"/>
                  </a:cubicBezTo>
                  <a:cubicBezTo>
                    <a:pt x="67" y="289"/>
                    <a:pt x="67" y="289"/>
                    <a:pt x="67" y="290"/>
                  </a:cubicBezTo>
                  <a:cubicBezTo>
                    <a:pt x="68" y="291"/>
                    <a:pt x="69" y="291"/>
                    <a:pt x="70" y="292"/>
                  </a:cubicBezTo>
                  <a:cubicBezTo>
                    <a:pt x="70" y="292"/>
                    <a:pt x="71" y="292"/>
                    <a:pt x="71" y="292"/>
                  </a:cubicBezTo>
                  <a:cubicBezTo>
                    <a:pt x="71" y="292"/>
                    <a:pt x="71" y="292"/>
                    <a:pt x="71" y="292"/>
                  </a:cubicBezTo>
                  <a:cubicBezTo>
                    <a:pt x="74" y="293"/>
                    <a:pt x="77" y="294"/>
                    <a:pt x="80" y="295"/>
                  </a:cubicBezTo>
                  <a:cubicBezTo>
                    <a:pt x="83" y="296"/>
                    <a:pt x="85" y="298"/>
                    <a:pt x="87" y="300"/>
                  </a:cubicBezTo>
                  <a:cubicBezTo>
                    <a:pt x="88" y="300"/>
                    <a:pt x="89" y="301"/>
                    <a:pt x="90" y="301"/>
                  </a:cubicBezTo>
                  <a:cubicBezTo>
                    <a:pt x="91" y="302"/>
                    <a:pt x="92" y="302"/>
                    <a:pt x="93" y="303"/>
                  </a:cubicBezTo>
                  <a:cubicBezTo>
                    <a:pt x="93" y="303"/>
                    <a:pt x="93" y="305"/>
                    <a:pt x="94" y="305"/>
                  </a:cubicBezTo>
                  <a:cubicBezTo>
                    <a:pt x="94" y="307"/>
                    <a:pt x="94" y="307"/>
                    <a:pt x="96" y="307"/>
                  </a:cubicBezTo>
                  <a:cubicBezTo>
                    <a:pt x="99" y="308"/>
                    <a:pt x="100" y="308"/>
                    <a:pt x="102" y="306"/>
                  </a:cubicBezTo>
                  <a:cubicBezTo>
                    <a:pt x="103" y="305"/>
                    <a:pt x="103" y="306"/>
                    <a:pt x="104" y="304"/>
                  </a:cubicBezTo>
                  <a:cubicBezTo>
                    <a:pt x="104" y="304"/>
                    <a:pt x="104" y="303"/>
                    <a:pt x="104" y="303"/>
                  </a:cubicBezTo>
                  <a:cubicBezTo>
                    <a:pt x="105" y="302"/>
                    <a:pt x="105" y="301"/>
                    <a:pt x="105" y="301"/>
                  </a:cubicBezTo>
                  <a:cubicBezTo>
                    <a:pt x="106" y="300"/>
                    <a:pt x="106" y="299"/>
                    <a:pt x="107" y="299"/>
                  </a:cubicBezTo>
                  <a:cubicBezTo>
                    <a:pt x="109" y="297"/>
                    <a:pt x="109" y="294"/>
                    <a:pt x="112" y="293"/>
                  </a:cubicBezTo>
                  <a:cubicBezTo>
                    <a:pt x="115" y="292"/>
                    <a:pt x="117" y="295"/>
                    <a:pt x="120" y="296"/>
                  </a:cubicBezTo>
                  <a:cubicBezTo>
                    <a:pt x="123" y="298"/>
                    <a:pt x="125" y="298"/>
                    <a:pt x="128" y="300"/>
                  </a:cubicBezTo>
                  <a:cubicBezTo>
                    <a:pt x="130" y="301"/>
                    <a:pt x="133" y="302"/>
                    <a:pt x="132" y="305"/>
                  </a:cubicBezTo>
                  <a:cubicBezTo>
                    <a:pt x="131" y="307"/>
                    <a:pt x="128" y="307"/>
                    <a:pt x="125" y="307"/>
                  </a:cubicBezTo>
                  <a:cubicBezTo>
                    <a:pt x="124" y="308"/>
                    <a:pt x="123" y="308"/>
                    <a:pt x="122" y="309"/>
                  </a:cubicBezTo>
                  <a:cubicBezTo>
                    <a:pt x="121" y="309"/>
                    <a:pt x="121" y="309"/>
                    <a:pt x="120" y="310"/>
                  </a:cubicBezTo>
                  <a:cubicBezTo>
                    <a:pt x="120" y="310"/>
                    <a:pt x="118" y="310"/>
                    <a:pt x="118" y="311"/>
                  </a:cubicBezTo>
                  <a:cubicBezTo>
                    <a:pt x="118" y="312"/>
                    <a:pt x="118" y="312"/>
                    <a:pt x="118" y="313"/>
                  </a:cubicBezTo>
                  <a:cubicBezTo>
                    <a:pt x="117" y="313"/>
                    <a:pt x="117" y="313"/>
                    <a:pt x="116" y="314"/>
                  </a:cubicBezTo>
                  <a:cubicBezTo>
                    <a:pt x="116" y="315"/>
                    <a:pt x="117" y="315"/>
                    <a:pt x="117" y="316"/>
                  </a:cubicBezTo>
                  <a:cubicBezTo>
                    <a:pt x="117" y="317"/>
                    <a:pt x="118" y="318"/>
                    <a:pt x="119" y="318"/>
                  </a:cubicBezTo>
                  <a:cubicBezTo>
                    <a:pt x="119" y="319"/>
                    <a:pt x="118" y="321"/>
                    <a:pt x="119" y="322"/>
                  </a:cubicBezTo>
                  <a:cubicBezTo>
                    <a:pt x="120" y="323"/>
                    <a:pt x="121" y="323"/>
                    <a:pt x="122" y="324"/>
                  </a:cubicBezTo>
                  <a:cubicBezTo>
                    <a:pt x="122" y="324"/>
                    <a:pt x="123" y="325"/>
                    <a:pt x="123" y="326"/>
                  </a:cubicBezTo>
                  <a:cubicBezTo>
                    <a:pt x="125" y="327"/>
                    <a:pt x="126" y="329"/>
                    <a:pt x="126" y="331"/>
                  </a:cubicBezTo>
                  <a:cubicBezTo>
                    <a:pt x="126" y="332"/>
                    <a:pt x="126" y="333"/>
                    <a:pt x="126" y="334"/>
                  </a:cubicBezTo>
                  <a:cubicBezTo>
                    <a:pt x="128" y="334"/>
                    <a:pt x="130" y="335"/>
                    <a:pt x="132" y="335"/>
                  </a:cubicBezTo>
                  <a:cubicBezTo>
                    <a:pt x="134" y="336"/>
                    <a:pt x="135" y="337"/>
                    <a:pt x="136" y="338"/>
                  </a:cubicBezTo>
                  <a:cubicBezTo>
                    <a:pt x="139" y="340"/>
                    <a:pt x="144" y="341"/>
                    <a:pt x="145" y="344"/>
                  </a:cubicBezTo>
                  <a:cubicBezTo>
                    <a:pt x="146" y="347"/>
                    <a:pt x="143" y="348"/>
                    <a:pt x="141" y="349"/>
                  </a:cubicBezTo>
                  <a:cubicBezTo>
                    <a:pt x="140" y="350"/>
                    <a:pt x="138" y="351"/>
                    <a:pt x="137" y="352"/>
                  </a:cubicBezTo>
                  <a:cubicBezTo>
                    <a:pt x="136" y="352"/>
                    <a:pt x="136" y="355"/>
                    <a:pt x="136" y="356"/>
                  </a:cubicBezTo>
                  <a:cubicBezTo>
                    <a:pt x="136" y="358"/>
                    <a:pt x="136" y="363"/>
                    <a:pt x="138" y="365"/>
                  </a:cubicBezTo>
                  <a:cubicBezTo>
                    <a:pt x="140" y="366"/>
                    <a:pt x="141" y="366"/>
                    <a:pt x="143" y="366"/>
                  </a:cubicBezTo>
                  <a:cubicBezTo>
                    <a:pt x="145" y="366"/>
                    <a:pt x="146" y="367"/>
                    <a:pt x="148" y="367"/>
                  </a:cubicBezTo>
                  <a:cubicBezTo>
                    <a:pt x="151" y="368"/>
                    <a:pt x="153" y="364"/>
                    <a:pt x="157" y="364"/>
                  </a:cubicBezTo>
                  <a:cubicBezTo>
                    <a:pt x="162" y="364"/>
                    <a:pt x="166" y="365"/>
                    <a:pt x="171" y="365"/>
                  </a:cubicBezTo>
                  <a:cubicBezTo>
                    <a:pt x="174" y="365"/>
                    <a:pt x="177" y="365"/>
                    <a:pt x="180" y="367"/>
                  </a:cubicBezTo>
                  <a:cubicBezTo>
                    <a:pt x="182" y="367"/>
                    <a:pt x="183" y="368"/>
                    <a:pt x="185" y="369"/>
                  </a:cubicBezTo>
                  <a:cubicBezTo>
                    <a:pt x="186" y="369"/>
                    <a:pt x="188" y="369"/>
                    <a:pt x="189" y="370"/>
                  </a:cubicBezTo>
                  <a:cubicBezTo>
                    <a:pt x="192" y="371"/>
                    <a:pt x="194" y="372"/>
                    <a:pt x="197" y="373"/>
                  </a:cubicBezTo>
                  <a:cubicBezTo>
                    <a:pt x="198" y="374"/>
                    <a:pt x="200" y="375"/>
                    <a:pt x="201" y="375"/>
                  </a:cubicBezTo>
                  <a:cubicBezTo>
                    <a:pt x="202" y="375"/>
                    <a:pt x="202" y="374"/>
                    <a:pt x="203" y="374"/>
                  </a:cubicBezTo>
                  <a:cubicBezTo>
                    <a:pt x="207" y="374"/>
                    <a:pt x="209" y="378"/>
                    <a:pt x="213" y="379"/>
                  </a:cubicBezTo>
                  <a:cubicBezTo>
                    <a:pt x="215" y="379"/>
                    <a:pt x="219" y="379"/>
                    <a:pt x="221" y="378"/>
                  </a:cubicBezTo>
                  <a:cubicBezTo>
                    <a:pt x="223" y="377"/>
                    <a:pt x="225" y="375"/>
                    <a:pt x="228" y="375"/>
                  </a:cubicBezTo>
                  <a:cubicBezTo>
                    <a:pt x="232" y="374"/>
                    <a:pt x="236" y="375"/>
                    <a:pt x="240" y="376"/>
                  </a:cubicBezTo>
                  <a:cubicBezTo>
                    <a:pt x="242" y="376"/>
                    <a:pt x="244" y="376"/>
                    <a:pt x="246" y="375"/>
                  </a:cubicBezTo>
                  <a:cubicBezTo>
                    <a:pt x="248" y="374"/>
                    <a:pt x="248" y="373"/>
                    <a:pt x="251" y="374"/>
                  </a:cubicBezTo>
                  <a:cubicBezTo>
                    <a:pt x="253" y="375"/>
                    <a:pt x="255" y="378"/>
                    <a:pt x="257" y="378"/>
                  </a:cubicBezTo>
                  <a:cubicBezTo>
                    <a:pt x="259" y="378"/>
                    <a:pt x="261" y="378"/>
                    <a:pt x="263" y="378"/>
                  </a:cubicBezTo>
                  <a:cubicBezTo>
                    <a:pt x="266" y="379"/>
                    <a:pt x="269" y="380"/>
                    <a:pt x="271" y="381"/>
                  </a:cubicBezTo>
                  <a:cubicBezTo>
                    <a:pt x="272" y="381"/>
                    <a:pt x="273" y="382"/>
                    <a:pt x="274" y="382"/>
                  </a:cubicBezTo>
                  <a:cubicBezTo>
                    <a:pt x="275" y="382"/>
                    <a:pt x="275" y="382"/>
                    <a:pt x="275" y="382"/>
                  </a:cubicBezTo>
                  <a:cubicBezTo>
                    <a:pt x="278" y="382"/>
                    <a:pt x="281" y="384"/>
                    <a:pt x="283" y="384"/>
                  </a:cubicBezTo>
                  <a:cubicBezTo>
                    <a:pt x="285" y="384"/>
                    <a:pt x="285" y="384"/>
                    <a:pt x="286" y="383"/>
                  </a:cubicBezTo>
                  <a:cubicBezTo>
                    <a:pt x="288" y="382"/>
                    <a:pt x="289" y="382"/>
                    <a:pt x="290" y="381"/>
                  </a:cubicBezTo>
                  <a:cubicBezTo>
                    <a:pt x="292" y="379"/>
                    <a:pt x="293" y="379"/>
                    <a:pt x="295" y="379"/>
                  </a:cubicBezTo>
                  <a:cubicBezTo>
                    <a:pt x="297" y="379"/>
                    <a:pt x="299" y="380"/>
                    <a:pt x="300" y="378"/>
                  </a:cubicBezTo>
                  <a:cubicBezTo>
                    <a:pt x="301" y="377"/>
                    <a:pt x="300" y="376"/>
                    <a:pt x="300" y="375"/>
                  </a:cubicBezTo>
                  <a:cubicBezTo>
                    <a:pt x="301" y="373"/>
                    <a:pt x="304" y="372"/>
                    <a:pt x="305" y="371"/>
                  </a:cubicBezTo>
                  <a:cubicBezTo>
                    <a:pt x="307" y="370"/>
                    <a:pt x="308" y="369"/>
                    <a:pt x="308" y="367"/>
                  </a:cubicBezTo>
                  <a:cubicBezTo>
                    <a:pt x="308" y="366"/>
                    <a:pt x="308" y="365"/>
                    <a:pt x="308" y="364"/>
                  </a:cubicBezTo>
                  <a:cubicBezTo>
                    <a:pt x="309" y="363"/>
                    <a:pt x="311" y="362"/>
                    <a:pt x="313" y="361"/>
                  </a:cubicBezTo>
                  <a:cubicBezTo>
                    <a:pt x="314" y="360"/>
                    <a:pt x="315" y="359"/>
                    <a:pt x="316" y="359"/>
                  </a:cubicBezTo>
                  <a:cubicBezTo>
                    <a:pt x="318" y="357"/>
                    <a:pt x="321" y="357"/>
                    <a:pt x="324" y="356"/>
                  </a:cubicBezTo>
                  <a:cubicBezTo>
                    <a:pt x="326" y="355"/>
                    <a:pt x="328" y="355"/>
                    <a:pt x="331" y="355"/>
                  </a:cubicBezTo>
                  <a:cubicBezTo>
                    <a:pt x="333" y="354"/>
                    <a:pt x="334" y="354"/>
                    <a:pt x="335" y="353"/>
                  </a:cubicBezTo>
                  <a:cubicBezTo>
                    <a:pt x="338" y="352"/>
                    <a:pt x="341" y="350"/>
                    <a:pt x="344" y="350"/>
                  </a:cubicBezTo>
                  <a:cubicBezTo>
                    <a:pt x="346" y="350"/>
                    <a:pt x="349" y="350"/>
                    <a:pt x="351" y="350"/>
                  </a:cubicBezTo>
                  <a:cubicBezTo>
                    <a:pt x="354" y="350"/>
                    <a:pt x="356" y="350"/>
                    <a:pt x="358" y="349"/>
                  </a:cubicBezTo>
                  <a:cubicBezTo>
                    <a:pt x="361" y="348"/>
                    <a:pt x="363" y="347"/>
                    <a:pt x="366" y="345"/>
                  </a:cubicBezTo>
                  <a:cubicBezTo>
                    <a:pt x="368" y="344"/>
                    <a:pt x="370" y="342"/>
                    <a:pt x="373" y="343"/>
                  </a:cubicBezTo>
                  <a:cubicBezTo>
                    <a:pt x="374" y="343"/>
                    <a:pt x="376" y="344"/>
                    <a:pt x="377" y="345"/>
                  </a:cubicBezTo>
                  <a:cubicBezTo>
                    <a:pt x="378" y="345"/>
                    <a:pt x="380" y="346"/>
                    <a:pt x="382" y="347"/>
                  </a:cubicBezTo>
                  <a:cubicBezTo>
                    <a:pt x="383" y="348"/>
                    <a:pt x="383" y="349"/>
                    <a:pt x="384" y="350"/>
                  </a:cubicBezTo>
                  <a:cubicBezTo>
                    <a:pt x="385" y="351"/>
                    <a:pt x="386" y="351"/>
                    <a:pt x="387" y="352"/>
                  </a:cubicBezTo>
                  <a:cubicBezTo>
                    <a:pt x="388" y="352"/>
                    <a:pt x="389" y="353"/>
                    <a:pt x="390" y="353"/>
                  </a:cubicBezTo>
                  <a:cubicBezTo>
                    <a:pt x="390" y="353"/>
                    <a:pt x="392" y="353"/>
                    <a:pt x="393" y="353"/>
                  </a:cubicBezTo>
                  <a:cubicBezTo>
                    <a:pt x="394" y="353"/>
                    <a:pt x="396" y="354"/>
                    <a:pt x="397" y="355"/>
                  </a:cubicBezTo>
                  <a:cubicBezTo>
                    <a:pt x="398" y="355"/>
                    <a:pt x="398" y="355"/>
                    <a:pt x="399" y="355"/>
                  </a:cubicBezTo>
                  <a:cubicBezTo>
                    <a:pt x="399" y="355"/>
                    <a:pt x="401" y="354"/>
                    <a:pt x="401" y="354"/>
                  </a:cubicBezTo>
                  <a:cubicBezTo>
                    <a:pt x="402" y="354"/>
                    <a:pt x="403" y="354"/>
                    <a:pt x="404" y="354"/>
                  </a:cubicBezTo>
                  <a:cubicBezTo>
                    <a:pt x="407" y="354"/>
                    <a:pt x="406" y="354"/>
                    <a:pt x="407" y="356"/>
                  </a:cubicBezTo>
                  <a:cubicBezTo>
                    <a:pt x="407" y="357"/>
                    <a:pt x="408" y="357"/>
                    <a:pt x="408" y="358"/>
                  </a:cubicBezTo>
                  <a:cubicBezTo>
                    <a:pt x="409" y="358"/>
                    <a:pt x="410" y="360"/>
                    <a:pt x="410" y="360"/>
                  </a:cubicBezTo>
                  <a:cubicBezTo>
                    <a:pt x="411" y="360"/>
                    <a:pt x="413" y="360"/>
                    <a:pt x="414" y="360"/>
                  </a:cubicBezTo>
                  <a:cubicBezTo>
                    <a:pt x="415" y="359"/>
                    <a:pt x="420" y="355"/>
                    <a:pt x="421" y="357"/>
                  </a:cubicBezTo>
                  <a:cubicBezTo>
                    <a:pt x="421" y="358"/>
                    <a:pt x="421" y="358"/>
                    <a:pt x="421" y="359"/>
                  </a:cubicBezTo>
                  <a:cubicBezTo>
                    <a:pt x="421" y="359"/>
                    <a:pt x="421" y="360"/>
                    <a:pt x="422" y="360"/>
                  </a:cubicBezTo>
                  <a:cubicBezTo>
                    <a:pt x="423" y="362"/>
                    <a:pt x="423" y="362"/>
                    <a:pt x="423" y="364"/>
                  </a:cubicBezTo>
                  <a:cubicBezTo>
                    <a:pt x="424" y="365"/>
                    <a:pt x="423" y="366"/>
                    <a:pt x="424" y="367"/>
                  </a:cubicBezTo>
                  <a:cubicBezTo>
                    <a:pt x="425" y="368"/>
                    <a:pt x="425" y="368"/>
                    <a:pt x="426" y="368"/>
                  </a:cubicBezTo>
                  <a:cubicBezTo>
                    <a:pt x="426" y="368"/>
                    <a:pt x="426" y="369"/>
                    <a:pt x="426" y="369"/>
                  </a:cubicBezTo>
                  <a:cubicBezTo>
                    <a:pt x="427" y="370"/>
                    <a:pt x="428" y="370"/>
                    <a:pt x="428" y="372"/>
                  </a:cubicBezTo>
                  <a:cubicBezTo>
                    <a:pt x="429" y="372"/>
                    <a:pt x="428" y="373"/>
                    <a:pt x="429" y="373"/>
                  </a:cubicBezTo>
                  <a:cubicBezTo>
                    <a:pt x="429" y="374"/>
                    <a:pt x="430" y="375"/>
                    <a:pt x="431" y="375"/>
                  </a:cubicBezTo>
                  <a:cubicBezTo>
                    <a:pt x="433" y="376"/>
                    <a:pt x="436" y="376"/>
                    <a:pt x="439" y="377"/>
                  </a:cubicBezTo>
                  <a:cubicBezTo>
                    <a:pt x="441" y="377"/>
                    <a:pt x="443" y="378"/>
                    <a:pt x="446" y="379"/>
                  </a:cubicBezTo>
                  <a:cubicBezTo>
                    <a:pt x="449" y="379"/>
                    <a:pt x="452" y="379"/>
                    <a:pt x="456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9"/>
                    <a:pt x="455" y="379"/>
                    <a:pt x="455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8"/>
                    <a:pt x="456" y="377"/>
                    <a:pt x="456" y="376"/>
                  </a:cubicBezTo>
                  <a:cubicBezTo>
                    <a:pt x="457" y="372"/>
                    <a:pt x="458" y="369"/>
                    <a:pt x="458" y="366"/>
                  </a:cubicBezTo>
                  <a:cubicBezTo>
                    <a:pt x="458" y="362"/>
                    <a:pt x="458" y="359"/>
                    <a:pt x="458" y="356"/>
                  </a:cubicBezTo>
                  <a:cubicBezTo>
                    <a:pt x="458" y="347"/>
                    <a:pt x="457" y="340"/>
                    <a:pt x="462" y="332"/>
                  </a:cubicBezTo>
                  <a:cubicBezTo>
                    <a:pt x="465" y="330"/>
                    <a:pt x="466" y="328"/>
                    <a:pt x="466" y="325"/>
                  </a:cubicBezTo>
                  <a:cubicBezTo>
                    <a:pt x="466" y="323"/>
                    <a:pt x="466" y="322"/>
                    <a:pt x="466" y="321"/>
                  </a:cubicBezTo>
                  <a:cubicBezTo>
                    <a:pt x="466" y="321"/>
                    <a:pt x="467" y="319"/>
                    <a:pt x="467" y="319"/>
                  </a:cubicBezTo>
                  <a:cubicBezTo>
                    <a:pt x="467" y="318"/>
                    <a:pt x="467" y="317"/>
                    <a:pt x="468" y="316"/>
                  </a:cubicBezTo>
                  <a:cubicBezTo>
                    <a:pt x="469" y="314"/>
                    <a:pt x="469" y="312"/>
                    <a:pt x="469" y="309"/>
                  </a:cubicBezTo>
                  <a:cubicBezTo>
                    <a:pt x="469" y="308"/>
                    <a:pt x="468" y="306"/>
                    <a:pt x="467" y="305"/>
                  </a:cubicBezTo>
                  <a:cubicBezTo>
                    <a:pt x="466" y="304"/>
                    <a:pt x="465" y="304"/>
                    <a:pt x="464" y="302"/>
                  </a:cubicBezTo>
                  <a:cubicBezTo>
                    <a:pt x="466" y="302"/>
                    <a:pt x="468" y="302"/>
                    <a:pt x="470" y="302"/>
                  </a:cubicBezTo>
                  <a:cubicBezTo>
                    <a:pt x="472" y="302"/>
                    <a:pt x="472" y="301"/>
                    <a:pt x="474" y="299"/>
                  </a:cubicBezTo>
                  <a:cubicBezTo>
                    <a:pt x="475" y="297"/>
                    <a:pt x="476" y="296"/>
                    <a:pt x="476" y="294"/>
                  </a:cubicBezTo>
                  <a:cubicBezTo>
                    <a:pt x="476" y="291"/>
                    <a:pt x="473" y="290"/>
                    <a:pt x="472" y="288"/>
                  </a:cubicBezTo>
                  <a:cubicBezTo>
                    <a:pt x="471" y="284"/>
                    <a:pt x="472" y="279"/>
                    <a:pt x="475" y="278"/>
                  </a:cubicBezTo>
                  <a:cubicBezTo>
                    <a:pt x="477" y="277"/>
                    <a:pt x="479" y="278"/>
                    <a:pt x="481" y="277"/>
                  </a:cubicBezTo>
                  <a:cubicBezTo>
                    <a:pt x="483" y="277"/>
                    <a:pt x="482" y="274"/>
                    <a:pt x="484" y="274"/>
                  </a:cubicBezTo>
                  <a:cubicBezTo>
                    <a:pt x="485" y="279"/>
                    <a:pt x="479" y="280"/>
                    <a:pt x="478" y="285"/>
                  </a:cubicBezTo>
                  <a:cubicBezTo>
                    <a:pt x="477" y="290"/>
                    <a:pt x="488" y="288"/>
                    <a:pt x="491" y="289"/>
                  </a:cubicBezTo>
                  <a:cubicBezTo>
                    <a:pt x="492" y="289"/>
                    <a:pt x="493" y="288"/>
                    <a:pt x="494" y="289"/>
                  </a:cubicBezTo>
                  <a:cubicBezTo>
                    <a:pt x="494" y="290"/>
                    <a:pt x="494" y="291"/>
                    <a:pt x="494" y="292"/>
                  </a:cubicBezTo>
                  <a:cubicBezTo>
                    <a:pt x="496" y="293"/>
                    <a:pt x="500" y="292"/>
                    <a:pt x="502" y="292"/>
                  </a:cubicBezTo>
                  <a:cubicBezTo>
                    <a:pt x="507" y="292"/>
                    <a:pt x="512" y="292"/>
                    <a:pt x="515" y="288"/>
                  </a:cubicBezTo>
                  <a:cubicBezTo>
                    <a:pt x="516" y="287"/>
                    <a:pt x="516" y="286"/>
                    <a:pt x="517" y="285"/>
                  </a:cubicBezTo>
                  <a:cubicBezTo>
                    <a:pt x="517" y="284"/>
                    <a:pt x="517" y="281"/>
                    <a:pt x="518" y="280"/>
                  </a:cubicBezTo>
                  <a:cubicBezTo>
                    <a:pt x="518" y="278"/>
                    <a:pt x="518" y="276"/>
                    <a:pt x="518" y="274"/>
                  </a:cubicBezTo>
                  <a:cubicBezTo>
                    <a:pt x="518" y="271"/>
                    <a:pt x="520" y="268"/>
                    <a:pt x="521" y="265"/>
                  </a:cubicBezTo>
                  <a:cubicBezTo>
                    <a:pt x="521" y="262"/>
                    <a:pt x="522" y="259"/>
                    <a:pt x="523" y="257"/>
                  </a:cubicBezTo>
                  <a:cubicBezTo>
                    <a:pt x="523" y="257"/>
                    <a:pt x="525" y="255"/>
                    <a:pt x="525" y="25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4" name="Freeform 35">
              <a:extLst>
                <a:ext uri="{FF2B5EF4-FFF2-40B4-BE49-F238E27FC236}">
                  <a16:creationId xmlns:a16="http://schemas.microsoft.com/office/drawing/2014/main" id="{4E642396-279E-4CEC-B0B7-A8173EA80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0925" y="4779963"/>
              <a:ext cx="336550" cy="477838"/>
            </a:xfrm>
            <a:custGeom>
              <a:avLst/>
              <a:gdLst/>
              <a:ahLst/>
              <a:cxnLst>
                <a:cxn ang="0">
                  <a:pos x="169" y="144"/>
                </a:cxn>
                <a:cxn ang="0">
                  <a:pos x="163" y="133"/>
                </a:cxn>
                <a:cxn ang="0">
                  <a:pos x="158" y="123"/>
                </a:cxn>
                <a:cxn ang="0">
                  <a:pos x="159" y="115"/>
                </a:cxn>
                <a:cxn ang="0">
                  <a:pos x="160" y="101"/>
                </a:cxn>
                <a:cxn ang="0">
                  <a:pos x="150" y="101"/>
                </a:cxn>
                <a:cxn ang="0">
                  <a:pos x="144" y="96"/>
                </a:cxn>
                <a:cxn ang="0">
                  <a:pos x="136" y="85"/>
                </a:cxn>
                <a:cxn ang="0">
                  <a:pos x="139" y="74"/>
                </a:cxn>
                <a:cxn ang="0">
                  <a:pos x="141" y="63"/>
                </a:cxn>
                <a:cxn ang="0">
                  <a:pos x="141" y="56"/>
                </a:cxn>
                <a:cxn ang="0">
                  <a:pos x="141" y="48"/>
                </a:cxn>
                <a:cxn ang="0">
                  <a:pos x="130" y="48"/>
                </a:cxn>
                <a:cxn ang="0">
                  <a:pos x="121" y="45"/>
                </a:cxn>
                <a:cxn ang="0">
                  <a:pos x="115" y="35"/>
                </a:cxn>
                <a:cxn ang="0">
                  <a:pos x="107" y="31"/>
                </a:cxn>
                <a:cxn ang="0">
                  <a:pos x="97" y="37"/>
                </a:cxn>
                <a:cxn ang="0">
                  <a:pos x="95" y="29"/>
                </a:cxn>
                <a:cxn ang="0">
                  <a:pos x="92" y="24"/>
                </a:cxn>
                <a:cxn ang="0">
                  <a:pos x="80" y="23"/>
                </a:cxn>
                <a:cxn ang="0">
                  <a:pos x="75" y="18"/>
                </a:cxn>
                <a:cxn ang="0">
                  <a:pos x="60" y="7"/>
                </a:cxn>
                <a:cxn ang="0">
                  <a:pos x="48" y="4"/>
                </a:cxn>
                <a:cxn ang="0">
                  <a:pos x="36" y="6"/>
                </a:cxn>
                <a:cxn ang="0">
                  <a:pos x="25" y="11"/>
                </a:cxn>
                <a:cxn ang="0">
                  <a:pos x="12" y="13"/>
                </a:cxn>
                <a:cxn ang="0">
                  <a:pos x="4" y="7"/>
                </a:cxn>
                <a:cxn ang="0">
                  <a:pos x="2" y="18"/>
                </a:cxn>
                <a:cxn ang="0">
                  <a:pos x="11" y="33"/>
                </a:cxn>
                <a:cxn ang="0">
                  <a:pos x="34" y="65"/>
                </a:cxn>
                <a:cxn ang="0">
                  <a:pos x="38" y="84"/>
                </a:cxn>
                <a:cxn ang="0">
                  <a:pos x="51" y="98"/>
                </a:cxn>
                <a:cxn ang="0">
                  <a:pos x="67" y="125"/>
                </a:cxn>
                <a:cxn ang="0">
                  <a:pos x="84" y="157"/>
                </a:cxn>
                <a:cxn ang="0">
                  <a:pos x="77" y="227"/>
                </a:cxn>
                <a:cxn ang="0">
                  <a:pos x="88" y="252"/>
                </a:cxn>
                <a:cxn ang="0">
                  <a:pos x="98" y="253"/>
                </a:cxn>
                <a:cxn ang="0">
                  <a:pos x="99" y="244"/>
                </a:cxn>
                <a:cxn ang="0">
                  <a:pos x="101" y="234"/>
                </a:cxn>
                <a:cxn ang="0">
                  <a:pos x="108" y="228"/>
                </a:cxn>
                <a:cxn ang="0">
                  <a:pos x="126" y="211"/>
                </a:cxn>
                <a:cxn ang="0">
                  <a:pos x="128" y="195"/>
                </a:cxn>
                <a:cxn ang="0">
                  <a:pos x="126" y="182"/>
                </a:cxn>
                <a:cxn ang="0">
                  <a:pos x="127" y="172"/>
                </a:cxn>
                <a:cxn ang="0">
                  <a:pos x="143" y="169"/>
                </a:cxn>
                <a:cxn ang="0">
                  <a:pos x="142" y="180"/>
                </a:cxn>
                <a:cxn ang="0">
                  <a:pos x="146" y="171"/>
                </a:cxn>
                <a:cxn ang="0">
                  <a:pos x="155" y="176"/>
                </a:cxn>
                <a:cxn ang="0">
                  <a:pos x="163" y="185"/>
                </a:cxn>
                <a:cxn ang="0">
                  <a:pos x="171" y="172"/>
                </a:cxn>
                <a:cxn ang="0">
                  <a:pos x="178" y="165"/>
                </a:cxn>
              </a:cxnLst>
              <a:rect l="0" t="0" r="r" b="b"/>
              <a:pathLst>
                <a:path w="180" h="256">
                  <a:moveTo>
                    <a:pt x="180" y="147"/>
                  </a:moveTo>
                  <a:cubicBezTo>
                    <a:pt x="180" y="144"/>
                    <a:pt x="178" y="144"/>
                    <a:pt x="176" y="143"/>
                  </a:cubicBezTo>
                  <a:cubicBezTo>
                    <a:pt x="175" y="142"/>
                    <a:pt x="174" y="141"/>
                    <a:pt x="173" y="142"/>
                  </a:cubicBezTo>
                  <a:cubicBezTo>
                    <a:pt x="171" y="143"/>
                    <a:pt x="170" y="143"/>
                    <a:pt x="169" y="144"/>
                  </a:cubicBezTo>
                  <a:cubicBezTo>
                    <a:pt x="168" y="144"/>
                    <a:pt x="168" y="144"/>
                    <a:pt x="167" y="143"/>
                  </a:cubicBezTo>
                  <a:cubicBezTo>
                    <a:pt x="167" y="141"/>
                    <a:pt x="165" y="138"/>
                    <a:pt x="165" y="136"/>
                  </a:cubicBezTo>
                  <a:cubicBezTo>
                    <a:pt x="165" y="135"/>
                    <a:pt x="165" y="135"/>
                    <a:pt x="164" y="134"/>
                  </a:cubicBezTo>
                  <a:cubicBezTo>
                    <a:pt x="164" y="134"/>
                    <a:pt x="163" y="133"/>
                    <a:pt x="163" y="133"/>
                  </a:cubicBezTo>
                  <a:cubicBezTo>
                    <a:pt x="163" y="132"/>
                    <a:pt x="163" y="130"/>
                    <a:pt x="164" y="128"/>
                  </a:cubicBezTo>
                  <a:cubicBezTo>
                    <a:pt x="164" y="128"/>
                    <a:pt x="164" y="127"/>
                    <a:pt x="164" y="126"/>
                  </a:cubicBezTo>
                  <a:cubicBezTo>
                    <a:pt x="164" y="126"/>
                    <a:pt x="164" y="124"/>
                    <a:pt x="163" y="123"/>
                  </a:cubicBezTo>
                  <a:cubicBezTo>
                    <a:pt x="162" y="123"/>
                    <a:pt x="159" y="123"/>
                    <a:pt x="158" y="123"/>
                  </a:cubicBezTo>
                  <a:cubicBezTo>
                    <a:pt x="156" y="123"/>
                    <a:pt x="152" y="122"/>
                    <a:pt x="154" y="120"/>
                  </a:cubicBezTo>
                  <a:cubicBezTo>
                    <a:pt x="155" y="118"/>
                    <a:pt x="156" y="119"/>
                    <a:pt x="158" y="120"/>
                  </a:cubicBezTo>
                  <a:cubicBezTo>
                    <a:pt x="157" y="119"/>
                    <a:pt x="157" y="118"/>
                    <a:pt x="157" y="117"/>
                  </a:cubicBezTo>
                  <a:cubicBezTo>
                    <a:pt x="158" y="115"/>
                    <a:pt x="158" y="116"/>
                    <a:pt x="159" y="115"/>
                  </a:cubicBezTo>
                  <a:cubicBezTo>
                    <a:pt x="159" y="114"/>
                    <a:pt x="159" y="114"/>
                    <a:pt x="159" y="113"/>
                  </a:cubicBezTo>
                  <a:cubicBezTo>
                    <a:pt x="159" y="113"/>
                    <a:pt x="159" y="112"/>
                    <a:pt x="159" y="112"/>
                  </a:cubicBezTo>
                  <a:cubicBezTo>
                    <a:pt x="158" y="109"/>
                    <a:pt x="160" y="109"/>
                    <a:pt x="161" y="107"/>
                  </a:cubicBezTo>
                  <a:cubicBezTo>
                    <a:pt x="162" y="105"/>
                    <a:pt x="160" y="103"/>
                    <a:pt x="160" y="101"/>
                  </a:cubicBezTo>
                  <a:cubicBezTo>
                    <a:pt x="160" y="99"/>
                    <a:pt x="160" y="98"/>
                    <a:pt x="160" y="97"/>
                  </a:cubicBezTo>
                  <a:cubicBezTo>
                    <a:pt x="159" y="97"/>
                    <a:pt x="158" y="97"/>
                    <a:pt x="157" y="98"/>
                  </a:cubicBezTo>
                  <a:cubicBezTo>
                    <a:pt x="157" y="98"/>
                    <a:pt x="156" y="98"/>
                    <a:pt x="156" y="98"/>
                  </a:cubicBezTo>
                  <a:cubicBezTo>
                    <a:pt x="154" y="100"/>
                    <a:pt x="153" y="103"/>
                    <a:pt x="150" y="101"/>
                  </a:cubicBezTo>
                  <a:cubicBezTo>
                    <a:pt x="149" y="101"/>
                    <a:pt x="148" y="100"/>
                    <a:pt x="147" y="100"/>
                  </a:cubicBezTo>
                  <a:cubicBezTo>
                    <a:pt x="146" y="99"/>
                    <a:pt x="146" y="97"/>
                    <a:pt x="146" y="96"/>
                  </a:cubicBezTo>
                  <a:cubicBezTo>
                    <a:pt x="146" y="96"/>
                    <a:pt x="145" y="95"/>
                    <a:pt x="145" y="94"/>
                  </a:cubicBezTo>
                  <a:cubicBezTo>
                    <a:pt x="145" y="95"/>
                    <a:pt x="144" y="96"/>
                    <a:pt x="144" y="96"/>
                  </a:cubicBezTo>
                  <a:cubicBezTo>
                    <a:pt x="143" y="96"/>
                    <a:pt x="141" y="95"/>
                    <a:pt x="141" y="94"/>
                  </a:cubicBezTo>
                  <a:cubicBezTo>
                    <a:pt x="141" y="93"/>
                    <a:pt x="141" y="92"/>
                    <a:pt x="140" y="91"/>
                  </a:cubicBezTo>
                  <a:cubicBezTo>
                    <a:pt x="139" y="90"/>
                    <a:pt x="139" y="89"/>
                    <a:pt x="138" y="89"/>
                  </a:cubicBezTo>
                  <a:cubicBezTo>
                    <a:pt x="137" y="88"/>
                    <a:pt x="137" y="86"/>
                    <a:pt x="136" y="85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3"/>
                    <a:pt x="135" y="82"/>
                    <a:pt x="135" y="81"/>
                  </a:cubicBezTo>
                  <a:cubicBezTo>
                    <a:pt x="134" y="80"/>
                    <a:pt x="134" y="79"/>
                    <a:pt x="135" y="78"/>
                  </a:cubicBezTo>
                  <a:cubicBezTo>
                    <a:pt x="136" y="76"/>
                    <a:pt x="139" y="76"/>
                    <a:pt x="139" y="74"/>
                  </a:cubicBezTo>
                  <a:cubicBezTo>
                    <a:pt x="139" y="74"/>
                    <a:pt x="139" y="73"/>
                    <a:pt x="139" y="72"/>
                  </a:cubicBezTo>
                  <a:cubicBezTo>
                    <a:pt x="139" y="71"/>
                    <a:pt x="139" y="70"/>
                    <a:pt x="139" y="70"/>
                  </a:cubicBezTo>
                  <a:cubicBezTo>
                    <a:pt x="140" y="68"/>
                    <a:pt x="140" y="67"/>
                    <a:pt x="140" y="66"/>
                  </a:cubicBezTo>
                  <a:cubicBezTo>
                    <a:pt x="140" y="65"/>
                    <a:pt x="141" y="64"/>
                    <a:pt x="141" y="63"/>
                  </a:cubicBezTo>
                  <a:cubicBezTo>
                    <a:pt x="142" y="63"/>
                    <a:pt x="143" y="63"/>
                    <a:pt x="142" y="62"/>
                  </a:cubicBezTo>
                  <a:cubicBezTo>
                    <a:pt x="141" y="61"/>
                    <a:pt x="140" y="61"/>
                    <a:pt x="140" y="60"/>
                  </a:cubicBezTo>
                  <a:cubicBezTo>
                    <a:pt x="140" y="60"/>
                    <a:pt x="140" y="59"/>
                    <a:pt x="140" y="59"/>
                  </a:cubicBezTo>
                  <a:cubicBezTo>
                    <a:pt x="141" y="58"/>
                    <a:pt x="141" y="58"/>
                    <a:pt x="141" y="56"/>
                  </a:cubicBezTo>
                  <a:cubicBezTo>
                    <a:pt x="141" y="56"/>
                    <a:pt x="141" y="55"/>
                    <a:pt x="141" y="55"/>
                  </a:cubicBezTo>
                  <a:cubicBezTo>
                    <a:pt x="141" y="54"/>
                    <a:pt x="141" y="54"/>
                    <a:pt x="142" y="53"/>
                  </a:cubicBezTo>
                  <a:cubicBezTo>
                    <a:pt x="142" y="53"/>
                    <a:pt x="142" y="53"/>
                    <a:pt x="142" y="52"/>
                  </a:cubicBezTo>
                  <a:cubicBezTo>
                    <a:pt x="143" y="51"/>
                    <a:pt x="143" y="49"/>
                    <a:pt x="141" y="48"/>
                  </a:cubicBezTo>
                  <a:cubicBezTo>
                    <a:pt x="141" y="48"/>
                    <a:pt x="140" y="48"/>
                    <a:pt x="139" y="48"/>
                  </a:cubicBezTo>
                  <a:cubicBezTo>
                    <a:pt x="138" y="47"/>
                    <a:pt x="137" y="47"/>
                    <a:pt x="136" y="46"/>
                  </a:cubicBezTo>
                  <a:cubicBezTo>
                    <a:pt x="135" y="46"/>
                    <a:pt x="133" y="45"/>
                    <a:pt x="132" y="46"/>
                  </a:cubicBezTo>
                  <a:cubicBezTo>
                    <a:pt x="131" y="47"/>
                    <a:pt x="131" y="48"/>
                    <a:pt x="130" y="48"/>
                  </a:cubicBezTo>
                  <a:cubicBezTo>
                    <a:pt x="130" y="48"/>
                    <a:pt x="129" y="48"/>
                    <a:pt x="129" y="48"/>
                  </a:cubicBezTo>
                  <a:cubicBezTo>
                    <a:pt x="128" y="48"/>
                    <a:pt x="126" y="48"/>
                    <a:pt x="125" y="48"/>
                  </a:cubicBezTo>
                  <a:cubicBezTo>
                    <a:pt x="124" y="47"/>
                    <a:pt x="125" y="47"/>
                    <a:pt x="124" y="46"/>
                  </a:cubicBezTo>
                  <a:cubicBezTo>
                    <a:pt x="123" y="45"/>
                    <a:pt x="123" y="45"/>
                    <a:pt x="121" y="45"/>
                  </a:cubicBezTo>
                  <a:cubicBezTo>
                    <a:pt x="120" y="45"/>
                    <a:pt x="120" y="43"/>
                    <a:pt x="119" y="42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7"/>
                    <a:pt x="118" y="35"/>
                    <a:pt x="117" y="35"/>
                  </a:cubicBezTo>
                  <a:cubicBezTo>
                    <a:pt x="116" y="34"/>
                    <a:pt x="116" y="35"/>
                    <a:pt x="115" y="35"/>
                  </a:cubicBezTo>
                  <a:cubicBezTo>
                    <a:pt x="114" y="34"/>
                    <a:pt x="114" y="33"/>
                    <a:pt x="113" y="33"/>
                  </a:cubicBezTo>
                  <a:cubicBezTo>
                    <a:pt x="112" y="32"/>
                    <a:pt x="113" y="32"/>
                    <a:pt x="111" y="32"/>
                  </a:cubicBezTo>
                  <a:cubicBezTo>
                    <a:pt x="111" y="32"/>
                    <a:pt x="110" y="32"/>
                    <a:pt x="109" y="32"/>
                  </a:cubicBezTo>
                  <a:cubicBezTo>
                    <a:pt x="109" y="32"/>
                    <a:pt x="108" y="31"/>
                    <a:pt x="107" y="31"/>
                  </a:cubicBezTo>
                  <a:cubicBezTo>
                    <a:pt x="106" y="30"/>
                    <a:pt x="105" y="30"/>
                    <a:pt x="104" y="30"/>
                  </a:cubicBezTo>
                  <a:cubicBezTo>
                    <a:pt x="103" y="30"/>
                    <a:pt x="100" y="29"/>
                    <a:pt x="99" y="30"/>
                  </a:cubicBezTo>
                  <a:cubicBezTo>
                    <a:pt x="99" y="31"/>
                    <a:pt x="99" y="33"/>
                    <a:pt x="99" y="34"/>
                  </a:cubicBezTo>
                  <a:cubicBezTo>
                    <a:pt x="99" y="35"/>
                    <a:pt x="98" y="37"/>
                    <a:pt x="97" y="37"/>
                  </a:cubicBezTo>
                  <a:cubicBezTo>
                    <a:pt x="97" y="37"/>
                    <a:pt x="97" y="36"/>
                    <a:pt x="97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3"/>
                    <a:pt x="95" y="32"/>
                  </a:cubicBezTo>
                  <a:cubicBezTo>
                    <a:pt x="95" y="32"/>
                    <a:pt x="95" y="30"/>
                    <a:pt x="95" y="29"/>
                  </a:cubicBezTo>
                  <a:cubicBezTo>
                    <a:pt x="94" y="29"/>
                    <a:pt x="93" y="31"/>
                    <a:pt x="92" y="31"/>
                  </a:cubicBezTo>
                  <a:cubicBezTo>
                    <a:pt x="91" y="31"/>
                    <a:pt x="90" y="32"/>
                    <a:pt x="89" y="31"/>
                  </a:cubicBezTo>
                  <a:cubicBezTo>
                    <a:pt x="89" y="30"/>
                    <a:pt x="90" y="30"/>
                    <a:pt x="91" y="29"/>
                  </a:cubicBezTo>
                  <a:cubicBezTo>
                    <a:pt x="92" y="28"/>
                    <a:pt x="93" y="26"/>
                    <a:pt x="92" y="24"/>
                  </a:cubicBezTo>
                  <a:cubicBezTo>
                    <a:pt x="91" y="22"/>
                    <a:pt x="90" y="23"/>
                    <a:pt x="88" y="23"/>
                  </a:cubicBezTo>
                  <a:cubicBezTo>
                    <a:pt x="87" y="24"/>
                    <a:pt x="86" y="23"/>
                    <a:pt x="84" y="23"/>
                  </a:cubicBezTo>
                  <a:cubicBezTo>
                    <a:pt x="84" y="24"/>
                    <a:pt x="83" y="24"/>
                    <a:pt x="83" y="25"/>
                  </a:cubicBezTo>
                  <a:cubicBezTo>
                    <a:pt x="82" y="25"/>
                    <a:pt x="80" y="24"/>
                    <a:pt x="80" y="23"/>
                  </a:cubicBezTo>
                  <a:cubicBezTo>
                    <a:pt x="79" y="22"/>
                    <a:pt x="80" y="22"/>
                    <a:pt x="79" y="21"/>
                  </a:cubicBezTo>
                  <a:cubicBezTo>
                    <a:pt x="77" y="21"/>
                    <a:pt x="77" y="22"/>
                    <a:pt x="77" y="20"/>
                  </a:cubicBezTo>
                  <a:cubicBezTo>
                    <a:pt x="77" y="20"/>
                    <a:pt x="77" y="19"/>
                    <a:pt x="77" y="19"/>
                  </a:cubicBezTo>
                  <a:cubicBezTo>
                    <a:pt x="77" y="18"/>
                    <a:pt x="76" y="18"/>
                    <a:pt x="75" y="18"/>
                  </a:cubicBezTo>
                  <a:cubicBezTo>
                    <a:pt x="73" y="17"/>
                    <a:pt x="71" y="14"/>
                    <a:pt x="69" y="13"/>
                  </a:cubicBezTo>
                  <a:cubicBezTo>
                    <a:pt x="68" y="12"/>
                    <a:pt x="66" y="12"/>
                    <a:pt x="64" y="11"/>
                  </a:cubicBezTo>
                  <a:cubicBezTo>
                    <a:pt x="63" y="10"/>
                    <a:pt x="62" y="9"/>
                    <a:pt x="61" y="8"/>
                  </a:cubicBezTo>
                  <a:cubicBezTo>
                    <a:pt x="61" y="8"/>
                    <a:pt x="60" y="8"/>
                    <a:pt x="60" y="7"/>
                  </a:cubicBezTo>
                  <a:cubicBezTo>
                    <a:pt x="58" y="6"/>
                    <a:pt x="59" y="6"/>
                    <a:pt x="57" y="6"/>
                  </a:cubicBezTo>
                  <a:cubicBezTo>
                    <a:pt x="56" y="6"/>
                    <a:pt x="54" y="6"/>
                    <a:pt x="54" y="5"/>
                  </a:cubicBezTo>
                  <a:cubicBezTo>
                    <a:pt x="53" y="5"/>
                    <a:pt x="51" y="0"/>
                    <a:pt x="49" y="2"/>
                  </a:cubicBezTo>
                  <a:cubicBezTo>
                    <a:pt x="48" y="2"/>
                    <a:pt x="48" y="4"/>
                    <a:pt x="48" y="4"/>
                  </a:cubicBezTo>
                  <a:cubicBezTo>
                    <a:pt x="48" y="7"/>
                    <a:pt x="45" y="9"/>
                    <a:pt x="42" y="10"/>
                  </a:cubicBezTo>
                  <a:cubicBezTo>
                    <a:pt x="41" y="10"/>
                    <a:pt x="40" y="10"/>
                    <a:pt x="39" y="9"/>
                  </a:cubicBezTo>
                  <a:cubicBezTo>
                    <a:pt x="38" y="8"/>
                    <a:pt x="38" y="7"/>
                    <a:pt x="37" y="7"/>
                  </a:cubicBezTo>
                  <a:cubicBezTo>
                    <a:pt x="37" y="6"/>
                    <a:pt x="36" y="5"/>
                    <a:pt x="36" y="6"/>
                  </a:cubicBezTo>
                  <a:cubicBezTo>
                    <a:pt x="35" y="6"/>
                    <a:pt x="35" y="7"/>
                    <a:pt x="35" y="8"/>
                  </a:cubicBezTo>
                  <a:cubicBezTo>
                    <a:pt x="34" y="9"/>
                    <a:pt x="33" y="9"/>
                    <a:pt x="32" y="10"/>
                  </a:cubicBezTo>
                  <a:cubicBezTo>
                    <a:pt x="31" y="11"/>
                    <a:pt x="28" y="12"/>
                    <a:pt x="26" y="12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9"/>
                    <a:pt x="23" y="8"/>
                    <a:pt x="21" y="8"/>
                  </a:cubicBezTo>
                  <a:cubicBezTo>
                    <a:pt x="19" y="7"/>
                    <a:pt x="19" y="7"/>
                    <a:pt x="19" y="9"/>
                  </a:cubicBezTo>
                  <a:cubicBezTo>
                    <a:pt x="18" y="11"/>
                    <a:pt x="18" y="12"/>
                    <a:pt x="15" y="13"/>
                  </a:cubicBezTo>
                  <a:cubicBezTo>
                    <a:pt x="14" y="14"/>
                    <a:pt x="13" y="14"/>
                    <a:pt x="12" y="13"/>
                  </a:cubicBezTo>
                  <a:cubicBezTo>
                    <a:pt x="12" y="12"/>
                    <a:pt x="12" y="11"/>
                    <a:pt x="11" y="11"/>
                  </a:cubicBezTo>
                  <a:cubicBezTo>
                    <a:pt x="10" y="10"/>
                    <a:pt x="9" y="11"/>
                    <a:pt x="8" y="10"/>
                  </a:cubicBezTo>
                  <a:cubicBezTo>
                    <a:pt x="6" y="10"/>
                    <a:pt x="7" y="7"/>
                    <a:pt x="6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2" y="8"/>
                    <a:pt x="1" y="8"/>
                    <a:pt x="1" y="10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1" y="21"/>
                    <a:pt x="2" y="21"/>
                    <a:pt x="3" y="21"/>
                  </a:cubicBezTo>
                  <a:cubicBezTo>
                    <a:pt x="7" y="23"/>
                    <a:pt x="8" y="29"/>
                    <a:pt x="11" y="33"/>
                  </a:cubicBezTo>
                  <a:cubicBezTo>
                    <a:pt x="13" y="36"/>
                    <a:pt x="15" y="38"/>
                    <a:pt x="18" y="41"/>
                  </a:cubicBezTo>
                  <a:cubicBezTo>
                    <a:pt x="20" y="45"/>
                    <a:pt x="24" y="46"/>
                    <a:pt x="25" y="51"/>
                  </a:cubicBezTo>
                  <a:cubicBezTo>
                    <a:pt x="26" y="53"/>
                    <a:pt x="26" y="55"/>
                    <a:pt x="27" y="56"/>
                  </a:cubicBezTo>
                  <a:cubicBezTo>
                    <a:pt x="29" y="59"/>
                    <a:pt x="32" y="61"/>
                    <a:pt x="34" y="65"/>
                  </a:cubicBezTo>
                  <a:cubicBezTo>
                    <a:pt x="36" y="68"/>
                    <a:pt x="36" y="72"/>
                    <a:pt x="36" y="76"/>
                  </a:cubicBezTo>
                  <a:cubicBezTo>
                    <a:pt x="36" y="77"/>
                    <a:pt x="35" y="78"/>
                    <a:pt x="36" y="79"/>
                  </a:cubicBezTo>
                  <a:cubicBezTo>
                    <a:pt x="36" y="81"/>
                    <a:pt x="37" y="81"/>
                    <a:pt x="37" y="82"/>
                  </a:cubicBezTo>
                  <a:cubicBezTo>
                    <a:pt x="38" y="83"/>
                    <a:pt x="37" y="84"/>
                    <a:pt x="38" y="84"/>
                  </a:cubicBezTo>
                  <a:cubicBezTo>
                    <a:pt x="39" y="85"/>
                    <a:pt x="40" y="85"/>
                    <a:pt x="40" y="86"/>
                  </a:cubicBezTo>
                  <a:cubicBezTo>
                    <a:pt x="41" y="86"/>
                    <a:pt x="40" y="87"/>
                    <a:pt x="40" y="87"/>
                  </a:cubicBezTo>
                  <a:cubicBezTo>
                    <a:pt x="42" y="89"/>
                    <a:pt x="45" y="89"/>
                    <a:pt x="47" y="91"/>
                  </a:cubicBezTo>
                  <a:cubicBezTo>
                    <a:pt x="49" y="92"/>
                    <a:pt x="49" y="96"/>
                    <a:pt x="51" y="98"/>
                  </a:cubicBezTo>
                  <a:cubicBezTo>
                    <a:pt x="52" y="100"/>
                    <a:pt x="53" y="102"/>
                    <a:pt x="54" y="103"/>
                  </a:cubicBezTo>
                  <a:cubicBezTo>
                    <a:pt x="55" y="104"/>
                    <a:pt x="57" y="105"/>
                    <a:pt x="58" y="106"/>
                  </a:cubicBezTo>
                  <a:cubicBezTo>
                    <a:pt x="60" y="109"/>
                    <a:pt x="60" y="110"/>
                    <a:pt x="62" y="111"/>
                  </a:cubicBezTo>
                  <a:cubicBezTo>
                    <a:pt x="65" y="115"/>
                    <a:pt x="66" y="120"/>
                    <a:pt x="67" y="125"/>
                  </a:cubicBezTo>
                  <a:cubicBezTo>
                    <a:pt x="67" y="128"/>
                    <a:pt x="66" y="131"/>
                    <a:pt x="68" y="134"/>
                  </a:cubicBezTo>
                  <a:cubicBezTo>
                    <a:pt x="70" y="138"/>
                    <a:pt x="73" y="140"/>
                    <a:pt x="77" y="140"/>
                  </a:cubicBezTo>
                  <a:cubicBezTo>
                    <a:pt x="80" y="140"/>
                    <a:pt x="78" y="144"/>
                    <a:pt x="80" y="147"/>
                  </a:cubicBezTo>
                  <a:cubicBezTo>
                    <a:pt x="80" y="149"/>
                    <a:pt x="84" y="155"/>
                    <a:pt x="84" y="157"/>
                  </a:cubicBezTo>
                  <a:cubicBezTo>
                    <a:pt x="84" y="160"/>
                    <a:pt x="82" y="165"/>
                    <a:pt x="83" y="167"/>
                  </a:cubicBezTo>
                  <a:cubicBezTo>
                    <a:pt x="85" y="170"/>
                    <a:pt x="84" y="178"/>
                    <a:pt x="83" y="180"/>
                  </a:cubicBezTo>
                  <a:cubicBezTo>
                    <a:pt x="79" y="190"/>
                    <a:pt x="77" y="194"/>
                    <a:pt x="76" y="204"/>
                  </a:cubicBezTo>
                  <a:cubicBezTo>
                    <a:pt x="76" y="210"/>
                    <a:pt x="75" y="223"/>
                    <a:pt x="77" y="227"/>
                  </a:cubicBezTo>
                  <a:cubicBezTo>
                    <a:pt x="79" y="230"/>
                    <a:pt x="79" y="238"/>
                    <a:pt x="78" y="242"/>
                  </a:cubicBezTo>
                  <a:cubicBezTo>
                    <a:pt x="75" y="249"/>
                    <a:pt x="78" y="252"/>
                    <a:pt x="82" y="256"/>
                  </a:cubicBezTo>
                  <a:cubicBezTo>
                    <a:pt x="83" y="256"/>
                    <a:pt x="84" y="255"/>
                    <a:pt x="85" y="254"/>
                  </a:cubicBezTo>
                  <a:cubicBezTo>
                    <a:pt x="86" y="253"/>
                    <a:pt x="87" y="252"/>
                    <a:pt x="88" y="252"/>
                  </a:cubicBezTo>
                  <a:cubicBezTo>
                    <a:pt x="91" y="249"/>
                    <a:pt x="91" y="256"/>
                    <a:pt x="94" y="256"/>
                  </a:cubicBezTo>
                  <a:cubicBezTo>
                    <a:pt x="95" y="256"/>
                    <a:pt x="95" y="256"/>
                    <a:pt x="96" y="255"/>
                  </a:cubicBezTo>
                  <a:cubicBezTo>
                    <a:pt x="96" y="255"/>
                    <a:pt x="96" y="254"/>
                    <a:pt x="97" y="254"/>
                  </a:cubicBezTo>
                  <a:cubicBezTo>
                    <a:pt x="97" y="253"/>
                    <a:pt x="98" y="253"/>
                    <a:pt x="98" y="253"/>
                  </a:cubicBezTo>
                  <a:cubicBezTo>
                    <a:pt x="98" y="252"/>
                    <a:pt x="98" y="251"/>
                    <a:pt x="98" y="250"/>
                  </a:cubicBezTo>
                  <a:cubicBezTo>
                    <a:pt x="98" y="250"/>
                    <a:pt x="98" y="249"/>
                    <a:pt x="99" y="248"/>
                  </a:cubicBezTo>
                  <a:cubicBezTo>
                    <a:pt x="99" y="247"/>
                    <a:pt x="99" y="246"/>
                    <a:pt x="99" y="245"/>
                  </a:cubicBezTo>
                  <a:cubicBezTo>
                    <a:pt x="99" y="245"/>
                    <a:pt x="99" y="244"/>
                    <a:pt x="99" y="244"/>
                  </a:cubicBezTo>
                  <a:cubicBezTo>
                    <a:pt x="99" y="244"/>
                    <a:pt x="100" y="243"/>
                    <a:pt x="100" y="243"/>
                  </a:cubicBezTo>
                  <a:cubicBezTo>
                    <a:pt x="101" y="241"/>
                    <a:pt x="99" y="240"/>
                    <a:pt x="99" y="238"/>
                  </a:cubicBezTo>
                  <a:cubicBezTo>
                    <a:pt x="99" y="237"/>
                    <a:pt x="99" y="236"/>
                    <a:pt x="99" y="235"/>
                  </a:cubicBezTo>
                  <a:cubicBezTo>
                    <a:pt x="99" y="234"/>
                    <a:pt x="100" y="234"/>
                    <a:pt x="101" y="234"/>
                  </a:cubicBezTo>
                  <a:cubicBezTo>
                    <a:pt x="102" y="233"/>
                    <a:pt x="102" y="233"/>
                    <a:pt x="102" y="232"/>
                  </a:cubicBezTo>
                  <a:cubicBezTo>
                    <a:pt x="102" y="231"/>
                    <a:pt x="103" y="230"/>
                    <a:pt x="104" y="230"/>
                  </a:cubicBezTo>
                  <a:cubicBezTo>
                    <a:pt x="104" y="229"/>
                    <a:pt x="105" y="229"/>
                    <a:pt x="106" y="228"/>
                  </a:cubicBezTo>
                  <a:cubicBezTo>
                    <a:pt x="107" y="228"/>
                    <a:pt x="107" y="228"/>
                    <a:pt x="108" y="228"/>
                  </a:cubicBezTo>
                  <a:cubicBezTo>
                    <a:pt x="109" y="228"/>
                    <a:pt x="110" y="227"/>
                    <a:pt x="111" y="227"/>
                  </a:cubicBezTo>
                  <a:cubicBezTo>
                    <a:pt x="113" y="225"/>
                    <a:pt x="112" y="223"/>
                    <a:pt x="111" y="221"/>
                  </a:cubicBezTo>
                  <a:cubicBezTo>
                    <a:pt x="110" y="219"/>
                    <a:pt x="113" y="217"/>
                    <a:pt x="115" y="216"/>
                  </a:cubicBezTo>
                  <a:cubicBezTo>
                    <a:pt x="118" y="214"/>
                    <a:pt x="122" y="213"/>
                    <a:pt x="126" y="211"/>
                  </a:cubicBezTo>
                  <a:cubicBezTo>
                    <a:pt x="127" y="210"/>
                    <a:pt x="128" y="210"/>
                    <a:pt x="128" y="209"/>
                  </a:cubicBezTo>
                  <a:cubicBezTo>
                    <a:pt x="128" y="208"/>
                    <a:pt x="127" y="207"/>
                    <a:pt x="126" y="206"/>
                  </a:cubicBezTo>
                  <a:cubicBezTo>
                    <a:pt x="125" y="204"/>
                    <a:pt x="127" y="202"/>
                    <a:pt x="128" y="200"/>
                  </a:cubicBezTo>
                  <a:cubicBezTo>
                    <a:pt x="129" y="198"/>
                    <a:pt x="129" y="197"/>
                    <a:pt x="128" y="195"/>
                  </a:cubicBezTo>
                  <a:cubicBezTo>
                    <a:pt x="128" y="194"/>
                    <a:pt x="128" y="194"/>
                    <a:pt x="127" y="193"/>
                  </a:cubicBezTo>
                  <a:cubicBezTo>
                    <a:pt x="126" y="193"/>
                    <a:pt x="124" y="194"/>
                    <a:pt x="124" y="193"/>
                  </a:cubicBezTo>
                  <a:cubicBezTo>
                    <a:pt x="123" y="192"/>
                    <a:pt x="125" y="189"/>
                    <a:pt x="125" y="188"/>
                  </a:cubicBezTo>
                  <a:cubicBezTo>
                    <a:pt x="126" y="186"/>
                    <a:pt x="126" y="184"/>
                    <a:pt x="126" y="182"/>
                  </a:cubicBezTo>
                  <a:cubicBezTo>
                    <a:pt x="126" y="181"/>
                    <a:pt x="127" y="180"/>
                    <a:pt x="127" y="179"/>
                  </a:cubicBezTo>
                  <a:cubicBezTo>
                    <a:pt x="126" y="177"/>
                    <a:pt x="125" y="178"/>
                    <a:pt x="124" y="177"/>
                  </a:cubicBezTo>
                  <a:cubicBezTo>
                    <a:pt x="124" y="176"/>
                    <a:pt x="125" y="174"/>
                    <a:pt x="125" y="174"/>
                  </a:cubicBezTo>
                  <a:cubicBezTo>
                    <a:pt x="126" y="172"/>
                    <a:pt x="126" y="172"/>
                    <a:pt x="127" y="172"/>
                  </a:cubicBezTo>
                  <a:cubicBezTo>
                    <a:pt x="129" y="171"/>
                    <a:pt x="130" y="170"/>
                    <a:pt x="131" y="170"/>
                  </a:cubicBezTo>
                  <a:cubicBezTo>
                    <a:pt x="132" y="170"/>
                    <a:pt x="133" y="170"/>
                    <a:pt x="134" y="169"/>
                  </a:cubicBezTo>
                  <a:cubicBezTo>
                    <a:pt x="135" y="169"/>
                    <a:pt x="134" y="169"/>
                    <a:pt x="135" y="168"/>
                  </a:cubicBezTo>
                  <a:cubicBezTo>
                    <a:pt x="137" y="166"/>
                    <a:pt x="143" y="164"/>
                    <a:pt x="143" y="169"/>
                  </a:cubicBezTo>
                  <a:cubicBezTo>
                    <a:pt x="143" y="171"/>
                    <a:pt x="142" y="172"/>
                    <a:pt x="141" y="174"/>
                  </a:cubicBezTo>
                  <a:cubicBezTo>
                    <a:pt x="139" y="176"/>
                    <a:pt x="139" y="177"/>
                    <a:pt x="139" y="179"/>
                  </a:cubicBezTo>
                  <a:cubicBezTo>
                    <a:pt x="140" y="180"/>
                    <a:pt x="140" y="183"/>
                    <a:pt x="141" y="182"/>
                  </a:cubicBezTo>
                  <a:cubicBezTo>
                    <a:pt x="142" y="181"/>
                    <a:pt x="142" y="180"/>
                    <a:pt x="142" y="180"/>
                  </a:cubicBezTo>
                  <a:cubicBezTo>
                    <a:pt x="142" y="179"/>
                    <a:pt x="143" y="179"/>
                    <a:pt x="143" y="178"/>
                  </a:cubicBezTo>
                  <a:cubicBezTo>
                    <a:pt x="144" y="177"/>
                    <a:pt x="144" y="176"/>
                    <a:pt x="144" y="175"/>
                  </a:cubicBezTo>
                  <a:cubicBezTo>
                    <a:pt x="144" y="172"/>
                    <a:pt x="145" y="169"/>
                    <a:pt x="146" y="168"/>
                  </a:cubicBezTo>
                  <a:cubicBezTo>
                    <a:pt x="147" y="169"/>
                    <a:pt x="146" y="170"/>
                    <a:pt x="146" y="171"/>
                  </a:cubicBezTo>
                  <a:cubicBezTo>
                    <a:pt x="146" y="172"/>
                    <a:pt x="147" y="176"/>
                    <a:pt x="148" y="177"/>
                  </a:cubicBezTo>
                  <a:cubicBezTo>
                    <a:pt x="149" y="176"/>
                    <a:pt x="151" y="171"/>
                    <a:pt x="154" y="172"/>
                  </a:cubicBezTo>
                  <a:cubicBezTo>
                    <a:pt x="155" y="172"/>
                    <a:pt x="155" y="173"/>
                    <a:pt x="155" y="174"/>
                  </a:cubicBezTo>
                  <a:cubicBezTo>
                    <a:pt x="155" y="175"/>
                    <a:pt x="155" y="175"/>
                    <a:pt x="155" y="176"/>
                  </a:cubicBezTo>
                  <a:cubicBezTo>
                    <a:pt x="156" y="176"/>
                    <a:pt x="157" y="177"/>
                    <a:pt x="158" y="177"/>
                  </a:cubicBezTo>
                  <a:cubicBezTo>
                    <a:pt x="158" y="178"/>
                    <a:pt x="159" y="179"/>
                    <a:pt x="159" y="180"/>
                  </a:cubicBezTo>
                  <a:cubicBezTo>
                    <a:pt x="159" y="180"/>
                    <a:pt x="160" y="181"/>
                    <a:pt x="160" y="182"/>
                  </a:cubicBezTo>
                  <a:cubicBezTo>
                    <a:pt x="161" y="183"/>
                    <a:pt x="162" y="184"/>
                    <a:pt x="163" y="185"/>
                  </a:cubicBezTo>
                  <a:cubicBezTo>
                    <a:pt x="163" y="185"/>
                    <a:pt x="165" y="185"/>
                    <a:pt x="166" y="185"/>
                  </a:cubicBezTo>
                  <a:cubicBezTo>
                    <a:pt x="166" y="182"/>
                    <a:pt x="166" y="180"/>
                    <a:pt x="168" y="178"/>
                  </a:cubicBezTo>
                  <a:cubicBezTo>
                    <a:pt x="169" y="177"/>
                    <a:pt x="170" y="176"/>
                    <a:pt x="170" y="175"/>
                  </a:cubicBezTo>
                  <a:cubicBezTo>
                    <a:pt x="171" y="174"/>
                    <a:pt x="170" y="173"/>
                    <a:pt x="171" y="172"/>
                  </a:cubicBezTo>
                  <a:cubicBezTo>
                    <a:pt x="172" y="171"/>
                    <a:pt x="172" y="171"/>
                    <a:pt x="173" y="170"/>
                  </a:cubicBezTo>
                  <a:cubicBezTo>
                    <a:pt x="173" y="170"/>
                    <a:pt x="173" y="169"/>
                    <a:pt x="173" y="168"/>
                  </a:cubicBezTo>
                  <a:cubicBezTo>
                    <a:pt x="175" y="167"/>
                    <a:pt x="176" y="169"/>
                    <a:pt x="178" y="168"/>
                  </a:cubicBezTo>
                  <a:cubicBezTo>
                    <a:pt x="179" y="167"/>
                    <a:pt x="178" y="166"/>
                    <a:pt x="178" y="165"/>
                  </a:cubicBezTo>
                  <a:cubicBezTo>
                    <a:pt x="178" y="163"/>
                    <a:pt x="179" y="161"/>
                    <a:pt x="179" y="160"/>
                  </a:cubicBezTo>
                  <a:cubicBezTo>
                    <a:pt x="180" y="156"/>
                    <a:pt x="180" y="151"/>
                    <a:pt x="180" y="14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5" name="Freeform 36">
              <a:extLst>
                <a:ext uri="{FF2B5EF4-FFF2-40B4-BE49-F238E27FC236}">
                  <a16:creationId xmlns:a16="http://schemas.microsoft.com/office/drawing/2014/main" id="{E167106F-864F-4279-A3CD-A45B946D6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0" y="3663950"/>
              <a:ext cx="346075" cy="179388"/>
            </a:xfrm>
            <a:custGeom>
              <a:avLst/>
              <a:gdLst/>
              <a:ahLst/>
              <a:cxnLst>
                <a:cxn ang="0">
                  <a:pos x="184" y="94"/>
                </a:cxn>
                <a:cxn ang="0">
                  <a:pos x="182" y="91"/>
                </a:cxn>
                <a:cxn ang="0">
                  <a:pos x="175" y="87"/>
                </a:cxn>
                <a:cxn ang="0">
                  <a:pos x="163" y="83"/>
                </a:cxn>
                <a:cxn ang="0">
                  <a:pos x="161" y="81"/>
                </a:cxn>
                <a:cxn ang="0">
                  <a:pos x="160" y="75"/>
                </a:cxn>
                <a:cxn ang="0">
                  <a:pos x="163" y="61"/>
                </a:cxn>
                <a:cxn ang="0">
                  <a:pos x="171" y="47"/>
                </a:cxn>
                <a:cxn ang="0">
                  <a:pos x="169" y="38"/>
                </a:cxn>
                <a:cxn ang="0">
                  <a:pos x="163" y="31"/>
                </a:cxn>
                <a:cxn ang="0">
                  <a:pos x="158" y="23"/>
                </a:cxn>
                <a:cxn ang="0">
                  <a:pos x="151" y="22"/>
                </a:cxn>
                <a:cxn ang="0">
                  <a:pos x="139" y="20"/>
                </a:cxn>
                <a:cxn ang="0">
                  <a:pos x="132" y="22"/>
                </a:cxn>
                <a:cxn ang="0">
                  <a:pos x="127" y="22"/>
                </a:cxn>
                <a:cxn ang="0">
                  <a:pos x="122" y="20"/>
                </a:cxn>
                <a:cxn ang="0">
                  <a:pos x="115" y="17"/>
                </a:cxn>
                <a:cxn ang="0">
                  <a:pos x="110" y="15"/>
                </a:cxn>
                <a:cxn ang="0">
                  <a:pos x="101" y="12"/>
                </a:cxn>
                <a:cxn ang="0">
                  <a:pos x="90" y="1"/>
                </a:cxn>
                <a:cxn ang="0">
                  <a:pos x="82" y="3"/>
                </a:cxn>
                <a:cxn ang="0">
                  <a:pos x="83" y="9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76" y="36"/>
                </a:cxn>
                <a:cxn ang="0">
                  <a:pos x="74" y="40"/>
                </a:cxn>
                <a:cxn ang="0">
                  <a:pos x="62" y="33"/>
                </a:cxn>
                <a:cxn ang="0">
                  <a:pos x="48" y="39"/>
                </a:cxn>
                <a:cxn ang="0">
                  <a:pos x="33" y="45"/>
                </a:cxn>
                <a:cxn ang="0">
                  <a:pos x="14" y="52"/>
                </a:cxn>
                <a:cxn ang="0">
                  <a:pos x="28" y="56"/>
                </a:cxn>
                <a:cxn ang="0">
                  <a:pos x="28" y="62"/>
                </a:cxn>
                <a:cxn ang="0">
                  <a:pos x="22" y="65"/>
                </a:cxn>
                <a:cxn ang="0">
                  <a:pos x="15" y="66"/>
                </a:cxn>
                <a:cxn ang="0">
                  <a:pos x="11" y="71"/>
                </a:cxn>
                <a:cxn ang="0">
                  <a:pos x="0" y="78"/>
                </a:cxn>
                <a:cxn ang="0">
                  <a:pos x="2" y="84"/>
                </a:cxn>
                <a:cxn ang="0">
                  <a:pos x="6" y="83"/>
                </a:cxn>
                <a:cxn ang="0">
                  <a:pos x="76" y="88"/>
                </a:cxn>
                <a:cxn ang="0">
                  <a:pos x="137" y="89"/>
                </a:cxn>
                <a:cxn ang="0">
                  <a:pos x="164" y="89"/>
                </a:cxn>
                <a:cxn ang="0">
                  <a:pos x="184" y="96"/>
                </a:cxn>
              </a:cxnLst>
              <a:rect l="0" t="0" r="r" b="b"/>
              <a:pathLst>
                <a:path w="185" h="96">
                  <a:moveTo>
                    <a:pt x="185" y="96"/>
                  </a:moveTo>
                  <a:cubicBezTo>
                    <a:pt x="185" y="96"/>
                    <a:pt x="184" y="95"/>
                    <a:pt x="184" y="94"/>
                  </a:cubicBezTo>
                  <a:cubicBezTo>
                    <a:pt x="183" y="94"/>
                    <a:pt x="184" y="93"/>
                    <a:pt x="183" y="92"/>
                  </a:cubicBezTo>
                  <a:cubicBezTo>
                    <a:pt x="183" y="92"/>
                    <a:pt x="182" y="91"/>
                    <a:pt x="182" y="91"/>
                  </a:cubicBezTo>
                  <a:cubicBezTo>
                    <a:pt x="181" y="90"/>
                    <a:pt x="180" y="89"/>
                    <a:pt x="179" y="88"/>
                  </a:cubicBezTo>
                  <a:cubicBezTo>
                    <a:pt x="178" y="87"/>
                    <a:pt x="177" y="87"/>
                    <a:pt x="175" y="87"/>
                  </a:cubicBezTo>
                  <a:cubicBezTo>
                    <a:pt x="173" y="87"/>
                    <a:pt x="171" y="86"/>
                    <a:pt x="169" y="85"/>
                  </a:cubicBezTo>
                  <a:cubicBezTo>
                    <a:pt x="167" y="85"/>
                    <a:pt x="165" y="84"/>
                    <a:pt x="163" y="83"/>
                  </a:cubicBezTo>
                  <a:cubicBezTo>
                    <a:pt x="163" y="82"/>
                    <a:pt x="163" y="82"/>
                    <a:pt x="162" y="82"/>
                  </a:cubicBezTo>
                  <a:cubicBezTo>
                    <a:pt x="162" y="81"/>
                    <a:pt x="161" y="81"/>
                    <a:pt x="161" y="81"/>
                  </a:cubicBezTo>
                  <a:cubicBezTo>
                    <a:pt x="160" y="81"/>
                    <a:pt x="160" y="81"/>
                    <a:pt x="160" y="80"/>
                  </a:cubicBezTo>
                  <a:cubicBezTo>
                    <a:pt x="160" y="78"/>
                    <a:pt x="160" y="76"/>
                    <a:pt x="160" y="75"/>
                  </a:cubicBezTo>
                  <a:cubicBezTo>
                    <a:pt x="160" y="73"/>
                    <a:pt x="161" y="72"/>
                    <a:pt x="161" y="71"/>
                  </a:cubicBezTo>
                  <a:cubicBezTo>
                    <a:pt x="161" y="67"/>
                    <a:pt x="162" y="64"/>
                    <a:pt x="163" y="61"/>
                  </a:cubicBezTo>
                  <a:cubicBezTo>
                    <a:pt x="163" y="58"/>
                    <a:pt x="163" y="57"/>
                    <a:pt x="165" y="55"/>
                  </a:cubicBezTo>
                  <a:cubicBezTo>
                    <a:pt x="167" y="53"/>
                    <a:pt x="169" y="50"/>
                    <a:pt x="171" y="47"/>
                  </a:cubicBezTo>
                  <a:cubicBezTo>
                    <a:pt x="172" y="47"/>
                    <a:pt x="172" y="46"/>
                    <a:pt x="172" y="45"/>
                  </a:cubicBezTo>
                  <a:cubicBezTo>
                    <a:pt x="172" y="42"/>
                    <a:pt x="169" y="40"/>
                    <a:pt x="169" y="38"/>
                  </a:cubicBezTo>
                  <a:cubicBezTo>
                    <a:pt x="168" y="37"/>
                    <a:pt x="168" y="35"/>
                    <a:pt x="167" y="33"/>
                  </a:cubicBezTo>
                  <a:cubicBezTo>
                    <a:pt x="166" y="32"/>
                    <a:pt x="164" y="32"/>
                    <a:pt x="163" y="31"/>
                  </a:cubicBezTo>
                  <a:cubicBezTo>
                    <a:pt x="162" y="30"/>
                    <a:pt x="159" y="28"/>
                    <a:pt x="159" y="27"/>
                  </a:cubicBezTo>
                  <a:cubicBezTo>
                    <a:pt x="158" y="26"/>
                    <a:pt x="159" y="25"/>
                    <a:pt x="158" y="23"/>
                  </a:cubicBezTo>
                  <a:cubicBezTo>
                    <a:pt x="157" y="22"/>
                    <a:pt x="155" y="20"/>
                    <a:pt x="154" y="20"/>
                  </a:cubicBezTo>
                  <a:cubicBezTo>
                    <a:pt x="152" y="20"/>
                    <a:pt x="152" y="21"/>
                    <a:pt x="151" y="22"/>
                  </a:cubicBezTo>
                  <a:cubicBezTo>
                    <a:pt x="150" y="22"/>
                    <a:pt x="149" y="22"/>
                    <a:pt x="148" y="22"/>
                  </a:cubicBezTo>
                  <a:cubicBezTo>
                    <a:pt x="144" y="22"/>
                    <a:pt x="142" y="21"/>
                    <a:pt x="139" y="20"/>
                  </a:cubicBezTo>
                  <a:cubicBezTo>
                    <a:pt x="137" y="19"/>
                    <a:pt x="136" y="19"/>
                    <a:pt x="134" y="20"/>
                  </a:cubicBezTo>
                  <a:cubicBezTo>
                    <a:pt x="133" y="21"/>
                    <a:pt x="132" y="22"/>
                    <a:pt x="132" y="22"/>
                  </a:cubicBezTo>
                  <a:cubicBezTo>
                    <a:pt x="131" y="23"/>
                    <a:pt x="132" y="24"/>
                    <a:pt x="130" y="24"/>
                  </a:cubicBezTo>
                  <a:cubicBezTo>
                    <a:pt x="129" y="24"/>
                    <a:pt x="128" y="22"/>
                    <a:pt x="127" y="22"/>
                  </a:cubicBezTo>
                  <a:cubicBezTo>
                    <a:pt x="126" y="21"/>
                    <a:pt x="125" y="18"/>
                    <a:pt x="124" y="19"/>
                  </a:cubicBezTo>
                  <a:cubicBezTo>
                    <a:pt x="123" y="19"/>
                    <a:pt x="123" y="20"/>
                    <a:pt x="122" y="20"/>
                  </a:cubicBezTo>
                  <a:cubicBezTo>
                    <a:pt x="121" y="20"/>
                    <a:pt x="121" y="19"/>
                    <a:pt x="120" y="18"/>
                  </a:cubicBezTo>
                  <a:cubicBezTo>
                    <a:pt x="119" y="17"/>
                    <a:pt x="116" y="18"/>
                    <a:pt x="115" y="17"/>
                  </a:cubicBezTo>
                  <a:cubicBezTo>
                    <a:pt x="114" y="17"/>
                    <a:pt x="113" y="16"/>
                    <a:pt x="112" y="15"/>
                  </a:cubicBezTo>
                  <a:cubicBezTo>
                    <a:pt x="111" y="15"/>
                    <a:pt x="110" y="15"/>
                    <a:pt x="110" y="15"/>
                  </a:cubicBezTo>
                  <a:cubicBezTo>
                    <a:pt x="109" y="14"/>
                    <a:pt x="108" y="14"/>
                    <a:pt x="107" y="13"/>
                  </a:cubicBezTo>
                  <a:cubicBezTo>
                    <a:pt x="105" y="13"/>
                    <a:pt x="103" y="12"/>
                    <a:pt x="101" y="12"/>
                  </a:cubicBezTo>
                  <a:cubicBezTo>
                    <a:pt x="99" y="12"/>
                    <a:pt x="98" y="10"/>
                    <a:pt x="97" y="9"/>
                  </a:cubicBezTo>
                  <a:cubicBezTo>
                    <a:pt x="95" y="6"/>
                    <a:pt x="93" y="2"/>
                    <a:pt x="90" y="1"/>
                  </a:cubicBezTo>
                  <a:cubicBezTo>
                    <a:pt x="88" y="0"/>
                    <a:pt x="87" y="1"/>
                    <a:pt x="85" y="2"/>
                  </a:cubicBezTo>
                  <a:cubicBezTo>
                    <a:pt x="85" y="2"/>
                    <a:pt x="83" y="3"/>
                    <a:pt x="82" y="3"/>
                  </a:cubicBezTo>
                  <a:cubicBezTo>
                    <a:pt x="82" y="4"/>
                    <a:pt x="82" y="4"/>
                    <a:pt x="83" y="5"/>
                  </a:cubicBezTo>
                  <a:cubicBezTo>
                    <a:pt x="83" y="7"/>
                    <a:pt x="84" y="8"/>
                    <a:pt x="83" y="9"/>
                  </a:cubicBezTo>
                  <a:cubicBezTo>
                    <a:pt x="82" y="10"/>
                    <a:pt x="80" y="10"/>
                    <a:pt x="79" y="10"/>
                  </a:cubicBezTo>
                  <a:cubicBezTo>
                    <a:pt x="77" y="10"/>
                    <a:pt x="76" y="10"/>
                    <a:pt x="76" y="12"/>
                  </a:cubicBezTo>
                  <a:cubicBezTo>
                    <a:pt x="76" y="13"/>
                    <a:pt x="76" y="14"/>
                    <a:pt x="76" y="15"/>
                  </a:cubicBezTo>
                  <a:cubicBezTo>
                    <a:pt x="76" y="16"/>
                    <a:pt x="76" y="18"/>
                    <a:pt x="76" y="20"/>
                  </a:cubicBezTo>
                  <a:cubicBezTo>
                    <a:pt x="76" y="22"/>
                    <a:pt x="76" y="25"/>
                    <a:pt x="76" y="27"/>
                  </a:cubicBezTo>
                  <a:cubicBezTo>
                    <a:pt x="76" y="30"/>
                    <a:pt x="76" y="33"/>
                    <a:pt x="76" y="36"/>
                  </a:cubicBezTo>
                  <a:cubicBezTo>
                    <a:pt x="76" y="37"/>
                    <a:pt x="77" y="38"/>
                    <a:pt x="76" y="39"/>
                  </a:cubicBezTo>
                  <a:cubicBezTo>
                    <a:pt x="75" y="39"/>
                    <a:pt x="75" y="40"/>
                    <a:pt x="74" y="40"/>
                  </a:cubicBezTo>
                  <a:cubicBezTo>
                    <a:pt x="73" y="40"/>
                    <a:pt x="72" y="40"/>
                    <a:pt x="71" y="39"/>
                  </a:cubicBezTo>
                  <a:cubicBezTo>
                    <a:pt x="68" y="37"/>
                    <a:pt x="66" y="34"/>
                    <a:pt x="62" y="33"/>
                  </a:cubicBezTo>
                  <a:cubicBezTo>
                    <a:pt x="58" y="33"/>
                    <a:pt x="54" y="30"/>
                    <a:pt x="50" y="31"/>
                  </a:cubicBezTo>
                  <a:cubicBezTo>
                    <a:pt x="47" y="32"/>
                    <a:pt x="48" y="36"/>
                    <a:pt x="48" y="39"/>
                  </a:cubicBezTo>
                  <a:cubicBezTo>
                    <a:pt x="45" y="39"/>
                    <a:pt x="40" y="36"/>
                    <a:pt x="37" y="39"/>
                  </a:cubicBezTo>
                  <a:cubicBezTo>
                    <a:pt x="35" y="40"/>
                    <a:pt x="35" y="44"/>
                    <a:pt x="33" y="45"/>
                  </a:cubicBezTo>
                  <a:cubicBezTo>
                    <a:pt x="28" y="48"/>
                    <a:pt x="23" y="49"/>
                    <a:pt x="18" y="50"/>
                  </a:cubicBezTo>
                  <a:cubicBezTo>
                    <a:pt x="17" y="50"/>
                    <a:pt x="15" y="51"/>
                    <a:pt x="14" y="52"/>
                  </a:cubicBezTo>
                  <a:cubicBezTo>
                    <a:pt x="14" y="54"/>
                    <a:pt x="17" y="55"/>
                    <a:pt x="19" y="56"/>
                  </a:cubicBezTo>
                  <a:cubicBezTo>
                    <a:pt x="22" y="56"/>
                    <a:pt x="25" y="56"/>
                    <a:pt x="28" y="56"/>
                  </a:cubicBezTo>
                  <a:cubicBezTo>
                    <a:pt x="30" y="56"/>
                    <a:pt x="33" y="56"/>
                    <a:pt x="34" y="57"/>
                  </a:cubicBezTo>
                  <a:cubicBezTo>
                    <a:pt x="37" y="60"/>
                    <a:pt x="30" y="61"/>
                    <a:pt x="28" y="62"/>
                  </a:cubicBezTo>
                  <a:cubicBezTo>
                    <a:pt x="26" y="62"/>
                    <a:pt x="25" y="63"/>
                    <a:pt x="24" y="64"/>
                  </a:cubicBezTo>
                  <a:cubicBezTo>
                    <a:pt x="23" y="64"/>
                    <a:pt x="22" y="64"/>
                    <a:pt x="22" y="65"/>
                  </a:cubicBezTo>
                  <a:cubicBezTo>
                    <a:pt x="21" y="66"/>
                    <a:pt x="21" y="67"/>
                    <a:pt x="20" y="67"/>
                  </a:cubicBezTo>
                  <a:cubicBezTo>
                    <a:pt x="17" y="68"/>
                    <a:pt x="17" y="67"/>
                    <a:pt x="15" y="66"/>
                  </a:cubicBezTo>
                  <a:cubicBezTo>
                    <a:pt x="14" y="65"/>
                    <a:pt x="13" y="65"/>
                    <a:pt x="12" y="66"/>
                  </a:cubicBezTo>
                  <a:cubicBezTo>
                    <a:pt x="10" y="67"/>
                    <a:pt x="11" y="68"/>
                    <a:pt x="11" y="71"/>
                  </a:cubicBezTo>
                  <a:cubicBezTo>
                    <a:pt x="10" y="75"/>
                    <a:pt x="6" y="72"/>
                    <a:pt x="4" y="73"/>
                  </a:cubicBezTo>
                  <a:cubicBezTo>
                    <a:pt x="2" y="73"/>
                    <a:pt x="1" y="76"/>
                    <a:pt x="0" y="78"/>
                  </a:cubicBezTo>
                  <a:cubicBezTo>
                    <a:pt x="0" y="80"/>
                    <a:pt x="1" y="80"/>
                    <a:pt x="2" y="82"/>
                  </a:cubicBezTo>
                  <a:cubicBezTo>
                    <a:pt x="2" y="83"/>
                    <a:pt x="2" y="83"/>
                    <a:pt x="2" y="84"/>
                  </a:cubicBezTo>
                  <a:cubicBezTo>
                    <a:pt x="2" y="83"/>
                    <a:pt x="3" y="83"/>
                    <a:pt x="3" y="82"/>
                  </a:cubicBezTo>
                  <a:cubicBezTo>
                    <a:pt x="4" y="82"/>
                    <a:pt x="5" y="82"/>
                    <a:pt x="6" y="83"/>
                  </a:cubicBezTo>
                  <a:cubicBezTo>
                    <a:pt x="13" y="84"/>
                    <a:pt x="20" y="85"/>
                    <a:pt x="27" y="86"/>
                  </a:cubicBezTo>
                  <a:cubicBezTo>
                    <a:pt x="43" y="87"/>
                    <a:pt x="59" y="88"/>
                    <a:pt x="76" y="88"/>
                  </a:cubicBezTo>
                  <a:cubicBezTo>
                    <a:pt x="88" y="89"/>
                    <a:pt x="100" y="88"/>
                    <a:pt x="112" y="88"/>
                  </a:cubicBezTo>
                  <a:cubicBezTo>
                    <a:pt x="120" y="88"/>
                    <a:pt x="129" y="89"/>
                    <a:pt x="137" y="89"/>
                  </a:cubicBezTo>
                  <a:cubicBezTo>
                    <a:pt x="144" y="89"/>
                    <a:pt x="150" y="89"/>
                    <a:pt x="157" y="89"/>
                  </a:cubicBezTo>
                  <a:cubicBezTo>
                    <a:pt x="159" y="89"/>
                    <a:pt x="162" y="89"/>
                    <a:pt x="164" y="89"/>
                  </a:cubicBezTo>
                  <a:cubicBezTo>
                    <a:pt x="166" y="89"/>
                    <a:pt x="168" y="90"/>
                    <a:pt x="170" y="90"/>
                  </a:cubicBezTo>
                  <a:cubicBezTo>
                    <a:pt x="175" y="92"/>
                    <a:pt x="179" y="95"/>
                    <a:pt x="184" y="96"/>
                  </a:cubicBezTo>
                  <a:cubicBezTo>
                    <a:pt x="184" y="96"/>
                    <a:pt x="185" y="96"/>
                    <a:pt x="185" y="96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6" name="Freeform 37">
              <a:extLst>
                <a:ext uri="{FF2B5EF4-FFF2-40B4-BE49-F238E27FC236}">
                  <a16:creationId xmlns:a16="http://schemas.microsoft.com/office/drawing/2014/main" id="{CE1D87FD-2DDD-4C70-BA8F-439C798A3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050" y="3459163"/>
              <a:ext cx="592138" cy="452438"/>
            </a:xfrm>
            <a:custGeom>
              <a:avLst/>
              <a:gdLst/>
              <a:ahLst/>
              <a:cxnLst>
                <a:cxn ang="0">
                  <a:pos x="305" y="111"/>
                </a:cxn>
                <a:cxn ang="0">
                  <a:pos x="303" y="97"/>
                </a:cxn>
                <a:cxn ang="0">
                  <a:pos x="309" y="76"/>
                </a:cxn>
                <a:cxn ang="0">
                  <a:pos x="291" y="69"/>
                </a:cxn>
                <a:cxn ang="0">
                  <a:pos x="278" y="50"/>
                </a:cxn>
                <a:cxn ang="0">
                  <a:pos x="252" y="32"/>
                </a:cxn>
                <a:cxn ang="0">
                  <a:pos x="229" y="29"/>
                </a:cxn>
                <a:cxn ang="0">
                  <a:pos x="213" y="9"/>
                </a:cxn>
                <a:cxn ang="0">
                  <a:pos x="208" y="2"/>
                </a:cxn>
                <a:cxn ang="0">
                  <a:pos x="200" y="11"/>
                </a:cxn>
                <a:cxn ang="0">
                  <a:pos x="189" y="18"/>
                </a:cxn>
                <a:cxn ang="0">
                  <a:pos x="168" y="16"/>
                </a:cxn>
                <a:cxn ang="0">
                  <a:pos x="154" y="13"/>
                </a:cxn>
                <a:cxn ang="0">
                  <a:pos x="137" y="10"/>
                </a:cxn>
                <a:cxn ang="0">
                  <a:pos x="121" y="10"/>
                </a:cxn>
                <a:cxn ang="0">
                  <a:pos x="112" y="6"/>
                </a:cxn>
                <a:cxn ang="0">
                  <a:pos x="101" y="7"/>
                </a:cxn>
                <a:cxn ang="0">
                  <a:pos x="78" y="5"/>
                </a:cxn>
                <a:cxn ang="0">
                  <a:pos x="53" y="3"/>
                </a:cxn>
                <a:cxn ang="0">
                  <a:pos x="36" y="13"/>
                </a:cxn>
                <a:cxn ang="0">
                  <a:pos x="20" y="23"/>
                </a:cxn>
                <a:cxn ang="0">
                  <a:pos x="12" y="27"/>
                </a:cxn>
                <a:cxn ang="0">
                  <a:pos x="8" y="34"/>
                </a:cxn>
                <a:cxn ang="0">
                  <a:pos x="1" y="51"/>
                </a:cxn>
                <a:cxn ang="0">
                  <a:pos x="3" y="65"/>
                </a:cxn>
                <a:cxn ang="0">
                  <a:pos x="8" y="74"/>
                </a:cxn>
                <a:cxn ang="0">
                  <a:pos x="9" y="90"/>
                </a:cxn>
                <a:cxn ang="0">
                  <a:pos x="15" y="106"/>
                </a:cxn>
                <a:cxn ang="0">
                  <a:pos x="22" y="110"/>
                </a:cxn>
                <a:cxn ang="0">
                  <a:pos x="42" y="124"/>
                </a:cxn>
                <a:cxn ang="0">
                  <a:pos x="54" y="129"/>
                </a:cxn>
                <a:cxn ang="0">
                  <a:pos x="64" y="131"/>
                </a:cxn>
                <a:cxn ang="0">
                  <a:pos x="83" y="131"/>
                </a:cxn>
                <a:cxn ang="0">
                  <a:pos x="95" y="140"/>
                </a:cxn>
                <a:cxn ang="0">
                  <a:pos x="103" y="156"/>
                </a:cxn>
                <a:cxn ang="0">
                  <a:pos x="92" y="184"/>
                </a:cxn>
                <a:cxn ang="0">
                  <a:pos x="95" y="192"/>
                </a:cxn>
                <a:cxn ang="0">
                  <a:pos x="114" y="200"/>
                </a:cxn>
                <a:cxn ang="0">
                  <a:pos x="128" y="207"/>
                </a:cxn>
                <a:cxn ang="0">
                  <a:pos x="138" y="221"/>
                </a:cxn>
                <a:cxn ang="0">
                  <a:pos x="137" y="237"/>
                </a:cxn>
                <a:cxn ang="0">
                  <a:pos x="144" y="235"/>
                </a:cxn>
                <a:cxn ang="0">
                  <a:pos x="159" y="236"/>
                </a:cxn>
                <a:cxn ang="0">
                  <a:pos x="185" y="240"/>
                </a:cxn>
                <a:cxn ang="0">
                  <a:pos x="195" y="232"/>
                </a:cxn>
                <a:cxn ang="0">
                  <a:pos x="203" y="234"/>
                </a:cxn>
                <a:cxn ang="0">
                  <a:pos x="207" y="222"/>
                </a:cxn>
                <a:cxn ang="0">
                  <a:pos x="223" y="220"/>
                </a:cxn>
                <a:cxn ang="0">
                  <a:pos x="237" y="204"/>
                </a:cxn>
                <a:cxn ang="0">
                  <a:pos x="247" y="212"/>
                </a:cxn>
                <a:cxn ang="0">
                  <a:pos x="259" y="217"/>
                </a:cxn>
                <a:cxn ang="0">
                  <a:pos x="251" y="202"/>
                </a:cxn>
                <a:cxn ang="0">
                  <a:pos x="251" y="191"/>
                </a:cxn>
                <a:cxn ang="0">
                  <a:pos x="258" y="164"/>
                </a:cxn>
                <a:cxn ang="0">
                  <a:pos x="261" y="149"/>
                </a:cxn>
                <a:cxn ang="0">
                  <a:pos x="274" y="142"/>
                </a:cxn>
                <a:cxn ang="0">
                  <a:pos x="283" y="135"/>
                </a:cxn>
                <a:cxn ang="0">
                  <a:pos x="289" y="129"/>
                </a:cxn>
                <a:cxn ang="0">
                  <a:pos x="304" y="123"/>
                </a:cxn>
                <a:cxn ang="0">
                  <a:pos x="312" y="116"/>
                </a:cxn>
              </a:cxnLst>
              <a:rect l="0" t="0" r="r" b="b"/>
              <a:pathLst>
                <a:path w="317" h="242">
                  <a:moveTo>
                    <a:pt x="316" y="111"/>
                  </a:moveTo>
                  <a:cubicBezTo>
                    <a:pt x="314" y="110"/>
                    <a:pt x="310" y="110"/>
                    <a:pt x="308" y="110"/>
                  </a:cubicBezTo>
                  <a:cubicBezTo>
                    <a:pt x="308" y="110"/>
                    <a:pt x="307" y="110"/>
                    <a:pt x="306" y="110"/>
                  </a:cubicBezTo>
                  <a:cubicBezTo>
                    <a:pt x="306" y="110"/>
                    <a:pt x="305" y="111"/>
                    <a:pt x="305" y="111"/>
                  </a:cubicBezTo>
                  <a:cubicBezTo>
                    <a:pt x="303" y="111"/>
                    <a:pt x="302" y="109"/>
                    <a:pt x="301" y="108"/>
                  </a:cubicBezTo>
                  <a:cubicBezTo>
                    <a:pt x="300" y="106"/>
                    <a:pt x="300" y="106"/>
                    <a:pt x="301" y="105"/>
                  </a:cubicBezTo>
                  <a:cubicBezTo>
                    <a:pt x="302" y="103"/>
                    <a:pt x="304" y="102"/>
                    <a:pt x="304" y="100"/>
                  </a:cubicBezTo>
                  <a:cubicBezTo>
                    <a:pt x="304" y="98"/>
                    <a:pt x="304" y="98"/>
                    <a:pt x="303" y="97"/>
                  </a:cubicBezTo>
                  <a:cubicBezTo>
                    <a:pt x="302" y="96"/>
                    <a:pt x="300" y="97"/>
                    <a:pt x="301" y="94"/>
                  </a:cubicBezTo>
                  <a:cubicBezTo>
                    <a:pt x="301" y="94"/>
                    <a:pt x="301" y="93"/>
                    <a:pt x="302" y="92"/>
                  </a:cubicBezTo>
                  <a:cubicBezTo>
                    <a:pt x="304" y="91"/>
                    <a:pt x="305" y="89"/>
                    <a:pt x="306" y="87"/>
                  </a:cubicBezTo>
                  <a:cubicBezTo>
                    <a:pt x="307" y="85"/>
                    <a:pt x="312" y="78"/>
                    <a:pt x="309" y="76"/>
                  </a:cubicBezTo>
                  <a:cubicBezTo>
                    <a:pt x="308" y="75"/>
                    <a:pt x="306" y="75"/>
                    <a:pt x="305" y="75"/>
                  </a:cubicBezTo>
                  <a:cubicBezTo>
                    <a:pt x="303" y="75"/>
                    <a:pt x="301" y="74"/>
                    <a:pt x="299" y="74"/>
                  </a:cubicBezTo>
                  <a:cubicBezTo>
                    <a:pt x="297" y="73"/>
                    <a:pt x="293" y="73"/>
                    <a:pt x="292" y="72"/>
                  </a:cubicBezTo>
                  <a:cubicBezTo>
                    <a:pt x="291" y="71"/>
                    <a:pt x="291" y="70"/>
                    <a:pt x="291" y="69"/>
                  </a:cubicBezTo>
                  <a:cubicBezTo>
                    <a:pt x="290" y="67"/>
                    <a:pt x="288" y="65"/>
                    <a:pt x="287" y="63"/>
                  </a:cubicBezTo>
                  <a:cubicBezTo>
                    <a:pt x="286" y="62"/>
                    <a:pt x="285" y="61"/>
                    <a:pt x="285" y="60"/>
                  </a:cubicBezTo>
                  <a:cubicBezTo>
                    <a:pt x="284" y="60"/>
                    <a:pt x="284" y="59"/>
                    <a:pt x="284" y="58"/>
                  </a:cubicBezTo>
                  <a:cubicBezTo>
                    <a:pt x="283" y="55"/>
                    <a:pt x="280" y="52"/>
                    <a:pt x="278" y="50"/>
                  </a:cubicBezTo>
                  <a:cubicBezTo>
                    <a:pt x="275" y="48"/>
                    <a:pt x="273" y="46"/>
                    <a:pt x="270" y="44"/>
                  </a:cubicBezTo>
                  <a:cubicBezTo>
                    <a:pt x="267" y="42"/>
                    <a:pt x="265" y="40"/>
                    <a:pt x="262" y="39"/>
                  </a:cubicBezTo>
                  <a:cubicBezTo>
                    <a:pt x="260" y="37"/>
                    <a:pt x="258" y="36"/>
                    <a:pt x="255" y="35"/>
                  </a:cubicBezTo>
                  <a:cubicBezTo>
                    <a:pt x="254" y="34"/>
                    <a:pt x="253" y="32"/>
                    <a:pt x="252" y="32"/>
                  </a:cubicBezTo>
                  <a:cubicBezTo>
                    <a:pt x="250" y="30"/>
                    <a:pt x="248" y="30"/>
                    <a:pt x="246" y="30"/>
                  </a:cubicBezTo>
                  <a:cubicBezTo>
                    <a:pt x="243" y="30"/>
                    <a:pt x="239" y="31"/>
                    <a:pt x="236" y="29"/>
                  </a:cubicBezTo>
                  <a:cubicBezTo>
                    <a:pt x="235" y="29"/>
                    <a:pt x="234" y="27"/>
                    <a:pt x="233" y="27"/>
                  </a:cubicBezTo>
                  <a:cubicBezTo>
                    <a:pt x="232" y="26"/>
                    <a:pt x="229" y="27"/>
                    <a:pt x="229" y="29"/>
                  </a:cubicBezTo>
                  <a:cubicBezTo>
                    <a:pt x="227" y="29"/>
                    <a:pt x="226" y="26"/>
                    <a:pt x="226" y="25"/>
                  </a:cubicBezTo>
                  <a:cubicBezTo>
                    <a:pt x="223" y="24"/>
                    <a:pt x="222" y="22"/>
                    <a:pt x="221" y="19"/>
                  </a:cubicBezTo>
                  <a:cubicBezTo>
                    <a:pt x="219" y="16"/>
                    <a:pt x="217" y="14"/>
                    <a:pt x="216" y="11"/>
                  </a:cubicBezTo>
                  <a:cubicBezTo>
                    <a:pt x="215" y="10"/>
                    <a:pt x="214" y="9"/>
                    <a:pt x="213" y="9"/>
                  </a:cubicBezTo>
                  <a:cubicBezTo>
                    <a:pt x="213" y="8"/>
                    <a:pt x="213" y="8"/>
                    <a:pt x="213" y="7"/>
                  </a:cubicBezTo>
                  <a:cubicBezTo>
                    <a:pt x="214" y="6"/>
                    <a:pt x="213" y="6"/>
                    <a:pt x="214" y="5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0"/>
                    <a:pt x="210" y="0"/>
                    <a:pt x="208" y="2"/>
                  </a:cubicBezTo>
                  <a:cubicBezTo>
                    <a:pt x="208" y="2"/>
                    <a:pt x="208" y="3"/>
                    <a:pt x="207" y="3"/>
                  </a:cubicBezTo>
                  <a:cubicBezTo>
                    <a:pt x="207" y="4"/>
                    <a:pt x="206" y="4"/>
                    <a:pt x="205" y="4"/>
                  </a:cubicBezTo>
                  <a:cubicBezTo>
                    <a:pt x="204" y="5"/>
                    <a:pt x="202" y="6"/>
                    <a:pt x="201" y="7"/>
                  </a:cubicBezTo>
                  <a:cubicBezTo>
                    <a:pt x="200" y="8"/>
                    <a:pt x="200" y="10"/>
                    <a:pt x="200" y="11"/>
                  </a:cubicBezTo>
                  <a:cubicBezTo>
                    <a:pt x="200" y="12"/>
                    <a:pt x="200" y="13"/>
                    <a:pt x="200" y="14"/>
                  </a:cubicBezTo>
                  <a:cubicBezTo>
                    <a:pt x="199" y="14"/>
                    <a:pt x="198" y="14"/>
                    <a:pt x="197" y="14"/>
                  </a:cubicBezTo>
                  <a:cubicBezTo>
                    <a:pt x="196" y="15"/>
                    <a:pt x="196" y="16"/>
                    <a:pt x="195" y="17"/>
                  </a:cubicBezTo>
                  <a:cubicBezTo>
                    <a:pt x="193" y="18"/>
                    <a:pt x="190" y="18"/>
                    <a:pt x="189" y="18"/>
                  </a:cubicBezTo>
                  <a:cubicBezTo>
                    <a:pt x="184" y="17"/>
                    <a:pt x="179" y="15"/>
                    <a:pt x="175" y="18"/>
                  </a:cubicBezTo>
                  <a:cubicBezTo>
                    <a:pt x="174" y="18"/>
                    <a:pt x="173" y="20"/>
                    <a:pt x="171" y="20"/>
                  </a:cubicBezTo>
                  <a:cubicBezTo>
                    <a:pt x="170" y="20"/>
                    <a:pt x="169" y="20"/>
                    <a:pt x="169" y="19"/>
                  </a:cubicBezTo>
                  <a:cubicBezTo>
                    <a:pt x="168" y="18"/>
                    <a:pt x="169" y="17"/>
                    <a:pt x="168" y="16"/>
                  </a:cubicBezTo>
                  <a:cubicBezTo>
                    <a:pt x="168" y="15"/>
                    <a:pt x="166" y="15"/>
                    <a:pt x="165" y="15"/>
                  </a:cubicBezTo>
                  <a:cubicBezTo>
                    <a:pt x="163" y="14"/>
                    <a:pt x="161" y="13"/>
                    <a:pt x="159" y="12"/>
                  </a:cubicBezTo>
                  <a:cubicBezTo>
                    <a:pt x="158" y="11"/>
                    <a:pt x="157" y="10"/>
                    <a:pt x="156" y="10"/>
                  </a:cubicBezTo>
                  <a:cubicBezTo>
                    <a:pt x="154" y="10"/>
                    <a:pt x="155" y="13"/>
                    <a:pt x="154" y="13"/>
                  </a:cubicBezTo>
                  <a:cubicBezTo>
                    <a:pt x="153" y="12"/>
                    <a:pt x="153" y="10"/>
                    <a:pt x="153" y="9"/>
                  </a:cubicBezTo>
                  <a:cubicBezTo>
                    <a:pt x="150" y="8"/>
                    <a:pt x="148" y="8"/>
                    <a:pt x="145" y="9"/>
                  </a:cubicBezTo>
                  <a:cubicBezTo>
                    <a:pt x="144" y="9"/>
                    <a:pt x="143" y="10"/>
                    <a:pt x="142" y="10"/>
                  </a:cubicBezTo>
                  <a:cubicBezTo>
                    <a:pt x="140" y="10"/>
                    <a:pt x="138" y="10"/>
                    <a:pt x="137" y="10"/>
                  </a:cubicBezTo>
                  <a:cubicBezTo>
                    <a:pt x="135" y="9"/>
                    <a:pt x="134" y="8"/>
                    <a:pt x="132" y="8"/>
                  </a:cubicBezTo>
                  <a:cubicBezTo>
                    <a:pt x="131" y="8"/>
                    <a:pt x="129" y="7"/>
                    <a:pt x="128" y="7"/>
                  </a:cubicBezTo>
                  <a:cubicBezTo>
                    <a:pt x="127" y="8"/>
                    <a:pt x="127" y="10"/>
                    <a:pt x="125" y="10"/>
                  </a:cubicBezTo>
                  <a:cubicBezTo>
                    <a:pt x="124" y="10"/>
                    <a:pt x="122" y="9"/>
                    <a:pt x="121" y="10"/>
                  </a:cubicBezTo>
                  <a:cubicBezTo>
                    <a:pt x="121" y="12"/>
                    <a:pt x="117" y="14"/>
                    <a:pt x="115" y="14"/>
                  </a:cubicBezTo>
                  <a:cubicBezTo>
                    <a:pt x="113" y="13"/>
                    <a:pt x="113" y="10"/>
                    <a:pt x="113" y="9"/>
                  </a:cubicBezTo>
                  <a:cubicBezTo>
                    <a:pt x="113" y="8"/>
                    <a:pt x="112" y="8"/>
                    <a:pt x="112" y="8"/>
                  </a:cubicBezTo>
                  <a:cubicBezTo>
                    <a:pt x="112" y="7"/>
                    <a:pt x="112" y="6"/>
                    <a:pt x="112" y="6"/>
                  </a:cubicBezTo>
                  <a:cubicBezTo>
                    <a:pt x="112" y="5"/>
                    <a:pt x="110" y="6"/>
                    <a:pt x="110" y="6"/>
                  </a:cubicBezTo>
                  <a:cubicBezTo>
                    <a:pt x="109" y="5"/>
                    <a:pt x="107" y="5"/>
                    <a:pt x="106" y="5"/>
                  </a:cubicBezTo>
                  <a:cubicBezTo>
                    <a:pt x="105" y="5"/>
                    <a:pt x="104" y="5"/>
                    <a:pt x="103" y="5"/>
                  </a:cubicBezTo>
                  <a:cubicBezTo>
                    <a:pt x="102" y="6"/>
                    <a:pt x="102" y="7"/>
                    <a:pt x="101" y="7"/>
                  </a:cubicBezTo>
                  <a:cubicBezTo>
                    <a:pt x="100" y="7"/>
                    <a:pt x="99" y="7"/>
                    <a:pt x="99" y="7"/>
                  </a:cubicBezTo>
                  <a:cubicBezTo>
                    <a:pt x="97" y="7"/>
                    <a:pt x="96" y="7"/>
                    <a:pt x="94" y="7"/>
                  </a:cubicBezTo>
                  <a:cubicBezTo>
                    <a:pt x="91" y="7"/>
                    <a:pt x="89" y="7"/>
                    <a:pt x="86" y="6"/>
                  </a:cubicBezTo>
                  <a:cubicBezTo>
                    <a:pt x="83" y="5"/>
                    <a:pt x="81" y="5"/>
                    <a:pt x="78" y="5"/>
                  </a:cubicBezTo>
                  <a:cubicBezTo>
                    <a:pt x="75" y="5"/>
                    <a:pt x="71" y="5"/>
                    <a:pt x="67" y="4"/>
                  </a:cubicBezTo>
                  <a:cubicBezTo>
                    <a:pt x="66" y="4"/>
                    <a:pt x="65" y="3"/>
                    <a:pt x="64" y="3"/>
                  </a:cubicBezTo>
                  <a:cubicBezTo>
                    <a:pt x="63" y="3"/>
                    <a:pt x="62" y="2"/>
                    <a:pt x="61" y="2"/>
                  </a:cubicBezTo>
                  <a:cubicBezTo>
                    <a:pt x="60" y="1"/>
                    <a:pt x="54" y="1"/>
                    <a:pt x="53" y="3"/>
                  </a:cubicBezTo>
                  <a:cubicBezTo>
                    <a:pt x="52" y="5"/>
                    <a:pt x="54" y="7"/>
                    <a:pt x="50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8"/>
                    <a:pt x="42" y="9"/>
                    <a:pt x="41" y="10"/>
                  </a:cubicBezTo>
                  <a:cubicBezTo>
                    <a:pt x="39" y="12"/>
                    <a:pt x="39" y="13"/>
                    <a:pt x="36" y="13"/>
                  </a:cubicBezTo>
                  <a:cubicBezTo>
                    <a:pt x="33" y="13"/>
                    <a:pt x="31" y="12"/>
                    <a:pt x="29" y="14"/>
                  </a:cubicBezTo>
                  <a:cubicBezTo>
                    <a:pt x="28" y="14"/>
                    <a:pt x="26" y="16"/>
                    <a:pt x="25" y="17"/>
                  </a:cubicBezTo>
                  <a:cubicBezTo>
                    <a:pt x="23" y="17"/>
                    <a:pt x="22" y="17"/>
                    <a:pt x="21" y="19"/>
                  </a:cubicBezTo>
                  <a:cubicBezTo>
                    <a:pt x="21" y="20"/>
                    <a:pt x="21" y="22"/>
                    <a:pt x="20" y="23"/>
                  </a:cubicBezTo>
                  <a:cubicBezTo>
                    <a:pt x="19" y="23"/>
                    <a:pt x="18" y="24"/>
                    <a:pt x="17" y="24"/>
                  </a:cubicBezTo>
                  <a:cubicBezTo>
                    <a:pt x="16" y="24"/>
                    <a:pt x="15" y="25"/>
                    <a:pt x="15" y="25"/>
                  </a:cubicBezTo>
                  <a:cubicBezTo>
                    <a:pt x="15" y="25"/>
                    <a:pt x="14" y="26"/>
                    <a:pt x="14" y="26"/>
                  </a:cubicBezTo>
                  <a:cubicBezTo>
                    <a:pt x="14" y="26"/>
                    <a:pt x="12" y="26"/>
                    <a:pt x="12" y="27"/>
                  </a:cubicBezTo>
                  <a:cubicBezTo>
                    <a:pt x="11" y="27"/>
                    <a:pt x="12" y="28"/>
                    <a:pt x="12" y="28"/>
                  </a:cubicBezTo>
                  <a:cubicBezTo>
                    <a:pt x="12" y="29"/>
                    <a:pt x="11" y="29"/>
                    <a:pt x="11" y="29"/>
                  </a:cubicBezTo>
                  <a:cubicBezTo>
                    <a:pt x="11" y="30"/>
                    <a:pt x="10" y="31"/>
                    <a:pt x="10" y="31"/>
                  </a:cubicBezTo>
                  <a:cubicBezTo>
                    <a:pt x="9" y="32"/>
                    <a:pt x="9" y="33"/>
                    <a:pt x="8" y="34"/>
                  </a:cubicBezTo>
                  <a:cubicBezTo>
                    <a:pt x="7" y="34"/>
                    <a:pt x="6" y="33"/>
                    <a:pt x="5" y="34"/>
                  </a:cubicBezTo>
                  <a:cubicBezTo>
                    <a:pt x="3" y="35"/>
                    <a:pt x="3" y="38"/>
                    <a:pt x="3" y="40"/>
                  </a:cubicBezTo>
                  <a:cubicBezTo>
                    <a:pt x="2" y="43"/>
                    <a:pt x="2" y="46"/>
                    <a:pt x="2" y="49"/>
                  </a:cubicBezTo>
                  <a:cubicBezTo>
                    <a:pt x="2" y="50"/>
                    <a:pt x="2" y="50"/>
                    <a:pt x="1" y="51"/>
                  </a:cubicBezTo>
                  <a:cubicBezTo>
                    <a:pt x="0" y="52"/>
                    <a:pt x="0" y="53"/>
                    <a:pt x="0" y="55"/>
                  </a:cubicBezTo>
                  <a:cubicBezTo>
                    <a:pt x="0" y="57"/>
                    <a:pt x="0" y="61"/>
                    <a:pt x="1" y="63"/>
                  </a:cubicBezTo>
                  <a:cubicBezTo>
                    <a:pt x="1" y="63"/>
                    <a:pt x="2" y="63"/>
                    <a:pt x="2" y="64"/>
                  </a:cubicBezTo>
                  <a:cubicBezTo>
                    <a:pt x="2" y="64"/>
                    <a:pt x="3" y="65"/>
                    <a:pt x="3" y="65"/>
                  </a:cubicBezTo>
                  <a:cubicBezTo>
                    <a:pt x="4" y="67"/>
                    <a:pt x="5" y="67"/>
                    <a:pt x="5" y="69"/>
                  </a:cubicBezTo>
                  <a:cubicBezTo>
                    <a:pt x="5" y="68"/>
                    <a:pt x="6" y="70"/>
                    <a:pt x="6" y="70"/>
                  </a:cubicBezTo>
                  <a:cubicBezTo>
                    <a:pt x="6" y="70"/>
                    <a:pt x="7" y="70"/>
                    <a:pt x="7" y="71"/>
                  </a:cubicBezTo>
                  <a:cubicBezTo>
                    <a:pt x="8" y="72"/>
                    <a:pt x="7" y="73"/>
                    <a:pt x="8" y="74"/>
                  </a:cubicBezTo>
                  <a:cubicBezTo>
                    <a:pt x="8" y="76"/>
                    <a:pt x="8" y="76"/>
                    <a:pt x="8" y="78"/>
                  </a:cubicBezTo>
                  <a:cubicBezTo>
                    <a:pt x="9" y="81"/>
                    <a:pt x="8" y="84"/>
                    <a:pt x="8" y="88"/>
                  </a:cubicBezTo>
                  <a:cubicBezTo>
                    <a:pt x="8" y="88"/>
                    <a:pt x="8" y="89"/>
                    <a:pt x="8" y="89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10" y="92"/>
                    <a:pt x="12" y="95"/>
                    <a:pt x="12" y="97"/>
                  </a:cubicBezTo>
                  <a:cubicBezTo>
                    <a:pt x="12" y="99"/>
                    <a:pt x="12" y="101"/>
                    <a:pt x="12" y="102"/>
                  </a:cubicBezTo>
                  <a:cubicBezTo>
                    <a:pt x="12" y="103"/>
                    <a:pt x="12" y="104"/>
                    <a:pt x="13" y="105"/>
                  </a:cubicBezTo>
                  <a:cubicBezTo>
                    <a:pt x="13" y="105"/>
                    <a:pt x="14" y="105"/>
                    <a:pt x="15" y="106"/>
                  </a:cubicBezTo>
                  <a:cubicBezTo>
                    <a:pt x="15" y="107"/>
                    <a:pt x="15" y="107"/>
                    <a:pt x="15" y="108"/>
                  </a:cubicBezTo>
                  <a:cubicBezTo>
                    <a:pt x="16" y="109"/>
                    <a:pt x="18" y="109"/>
                    <a:pt x="19" y="110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20" y="110"/>
                    <a:pt x="20" y="109"/>
                    <a:pt x="22" y="110"/>
                  </a:cubicBezTo>
                  <a:cubicBezTo>
                    <a:pt x="25" y="111"/>
                    <a:pt x="27" y="115"/>
                    <a:pt x="29" y="118"/>
                  </a:cubicBezTo>
                  <a:cubicBezTo>
                    <a:pt x="30" y="119"/>
                    <a:pt x="31" y="121"/>
                    <a:pt x="33" y="121"/>
                  </a:cubicBezTo>
                  <a:cubicBezTo>
                    <a:pt x="35" y="121"/>
                    <a:pt x="37" y="122"/>
                    <a:pt x="39" y="122"/>
                  </a:cubicBezTo>
                  <a:cubicBezTo>
                    <a:pt x="40" y="123"/>
                    <a:pt x="41" y="123"/>
                    <a:pt x="42" y="124"/>
                  </a:cubicBezTo>
                  <a:cubicBezTo>
                    <a:pt x="42" y="124"/>
                    <a:pt x="43" y="124"/>
                    <a:pt x="44" y="124"/>
                  </a:cubicBezTo>
                  <a:cubicBezTo>
                    <a:pt x="45" y="125"/>
                    <a:pt x="46" y="126"/>
                    <a:pt x="47" y="126"/>
                  </a:cubicBezTo>
                  <a:cubicBezTo>
                    <a:pt x="48" y="127"/>
                    <a:pt x="51" y="126"/>
                    <a:pt x="52" y="127"/>
                  </a:cubicBezTo>
                  <a:cubicBezTo>
                    <a:pt x="53" y="128"/>
                    <a:pt x="53" y="129"/>
                    <a:pt x="54" y="129"/>
                  </a:cubicBezTo>
                  <a:cubicBezTo>
                    <a:pt x="55" y="129"/>
                    <a:pt x="55" y="128"/>
                    <a:pt x="56" y="128"/>
                  </a:cubicBezTo>
                  <a:cubicBezTo>
                    <a:pt x="57" y="127"/>
                    <a:pt x="58" y="130"/>
                    <a:pt x="59" y="131"/>
                  </a:cubicBezTo>
                  <a:cubicBezTo>
                    <a:pt x="60" y="131"/>
                    <a:pt x="61" y="133"/>
                    <a:pt x="62" y="133"/>
                  </a:cubicBezTo>
                  <a:cubicBezTo>
                    <a:pt x="64" y="133"/>
                    <a:pt x="63" y="132"/>
                    <a:pt x="64" y="131"/>
                  </a:cubicBezTo>
                  <a:cubicBezTo>
                    <a:pt x="64" y="131"/>
                    <a:pt x="65" y="130"/>
                    <a:pt x="66" y="129"/>
                  </a:cubicBezTo>
                  <a:cubicBezTo>
                    <a:pt x="68" y="128"/>
                    <a:pt x="69" y="128"/>
                    <a:pt x="71" y="129"/>
                  </a:cubicBezTo>
                  <a:cubicBezTo>
                    <a:pt x="74" y="130"/>
                    <a:pt x="76" y="131"/>
                    <a:pt x="80" y="131"/>
                  </a:cubicBezTo>
                  <a:cubicBezTo>
                    <a:pt x="81" y="131"/>
                    <a:pt x="82" y="131"/>
                    <a:pt x="83" y="131"/>
                  </a:cubicBezTo>
                  <a:cubicBezTo>
                    <a:pt x="84" y="130"/>
                    <a:pt x="84" y="129"/>
                    <a:pt x="86" y="129"/>
                  </a:cubicBezTo>
                  <a:cubicBezTo>
                    <a:pt x="87" y="129"/>
                    <a:pt x="89" y="131"/>
                    <a:pt x="90" y="132"/>
                  </a:cubicBezTo>
                  <a:cubicBezTo>
                    <a:pt x="91" y="134"/>
                    <a:pt x="90" y="135"/>
                    <a:pt x="91" y="136"/>
                  </a:cubicBezTo>
                  <a:cubicBezTo>
                    <a:pt x="91" y="137"/>
                    <a:pt x="94" y="139"/>
                    <a:pt x="95" y="140"/>
                  </a:cubicBezTo>
                  <a:cubicBezTo>
                    <a:pt x="96" y="141"/>
                    <a:pt x="98" y="141"/>
                    <a:pt x="99" y="142"/>
                  </a:cubicBezTo>
                  <a:cubicBezTo>
                    <a:pt x="100" y="144"/>
                    <a:pt x="100" y="146"/>
                    <a:pt x="101" y="147"/>
                  </a:cubicBezTo>
                  <a:cubicBezTo>
                    <a:pt x="101" y="149"/>
                    <a:pt x="104" y="151"/>
                    <a:pt x="104" y="154"/>
                  </a:cubicBezTo>
                  <a:cubicBezTo>
                    <a:pt x="104" y="155"/>
                    <a:pt x="104" y="156"/>
                    <a:pt x="103" y="156"/>
                  </a:cubicBezTo>
                  <a:cubicBezTo>
                    <a:pt x="101" y="159"/>
                    <a:pt x="99" y="162"/>
                    <a:pt x="97" y="164"/>
                  </a:cubicBezTo>
                  <a:cubicBezTo>
                    <a:pt x="95" y="166"/>
                    <a:pt x="95" y="167"/>
                    <a:pt x="95" y="170"/>
                  </a:cubicBezTo>
                  <a:cubicBezTo>
                    <a:pt x="94" y="173"/>
                    <a:pt x="93" y="176"/>
                    <a:pt x="93" y="180"/>
                  </a:cubicBezTo>
                  <a:cubicBezTo>
                    <a:pt x="93" y="181"/>
                    <a:pt x="92" y="182"/>
                    <a:pt x="92" y="184"/>
                  </a:cubicBezTo>
                  <a:cubicBezTo>
                    <a:pt x="92" y="185"/>
                    <a:pt x="92" y="187"/>
                    <a:pt x="92" y="189"/>
                  </a:cubicBezTo>
                  <a:cubicBezTo>
                    <a:pt x="92" y="190"/>
                    <a:pt x="92" y="190"/>
                    <a:pt x="93" y="190"/>
                  </a:cubicBezTo>
                  <a:cubicBezTo>
                    <a:pt x="93" y="190"/>
                    <a:pt x="94" y="190"/>
                    <a:pt x="94" y="191"/>
                  </a:cubicBezTo>
                  <a:cubicBezTo>
                    <a:pt x="95" y="191"/>
                    <a:pt x="95" y="191"/>
                    <a:pt x="95" y="192"/>
                  </a:cubicBezTo>
                  <a:cubicBezTo>
                    <a:pt x="97" y="193"/>
                    <a:pt x="99" y="194"/>
                    <a:pt x="101" y="194"/>
                  </a:cubicBezTo>
                  <a:cubicBezTo>
                    <a:pt x="103" y="195"/>
                    <a:pt x="105" y="196"/>
                    <a:pt x="107" y="196"/>
                  </a:cubicBezTo>
                  <a:cubicBezTo>
                    <a:pt x="109" y="196"/>
                    <a:pt x="110" y="196"/>
                    <a:pt x="111" y="197"/>
                  </a:cubicBezTo>
                  <a:cubicBezTo>
                    <a:pt x="112" y="198"/>
                    <a:pt x="113" y="199"/>
                    <a:pt x="114" y="200"/>
                  </a:cubicBezTo>
                  <a:cubicBezTo>
                    <a:pt x="114" y="200"/>
                    <a:pt x="115" y="201"/>
                    <a:pt x="115" y="201"/>
                  </a:cubicBezTo>
                  <a:cubicBezTo>
                    <a:pt x="116" y="202"/>
                    <a:pt x="115" y="203"/>
                    <a:pt x="116" y="203"/>
                  </a:cubicBezTo>
                  <a:cubicBezTo>
                    <a:pt x="116" y="204"/>
                    <a:pt x="117" y="205"/>
                    <a:pt x="117" y="205"/>
                  </a:cubicBezTo>
                  <a:cubicBezTo>
                    <a:pt x="121" y="206"/>
                    <a:pt x="125" y="205"/>
                    <a:pt x="128" y="207"/>
                  </a:cubicBezTo>
                  <a:cubicBezTo>
                    <a:pt x="129" y="208"/>
                    <a:pt x="131" y="210"/>
                    <a:pt x="132" y="210"/>
                  </a:cubicBezTo>
                  <a:cubicBezTo>
                    <a:pt x="132" y="211"/>
                    <a:pt x="132" y="212"/>
                    <a:pt x="132" y="213"/>
                  </a:cubicBezTo>
                  <a:cubicBezTo>
                    <a:pt x="132" y="215"/>
                    <a:pt x="134" y="216"/>
                    <a:pt x="134" y="217"/>
                  </a:cubicBezTo>
                  <a:cubicBezTo>
                    <a:pt x="135" y="218"/>
                    <a:pt x="137" y="219"/>
                    <a:pt x="138" y="221"/>
                  </a:cubicBezTo>
                  <a:cubicBezTo>
                    <a:pt x="139" y="223"/>
                    <a:pt x="139" y="228"/>
                    <a:pt x="138" y="230"/>
                  </a:cubicBezTo>
                  <a:cubicBezTo>
                    <a:pt x="138" y="231"/>
                    <a:pt x="137" y="230"/>
                    <a:pt x="137" y="231"/>
                  </a:cubicBezTo>
                  <a:cubicBezTo>
                    <a:pt x="136" y="232"/>
                    <a:pt x="137" y="233"/>
                    <a:pt x="137" y="233"/>
                  </a:cubicBezTo>
                  <a:cubicBezTo>
                    <a:pt x="137" y="234"/>
                    <a:pt x="136" y="236"/>
                    <a:pt x="137" y="237"/>
                  </a:cubicBezTo>
                  <a:cubicBezTo>
                    <a:pt x="137" y="238"/>
                    <a:pt x="137" y="239"/>
                    <a:pt x="138" y="240"/>
                  </a:cubicBezTo>
                  <a:cubicBezTo>
                    <a:pt x="138" y="240"/>
                    <a:pt x="138" y="240"/>
                    <a:pt x="139" y="239"/>
                  </a:cubicBezTo>
                  <a:cubicBezTo>
                    <a:pt x="139" y="238"/>
                    <a:pt x="140" y="237"/>
                    <a:pt x="141" y="237"/>
                  </a:cubicBezTo>
                  <a:cubicBezTo>
                    <a:pt x="142" y="235"/>
                    <a:pt x="142" y="235"/>
                    <a:pt x="144" y="235"/>
                  </a:cubicBezTo>
                  <a:cubicBezTo>
                    <a:pt x="147" y="234"/>
                    <a:pt x="149" y="234"/>
                    <a:pt x="152" y="234"/>
                  </a:cubicBezTo>
                  <a:cubicBezTo>
                    <a:pt x="153" y="234"/>
                    <a:pt x="154" y="234"/>
                    <a:pt x="155" y="234"/>
                  </a:cubicBezTo>
                  <a:cubicBezTo>
                    <a:pt x="156" y="235"/>
                    <a:pt x="156" y="235"/>
                    <a:pt x="157" y="235"/>
                  </a:cubicBezTo>
                  <a:cubicBezTo>
                    <a:pt x="158" y="236"/>
                    <a:pt x="159" y="236"/>
                    <a:pt x="159" y="236"/>
                  </a:cubicBezTo>
                  <a:cubicBezTo>
                    <a:pt x="161" y="236"/>
                    <a:pt x="166" y="238"/>
                    <a:pt x="167" y="236"/>
                  </a:cubicBezTo>
                  <a:cubicBezTo>
                    <a:pt x="167" y="236"/>
                    <a:pt x="167" y="237"/>
                    <a:pt x="167" y="237"/>
                  </a:cubicBezTo>
                  <a:cubicBezTo>
                    <a:pt x="170" y="238"/>
                    <a:pt x="174" y="237"/>
                    <a:pt x="176" y="238"/>
                  </a:cubicBezTo>
                  <a:cubicBezTo>
                    <a:pt x="179" y="239"/>
                    <a:pt x="182" y="242"/>
                    <a:pt x="185" y="240"/>
                  </a:cubicBezTo>
                  <a:cubicBezTo>
                    <a:pt x="187" y="240"/>
                    <a:pt x="187" y="239"/>
                    <a:pt x="188" y="237"/>
                  </a:cubicBezTo>
                  <a:cubicBezTo>
                    <a:pt x="189" y="236"/>
                    <a:pt x="190" y="236"/>
                    <a:pt x="192" y="235"/>
                  </a:cubicBezTo>
                  <a:cubicBezTo>
                    <a:pt x="192" y="235"/>
                    <a:pt x="193" y="234"/>
                    <a:pt x="194" y="234"/>
                  </a:cubicBezTo>
                  <a:cubicBezTo>
                    <a:pt x="194" y="233"/>
                    <a:pt x="195" y="233"/>
                    <a:pt x="195" y="232"/>
                  </a:cubicBezTo>
                  <a:cubicBezTo>
                    <a:pt x="196" y="232"/>
                    <a:pt x="197" y="232"/>
                    <a:pt x="197" y="232"/>
                  </a:cubicBezTo>
                  <a:cubicBezTo>
                    <a:pt x="198" y="231"/>
                    <a:pt x="199" y="230"/>
                    <a:pt x="200" y="230"/>
                  </a:cubicBezTo>
                  <a:cubicBezTo>
                    <a:pt x="201" y="232"/>
                    <a:pt x="198" y="236"/>
                    <a:pt x="202" y="234"/>
                  </a:cubicBezTo>
                  <a:cubicBezTo>
                    <a:pt x="202" y="234"/>
                    <a:pt x="203" y="234"/>
                    <a:pt x="203" y="234"/>
                  </a:cubicBezTo>
                  <a:cubicBezTo>
                    <a:pt x="204" y="233"/>
                    <a:pt x="204" y="233"/>
                    <a:pt x="205" y="232"/>
                  </a:cubicBezTo>
                  <a:cubicBezTo>
                    <a:pt x="206" y="231"/>
                    <a:pt x="207" y="232"/>
                    <a:pt x="208" y="231"/>
                  </a:cubicBezTo>
                  <a:cubicBezTo>
                    <a:pt x="209" y="229"/>
                    <a:pt x="207" y="228"/>
                    <a:pt x="207" y="226"/>
                  </a:cubicBezTo>
                  <a:cubicBezTo>
                    <a:pt x="207" y="225"/>
                    <a:pt x="207" y="223"/>
                    <a:pt x="207" y="222"/>
                  </a:cubicBezTo>
                  <a:cubicBezTo>
                    <a:pt x="207" y="221"/>
                    <a:pt x="208" y="218"/>
                    <a:pt x="210" y="218"/>
                  </a:cubicBezTo>
                  <a:cubicBezTo>
                    <a:pt x="211" y="217"/>
                    <a:pt x="214" y="216"/>
                    <a:pt x="216" y="216"/>
                  </a:cubicBezTo>
                  <a:cubicBezTo>
                    <a:pt x="217" y="217"/>
                    <a:pt x="217" y="219"/>
                    <a:pt x="219" y="219"/>
                  </a:cubicBezTo>
                  <a:cubicBezTo>
                    <a:pt x="220" y="220"/>
                    <a:pt x="222" y="220"/>
                    <a:pt x="223" y="220"/>
                  </a:cubicBezTo>
                  <a:cubicBezTo>
                    <a:pt x="228" y="220"/>
                    <a:pt x="227" y="215"/>
                    <a:pt x="227" y="212"/>
                  </a:cubicBezTo>
                  <a:cubicBezTo>
                    <a:pt x="227" y="208"/>
                    <a:pt x="231" y="204"/>
                    <a:pt x="235" y="205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37" y="205"/>
                    <a:pt x="237" y="205"/>
                    <a:pt x="237" y="204"/>
                  </a:cubicBezTo>
                  <a:cubicBezTo>
                    <a:pt x="238" y="204"/>
                    <a:pt x="238" y="204"/>
                    <a:pt x="238" y="204"/>
                  </a:cubicBezTo>
                  <a:cubicBezTo>
                    <a:pt x="241" y="204"/>
                    <a:pt x="244" y="204"/>
                    <a:pt x="246" y="204"/>
                  </a:cubicBezTo>
                  <a:cubicBezTo>
                    <a:pt x="246" y="206"/>
                    <a:pt x="248" y="206"/>
                    <a:pt x="248" y="208"/>
                  </a:cubicBezTo>
                  <a:cubicBezTo>
                    <a:pt x="248" y="210"/>
                    <a:pt x="247" y="210"/>
                    <a:pt x="247" y="212"/>
                  </a:cubicBezTo>
                  <a:cubicBezTo>
                    <a:pt x="246" y="213"/>
                    <a:pt x="246" y="215"/>
                    <a:pt x="246" y="216"/>
                  </a:cubicBezTo>
                  <a:cubicBezTo>
                    <a:pt x="246" y="218"/>
                    <a:pt x="246" y="218"/>
                    <a:pt x="248" y="219"/>
                  </a:cubicBezTo>
                  <a:cubicBezTo>
                    <a:pt x="250" y="219"/>
                    <a:pt x="254" y="219"/>
                    <a:pt x="256" y="219"/>
                  </a:cubicBezTo>
                  <a:cubicBezTo>
                    <a:pt x="257" y="219"/>
                    <a:pt x="259" y="218"/>
                    <a:pt x="259" y="217"/>
                  </a:cubicBezTo>
                  <a:cubicBezTo>
                    <a:pt x="261" y="214"/>
                    <a:pt x="259" y="211"/>
                    <a:pt x="257" y="209"/>
                  </a:cubicBezTo>
                  <a:cubicBezTo>
                    <a:pt x="257" y="208"/>
                    <a:pt x="256" y="207"/>
                    <a:pt x="255" y="207"/>
                  </a:cubicBezTo>
                  <a:cubicBezTo>
                    <a:pt x="254" y="206"/>
                    <a:pt x="253" y="205"/>
                    <a:pt x="252" y="204"/>
                  </a:cubicBezTo>
                  <a:cubicBezTo>
                    <a:pt x="252" y="204"/>
                    <a:pt x="252" y="202"/>
                    <a:pt x="251" y="202"/>
                  </a:cubicBezTo>
                  <a:cubicBezTo>
                    <a:pt x="250" y="200"/>
                    <a:pt x="249" y="201"/>
                    <a:pt x="249" y="199"/>
                  </a:cubicBezTo>
                  <a:cubicBezTo>
                    <a:pt x="249" y="198"/>
                    <a:pt x="249" y="197"/>
                    <a:pt x="249" y="196"/>
                  </a:cubicBezTo>
                  <a:cubicBezTo>
                    <a:pt x="249" y="195"/>
                    <a:pt x="249" y="194"/>
                    <a:pt x="250" y="193"/>
                  </a:cubicBezTo>
                  <a:cubicBezTo>
                    <a:pt x="250" y="192"/>
                    <a:pt x="251" y="191"/>
                    <a:pt x="251" y="191"/>
                  </a:cubicBezTo>
                  <a:cubicBezTo>
                    <a:pt x="252" y="189"/>
                    <a:pt x="253" y="188"/>
                    <a:pt x="254" y="186"/>
                  </a:cubicBezTo>
                  <a:cubicBezTo>
                    <a:pt x="255" y="184"/>
                    <a:pt x="256" y="183"/>
                    <a:pt x="257" y="180"/>
                  </a:cubicBezTo>
                  <a:cubicBezTo>
                    <a:pt x="257" y="179"/>
                    <a:pt x="258" y="177"/>
                    <a:pt x="258" y="176"/>
                  </a:cubicBezTo>
                  <a:cubicBezTo>
                    <a:pt x="259" y="172"/>
                    <a:pt x="258" y="168"/>
                    <a:pt x="258" y="164"/>
                  </a:cubicBezTo>
                  <a:cubicBezTo>
                    <a:pt x="258" y="161"/>
                    <a:pt x="258" y="158"/>
                    <a:pt x="258" y="155"/>
                  </a:cubicBezTo>
                  <a:cubicBezTo>
                    <a:pt x="258" y="155"/>
                    <a:pt x="258" y="154"/>
                    <a:pt x="258" y="154"/>
                  </a:cubicBezTo>
                  <a:cubicBezTo>
                    <a:pt x="259" y="153"/>
                    <a:pt x="259" y="153"/>
                    <a:pt x="259" y="152"/>
                  </a:cubicBezTo>
                  <a:cubicBezTo>
                    <a:pt x="260" y="150"/>
                    <a:pt x="260" y="150"/>
                    <a:pt x="261" y="149"/>
                  </a:cubicBezTo>
                  <a:cubicBezTo>
                    <a:pt x="263" y="148"/>
                    <a:pt x="264" y="148"/>
                    <a:pt x="265" y="148"/>
                  </a:cubicBezTo>
                  <a:cubicBezTo>
                    <a:pt x="266" y="147"/>
                    <a:pt x="268" y="146"/>
                    <a:pt x="269" y="145"/>
                  </a:cubicBezTo>
                  <a:cubicBezTo>
                    <a:pt x="269" y="145"/>
                    <a:pt x="269" y="144"/>
                    <a:pt x="270" y="144"/>
                  </a:cubicBezTo>
                  <a:cubicBezTo>
                    <a:pt x="271" y="143"/>
                    <a:pt x="273" y="143"/>
                    <a:pt x="274" y="142"/>
                  </a:cubicBezTo>
                  <a:cubicBezTo>
                    <a:pt x="276" y="142"/>
                    <a:pt x="277" y="142"/>
                    <a:pt x="279" y="142"/>
                  </a:cubicBezTo>
                  <a:cubicBezTo>
                    <a:pt x="281" y="142"/>
                    <a:pt x="281" y="142"/>
                    <a:pt x="282" y="141"/>
                  </a:cubicBezTo>
                  <a:cubicBezTo>
                    <a:pt x="282" y="140"/>
                    <a:pt x="283" y="139"/>
                    <a:pt x="283" y="138"/>
                  </a:cubicBezTo>
                  <a:cubicBezTo>
                    <a:pt x="283" y="137"/>
                    <a:pt x="283" y="136"/>
                    <a:pt x="283" y="135"/>
                  </a:cubicBezTo>
                  <a:cubicBezTo>
                    <a:pt x="283" y="135"/>
                    <a:pt x="284" y="135"/>
                    <a:pt x="284" y="134"/>
                  </a:cubicBezTo>
                  <a:cubicBezTo>
                    <a:pt x="284" y="134"/>
                    <a:pt x="284" y="134"/>
                    <a:pt x="284" y="133"/>
                  </a:cubicBezTo>
                  <a:cubicBezTo>
                    <a:pt x="285" y="133"/>
                    <a:pt x="285" y="132"/>
                    <a:pt x="285" y="132"/>
                  </a:cubicBezTo>
                  <a:cubicBezTo>
                    <a:pt x="287" y="131"/>
                    <a:pt x="288" y="130"/>
                    <a:pt x="289" y="129"/>
                  </a:cubicBezTo>
                  <a:cubicBezTo>
                    <a:pt x="291" y="129"/>
                    <a:pt x="293" y="128"/>
                    <a:pt x="294" y="127"/>
                  </a:cubicBezTo>
                  <a:cubicBezTo>
                    <a:pt x="295" y="126"/>
                    <a:pt x="295" y="126"/>
                    <a:pt x="296" y="125"/>
                  </a:cubicBezTo>
                  <a:cubicBezTo>
                    <a:pt x="298" y="125"/>
                    <a:pt x="299" y="124"/>
                    <a:pt x="301" y="124"/>
                  </a:cubicBezTo>
                  <a:cubicBezTo>
                    <a:pt x="302" y="123"/>
                    <a:pt x="303" y="124"/>
                    <a:pt x="304" y="123"/>
                  </a:cubicBezTo>
                  <a:cubicBezTo>
                    <a:pt x="305" y="123"/>
                    <a:pt x="305" y="122"/>
                    <a:pt x="306" y="122"/>
                  </a:cubicBezTo>
                  <a:cubicBezTo>
                    <a:pt x="307" y="121"/>
                    <a:pt x="308" y="121"/>
                    <a:pt x="309" y="120"/>
                  </a:cubicBezTo>
                  <a:cubicBezTo>
                    <a:pt x="310" y="118"/>
                    <a:pt x="309" y="118"/>
                    <a:pt x="311" y="117"/>
                  </a:cubicBezTo>
                  <a:cubicBezTo>
                    <a:pt x="311" y="117"/>
                    <a:pt x="312" y="117"/>
                    <a:pt x="312" y="116"/>
                  </a:cubicBezTo>
                  <a:cubicBezTo>
                    <a:pt x="313" y="116"/>
                    <a:pt x="313" y="116"/>
                    <a:pt x="314" y="116"/>
                  </a:cubicBezTo>
                  <a:cubicBezTo>
                    <a:pt x="316" y="115"/>
                    <a:pt x="317" y="113"/>
                    <a:pt x="316" y="11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7" name="Freeform 38">
              <a:extLst>
                <a:ext uri="{FF2B5EF4-FFF2-40B4-BE49-F238E27FC236}">
                  <a16:creationId xmlns:a16="http://schemas.microsoft.com/office/drawing/2014/main" id="{814E383B-1999-4328-A793-69CF9F0B5E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6763" y="3511550"/>
              <a:ext cx="947738" cy="849313"/>
            </a:xfrm>
            <a:custGeom>
              <a:avLst/>
              <a:gdLst/>
              <a:ahLst/>
              <a:cxnLst>
                <a:cxn ang="0">
                  <a:pos x="493" y="252"/>
                </a:cxn>
                <a:cxn ang="0">
                  <a:pos x="479" y="230"/>
                </a:cxn>
                <a:cxn ang="0">
                  <a:pos x="455" y="220"/>
                </a:cxn>
                <a:cxn ang="0">
                  <a:pos x="426" y="174"/>
                </a:cxn>
                <a:cxn ang="0">
                  <a:pos x="418" y="142"/>
                </a:cxn>
                <a:cxn ang="0">
                  <a:pos x="406" y="117"/>
                </a:cxn>
                <a:cxn ang="0">
                  <a:pos x="412" y="91"/>
                </a:cxn>
                <a:cxn ang="0">
                  <a:pos x="408" y="69"/>
                </a:cxn>
                <a:cxn ang="0">
                  <a:pos x="383" y="37"/>
                </a:cxn>
                <a:cxn ang="0">
                  <a:pos x="354" y="34"/>
                </a:cxn>
                <a:cxn ang="0">
                  <a:pos x="329" y="44"/>
                </a:cxn>
                <a:cxn ang="0">
                  <a:pos x="294" y="18"/>
                </a:cxn>
                <a:cxn ang="0">
                  <a:pos x="256" y="8"/>
                </a:cxn>
                <a:cxn ang="0">
                  <a:pos x="210" y="33"/>
                </a:cxn>
                <a:cxn ang="0">
                  <a:pos x="185" y="47"/>
                </a:cxn>
                <a:cxn ang="0">
                  <a:pos x="173" y="66"/>
                </a:cxn>
                <a:cxn ang="0">
                  <a:pos x="178" y="82"/>
                </a:cxn>
                <a:cxn ang="0">
                  <a:pos x="181" y="92"/>
                </a:cxn>
                <a:cxn ang="0">
                  <a:pos x="161" y="101"/>
                </a:cxn>
                <a:cxn ang="0">
                  <a:pos x="154" y="113"/>
                </a:cxn>
                <a:cxn ang="0">
                  <a:pos x="133" y="121"/>
                </a:cxn>
                <a:cxn ang="0">
                  <a:pos x="129" y="152"/>
                </a:cxn>
                <a:cxn ang="0">
                  <a:pos x="123" y="174"/>
                </a:cxn>
                <a:cxn ang="0">
                  <a:pos x="120" y="191"/>
                </a:cxn>
                <a:cxn ang="0">
                  <a:pos x="109" y="176"/>
                </a:cxn>
                <a:cxn ang="0">
                  <a:pos x="88" y="188"/>
                </a:cxn>
                <a:cxn ang="0">
                  <a:pos x="75" y="206"/>
                </a:cxn>
                <a:cxn ang="0">
                  <a:pos x="64" y="207"/>
                </a:cxn>
                <a:cxn ang="0">
                  <a:pos x="31" y="208"/>
                </a:cxn>
                <a:cxn ang="0">
                  <a:pos x="11" y="211"/>
                </a:cxn>
                <a:cxn ang="0">
                  <a:pos x="22" y="253"/>
                </a:cxn>
                <a:cxn ang="0">
                  <a:pos x="38" y="294"/>
                </a:cxn>
                <a:cxn ang="0">
                  <a:pos x="40" y="316"/>
                </a:cxn>
                <a:cxn ang="0">
                  <a:pos x="20" y="331"/>
                </a:cxn>
                <a:cxn ang="0">
                  <a:pos x="4" y="360"/>
                </a:cxn>
                <a:cxn ang="0">
                  <a:pos x="23" y="380"/>
                </a:cxn>
                <a:cxn ang="0">
                  <a:pos x="13" y="404"/>
                </a:cxn>
                <a:cxn ang="0">
                  <a:pos x="43" y="408"/>
                </a:cxn>
                <a:cxn ang="0">
                  <a:pos x="69" y="393"/>
                </a:cxn>
                <a:cxn ang="0">
                  <a:pos x="118" y="394"/>
                </a:cxn>
                <a:cxn ang="0">
                  <a:pos x="148" y="398"/>
                </a:cxn>
                <a:cxn ang="0">
                  <a:pos x="200" y="407"/>
                </a:cxn>
                <a:cxn ang="0">
                  <a:pos x="215" y="420"/>
                </a:cxn>
                <a:cxn ang="0">
                  <a:pos x="242" y="423"/>
                </a:cxn>
                <a:cxn ang="0">
                  <a:pos x="272" y="425"/>
                </a:cxn>
                <a:cxn ang="0">
                  <a:pos x="296" y="425"/>
                </a:cxn>
                <a:cxn ang="0">
                  <a:pos x="322" y="435"/>
                </a:cxn>
                <a:cxn ang="0">
                  <a:pos x="370" y="445"/>
                </a:cxn>
                <a:cxn ang="0">
                  <a:pos x="391" y="406"/>
                </a:cxn>
                <a:cxn ang="0">
                  <a:pos x="406" y="384"/>
                </a:cxn>
                <a:cxn ang="0">
                  <a:pos x="427" y="375"/>
                </a:cxn>
                <a:cxn ang="0">
                  <a:pos x="443" y="363"/>
                </a:cxn>
                <a:cxn ang="0">
                  <a:pos x="436" y="319"/>
                </a:cxn>
                <a:cxn ang="0">
                  <a:pos x="444" y="280"/>
                </a:cxn>
                <a:cxn ang="0">
                  <a:pos x="483" y="284"/>
                </a:cxn>
                <a:cxn ang="0">
                  <a:pos x="500" y="270"/>
                </a:cxn>
              </a:cxnLst>
              <a:rect l="0" t="0" r="r" b="b"/>
              <a:pathLst>
                <a:path w="507" h="454">
                  <a:moveTo>
                    <a:pt x="9" y="209"/>
                  </a:moveTo>
                  <a:cubicBezTo>
                    <a:pt x="9" y="210"/>
                    <a:pt x="9" y="210"/>
                    <a:pt x="9" y="211"/>
                  </a:cubicBezTo>
                  <a:cubicBezTo>
                    <a:pt x="9" y="210"/>
                    <a:pt x="9" y="210"/>
                    <a:pt x="9" y="209"/>
                  </a:cubicBezTo>
                  <a:moveTo>
                    <a:pt x="505" y="257"/>
                  </a:moveTo>
                  <a:cubicBezTo>
                    <a:pt x="503" y="254"/>
                    <a:pt x="502" y="255"/>
                    <a:pt x="498" y="255"/>
                  </a:cubicBezTo>
                  <a:cubicBezTo>
                    <a:pt x="496" y="255"/>
                    <a:pt x="495" y="255"/>
                    <a:pt x="493" y="252"/>
                  </a:cubicBezTo>
                  <a:cubicBezTo>
                    <a:pt x="491" y="249"/>
                    <a:pt x="491" y="246"/>
                    <a:pt x="491" y="242"/>
                  </a:cubicBezTo>
                  <a:cubicBezTo>
                    <a:pt x="491" y="241"/>
                    <a:pt x="490" y="239"/>
                    <a:pt x="490" y="238"/>
                  </a:cubicBezTo>
                  <a:cubicBezTo>
                    <a:pt x="490" y="236"/>
                    <a:pt x="492" y="232"/>
                    <a:pt x="491" y="230"/>
                  </a:cubicBezTo>
                  <a:cubicBezTo>
                    <a:pt x="489" y="229"/>
                    <a:pt x="487" y="232"/>
                    <a:pt x="484" y="232"/>
                  </a:cubicBezTo>
                  <a:cubicBezTo>
                    <a:pt x="483" y="232"/>
                    <a:pt x="483" y="231"/>
                    <a:pt x="482" y="231"/>
                  </a:cubicBezTo>
                  <a:cubicBezTo>
                    <a:pt x="481" y="230"/>
                    <a:pt x="480" y="231"/>
                    <a:pt x="479" y="230"/>
                  </a:cubicBezTo>
                  <a:cubicBezTo>
                    <a:pt x="478" y="230"/>
                    <a:pt x="478" y="231"/>
                    <a:pt x="476" y="229"/>
                  </a:cubicBezTo>
                  <a:cubicBezTo>
                    <a:pt x="475" y="228"/>
                    <a:pt x="475" y="227"/>
                    <a:pt x="474" y="226"/>
                  </a:cubicBezTo>
                  <a:cubicBezTo>
                    <a:pt x="472" y="225"/>
                    <a:pt x="468" y="226"/>
                    <a:pt x="466" y="225"/>
                  </a:cubicBezTo>
                  <a:cubicBezTo>
                    <a:pt x="462" y="225"/>
                    <a:pt x="457" y="227"/>
                    <a:pt x="453" y="227"/>
                  </a:cubicBezTo>
                  <a:cubicBezTo>
                    <a:pt x="452" y="225"/>
                    <a:pt x="453" y="225"/>
                    <a:pt x="454" y="224"/>
                  </a:cubicBezTo>
                  <a:cubicBezTo>
                    <a:pt x="454" y="223"/>
                    <a:pt x="454" y="221"/>
                    <a:pt x="455" y="220"/>
                  </a:cubicBezTo>
                  <a:cubicBezTo>
                    <a:pt x="457" y="215"/>
                    <a:pt x="458" y="211"/>
                    <a:pt x="458" y="206"/>
                  </a:cubicBezTo>
                  <a:cubicBezTo>
                    <a:pt x="457" y="204"/>
                    <a:pt x="456" y="203"/>
                    <a:pt x="456" y="201"/>
                  </a:cubicBezTo>
                  <a:cubicBezTo>
                    <a:pt x="455" y="199"/>
                    <a:pt x="454" y="198"/>
                    <a:pt x="453" y="197"/>
                  </a:cubicBezTo>
                  <a:cubicBezTo>
                    <a:pt x="446" y="193"/>
                    <a:pt x="438" y="200"/>
                    <a:pt x="435" y="190"/>
                  </a:cubicBezTo>
                  <a:cubicBezTo>
                    <a:pt x="434" y="188"/>
                    <a:pt x="434" y="185"/>
                    <a:pt x="432" y="182"/>
                  </a:cubicBezTo>
                  <a:cubicBezTo>
                    <a:pt x="431" y="179"/>
                    <a:pt x="428" y="177"/>
                    <a:pt x="426" y="174"/>
                  </a:cubicBezTo>
                  <a:cubicBezTo>
                    <a:pt x="425" y="171"/>
                    <a:pt x="425" y="167"/>
                    <a:pt x="422" y="165"/>
                  </a:cubicBezTo>
                  <a:cubicBezTo>
                    <a:pt x="421" y="164"/>
                    <a:pt x="417" y="165"/>
                    <a:pt x="416" y="163"/>
                  </a:cubicBezTo>
                  <a:cubicBezTo>
                    <a:pt x="415" y="161"/>
                    <a:pt x="416" y="160"/>
                    <a:pt x="417" y="159"/>
                  </a:cubicBezTo>
                  <a:cubicBezTo>
                    <a:pt x="419" y="156"/>
                    <a:pt x="421" y="154"/>
                    <a:pt x="422" y="150"/>
                  </a:cubicBezTo>
                  <a:cubicBezTo>
                    <a:pt x="423" y="149"/>
                    <a:pt x="422" y="147"/>
                    <a:pt x="422" y="145"/>
                  </a:cubicBezTo>
                  <a:cubicBezTo>
                    <a:pt x="421" y="142"/>
                    <a:pt x="420" y="142"/>
                    <a:pt x="418" y="142"/>
                  </a:cubicBezTo>
                  <a:cubicBezTo>
                    <a:pt x="415" y="142"/>
                    <a:pt x="414" y="143"/>
                    <a:pt x="413" y="141"/>
                  </a:cubicBezTo>
                  <a:cubicBezTo>
                    <a:pt x="411" y="140"/>
                    <a:pt x="411" y="139"/>
                    <a:pt x="409" y="138"/>
                  </a:cubicBezTo>
                  <a:cubicBezTo>
                    <a:pt x="406" y="136"/>
                    <a:pt x="402" y="137"/>
                    <a:pt x="401" y="132"/>
                  </a:cubicBezTo>
                  <a:cubicBezTo>
                    <a:pt x="399" y="129"/>
                    <a:pt x="403" y="126"/>
                    <a:pt x="402" y="123"/>
                  </a:cubicBezTo>
                  <a:cubicBezTo>
                    <a:pt x="402" y="121"/>
                    <a:pt x="400" y="120"/>
                    <a:pt x="402" y="118"/>
                  </a:cubicBezTo>
                  <a:cubicBezTo>
                    <a:pt x="403" y="117"/>
                    <a:pt x="405" y="117"/>
                    <a:pt x="406" y="117"/>
                  </a:cubicBezTo>
                  <a:cubicBezTo>
                    <a:pt x="406" y="116"/>
                    <a:pt x="407" y="115"/>
                    <a:pt x="408" y="115"/>
                  </a:cubicBezTo>
                  <a:cubicBezTo>
                    <a:pt x="408" y="114"/>
                    <a:pt x="408" y="112"/>
                    <a:pt x="408" y="111"/>
                  </a:cubicBezTo>
                  <a:cubicBezTo>
                    <a:pt x="410" y="111"/>
                    <a:pt x="411" y="110"/>
                    <a:pt x="412" y="109"/>
                  </a:cubicBezTo>
                  <a:cubicBezTo>
                    <a:pt x="412" y="108"/>
                    <a:pt x="412" y="106"/>
                    <a:pt x="412" y="105"/>
                  </a:cubicBezTo>
                  <a:cubicBezTo>
                    <a:pt x="411" y="102"/>
                    <a:pt x="411" y="102"/>
                    <a:pt x="412" y="100"/>
                  </a:cubicBezTo>
                  <a:cubicBezTo>
                    <a:pt x="413" y="97"/>
                    <a:pt x="412" y="94"/>
                    <a:pt x="412" y="91"/>
                  </a:cubicBezTo>
                  <a:cubicBezTo>
                    <a:pt x="410" y="91"/>
                    <a:pt x="406" y="89"/>
                    <a:pt x="405" y="88"/>
                  </a:cubicBezTo>
                  <a:cubicBezTo>
                    <a:pt x="404" y="86"/>
                    <a:pt x="405" y="87"/>
                    <a:pt x="405" y="85"/>
                  </a:cubicBezTo>
                  <a:cubicBezTo>
                    <a:pt x="405" y="83"/>
                    <a:pt x="405" y="81"/>
                    <a:pt x="406" y="80"/>
                  </a:cubicBezTo>
                  <a:cubicBezTo>
                    <a:pt x="407" y="79"/>
                    <a:pt x="408" y="79"/>
                    <a:pt x="408" y="78"/>
                  </a:cubicBezTo>
                  <a:cubicBezTo>
                    <a:pt x="408" y="77"/>
                    <a:pt x="408" y="76"/>
                    <a:pt x="408" y="76"/>
                  </a:cubicBezTo>
                  <a:cubicBezTo>
                    <a:pt x="408" y="73"/>
                    <a:pt x="408" y="71"/>
                    <a:pt x="408" y="69"/>
                  </a:cubicBezTo>
                  <a:cubicBezTo>
                    <a:pt x="408" y="64"/>
                    <a:pt x="410" y="63"/>
                    <a:pt x="411" y="58"/>
                  </a:cubicBezTo>
                  <a:cubicBezTo>
                    <a:pt x="411" y="57"/>
                    <a:pt x="411" y="54"/>
                    <a:pt x="409" y="54"/>
                  </a:cubicBezTo>
                  <a:cubicBezTo>
                    <a:pt x="407" y="53"/>
                    <a:pt x="404" y="54"/>
                    <a:pt x="402" y="54"/>
                  </a:cubicBezTo>
                  <a:cubicBezTo>
                    <a:pt x="396" y="54"/>
                    <a:pt x="399" y="49"/>
                    <a:pt x="397" y="45"/>
                  </a:cubicBezTo>
                  <a:cubicBezTo>
                    <a:pt x="396" y="43"/>
                    <a:pt x="393" y="42"/>
                    <a:pt x="391" y="41"/>
                  </a:cubicBezTo>
                  <a:cubicBezTo>
                    <a:pt x="388" y="39"/>
                    <a:pt x="386" y="38"/>
                    <a:pt x="383" y="37"/>
                  </a:cubicBezTo>
                  <a:cubicBezTo>
                    <a:pt x="381" y="37"/>
                    <a:pt x="379" y="36"/>
                    <a:pt x="377" y="34"/>
                  </a:cubicBezTo>
                  <a:cubicBezTo>
                    <a:pt x="376" y="33"/>
                    <a:pt x="375" y="31"/>
                    <a:pt x="374" y="29"/>
                  </a:cubicBezTo>
                  <a:cubicBezTo>
                    <a:pt x="371" y="26"/>
                    <a:pt x="365" y="30"/>
                    <a:pt x="362" y="32"/>
                  </a:cubicBezTo>
                  <a:cubicBezTo>
                    <a:pt x="362" y="32"/>
                    <a:pt x="362" y="33"/>
                    <a:pt x="362" y="33"/>
                  </a:cubicBezTo>
                  <a:cubicBezTo>
                    <a:pt x="360" y="33"/>
                    <a:pt x="359" y="32"/>
                    <a:pt x="357" y="32"/>
                  </a:cubicBezTo>
                  <a:cubicBezTo>
                    <a:pt x="355" y="32"/>
                    <a:pt x="355" y="32"/>
                    <a:pt x="354" y="34"/>
                  </a:cubicBezTo>
                  <a:cubicBezTo>
                    <a:pt x="351" y="36"/>
                    <a:pt x="352" y="39"/>
                    <a:pt x="350" y="42"/>
                  </a:cubicBezTo>
                  <a:cubicBezTo>
                    <a:pt x="348" y="41"/>
                    <a:pt x="346" y="39"/>
                    <a:pt x="343" y="39"/>
                  </a:cubicBezTo>
                  <a:cubicBezTo>
                    <a:pt x="342" y="39"/>
                    <a:pt x="341" y="40"/>
                    <a:pt x="340" y="41"/>
                  </a:cubicBezTo>
                  <a:cubicBezTo>
                    <a:pt x="338" y="43"/>
                    <a:pt x="339" y="43"/>
                    <a:pt x="337" y="44"/>
                  </a:cubicBezTo>
                  <a:cubicBezTo>
                    <a:pt x="337" y="44"/>
                    <a:pt x="336" y="44"/>
                    <a:pt x="335" y="45"/>
                  </a:cubicBezTo>
                  <a:cubicBezTo>
                    <a:pt x="334" y="45"/>
                    <a:pt x="330" y="45"/>
                    <a:pt x="329" y="44"/>
                  </a:cubicBezTo>
                  <a:cubicBezTo>
                    <a:pt x="327" y="43"/>
                    <a:pt x="328" y="36"/>
                    <a:pt x="328" y="35"/>
                  </a:cubicBezTo>
                  <a:cubicBezTo>
                    <a:pt x="328" y="33"/>
                    <a:pt x="328" y="31"/>
                    <a:pt x="328" y="29"/>
                  </a:cubicBezTo>
                  <a:cubicBezTo>
                    <a:pt x="329" y="28"/>
                    <a:pt x="330" y="27"/>
                    <a:pt x="330" y="25"/>
                  </a:cubicBezTo>
                  <a:cubicBezTo>
                    <a:pt x="329" y="18"/>
                    <a:pt x="321" y="16"/>
                    <a:pt x="315" y="16"/>
                  </a:cubicBezTo>
                  <a:cubicBezTo>
                    <a:pt x="311" y="16"/>
                    <a:pt x="306" y="16"/>
                    <a:pt x="302" y="18"/>
                  </a:cubicBezTo>
                  <a:cubicBezTo>
                    <a:pt x="299" y="19"/>
                    <a:pt x="297" y="21"/>
                    <a:pt x="294" y="18"/>
                  </a:cubicBezTo>
                  <a:cubicBezTo>
                    <a:pt x="291" y="17"/>
                    <a:pt x="290" y="13"/>
                    <a:pt x="289" y="10"/>
                  </a:cubicBezTo>
                  <a:cubicBezTo>
                    <a:pt x="287" y="6"/>
                    <a:pt x="286" y="4"/>
                    <a:pt x="282" y="6"/>
                  </a:cubicBezTo>
                  <a:cubicBezTo>
                    <a:pt x="278" y="7"/>
                    <a:pt x="274" y="9"/>
                    <a:pt x="270" y="8"/>
                  </a:cubicBezTo>
                  <a:cubicBezTo>
                    <a:pt x="269" y="8"/>
                    <a:pt x="265" y="7"/>
                    <a:pt x="264" y="6"/>
                  </a:cubicBezTo>
                  <a:cubicBezTo>
                    <a:pt x="264" y="6"/>
                    <a:pt x="264" y="2"/>
                    <a:pt x="263" y="1"/>
                  </a:cubicBezTo>
                  <a:cubicBezTo>
                    <a:pt x="262" y="0"/>
                    <a:pt x="257" y="6"/>
                    <a:pt x="256" y="8"/>
                  </a:cubicBezTo>
                  <a:cubicBezTo>
                    <a:pt x="253" y="11"/>
                    <a:pt x="249" y="16"/>
                    <a:pt x="245" y="16"/>
                  </a:cubicBezTo>
                  <a:cubicBezTo>
                    <a:pt x="240" y="17"/>
                    <a:pt x="237" y="19"/>
                    <a:pt x="236" y="24"/>
                  </a:cubicBezTo>
                  <a:cubicBezTo>
                    <a:pt x="235" y="28"/>
                    <a:pt x="238" y="33"/>
                    <a:pt x="234" y="36"/>
                  </a:cubicBezTo>
                  <a:cubicBezTo>
                    <a:pt x="230" y="39"/>
                    <a:pt x="227" y="34"/>
                    <a:pt x="223" y="35"/>
                  </a:cubicBezTo>
                  <a:cubicBezTo>
                    <a:pt x="220" y="35"/>
                    <a:pt x="217" y="35"/>
                    <a:pt x="215" y="35"/>
                  </a:cubicBezTo>
                  <a:cubicBezTo>
                    <a:pt x="212" y="34"/>
                    <a:pt x="212" y="34"/>
                    <a:pt x="210" y="33"/>
                  </a:cubicBezTo>
                  <a:cubicBezTo>
                    <a:pt x="207" y="31"/>
                    <a:pt x="203" y="33"/>
                    <a:pt x="201" y="35"/>
                  </a:cubicBezTo>
                  <a:cubicBezTo>
                    <a:pt x="200" y="35"/>
                    <a:pt x="200" y="37"/>
                    <a:pt x="199" y="37"/>
                  </a:cubicBezTo>
                  <a:cubicBezTo>
                    <a:pt x="198" y="37"/>
                    <a:pt x="197" y="37"/>
                    <a:pt x="196" y="38"/>
                  </a:cubicBezTo>
                  <a:cubicBezTo>
                    <a:pt x="195" y="38"/>
                    <a:pt x="193" y="39"/>
                    <a:pt x="193" y="40"/>
                  </a:cubicBezTo>
                  <a:cubicBezTo>
                    <a:pt x="191" y="41"/>
                    <a:pt x="190" y="44"/>
                    <a:pt x="189" y="45"/>
                  </a:cubicBezTo>
                  <a:cubicBezTo>
                    <a:pt x="188" y="47"/>
                    <a:pt x="187" y="47"/>
                    <a:pt x="185" y="47"/>
                  </a:cubicBezTo>
                  <a:cubicBezTo>
                    <a:pt x="183" y="47"/>
                    <a:pt x="181" y="46"/>
                    <a:pt x="180" y="46"/>
                  </a:cubicBezTo>
                  <a:cubicBezTo>
                    <a:pt x="179" y="47"/>
                    <a:pt x="179" y="47"/>
                    <a:pt x="178" y="47"/>
                  </a:cubicBezTo>
                  <a:cubicBezTo>
                    <a:pt x="179" y="47"/>
                    <a:pt x="181" y="47"/>
                    <a:pt x="181" y="48"/>
                  </a:cubicBezTo>
                  <a:cubicBezTo>
                    <a:pt x="184" y="50"/>
                    <a:pt x="179" y="57"/>
                    <a:pt x="178" y="59"/>
                  </a:cubicBezTo>
                  <a:cubicBezTo>
                    <a:pt x="177" y="61"/>
                    <a:pt x="176" y="63"/>
                    <a:pt x="174" y="64"/>
                  </a:cubicBezTo>
                  <a:cubicBezTo>
                    <a:pt x="173" y="65"/>
                    <a:pt x="173" y="66"/>
                    <a:pt x="173" y="66"/>
                  </a:cubicBezTo>
                  <a:cubicBezTo>
                    <a:pt x="172" y="69"/>
                    <a:pt x="174" y="68"/>
                    <a:pt x="175" y="69"/>
                  </a:cubicBezTo>
                  <a:cubicBezTo>
                    <a:pt x="176" y="70"/>
                    <a:pt x="176" y="70"/>
                    <a:pt x="176" y="72"/>
                  </a:cubicBezTo>
                  <a:cubicBezTo>
                    <a:pt x="176" y="74"/>
                    <a:pt x="174" y="75"/>
                    <a:pt x="173" y="77"/>
                  </a:cubicBezTo>
                  <a:cubicBezTo>
                    <a:pt x="172" y="78"/>
                    <a:pt x="172" y="78"/>
                    <a:pt x="173" y="80"/>
                  </a:cubicBezTo>
                  <a:cubicBezTo>
                    <a:pt x="174" y="81"/>
                    <a:pt x="175" y="83"/>
                    <a:pt x="177" y="83"/>
                  </a:cubicBezTo>
                  <a:cubicBezTo>
                    <a:pt x="177" y="83"/>
                    <a:pt x="178" y="82"/>
                    <a:pt x="178" y="82"/>
                  </a:cubicBezTo>
                  <a:cubicBezTo>
                    <a:pt x="179" y="82"/>
                    <a:pt x="180" y="82"/>
                    <a:pt x="180" y="82"/>
                  </a:cubicBezTo>
                  <a:cubicBezTo>
                    <a:pt x="182" y="82"/>
                    <a:pt x="186" y="82"/>
                    <a:pt x="188" y="83"/>
                  </a:cubicBezTo>
                  <a:cubicBezTo>
                    <a:pt x="189" y="85"/>
                    <a:pt x="188" y="87"/>
                    <a:pt x="186" y="88"/>
                  </a:cubicBezTo>
                  <a:cubicBezTo>
                    <a:pt x="185" y="88"/>
                    <a:pt x="185" y="88"/>
                    <a:pt x="184" y="88"/>
                  </a:cubicBezTo>
                  <a:cubicBezTo>
                    <a:pt x="184" y="89"/>
                    <a:pt x="183" y="89"/>
                    <a:pt x="183" y="89"/>
                  </a:cubicBezTo>
                  <a:cubicBezTo>
                    <a:pt x="181" y="90"/>
                    <a:pt x="182" y="90"/>
                    <a:pt x="181" y="92"/>
                  </a:cubicBezTo>
                  <a:cubicBezTo>
                    <a:pt x="180" y="93"/>
                    <a:pt x="179" y="93"/>
                    <a:pt x="178" y="94"/>
                  </a:cubicBezTo>
                  <a:cubicBezTo>
                    <a:pt x="177" y="94"/>
                    <a:pt x="177" y="95"/>
                    <a:pt x="176" y="95"/>
                  </a:cubicBezTo>
                  <a:cubicBezTo>
                    <a:pt x="175" y="96"/>
                    <a:pt x="174" y="95"/>
                    <a:pt x="173" y="96"/>
                  </a:cubicBezTo>
                  <a:cubicBezTo>
                    <a:pt x="171" y="96"/>
                    <a:pt x="170" y="97"/>
                    <a:pt x="168" y="97"/>
                  </a:cubicBezTo>
                  <a:cubicBezTo>
                    <a:pt x="167" y="98"/>
                    <a:pt x="167" y="98"/>
                    <a:pt x="166" y="99"/>
                  </a:cubicBezTo>
                  <a:cubicBezTo>
                    <a:pt x="165" y="100"/>
                    <a:pt x="163" y="101"/>
                    <a:pt x="161" y="101"/>
                  </a:cubicBezTo>
                  <a:cubicBezTo>
                    <a:pt x="160" y="102"/>
                    <a:pt x="159" y="103"/>
                    <a:pt x="157" y="104"/>
                  </a:cubicBezTo>
                  <a:cubicBezTo>
                    <a:pt x="157" y="104"/>
                    <a:pt x="157" y="105"/>
                    <a:pt x="156" y="105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56" y="107"/>
                    <a:pt x="155" y="107"/>
                    <a:pt x="155" y="107"/>
                  </a:cubicBezTo>
                  <a:cubicBezTo>
                    <a:pt x="155" y="108"/>
                    <a:pt x="155" y="109"/>
                    <a:pt x="155" y="110"/>
                  </a:cubicBezTo>
                  <a:cubicBezTo>
                    <a:pt x="155" y="111"/>
                    <a:pt x="154" y="112"/>
                    <a:pt x="154" y="113"/>
                  </a:cubicBezTo>
                  <a:cubicBezTo>
                    <a:pt x="153" y="114"/>
                    <a:pt x="153" y="114"/>
                    <a:pt x="151" y="114"/>
                  </a:cubicBezTo>
                  <a:cubicBezTo>
                    <a:pt x="149" y="114"/>
                    <a:pt x="148" y="114"/>
                    <a:pt x="146" y="114"/>
                  </a:cubicBezTo>
                  <a:cubicBezTo>
                    <a:pt x="145" y="115"/>
                    <a:pt x="143" y="115"/>
                    <a:pt x="142" y="116"/>
                  </a:cubicBezTo>
                  <a:cubicBezTo>
                    <a:pt x="141" y="116"/>
                    <a:pt x="141" y="117"/>
                    <a:pt x="141" y="117"/>
                  </a:cubicBezTo>
                  <a:cubicBezTo>
                    <a:pt x="140" y="118"/>
                    <a:pt x="138" y="119"/>
                    <a:pt x="137" y="120"/>
                  </a:cubicBezTo>
                  <a:cubicBezTo>
                    <a:pt x="136" y="120"/>
                    <a:pt x="135" y="120"/>
                    <a:pt x="133" y="121"/>
                  </a:cubicBezTo>
                  <a:cubicBezTo>
                    <a:pt x="132" y="122"/>
                    <a:pt x="132" y="122"/>
                    <a:pt x="131" y="124"/>
                  </a:cubicBezTo>
                  <a:cubicBezTo>
                    <a:pt x="131" y="125"/>
                    <a:pt x="131" y="125"/>
                    <a:pt x="130" y="126"/>
                  </a:cubicBezTo>
                  <a:cubicBezTo>
                    <a:pt x="130" y="126"/>
                    <a:pt x="130" y="127"/>
                    <a:pt x="130" y="127"/>
                  </a:cubicBezTo>
                  <a:cubicBezTo>
                    <a:pt x="130" y="130"/>
                    <a:pt x="130" y="133"/>
                    <a:pt x="130" y="136"/>
                  </a:cubicBezTo>
                  <a:cubicBezTo>
                    <a:pt x="130" y="140"/>
                    <a:pt x="131" y="144"/>
                    <a:pt x="130" y="148"/>
                  </a:cubicBezTo>
                  <a:cubicBezTo>
                    <a:pt x="130" y="149"/>
                    <a:pt x="129" y="151"/>
                    <a:pt x="129" y="152"/>
                  </a:cubicBezTo>
                  <a:cubicBezTo>
                    <a:pt x="128" y="155"/>
                    <a:pt x="127" y="156"/>
                    <a:pt x="126" y="158"/>
                  </a:cubicBezTo>
                  <a:cubicBezTo>
                    <a:pt x="125" y="160"/>
                    <a:pt x="124" y="161"/>
                    <a:pt x="123" y="163"/>
                  </a:cubicBezTo>
                  <a:cubicBezTo>
                    <a:pt x="123" y="163"/>
                    <a:pt x="122" y="164"/>
                    <a:pt x="122" y="165"/>
                  </a:cubicBezTo>
                  <a:cubicBezTo>
                    <a:pt x="121" y="166"/>
                    <a:pt x="121" y="167"/>
                    <a:pt x="121" y="168"/>
                  </a:cubicBezTo>
                  <a:cubicBezTo>
                    <a:pt x="121" y="169"/>
                    <a:pt x="121" y="170"/>
                    <a:pt x="121" y="171"/>
                  </a:cubicBezTo>
                  <a:cubicBezTo>
                    <a:pt x="121" y="173"/>
                    <a:pt x="122" y="172"/>
                    <a:pt x="123" y="174"/>
                  </a:cubicBezTo>
                  <a:cubicBezTo>
                    <a:pt x="124" y="174"/>
                    <a:pt x="124" y="176"/>
                    <a:pt x="124" y="176"/>
                  </a:cubicBezTo>
                  <a:cubicBezTo>
                    <a:pt x="125" y="177"/>
                    <a:pt x="126" y="178"/>
                    <a:pt x="127" y="179"/>
                  </a:cubicBezTo>
                  <a:cubicBezTo>
                    <a:pt x="128" y="179"/>
                    <a:pt x="129" y="180"/>
                    <a:pt x="129" y="181"/>
                  </a:cubicBezTo>
                  <a:cubicBezTo>
                    <a:pt x="131" y="183"/>
                    <a:pt x="133" y="186"/>
                    <a:pt x="131" y="189"/>
                  </a:cubicBezTo>
                  <a:cubicBezTo>
                    <a:pt x="131" y="190"/>
                    <a:pt x="129" y="191"/>
                    <a:pt x="128" y="191"/>
                  </a:cubicBezTo>
                  <a:cubicBezTo>
                    <a:pt x="126" y="191"/>
                    <a:pt x="122" y="191"/>
                    <a:pt x="120" y="191"/>
                  </a:cubicBezTo>
                  <a:cubicBezTo>
                    <a:pt x="118" y="190"/>
                    <a:pt x="118" y="190"/>
                    <a:pt x="118" y="188"/>
                  </a:cubicBezTo>
                  <a:cubicBezTo>
                    <a:pt x="118" y="187"/>
                    <a:pt x="118" y="185"/>
                    <a:pt x="119" y="184"/>
                  </a:cubicBezTo>
                  <a:cubicBezTo>
                    <a:pt x="119" y="182"/>
                    <a:pt x="120" y="182"/>
                    <a:pt x="120" y="180"/>
                  </a:cubicBezTo>
                  <a:cubicBezTo>
                    <a:pt x="120" y="178"/>
                    <a:pt x="118" y="178"/>
                    <a:pt x="118" y="176"/>
                  </a:cubicBezTo>
                  <a:cubicBezTo>
                    <a:pt x="116" y="176"/>
                    <a:pt x="113" y="176"/>
                    <a:pt x="110" y="176"/>
                  </a:cubicBezTo>
                  <a:cubicBezTo>
                    <a:pt x="110" y="176"/>
                    <a:pt x="110" y="176"/>
                    <a:pt x="109" y="176"/>
                  </a:cubicBezTo>
                  <a:cubicBezTo>
                    <a:pt x="109" y="177"/>
                    <a:pt x="109" y="177"/>
                    <a:pt x="108" y="177"/>
                  </a:cubicBezTo>
                  <a:cubicBezTo>
                    <a:pt x="108" y="177"/>
                    <a:pt x="108" y="177"/>
                    <a:pt x="107" y="177"/>
                  </a:cubicBezTo>
                  <a:cubicBezTo>
                    <a:pt x="103" y="176"/>
                    <a:pt x="99" y="180"/>
                    <a:pt x="99" y="184"/>
                  </a:cubicBezTo>
                  <a:cubicBezTo>
                    <a:pt x="99" y="187"/>
                    <a:pt x="100" y="192"/>
                    <a:pt x="95" y="192"/>
                  </a:cubicBezTo>
                  <a:cubicBezTo>
                    <a:pt x="94" y="192"/>
                    <a:pt x="92" y="192"/>
                    <a:pt x="91" y="191"/>
                  </a:cubicBezTo>
                  <a:cubicBezTo>
                    <a:pt x="89" y="191"/>
                    <a:pt x="89" y="189"/>
                    <a:pt x="88" y="188"/>
                  </a:cubicBezTo>
                  <a:cubicBezTo>
                    <a:pt x="86" y="188"/>
                    <a:pt x="83" y="189"/>
                    <a:pt x="82" y="190"/>
                  </a:cubicBezTo>
                  <a:cubicBezTo>
                    <a:pt x="80" y="190"/>
                    <a:pt x="79" y="193"/>
                    <a:pt x="79" y="194"/>
                  </a:cubicBezTo>
                  <a:cubicBezTo>
                    <a:pt x="79" y="195"/>
                    <a:pt x="79" y="197"/>
                    <a:pt x="79" y="198"/>
                  </a:cubicBezTo>
                  <a:cubicBezTo>
                    <a:pt x="79" y="200"/>
                    <a:pt x="81" y="201"/>
                    <a:pt x="80" y="203"/>
                  </a:cubicBezTo>
                  <a:cubicBezTo>
                    <a:pt x="79" y="204"/>
                    <a:pt x="78" y="203"/>
                    <a:pt x="77" y="204"/>
                  </a:cubicBezTo>
                  <a:cubicBezTo>
                    <a:pt x="76" y="205"/>
                    <a:pt x="76" y="205"/>
                    <a:pt x="75" y="206"/>
                  </a:cubicBezTo>
                  <a:cubicBezTo>
                    <a:pt x="75" y="206"/>
                    <a:pt x="74" y="206"/>
                    <a:pt x="74" y="206"/>
                  </a:cubicBezTo>
                  <a:cubicBezTo>
                    <a:pt x="70" y="208"/>
                    <a:pt x="73" y="204"/>
                    <a:pt x="72" y="202"/>
                  </a:cubicBezTo>
                  <a:cubicBezTo>
                    <a:pt x="71" y="202"/>
                    <a:pt x="70" y="203"/>
                    <a:pt x="69" y="204"/>
                  </a:cubicBezTo>
                  <a:cubicBezTo>
                    <a:pt x="69" y="204"/>
                    <a:pt x="68" y="204"/>
                    <a:pt x="67" y="204"/>
                  </a:cubicBezTo>
                  <a:cubicBezTo>
                    <a:pt x="67" y="205"/>
                    <a:pt x="66" y="205"/>
                    <a:pt x="66" y="206"/>
                  </a:cubicBezTo>
                  <a:cubicBezTo>
                    <a:pt x="65" y="206"/>
                    <a:pt x="64" y="207"/>
                    <a:pt x="64" y="207"/>
                  </a:cubicBezTo>
                  <a:cubicBezTo>
                    <a:pt x="62" y="208"/>
                    <a:pt x="61" y="208"/>
                    <a:pt x="60" y="209"/>
                  </a:cubicBezTo>
                  <a:cubicBezTo>
                    <a:pt x="59" y="211"/>
                    <a:pt x="59" y="212"/>
                    <a:pt x="57" y="212"/>
                  </a:cubicBezTo>
                  <a:cubicBezTo>
                    <a:pt x="54" y="214"/>
                    <a:pt x="51" y="211"/>
                    <a:pt x="48" y="210"/>
                  </a:cubicBezTo>
                  <a:cubicBezTo>
                    <a:pt x="46" y="209"/>
                    <a:pt x="42" y="210"/>
                    <a:pt x="39" y="209"/>
                  </a:cubicBezTo>
                  <a:cubicBezTo>
                    <a:pt x="39" y="209"/>
                    <a:pt x="39" y="208"/>
                    <a:pt x="39" y="208"/>
                  </a:cubicBezTo>
                  <a:cubicBezTo>
                    <a:pt x="38" y="210"/>
                    <a:pt x="33" y="208"/>
                    <a:pt x="31" y="208"/>
                  </a:cubicBezTo>
                  <a:cubicBezTo>
                    <a:pt x="31" y="208"/>
                    <a:pt x="30" y="208"/>
                    <a:pt x="29" y="207"/>
                  </a:cubicBezTo>
                  <a:cubicBezTo>
                    <a:pt x="28" y="207"/>
                    <a:pt x="28" y="207"/>
                    <a:pt x="27" y="206"/>
                  </a:cubicBezTo>
                  <a:cubicBezTo>
                    <a:pt x="26" y="206"/>
                    <a:pt x="25" y="206"/>
                    <a:pt x="24" y="206"/>
                  </a:cubicBezTo>
                  <a:cubicBezTo>
                    <a:pt x="21" y="206"/>
                    <a:pt x="19" y="206"/>
                    <a:pt x="16" y="207"/>
                  </a:cubicBezTo>
                  <a:cubicBezTo>
                    <a:pt x="14" y="207"/>
                    <a:pt x="14" y="207"/>
                    <a:pt x="13" y="209"/>
                  </a:cubicBezTo>
                  <a:cubicBezTo>
                    <a:pt x="12" y="209"/>
                    <a:pt x="11" y="210"/>
                    <a:pt x="11" y="211"/>
                  </a:cubicBezTo>
                  <a:cubicBezTo>
                    <a:pt x="10" y="212"/>
                    <a:pt x="10" y="212"/>
                    <a:pt x="10" y="212"/>
                  </a:cubicBezTo>
                  <a:cubicBezTo>
                    <a:pt x="11" y="215"/>
                    <a:pt x="13" y="217"/>
                    <a:pt x="14" y="220"/>
                  </a:cubicBezTo>
                  <a:cubicBezTo>
                    <a:pt x="14" y="222"/>
                    <a:pt x="13" y="223"/>
                    <a:pt x="12" y="225"/>
                  </a:cubicBezTo>
                  <a:cubicBezTo>
                    <a:pt x="11" y="227"/>
                    <a:pt x="11" y="227"/>
                    <a:pt x="11" y="230"/>
                  </a:cubicBezTo>
                  <a:cubicBezTo>
                    <a:pt x="11" y="234"/>
                    <a:pt x="14" y="236"/>
                    <a:pt x="15" y="239"/>
                  </a:cubicBezTo>
                  <a:cubicBezTo>
                    <a:pt x="17" y="244"/>
                    <a:pt x="20" y="248"/>
                    <a:pt x="22" y="253"/>
                  </a:cubicBezTo>
                  <a:cubicBezTo>
                    <a:pt x="25" y="259"/>
                    <a:pt x="26" y="264"/>
                    <a:pt x="28" y="270"/>
                  </a:cubicBezTo>
                  <a:cubicBezTo>
                    <a:pt x="30" y="273"/>
                    <a:pt x="31" y="277"/>
                    <a:pt x="33" y="279"/>
                  </a:cubicBezTo>
                  <a:cubicBezTo>
                    <a:pt x="33" y="281"/>
                    <a:pt x="34" y="281"/>
                    <a:pt x="35" y="282"/>
                  </a:cubicBezTo>
                  <a:cubicBezTo>
                    <a:pt x="35" y="284"/>
                    <a:pt x="34" y="287"/>
                    <a:pt x="34" y="289"/>
                  </a:cubicBezTo>
                  <a:cubicBezTo>
                    <a:pt x="35" y="291"/>
                    <a:pt x="35" y="291"/>
                    <a:pt x="36" y="293"/>
                  </a:cubicBezTo>
                  <a:cubicBezTo>
                    <a:pt x="37" y="293"/>
                    <a:pt x="37" y="294"/>
                    <a:pt x="38" y="294"/>
                  </a:cubicBezTo>
                  <a:cubicBezTo>
                    <a:pt x="39" y="295"/>
                    <a:pt x="39" y="293"/>
                    <a:pt x="40" y="293"/>
                  </a:cubicBezTo>
                  <a:cubicBezTo>
                    <a:pt x="44" y="292"/>
                    <a:pt x="43" y="296"/>
                    <a:pt x="43" y="298"/>
                  </a:cubicBezTo>
                  <a:cubicBezTo>
                    <a:pt x="43" y="300"/>
                    <a:pt x="43" y="302"/>
                    <a:pt x="43" y="304"/>
                  </a:cubicBezTo>
                  <a:cubicBezTo>
                    <a:pt x="43" y="306"/>
                    <a:pt x="43" y="307"/>
                    <a:pt x="42" y="309"/>
                  </a:cubicBezTo>
                  <a:cubicBezTo>
                    <a:pt x="42" y="310"/>
                    <a:pt x="41" y="311"/>
                    <a:pt x="40" y="312"/>
                  </a:cubicBezTo>
                  <a:cubicBezTo>
                    <a:pt x="40" y="313"/>
                    <a:pt x="40" y="315"/>
                    <a:pt x="40" y="316"/>
                  </a:cubicBezTo>
                  <a:cubicBezTo>
                    <a:pt x="40" y="318"/>
                    <a:pt x="39" y="320"/>
                    <a:pt x="38" y="321"/>
                  </a:cubicBezTo>
                  <a:cubicBezTo>
                    <a:pt x="37" y="323"/>
                    <a:pt x="38" y="323"/>
                    <a:pt x="35" y="324"/>
                  </a:cubicBezTo>
                  <a:cubicBezTo>
                    <a:pt x="32" y="324"/>
                    <a:pt x="30" y="323"/>
                    <a:pt x="27" y="324"/>
                  </a:cubicBezTo>
                  <a:cubicBezTo>
                    <a:pt x="25" y="325"/>
                    <a:pt x="24" y="326"/>
                    <a:pt x="23" y="327"/>
                  </a:cubicBezTo>
                  <a:cubicBezTo>
                    <a:pt x="22" y="328"/>
                    <a:pt x="21" y="328"/>
                    <a:pt x="21" y="329"/>
                  </a:cubicBezTo>
                  <a:cubicBezTo>
                    <a:pt x="20" y="329"/>
                    <a:pt x="20" y="331"/>
                    <a:pt x="20" y="331"/>
                  </a:cubicBezTo>
                  <a:cubicBezTo>
                    <a:pt x="19" y="333"/>
                    <a:pt x="19" y="334"/>
                    <a:pt x="18" y="336"/>
                  </a:cubicBezTo>
                  <a:cubicBezTo>
                    <a:pt x="17" y="338"/>
                    <a:pt x="18" y="337"/>
                    <a:pt x="16" y="338"/>
                  </a:cubicBezTo>
                  <a:cubicBezTo>
                    <a:pt x="14" y="341"/>
                    <a:pt x="11" y="342"/>
                    <a:pt x="8" y="344"/>
                  </a:cubicBezTo>
                  <a:cubicBezTo>
                    <a:pt x="6" y="345"/>
                    <a:pt x="4" y="346"/>
                    <a:pt x="3" y="347"/>
                  </a:cubicBezTo>
                  <a:cubicBezTo>
                    <a:pt x="3" y="349"/>
                    <a:pt x="3" y="351"/>
                    <a:pt x="2" y="352"/>
                  </a:cubicBezTo>
                  <a:cubicBezTo>
                    <a:pt x="1" y="355"/>
                    <a:pt x="0" y="360"/>
                    <a:pt x="4" y="360"/>
                  </a:cubicBezTo>
                  <a:cubicBezTo>
                    <a:pt x="8" y="359"/>
                    <a:pt x="8" y="360"/>
                    <a:pt x="10" y="363"/>
                  </a:cubicBezTo>
                  <a:cubicBezTo>
                    <a:pt x="11" y="365"/>
                    <a:pt x="12" y="367"/>
                    <a:pt x="14" y="368"/>
                  </a:cubicBezTo>
                  <a:cubicBezTo>
                    <a:pt x="16" y="368"/>
                    <a:pt x="16" y="368"/>
                    <a:pt x="18" y="370"/>
                  </a:cubicBezTo>
                  <a:cubicBezTo>
                    <a:pt x="19" y="371"/>
                    <a:pt x="20" y="372"/>
                    <a:pt x="21" y="373"/>
                  </a:cubicBezTo>
                  <a:cubicBezTo>
                    <a:pt x="22" y="375"/>
                    <a:pt x="23" y="375"/>
                    <a:pt x="23" y="377"/>
                  </a:cubicBezTo>
                  <a:cubicBezTo>
                    <a:pt x="23" y="377"/>
                    <a:pt x="23" y="379"/>
                    <a:pt x="23" y="380"/>
                  </a:cubicBezTo>
                  <a:cubicBezTo>
                    <a:pt x="23" y="381"/>
                    <a:pt x="22" y="380"/>
                    <a:pt x="22" y="381"/>
                  </a:cubicBezTo>
                  <a:cubicBezTo>
                    <a:pt x="20" y="382"/>
                    <a:pt x="21" y="383"/>
                    <a:pt x="21" y="385"/>
                  </a:cubicBezTo>
                  <a:cubicBezTo>
                    <a:pt x="20" y="388"/>
                    <a:pt x="19" y="390"/>
                    <a:pt x="18" y="392"/>
                  </a:cubicBezTo>
                  <a:cubicBezTo>
                    <a:pt x="17" y="394"/>
                    <a:pt x="17" y="394"/>
                    <a:pt x="16" y="396"/>
                  </a:cubicBezTo>
                  <a:cubicBezTo>
                    <a:pt x="16" y="397"/>
                    <a:pt x="16" y="399"/>
                    <a:pt x="16" y="400"/>
                  </a:cubicBezTo>
                  <a:cubicBezTo>
                    <a:pt x="15" y="402"/>
                    <a:pt x="14" y="402"/>
                    <a:pt x="13" y="404"/>
                  </a:cubicBezTo>
                  <a:cubicBezTo>
                    <a:pt x="13" y="406"/>
                    <a:pt x="13" y="408"/>
                    <a:pt x="13" y="410"/>
                  </a:cubicBezTo>
                  <a:cubicBezTo>
                    <a:pt x="13" y="413"/>
                    <a:pt x="12" y="416"/>
                    <a:pt x="15" y="417"/>
                  </a:cubicBezTo>
                  <a:cubicBezTo>
                    <a:pt x="17" y="418"/>
                    <a:pt x="17" y="416"/>
                    <a:pt x="19" y="418"/>
                  </a:cubicBezTo>
                  <a:cubicBezTo>
                    <a:pt x="22" y="418"/>
                    <a:pt x="25" y="417"/>
                    <a:pt x="28" y="416"/>
                  </a:cubicBezTo>
                  <a:cubicBezTo>
                    <a:pt x="31" y="416"/>
                    <a:pt x="32" y="416"/>
                    <a:pt x="35" y="414"/>
                  </a:cubicBezTo>
                  <a:cubicBezTo>
                    <a:pt x="37" y="412"/>
                    <a:pt x="42" y="412"/>
                    <a:pt x="43" y="408"/>
                  </a:cubicBezTo>
                  <a:cubicBezTo>
                    <a:pt x="45" y="405"/>
                    <a:pt x="43" y="402"/>
                    <a:pt x="46" y="399"/>
                  </a:cubicBezTo>
                  <a:cubicBezTo>
                    <a:pt x="47" y="397"/>
                    <a:pt x="49" y="396"/>
                    <a:pt x="50" y="396"/>
                  </a:cubicBezTo>
                  <a:cubicBezTo>
                    <a:pt x="51" y="396"/>
                    <a:pt x="52" y="396"/>
                    <a:pt x="53" y="396"/>
                  </a:cubicBezTo>
                  <a:cubicBezTo>
                    <a:pt x="53" y="396"/>
                    <a:pt x="55" y="394"/>
                    <a:pt x="55" y="394"/>
                  </a:cubicBezTo>
                  <a:cubicBezTo>
                    <a:pt x="57" y="392"/>
                    <a:pt x="60" y="391"/>
                    <a:pt x="63" y="392"/>
                  </a:cubicBezTo>
                  <a:cubicBezTo>
                    <a:pt x="65" y="392"/>
                    <a:pt x="67" y="392"/>
                    <a:pt x="69" y="393"/>
                  </a:cubicBezTo>
                  <a:cubicBezTo>
                    <a:pt x="71" y="393"/>
                    <a:pt x="73" y="395"/>
                    <a:pt x="75" y="395"/>
                  </a:cubicBezTo>
                  <a:cubicBezTo>
                    <a:pt x="76" y="395"/>
                    <a:pt x="78" y="395"/>
                    <a:pt x="80" y="394"/>
                  </a:cubicBezTo>
                  <a:cubicBezTo>
                    <a:pt x="83" y="394"/>
                    <a:pt x="86" y="391"/>
                    <a:pt x="89" y="392"/>
                  </a:cubicBezTo>
                  <a:cubicBezTo>
                    <a:pt x="91" y="392"/>
                    <a:pt x="92" y="392"/>
                    <a:pt x="94" y="392"/>
                  </a:cubicBezTo>
                  <a:cubicBezTo>
                    <a:pt x="98" y="392"/>
                    <a:pt x="102" y="393"/>
                    <a:pt x="106" y="393"/>
                  </a:cubicBezTo>
                  <a:cubicBezTo>
                    <a:pt x="110" y="393"/>
                    <a:pt x="114" y="394"/>
                    <a:pt x="118" y="394"/>
                  </a:cubicBezTo>
                  <a:cubicBezTo>
                    <a:pt x="120" y="394"/>
                    <a:pt x="123" y="393"/>
                    <a:pt x="124" y="394"/>
                  </a:cubicBezTo>
                  <a:cubicBezTo>
                    <a:pt x="125" y="394"/>
                    <a:pt x="126" y="395"/>
                    <a:pt x="127" y="395"/>
                  </a:cubicBezTo>
                  <a:cubicBezTo>
                    <a:pt x="128" y="396"/>
                    <a:pt x="130" y="396"/>
                    <a:pt x="131" y="396"/>
                  </a:cubicBezTo>
                  <a:cubicBezTo>
                    <a:pt x="133" y="396"/>
                    <a:pt x="135" y="396"/>
                    <a:pt x="138" y="397"/>
                  </a:cubicBezTo>
                  <a:cubicBezTo>
                    <a:pt x="139" y="397"/>
                    <a:pt x="141" y="398"/>
                    <a:pt x="143" y="398"/>
                  </a:cubicBezTo>
                  <a:cubicBezTo>
                    <a:pt x="144" y="398"/>
                    <a:pt x="147" y="397"/>
                    <a:pt x="148" y="398"/>
                  </a:cubicBezTo>
                  <a:cubicBezTo>
                    <a:pt x="151" y="399"/>
                    <a:pt x="150" y="402"/>
                    <a:pt x="152" y="403"/>
                  </a:cubicBezTo>
                  <a:cubicBezTo>
                    <a:pt x="154" y="404"/>
                    <a:pt x="157" y="403"/>
                    <a:pt x="159" y="402"/>
                  </a:cubicBezTo>
                  <a:cubicBezTo>
                    <a:pt x="163" y="402"/>
                    <a:pt x="166" y="402"/>
                    <a:pt x="169" y="402"/>
                  </a:cubicBezTo>
                  <a:cubicBezTo>
                    <a:pt x="171" y="403"/>
                    <a:pt x="174" y="404"/>
                    <a:pt x="176" y="405"/>
                  </a:cubicBezTo>
                  <a:cubicBezTo>
                    <a:pt x="178" y="406"/>
                    <a:pt x="180" y="408"/>
                    <a:pt x="183" y="409"/>
                  </a:cubicBezTo>
                  <a:cubicBezTo>
                    <a:pt x="188" y="410"/>
                    <a:pt x="195" y="401"/>
                    <a:pt x="200" y="407"/>
                  </a:cubicBezTo>
                  <a:cubicBezTo>
                    <a:pt x="201" y="408"/>
                    <a:pt x="201" y="410"/>
                    <a:pt x="202" y="412"/>
                  </a:cubicBezTo>
                  <a:cubicBezTo>
                    <a:pt x="202" y="412"/>
                    <a:pt x="203" y="413"/>
                    <a:pt x="203" y="414"/>
                  </a:cubicBezTo>
                  <a:cubicBezTo>
                    <a:pt x="204" y="415"/>
                    <a:pt x="204" y="415"/>
                    <a:pt x="204" y="416"/>
                  </a:cubicBezTo>
                  <a:cubicBezTo>
                    <a:pt x="205" y="418"/>
                    <a:pt x="205" y="418"/>
                    <a:pt x="206" y="419"/>
                  </a:cubicBezTo>
                  <a:cubicBezTo>
                    <a:pt x="206" y="420"/>
                    <a:pt x="206" y="421"/>
                    <a:pt x="207" y="422"/>
                  </a:cubicBezTo>
                  <a:cubicBezTo>
                    <a:pt x="209" y="423"/>
                    <a:pt x="212" y="420"/>
                    <a:pt x="215" y="420"/>
                  </a:cubicBezTo>
                  <a:cubicBezTo>
                    <a:pt x="218" y="420"/>
                    <a:pt x="221" y="420"/>
                    <a:pt x="222" y="423"/>
                  </a:cubicBezTo>
                  <a:cubicBezTo>
                    <a:pt x="223" y="426"/>
                    <a:pt x="224" y="429"/>
                    <a:pt x="225" y="431"/>
                  </a:cubicBezTo>
                  <a:cubicBezTo>
                    <a:pt x="227" y="434"/>
                    <a:pt x="228" y="434"/>
                    <a:pt x="231" y="432"/>
                  </a:cubicBezTo>
                  <a:cubicBezTo>
                    <a:pt x="233" y="430"/>
                    <a:pt x="234" y="429"/>
                    <a:pt x="235" y="427"/>
                  </a:cubicBezTo>
                  <a:cubicBezTo>
                    <a:pt x="235" y="425"/>
                    <a:pt x="234" y="422"/>
                    <a:pt x="236" y="421"/>
                  </a:cubicBezTo>
                  <a:cubicBezTo>
                    <a:pt x="237" y="420"/>
                    <a:pt x="240" y="423"/>
                    <a:pt x="242" y="423"/>
                  </a:cubicBezTo>
                  <a:cubicBezTo>
                    <a:pt x="245" y="423"/>
                    <a:pt x="246" y="422"/>
                    <a:pt x="247" y="420"/>
                  </a:cubicBezTo>
                  <a:cubicBezTo>
                    <a:pt x="247" y="418"/>
                    <a:pt x="248" y="413"/>
                    <a:pt x="251" y="414"/>
                  </a:cubicBezTo>
                  <a:cubicBezTo>
                    <a:pt x="255" y="414"/>
                    <a:pt x="257" y="423"/>
                    <a:pt x="258" y="426"/>
                  </a:cubicBezTo>
                  <a:cubicBezTo>
                    <a:pt x="260" y="429"/>
                    <a:pt x="261" y="430"/>
                    <a:pt x="263" y="429"/>
                  </a:cubicBezTo>
                  <a:cubicBezTo>
                    <a:pt x="264" y="428"/>
                    <a:pt x="265" y="426"/>
                    <a:pt x="267" y="425"/>
                  </a:cubicBezTo>
                  <a:cubicBezTo>
                    <a:pt x="268" y="425"/>
                    <a:pt x="271" y="425"/>
                    <a:pt x="272" y="425"/>
                  </a:cubicBezTo>
                  <a:cubicBezTo>
                    <a:pt x="278" y="427"/>
                    <a:pt x="276" y="436"/>
                    <a:pt x="276" y="441"/>
                  </a:cubicBezTo>
                  <a:cubicBezTo>
                    <a:pt x="278" y="441"/>
                    <a:pt x="281" y="441"/>
                    <a:pt x="282" y="440"/>
                  </a:cubicBezTo>
                  <a:cubicBezTo>
                    <a:pt x="284" y="439"/>
                    <a:pt x="282" y="434"/>
                    <a:pt x="282" y="432"/>
                  </a:cubicBezTo>
                  <a:cubicBezTo>
                    <a:pt x="283" y="430"/>
                    <a:pt x="283" y="431"/>
                    <a:pt x="286" y="430"/>
                  </a:cubicBezTo>
                  <a:cubicBezTo>
                    <a:pt x="288" y="429"/>
                    <a:pt x="289" y="429"/>
                    <a:pt x="291" y="428"/>
                  </a:cubicBezTo>
                  <a:cubicBezTo>
                    <a:pt x="293" y="428"/>
                    <a:pt x="295" y="427"/>
                    <a:pt x="296" y="425"/>
                  </a:cubicBezTo>
                  <a:cubicBezTo>
                    <a:pt x="297" y="424"/>
                    <a:pt x="297" y="422"/>
                    <a:pt x="299" y="421"/>
                  </a:cubicBezTo>
                  <a:cubicBezTo>
                    <a:pt x="304" y="419"/>
                    <a:pt x="306" y="424"/>
                    <a:pt x="307" y="427"/>
                  </a:cubicBezTo>
                  <a:cubicBezTo>
                    <a:pt x="307" y="431"/>
                    <a:pt x="309" y="438"/>
                    <a:pt x="312" y="441"/>
                  </a:cubicBezTo>
                  <a:cubicBezTo>
                    <a:pt x="313" y="442"/>
                    <a:pt x="316" y="443"/>
                    <a:pt x="318" y="443"/>
                  </a:cubicBezTo>
                  <a:cubicBezTo>
                    <a:pt x="320" y="442"/>
                    <a:pt x="320" y="441"/>
                    <a:pt x="321" y="440"/>
                  </a:cubicBezTo>
                  <a:cubicBezTo>
                    <a:pt x="322" y="438"/>
                    <a:pt x="322" y="437"/>
                    <a:pt x="322" y="435"/>
                  </a:cubicBezTo>
                  <a:cubicBezTo>
                    <a:pt x="323" y="430"/>
                    <a:pt x="328" y="427"/>
                    <a:pt x="332" y="429"/>
                  </a:cubicBezTo>
                  <a:cubicBezTo>
                    <a:pt x="335" y="430"/>
                    <a:pt x="336" y="433"/>
                    <a:pt x="336" y="436"/>
                  </a:cubicBezTo>
                  <a:cubicBezTo>
                    <a:pt x="339" y="436"/>
                    <a:pt x="343" y="436"/>
                    <a:pt x="346" y="436"/>
                  </a:cubicBezTo>
                  <a:cubicBezTo>
                    <a:pt x="350" y="435"/>
                    <a:pt x="354" y="431"/>
                    <a:pt x="357" y="433"/>
                  </a:cubicBezTo>
                  <a:cubicBezTo>
                    <a:pt x="360" y="434"/>
                    <a:pt x="361" y="439"/>
                    <a:pt x="363" y="440"/>
                  </a:cubicBezTo>
                  <a:cubicBezTo>
                    <a:pt x="365" y="442"/>
                    <a:pt x="368" y="442"/>
                    <a:pt x="370" y="445"/>
                  </a:cubicBezTo>
                  <a:cubicBezTo>
                    <a:pt x="372" y="447"/>
                    <a:pt x="374" y="449"/>
                    <a:pt x="376" y="451"/>
                  </a:cubicBezTo>
                  <a:cubicBezTo>
                    <a:pt x="377" y="452"/>
                    <a:pt x="378" y="453"/>
                    <a:pt x="380" y="453"/>
                  </a:cubicBezTo>
                  <a:cubicBezTo>
                    <a:pt x="383" y="454"/>
                    <a:pt x="385" y="451"/>
                    <a:pt x="386" y="449"/>
                  </a:cubicBezTo>
                  <a:cubicBezTo>
                    <a:pt x="387" y="446"/>
                    <a:pt x="385" y="443"/>
                    <a:pt x="384" y="440"/>
                  </a:cubicBezTo>
                  <a:cubicBezTo>
                    <a:pt x="382" y="432"/>
                    <a:pt x="380" y="423"/>
                    <a:pt x="385" y="415"/>
                  </a:cubicBezTo>
                  <a:cubicBezTo>
                    <a:pt x="387" y="412"/>
                    <a:pt x="389" y="409"/>
                    <a:pt x="391" y="406"/>
                  </a:cubicBezTo>
                  <a:cubicBezTo>
                    <a:pt x="392" y="404"/>
                    <a:pt x="392" y="403"/>
                    <a:pt x="394" y="402"/>
                  </a:cubicBezTo>
                  <a:cubicBezTo>
                    <a:pt x="394" y="401"/>
                    <a:pt x="395" y="401"/>
                    <a:pt x="396" y="400"/>
                  </a:cubicBezTo>
                  <a:cubicBezTo>
                    <a:pt x="397" y="399"/>
                    <a:pt x="399" y="396"/>
                    <a:pt x="400" y="394"/>
                  </a:cubicBezTo>
                  <a:cubicBezTo>
                    <a:pt x="401" y="393"/>
                    <a:pt x="401" y="392"/>
                    <a:pt x="402" y="391"/>
                  </a:cubicBezTo>
                  <a:cubicBezTo>
                    <a:pt x="403" y="390"/>
                    <a:pt x="403" y="390"/>
                    <a:pt x="404" y="390"/>
                  </a:cubicBezTo>
                  <a:cubicBezTo>
                    <a:pt x="405" y="388"/>
                    <a:pt x="406" y="386"/>
                    <a:pt x="406" y="384"/>
                  </a:cubicBezTo>
                  <a:cubicBezTo>
                    <a:pt x="406" y="383"/>
                    <a:pt x="405" y="380"/>
                    <a:pt x="406" y="379"/>
                  </a:cubicBezTo>
                  <a:cubicBezTo>
                    <a:pt x="408" y="377"/>
                    <a:pt x="409" y="380"/>
                    <a:pt x="410" y="381"/>
                  </a:cubicBezTo>
                  <a:cubicBezTo>
                    <a:pt x="411" y="382"/>
                    <a:pt x="410" y="382"/>
                    <a:pt x="412" y="383"/>
                  </a:cubicBezTo>
                  <a:cubicBezTo>
                    <a:pt x="414" y="384"/>
                    <a:pt x="418" y="383"/>
                    <a:pt x="420" y="383"/>
                  </a:cubicBezTo>
                  <a:cubicBezTo>
                    <a:pt x="421" y="382"/>
                    <a:pt x="423" y="379"/>
                    <a:pt x="424" y="377"/>
                  </a:cubicBezTo>
                  <a:cubicBezTo>
                    <a:pt x="425" y="375"/>
                    <a:pt x="425" y="375"/>
                    <a:pt x="427" y="375"/>
                  </a:cubicBezTo>
                  <a:cubicBezTo>
                    <a:pt x="434" y="375"/>
                    <a:pt x="441" y="377"/>
                    <a:pt x="447" y="378"/>
                  </a:cubicBezTo>
                  <a:cubicBezTo>
                    <a:pt x="449" y="379"/>
                    <a:pt x="452" y="381"/>
                    <a:pt x="453" y="379"/>
                  </a:cubicBezTo>
                  <a:cubicBezTo>
                    <a:pt x="454" y="377"/>
                    <a:pt x="452" y="376"/>
                    <a:pt x="452" y="375"/>
                  </a:cubicBezTo>
                  <a:cubicBezTo>
                    <a:pt x="450" y="372"/>
                    <a:pt x="450" y="371"/>
                    <a:pt x="449" y="368"/>
                  </a:cubicBezTo>
                  <a:cubicBezTo>
                    <a:pt x="448" y="366"/>
                    <a:pt x="448" y="366"/>
                    <a:pt x="446" y="365"/>
                  </a:cubicBezTo>
                  <a:cubicBezTo>
                    <a:pt x="445" y="365"/>
                    <a:pt x="444" y="364"/>
                    <a:pt x="443" y="363"/>
                  </a:cubicBezTo>
                  <a:cubicBezTo>
                    <a:pt x="440" y="361"/>
                    <a:pt x="442" y="360"/>
                    <a:pt x="442" y="357"/>
                  </a:cubicBezTo>
                  <a:cubicBezTo>
                    <a:pt x="442" y="354"/>
                    <a:pt x="439" y="351"/>
                    <a:pt x="439" y="347"/>
                  </a:cubicBezTo>
                  <a:cubicBezTo>
                    <a:pt x="439" y="346"/>
                    <a:pt x="439" y="345"/>
                    <a:pt x="439" y="344"/>
                  </a:cubicBezTo>
                  <a:cubicBezTo>
                    <a:pt x="440" y="342"/>
                    <a:pt x="441" y="343"/>
                    <a:pt x="442" y="341"/>
                  </a:cubicBezTo>
                  <a:cubicBezTo>
                    <a:pt x="445" y="337"/>
                    <a:pt x="439" y="334"/>
                    <a:pt x="437" y="331"/>
                  </a:cubicBezTo>
                  <a:cubicBezTo>
                    <a:pt x="436" y="328"/>
                    <a:pt x="436" y="323"/>
                    <a:pt x="436" y="319"/>
                  </a:cubicBezTo>
                  <a:cubicBezTo>
                    <a:pt x="436" y="313"/>
                    <a:pt x="434" y="309"/>
                    <a:pt x="430" y="304"/>
                  </a:cubicBezTo>
                  <a:cubicBezTo>
                    <a:pt x="427" y="300"/>
                    <a:pt x="423" y="296"/>
                    <a:pt x="428" y="293"/>
                  </a:cubicBezTo>
                  <a:cubicBezTo>
                    <a:pt x="431" y="291"/>
                    <a:pt x="430" y="291"/>
                    <a:pt x="430" y="288"/>
                  </a:cubicBezTo>
                  <a:cubicBezTo>
                    <a:pt x="430" y="286"/>
                    <a:pt x="429" y="281"/>
                    <a:pt x="430" y="280"/>
                  </a:cubicBezTo>
                  <a:cubicBezTo>
                    <a:pt x="432" y="278"/>
                    <a:pt x="436" y="280"/>
                    <a:pt x="438" y="280"/>
                  </a:cubicBezTo>
                  <a:cubicBezTo>
                    <a:pt x="440" y="280"/>
                    <a:pt x="442" y="279"/>
                    <a:pt x="444" y="280"/>
                  </a:cubicBezTo>
                  <a:cubicBezTo>
                    <a:pt x="447" y="281"/>
                    <a:pt x="448" y="283"/>
                    <a:pt x="450" y="285"/>
                  </a:cubicBezTo>
                  <a:cubicBezTo>
                    <a:pt x="451" y="285"/>
                    <a:pt x="453" y="285"/>
                    <a:pt x="453" y="286"/>
                  </a:cubicBezTo>
                  <a:cubicBezTo>
                    <a:pt x="454" y="286"/>
                    <a:pt x="454" y="286"/>
                    <a:pt x="454" y="287"/>
                  </a:cubicBezTo>
                  <a:cubicBezTo>
                    <a:pt x="455" y="287"/>
                    <a:pt x="456" y="288"/>
                    <a:pt x="457" y="288"/>
                  </a:cubicBezTo>
                  <a:cubicBezTo>
                    <a:pt x="463" y="289"/>
                    <a:pt x="471" y="289"/>
                    <a:pt x="477" y="288"/>
                  </a:cubicBezTo>
                  <a:cubicBezTo>
                    <a:pt x="479" y="287"/>
                    <a:pt x="481" y="286"/>
                    <a:pt x="483" y="284"/>
                  </a:cubicBezTo>
                  <a:cubicBezTo>
                    <a:pt x="483" y="283"/>
                    <a:pt x="483" y="282"/>
                    <a:pt x="484" y="281"/>
                  </a:cubicBezTo>
                  <a:cubicBezTo>
                    <a:pt x="485" y="280"/>
                    <a:pt x="486" y="280"/>
                    <a:pt x="487" y="279"/>
                  </a:cubicBezTo>
                  <a:cubicBezTo>
                    <a:pt x="488" y="278"/>
                    <a:pt x="489" y="277"/>
                    <a:pt x="490" y="276"/>
                  </a:cubicBezTo>
                  <a:cubicBezTo>
                    <a:pt x="492" y="275"/>
                    <a:pt x="493" y="275"/>
                    <a:pt x="494" y="274"/>
                  </a:cubicBezTo>
                  <a:cubicBezTo>
                    <a:pt x="496" y="273"/>
                    <a:pt x="496" y="271"/>
                    <a:pt x="497" y="270"/>
                  </a:cubicBezTo>
                  <a:cubicBezTo>
                    <a:pt x="498" y="269"/>
                    <a:pt x="499" y="270"/>
                    <a:pt x="500" y="270"/>
                  </a:cubicBezTo>
                  <a:cubicBezTo>
                    <a:pt x="502" y="269"/>
                    <a:pt x="501" y="269"/>
                    <a:pt x="502" y="268"/>
                  </a:cubicBezTo>
                  <a:cubicBezTo>
                    <a:pt x="504" y="266"/>
                    <a:pt x="504" y="266"/>
                    <a:pt x="505" y="263"/>
                  </a:cubicBezTo>
                  <a:cubicBezTo>
                    <a:pt x="505" y="262"/>
                    <a:pt x="506" y="261"/>
                    <a:pt x="506" y="260"/>
                  </a:cubicBezTo>
                  <a:cubicBezTo>
                    <a:pt x="507" y="258"/>
                    <a:pt x="506" y="258"/>
                    <a:pt x="505" y="25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8" name="Freeform 39">
              <a:extLst>
                <a:ext uri="{FF2B5EF4-FFF2-40B4-BE49-F238E27FC236}">
                  <a16:creationId xmlns:a16="http://schemas.microsoft.com/office/drawing/2014/main" id="{3E09469D-ACC4-406C-B253-C91806206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2763" y="3159125"/>
              <a:ext cx="746125" cy="441325"/>
            </a:xfrm>
            <a:custGeom>
              <a:avLst/>
              <a:gdLst/>
              <a:ahLst/>
              <a:cxnLst>
                <a:cxn ang="0">
                  <a:pos x="394" y="150"/>
                </a:cxn>
                <a:cxn ang="0">
                  <a:pos x="386" y="137"/>
                </a:cxn>
                <a:cxn ang="0">
                  <a:pos x="375" y="124"/>
                </a:cxn>
                <a:cxn ang="0">
                  <a:pos x="376" y="94"/>
                </a:cxn>
                <a:cxn ang="0">
                  <a:pos x="378" y="77"/>
                </a:cxn>
                <a:cxn ang="0">
                  <a:pos x="359" y="56"/>
                </a:cxn>
                <a:cxn ang="0">
                  <a:pos x="349" y="50"/>
                </a:cxn>
                <a:cxn ang="0">
                  <a:pos x="332" y="49"/>
                </a:cxn>
                <a:cxn ang="0">
                  <a:pos x="311" y="53"/>
                </a:cxn>
                <a:cxn ang="0">
                  <a:pos x="294" y="48"/>
                </a:cxn>
                <a:cxn ang="0">
                  <a:pos x="279" y="32"/>
                </a:cxn>
                <a:cxn ang="0">
                  <a:pos x="255" y="15"/>
                </a:cxn>
                <a:cxn ang="0">
                  <a:pos x="237" y="7"/>
                </a:cxn>
                <a:cxn ang="0">
                  <a:pos x="219" y="10"/>
                </a:cxn>
                <a:cxn ang="0">
                  <a:pos x="192" y="22"/>
                </a:cxn>
                <a:cxn ang="0">
                  <a:pos x="189" y="60"/>
                </a:cxn>
                <a:cxn ang="0">
                  <a:pos x="174" y="94"/>
                </a:cxn>
                <a:cxn ang="0">
                  <a:pos x="146" y="109"/>
                </a:cxn>
                <a:cxn ang="0">
                  <a:pos x="127" y="96"/>
                </a:cxn>
                <a:cxn ang="0">
                  <a:pos x="124" y="77"/>
                </a:cxn>
                <a:cxn ang="0">
                  <a:pos x="110" y="64"/>
                </a:cxn>
                <a:cxn ang="0">
                  <a:pos x="96" y="50"/>
                </a:cxn>
                <a:cxn ang="0">
                  <a:pos x="93" y="33"/>
                </a:cxn>
                <a:cxn ang="0">
                  <a:pos x="75" y="38"/>
                </a:cxn>
                <a:cxn ang="0">
                  <a:pos x="57" y="51"/>
                </a:cxn>
                <a:cxn ang="0">
                  <a:pos x="39" y="58"/>
                </a:cxn>
                <a:cxn ang="0">
                  <a:pos x="28" y="75"/>
                </a:cxn>
                <a:cxn ang="0">
                  <a:pos x="17" y="117"/>
                </a:cxn>
                <a:cxn ang="0">
                  <a:pos x="8" y="131"/>
                </a:cxn>
                <a:cxn ang="0">
                  <a:pos x="1" y="189"/>
                </a:cxn>
                <a:cxn ang="0">
                  <a:pos x="10" y="204"/>
                </a:cxn>
                <a:cxn ang="0">
                  <a:pos x="18" y="192"/>
                </a:cxn>
                <a:cxn ang="0">
                  <a:pos x="22" y="187"/>
                </a:cxn>
                <a:cxn ang="0">
                  <a:pos x="29" y="180"/>
                </a:cxn>
                <a:cxn ang="0">
                  <a:pos x="49" y="171"/>
                </a:cxn>
                <a:cxn ang="0">
                  <a:pos x="69" y="163"/>
                </a:cxn>
                <a:cxn ang="0">
                  <a:pos x="94" y="167"/>
                </a:cxn>
                <a:cxn ang="0">
                  <a:pos x="111" y="166"/>
                </a:cxn>
                <a:cxn ang="0">
                  <a:pos x="120" y="169"/>
                </a:cxn>
                <a:cxn ang="0">
                  <a:pos x="133" y="171"/>
                </a:cxn>
                <a:cxn ang="0">
                  <a:pos x="150" y="171"/>
                </a:cxn>
                <a:cxn ang="0">
                  <a:pos x="164" y="171"/>
                </a:cxn>
                <a:cxn ang="0">
                  <a:pos x="177" y="180"/>
                </a:cxn>
                <a:cxn ang="0">
                  <a:pos x="203" y="178"/>
                </a:cxn>
                <a:cxn ang="0">
                  <a:pos x="209" y="168"/>
                </a:cxn>
                <a:cxn ang="0">
                  <a:pos x="225" y="164"/>
                </a:cxn>
                <a:cxn ang="0">
                  <a:pos x="224" y="172"/>
                </a:cxn>
                <a:cxn ang="0">
                  <a:pos x="241" y="188"/>
                </a:cxn>
                <a:cxn ang="0">
                  <a:pos x="263" y="196"/>
                </a:cxn>
                <a:cxn ang="0">
                  <a:pos x="292" y="219"/>
                </a:cxn>
                <a:cxn ang="0">
                  <a:pos x="300" y="233"/>
                </a:cxn>
                <a:cxn ang="0">
                  <a:pos x="316" y="235"/>
                </a:cxn>
                <a:cxn ang="0">
                  <a:pos x="332" y="227"/>
                </a:cxn>
                <a:cxn ang="0">
                  <a:pos x="351" y="224"/>
                </a:cxn>
                <a:cxn ang="0">
                  <a:pos x="381" y="205"/>
                </a:cxn>
                <a:cxn ang="0">
                  <a:pos x="399" y="173"/>
                </a:cxn>
              </a:cxnLst>
              <a:rect l="0" t="0" r="r" b="b"/>
              <a:pathLst>
                <a:path w="399" h="236">
                  <a:moveTo>
                    <a:pt x="399" y="162"/>
                  </a:moveTo>
                  <a:cubicBezTo>
                    <a:pt x="399" y="161"/>
                    <a:pt x="398" y="161"/>
                    <a:pt x="397" y="159"/>
                  </a:cubicBezTo>
                  <a:cubicBezTo>
                    <a:pt x="396" y="157"/>
                    <a:pt x="398" y="153"/>
                    <a:pt x="397" y="151"/>
                  </a:cubicBezTo>
                  <a:cubicBezTo>
                    <a:pt x="396" y="149"/>
                    <a:pt x="396" y="150"/>
                    <a:pt x="394" y="150"/>
                  </a:cubicBezTo>
                  <a:cubicBezTo>
                    <a:pt x="392" y="149"/>
                    <a:pt x="392" y="148"/>
                    <a:pt x="391" y="146"/>
                  </a:cubicBezTo>
                  <a:cubicBezTo>
                    <a:pt x="391" y="143"/>
                    <a:pt x="392" y="143"/>
                    <a:pt x="390" y="142"/>
                  </a:cubicBezTo>
                  <a:cubicBezTo>
                    <a:pt x="389" y="141"/>
                    <a:pt x="387" y="141"/>
                    <a:pt x="387" y="140"/>
                  </a:cubicBezTo>
                  <a:cubicBezTo>
                    <a:pt x="386" y="139"/>
                    <a:pt x="386" y="138"/>
                    <a:pt x="386" y="137"/>
                  </a:cubicBezTo>
                  <a:cubicBezTo>
                    <a:pt x="385" y="135"/>
                    <a:pt x="384" y="135"/>
                    <a:pt x="384" y="133"/>
                  </a:cubicBezTo>
                  <a:cubicBezTo>
                    <a:pt x="385" y="130"/>
                    <a:pt x="387" y="129"/>
                    <a:pt x="387" y="126"/>
                  </a:cubicBezTo>
                  <a:cubicBezTo>
                    <a:pt x="382" y="126"/>
                    <a:pt x="383" y="124"/>
                    <a:pt x="383" y="121"/>
                  </a:cubicBezTo>
                  <a:cubicBezTo>
                    <a:pt x="380" y="120"/>
                    <a:pt x="378" y="123"/>
                    <a:pt x="375" y="124"/>
                  </a:cubicBezTo>
                  <a:cubicBezTo>
                    <a:pt x="373" y="124"/>
                    <a:pt x="371" y="124"/>
                    <a:pt x="369" y="125"/>
                  </a:cubicBezTo>
                  <a:cubicBezTo>
                    <a:pt x="367" y="121"/>
                    <a:pt x="373" y="118"/>
                    <a:pt x="373" y="114"/>
                  </a:cubicBezTo>
                  <a:cubicBezTo>
                    <a:pt x="374" y="110"/>
                    <a:pt x="372" y="110"/>
                    <a:pt x="371" y="107"/>
                  </a:cubicBezTo>
                  <a:cubicBezTo>
                    <a:pt x="369" y="101"/>
                    <a:pt x="374" y="98"/>
                    <a:pt x="376" y="94"/>
                  </a:cubicBezTo>
                  <a:cubicBezTo>
                    <a:pt x="377" y="94"/>
                    <a:pt x="377" y="93"/>
                    <a:pt x="377" y="93"/>
                  </a:cubicBezTo>
                  <a:cubicBezTo>
                    <a:pt x="378" y="92"/>
                    <a:pt x="380" y="91"/>
                    <a:pt x="380" y="91"/>
                  </a:cubicBezTo>
                  <a:cubicBezTo>
                    <a:pt x="381" y="90"/>
                    <a:pt x="381" y="87"/>
                    <a:pt x="381" y="86"/>
                  </a:cubicBezTo>
                  <a:cubicBezTo>
                    <a:pt x="382" y="83"/>
                    <a:pt x="381" y="79"/>
                    <a:pt x="378" y="77"/>
                  </a:cubicBezTo>
                  <a:cubicBezTo>
                    <a:pt x="376" y="75"/>
                    <a:pt x="373" y="75"/>
                    <a:pt x="370" y="73"/>
                  </a:cubicBezTo>
                  <a:cubicBezTo>
                    <a:pt x="369" y="72"/>
                    <a:pt x="368" y="70"/>
                    <a:pt x="367" y="69"/>
                  </a:cubicBezTo>
                  <a:cubicBezTo>
                    <a:pt x="364" y="66"/>
                    <a:pt x="361" y="65"/>
                    <a:pt x="358" y="63"/>
                  </a:cubicBezTo>
                  <a:cubicBezTo>
                    <a:pt x="359" y="61"/>
                    <a:pt x="359" y="58"/>
                    <a:pt x="359" y="56"/>
                  </a:cubicBezTo>
                  <a:cubicBezTo>
                    <a:pt x="357" y="56"/>
                    <a:pt x="355" y="56"/>
                    <a:pt x="354" y="56"/>
                  </a:cubicBezTo>
                  <a:cubicBezTo>
                    <a:pt x="353" y="55"/>
                    <a:pt x="353" y="55"/>
                    <a:pt x="353" y="54"/>
                  </a:cubicBezTo>
                  <a:cubicBezTo>
                    <a:pt x="351" y="52"/>
                    <a:pt x="350" y="50"/>
                    <a:pt x="349" y="47"/>
                  </a:cubicBezTo>
                  <a:cubicBezTo>
                    <a:pt x="349" y="48"/>
                    <a:pt x="349" y="49"/>
                    <a:pt x="349" y="50"/>
                  </a:cubicBezTo>
                  <a:cubicBezTo>
                    <a:pt x="349" y="53"/>
                    <a:pt x="350" y="54"/>
                    <a:pt x="350" y="56"/>
                  </a:cubicBezTo>
                  <a:cubicBezTo>
                    <a:pt x="346" y="57"/>
                    <a:pt x="343" y="56"/>
                    <a:pt x="340" y="54"/>
                  </a:cubicBezTo>
                  <a:cubicBezTo>
                    <a:pt x="338" y="53"/>
                    <a:pt x="336" y="53"/>
                    <a:pt x="334" y="52"/>
                  </a:cubicBezTo>
                  <a:cubicBezTo>
                    <a:pt x="333" y="51"/>
                    <a:pt x="333" y="50"/>
                    <a:pt x="332" y="49"/>
                  </a:cubicBezTo>
                  <a:cubicBezTo>
                    <a:pt x="331" y="48"/>
                    <a:pt x="329" y="48"/>
                    <a:pt x="327" y="48"/>
                  </a:cubicBezTo>
                  <a:cubicBezTo>
                    <a:pt x="326" y="47"/>
                    <a:pt x="327" y="47"/>
                    <a:pt x="325" y="47"/>
                  </a:cubicBezTo>
                  <a:cubicBezTo>
                    <a:pt x="324" y="46"/>
                    <a:pt x="320" y="46"/>
                    <a:pt x="319" y="47"/>
                  </a:cubicBezTo>
                  <a:cubicBezTo>
                    <a:pt x="314" y="48"/>
                    <a:pt x="315" y="52"/>
                    <a:pt x="311" y="53"/>
                  </a:cubicBezTo>
                  <a:cubicBezTo>
                    <a:pt x="310" y="53"/>
                    <a:pt x="309" y="53"/>
                    <a:pt x="308" y="53"/>
                  </a:cubicBezTo>
                  <a:cubicBezTo>
                    <a:pt x="306" y="52"/>
                    <a:pt x="303" y="52"/>
                    <a:pt x="301" y="51"/>
                  </a:cubicBezTo>
                  <a:cubicBezTo>
                    <a:pt x="300" y="51"/>
                    <a:pt x="300" y="50"/>
                    <a:pt x="299" y="50"/>
                  </a:cubicBezTo>
                  <a:cubicBezTo>
                    <a:pt x="297" y="49"/>
                    <a:pt x="296" y="48"/>
                    <a:pt x="294" y="48"/>
                  </a:cubicBezTo>
                  <a:cubicBezTo>
                    <a:pt x="294" y="48"/>
                    <a:pt x="292" y="49"/>
                    <a:pt x="291" y="48"/>
                  </a:cubicBezTo>
                  <a:cubicBezTo>
                    <a:pt x="289" y="48"/>
                    <a:pt x="288" y="45"/>
                    <a:pt x="287" y="43"/>
                  </a:cubicBezTo>
                  <a:cubicBezTo>
                    <a:pt x="285" y="41"/>
                    <a:pt x="284" y="39"/>
                    <a:pt x="282" y="36"/>
                  </a:cubicBezTo>
                  <a:cubicBezTo>
                    <a:pt x="281" y="34"/>
                    <a:pt x="281" y="33"/>
                    <a:pt x="279" y="32"/>
                  </a:cubicBezTo>
                  <a:cubicBezTo>
                    <a:pt x="276" y="31"/>
                    <a:pt x="276" y="31"/>
                    <a:pt x="276" y="28"/>
                  </a:cubicBezTo>
                  <a:cubicBezTo>
                    <a:pt x="275" y="25"/>
                    <a:pt x="277" y="24"/>
                    <a:pt x="274" y="22"/>
                  </a:cubicBezTo>
                  <a:cubicBezTo>
                    <a:pt x="271" y="21"/>
                    <a:pt x="268" y="22"/>
                    <a:pt x="266" y="20"/>
                  </a:cubicBezTo>
                  <a:cubicBezTo>
                    <a:pt x="262" y="17"/>
                    <a:pt x="262" y="13"/>
                    <a:pt x="255" y="15"/>
                  </a:cubicBezTo>
                  <a:cubicBezTo>
                    <a:pt x="256" y="10"/>
                    <a:pt x="251" y="7"/>
                    <a:pt x="247" y="5"/>
                  </a:cubicBezTo>
                  <a:cubicBezTo>
                    <a:pt x="245" y="5"/>
                    <a:pt x="244" y="4"/>
                    <a:pt x="243" y="4"/>
                  </a:cubicBezTo>
                  <a:cubicBezTo>
                    <a:pt x="241" y="2"/>
                    <a:pt x="240" y="0"/>
                    <a:pt x="237" y="0"/>
                  </a:cubicBezTo>
                  <a:cubicBezTo>
                    <a:pt x="237" y="2"/>
                    <a:pt x="237" y="5"/>
                    <a:pt x="237" y="7"/>
                  </a:cubicBezTo>
                  <a:cubicBezTo>
                    <a:pt x="232" y="8"/>
                    <a:pt x="235" y="2"/>
                    <a:pt x="233" y="1"/>
                  </a:cubicBezTo>
                  <a:cubicBezTo>
                    <a:pt x="231" y="0"/>
                    <a:pt x="226" y="4"/>
                    <a:pt x="224" y="5"/>
                  </a:cubicBezTo>
                  <a:cubicBezTo>
                    <a:pt x="223" y="6"/>
                    <a:pt x="222" y="6"/>
                    <a:pt x="221" y="7"/>
                  </a:cubicBezTo>
                  <a:cubicBezTo>
                    <a:pt x="220" y="8"/>
                    <a:pt x="219" y="9"/>
                    <a:pt x="219" y="10"/>
                  </a:cubicBezTo>
                  <a:cubicBezTo>
                    <a:pt x="215" y="13"/>
                    <a:pt x="209" y="12"/>
                    <a:pt x="204" y="13"/>
                  </a:cubicBezTo>
                  <a:cubicBezTo>
                    <a:pt x="201" y="13"/>
                    <a:pt x="202" y="13"/>
                    <a:pt x="201" y="15"/>
                  </a:cubicBezTo>
                  <a:cubicBezTo>
                    <a:pt x="199" y="17"/>
                    <a:pt x="198" y="18"/>
                    <a:pt x="196" y="20"/>
                  </a:cubicBezTo>
                  <a:cubicBezTo>
                    <a:pt x="195" y="20"/>
                    <a:pt x="193" y="22"/>
                    <a:pt x="192" y="22"/>
                  </a:cubicBezTo>
                  <a:cubicBezTo>
                    <a:pt x="189" y="23"/>
                    <a:pt x="188" y="22"/>
                    <a:pt x="188" y="21"/>
                  </a:cubicBezTo>
                  <a:cubicBezTo>
                    <a:pt x="188" y="23"/>
                    <a:pt x="188" y="25"/>
                    <a:pt x="188" y="27"/>
                  </a:cubicBezTo>
                  <a:cubicBezTo>
                    <a:pt x="188" y="30"/>
                    <a:pt x="189" y="34"/>
                    <a:pt x="189" y="37"/>
                  </a:cubicBezTo>
                  <a:cubicBezTo>
                    <a:pt x="189" y="45"/>
                    <a:pt x="189" y="52"/>
                    <a:pt x="189" y="60"/>
                  </a:cubicBezTo>
                  <a:cubicBezTo>
                    <a:pt x="189" y="68"/>
                    <a:pt x="190" y="77"/>
                    <a:pt x="189" y="85"/>
                  </a:cubicBezTo>
                  <a:cubicBezTo>
                    <a:pt x="188" y="90"/>
                    <a:pt x="185" y="91"/>
                    <a:pt x="181" y="92"/>
                  </a:cubicBezTo>
                  <a:cubicBezTo>
                    <a:pt x="179" y="93"/>
                    <a:pt x="178" y="94"/>
                    <a:pt x="176" y="94"/>
                  </a:cubicBezTo>
                  <a:cubicBezTo>
                    <a:pt x="175" y="94"/>
                    <a:pt x="174" y="94"/>
                    <a:pt x="174" y="94"/>
                  </a:cubicBezTo>
                  <a:cubicBezTo>
                    <a:pt x="173" y="93"/>
                    <a:pt x="173" y="92"/>
                    <a:pt x="172" y="92"/>
                  </a:cubicBezTo>
                  <a:cubicBezTo>
                    <a:pt x="165" y="90"/>
                    <a:pt x="163" y="102"/>
                    <a:pt x="159" y="105"/>
                  </a:cubicBezTo>
                  <a:cubicBezTo>
                    <a:pt x="158" y="106"/>
                    <a:pt x="156" y="106"/>
                    <a:pt x="154" y="107"/>
                  </a:cubicBezTo>
                  <a:cubicBezTo>
                    <a:pt x="151" y="108"/>
                    <a:pt x="148" y="109"/>
                    <a:pt x="146" y="109"/>
                  </a:cubicBezTo>
                  <a:cubicBezTo>
                    <a:pt x="142" y="110"/>
                    <a:pt x="140" y="108"/>
                    <a:pt x="140" y="104"/>
                  </a:cubicBezTo>
                  <a:cubicBezTo>
                    <a:pt x="138" y="104"/>
                    <a:pt x="135" y="105"/>
                    <a:pt x="133" y="104"/>
                  </a:cubicBezTo>
                  <a:cubicBezTo>
                    <a:pt x="131" y="103"/>
                    <a:pt x="131" y="103"/>
                    <a:pt x="131" y="101"/>
                  </a:cubicBezTo>
                  <a:cubicBezTo>
                    <a:pt x="129" y="99"/>
                    <a:pt x="128" y="98"/>
                    <a:pt x="127" y="96"/>
                  </a:cubicBezTo>
                  <a:cubicBezTo>
                    <a:pt x="127" y="96"/>
                    <a:pt x="127" y="95"/>
                    <a:pt x="127" y="95"/>
                  </a:cubicBezTo>
                  <a:cubicBezTo>
                    <a:pt x="126" y="94"/>
                    <a:pt x="125" y="93"/>
                    <a:pt x="125" y="92"/>
                  </a:cubicBezTo>
                  <a:cubicBezTo>
                    <a:pt x="124" y="91"/>
                    <a:pt x="124" y="90"/>
                    <a:pt x="124" y="88"/>
                  </a:cubicBezTo>
                  <a:cubicBezTo>
                    <a:pt x="124" y="85"/>
                    <a:pt x="124" y="81"/>
                    <a:pt x="124" y="77"/>
                  </a:cubicBezTo>
                  <a:cubicBezTo>
                    <a:pt x="124" y="73"/>
                    <a:pt x="125" y="72"/>
                    <a:pt x="121" y="71"/>
                  </a:cubicBezTo>
                  <a:cubicBezTo>
                    <a:pt x="118" y="70"/>
                    <a:pt x="114" y="70"/>
                    <a:pt x="112" y="68"/>
                  </a:cubicBezTo>
                  <a:cubicBezTo>
                    <a:pt x="111" y="67"/>
                    <a:pt x="110" y="67"/>
                    <a:pt x="110" y="66"/>
                  </a:cubicBezTo>
                  <a:cubicBezTo>
                    <a:pt x="110" y="65"/>
                    <a:pt x="110" y="64"/>
                    <a:pt x="110" y="64"/>
                  </a:cubicBezTo>
                  <a:cubicBezTo>
                    <a:pt x="110" y="63"/>
                    <a:pt x="109" y="62"/>
                    <a:pt x="108" y="62"/>
                  </a:cubicBezTo>
                  <a:cubicBezTo>
                    <a:pt x="107" y="61"/>
                    <a:pt x="105" y="59"/>
                    <a:pt x="105" y="57"/>
                  </a:cubicBezTo>
                  <a:cubicBezTo>
                    <a:pt x="103" y="57"/>
                    <a:pt x="101" y="58"/>
                    <a:pt x="99" y="56"/>
                  </a:cubicBezTo>
                  <a:cubicBezTo>
                    <a:pt x="98" y="54"/>
                    <a:pt x="98" y="52"/>
                    <a:pt x="96" y="50"/>
                  </a:cubicBezTo>
                  <a:cubicBezTo>
                    <a:pt x="96" y="49"/>
                    <a:pt x="95" y="49"/>
                    <a:pt x="94" y="48"/>
                  </a:cubicBezTo>
                  <a:cubicBezTo>
                    <a:pt x="92" y="47"/>
                    <a:pt x="92" y="48"/>
                    <a:pt x="92" y="45"/>
                  </a:cubicBezTo>
                  <a:cubicBezTo>
                    <a:pt x="92" y="43"/>
                    <a:pt x="92" y="41"/>
                    <a:pt x="92" y="39"/>
                  </a:cubicBezTo>
                  <a:cubicBezTo>
                    <a:pt x="92" y="38"/>
                    <a:pt x="93" y="35"/>
                    <a:pt x="93" y="33"/>
                  </a:cubicBezTo>
                  <a:cubicBezTo>
                    <a:pt x="92" y="32"/>
                    <a:pt x="91" y="32"/>
                    <a:pt x="91" y="30"/>
                  </a:cubicBezTo>
                  <a:cubicBezTo>
                    <a:pt x="90" y="30"/>
                    <a:pt x="88" y="32"/>
                    <a:pt x="87" y="33"/>
                  </a:cubicBezTo>
                  <a:cubicBezTo>
                    <a:pt x="85" y="35"/>
                    <a:pt x="86" y="35"/>
                    <a:pt x="84" y="35"/>
                  </a:cubicBezTo>
                  <a:cubicBezTo>
                    <a:pt x="81" y="36"/>
                    <a:pt x="78" y="37"/>
                    <a:pt x="75" y="38"/>
                  </a:cubicBezTo>
                  <a:cubicBezTo>
                    <a:pt x="73" y="39"/>
                    <a:pt x="72" y="40"/>
                    <a:pt x="70" y="41"/>
                  </a:cubicBezTo>
                  <a:cubicBezTo>
                    <a:pt x="68" y="43"/>
                    <a:pt x="67" y="42"/>
                    <a:pt x="65" y="43"/>
                  </a:cubicBezTo>
                  <a:cubicBezTo>
                    <a:pt x="61" y="45"/>
                    <a:pt x="61" y="48"/>
                    <a:pt x="61" y="51"/>
                  </a:cubicBezTo>
                  <a:cubicBezTo>
                    <a:pt x="59" y="51"/>
                    <a:pt x="58" y="51"/>
                    <a:pt x="57" y="51"/>
                  </a:cubicBezTo>
                  <a:cubicBezTo>
                    <a:pt x="57" y="51"/>
                    <a:pt x="55" y="50"/>
                    <a:pt x="55" y="50"/>
                  </a:cubicBezTo>
                  <a:cubicBezTo>
                    <a:pt x="54" y="49"/>
                    <a:pt x="52" y="49"/>
                    <a:pt x="50" y="49"/>
                  </a:cubicBezTo>
                  <a:cubicBezTo>
                    <a:pt x="47" y="49"/>
                    <a:pt x="44" y="51"/>
                    <a:pt x="42" y="53"/>
                  </a:cubicBezTo>
                  <a:cubicBezTo>
                    <a:pt x="41" y="55"/>
                    <a:pt x="40" y="56"/>
                    <a:pt x="39" y="58"/>
                  </a:cubicBezTo>
                  <a:cubicBezTo>
                    <a:pt x="37" y="59"/>
                    <a:pt x="37" y="62"/>
                    <a:pt x="36" y="64"/>
                  </a:cubicBezTo>
                  <a:cubicBezTo>
                    <a:pt x="34" y="66"/>
                    <a:pt x="33" y="67"/>
                    <a:pt x="32" y="69"/>
                  </a:cubicBezTo>
                  <a:cubicBezTo>
                    <a:pt x="31" y="70"/>
                    <a:pt x="31" y="71"/>
                    <a:pt x="30" y="72"/>
                  </a:cubicBezTo>
                  <a:cubicBezTo>
                    <a:pt x="30" y="73"/>
                    <a:pt x="28" y="74"/>
                    <a:pt x="28" y="75"/>
                  </a:cubicBezTo>
                  <a:cubicBezTo>
                    <a:pt x="27" y="77"/>
                    <a:pt x="26" y="80"/>
                    <a:pt x="25" y="83"/>
                  </a:cubicBezTo>
                  <a:cubicBezTo>
                    <a:pt x="24" y="88"/>
                    <a:pt x="26" y="94"/>
                    <a:pt x="25" y="99"/>
                  </a:cubicBezTo>
                  <a:cubicBezTo>
                    <a:pt x="24" y="103"/>
                    <a:pt x="23" y="107"/>
                    <a:pt x="22" y="110"/>
                  </a:cubicBezTo>
                  <a:cubicBezTo>
                    <a:pt x="21" y="113"/>
                    <a:pt x="19" y="115"/>
                    <a:pt x="17" y="117"/>
                  </a:cubicBezTo>
                  <a:cubicBezTo>
                    <a:pt x="17" y="117"/>
                    <a:pt x="15" y="118"/>
                    <a:pt x="15" y="119"/>
                  </a:cubicBezTo>
                  <a:cubicBezTo>
                    <a:pt x="14" y="120"/>
                    <a:pt x="14" y="120"/>
                    <a:pt x="14" y="122"/>
                  </a:cubicBezTo>
                  <a:cubicBezTo>
                    <a:pt x="13" y="123"/>
                    <a:pt x="12" y="125"/>
                    <a:pt x="11" y="126"/>
                  </a:cubicBezTo>
                  <a:cubicBezTo>
                    <a:pt x="10" y="128"/>
                    <a:pt x="9" y="130"/>
                    <a:pt x="8" y="131"/>
                  </a:cubicBezTo>
                  <a:cubicBezTo>
                    <a:pt x="7" y="135"/>
                    <a:pt x="8" y="141"/>
                    <a:pt x="6" y="146"/>
                  </a:cubicBezTo>
                  <a:cubicBezTo>
                    <a:pt x="5" y="149"/>
                    <a:pt x="2" y="152"/>
                    <a:pt x="1" y="156"/>
                  </a:cubicBezTo>
                  <a:cubicBezTo>
                    <a:pt x="0" y="160"/>
                    <a:pt x="0" y="164"/>
                    <a:pt x="0" y="168"/>
                  </a:cubicBezTo>
                  <a:cubicBezTo>
                    <a:pt x="0" y="175"/>
                    <a:pt x="0" y="182"/>
                    <a:pt x="1" y="189"/>
                  </a:cubicBezTo>
                  <a:cubicBezTo>
                    <a:pt x="1" y="191"/>
                    <a:pt x="0" y="191"/>
                    <a:pt x="2" y="193"/>
                  </a:cubicBezTo>
                  <a:cubicBezTo>
                    <a:pt x="2" y="194"/>
                    <a:pt x="3" y="194"/>
                    <a:pt x="4" y="195"/>
                  </a:cubicBezTo>
                  <a:cubicBezTo>
                    <a:pt x="5" y="196"/>
                    <a:pt x="6" y="198"/>
                    <a:pt x="6" y="199"/>
                  </a:cubicBezTo>
                  <a:cubicBezTo>
                    <a:pt x="7" y="201"/>
                    <a:pt x="9" y="202"/>
                    <a:pt x="10" y="204"/>
                  </a:cubicBezTo>
                  <a:cubicBezTo>
                    <a:pt x="11" y="203"/>
                    <a:pt x="11" y="202"/>
                    <a:pt x="11" y="201"/>
                  </a:cubicBezTo>
                  <a:cubicBezTo>
                    <a:pt x="11" y="199"/>
                    <a:pt x="11" y="196"/>
                    <a:pt x="13" y="195"/>
                  </a:cubicBezTo>
                  <a:cubicBezTo>
                    <a:pt x="14" y="194"/>
                    <a:pt x="15" y="195"/>
                    <a:pt x="16" y="195"/>
                  </a:cubicBezTo>
                  <a:cubicBezTo>
                    <a:pt x="17" y="194"/>
                    <a:pt x="17" y="193"/>
                    <a:pt x="18" y="192"/>
                  </a:cubicBezTo>
                  <a:cubicBezTo>
                    <a:pt x="18" y="192"/>
                    <a:pt x="19" y="191"/>
                    <a:pt x="19" y="190"/>
                  </a:cubicBezTo>
                  <a:cubicBezTo>
                    <a:pt x="19" y="190"/>
                    <a:pt x="20" y="190"/>
                    <a:pt x="20" y="189"/>
                  </a:cubicBezTo>
                  <a:cubicBezTo>
                    <a:pt x="20" y="189"/>
                    <a:pt x="19" y="188"/>
                    <a:pt x="20" y="188"/>
                  </a:cubicBezTo>
                  <a:cubicBezTo>
                    <a:pt x="20" y="187"/>
                    <a:pt x="22" y="187"/>
                    <a:pt x="22" y="187"/>
                  </a:cubicBezTo>
                  <a:cubicBezTo>
                    <a:pt x="22" y="187"/>
                    <a:pt x="23" y="186"/>
                    <a:pt x="23" y="186"/>
                  </a:cubicBezTo>
                  <a:cubicBezTo>
                    <a:pt x="23" y="186"/>
                    <a:pt x="24" y="185"/>
                    <a:pt x="25" y="185"/>
                  </a:cubicBezTo>
                  <a:cubicBezTo>
                    <a:pt x="26" y="185"/>
                    <a:pt x="27" y="184"/>
                    <a:pt x="28" y="184"/>
                  </a:cubicBezTo>
                  <a:cubicBezTo>
                    <a:pt x="29" y="183"/>
                    <a:pt x="29" y="181"/>
                    <a:pt x="29" y="180"/>
                  </a:cubicBezTo>
                  <a:cubicBezTo>
                    <a:pt x="30" y="178"/>
                    <a:pt x="31" y="178"/>
                    <a:pt x="33" y="178"/>
                  </a:cubicBezTo>
                  <a:cubicBezTo>
                    <a:pt x="34" y="177"/>
                    <a:pt x="36" y="175"/>
                    <a:pt x="37" y="175"/>
                  </a:cubicBezTo>
                  <a:cubicBezTo>
                    <a:pt x="39" y="173"/>
                    <a:pt x="41" y="174"/>
                    <a:pt x="44" y="174"/>
                  </a:cubicBezTo>
                  <a:cubicBezTo>
                    <a:pt x="47" y="174"/>
                    <a:pt x="47" y="173"/>
                    <a:pt x="49" y="171"/>
                  </a:cubicBezTo>
                  <a:cubicBezTo>
                    <a:pt x="50" y="170"/>
                    <a:pt x="53" y="169"/>
                    <a:pt x="55" y="169"/>
                  </a:cubicBezTo>
                  <a:cubicBezTo>
                    <a:pt x="56" y="168"/>
                    <a:pt x="57" y="168"/>
                    <a:pt x="58" y="168"/>
                  </a:cubicBezTo>
                  <a:cubicBezTo>
                    <a:pt x="62" y="168"/>
                    <a:pt x="60" y="166"/>
                    <a:pt x="61" y="164"/>
                  </a:cubicBezTo>
                  <a:cubicBezTo>
                    <a:pt x="62" y="162"/>
                    <a:pt x="68" y="162"/>
                    <a:pt x="69" y="163"/>
                  </a:cubicBezTo>
                  <a:cubicBezTo>
                    <a:pt x="70" y="163"/>
                    <a:pt x="71" y="164"/>
                    <a:pt x="72" y="164"/>
                  </a:cubicBezTo>
                  <a:cubicBezTo>
                    <a:pt x="73" y="164"/>
                    <a:pt x="74" y="165"/>
                    <a:pt x="75" y="165"/>
                  </a:cubicBezTo>
                  <a:cubicBezTo>
                    <a:pt x="79" y="166"/>
                    <a:pt x="83" y="166"/>
                    <a:pt x="86" y="166"/>
                  </a:cubicBezTo>
                  <a:cubicBezTo>
                    <a:pt x="89" y="166"/>
                    <a:pt x="91" y="166"/>
                    <a:pt x="94" y="167"/>
                  </a:cubicBezTo>
                  <a:cubicBezTo>
                    <a:pt x="97" y="168"/>
                    <a:pt x="99" y="168"/>
                    <a:pt x="102" y="168"/>
                  </a:cubicBezTo>
                  <a:cubicBezTo>
                    <a:pt x="104" y="168"/>
                    <a:pt x="105" y="168"/>
                    <a:pt x="107" y="168"/>
                  </a:cubicBezTo>
                  <a:cubicBezTo>
                    <a:pt x="107" y="168"/>
                    <a:pt x="108" y="168"/>
                    <a:pt x="109" y="168"/>
                  </a:cubicBezTo>
                  <a:cubicBezTo>
                    <a:pt x="110" y="168"/>
                    <a:pt x="110" y="167"/>
                    <a:pt x="111" y="166"/>
                  </a:cubicBezTo>
                  <a:cubicBezTo>
                    <a:pt x="112" y="166"/>
                    <a:pt x="113" y="166"/>
                    <a:pt x="114" y="166"/>
                  </a:cubicBezTo>
                  <a:cubicBezTo>
                    <a:pt x="115" y="166"/>
                    <a:pt x="117" y="166"/>
                    <a:pt x="118" y="167"/>
                  </a:cubicBezTo>
                  <a:cubicBezTo>
                    <a:pt x="118" y="167"/>
                    <a:pt x="120" y="166"/>
                    <a:pt x="120" y="167"/>
                  </a:cubicBezTo>
                  <a:cubicBezTo>
                    <a:pt x="120" y="167"/>
                    <a:pt x="120" y="168"/>
                    <a:pt x="120" y="169"/>
                  </a:cubicBezTo>
                  <a:cubicBezTo>
                    <a:pt x="120" y="169"/>
                    <a:pt x="121" y="169"/>
                    <a:pt x="121" y="170"/>
                  </a:cubicBezTo>
                  <a:cubicBezTo>
                    <a:pt x="121" y="171"/>
                    <a:pt x="121" y="174"/>
                    <a:pt x="123" y="175"/>
                  </a:cubicBezTo>
                  <a:cubicBezTo>
                    <a:pt x="125" y="175"/>
                    <a:pt x="129" y="173"/>
                    <a:pt x="129" y="171"/>
                  </a:cubicBezTo>
                  <a:cubicBezTo>
                    <a:pt x="130" y="170"/>
                    <a:pt x="132" y="171"/>
                    <a:pt x="133" y="171"/>
                  </a:cubicBezTo>
                  <a:cubicBezTo>
                    <a:pt x="135" y="171"/>
                    <a:pt x="135" y="169"/>
                    <a:pt x="136" y="168"/>
                  </a:cubicBezTo>
                  <a:cubicBezTo>
                    <a:pt x="137" y="168"/>
                    <a:pt x="139" y="169"/>
                    <a:pt x="140" y="169"/>
                  </a:cubicBezTo>
                  <a:cubicBezTo>
                    <a:pt x="142" y="169"/>
                    <a:pt x="143" y="170"/>
                    <a:pt x="145" y="171"/>
                  </a:cubicBezTo>
                  <a:cubicBezTo>
                    <a:pt x="146" y="171"/>
                    <a:pt x="148" y="171"/>
                    <a:pt x="150" y="171"/>
                  </a:cubicBezTo>
                  <a:cubicBezTo>
                    <a:pt x="151" y="171"/>
                    <a:pt x="152" y="170"/>
                    <a:pt x="153" y="170"/>
                  </a:cubicBezTo>
                  <a:cubicBezTo>
                    <a:pt x="156" y="169"/>
                    <a:pt x="158" y="169"/>
                    <a:pt x="161" y="170"/>
                  </a:cubicBezTo>
                  <a:cubicBezTo>
                    <a:pt x="161" y="171"/>
                    <a:pt x="161" y="173"/>
                    <a:pt x="162" y="174"/>
                  </a:cubicBezTo>
                  <a:cubicBezTo>
                    <a:pt x="163" y="174"/>
                    <a:pt x="162" y="171"/>
                    <a:pt x="164" y="171"/>
                  </a:cubicBezTo>
                  <a:cubicBezTo>
                    <a:pt x="165" y="171"/>
                    <a:pt x="166" y="172"/>
                    <a:pt x="167" y="173"/>
                  </a:cubicBezTo>
                  <a:cubicBezTo>
                    <a:pt x="169" y="174"/>
                    <a:pt x="171" y="175"/>
                    <a:pt x="173" y="176"/>
                  </a:cubicBezTo>
                  <a:cubicBezTo>
                    <a:pt x="174" y="176"/>
                    <a:pt x="176" y="176"/>
                    <a:pt x="176" y="177"/>
                  </a:cubicBezTo>
                  <a:cubicBezTo>
                    <a:pt x="177" y="178"/>
                    <a:pt x="176" y="179"/>
                    <a:pt x="177" y="180"/>
                  </a:cubicBezTo>
                  <a:cubicBezTo>
                    <a:pt x="177" y="181"/>
                    <a:pt x="178" y="181"/>
                    <a:pt x="179" y="181"/>
                  </a:cubicBezTo>
                  <a:cubicBezTo>
                    <a:pt x="181" y="181"/>
                    <a:pt x="182" y="179"/>
                    <a:pt x="183" y="179"/>
                  </a:cubicBezTo>
                  <a:cubicBezTo>
                    <a:pt x="187" y="176"/>
                    <a:pt x="192" y="178"/>
                    <a:pt x="197" y="179"/>
                  </a:cubicBezTo>
                  <a:cubicBezTo>
                    <a:pt x="198" y="179"/>
                    <a:pt x="201" y="179"/>
                    <a:pt x="203" y="178"/>
                  </a:cubicBezTo>
                  <a:cubicBezTo>
                    <a:pt x="204" y="177"/>
                    <a:pt x="204" y="176"/>
                    <a:pt x="205" y="175"/>
                  </a:cubicBezTo>
                  <a:cubicBezTo>
                    <a:pt x="206" y="175"/>
                    <a:pt x="207" y="175"/>
                    <a:pt x="208" y="175"/>
                  </a:cubicBezTo>
                  <a:cubicBezTo>
                    <a:pt x="208" y="174"/>
                    <a:pt x="208" y="173"/>
                    <a:pt x="208" y="172"/>
                  </a:cubicBezTo>
                  <a:cubicBezTo>
                    <a:pt x="208" y="171"/>
                    <a:pt x="208" y="169"/>
                    <a:pt x="209" y="168"/>
                  </a:cubicBezTo>
                  <a:cubicBezTo>
                    <a:pt x="210" y="167"/>
                    <a:pt x="212" y="166"/>
                    <a:pt x="213" y="165"/>
                  </a:cubicBezTo>
                  <a:cubicBezTo>
                    <a:pt x="214" y="165"/>
                    <a:pt x="215" y="165"/>
                    <a:pt x="215" y="164"/>
                  </a:cubicBezTo>
                  <a:cubicBezTo>
                    <a:pt x="216" y="164"/>
                    <a:pt x="216" y="163"/>
                    <a:pt x="216" y="163"/>
                  </a:cubicBezTo>
                  <a:cubicBezTo>
                    <a:pt x="218" y="161"/>
                    <a:pt x="225" y="161"/>
                    <a:pt x="225" y="164"/>
                  </a:cubicBezTo>
                  <a:cubicBezTo>
                    <a:pt x="222" y="166"/>
                    <a:pt x="222" y="166"/>
                    <a:pt x="222" y="166"/>
                  </a:cubicBezTo>
                  <a:cubicBezTo>
                    <a:pt x="221" y="167"/>
                    <a:pt x="222" y="167"/>
                    <a:pt x="221" y="168"/>
                  </a:cubicBezTo>
                  <a:cubicBezTo>
                    <a:pt x="221" y="169"/>
                    <a:pt x="221" y="169"/>
                    <a:pt x="221" y="170"/>
                  </a:cubicBezTo>
                  <a:cubicBezTo>
                    <a:pt x="222" y="170"/>
                    <a:pt x="223" y="171"/>
                    <a:pt x="224" y="172"/>
                  </a:cubicBezTo>
                  <a:cubicBezTo>
                    <a:pt x="225" y="175"/>
                    <a:pt x="227" y="177"/>
                    <a:pt x="229" y="180"/>
                  </a:cubicBezTo>
                  <a:cubicBezTo>
                    <a:pt x="230" y="183"/>
                    <a:pt x="231" y="185"/>
                    <a:pt x="234" y="186"/>
                  </a:cubicBezTo>
                  <a:cubicBezTo>
                    <a:pt x="234" y="187"/>
                    <a:pt x="235" y="190"/>
                    <a:pt x="237" y="190"/>
                  </a:cubicBezTo>
                  <a:cubicBezTo>
                    <a:pt x="237" y="188"/>
                    <a:pt x="240" y="187"/>
                    <a:pt x="241" y="188"/>
                  </a:cubicBezTo>
                  <a:cubicBezTo>
                    <a:pt x="242" y="188"/>
                    <a:pt x="243" y="190"/>
                    <a:pt x="244" y="190"/>
                  </a:cubicBezTo>
                  <a:cubicBezTo>
                    <a:pt x="247" y="192"/>
                    <a:pt x="251" y="191"/>
                    <a:pt x="254" y="191"/>
                  </a:cubicBezTo>
                  <a:cubicBezTo>
                    <a:pt x="256" y="191"/>
                    <a:pt x="258" y="191"/>
                    <a:pt x="260" y="193"/>
                  </a:cubicBezTo>
                  <a:cubicBezTo>
                    <a:pt x="261" y="193"/>
                    <a:pt x="262" y="195"/>
                    <a:pt x="263" y="196"/>
                  </a:cubicBezTo>
                  <a:cubicBezTo>
                    <a:pt x="266" y="197"/>
                    <a:pt x="268" y="198"/>
                    <a:pt x="270" y="200"/>
                  </a:cubicBezTo>
                  <a:cubicBezTo>
                    <a:pt x="273" y="201"/>
                    <a:pt x="275" y="203"/>
                    <a:pt x="278" y="205"/>
                  </a:cubicBezTo>
                  <a:cubicBezTo>
                    <a:pt x="281" y="207"/>
                    <a:pt x="283" y="209"/>
                    <a:pt x="286" y="211"/>
                  </a:cubicBezTo>
                  <a:cubicBezTo>
                    <a:pt x="288" y="213"/>
                    <a:pt x="291" y="216"/>
                    <a:pt x="292" y="219"/>
                  </a:cubicBezTo>
                  <a:cubicBezTo>
                    <a:pt x="292" y="220"/>
                    <a:pt x="292" y="221"/>
                    <a:pt x="293" y="221"/>
                  </a:cubicBezTo>
                  <a:cubicBezTo>
                    <a:pt x="293" y="222"/>
                    <a:pt x="294" y="223"/>
                    <a:pt x="295" y="224"/>
                  </a:cubicBezTo>
                  <a:cubicBezTo>
                    <a:pt x="296" y="226"/>
                    <a:pt x="298" y="228"/>
                    <a:pt x="299" y="230"/>
                  </a:cubicBezTo>
                  <a:cubicBezTo>
                    <a:pt x="299" y="231"/>
                    <a:pt x="299" y="232"/>
                    <a:pt x="300" y="233"/>
                  </a:cubicBezTo>
                  <a:cubicBezTo>
                    <a:pt x="301" y="234"/>
                    <a:pt x="305" y="234"/>
                    <a:pt x="307" y="235"/>
                  </a:cubicBezTo>
                  <a:cubicBezTo>
                    <a:pt x="309" y="235"/>
                    <a:pt x="311" y="236"/>
                    <a:pt x="313" y="236"/>
                  </a:cubicBezTo>
                  <a:cubicBezTo>
                    <a:pt x="313" y="236"/>
                    <a:pt x="313" y="236"/>
                    <a:pt x="314" y="236"/>
                  </a:cubicBezTo>
                  <a:cubicBezTo>
                    <a:pt x="315" y="236"/>
                    <a:pt x="315" y="236"/>
                    <a:pt x="316" y="235"/>
                  </a:cubicBezTo>
                  <a:cubicBezTo>
                    <a:pt x="317" y="235"/>
                    <a:pt x="319" y="236"/>
                    <a:pt x="321" y="236"/>
                  </a:cubicBezTo>
                  <a:cubicBezTo>
                    <a:pt x="323" y="236"/>
                    <a:pt x="324" y="236"/>
                    <a:pt x="325" y="234"/>
                  </a:cubicBezTo>
                  <a:cubicBezTo>
                    <a:pt x="326" y="233"/>
                    <a:pt x="327" y="230"/>
                    <a:pt x="329" y="229"/>
                  </a:cubicBezTo>
                  <a:cubicBezTo>
                    <a:pt x="329" y="228"/>
                    <a:pt x="331" y="227"/>
                    <a:pt x="332" y="227"/>
                  </a:cubicBezTo>
                  <a:cubicBezTo>
                    <a:pt x="333" y="226"/>
                    <a:pt x="334" y="226"/>
                    <a:pt x="335" y="226"/>
                  </a:cubicBezTo>
                  <a:cubicBezTo>
                    <a:pt x="336" y="226"/>
                    <a:pt x="336" y="224"/>
                    <a:pt x="337" y="224"/>
                  </a:cubicBezTo>
                  <a:cubicBezTo>
                    <a:pt x="339" y="222"/>
                    <a:pt x="343" y="220"/>
                    <a:pt x="346" y="222"/>
                  </a:cubicBezTo>
                  <a:cubicBezTo>
                    <a:pt x="348" y="223"/>
                    <a:pt x="348" y="223"/>
                    <a:pt x="351" y="224"/>
                  </a:cubicBezTo>
                  <a:cubicBezTo>
                    <a:pt x="353" y="224"/>
                    <a:pt x="356" y="224"/>
                    <a:pt x="359" y="224"/>
                  </a:cubicBezTo>
                  <a:cubicBezTo>
                    <a:pt x="363" y="223"/>
                    <a:pt x="366" y="228"/>
                    <a:pt x="370" y="225"/>
                  </a:cubicBezTo>
                  <a:cubicBezTo>
                    <a:pt x="374" y="222"/>
                    <a:pt x="371" y="217"/>
                    <a:pt x="372" y="213"/>
                  </a:cubicBezTo>
                  <a:cubicBezTo>
                    <a:pt x="373" y="208"/>
                    <a:pt x="376" y="206"/>
                    <a:pt x="381" y="205"/>
                  </a:cubicBezTo>
                  <a:cubicBezTo>
                    <a:pt x="385" y="205"/>
                    <a:pt x="389" y="200"/>
                    <a:pt x="392" y="197"/>
                  </a:cubicBezTo>
                  <a:cubicBezTo>
                    <a:pt x="392" y="196"/>
                    <a:pt x="393" y="195"/>
                    <a:pt x="394" y="194"/>
                  </a:cubicBezTo>
                  <a:cubicBezTo>
                    <a:pt x="394" y="191"/>
                    <a:pt x="395" y="188"/>
                    <a:pt x="395" y="187"/>
                  </a:cubicBezTo>
                  <a:cubicBezTo>
                    <a:pt x="396" y="182"/>
                    <a:pt x="398" y="177"/>
                    <a:pt x="399" y="173"/>
                  </a:cubicBezTo>
                  <a:cubicBezTo>
                    <a:pt x="399" y="170"/>
                    <a:pt x="399" y="167"/>
                    <a:pt x="399" y="165"/>
                  </a:cubicBezTo>
                  <a:cubicBezTo>
                    <a:pt x="399" y="164"/>
                    <a:pt x="399" y="162"/>
                    <a:pt x="399" y="16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9" name="Freeform 40">
              <a:extLst>
                <a:ext uri="{FF2B5EF4-FFF2-40B4-BE49-F238E27FC236}">
                  <a16:creationId xmlns:a16="http://schemas.microsoft.com/office/drawing/2014/main" id="{9EF8FBB3-D581-4AB6-AE5F-7898D1045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2950" y="2852738"/>
              <a:ext cx="508000" cy="412750"/>
            </a:xfrm>
            <a:custGeom>
              <a:avLst/>
              <a:gdLst/>
              <a:ahLst/>
              <a:cxnLst>
                <a:cxn ang="0">
                  <a:pos x="269" y="22"/>
                </a:cxn>
                <a:cxn ang="0">
                  <a:pos x="268" y="32"/>
                </a:cxn>
                <a:cxn ang="0">
                  <a:pos x="255" y="49"/>
                </a:cxn>
                <a:cxn ang="0">
                  <a:pos x="252" y="66"/>
                </a:cxn>
                <a:cxn ang="0">
                  <a:pos x="234" y="69"/>
                </a:cxn>
                <a:cxn ang="0">
                  <a:pos x="209" y="77"/>
                </a:cxn>
                <a:cxn ang="0">
                  <a:pos x="212" y="94"/>
                </a:cxn>
                <a:cxn ang="0">
                  <a:pos x="219" y="119"/>
                </a:cxn>
                <a:cxn ang="0">
                  <a:pos x="240" y="136"/>
                </a:cxn>
                <a:cxn ang="0">
                  <a:pos x="237" y="157"/>
                </a:cxn>
                <a:cxn ang="0">
                  <a:pos x="242" y="171"/>
                </a:cxn>
                <a:cxn ang="0">
                  <a:pos x="248" y="184"/>
                </a:cxn>
                <a:cxn ang="0">
                  <a:pos x="236" y="187"/>
                </a:cxn>
                <a:cxn ang="0">
                  <a:pos x="232" y="195"/>
                </a:cxn>
                <a:cxn ang="0">
                  <a:pos x="228" y="209"/>
                </a:cxn>
                <a:cxn ang="0">
                  <a:pos x="217" y="218"/>
                </a:cxn>
                <a:cxn ang="0">
                  <a:pos x="204" y="212"/>
                </a:cxn>
                <a:cxn ang="0">
                  <a:pos x="188" y="217"/>
                </a:cxn>
                <a:cxn ang="0">
                  <a:pos x="176" y="214"/>
                </a:cxn>
                <a:cxn ang="0">
                  <a:pos x="164" y="207"/>
                </a:cxn>
                <a:cxn ang="0">
                  <a:pos x="153" y="192"/>
                </a:cxn>
                <a:cxn ang="0">
                  <a:pos x="132" y="179"/>
                </a:cxn>
                <a:cxn ang="0">
                  <a:pos x="114" y="164"/>
                </a:cxn>
                <a:cxn ang="0">
                  <a:pos x="101" y="169"/>
                </a:cxn>
                <a:cxn ang="0">
                  <a:pos x="81" y="177"/>
                </a:cxn>
                <a:cxn ang="0">
                  <a:pos x="69" y="186"/>
                </a:cxn>
                <a:cxn ang="0">
                  <a:pos x="70" y="159"/>
                </a:cxn>
                <a:cxn ang="0">
                  <a:pos x="78" y="138"/>
                </a:cxn>
                <a:cxn ang="0">
                  <a:pos x="44" y="143"/>
                </a:cxn>
                <a:cxn ang="0">
                  <a:pos x="23" y="119"/>
                </a:cxn>
                <a:cxn ang="0">
                  <a:pos x="21" y="107"/>
                </a:cxn>
                <a:cxn ang="0">
                  <a:pos x="28" y="96"/>
                </a:cxn>
                <a:cxn ang="0">
                  <a:pos x="22" y="87"/>
                </a:cxn>
                <a:cxn ang="0">
                  <a:pos x="20" y="68"/>
                </a:cxn>
                <a:cxn ang="0">
                  <a:pos x="3" y="63"/>
                </a:cxn>
                <a:cxn ang="0">
                  <a:pos x="13" y="59"/>
                </a:cxn>
                <a:cxn ang="0">
                  <a:pos x="17" y="44"/>
                </a:cxn>
                <a:cxn ang="0">
                  <a:pos x="29" y="39"/>
                </a:cxn>
                <a:cxn ang="0">
                  <a:pos x="46" y="32"/>
                </a:cxn>
                <a:cxn ang="0">
                  <a:pos x="58" y="25"/>
                </a:cxn>
                <a:cxn ang="0">
                  <a:pos x="81" y="18"/>
                </a:cxn>
                <a:cxn ang="0">
                  <a:pos x="97" y="8"/>
                </a:cxn>
                <a:cxn ang="0">
                  <a:pos x="109" y="14"/>
                </a:cxn>
                <a:cxn ang="0">
                  <a:pos x="128" y="5"/>
                </a:cxn>
                <a:cxn ang="0">
                  <a:pos x="136" y="4"/>
                </a:cxn>
                <a:cxn ang="0">
                  <a:pos x="153" y="6"/>
                </a:cxn>
                <a:cxn ang="0">
                  <a:pos x="167" y="6"/>
                </a:cxn>
                <a:cxn ang="0">
                  <a:pos x="183" y="12"/>
                </a:cxn>
                <a:cxn ang="0">
                  <a:pos x="195" y="14"/>
                </a:cxn>
                <a:cxn ang="0">
                  <a:pos x="227" y="23"/>
                </a:cxn>
                <a:cxn ang="0">
                  <a:pos x="247" y="19"/>
                </a:cxn>
              </a:cxnLst>
              <a:rect l="0" t="0" r="r" b="b"/>
              <a:pathLst>
                <a:path w="272" h="221">
                  <a:moveTo>
                    <a:pt x="264" y="14"/>
                  </a:moveTo>
                  <a:cubicBezTo>
                    <a:pt x="264" y="14"/>
                    <a:pt x="264" y="15"/>
                    <a:pt x="264" y="15"/>
                  </a:cubicBezTo>
                  <a:cubicBezTo>
                    <a:pt x="265" y="18"/>
                    <a:pt x="267" y="20"/>
                    <a:pt x="269" y="22"/>
                  </a:cubicBezTo>
                  <a:cubicBezTo>
                    <a:pt x="270" y="23"/>
                    <a:pt x="271" y="24"/>
                    <a:pt x="271" y="26"/>
                  </a:cubicBezTo>
                  <a:cubicBezTo>
                    <a:pt x="272" y="28"/>
                    <a:pt x="271" y="27"/>
                    <a:pt x="270" y="29"/>
                  </a:cubicBezTo>
                  <a:cubicBezTo>
                    <a:pt x="269" y="30"/>
                    <a:pt x="269" y="31"/>
                    <a:pt x="268" y="32"/>
                  </a:cubicBezTo>
                  <a:cubicBezTo>
                    <a:pt x="267" y="35"/>
                    <a:pt x="265" y="34"/>
                    <a:pt x="264" y="35"/>
                  </a:cubicBezTo>
                  <a:cubicBezTo>
                    <a:pt x="260" y="37"/>
                    <a:pt x="257" y="41"/>
                    <a:pt x="256" y="45"/>
                  </a:cubicBezTo>
                  <a:cubicBezTo>
                    <a:pt x="255" y="46"/>
                    <a:pt x="255" y="48"/>
                    <a:pt x="255" y="49"/>
                  </a:cubicBezTo>
                  <a:cubicBezTo>
                    <a:pt x="254" y="51"/>
                    <a:pt x="254" y="53"/>
                    <a:pt x="254" y="54"/>
                  </a:cubicBezTo>
                  <a:cubicBezTo>
                    <a:pt x="254" y="57"/>
                    <a:pt x="253" y="58"/>
                    <a:pt x="253" y="60"/>
                  </a:cubicBezTo>
                  <a:cubicBezTo>
                    <a:pt x="252" y="62"/>
                    <a:pt x="253" y="64"/>
                    <a:pt x="252" y="66"/>
                  </a:cubicBezTo>
                  <a:cubicBezTo>
                    <a:pt x="251" y="69"/>
                    <a:pt x="248" y="71"/>
                    <a:pt x="245" y="71"/>
                  </a:cubicBezTo>
                  <a:cubicBezTo>
                    <a:pt x="242" y="71"/>
                    <a:pt x="242" y="70"/>
                    <a:pt x="240" y="69"/>
                  </a:cubicBezTo>
                  <a:cubicBezTo>
                    <a:pt x="238" y="68"/>
                    <a:pt x="236" y="69"/>
                    <a:pt x="234" y="69"/>
                  </a:cubicBezTo>
                  <a:cubicBezTo>
                    <a:pt x="230" y="69"/>
                    <a:pt x="227" y="71"/>
                    <a:pt x="223" y="72"/>
                  </a:cubicBezTo>
                  <a:cubicBezTo>
                    <a:pt x="220" y="73"/>
                    <a:pt x="218" y="73"/>
                    <a:pt x="215" y="74"/>
                  </a:cubicBezTo>
                  <a:cubicBezTo>
                    <a:pt x="213" y="75"/>
                    <a:pt x="211" y="76"/>
                    <a:pt x="209" y="77"/>
                  </a:cubicBezTo>
                  <a:cubicBezTo>
                    <a:pt x="206" y="79"/>
                    <a:pt x="202" y="80"/>
                    <a:pt x="203" y="84"/>
                  </a:cubicBezTo>
                  <a:cubicBezTo>
                    <a:pt x="204" y="86"/>
                    <a:pt x="207" y="89"/>
                    <a:pt x="209" y="91"/>
                  </a:cubicBezTo>
                  <a:cubicBezTo>
                    <a:pt x="210" y="92"/>
                    <a:pt x="211" y="93"/>
                    <a:pt x="212" y="94"/>
                  </a:cubicBezTo>
                  <a:cubicBezTo>
                    <a:pt x="215" y="97"/>
                    <a:pt x="215" y="101"/>
                    <a:pt x="216" y="105"/>
                  </a:cubicBezTo>
                  <a:cubicBezTo>
                    <a:pt x="216" y="108"/>
                    <a:pt x="216" y="111"/>
                    <a:pt x="216" y="114"/>
                  </a:cubicBezTo>
                  <a:cubicBezTo>
                    <a:pt x="217" y="116"/>
                    <a:pt x="218" y="117"/>
                    <a:pt x="219" y="119"/>
                  </a:cubicBezTo>
                  <a:cubicBezTo>
                    <a:pt x="220" y="123"/>
                    <a:pt x="219" y="126"/>
                    <a:pt x="222" y="129"/>
                  </a:cubicBezTo>
                  <a:cubicBezTo>
                    <a:pt x="224" y="130"/>
                    <a:pt x="229" y="131"/>
                    <a:pt x="229" y="135"/>
                  </a:cubicBezTo>
                  <a:cubicBezTo>
                    <a:pt x="232" y="136"/>
                    <a:pt x="237" y="134"/>
                    <a:pt x="240" y="136"/>
                  </a:cubicBezTo>
                  <a:cubicBezTo>
                    <a:pt x="243" y="140"/>
                    <a:pt x="237" y="140"/>
                    <a:pt x="236" y="141"/>
                  </a:cubicBezTo>
                  <a:cubicBezTo>
                    <a:pt x="235" y="142"/>
                    <a:pt x="235" y="144"/>
                    <a:pt x="235" y="146"/>
                  </a:cubicBezTo>
                  <a:cubicBezTo>
                    <a:pt x="235" y="151"/>
                    <a:pt x="234" y="154"/>
                    <a:pt x="237" y="157"/>
                  </a:cubicBezTo>
                  <a:cubicBezTo>
                    <a:pt x="238" y="159"/>
                    <a:pt x="239" y="161"/>
                    <a:pt x="240" y="163"/>
                  </a:cubicBezTo>
                  <a:cubicBezTo>
                    <a:pt x="241" y="165"/>
                    <a:pt x="242" y="166"/>
                    <a:pt x="242" y="168"/>
                  </a:cubicBezTo>
                  <a:cubicBezTo>
                    <a:pt x="242" y="169"/>
                    <a:pt x="242" y="170"/>
                    <a:pt x="242" y="171"/>
                  </a:cubicBezTo>
                  <a:cubicBezTo>
                    <a:pt x="242" y="172"/>
                    <a:pt x="244" y="173"/>
                    <a:pt x="244" y="174"/>
                  </a:cubicBezTo>
                  <a:cubicBezTo>
                    <a:pt x="245" y="174"/>
                    <a:pt x="245" y="177"/>
                    <a:pt x="245" y="178"/>
                  </a:cubicBezTo>
                  <a:cubicBezTo>
                    <a:pt x="245" y="180"/>
                    <a:pt x="246" y="182"/>
                    <a:pt x="248" y="184"/>
                  </a:cubicBezTo>
                  <a:cubicBezTo>
                    <a:pt x="248" y="185"/>
                    <a:pt x="250" y="184"/>
                    <a:pt x="250" y="186"/>
                  </a:cubicBezTo>
                  <a:cubicBezTo>
                    <a:pt x="249" y="188"/>
                    <a:pt x="248" y="187"/>
                    <a:pt x="247" y="187"/>
                  </a:cubicBezTo>
                  <a:cubicBezTo>
                    <a:pt x="244" y="188"/>
                    <a:pt x="239" y="186"/>
                    <a:pt x="236" y="187"/>
                  </a:cubicBezTo>
                  <a:cubicBezTo>
                    <a:pt x="234" y="188"/>
                    <a:pt x="235" y="189"/>
                    <a:pt x="234" y="191"/>
                  </a:cubicBezTo>
                  <a:cubicBezTo>
                    <a:pt x="233" y="192"/>
                    <a:pt x="232" y="191"/>
                    <a:pt x="232" y="193"/>
                  </a:cubicBezTo>
                  <a:cubicBezTo>
                    <a:pt x="232" y="194"/>
                    <a:pt x="232" y="195"/>
                    <a:pt x="232" y="195"/>
                  </a:cubicBezTo>
                  <a:cubicBezTo>
                    <a:pt x="234" y="198"/>
                    <a:pt x="234" y="197"/>
                    <a:pt x="234" y="200"/>
                  </a:cubicBezTo>
                  <a:cubicBezTo>
                    <a:pt x="234" y="200"/>
                    <a:pt x="235" y="203"/>
                    <a:pt x="234" y="204"/>
                  </a:cubicBezTo>
                  <a:cubicBezTo>
                    <a:pt x="233" y="207"/>
                    <a:pt x="230" y="207"/>
                    <a:pt x="228" y="209"/>
                  </a:cubicBezTo>
                  <a:cubicBezTo>
                    <a:pt x="226" y="210"/>
                    <a:pt x="226" y="211"/>
                    <a:pt x="226" y="214"/>
                  </a:cubicBezTo>
                  <a:cubicBezTo>
                    <a:pt x="226" y="217"/>
                    <a:pt x="227" y="218"/>
                    <a:pt x="227" y="220"/>
                  </a:cubicBezTo>
                  <a:cubicBezTo>
                    <a:pt x="223" y="221"/>
                    <a:pt x="220" y="220"/>
                    <a:pt x="217" y="218"/>
                  </a:cubicBezTo>
                  <a:cubicBezTo>
                    <a:pt x="215" y="217"/>
                    <a:pt x="213" y="217"/>
                    <a:pt x="211" y="216"/>
                  </a:cubicBezTo>
                  <a:cubicBezTo>
                    <a:pt x="210" y="215"/>
                    <a:pt x="210" y="214"/>
                    <a:pt x="209" y="213"/>
                  </a:cubicBezTo>
                  <a:cubicBezTo>
                    <a:pt x="208" y="212"/>
                    <a:pt x="206" y="212"/>
                    <a:pt x="204" y="212"/>
                  </a:cubicBezTo>
                  <a:cubicBezTo>
                    <a:pt x="203" y="211"/>
                    <a:pt x="204" y="211"/>
                    <a:pt x="202" y="211"/>
                  </a:cubicBezTo>
                  <a:cubicBezTo>
                    <a:pt x="201" y="210"/>
                    <a:pt x="197" y="210"/>
                    <a:pt x="196" y="211"/>
                  </a:cubicBezTo>
                  <a:cubicBezTo>
                    <a:pt x="191" y="212"/>
                    <a:pt x="192" y="216"/>
                    <a:pt x="188" y="217"/>
                  </a:cubicBezTo>
                  <a:cubicBezTo>
                    <a:pt x="187" y="217"/>
                    <a:pt x="186" y="217"/>
                    <a:pt x="185" y="217"/>
                  </a:cubicBezTo>
                  <a:cubicBezTo>
                    <a:pt x="183" y="216"/>
                    <a:pt x="180" y="216"/>
                    <a:pt x="178" y="215"/>
                  </a:cubicBezTo>
                  <a:cubicBezTo>
                    <a:pt x="177" y="215"/>
                    <a:pt x="177" y="214"/>
                    <a:pt x="176" y="214"/>
                  </a:cubicBezTo>
                  <a:cubicBezTo>
                    <a:pt x="174" y="213"/>
                    <a:pt x="173" y="212"/>
                    <a:pt x="171" y="212"/>
                  </a:cubicBezTo>
                  <a:cubicBezTo>
                    <a:pt x="171" y="212"/>
                    <a:pt x="169" y="213"/>
                    <a:pt x="168" y="212"/>
                  </a:cubicBezTo>
                  <a:cubicBezTo>
                    <a:pt x="166" y="212"/>
                    <a:pt x="165" y="209"/>
                    <a:pt x="164" y="207"/>
                  </a:cubicBezTo>
                  <a:cubicBezTo>
                    <a:pt x="162" y="205"/>
                    <a:pt x="161" y="203"/>
                    <a:pt x="159" y="200"/>
                  </a:cubicBezTo>
                  <a:cubicBezTo>
                    <a:pt x="158" y="198"/>
                    <a:pt x="158" y="197"/>
                    <a:pt x="156" y="196"/>
                  </a:cubicBezTo>
                  <a:cubicBezTo>
                    <a:pt x="153" y="195"/>
                    <a:pt x="153" y="195"/>
                    <a:pt x="153" y="192"/>
                  </a:cubicBezTo>
                  <a:cubicBezTo>
                    <a:pt x="152" y="189"/>
                    <a:pt x="154" y="188"/>
                    <a:pt x="151" y="186"/>
                  </a:cubicBezTo>
                  <a:cubicBezTo>
                    <a:pt x="148" y="185"/>
                    <a:pt x="145" y="186"/>
                    <a:pt x="143" y="184"/>
                  </a:cubicBezTo>
                  <a:cubicBezTo>
                    <a:pt x="139" y="181"/>
                    <a:pt x="139" y="177"/>
                    <a:pt x="132" y="179"/>
                  </a:cubicBezTo>
                  <a:cubicBezTo>
                    <a:pt x="133" y="174"/>
                    <a:pt x="128" y="171"/>
                    <a:pt x="124" y="169"/>
                  </a:cubicBezTo>
                  <a:cubicBezTo>
                    <a:pt x="122" y="169"/>
                    <a:pt x="121" y="168"/>
                    <a:pt x="120" y="168"/>
                  </a:cubicBezTo>
                  <a:cubicBezTo>
                    <a:pt x="118" y="166"/>
                    <a:pt x="117" y="164"/>
                    <a:pt x="114" y="164"/>
                  </a:cubicBezTo>
                  <a:cubicBezTo>
                    <a:pt x="114" y="166"/>
                    <a:pt x="114" y="169"/>
                    <a:pt x="114" y="171"/>
                  </a:cubicBezTo>
                  <a:cubicBezTo>
                    <a:pt x="109" y="172"/>
                    <a:pt x="112" y="166"/>
                    <a:pt x="110" y="165"/>
                  </a:cubicBezTo>
                  <a:cubicBezTo>
                    <a:pt x="108" y="164"/>
                    <a:pt x="103" y="168"/>
                    <a:pt x="101" y="169"/>
                  </a:cubicBezTo>
                  <a:cubicBezTo>
                    <a:pt x="100" y="170"/>
                    <a:pt x="99" y="170"/>
                    <a:pt x="98" y="171"/>
                  </a:cubicBezTo>
                  <a:cubicBezTo>
                    <a:pt x="97" y="172"/>
                    <a:pt x="96" y="173"/>
                    <a:pt x="96" y="174"/>
                  </a:cubicBezTo>
                  <a:cubicBezTo>
                    <a:pt x="92" y="177"/>
                    <a:pt x="86" y="176"/>
                    <a:pt x="81" y="177"/>
                  </a:cubicBezTo>
                  <a:cubicBezTo>
                    <a:pt x="78" y="177"/>
                    <a:pt x="79" y="177"/>
                    <a:pt x="78" y="179"/>
                  </a:cubicBezTo>
                  <a:cubicBezTo>
                    <a:pt x="76" y="181"/>
                    <a:pt x="75" y="182"/>
                    <a:pt x="73" y="184"/>
                  </a:cubicBezTo>
                  <a:cubicBezTo>
                    <a:pt x="72" y="184"/>
                    <a:pt x="70" y="186"/>
                    <a:pt x="69" y="186"/>
                  </a:cubicBezTo>
                  <a:cubicBezTo>
                    <a:pt x="65" y="188"/>
                    <a:pt x="65" y="185"/>
                    <a:pt x="64" y="182"/>
                  </a:cubicBezTo>
                  <a:cubicBezTo>
                    <a:pt x="63" y="176"/>
                    <a:pt x="67" y="174"/>
                    <a:pt x="68" y="169"/>
                  </a:cubicBezTo>
                  <a:cubicBezTo>
                    <a:pt x="70" y="165"/>
                    <a:pt x="71" y="163"/>
                    <a:pt x="70" y="159"/>
                  </a:cubicBezTo>
                  <a:cubicBezTo>
                    <a:pt x="70" y="157"/>
                    <a:pt x="70" y="156"/>
                    <a:pt x="69" y="154"/>
                  </a:cubicBezTo>
                  <a:cubicBezTo>
                    <a:pt x="69" y="150"/>
                    <a:pt x="70" y="145"/>
                    <a:pt x="73" y="142"/>
                  </a:cubicBezTo>
                  <a:cubicBezTo>
                    <a:pt x="74" y="140"/>
                    <a:pt x="77" y="140"/>
                    <a:pt x="78" y="138"/>
                  </a:cubicBezTo>
                  <a:cubicBezTo>
                    <a:pt x="76" y="135"/>
                    <a:pt x="64" y="134"/>
                    <a:pt x="62" y="137"/>
                  </a:cubicBezTo>
                  <a:cubicBezTo>
                    <a:pt x="59" y="140"/>
                    <a:pt x="59" y="144"/>
                    <a:pt x="55" y="147"/>
                  </a:cubicBezTo>
                  <a:cubicBezTo>
                    <a:pt x="51" y="150"/>
                    <a:pt x="47" y="147"/>
                    <a:pt x="44" y="143"/>
                  </a:cubicBezTo>
                  <a:cubicBezTo>
                    <a:pt x="43" y="140"/>
                    <a:pt x="37" y="130"/>
                    <a:pt x="33" y="134"/>
                  </a:cubicBezTo>
                  <a:cubicBezTo>
                    <a:pt x="31" y="131"/>
                    <a:pt x="30" y="127"/>
                    <a:pt x="27" y="124"/>
                  </a:cubicBezTo>
                  <a:cubicBezTo>
                    <a:pt x="26" y="122"/>
                    <a:pt x="24" y="121"/>
                    <a:pt x="23" y="119"/>
                  </a:cubicBezTo>
                  <a:cubicBezTo>
                    <a:pt x="22" y="118"/>
                    <a:pt x="23" y="114"/>
                    <a:pt x="23" y="112"/>
                  </a:cubicBezTo>
                  <a:cubicBezTo>
                    <a:pt x="22" y="111"/>
                    <a:pt x="22" y="110"/>
                    <a:pt x="21" y="109"/>
                  </a:cubicBezTo>
                  <a:cubicBezTo>
                    <a:pt x="21" y="108"/>
                    <a:pt x="21" y="108"/>
                    <a:pt x="21" y="107"/>
                  </a:cubicBezTo>
                  <a:cubicBezTo>
                    <a:pt x="21" y="107"/>
                    <a:pt x="21" y="106"/>
                    <a:pt x="20" y="106"/>
                  </a:cubicBezTo>
                  <a:cubicBezTo>
                    <a:pt x="19" y="104"/>
                    <a:pt x="16" y="97"/>
                    <a:pt x="20" y="96"/>
                  </a:cubicBezTo>
                  <a:cubicBezTo>
                    <a:pt x="22" y="95"/>
                    <a:pt x="26" y="97"/>
                    <a:pt x="28" y="96"/>
                  </a:cubicBezTo>
                  <a:cubicBezTo>
                    <a:pt x="28" y="96"/>
                    <a:pt x="30" y="93"/>
                    <a:pt x="30" y="93"/>
                  </a:cubicBezTo>
                  <a:cubicBezTo>
                    <a:pt x="31" y="91"/>
                    <a:pt x="32" y="90"/>
                    <a:pt x="32" y="88"/>
                  </a:cubicBezTo>
                  <a:cubicBezTo>
                    <a:pt x="28" y="87"/>
                    <a:pt x="25" y="88"/>
                    <a:pt x="22" y="87"/>
                  </a:cubicBezTo>
                  <a:cubicBezTo>
                    <a:pt x="22" y="86"/>
                    <a:pt x="22" y="84"/>
                    <a:pt x="22" y="82"/>
                  </a:cubicBezTo>
                  <a:cubicBezTo>
                    <a:pt x="21" y="80"/>
                    <a:pt x="18" y="79"/>
                    <a:pt x="17" y="76"/>
                  </a:cubicBezTo>
                  <a:cubicBezTo>
                    <a:pt x="16" y="72"/>
                    <a:pt x="18" y="70"/>
                    <a:pt x="20" y="68"/>
                  </a:cubicBezTo>
                  <a:cubicBezTo>
                    <a:pt x="19" y="66"/>
                    <a:pt x="14" y="67"/>
                    <a:pt x="12" y="67"/>
                  </a:cubicBezTo>
                  <a:cubicBezTo>
                    <a:pt x="9" y="67"/>
                    <a:pt x="6" y="70"/>
                    <a:pt x="4" y="69"/>
                  </a:cubicBezTo>
                  <a:cubicBezTo>
                    <a:pt x="0" y="68"/>
                    <a:pt x="1" y="64"/>
                    <a:pt x="3" y="63"/>
                  </a:cubicBezTo>
                  <a:cubicBezTo>
                    <a:pt x="6" y="62"/>
                    <a:pt x="6" y="62"/>
                    <a:pt x="8" y="63"/>
                  </a:cubicBezTo>
                  <a:cubicBezTo>
                    <a:pt x="10" y="63"/>
                    <a:pt x="11" y="62"/>
                    <a:pt x="12" y="61"/>
                  </a:cubicBezTo>
                  <a:cubicBezTo>
                    <a:pt x="12" y="60"/>
                    <a:pt x="12" y="59"/>
                    <a:pt x="13" y="59"/>
                  </a:cubicBezTo>
                  <a:cubicBezTo>
                    <a:pt x="13" y="58"/>
                    <a:pt x="14" y="59"/>
                    <a:pt x="14" y="58"/>
                  </a:cubicBezTo>
                  <a:cubicBezTo>
                    <a:pt x="16" y="57"/>
                    <a:pt x="16" y="57"/>
                    <a:pt x="17" y="55"/>
                  </a:cubicBezTo>
                  <a:cubicBezTo>
                    <a:pt x="18" y="51"/>
                    <a:pt x="17" y="48"/>
                    <a:pt x="17" y="44"/>
                  </a:cubicBezTo>
                  <a:cubicBezTo>
                    <a:pt x="16" y="40"/>
                    <a:pt x="17" y="37"/>
                    <a:pt x="21" y="39"/>
                  </a:cubicBezTo>
                  <a:cubicBezTo>
                    <a:pt x="22" y="39"/>
                    <a:pt x="23" y="41"/>
                    <a:pt x="25" y="41"/>
                  </a:cubicBezTo>
                  <a:cubicBezTo>
                    <a:pt x="27" y="42"/>
                    <a:pt x="28" y="40"/>
                    <a:pt x="29" y="39"/>
                  </a:cubicBezTo>
                  <a:cubicBezTo>
                    <a:pt x="31" y="37"/>
                    <a:pt x="41" y="36"/>
                    <a:pt x="41" y="40"/>
                  </a:cubicBezTo>
                  <a:cubicBezTo>
                    <a:pt x="43" y="40"/>
                    <a:pt x="52" y="40"/>
                    <a:pt x="50" y="36"/>
                  </a:cubicBezTo>
                  <a:cubicBezTo>
                    <a:pt x="50" y="34"/>
                    <a:pt x="47" y="34"/>
                    <a:pt x="46" y="32"/>
                  </a:cubicBezTo>
                  <a:cubicBezTo>
                    <a:pt x="45" y="30"/>
                    <a:pt x="47" y="29"/>
                    <a:pt x="48" y="29"/>
                  </a:cubicBezTo>
                  <a:cubicBezTo>
                    <a:pt x="50" y="29"/>
                    <a:pt x="52" y="30"/>
                    <a:pt x="53" y="29"/>
                  </a:cubicBezTo>
                  <a:cubicBezTo>
                    <a:pt x="56" y="29"/>
                    <a:pt x="56" y="27"/>
                    <a:pt x="58" y="25"/>
                  </a:cubicBezTo>
                  <a:cubicBezTo>
                    <a:pt x="61" y="22"/>
                    <a:pt x="66" y="20"/>
                    <a:pt x="69" y="20"/>
                  </a:cubicBezTo>
                  <a:cubicBezTo>
                    <a:pt x="72" y="20"/>
                    <a:pt x="73" y="20"/>
                    <a:pt x="75" y="19"/>
                  </a:cubicBezTo>
                  <a:cubicBezTo>
                    <a:pt x="77" y="19"/>
                    <a:pt x="79" y="18"/>
                    <a:pt x="81" y="18"/>
                  </a:cubicBezTo>
                  <a:cubicBezTo>
                    <a:pt x="83" y="17"/>
                    <a:pt x="83" y="17"/>
                    <a:pt x="84" y="16"/>
                  </a:cubicBezTo>
                  <a:cubicBezTo>
                    <a:pt x="85" y="15"/>
                    <a:pt x="87" y="15"/>
                    <a:pt x="89" y="14"/>
                  </a:cubicBezTo>
                  <a:cubicBezTo>
                    <a:pt x="92" y="11"/>
                    <a:pt x="93" y="9"/>
                    <a:pt x="97" y="8"/>
                  </a:cubicBezTo>
                  <a:cubicBezTo>
                    <a:pt x="100" y="7"/>
                    <a:pt x="102" y="8"/>
                    <a:pt x="105" y="10"/>
                  </a:cubicBezTo>
                  <a:cubicBezTo>
                    <a:pt x="106" y="11"/>
                    <a:pt x="108" y="11"/>
                    <a:pt x="109" y="12"/>
                  </a:cubicBezTo>
                  <a:cubicBezTo>
                    <a:pt x="109" y="13"/>
                    <a:pt x="109" y="14"/>
                    <a:pt x="109" y="14"/>
                  </a:cubicBezTo>
                  <a:cubicBezTo>
                    <a:pt x="110" y="14"/>
                    <a:pt x="111" y="14"/>
                    <a:pt x="111" y="14"/>
                  </a:cubicBezTo>
                  <a:cubicBezTo>
                    <a:pt x="116" y="16"/>
                    <a:pt x="123" y="16"/>
                    <a:pt x="128" y="15"/>
                  </a:cubicBezTo>
                  <a:cubicBezTo>
                    <a:pt x="128" y="12"/>
                    <a:pt x="127" y="8"/>
                    <a:pt x="128" y="5"/>
                  </a:cubicBezTo>
                  <a:cubicBezTo>
                    <a:pt x="128" y="4"/>
                    <a:pt x="128" y="2"/>
                    <a:pt x="130" y="3"/>
                  </a:cubicBezTo>
                  <a:cubicBezTo>
                    <a:pt x="133" y="3"/>
                    <a:pt x="132" y="7"/>
                    <a:pt x="132" y="9"/>
                  </a:cubicBezTo>
                  <a:cubicBezTo>
                    <a:pt x="136" y="10"/>
                    <a:pt x="135" y="5"/>
                    <a:pt x="136" y="4"/>
                  </a:cubicBezTo>
                  <a:cubicBezTo>
                    <a:pt x="139" y="0"/>
                    <a:pt x="140" y="6"/>
                    <a:pt x="141" y="8"/>
                  </a:cubicBezTo>
                  <a:cubicBezTo>
                    <a:pt x="143" y="8"/>
                    <a:pt x="145" y="9"/>
                    <a:pt x="147" y="8"/>
                  </a:cubicBezTo>
                  <a:cubicBezTo>
                    <a:pt x="150" y="8"/>
                    <a:pt x="151" y="7"/>
                    <a:pt x="153" y="6"/>
                  </a:cubicBezTo>
                  <a:cubicBezTo>
                    <a:pt x="156" y="5"/>
                    <a:pt x="158" y="5"/>
                    <a:pt x="161" y="5"/>
                  </a:cubicBezTo>
                  <a:cubicBezTo>
                    <a:pt x="163" y="4"/>
                    <a:pt x="163" y="3"/>
                    <a:pt x="166" y="4"/>
                  </a:cubicBezTo>
                  <a:cubicBezTo>
                    <a:pt x="166" y="5"/>
                    <a:pt x="167" y="6"/>
                    <a:pt x="167" y="6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2" y="8"/>
                    <a:pt x="173" y="9"/>
                    <a:pt x="175" y="9"/>
                  </a:cubicBezTo>
                  <a:cubicBezTo>
                    <a:pt x="177" y="10"/>
                    <a:pt x="180" y="12"/>
                    <a:pt x="183" y="12"/>
                  </a:cubicBezTo>
                  <a:cubicBezTo>
                    <a:pt x="183" y="11"/>
                    <a:pt x="183" y="9"/>
                    <a:pt x="183" y="8"/>
                  </a:cubicBezTo>
                  <a:cubicBezTo>
                    <a:pt x="185" y="8"/>
                    <a:pt x="187" y="10"/>
                    <a:pt x="188" y="11"/>
                  </a:cubicBezTo>
                  <a:cubicBezTo>
                    <a:pt x="191" y="13"/>
                    <a:pt x="192" y="14"/>
                    <a:pt x="195" y="14"/>
                  </a:cubicBezTo>
                  <a:cubicBezTo>
                    <a:pt x="198" y="15"/>
                    <a:pt x="202" y="14"/>
                    <a:pt x="205" y="16"/>
                  </a:cubicBezTo>
                  <a:cubicBezTo>
                    <a:pt x="209" y="17"/>
                    <a:pt x="211" y="20"/>
                    <a:pt x="214" y="21"/>
                  </a:cubicBezTo>
                  <a:cubicBezTo>
                    <a:pt x="218" y="23"/>
                    <a:pt x="223" y="23"/>
                    <a:pt x="227" y="23"/>
                  </a:cubicBezTo>
                  <a:cubicBezTo>
                    <a:pt x="231" y="22"/>
                    <a:pt x="233" y="20"/>
                    <a:pt x="237" y="19"/>
                  </a:cubicBezTo>
                  <a:cubicBezTo>
                    <a:pt x="238" y="19"/>
                    <a:pt x="243" y="17"/>
                    <a:pt x="244" y="17"/>
                  </a:cubicBezTo>
                  <a:cubicBezTo>
                    <a:pt x="246" y="18"/>
                    <a:pt x="245" y="18"/>
                    <a:pt x="247" y="19"/>
                  </a:cubicBezTo>
                  <a:cubicBezTo>
                    <a:pt x="251" y="22"/>
                    <a:pt x="259" y="21"/>
                    <a:pt x="264" y="21"/>
                  </a:cubicBezTo>
                  <a:lnTo>
                    <a:pt x="264" y="14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0" name="Freeform 41">
              <a:extLst>
                <a:ext uri="{FF2B5EF4-FFF2-40B4-BE49-F238E27FC236}">
                  <a16:creationId xmlns:a16="http://schemas.microsoft.com/office/drawing/2014/main" id="{CE1D84B0-83DF-456D-AE7F-B4308ABA5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3250" y="3044825"/>
              <a:ext cx="171450" cy="144463"/>
            </a:xfrm>
            <a:custGeom>
              <a:avLst/>
              <a:gdLst/>
              <a:ahLst/>
              <a:cxnLst>
                <a:cxn ang="0">
                  <a:pos x="83" y="0"/>
                </a:cxn>
                <a:cxn ang="0">
                  <a:pos x="76" y="1"/>
                </a:cxn>
                <a:cxn ang="0">
                  <a:pos x="75" y="8"/>
                </a:cxn>
                <a:cxn ang="0">
                  <a:pos x="75" y="11"/>
                </a:cxn>
                <a:cxn ang="0">
                  <a:pos x="72" y="9"/>
                </a:cxn>
                <a:cxn ang="0">
                  <a:pos x="69" y="8"/>
                </a:cxn>
                <a:cxn ang="0">
                  <a:pos x="66" y="6"/>
                </a:cxn>
                <a:cxn ang="0">
                  <a:pos x="62" y="6"/>
                </a:cxn>
                <a:cxn ang="0">
                  <a:pos x="59" y="4"/>
                </a:cxn>
                <a:cxn ang="0">
                  <a:pos x="55" y="9"/>
                </a:cxn>
                <a:cxn ang="0">
                  <a:pos x="49" y="9"/>
                </a:cxn>
                <a:cxn ang="0">
                  <a:pos x="46" y="7"/>
                </a:cxn>
                <a:cxn ang="0">
                  <a:pos x="42" y="7"/>
                </a:cxn>
                <a:cxn ang="0">
                  <a:pos x="38" y="3"/>
                </a:cxn>
                <a:cxn ang="0">
                  <a:pos x="36" y="7"/>
                </a:cxn>
                <a:cxn ang="0">
                  <a:pos x="32" y="9"/>
                </a:cxn>
                <a:cxn ang="0">
                  <a:pos x="28" y="20"/>
                </a:cxn>
                <a:cxn ang="0">
                  <a:pos x="22" y="18"/>
                </a:cxn>
                <a:cxn ang="0">
                  <a:pos x="22" y="13"/>
                </a:cxn>
                <a:cxn ang="0">
                  <a:pos x="16" y="25"/>
                </a:cxn>
                <a:cxn ang="0">
                  <a:pos x="7" y="17"/>
                </a:cxn>
                <a:cxn ang="0">
                  <a:pos x="1" y="20"/>
                </a:cxn>
                <a:cxn ang="0">
                  <a:pos x="7" y="27"/>
                </a:cxn>
                <a:cxn ang="0">
                  <a:pos x="5" y="31"/>
                </a:cxn>
                <a:cxn ang="0">
                  <a:pos x="9" y="36"/>
                </a:cxn>
                <a:cxn ang="0">
                  <a:pos x="3" y="39"/>
                </a:cxn>
                <a:cxn ang="0">
                  <a:pos x="10" y="42"/>
                </a:cxn>
                <a:cxn ang="0">
                  <a:pos x="19" y="51"/>
                </a:cxn>
                <a:cxn ang="0">
                  <a:pos x="20" y="59"/>
                </a:cxn>
                <a:cxn ang="0">
                  <a:pos x="14" y="63"/>
                </a:cxn>
                <a:cxn ang="0">
                  <a:pos x="18" y="77"/>
                </a:cxn>
                <a:cxn ang="0">
                  <a:pos x="22" y="75"/>
                </a:cxn>
                <a:cxn ang="0">
                  <a:pos x="23" y="69"/>
                </a:cxn>
                <a:cxn ang="0">
                  <a:pos x="22" y="64"/>
                </a:cxn>
                <a:cxn ang="0">
                  <a:pos x="21" y="59"/>
                </a:cxn>
                <a:cxn ang="0">
                  <a:pos x="24" y="53"/>
                </a:cxn>
                <a:cxn ang="0">
                  <a:pos x="27" y="49"/>
                </a:cxn>
                <a:cxn ang="0">
                  <a:pos x="28" y="48"/>
                </a:cxn>
                <a:cxn ang="0">
                  <a:pos x="31" y="50"/>
                </a:cxn>
                <a:cxn ang="0">
                  <a:pos x="34" y="48"/>
                </a:cxn>
                <a:cxn ang="0">
                  <a:pos x="39" y="50"/>
                </a:cxn>
                <a:cxn ang="0">
                  <a:pos x="48" y="45"/>
                </a:cxn>
                <a:cxn ang="0">
                  <a:pos x="56" y="44"/>
                </a:cxn>
                <a:cxn ang="0">
                  <a:pos x="57" y="38"/>
                </a:cxn>
                <a:cxn ang="0">
                  <a:pos x="62" y="37"/>
                </a:cxn>
                <a:cxn ang="0">
                  <a:pos x="68" y="31"/>
                </a:cxn>
                <a:cxn ang="0">
                  <a:pos x="72" y="27"/>
                </a:cxn>
                <a:cxn ang="0">
                  <a:pos x="80" y="20"/>
                </a:cxn>
                <a:cxn ang="0">
                  <a:pos x="75" y="17"/>
                </a:cxn>
                <a:cxn ang="0">
                  <a:pos x="72" y="13"/>
                </a:cxn>
                <a:cxn ang="0">
                  <a:pos x="90" y="12"/>
                </a:cxn>
                <a:cxn ang="0">
                  <a:pos x="82" y="1"/>
                </a:cxn>
                <a:cxn ang="0">
                  <a:pos x="83" y="0"/>
                </a:cxn>
              </a:cxnLst>
              <a:rect l="0" t="0" r="r" b="b"/>
              <a:pathLst>
                <a:path w="91" h="77">
                  <a:moveTo>
                    <a:pt x="83" y="0"/>
                  </a:moveTo>
                  <a:cubicBezTo>
                    <a:pt x="81" y="0"/>
                    <a:pt x="77" y="0"/>
                    <a:pt x="76" y="1"/>
                  </a:cubicBezTo>
                  <a:cubicBezTo>
                    <a:pt x="72" y="2"/>
                    <a:pt x="74" y="5"/>
                    <a:pt x="75" y="8"/>
                  </a:cubicBezTo>
                  <a:cubicBezTo>
                    <a:pt x="75" y="9"/>
                    <a:pt x="76" y="10"/>
                    <a:pt x="75" y="11"/>
                  </a:cubicBezTo>
                  <a:cubicBezTo>
                    <a:pt x="73" y="12"/>
                    <a:pt x="73" y="10"/>
                    <a:pt x="72" y="9"/>
                  </a:cubicBezTo>
                  <a:cubicBezTo>
                    <a:pt x="70" y="8"/>
                    <a:pt x="70" y="9"/>
                    <a:pt x="69" y="8"/>
                  </a:cubicBezTo>
                  <a:cubicBezTo>
                    <a:pt x="68" y="7"/>
                    <a:pt x="68" y="7"/>
                    <a:pt x="66" y="6"/>
                  </a:cubicBezTo>
                  <a:cubicBezTo>
                    <a:pt x="65" y="6"/>
                    <a:pt x="63" y="6"/>
                    <a:pt x="62" y="6"/>
                  </a:cubicBezTo>
                  <a:cubicBezTo>
                    <a:pt x="61" y="6"/>
                    <a:pt x="60" y="4"/>
                    <a:pt x="59" y="4"/>
                  </a:cubicBezTo>
                  <a:cubicBezTo>
                    <a:pt x="56" y="4"/>
                    <a:pt x="57" y="8"/>
                    <a:pt x="55" y="9"/>
                  </a:cubicBezTo>
                  <a:cubicBezTo>
                    <a:pt x="54" y="9"/>
                    <a:pt x="50" y="9"/>
                    <a:pt x="49" y="9"/>
                  </a:cubicBezTo>
                  <a:cubicBezTo>
                    <a:pt x="48" y="8"/>
                    <a:pt x="47" y="7"/>
                    <a:pt x="46" y="7"/>
                  </a:cubicBezTo>
                  <a:cubicBezTo>
                    <a:pt x="44" y="7"/>
                    <a:pt x="43" y="7"/>
                    <a:pt x="42" y="7"/>
                  </a:cubicBezTo>
                  <a:cubicBezTo>
                    <a:pt x="41" y="5"/>
                    <a:pt x="41" y="1"/>
                    <a:pt x="38" y="3"/>
                  </a:cubicBezTo>
                  <a:cubicBezTo>
                    <a:pt x="36" y="4"/>
                    <a:pt x="37" y="6"/>
                    <a:pt x="36" y="7"/>
                  </a:cubicBezTo>
                  <a:cubicBezTo>
                    <a:pt x="34" y="9"/>
                    <a:pt x="33" y="8"/>
                    <a:pt x="32" y="9"/>
                  </a:cubicBezTo>
                  <a:cubicBezTo>
                    <a:pt x="28" y="11"/>
                    <a:pt x="31" y="17"/>
                    <a:pt x="28" y="20"/>
                  </a:cubicBezTo>
                  <a:cubicBezTo>
                    <a:pt x="27" y="21"/>
                    <a:pt x="23" y="19"/>
                    <a:pt x="22" y="18"/>
                  </a:cubicBezTo>
                  <a:cubicBezTo>
                    <a:pt x="22" y="17"/>
                    <a:pt x="23" y="15"/>
                    <a:pt x="22" y="13"/>
                  </a:cubicBezTo>
                  <a:cubicBezTo>
                    <a:pt x="16" y="12"/>
                    <a:pt x="16" y="21"/>
                    <a:pt x="16" y="25"/>
                  </a:cubicBezTo>
                  <a:cubicBezTo>
                    <a:pt x="12" y="27"/>
                    <a:pt x="9" y="18"/>
                    <a:pt x="7" y="17"/>
                  </a:cubicBezTo>
                  <a:cubicBezTo>
                    <a:pt x="5" y="15"/>
                    <a:pt x="0" y="16"/>
                    <a:pt x="1" y="20"/>
                  </a:cubicBezTo>
                  <a:cubicBezTo>
                    <a:pt x="5" y="20"/>
                    <a:pt x="7" y="24"/>
                    <a:pt x="7" y="27"/>
                  </a:cubicBezTo>
                  <a:cubicBezTo>
                    <a:pt x="6" y="28"/>
                    <a:pt x="5" y="29"/>
                    <a:pt x="5" y="31"/>
                  </a:cubicBezTo>
                  <a:cubicBezTo>
                    <a:pt x="4" y="34"/>
                    <a:pt x="7" y="34"/>
                    <a:pt x="9" y="36"/>
                  </a:cubicBezTo>
                  <a:cubicBezTo>
                    <a:pt x="8" y="38"/>
                    <a:pt x="4" y="37"/>
                    <a:pt x="3" y="39"/>
                  </a:cubicBezTo>
                  <a:cubicBezTo>
                    <a:pt x="1" y="42"/>
                    <a:pt x="8" y="42"/>
                    <a:pt x="10" y="42"/>
                  </a:cubicBezTo>
                  <a:cubicBezTo>
                    <a:pt x="10" y="48"/>
                    <a:pt x="18" y="45"/>
                    <a:pt x="19" y="51"/>
                  </a:cubicBezTo>
                  <a:cubicBezTo>
                    <a:pt x="19" y="53"/>
                    <a:pt x="21" y="57"/>
                    <a:pt x="20" y="59"/>
                  </a:cubicBezTo>
                  <a:cubicBezTo>
                    <a:pt x="19" y="60"/>
                    <a:pt x="16" y="62"/>
                    <a:pt x="14" y="63"/>
                  </a:cubicBezTo>
                  <a:cubicBezTo>
                    <a:pt x="9" y="67"/>
                    <a:pt x="10" y="77"/>
                    <a:pt x="18" y="77"/>
                  </a:cubicBezTo>
                  <a:cubicBezTo>
                    <a:pt x="21" y="77"/>
                    <a:pt x="21" y="77"/>
                    <a:pt x="22" y="75"/>
                  </a:cubicBezTo>
                  <a:cubicBezTo>
                    <a:pt x="23" y="74"/>
                    <a:pt x="24" y="70"/>
                    <a:pt x="23" y="69"/>
                  </a:cubicBezTo>
                  <a:cubicBezTo>
                    <a:pt x="23" y="67"/>
                    <a:pt x="22" y="66"/>
                    <a:pt x="22" y="64"/>
                  </a:cubicBezTo>
                  <a:cubicBezTo>
                    <a:pt x="21" y="62"/>
                    <a:pt x="22" y="61"/>
                    <a:pt x="21" y="59"/>
                  </a:cubicBezTo>
                  <a:cubicBezTo>
                    <a:pt x="23" y="59"/>
                    <a:pt x="23" y="55"/>
                    <a:pt x="24" y="53"/>
                  </a:cubicBezTo>
                  <a:cubicBezTo>
                    <a:pt x="25" y="52"/>
                    <a:pt x="25" y="50"/>
                    <a:pt x="27" y="49"/>
                  </a:cubicBezTo>
                  <a:cubicBezTo>
                    <a:pt x="28" y="48"/>
                    <a:pt x="27" y="48"/>
                    <a:pt x="28" y="48"/>
                  </a:cubicBezTo>
                  <a:cubicBezTo>
                    <a:pt x="30" y="48"/>
                    <a:pt x="30" y="50"/>
                    <a:pt x="31" y="50"/>
                  </a:cubicBezTo>
                  <a:cubicBezTo>
                    <a:pt x="33" y="51"/>
                    <a:pt x="32" y="49"/>
                    <a:pt x="34" y="48"/>
                  </a:cubicBezTo>
                  <a:cubicBezTo>
                    <a:pt x="37" y="46"/>
                    <a:pt x="38" y="49"/>
                    <a:pt x="39" y="50"/>
                  </a:cubicBezTo>
                  <a:cubicBezTo>
                    <a:pt x="44" y="53"/>
                    <a:pt x="46" y="47"/>
                    <a:pt x="48" y="45"/>
                  </a:cubicBezTo>
                  <a:cubicBezTo>
                    <a:pt x="51" y="42"/>
                    <a:pt x="53" y="45"/>
                    <a:pt x="56" y="44"/>
                  </a:cubicBezTo>
                  <a:cubicBezTo>
                    <a:pt x="56" y="42"/>
                    <a:pt x="55" y="40"/>
                    <a:pt x="57" y="38"/>
                  </a:cubicBezTo>
                  <a:cubicBezTo>
                    <a:pt x="59" y="36"/>
                    <a:pt x="60" y="37"/>
                    <a:pt x="62" y="37"/>
                  </a:cubicBezTo>
                  <a:cubicBezTo>
                    <a:pt x="66" y="36"/>
                    <a:pt x="66" y="34"/>
                    <a:pt x="68" y="31"/>
                  </a:cubicBezTo>
                  <a:cubicBezTo>
                    <a:pt x="69" y="28"/>
                    <a:pt x="69" y="28"/>
                    <a:pt x="72" y="27"/>
                  </a:cubicBezTo>
                  <a:cubicBezTo>
                    <a:pt x="76" y="25"/>
                    <a:pt x="84" y="25"/>
                    <a:pt x="80" y="20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2" y="16"/>
                    <a:pt x="73" y="15"/>
                    <a:pt x="72" y="13"/>
                  </a:cubicBezTo>
                  <a:cubicBezTo>
                    <a:pt x="76" y="15"/>
                    <a:pt x="87" y="17"/>
                    <a:pt x="90" y="12"/>
                  </a:cubicBezTo>
                  <a:cubicBezTo>
                    <a:pt x="91" y="8"/>
                    <a:pt x="85" y="2"/>
                    <a:pt x="82" y="1"/>
                  </a:cubicBezTo>
                  <a:lnTo>
                    <a:pt x="8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1" name="Freeform 42">
              <a:extLst>
                <a:ext uri="{FF2B5EF4-FFF2-40B4-BE49-F238E27FC236}">
                  <a16:creationId xmlns:a16="http://schemas.microsoft.com/office/drawing/2014/main" id="{A4685F21-A5FD-4AE2-B0DD-DF46EEBD35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3413" y="2960688"/>
              <a:ext cx="101600" cy="79375"/>
            </a:xfrm>
            <a:custGeom>
              <a:avLst/>
              <a:gdLst/>
              <a:ahLst/>
              <a:cxnLst>
                <a:cxn ang="0">
                  <a:pos x="50" y="21"/>
                </a:cxn>
                <a:cxn ang="0">
                  <a:pos x="53" y="27"/>
                </a:cxn>
                <a:cxn ang="0">
                  <a:pos x="44" y="26"/>
                </a:cxn>
                <a:cxn ang="0">
                  <a:pos x="36" y="25"/>
                </a:cxn>
                <a:cxn ang="0">
                  <a:pos x="37" y="34"/>
                </a:cxn>
                <a:cxn ang="0">
                  <a:pos x="38" y="39"/>
                </a:cxn>
                <a:cxn ang="0">
                  <a:pos x="31" y="38"/>
                </a:cxn>
                <a:cxn ang="0">
                  <a:pos x="29" y="36"/>
                </a:cxn>
                <a:cxn ang="0">
                  <a:pos x="28" y="40"/>
                </a:cxn>
                <a:cxn ang="0">
                  <a:pos x="23" y="41"/>
                </a:cxn>
                <a:cxn ang="0">
                  <a:pos x="20" y="36"/>
                </a:cxn>
                <a:cxn ang="0">
                  <a:pos x="14" y="25"/>
                </a:cxn>
                <a:cxn ang="0">
                  <a:pos x="3" y="24"/>
                </a:cxn>
                <a:cxn ang="0">
                  <a:pos x="1" y="19"/>
                </a:cxn>
                <a:cxn ang="0">
                  <a:pos x="1" y="16"/>
                </a:cxn>
                <a:cxn ang="0">
                  <a:pos x="10" y="17"/>
                </a:cxn>
                <a:cxn ang="0">
                  <a:pos x="12" y="16"/>
                </a:cxn>
                <a:cxn ang="0">
                  <a:pos x="16" y="17"/>
                </a:cxn>
                <a:cxn ang="0">
                  <a:pos x="20" y="6"/>
                </a:cxn>
                <a:cxn ang="0">
                  <a:pos x="28" y="4"/>
                </a:cxn>
                <a:cxn ang="0">
                  <a:pos x="34" y="0"/>
                </a:cxn>
                <a:cxn ang="0">
                  <a:pos x="35" y="9"/>
                </a:cxn>
                <a:cxn ang="0">
                  <a:pos x="41" y="10"/>
                </a:cxn>
                <a:cxn ang="0">
                  <a:pos x="43" y="15"/>
                </a:cxn>
                <a:cxn ang="0">
                  <a:pos x="53" y="17"/>
                </a:cxn>
                <a:cxn ang="0">
                  <a:pos x="53" y="23"/>
                </a:cxn>
                <a:cxn ang="0">
                  <a:pos x="50" y="21"/>
                </a:cxn>
              </a:cxnLst>
              <a:rect l="0" t="0" r="r" b="b"/>
              <a:pathLst>
                <a:path w="54" h="42">
                  <a:moveTo>
                    <a:pt x="50" y="21"/>
                  </a:moveTo>
                  <a:cubicBezTo>
                    <a:pt x="50" y="24"/>
                    <a:pt x="54" y="24"/>
                    <a:pt x="53" y="27"/>
                  </a:cubicBezTo>
                  <a:cubicBezTo>
                    <a:pt x="50" y="28"/>
                    <a:pt x="47" y="27"/>
                    <a:pt x="44" y="26"/>
                  </a:cubicBezTo>
                  <a:cubicBezTo>
                    <a:pt x="41" y="24"/>
                    <a:pt x="39" y="21"/>
                    <a:pt x="36" y="25"/>
                  </a:cubicBezTo>
                  <a:cubicBezTo>
                    <a:pt x="34" y="29"/>
                    <a:pt x="34" y="31"/>
                    <a:pt x="37" y="34"/>
                  </a:cubicBezTo>
                  <a:cubicBezTo>
                    <a:pt x="38" y="36"/>
                    <a:pt x="39" y="37"/>
                    <a:pt x="38" y="39"/>
                  </a:cubicBezTo>
                  <a:cubicBezTo>
                    <a:pt x="36" y="39"/>
                    <a:pt x="33" y="39"/>
                    <a:pt x="31" y="38"/>
                  </a:cubicBezTo>
                  <a:cubicBezTo>
                    <a:pt x="30" y="38"/>
                    <a:pt x="31" y="36"/>
                    <a:pt x="29" y="36"/>
                  </a:cubicBezTo>
                  <a:cubicBezTo>
                    <a:pt x="28" y="37"/>
                    <a:pt x="29" y="39"/>
                    <a:pt x="28" y="40"/>
                  </a:cubicBezTo>
                  <a:cubicBezTo>
                    <a:pt x="28" y="42"/>
                    <a:pt x="25" y="42"/>
                    <a:pt x="23" y="41"/>
                  </a:cubicBezTo>
                  <a:cubicBezTo>
                    <a:pt x="20" y="40"/>
                    <a:pt x="20" y="39"/>
                    <a:pt x="20" y="36"/>
                  </a:cubicBezTo>
                  <a:cubicBezTo>
                    <a:pt x="20" y="31"/>
                    <a:pt x="20" y="26"/>
                    <a:pt x="14" y="25"/>
                  </a:cubicBezTo>
                  <a:cubicBezTo>
                    <a:pt x="11" y="25"/>
                    <a:pt x="5" y="27"/>
                    <a:pt x="3" y="24"/>
                  </a:cubicBezTo>
                  <a:cubicBezTo>
                    <a:pt x="2" y="23"/>
                    <a:pt x="1" y="20"/>
                    <a:pt x="1" y="19"/>
                  </a:cubicBezTo>
                  <a:cubicBezTo>
                    <a:pt x="1" y="18"/>
                    <a:pt x="0" y="17"/>
                    <a:pt x="1" y="16"/>
                  </a:cubicBezTo>
                  <a:cubicBezTo>
                    <a:pt x="4" y="15"/>
                    <a:pt x="6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4" y="16"/>
                    <a:pt x="15" y="17"/>
                    <a:pt x="16" y="17"/>
                  </a:cubicBezTo>
                  <a:cubicBezTo>
                    <a:pt x="17" y="12"/>
                    <a:pt x="14" y="9"/>
                    <a:pt x="20" y="6"/>
                  </a:cubicBezTo>
                  <a:cubicBezTo>
                    <a:pt x="22" y="5"/>
                    <a:pt x="25" y="5"/>
                    <a:pt x="28" y="4"/>
                  </a:cubicBezTo>
                  <a:cubicBezTo>
                    <a:pt x="30" y="3"/>
                    <a:pt x="31" y="1"/>
                    <a:pt x="34" y="0"/>
                  </a:cubicBezTo>
                  <a:cubicBezTo>
                    <a:pt x="34" y="3"/>
                    <a:pt x="34" y="6"/>
                    <a:pt x="35" y="9"/>
                  </a:cubicBezTo>
                  <a:cubicBezTo>
                    <a:pt x="37" y="9"/>
                    <a:pt x="39" y="9"/>
                    <a:pt x="41" y="10"/>
                  </a:cubicBezTo>
                  <a:cubicBezTo>
                    <a:pt x="42" y="12"/>
                    <a:pt x="41" y="14"/>
                    <a:pt x="43" y="15"/>
                  </a:cubicBezTo>
                  <a:cubicBezTo>
                    <a:pt x="45" y="17"/>
                    <a:pt x="50" y="14"/>
                    <a:pt x="53" y="17"/>
                  </a:cubicBezTo>
                  <a:cubicBezTo>
                    <a:pt x="53" y="18"/>
                    <a:pt x="54" y="21"/>
                    <a:pt x="53" y="23"/>
                  </a:cubicBezTo>
                  <a:lnTo>
                    <a:pt x="50" y="2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2" name="Freeform 43">
              <a:extLst>
                <a:ext uri="{FF2B5EF4-FFF2-40B4-BE49-F238E27FC236}">
                  <a16:creationId xmlns:a16="http://schemas.microsoft.com/office/drawing/2014/main" id="{579B65CB-5519-41AF-9789-72D93D989E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9250" y="5822950"/>
              <a:ext cx="688975" cy="779463"/>
            </a:xfrm>
            <a:custGeom>
              <a:avLst/>
              <a:gdLst/>
              <a:ahLst/>
              <a:cxnLst>
                <a:cxn ang="0">
                  <a:pos x="116" y="274"/>
                </a:cxn>
                <a:cxn ang="0">
                  <a:pos x="84" y="265"/>
                </a:cxn>
                <a:cxn ang="0">
                  <a:pos x="52" y="293"/>
                </a:cxn>
                <a:cxn ang="0">
                  <a:pos x="79" y="343"/>
                </a:cxn>
                <a:cxn ang="0">
                  <a:pos x="77" y="372"/>
                </a:cxn>
                <a:cxn ang="0">
                  <a:pos x="109" y="379"/>
                </a:cxn>
                <a:cxn ang="0">
                  <a:pos x="139" y="385"/>
                </a:cxn>
                <a:cxn ang="0">
                  <a:pos x="154" y="408"/>
                </a:cxn>
                <a:cxn ang="0">
                  <a:pos x="155" y="380"/>
                </a:cxn>
                <a:cxn ang="0">
                  <a:pos x="142" y="334"/>
                </a:cxn>
                <a:cxn ang="0">
                  <a:pos x="160" y="334"/>
                </a:cxn>
                <a:cxn ang="0">
                  <a:pos x="171" y="346"/>
                </a:cxn>
                <a:cxn ang="0">
                  <a:pos x="183" y="335"/>
                </a:cxn>
                <a:cxn ang="0">
                  <a:pos x="160" y="315"/>
                </a:cxn>
                <a:cxn ang="0">
                  <a:pos x="158" y="293"/>
                </a:cxn>
                <a:cxn ang="0">
                  <a:pos x="18" y="191"/>
                </a:cxn>
                <a:cxn ang="0">
                  <a:pos x="48" y="216"/>
                </a:cxn>
                <a:cxn ang="0">
                  <a:pos x="24" y="239"/>
                </a:cxn>
                <a:cxn ang="0">
                  <a:pos x="40" y="236"/>
                </a:cxn>
                <a:cxn ang="0">
                  <a:pos x="69" y="257"/>
                </a:cxn>
                <a:cxn ang="0">
                  <a:pos x="120" y="261"/>
                </a:cxn>
                <a:cxn ang="0">
                  <a:pos x="155" y="271"/>
                </a:cxn>
                <a:cxn ang="0">
                  <a:pos x="152" y="289"/>
                </a:cxn>
                <a:cxn ang="0">
                  <a:pos x="180" y="295"/>
                </a:cxn>
                <a:cxn ang="0">
                  <a:pos x="211" y="312"/>
                </a:cxn>
                <a:cxn ang="0">
                  <a:pos x="216" y="287"/>
                </a:cxn>
                <a:cxn ang="0">
                  <a:pos x="247" y="294"/>
                </a:cxn>
                <a:cxn ang="0">
                  <a:pos x="224" y="248"/>
                </a:cxn>
                <a:cxn ang="0">
                  <a:pos x="168" y="210"/>
                </a:cxn>
                <a:cxn ang="0">
                  <a:pos x="162" y="230"/>
                </a:cxn>
                <a:cxn ang="0">
                  <a:pos x="176" y="249"/>
                </a:cxn>
                <a:cxn ang="0">
                  <a:pos x="149" y="219"/>
                </a:cxn>
                <a:cxn ang="0">
                  <a:pos x="166" y="201"/>
                </a:cxn>
                <a:cxn ang="0">
                  <a:pos x="155" y="166"/>
                </a:cxn>
                <a:cxn ang="0">
                  <a:pos x="132" y="116"/>
                </a:cxn>
                <a:cxn ang="0">
                  <a:pos x="156" y="96"/>
                </a:cxn>
                <a:cxn ang="0">
                  <a:pos x="178" y="138"/>
                </a:cxn>
                <a:cxn ang="0">
                  <a:pos x="196" y="124"/>
                </a:cxn>
                <a:cxn ang="0">
                  <a:pos x="208" y="110"/>
                </a:cxn>
                <a:cxn ang="0">
                  <a:pos x="238" y="121"/>
                </a:cxn>
                <a:cxn ang="0">
                  <a:pos x="210" y="92"/>
                </a:cxn>
                <a:cxn ang="0">
                  <a:pos x="228" y="72"/>
                </a:cxn>
                <a:cxn ang="0">
                  <a:pos x="275" y="53"/>
                </a:cxn>
                <a:cxn ang="0">
                  <a:pos x="333" y="79"/>
                </a:cxn>
                <a:cxn ang="0">
                  <a:pos x="366" y="22"/>
                </a:cxn>
                <a:cxn ang="0">
                  <a:pos x="338" y="13"/>
                </a:cxn>
                <a:cxn ang="0">
                  <a:pos x="320" y="33"/>
                </a:cxn>
                <a:cxn ang="0">
                  <a:pos x="283" y="36"/>
                </a:cxn>
                <a:cxn ang="0">
                  <a:pos x="258" y="27"/>
                </a:cxn>
                <a:cxn ang="0">
                  <a:pos x="239" y="13"/>
                </a:cxn>
                <a:cxn ang="0">
                  <a:pos x="214" y="17"/>
                </a:cxn>
                <a:cxn ang="0">
                  <a:pos x="180" y="25"/>
                </a:cxn>
                <a:cxn ang="0">
                  <a:pos x="155" y="22"/>
                </a:cxn>
                <a:cxn ang="0">
                  <a:pos x="144" y="40"/>
                </a:cxn>
                <a:cxn ang="0">
                  <a:pos x="118" y="37"/>
                </a:cxn>
                <a:cxn ang="0">
                  <a:pos x="93" y="52"/>
                </a:cxn>
                <a:cxn ang="0">
                  <a:pos x="70" y="57"/>
                </a:cxn>
                <a:cxn ang="0">
                  <a:pos x="50" y="82"/>
                </a:cxn>
                <a:cxn ang="0">
                  <a:pos x="33" y="100"/>
                </a:cxn>
                <a:cxn ang="0">
                  <a:pos x="22" y="120"/>
                </a:cxn>
                <a:cxn ang="0">
                  <a:pos x="12" y="140"/>
                </a:cxn>
                <a:cxn ang="0">
                  <a:pos x="2" y="153"/>
                </a:cxn>
              </a:cxnLst>
              <a:rect l="0" t="0" r="r" b="b"/>
              <a:pathLst>
                <a:path w="368" h="417">
                  <a:moveTo>
                    <a:pt x="155" y="296"/>
                  </a:moveTo>
                  <a:cubicBezTo>
                    <a:pt x="155" y="296"/>
                    <a:pt x="155" y="296"/>
                    <a:pt x="155" y="296"/>
                  </a:cubicBezTo>
                  <a:cubicBezTo>
                    <a:pt x="151" y="295"/>
                    <a:pt x="146" y="291"/>
                    <a:pt x="145" y="290"/>
                  </a:cubicBezTo>
                  <a:cubicBezTo>
                    <a:pt x="144" y="289"/>
                    <a:pt x="142" y="288"/>
                    <a:pt x="141" y="287"/>
                  </a:cubicBezTo>
                  <a:cubicBezTo>
                    <a:pt x="141" y="285"/>
                    <a:pt x="140" y="283"/>
                    <a:pt x="139" y="282"/>
                  </a:cubicBezTo>
                  <a:cubicBezTo>
                    <a:pt x="137" y="281"/>
                    <a:pt x="135" y="282"/>
                    <a:pt x="134" y="281"/>
                  </a:cubicBezTo>
                  <a:cubicBezTo>
                    <a:pt x="132" y="281"/>
                    <a:pt x="131" y="280"/>
                    <a:pt x="129" y="279"/>
                  </a:cubicBezTo>
                  <a:cubicBezTo>
                    <a:pt x="125" y="277"/>
                    <a:pt x="120" y="275"/>
                    <a:pt x="116" y="274"/>
                  </a:cubicBezTo>
                  <a:cubicBezTo>
                    <a:pt x="114" y="273"/>
                    <a:pt x="112" y="272"/>
                    <a:pt x="110" y="271"/>
                  </a:cubicBezTo>
                  <a:cubicBezTo>
                    <a:pt x="109" y="271"/>
                    <a:pt x="108" y="271"/>
                    <a:pt x="107" y="270"/>
                  </a:cubicBezTo>
                  <a:cubicBezTo>
                    <a:pt x="106" y="269"/>
                    <a:pt x="107" y="268"/>
                    <a:pt x="106" y="267"/>
                  </a:cubicBezTo>
                  <a:cubicBezTo>
                    <a:pt x="104" y="265"/>
                    <a:pt x="100" y="267"/>
                    <a:pt x="98" y="264"/>
                  </a:cubicBezTo>
                  <a:cubicBezTo>
                    <a:pt x="97" y="262"/>
                    <a:pt x="97" y="261"/>
                    <a:pt x="94" y="261"/>
                  </a:cubicBezTo>
                  <a:cubicBezTo>
                    <a:pt x="92" y="261"/>
                    <a:pt x="91" y="260"/>
                    <a:pt x="89" y="261"/>
                  </a:cubicBezTo>
                  <a:cubicBezTo>
                    <a:pt x="87" y="261"/>
                    <a:pt x="87" y="262"/>
                    <a:pt x="86" y="263"/>
                  </a:cubicBezTo>
                  <a:cubicBezTo>
                    <a:pt x="85" y="264"/>
                    <a:pt x="85" y="265"/>
                    <a:pt x="84" y="265"/>
                  </a:cubicBezTo>
                  <a:cubicBezTo>
                    <a:pt x="82" y="266"/>
                    <a:pt x="81" y="267"/>
                    <a:pt x="79" y="268"/>
                  </a:cubicBezTo>
                  <a:cubicBezTo>
                    <a:pt x="78" y="268"/>
                    <a:pt x="77" y="270"/>
                    <a:pt x="77" y="270"/>
                  </a:cubicBezTo>
                  <a:cubicBezTo>
                    <a:pt x="75" y="271"/>
                    <a:pt x="73" y="270"/>
                    <a:pt x="71" y="269"/>
                  </a:cubicBezTo>
                  <a:cubicBezTo>
                    <a:pt x="70" y="269"/>
                    <a:pt x="67" y="266"/>
                    <a:pt x="65" y="266"/>
                  </a:cubicBezTo>
                  <a:cubicBezTo>
                    <a:pt x="65" y="269"/>
                    <a:pt x="66" y="274"/>
                    <a:pt x="64" y="276"/>
                  </a:cubicBezTo>
                  <a:cubicBezTo>
                    <a:pt x="63" y="277"/>
                    <a:pt x="61" y="277"/>
                    <a:pt x="60" y="278"/>
                  </a:cubicBezTo>
                  <a:cubicBezTo>
                    <a:pt x="57" y="281"/>
                    <a:pt x="55" y="288"/>
                    <a:pt x="55" y="292"/>
                  </a:cubicBezTo>
                  <a:cubicBezTo>
                    <a:pt x="54" y="292"/>
                    <a:pt x="53" y="293"/>
                    <a:pt x="52" y="293"/>
                  </a:cubicBezTo>
                  <a:cubicBezTo>
                    <a:pt x="51" y="293"/>
                    <a:pt x="49" y="292"/>
                    <a:pt x="48" y="293"/>
                  </a:cubicBezTo>
                  <a:cubicBezTo>
                    <a:pt x="45" y="294"/>
                    <a:pt x="44" y="297"/>
                    <a:pt x="46" y="299"/>
                  </a:cubicBezTo>
                  <a:cubicBezTo>
                    <a:pt x="49" y="302"/>
                    <a:pt x="54" y="301"/>
                    <a:pt x="57" y="304"/>
                  </a:cubicBezTo>
                  <a:cubicBezTo>
                    <a:pt x="60" y="307"/>
                    <a:pt x="56" y="309"/>
                    <a:pt x="57" y="312"/>
                  </a:cubicBezTo>
                  <a:cubicBezTo>
                    <a:pt x="61" y="313"/>
                    <a:pt x="65" y="314"/>
                    <a:pt x="69" y="315"/>
                  </a:cubicBezTo>
                  <a:cubicBezTo>
                    <a:pt x="74" y="316"/>
                    <a:pt x="75" y="319"/>
                    <a:pt x="75" y="325"/>
                  </a:cubicBezTo>
                  <a:cubicBezTo>
                    <a:pt x="75" y="328"/>
                    <a:pt x="74" y="331"/>
                    <a:pt x="75" y="334"/>
                  </a:cubicBezTo>
                  <a:cubicBezTo>
                    <a:pt x="76" y="337"/>
                    <a:pt x="80" y="340"/>
                    <a:pt x="79" y="343"/>
                  </a:cubicBezTo>
                  <a:cubicBezTo>
                    <a:pt x="79" y="345"/>
                    <a:pt x="76" y="345"/>
                    <a:pt x="74" y="345"/>
                  </a:cubicBezTo>
                  <a:cubicBezTo>
                    <a:pt x="70" y="346"/>
                    <a:pt x="70" y="346"/>
                    <a:pt x="71" y="349"/>
                  </a:cubicBezTo>
                  <a:cubicBezTo>
                    <a:pt x="71" y="352"/>
                    <a:pt x="71" y="355"/>
                    <a:pt x="71" y="358"/>
                  </a:cubicBezTo>
                  <a:cubicBezTo>
                    <a:pt x="72" y="359"/>
                    <a:pt x="72" y="361"/>
                    <a:pt x="72" y="361"/>
                  </a:cubicBezTo>
                  <a:cubicBezTo>
                    <a:pt x="73" y="362"/>
                    <a:pt x="74" y="362"/>
                    <a:pt x="74" y="362"/>
                  </a:cubicBezTo>
                  <a:cubicBezTo>
                    <a:pt x="75" y="363"/>
                    <a:pt x="75" y="364"/>
                    <a:pt x="76" y="364"/>
                  </a:cubicBezTo>
                  <a:cubicBezTo>
                    <a:pt x="77" y="366"/>
                    <a:pt x="77" y="368"/>
                    <a:pt x="78" y="370"/>
                  </a:cubicBezTo>
                  <a:cubicBezTo>
                    <a:pt x="78" y="371"/>
                    <a:pt x="77" y="371"/>
                    <a:pt x="77" y="372"/>
                  </a:cubicBezTo>
                  <a:cubicBezTo>
                    <a:pt x="75" y="376"/>
                    <a:pt x="76" y="380"/>
                    <a:pt x="77" y="384"/>
                  </a:cubicBezTo>
                  <a:cubicBezTo>
                    <a:pt x="80" y="384"/>
                    <a:pt x="82" y="384"/>
                    <a:pt x="84" y="386"/>
                  </a:cubicBezTo>
                  <a:cubicBezTo>
                    <a:pt x="85" y="387"/>
                    <a:pt x="86" y="388"/>
                    <a:pt x="87" y="389"/>
                  </a:cubicBezTo>
                  <a:cubicBezTo>
                    <a:pt x="88" y="390"/>
                    <a:pt x="90" y="390"/>
                    <a:pt x="90" y="390"/>
                  </a:cubicBezTo>
                  <a:cubicBezTo>
                    <a:pt x="94" y="385"/>
                    <a:pt x="90" y="377"/>
                    <a:pt x="91" y="371"/>
                  </a:cubicBezTo>
                  <a:cubicBezTo>
                    <a:pt x="92" y="364"/>
                    <a:pt x="98" y="366"/>
                    <a:pt x="103" y="367"/>
                  </a:cubicBezTo>
                  <a:cubicBezTo>
                    <a:pt x="103" y="369"/>
                    <a:pt x="103" y="372"/>
                    <a:pt x="104" y="373"/>
                  </a:cubicBezTo>
                  <a:cubicBezTo>
                    <a:pt x="105" y="375"/>
                    <a:pt x="107" y="377"/>
                    <a:pt x="109" y="379"/>
                  </a:cubicBezTo>
                  <a:cubicBezTo>
                    <a:pt x="111" y="381"/>
                    <a:pt x="112" y="383"/>
                    <a:pt x="113" y="386"/>
                  </a:cubicBezTo>
                  <a:cubicBezTo>
                    <a:pt x="114" y="389"/>
                    <a:pt x="116" y="391"/>
                    <a:pt x="117" y="394"/>
                  </a:cubicBezTo>
                  <a:cubicBezTo>
                    <a:pt x="119" y="400"/>
                    <a:pt x="113" y="411"/>
                    <a:pt x="120" y="414"/>
                  </a:cubicBezTo>
                  <a:cubicBezTo>
                    <a:pt x="126" y="417"/>
                    <a:pt x="124" y="408"/>
                    <a:pt x="124" y="405"/>
                  </a:cubicBezTo>
                  <a:cubicBezTo>
                    <a:pt x="124" y="401"/>
                    <a:pt x="123" y="399"/>
                    <a:pt x="125" y="396"/>
                  </a:cubicBezTo>
                  <a:cubicBezTo>
                    <a:pt x="126" y="393"/>
                    <a:pt x="127" y="392"/>
                    <a:pt x="129" y="390"/>
                  </a:cubicBezTo>
                  <a:cubicBezTo>
                    <a:pt x="132" y="388"/>
                    <a:pt x="131" y="385"/>
                    <a:pt x="135" y="385"/>
                  </a:cubicBezTo>
                  <a:cubicBezTo>
                    <a:pt x="136" y="385"/>
                    <a:pt x="138" y="384"/>
                    <a:pt x="139" y="385"/>
                  </a:cubicBezTo>
                  <a:cubicBezTo>
                    <a:pt x="141" y="385"/>
                    <a:pt x="140" y="386"/>
                    <a:pt x="140" y="387"/>
                  </a:cubicBezTo>
                  <a:cubicBezTo>
                    <a:pt x="141" y="389"/>
                    <a:pt x="140" y="389"/>
                    <a:pt x="141" y="391"/>
                  </a:cubicBezTo>
                  <a:cubicBezTo>
                    <a:pt x="142" y="391"/>
                    <a:pt x="143" y="391"/>
                    <a:pt x="144" y="392"/>
                  </a:cubicBezTo>
                  <a:cubicBezTo>
                    <a:pt x="145" y="393"/>
                    <a:pt x="145" y="393"/>
                    <a:pt x="145" y="394"/>
                  </a:cubicBezTo>
                  <a:cubicBezTo>
                    <a:pt x="146" y="396"/>
                    <a:pt x="145" y="398"/>
                    <a:pt x="146" y="400"/>
                  </a:cubicBezTo>
                  <a:cubicBezTo>
                    <a:pt x="146" y="402"/>
                    <a:pt x="146" y="402"/>
                    <a:pt x="147" y="403"/>
                  </a:cubicBezTo>
                  <a:cubicBezTo>
                    <a:pt x="148" y="405"/>
                    <a:pt x="148" y="406"/>
                    <a:pt x="150" y="407"/>
                  </a:cubicBezTo>
                  <a:cubicBezTo>
                    <a:pt x="151" y="407"/>
                    <a:pt x="153" y="407"/>
                    <a:pt x="154" y="408"/>
                  </a:cubicBezTo>
                  <a:cubicBezTo>
                    <a:pt x="155" y="409"/>
                    <a:pt x="155" y="410"/>
                    <a:pt x="155" y="411"/>
                  </a:cubicBezTo>
                  <a:cubicBezTo>
                    <a:pt x="156" y="412"/>
                    <a:pt x="160" y="415"/>
                    <a:pt x="162" y="415"/>
                  </a:cubicBezTo>
                  <a:cubicBezTo>
                    <a:pt x="162" y="413"/>
                    <a:pt x="160" y="412"/>
                    <a:pt x="160" y="410"/>
                  </a:cubicBezTo>
                  <a:cubicBezTo>
                    <a:pt x="159" y="408"/>
                    <a:pt x="159" y="405"/>
                    <a:pt x="157" y="404"/>
                  </a:cubicBezTo>
                  <a:cubicBezTo>
                    <a:pt x="156" y="401"/>
                    <a:pt x="155" y="402"/>
                    <a:pt x="155" y="399"/>
                  </a:cubicBezTo>
                  <a:cubicBezTo>
                    <a:pt x="155" y="397"/>
                    <a:pt x="154" y="395"/>
                    <a:pt x="155" y="393"/>
                  </a:cubicBezTo>
                  <a:cubicBezTo>
                    <a:pt x="155" y="390"/>
                    <a:pt x="157" y="389"/>
                    <a:pt x="156" y="386"/>
                  </a:cubicBezTo>
                  <a:cubicBezTo>
                    <a:pt x="156" y="384"/>
                    <a:pt x="155" y="382"/>
                    <a:pt x="155" y="380"/>
                  </a:cubicBezTo>
                  <a:cubicBezTo>
                    <a:pt x="154" y="378"/>
                    <a:pt x="155" y="375"/>
                    <a:pt x="155" y="373"/>
                  </a:cubicBezTo>
                  <a:cubicBezTo>
                    <a:pt x="155" y="371"/>
                    <a:pt x="155" y="368"/>
                    <a:pt x="155" y="367"/>
                  </a:cubicBezTo>
                  <a:cubicBezTo>
                    <a:pt x="154" y="366"/>
                    <a:pt x="152" y="365"/>
                    <a:pt x="150" y="363"/>
                  </a:cubicBezTo>
                  <a:cubicBezTo>
                    <a:pt x="149" y="362"/>
                    <a:pt x="149" y="361"/>
                    <a:pt x="149" y="359"/>
                  </a:cubicBezTo>
                  <a:cubicBezTo>
                    <a:pt x="149" y="356"/>
                    <a:pt x="150" y="352"/>
                    <a:pt x="149" y="350"/>
                  </a:cubicBezTo>
                  <a:cubicBezTo>
                    <a:pt x="148" y="349"/>
                    <a:pt x="147" y="348"/>
                    <a:pt x="146" y="347"/>
                  </a:cubicBezTo>
                  <a:cubicBezTo>
                    <a:pt x="145" y="345"/>
                    <a:pt x="144" y="342"/>
                    <a:pt x="144" y="340"/>
                  </a:cubicBezTo>
                  <a:cubicBezTo>
                    <a:pt x="143" y="338"/>
                    <a:pt x="143" y="337"/>
                    <a:pt x="142" y="334"/>
                  </a:cubicBezTo>
                  <a:cubicBezTo>
                    <a:pt x="141" y="333"/>
                    <a:pt x="141" y="332"/>
                    <a:pt x="141" y="331"/>
                  </a:cubicBezTo>
                  <a:cubicBezTo>
                    <a:pt x="140" y="330"/>
                    <a:pt x="139" y="329"/>
                    <a:pt x="139" y="329"/>
                  </a:cubicBezTo>
                  <a:cubicBezTo>
                    <a:pt x="138" y="327"/>
                    <a:pt x="138" y="323"/>
                    <a:pt x="140" y="322"/>
                  </a:cubicBezTo>
                  <a:cubicBezTo>
                    <a:pt x="141" y="322"/>
                    <a:pt x="142" y="324"/>
                    <a:pt x="143" y="325"/>
                  </a:cubicBezTo>
                  <a:cubicBezTo>
                    <a:pt x="145" y="325"/>
                    <a:pt x="147" y="324"/>
                    <a:pt x="149" y="326"/>
                  </a:cubicBezTo>
                  <a:cubicBezTo>
                    <a:pt x="149" y="326"/>
                    <a:pt x="150" y="328"/>
                    <a:pt x="150" y="328"/>
                  </a:cubicBezTo>
                  <a:cubicBezTo>
                    <a:pt x="150" y="329"/>
                    <a:pt x="152" y="330"/>
                    <a:pt x="152" y="330"/>
                  </a:cubicBezTo>
                  <a:cubicBezTo>
                    <a:pt x="154" y="332"/>
                    <a:pt x="158" y="332"/>
                    <a:pt x="160" y="334"/>
                  </a:cubicBezTo>
                  <a:cubicBezTo>
                    <a:pt x="160" y="335"/>
                    <a:pt x="159" y="337"/>
                    <a:pt x="159" y="339"/>
                  </a:cubicBezTo>
                  <a:cubicBezTo>
                    <a:pt x="159" y="341"/>
                    <a:pt x="160" y="343"/>
                    <a:pt x="158" y="345"/>
                  </a:cubicBezTo>
                  <a:cubicBezTo>
                    <a:pt x="157" y="347"/>
                    <a:pt x="155" y="347"/>
                    <a:pt x="156" y="350"/>
                  </a:cubicBezTo>
                  <a:cubicBezTo>
                    <a:pt x="156" y="352"/>
                    <a:pt x="156" y="352"/>
                    <a:pt x="158" y="352"/>
                  </a:cubicBezTo>
                  <a:cubicBezTo>
                    <a:pt x="158" y="352"/>
                    <a:pt x="160" y="352"/>
                    <a:pt x="161" y="352"/>
                  </a:cubicBezTo>
                  <a:cubicBezTo>
                    <a:pt x="163" y="351"/>
                    <a:pt x="163" y="349"/>
                    <a:pt x="165" y="349"/>
                  </a:cubicBezTo>
                  <a:cubicBezTo>
                    <a:pt x="165" y="347"/>
                    <a:pt x="165" y="346"/>
                    <a:pt x="165" y="345"/>
                  </a:cubicBezTo>
                  <a:cubicBezTo>
                    <a:pt x="167" y="345"/>
                    <a:pt x="169" y="346"/>
                    <a:pt x="171" y="346"/>
                  </a:cubicBezTo>
                  <a:cubicBezTo>
                    <a:pt x="173" y="346"/>
                    <a:pt x="180" y="347"/>
                    <a:pt x="180" y="344"/>
                  </a:cubicBezTo>
                  <a:cubicBezTo>
                    <a:pt x="179" y="344"/>
                    <a:pt x="178" y="344"/>
                    <a:pt x="177" y="344"/>
                  </a:cubicBezTo>
                  <a:cubicBezTo>
                    <a:pt x="175" y="343"/>
                    <a:pt x="174" y="343"/>
                    <a:pt x="172" y="343"/>
                  </a:cubicBezTo>
                  <a:cubicBezTo>
                    <a:pt x="170" y="343"/>
                    <a:pt x="168" y="342"/>
                    <a:pt x="170" y="339"/>
                  </a:cubicBezTo>
                  <a:cubicBezTo>
                    <a:pt x="171" y="339"/>
                    <a:pt x="172" y="340"/>
                    <a:pt x="172" y="339"/>
                  </a:cubicBezTo>
                  <a:cubicBezTo>
                    <a:pt x="172" y="339"/>
                    <a:pt x="173" y="338"/>
                    <a:pt x="173" y="338"/>
                  </a:cubicBezTo>
                  <a:cubicBezTo>
                    <a:pt x="173" y="337"/>
                    <a:pt x="174" y="336"/>
                    <a:pt x="175" y="336"/>
                  </a:cubicBezTo>
                  <a:cubicBezTo>
                    <a:pt x="177" y="334"/>
                    <a:pt x="180" y="336"/>
                    <a:pt x="183" y="335"/>
                  </a:cubicBezTo>
                  <a:cubicBezTo>
                    <a:pt x="184" y="333"/>
                    <a:pt x="184" y="331"/>
                    <a:pt x="183" y="330"/>
                  </a:cubicBezTo>
                  <a:cubicBezTo>
                    <a:pt x="182" y="329"/>
                    <a:pt x="177" y="327"/>
                    <a:pt x="176" y="327"/>
                  </a:cubicBezTo>
                  <a:cubicBezTo>
                    <a:pt x="174" y="327"/>
                    <a:pt x="172" y="329"/>
                    <a:pt x="170" y="329"/>
                  </a:cubicBezTo>
                  <a:cubicBezTo>
                    <a:pt x="169" y="328"/>
                    <a:pt x="169" y="326"/>
                    <a:pt x="167" y="325"/>
                  </a:cubicBezTo>
                  <a:cubicBezTo>
                    <a:pt x="166" y="325"/>
                    <a:pt x="166" y="326"/>
                    <a:pt x="165" y="326"/>
                  </a:cubicBezTo>
                  <a:cubicBezTo>
                    <a:pt x="164" y="326"/>
                    <a:pt x="161" y="324"/>
                    <a:pt x="161" y="323"/>
                  </a:cubicBezTo>
                  <a:cubicBezTo>
                    <a:pt x="160" y="321"/>
                    <a:pt x="161" y="319"/>
                    <a:pt x="161" y="318"/>
                  </a:cubicBezTo>
                  <a:cubicBezTo>
                    <a:pt x="161" y="317"/>
                    <a:pt x="160" y="316"/>
                    <a:pt x="160" y="315"/>
                  </a:cubicBezTo>
                  <a:cubicBezTo>
                    <a:pt x="159" y="313"/>
                    <a:pt x="160" y="313"/>
                    <a:pt x="161" y="312"/>
                  </a:cubicBezTo>
                  <a:cubicBezTo>
                    <a:pt x="162" y="310"/>
                    <a:pt x="162" y="311"/>
                    <a:pt x="162" y="309"/>
                  </a:cubicBezTo>
                  <a:cubicBezTo>
                    <a:pt x="162" y="305"/>
                    <a:pt x="162" y="304"/>
                    <a:pt x="159" y="301"/>
                  </a:cubicBezTo>
                  <a:cubicBezTo>
                    <a:pt x="157" y="300"/>
                    <a:pt x="154" y="299"/>
                    <a:pt x="155" y="296"/>
                  </a:cubicBezTo>
                  <a:moveTo>
                    <a:pt x="158" y="293"/>
                  </a:moveTo>
                  <a:cubicBezTo>
                    <a:pt x="156" y="293"/>
                    <a:pt x="155" y="294"/>
                    <a:pt x="155" y="296"/>
                  </a:cubicBezTo>
                  <a:cubicBezTo>
                    <a:pt x="156" y="296"/>
                    <a:pt x="157" y="295"/>
                    <a:pt x="158" y="294"/>
                  </a:cubicBezTo>
                  <a:cubicBezTo>
                    <a:pt x="158" y="293"/>
                    <a:pt x="158" y="293"/>
                    <a:pt x="158" y="293"/>
                  </a:cubicBezTo>
                  <a:moveTo>
                    <a:pt x="0" y="153"/>
                  </a:moveTo>
                  <a:cubicBezTo>
                    <a:pt x="0" y="154"/>
                    <a:pt x="0" y="155"/>
                    <a:pt x="0" y="156"/>
                  </a:cubicBezTo>
                  <a:cubicBezTo>
                    <a:pt x="0" y="158"/>
                    <a:pt x="1" y="159"/>
                    <a:pt x="1" y="161"/>
                  </a:cubicBezTo>
                  <a:cubicBezTo>
                    <a:pt x="2" y="163"/>
                    <a:pt x="2" y="164"/>
                    <a:pt x="2" y="165"/>
                  </a:cubicBezTo>
                  <a:cubicBezTo>
                    <a:pt x="2" y="169"/>
                    <a:pt x="2" y="171"/>
                    <a:pt x="4" y="174"/>
                  </a:cubicBezTo>
                  <a:cubicBezTo>
                    <a:pt x="6" y="176"/>
                    <a:pt x="7" y="179"/>
                    <a:pt x="8" y="181"/>
                  </a:cubicBezTo>
                  <a:cubicBezTo>
                    <a:pt x="10" y="183"/>
                    <a:pt x="13" y="182"/>
                    <a:pt x="15" y="182"/>
                  </a:cubicBezTo>
                  <a:cubicBezTo>
                    <a:pt x="18" y="184"/>
                    <a:pt x="18" y="188"/>
                    <a:pt x="18" y="191"/>
                  </a:cubicBezTo>
                  <a:cubicBezTo>
                    <a:pt x="19" y="196"/>
                    <a:pt x="23" y="197"/>
                    <a:pt x="26" y="200"/>
                  </a:cubicBezTo>
                  <a:cubicBezTo>
                    <a:pt x="28" y="202"/>
                    <a:pt x="29" y="204"/>
                    <a:pt x="30" y="207"/>
                  </a:cubicBezTo>
                  <a:cubicBezTo>
                    <a:pt x="33" y="208"/>
                    <a:pt x="33" y="202"/>
                    <a:pt x="34" y="200"/>
                  </a:cubicBezTo>
                  <a:cubicBezTo>
                    <a:pt x="35" y="199"/>
                    <a:pt x="39" y="198"/>
                    <a:pt x="41" y="199"/>
                  </a:cubicBezTo>
                  <a:cubicBezTo>
                    <a:pt x="43" y="200"/>
                    <a:pt x="42" y="204"/>
                    <a:pt x="43" y="205"/>
                  </a:cubicBezTo>
                  <a:cubicBezTo>
                    <a:pt x="45" y="207"/>
                    <a:pt x="48" y="205"/>
                    <a:pt x="51" y="206"/>
                  </a:cubicBezTo>
                  <a:cubicBezTo>
                    <a:pt x="53" y="206"/>
                    <a:pt x="53" y="207"/>
                    <a:pt x="54" y="209"/>
                  </a:cubicBezTo>
                  <a:cubicBezTo>
                    <a:pt x="57" y="214"/>
                    <a:pt x="54" y="217"/>
                    <a:pt x="48" y="216"/>
                  </a:cubicBezTo>
                  <a:cubicBezTo>
                    <a:pt x="48" y="214"/>
                    <a:pt x="49" y="211"/>
                    <a:pt x="48" y="210"/>
                  </a:cubicBezTo>
                  <a:cubicBezTo>
                    <a:pt x="47" y="208"/>
                    <a:pt x="38" y="209"/>
                    <a:pt x="36" y="210"/>
                  </a:cubicBezTo>
                  <a:cubicBezTo>
                    <a:pt x="30" y="211"/>
                    <a:pt x="32" y="215"/>
                    <a:pt x="32" y="220"/>
                  </a:cubicBezTo>
                  <a:cubicBezTo>
                    <a:pt x="30" y="219"/>
                    <a:pt x="30" y="216"/>
                    <a:pt x="28" y="215"/>
                  </a:cubicBezTo>
                  <a:cubicBezTo>
                    <a:pt x="25" y="215"/>
                    <a:pt x="23" y="218"/>
                    <a:pt x="22" y="220"/>
                  </a:cubicBezTo>
                  <a:cubicBezTo>
                    <a:pt x="21" y="222"/>
                    <a:pt x="22" y="223"/>
                    <a:pt x="20" y="224"/>
                  </a:cubicBezTo>
                  <a:cubicBezTo>
                    <a:pt x="18" y="227"/>
                    <a:pt x="14" y="230"/>
                    <a:pt x="15" y="233"/>
                  </a:cubicBezTo>
                  <a:cubicBezTo>
                    <a:pt x="19" y="234"/>
                    <a:pt x="20" y="238"/>
                    <a:pt x="24" y="239"/>
                  </a:cubicBezTo>
                  <a:cubicBezTo>
                    <a:pt x="25" y="239"/>
                    <a:pt x="28" y="238"/>
                    <a:pt x="29" y="236"/>
                  </a:cubicBezTo>
                  <a:cubicBezTo>
                    <a:pt x="31" y="233"/>
                    <a:pt x="29" y="233"/>
                    <a:pt x="28" y="231"/>
                  </a:cubicBezTo>
                  <a:cubicBezTo>
                    <a:pt x="27" y="230"/>
                    <a:pt x="28" y="227"/>
                    <a:pt x="28" y="226"/>
                  </a:cubicBezTo>
                  <a:cubicBezTo>
                    <a:pt x="29" y="226"/>
                    <a:pt x="30" y="227"/>
                    <a:pt x="32" y="226"/>
                  </a:cubicBezTo>
                  <a:cubicBezTo>
                    <a:pt x="32" y="224"/>
                    <a:pt x="32" y="223"/>
                    <a:pt x="34" y="224"/>
                  </a:cubicBezTo>
                  <a:cubicBezTo>
                    <a:pt x="34" y="225"/>
                    <a:pt x="34" y="226"/>
                    <a:pt x="34" y="227"/>
                  </a:cubicBezTo>
                  <a:cubicBezTo>
                    <a:pt x="35" y="227"/>
                    <a:pt x="36" y="227"/>
                    <a:pt x="37" y="227"/>
                  </a:cubicBezTo>
                  <a:cubicBezTo>
                    <a:pt x="40" y="230"/>
                    <a:pt x="40" y="232"/>
                    <a:pt x="40" y="236"/>
                  </a:cubicBezTo>
                  <a:cubicBezTo>
                    <a:pt x="40" y="238"/>
                    <a:pt x="39" y="240"/>
                    <a:pt x="40" y="242"/>
                  </a:cubicBezTo>
                  <a:cubicBezTo>
                    <a:pt x="41" y="243"/>
                    <a:pt x="44" y="245"/>
                    <a:pt x="46" y="246"/>
                  </a:cubicBezTo>
                  <a:cubicBezTo>
                    <a:pt x="48" y="247"/>
                    <a:pt x="49" y="247"/>
                    <a:pt x="48" y="250"/>
                  </a:cubicBezTo>
                  <a:cubicBezTo>
                    <a:pt x="47" y="252"/>
                    <a:pt x="46" y="252"/>
                    <a:pt x="46" y="254"/>
                  </a:cubicBezTo>
                  <a:cubicBezTo>
                    <a:pt x="45" y="258"/>
                    <a:pt x="46" y="261"/>
                    <a:pt x="51" y="261"/>
                  </a:cubicBezTo>
                  <a:cubicBezTo>
                    <a:pt x="54" y="262"/>
                    <a:pt x="57" y="260"/>
                    <a:pt x="59" y="258"/>
                  </a:cubicBezTo>
                  <a:cubicBezTo>
                    <a:pt x="61" y="257"/>
                    <a:pt x="63" y="256"/>
                    <a:pt x="65" y="256"/>
                  </a:cubicBezTo>
                  <a:cubicBezTo>
                    <a:pt x="67" y="256"/>
                    <a:pt x="68" y="256"/>
                    <a:pt x="69" y="257"/>
                  </a:cubicBezTo>
                  <a:cubicBezTo>
                    <a:pt x="70" y="258"/>
                    <a:pt x="69" y="260"/>
                    <a:pt x="71" y="260"/>
                  </a:cubicBezTo>
                  <a:cubicBezTo>
                    <a:pt x="71" y="255"/>
                    <a:pt x="77" y="260"/>
                    <a:pt x="79" y="260"/>
                  </a:cubicBezTo>
                  <a:cubicBezTo>
                    <a:pt x="81" y="260"/>
                    <a:pt x="83" y="258"/>
                    <a:pt x="86" y="258"/>
                  </a:cubicBezTo>
                  <a:cubicBezTo>
                    <a:pt x="88" y="258"/>
                    <a:pt x="91" y="259"/>
                    <a:pt x="91" y="256"/>
                  </a:cubicBezTo>
                  <a:cubicBezTo>
                    <a:pt x="95" y="256"/>
                    <a:pt x="100" y="256"/>
                    <a:pt x="103" y="258"/>
                  </a:cubicBezTo>
                  <a:cubicBezTo>
                    <a:pt x="107" y="259"/>
                    <a:pt x="110" y="262"/>
                    <a:pt x="115" y="262"/>
                  </a:cubicBezTo>
                  <a:cubicBezTo>
                    <a:pt x="116" y="262"/>
                    <a:pt x="117" y="262"/>
                    <a:pt x="118" y="262"/>
                  </a:cubicBezTo>
                  <a:cubicBezTo>
                    <a:pt x="119" y="262"/>
                    <a:pt x="119" y="261"/>
                    <a:pt x="120" y="261"/>
                  </a:cubicBezTo>
                  <a:cubicBezTo>
                    <a:pt x="121" y="260"/>
                    <a:pt x="123" y="259"/>
                    <a:pt x="124" y="259"/>
                  </a:cubicBezTo>
                  <a:cubicBezTo>
                    <a:pt x="126" y="259"/>
                    <a:pt x="125" y="261"/>
                    <a:pt x="126" y="263"/>
                  </a:cubicBezTo>
                  <a:cubicBezTo>
                    <a:pt x="127" y="265"/>
                    <a:pt x="129" y="267"/>
                    <a:pt x="132" y="266"/>
                  </a:cubicBezTo>
                  <a:cubicBezTo>
                    <a:pt x="133" y="264"/>
                    <a:pt x="131" y="260"/>
                    <a:pt x="134" y="259"/>
                  </a:cubicBezTo>
                  <a:cubicBezTo>
                    <a:pt x="138" y="259"/>
                    <a:pt x="137" y="267"/>
                    <a:pt x="139" y="269"/>
                  </a:cubicBezTo>
                  <a:cubicBezTo>
                    <a:pt x="139" y="266"/>
                    <a:pt x="139" y="266"/>
                    <a:pt x="141" y="266"/>
                  </a:cubicBezTo>
                  <a:cubicBezTo>
                    <a:pt x="144" y="265"/>
                    <a:pt x="146" y="267"/>
                    <a:pt x="148" y="268"/>
                  </a:cubicBezTo>
                  <a:cubicBezTo>
                    <a:pt x="150" y="270"/>
                    <a:pt x="152" y="270"/>
                    <a:pt x="155" y="271"/>
                  </a:cubicBezTo>
                  <a:cubicBezTo>
                    <a:pt x="157" y="272"/>
                    <a:pt x="159" y="274"/>
                    <a:pt x="161" y="275"/>
                  </a:cubicBezTo>
                  <a:cubicBezTo>
                    <a:pt x="164" y="276"/>
                    <a:pt x="167" y="275"/>
                    <a:pt x="170" y="275"/>
                  </a:cubicBezTo>
                  <a:cubicBezTo>
                    <a:pt x="172" y="275"/>
                    <a:pt x="173" y="275"/>
                    <a:pt x="171" y="278"/>
                  </a:cubicBezTo>
                  <a:cubicBezTo>
                    <a:pt x="171" y="279"/>
                    <a:pt x="169" y="280"/>
                    <a:pt x="168" y="281"/>
                  </a:cubicBezTo>
                  <a:cubicBezTo>
                    <a:pt x="168" y="282"/>
                    <a:pt x="166" y="283"/>
                    <a:pt x="165" y="283"/>
                  </a:cubicBezTo>
                  <a:cubicBezTo>
                    <a:pt x="163" y="284"/>
                    <a:pt x="161" y="282"/>
                    <a:pt x="158" y="282"/>
                  </a:cubicBezTo>
                  <a:cubicBezTo>
                    <a:pt x="155" y="282"/>
                    <a:pt x="149" y="282"/>
                    <a:pt x="150" y="286"/>
                  </a:cubicBezTo>
                  <a:cubicBezTo>
                    <a:pt x="151" y="288"/>
                    <a:pt x="151" y="288"/>
                    <a:pt x="152" y="289"/>
                  </a:cubicBezTo>
                  <a:cubicBezTo>
                    <a:pt x="153" y="290"/>
                    <a:pt x="152" y="290"/>
                    <a:pt x="153" y="291"/>
                  </a:cubicBezTo>
                  <a:cubicBezTo>
                    <a:pt x="154" y="292"/>
                    <a:pt x="155" y="291"/>
                    <a:pt x="155" y="291"/>
                  </a:cubicBezTo>
                  <a:cubicBezTo>
                    <a:pt x="156" y="292"/>
                    <a:pt x="157" y="292"/>
                    <a:pt x="158" y="293"/>
                  </a:cubicBezTo>
                  <a:cubicBezTo>
                    <a:pt x="159" y="292"/>
                    <a:pt x="160" y="292"/>
                    <a:pt x="161" y="292"/>
                  </a:cubicBezTo>
                  <a:cubicBezTo>
                    <a:pt x="160" y="289"/>
                    <a:pt x="162" y="290"/>
                    <a:pt x="163" y="291"/>
                  </a:cubicBezTo>
                  <a:cubicBezTo>
                    <a:pt x="165" y="291"/>
                    <a:pt x="164" y="292"/>
                    <a:pt x="166" y="292"/>
                  </a:cubicBezTo>
                  <a:cubicBezTo>
                    <a:pt x="169" y="292"/>
                    <a:pt x="171" y="288"/>
                    <a:pt x="175" y="287"/>
                  </a:cubicBezTo>
                  <a:cubicBezTo>
                    <a:pt x="179" y="287"/>
                    <a:pt x="181" y="291"/>
                    <a:pt x="180" y="295"/>
                  </a:cubicBezTo>
                  <a:cubicBezTo>
                    <a:pt x="180" y="297"/>
                    <a:pt x="178" y="299"/>
                    <a:pt x="179" y="302"/>
                  </a:cubicBezTo>
                  <a:cubicBezTo>
                    <a:pt x="181" y="303"/>
                    <a:pt x="184" y="302"/>
                    <a:pt x="187" y="301"/>
                  </a:cubicBezTo>
                  <a:cubicBezTo>
                    <a:pt x="187" y="297"/>
                    <a:pt x="186" y="292"/>
                    <a:pt x="186" y="288"/>
                  </a:cubicBezTo>
                  <a:cubicBezTo>
                    <a:pt x="188" y="287"/>
                    <a:pt x="188" y="288"/>
                    <a:pt x="190" y="289"/>
                  </a:cubicBezTo>
                  <a:cubicBezTo>
                    <a:pt x="191" y="289"/>
                    <a:pt x="194" y="289"/>
                    <a:pt x="195" y="290"/>
                  </a:cubicBezTo>
                  <a:cubicBezTo>
                    <a:pt x="199" y="293"/>
                    <a:pt x="197" y="298"/>
                    <a:pt x="198" y="302"/>
                  </a:cubicBezTo>
                  <a:cubicBezTo>
                    <a:pt x="198" y="305"/>
                    <a:pt x="201" y="309"/>
                    <a:pt x="203" y="311"/>
                  </a:cubicBezTo>
                  <a:cubicBezTo>
                    <a:pt x="206" y="313"/>
                    <a:pt x="208" y="312"/>
                    <a:pt x="211" y="312"/>
                  </a:cubicBezTo>
                  <a:cubicBezTo>
                    <a:pt x="211" y="314"/>
                    <a:pt x="211" y="315"/>
                    <a:pt x="211" y="316"/>
                  </a:cubicBezTo>
                  <a:cubicBezTo>
                    <a:pt x="212" y="317"/>
                    <a:pt x="211" y="318"/>
                    <a:pt x="211" y="320"/>
                  </a:cubicBezTo>
                  <a:cubicBezTo>
                    <a:pt x="212" y="323"/>
                    <a:pt x="213" y="323"/>
                    <a:pt x="216" y="322"/>
                  </a:cubicBezTo>
                  <a:cubicBezTo>
                    <a:pt x="217" y="319"/>
                    <a:pt x="216" y="316"/>
                    <a:pt x="216" y="312"/>
                  </a:cubicBezTo>
                  <a:cubicBezTo>
                    <a:pt x="216" y="309"/>
                    <a:pt x="216" y="306"/>
                    <a:pt x="215" y="303"/>
                  </a:cubicBezTo>
                  <a:cubicBezTo>
                    <a:pt x="215" y="301"/>
                    <a:pt x="214" y="299"/>
                    <a:pt x="214" y="297"/>
                  </a:cubicBezTo>
                  <a:cubicBezTo>
                    <a:pt x="215" y="295"/>
                    <a:pt x="216" y="294"/>
                    <a:pt x="216" y="293"/>
                  </a:cubicBezTo>
                  <a:cubicBezTo>
                    <a:pt x="216" y="291"/>
                    <a:pt x="216" y="288"/>
                    <a:pt x="216" y="287"/>
                  </a:cubicBezTo>
                  <a:cubicBezTo>
                    <a:pt x="215" y="285"/>
                    <a:pt x="214" y="285"/>
                    <a:pt x="214" y="283"/>
                  </a:cubicBezTo>
                  <a:cubicBezTo>
                    <a:pt x="213" y="281"/>
                    <a:pt x="215" y="280"/>
                    <a:pt x="216" y="278"/>
                  </a:cubicBezTo>
                  <a:cubicBezTo>
                    <a:pt x="216" y="277"/>
                    <a:pt x="220" y="272"/>
                    <a:pt x="221" y="272"/>
                  </a:cubicBezTo>
                  <a:cubicBezTo>
                    <a:pt x="223" y="272"/>
                    <a:pt x="226" y="280"/>
                    <a:pt x="227" y="282"/>
                  </a:cubicBezTo>
                  <a:cubicBezTo>
                    <a:pt x="229" y="284"/>
                    <a:pt x="230" y="286"/>
                    <a:pt x="231" y="288"/>
                  </a:cubicBezTo>
                  <a:cubicBezTo>
                    <a:pt x="232" y="291"/>
                    <a:pt x="233" y="291"/>
                    <a:pt x="235" y="293"/>
                  </a:cubicBezTo>
                  <a:cubicBezTo>
                    <a:pt x="237" y="296"/>
                    <a:pt x="238" y="298"/>
                    <a:pt x="241" y="297"/>
                  </a:cubicBezTo>
                  <a:cubicBezTo>
                    <a:pt x="244" y="297"/>
                    <a:pt x="246" y="296"/>
                    <a:pt x="247" y="294"/>
                  </a:cubicBezTo>
                  <a:cubicBezTo>
                    <a:pt x="250" y="292"/>
                    <a:pt x="250" y="286"/>
                    <a:pt x="249" y="283"/>
                  </a:cubicBezTo>
                  <a:cubicBezTo>
                    <a:pt x="247" y="279"/>
                    <a:pt x="241" y="281"/>
                    <a:pt x="238" y="280"/>
                  </a:cubicBezTo>
                  <a:cubicBezTo>
                    <a:pt x="235" y="279"/>
                    <a:pt x="233" y="279"/>
                    <a:pt x="231" y="277"/>
                  </a:cubicBezTo>
                  <a:cubicBezTo>
                    <a:pt x="230" y="276"/>
                    <a:pt x="230" y="274"/>
                    <a:pt x="229" y="273"/>
                  </a:cubicBezTo>
                  <a:cubicBezTo>
                    <a:pt x="228" y="273"/>
                    <a:pt x="226" y="272"/>
                    <a:pt x="225" y="271"/>
                  </a:cubicBezTo>
                  <a:cubicBezTo>
                    <a:pt x="223" y="270"/>
                    <a:pt x="221" y="268"/>
                    <a:pt x="220" y="265"/>
                  </a:cubicBezTo>
                  <a:cubicBezTo>
                    <a:pt x="217" y="261"/>
                    <a:pt x="216" y="258"/>
                    <a:pt x="220" y="254"/>
                  </a:cubicBezTo>
                  <a:cubicBezTo>
                    <a:pt x="222" y="252"/>
                    <a:pt x="224" y="252"/>
                    <a:pt x="224" y="248"/>
                  </a:cubicBezTo>
                  <a:cubicBezTo>
                    <a:pt x="224" y="247"/>
                    <a:pt x="224" y="246"/>
                    <a:pt x="222" y="245"/>
                  </a:cubicBezTo>
                  <a:cubicBezTo>
                    <a:pt x="217" y="242"/>
                    <a:pt x="209" y="241"/>
                    <a:pt x="204" y="238"/>
                  </a:cubicBezTo>
                  <a:cubicBezTo>
                    <a:pt x="203" y="237"/>
                    <a:pt x="203" y="236"/>
                    <a:pt x="202" y="236"/>
                  </a:cubicBezTo>
                  <a:cubicBezTo>
                    <a:pt x="201" y="235"/>
                    <a:pt x="199" y="234"/>
                    <a:pt x="198" y="234"/>
                  </a:cubicBezTo>
                  <a:cubicBezTo>
                    <a:pt x="196" y="233"/>
                    <a:pt x="195" y="232"/>
                    <a:pt x="193" y="231"/>
                  </a:cubicBezTo>
                  <a:cubicBezTo>
                    <a:pt x="190" y="228"/>
                    <a:pt x="183" y="229"/>
                    <a:pt x="182" y="224"/>
                  </a:cubicBezTo>
                  <a:cubicBezTo>
                    <a:pt x="180" y="219"/>
                    <a:pt x="182" y="214"/>
                    <a:pt x="181" y="209"/>
                  </a:cubicBezTo>
                  <a:cubicBezTo>
                    <a:pt x="177" y="210"/>
                    <a:pt x="172" y="209"/>
                    <a:pt x="168" y="210"/>
                  </a:cubicBezTo>
                  <a:cubicBezTo>
                    <a:pt x="167" y="211"/>
                    <a:pt x="165" y="211"/>
                    <a:pt x="164" y="213"/>
                  </a:cubicBezTo>
                  <a:cubicBezTo>
                    <a:pt x="163" y="214"/>
                    <a:pt x="164" y="215"/>
                    <a:pt x="163" y="216"/>
                  </a:cubicBezTo>
                  <a:cubicBezTo>
                    <a:pt x="161" y="218"/>
                    <a:pt x="157" y="218"/>
                    <a:pt x="155" y="218"/>
                  </a:cubicBezTo>
                  <a:cubicBezTo>
                    <a:pt x="151" y="218"/>
                    <a:pt x="145" y="220"/>
                    <a:pt x="145" y="224"/>
                  </a:cubicBezTo>
                  <a:cubicBezTo>
                    <a:pt x="148" y="225"/>
                    <a:pt x="148" y="225"/>
                    <a:pt x="150" y="226"/>
                  </a:cubicBezTo>
                  <a:cubicBezTo>
                    <a:pt x="152" y="228"/>
                    <a:pt x="155" y="229"/>
                    <a:pt x="157" y="229"/>
                  </a:cubicBezTo>
                  <a:cubicBezTo>
                    <a:pt x="158" y="229"/>
                    <a:pt x="159" y="229"/>
                    <a:pt x="160" y="229"/>
                  </a:cubicBezTo>
                  <a:cubicBezTo>
                    <a:pt x="161" y="229"/>
                    <a:pt x="161" y="230"/>
                    <a:pt x="162" y="230"/>
                  </a:cubicBezTo>
                  <a:cubicBezTo>
                    <a:pt x="165" y="231"/>
                    <a:pt x="167" y="230"/>
                    <a:pt x="169" y="231"/>
                  </a:cubicBezTo>
                  <a:cubicBezTo>
                    <a:pt x="170" y="232"/>
                    <a:pt x="172" y="233"/>
                    <a:pt x="172" y="234"/>
                  </a:cubicBezTo>
                  <a:cubicBezTo>
                    <a:pt x="173" y="235"/>
                    <a:pt x="172" y="237"/>
                    <a:pt x="172" y="239"/>
                  </a:cubicBezTo>
                  <a:cubicBezTo>
                    <a:pt x="173" y="241"/>
                    <a:pt x="177" y="241"/>
                    <a:pt x="180" y="242"/>
                  </a:cubicBezTo>
                  <a:cubicBezTo>
                    <a:pt x="182" y="243"/>
                    <a:pt x="189" y="246"/>
                    <a:pt x="189" y="249"/>
                  </a:cubicBezTo>
                  <a:cubicBezTo>
                    <a:pt x="189" y="250"/>
                    <a:pt x="188" y="252"/>
                    <a:pt x="186" y="253"/>
                  </a:cubicBezTo>
                  <a:cubicBezTo>
                    <a:pt x="184" y="254"/>
                    <a:pt x="178" y="254"/>
                    <a:pt x="177" y="252"/>
                  </a:cubicBezTo>
                  <a:cubicBezTo>
                    <a:pt x="176" y="252"/>
                    <a:pt x="177" y="250"/>
                    <a:pt x="176" y="249"/>
                  </a:cubicBezTo>
                  <a:cubicBezTo>
                    <a:pt x="175" y="248"/>
                    <a:pt x="175" y="247"/>
                    <a:pt x="174" y="246"/>
                  </a:cubicBezTo>
                  <a:cubicBezTo>
                    <a:pt x="170" y="244"/>
                    <a:pt x="167" y="241"/>
                    <a:pt x="164" y="239"/>
                  </a:cubicBezTo>
                  <a:cubicBezTo>
                    <a:pt x="163" y="238"/>
                    <a:pt x="161" y="237"/>
                    <a:pt x="160" y="236"/>
                  </a:cubicBezTo>
                  <a:cubicBezTo>
                    <a:pt x="158" y="234"/>
                    <a:pt x="157" y="234"/>
                    <a:pt x="154" y="233"/>
                  </a:cubicBezTo>
                  <a:cubicBezTo>
                    <a:pt x="151" y="232"/>
                    <a:pt x="148" y="229"/>
                    <a:pt x="145" y="228"/>
                  </a:cubicBezTo>
                  <a:cubicBezTo>
                    <a:pt x="142" y="228"/>
                    <a:pt x="132" y="227"/>
                    <a:pt x="133" y="223"/>
                  </a:cubicBezTo>
                  <a:cubicBezTo>
                    <a:pt x="133" y="219"/>
                    <a:pt x="139" y="221"/>
                    <a:pt x="141" y="221"/>
                  </a:cubicBezTo>
                  <a:cubicBezTo>
                    <a:pt x="145" y="222"/>
                    <a:pt x="146" y="221"/>
                    <a:pt x="149" y="219"/>
                  </a:cubicBezTo>
                  <a:cubicBezTo>
                    <a:pt x="152" y="217"/>
                    <a:pt x="157" y="217"/>
                    <a:pt x="161" y="215"/>
                  </a:cubicBezTo>
                  <a:cubicBezTo>
                    <a:pt x="157" y="216"/>
                    <a:pt x="157" y="209"/>
                    <a:pt x="157" y="207"/>
                  </a:cubicBezTo>
                  <a:cubicBezTo>
                    <a:pt x="157" y="205"/>
                    <a:pt x="156" y="205"/>
                    <a:pt x="156" y="204"/>
                  </a:cubicBezTo>
                  <a:cubicBezTo>
                    <a:pt x="155" y="202"/>
                    <a:pt x="156" y="202"/>
                    <a:pt x="155" y="200"/>
                  </a:cubicBezTo>
                  <a:cubicBezTo>
                    <a:pt x="153" y="198"/>
                    <a:pt x="150" y="196"/>
                    <a:pt x="150" y="193"/>
                  </a:cubicBezTo>
                  <a:cubicBezTo>
                    <a:pt x="151" y="191"/>
                    <a:pt x="153" y="189"/>
                    <a:pt x="154" y="188"/>
                  </a:cubicBezTo>
                  <a:cubicBezTo>
                    <a:pt x="157" y="185"/>
                    <a:pt x="161" y="186"/>
                    <a:pt x="163" y="189"/>
                  </a:cubicBezTo>
                  <a:cubicBezTo>
                    <a:pt x="165" y="192"/>
                    <a:pt x="163" y="199"/>
                    <a:pt x="166" y="201"/>
                  </a:cubicBezTo>
                  <a:cubicBezTo>
                    <a:pt x="168" y="202"/>
                    <a:pt x="174" y="199"/>
                    <a:pt x="175" y="198"/>
                  </a:cubicBezTo>
                  <a:cubicBezTo>
                    <a:pt x="178" y="197"/>
                    <a:pt x="177" y="193"/>
                    <a:pt x="175" y="192"/>
                  </a:cubicBezTo>
                  <a:cubicBezTo>
                    <a:pt x="173" y="190"/>
                    <a:pt x="171" y="189"/>
                    <a:pt x="170" y="187"/>
                  </a:cubicBezTo>
                  <a:cubicBezTo>
                    <a:pt x="169" y="185"/>
                    <a:pt x="169" y="184"/>
                    <a:pt x="168" y="182"/>
                  </a:cubicBezTo>
                  <a:cubicBezTo>
                    <a:pt x="166" y="181"/>
                    <a:pt x="164" y="179"/>
                    <a:pt x="163" y="177"/>
                  </a:cubicBezTo>
                  <a:cubicBezTo>
                    <a:pt x="161" y="175"/>
                    <a:pt x="160" y="172"/>
                    <a:pt x="158" y="170"/>
                  </a:cubicBezTo>
                  <a:cubicBezTo>
                    <a:pt x="158" y="169"/>
                    <a:pt x="157" y="169"/>
                    <a:pt x="156" y="168"/>
                  </a:cubicBezTo>
                  <a:cubicBezTo>
                    <a:pt x="156" y="167"/>
                    <a:pt x="156" y="167"/>
                    <a:pt x="155" y="166"/>
                  </a:cubicBezTo>
                  <a:cubicBezTo>
                    <a:pt x="154" y="165"/>
                    <a:pt x="151" y="166"/>
                    <a:pt x="150" y="165"/>
                  </a:cubicBezTo>
                  <a:cubicBezTo>
                    <a:pt x="149" y="165"/>
                    <a:pt x="147" y="163"/>
                    <a:pt x="146" y="162"/>
                  </a:cubicBezTo>
                  <a:cubicBezTo>
                    <a:pt x="144" y="160"/>
                    <a:pt x="143" y="158"/>
                    <a:pt x="143" y="155"/>
                  </a:cubicBezTo>
                  <a:cubicBezTo>
                    <a:pt x="142" y="152"/>
                    <a:pt x="143" y="150"/>
                    <a:pt x="143" y="148"/>
                  </a:cubicBezTo>
                  <a:cubicBezTo>
                    <a:pt x="143" y="144"/>
                    <a:pt x="143" y="143"/>
                    <a:pt x="141" y="140"/>
                  </a:cubicBezTo>
                  <a:cubicBezTo>
                    <a:pt x="139" y="138"/>
                    <a:pt x="138" y="136"/>
                    <a:pt x="137" y="133"/>
                  </a:cubicBezTo>
                  <a:cubicBezTo>
                    <a:pt x="136" y="132"/>
                    <a:pt x="135" y="131"/>
                    <a:pt x="134" y="129"/>
                  </a:cubicBezTo>
                  <a:cubicBezTo>
                    <a:pt x="131" y="126"/>
                    <a:pt x="131" y="120"/>
                    <a:pt x="132" y="116"/>
                  </a:cubicBezTo>
                  <a:cubicBezTo>
                    <a:pt x="132" y="113"/>
                    <a:pt x="135" y="111"/>
                    <a:pt x="135" y="109"/>
                  </a:cubicBezTo>
                  <a:cubicBezTo>
                    <a:pt x="135" y="107"/>
                    <a:pt x="135" y="105"/>
                    <a:pt x="135" y="104"/>
                  </a:cubicBezTo>
                  <a:cubicBezTo>
                    <a:pt x="135" y="102"/>
                    <a:pt x="136" y="97"/>
                    <a:pt x="133" y="97"/>
                  </a:cubicBezTo>
                  <a:cubicBezTo>
                    <a:pt x="135" y="91"/>
                    <a:pt x="138" y="86"/>
                    <a:pt x="144" y="83"/>
                  </a:cubicBezTo>
                  <a:cubicBezTo>
                    <a:pt x="147" y="82"/>
                    <a:pt x="155" y="79"/>
                    <a:pt x="157" y="84"/>
                  </a:cubicBezTo>
                  <a:cubicBezTo>
                    <a:pt x="157" y="86"/>
                    <a:pt x="157" y="88"/>
                    <a:pt x="157" y="90"/>
                  </a:cubicBezTo>
                  <a:cubicBezTo>
                    <a:pt x="157" y="92"/>
                    <a:pt x="158" y="93"/>
                    <a:pt x="157" y="95"/>
                  </a:cubicBezTo>
                  <a:cubicBezTo>
                    <a:pt x="157" y="95"/>
                    <a:pt x="157" y="95"/>
                    <a:pt x="156" y="96"/>
                  </a:cubicBezTo>
                  <a:cubicBezTo>
                    <a:pt x="156" y="96"/>
                    <a:pt x="155" y="96"/>
                    <a:pt x="155" y="96"/>
                  </a:cubicBezTo>
                  <a:cubicBezTo>
                    <a:pt x="153" y="101"/>
                    <a:pt x="158" y="105"/>
                    <a:pt x="162" y="106"/>
                  </a:cubicBezTo>
                  <a:cubicBezTo>
                    <a:pt x="164" y="108"/>
                    <a:pt x="166" y="108"/>
                    <a:pt x="168" y="110"/>
                  </a:cubicBezTo>
                  <a:cubicBezTo>
                    <a:pt x="170" y="112"/>
                    <a:pt x="172" y="113"/>
                    <a:pt x="173" y="115"/>
                  </a:cubicBezTo>
                  <a:cubicBezTo>
                    <a:pt x="176" y="116"/>
                    <a:pt x="177" y="116"/>
                    <a:pt x="177" y="119"/>
                  </a:cubicBezTo>
                  <a:cubicBezTo>
                    <a:pt x="177" y="123"/>
                    <a:pt x="176" y="127"/>
                    <a:pt x="175" y="131"/>
                  </a:cubicBezTo>
                  <a:cubicBezTo>
                    <a:pt x="175" y="132"/>
                    <a:pt x="175" y="135"/>
                    <a:pt x="175" y="137"/>
                  </a:cubicBezTo>
                  <a:cubicBezTo>
                    <a:pt x="176" y="138"/>
                    <a:pt x="177" y="138"/>
                    <a:pt x="178" y="138"/>
                  </a:cubicBezTo>
                  <a:cubicBezTo>
                    <a:pt x="183" y="139"/>
                    <a:pt x="189" y="140"/>
                    <a:pt x="194" y="140"/>
                  </a:cubicBezTo>
                  <a:cubicBezTo>
                    <a:pt x="194" y="136"/>
                    <a:pt x="194" y="134"/>
                    <a:pt x="190" y="133"/>
                  </a:cubicBezTo>
                  <a:cubicBezTo>
                    <a:pt x="187" y="132"/>
                    <a:pt x="186" y="132"/>
                    <a:pt x="184" y="128"/>
                  </a:cubicBezTo>
                  <a:cubicBezTo>
                    <a:pt x="183" y="125"/>
                    <a:pt x="180" y="121"/>
                    <a:pt x="180" y="118"/>
                  </a:cubicBezTo>
                  <a:cubicBezTo>
                    <a:pt x="181" y="114"/>
                    <a:pt x="183" y="116"/>
                    <a:pt x="186" y="116"/>
                  </a:cubicBezTo>
                  <a:cubicBezTo>
                    <a:pt x="187" y="117"/>
                    <a:pt x="188" y="116"/>
                    <a:pt x="190" y="117"/>
                  </a:cubicBezTo>
                  <a:cubicBezTo>
                    <a:pt x="191" y="117"/>
                    <a:pt x="192" y="119"/>
                    <a:pt x="193" y="119"/>
                  </a:cubicBezTo>
                  <a:cubicBezTo>
                    <a:pt x="195" y="121"/>
                    <a:pt x="195" y="123"/>
                    <a:pt x="196" y="124"/>
                  </a:cubicBezTo>
                  <a:cubicBezTo>
                    <a:pt x="196" y="125"/>
                    <a:pt x="197" y="126"/>
                    <a:pt x="198" y="127"/>
                  </a:cubicBezTo>
                  <a:cubicBezTo>
                    <a:pt x="200" y="130"/>
                    <a:pt x="201" y="136"/>
                    <a:pt x="204" y="137"/>
                  </a:cubicBezTo>
                  <a:cubicBezTo>
                    <a:pt x="206" y="138"/>
                    <a:pt x="212" y="137"/>
                    <a:pt x="214" y="137"/>
                  </a:cubicBezTo>
                  <a:cubicBezTo>
                    <a:pt x="215" y="136"/>
                    <a:pt x="215" y="135"/>
                    <a:pt x="214" y="134"/>
                  </a:cubicBezTo>
                  <a:cubicBezTo>
                    <a:pt x="214" y="131"/>
                    <a:pt x="214" y="132"/>
                    <a:pt x="212" y="130"/>
                  </a:cubicBezTo>
                  <a:cubicBezTo>
                    <a:pt x="210" y="128"/>
                    <a:pt x="208" y="126"/>
                    <a:pt x="205" y="123"/>
                  </a:cubicBezTo>
                  <a:cubicBezTo>
                    <a:pt x="202" y="121"/>
                    <a:pt x="194" y="118"/>
                    <a:pt x="196" y="113"/>
                  </a:cubicBezTo>
                  <a:cubicBezTo>
                    <a:pt x="199" y="107"/>
                    <a:pt x="203" y="108"/>
                    <a:pt x="208" y="110"/>
                  </a:cubicBezTo>
                  <a:cubicBezTo>
                    <a:pt x="211" y="111"/>
                    <a:pt x="214" y="111"/>
                    <a:pt x="217" y="112"/>
                  </a:cubicBezTo>
                  <a:cubicBezTo>
                    <a:pt x="219" y="112"/>
                    <a:pt x="220" y="113"/>
                    <a:pt x="221" y="114"/>
                  </a:cubicBezTo>
                  <a:cubicBezTo>
                    <a:pt x="222" y="114"/>
                    <a:pt x="222" y="115"/>
                    <a:pt x="223" y="116"/>
                  </a:cubicBezTo>
                  <a:cubicBezTo>
                    <a:pt x="225" y="117"/>
                    <a:pt x="227" y="119"/>
                    <a:pt x="228" y="121"/>
                  </a:cubicBezTo>
                  <a:cubicBezTo>
                    <a:pt x="229" y="122"/>
                    <a:pt x="230" y="125"/>
                    <a:pt x="232" y="125"/>
                  </a:cubicBezTo>
                  <a:cubicBezTo>
                    <a:pt x="232" y="126"/>
                    <a:pt x="238" y="126"/>
                    <a:pt x="238" y="125"/>
                  </a:cubicBezTo>
                  <a:cubicBezTo>
                    <a:pt x="239" y="124"/>
                    <a:pt x="239" y="123"/>
                    <a:pt x="239" y="122"/>
                  </a:cubicBezTo>
                  <a:cubicBezTo>
                    <a:pt x="238" y="122"/>
                    <a:pt x="238" y="121"/>
                    <a:pt x="238" y="121"/>
                  </a:cubicBezTo>
                  <a:cubicBezTo>
                    <a:pt x="237" y="120"/>
                    <a:pt x="237" y="119"/>
                    <a:pt x="237" y="119"/>
                  </a:cubicBezTo>
                  <a:cubicBezTo>
                    <a:pt x="235" y="116"/>
                    <a:pt x="231" y="115"/>
                    <a:pt x="229" y="113"/>
                  </a:cubicBezTo>
                  <a:cubicBezTo>
                    <a:pt x="226" y="109"/>
                    <a:pt x="223" y="107"/>
                    <a:pt x="218" y="106"/>
                  </a:cubicBezTo>
                  <a:cubicBezTo>
                    <a:pt x="215" y="105"/>
                    <a:pt x="212" y="105"/>
                    <a:pt x="210" y="104"/>
                  </a:cubicBezTo>
                  <a:cubicBezTo>
                    <a:pt x="208" y="104"/>
                    <a:pt x="208" y="103"/>
                    <a:pt x="206" y="103"/>
                  </a:cubicBezTo>
                  <a:cubicBezTo>
                    <a:pt x="205" y="101"/>
                    <a:pt x="206" y="100"/>
                    <a:pt x="207" y="98"/>
                  </a:cubicBezTo>
                  <a:cubicBezTo>
                    <a:pt x="207" y="97"/>
                    <a:pt x="207" y="96"/>
                    <a:pt x="207" y="96"/>
                  </a:cubicBezTo>
                  <a:cubicBezTo>
                    <a:pt x="207" y="94"/>
                    <a:pt x="208" y="93"/>
                    <a:pt x="210" y="92"/>
                  </a:cubicBezTo>
                  <a:cubicBezTo>
                    <a:pt x="207" y="91"/>
                    <a:pt x="208" y="88"/>
                    <a:pt x="207" y="86"/>
                  </a:cubicBezTo>
                  <a:cubicBezTo>
                    <a:pt x="205" y="84"/>
                    <a:pt x="204" y="84"/>
                    <a:pt x="202" y="83"/>
                  </a:cubicBezTo>
                  <a:cubicBezTo>
                    <a:pt x="198" y="80"/>
                    <a:pt x="203" y="75"/>
                    <a:pt x="204" y="72"/>
                  </a:cubicBezTo>
                  <a:cubicBezTo>
                    <a:pt x="205" y="70"/>
                    <a:pt x="207" y="67"/>
                    <a:pt x="209" y="68"/>
                  </a:cubicBezTo>
                  <a:cubicBezTo>
                    <a:pt x="212" y="68"/>
                    <a:pt x="212" y="70"/>
                    <a:pt x="212" y="72"/>
                  </a:cubicBezTo>
                  <a:cubicBezTo>
                    <a:pt x="213" y="75"/>
                    <a:pt x="213" y="75"/>
                    <a:pt x="217" y="76"/>
                  </a:cubicBezTo>
                  <a:cubicBezTo>
                    <a:pt x="219" y="76"/>
                    <a:pt x="220" y="76"/>
                    <a:pt x="223" y="76"/>
                  </a:cubicBezTo>
                  <a:cubicBezTo>
                    <a:pt x="225" y="75"/>
                    <a:pt x="226" y="73"/>
                    <a:pt x="228" y="72"/>
                  </a:cubicBezTo>
                  <a:cubicBezTo>
                    <a:pt x="230" y="71"/>
                    <a:pt x="232" y="70"/>
                    <a:pt x="234" y="70"/>
                  </a:cubicBezTo>
                  <a:cubicBezTo>
                    <a:pt x="237" y="68"/>
                    <a:pt x="237" y="65"/>
                    <a:pt x="239" y="62"/>
                  </a:cubicBezTo>
                  <a:cubicBezTo>
                    <a:pt x="240" y="60"/>
                    <a:pt x="241" y="59"/>
                    <a:pt x="243" y="59"/>
                  </a:cubicBezTo>
                  <a:cubicBezTo>
                    <a:pt x="245" y="59"/>
                    <a:pt x="247" y="60"/>
                    <a:pt x="249" y="61"/>
                  </a:cubicBezTo>
                  <a:cubicBezTo>
                    <a:pt x="250" y="61"/>
                    <a:pt x="251" y="61"/>
                    <a:pt x="252" y="61"/>
                  </a:cubicBezTo>
                  <a:cubicBezTo>
                    <a:pt x="255" y="61"/>
                    <a:pt x="257" y="63"/>
                    <a:pt x="259" y="63"/>
                  </a:cubicBezTo>
                  <a:cubicBezTo>
                    <a:pt x="262" y="64"/>
                    <a:pt x="267" y="63"/>
                    <a:pt x="269" y="61"/>
                  </a:cubicBezTo>
                  <a:cubicBezTo>
                    <a:pt x="271" y="59"/>
                    <a:pt x="272" y="54"/>
                    <a:pt x="275" y="53"/>
                  </a:cubicBezTo>
                  <a:cubicBezTo>
                    <a:pt x="280" y="52"/>
                    <a:pt x="279" y="56"/>
                    <a:pt x="279" y="59"/>
                  </a:cubicBezTo>
                  <a:cubicBezTo>
                    <a:pt x="278" y="62"/>
                    <a:pt x="279" y="62"/>
                    <a:pt x="282" y="63"/>
                  </a:cubicBezTo>
                  <a:cubicBezTo>
                    <a:pt x="283" y="63"/>
                    <a:pt x="284" y="65"/>
                    <a:pt x="285" y="66"/>
                  </a:cubicBezTo>
                  <a:cubicBezTo>
                    <a:pt x="288" y="68"/>
                    <a:pt x="293" y="70"/>
                    <a:pt x="297" y="70"/>
                  </a:cubicBezTo>
                  <a:cubicBezTo>
                    <a:pt x="303" y="70"/>
                    <a:pt x="309" y="70"/>
                    <a:pt x="315" y="70"/>
                  </a:cubicBezTo>
                  <a:cubicBezTo>
                    <a:pt x="317" y="70"/>
                    <a:pt x="318" y="70"/>
                    <a:pt x="320" y="71"/>
                  </a:cubicBezTo>
                  <a:cubicBezTo>
                    <a:pt x="323" y="72"/>
                    <a:pt x="326" y="73"/>
                    <a:pt x="328" y="74"/>
                  </a:cubicBezTo>
                  <a:cubicBezTo>
                    <a:pt x="329" y="75"/>
                    <a:pt x="333" y="79"/>
                    <a:pt x="333" y="79"/>
                  </a:cubicBezTo>
                  <a:cubicBezTo>
                    <a:pt x="335" y="79"/>
                    <a:pt x="335" y="77"/>
                    <a:pt x="336" y="75"/>
                  </a:cubicBezTo>
                  <a:cubicBezTo>
                    <a:pt x="338" y="72"/>
                    <a:pt x="339" y="69"/>
                    <a:pt x="342" y="67"/>
                  </a:cubicBezTo>
                  <a:cubicBezTo>
                    <a:pt x="344" y="65"/>
                    <a:pt x="348" y="63"/>
                    <a:pt x="349" y="61"/>
                  </a:cubicBezTo>
                  <a:cubicBezTo>
                    <a:pt x="350" y="59"/>
                    <a:pt x="350" y="59"/>
                    <a:pt x="350" y="57"/>
                  </a:cubicBezTo>
                  <a:cubicBezTo>
                    <a:pt x="350" y="53"/>
                    <a:pt x="351" y="50"/>
                    <a:pt x="351" y="46"/>
                  </a:cubicBezTo>
                  <a:cubicBezTo>
                    <a:pt x="351" y="42"/>
                    <a:pt x="351" y="37"/>
                    <a:pt x="355" y="35"/>
                  </a:cubicBezTo>
                  <a:cubicBezTo>
                    <a:pt x="357" y="33"/>
                    <a:pt x="362" y="35"/>
                    <a:pt x="364" y="33"/>
                  </a:cubicBezTo>
                  <a:cubicBezTo>
                    <a:pt x="368" y="31"/>
                    <a:pt x="366" y="26"/>
                    <a:pt x="366" y="22"/>
                  </a:cubicBezTo>
                  <a:cubicBezTo>
                    <a:pt x="365" y="18"/>
                    <a:pt x="365" y="15"/>
                    <a:pt x="365" y="10"/>
                  </a:cubicBezTo>
                  <a:cubicBezTo>
                    <a:pt x="365" y="6"/>
                    <a:pt x="362" y="7"/>
                    <a:pt x="359" y="6"/>
                  </a:cubicBezTo>
                  <a:cubicBezTo>
                    <a:pt x="357" y="5"/>
                    <a:pt x="356" y="3"/>
                    <a:pt x="354" y="2"/>
                  </a:cubicBezTo>
                  <a:cubicBezTo>
                    <a:pt x="354" y="3"/>
                    <a:pt x="354" y="4"/>
                    <a:pt x="354" y="5"/>
                  </a:cubicBezTo>
                  <a:cubicBezTo>
                    <a:pt x="351" y="5"/>
                    <a:pt x="348" y="3"/>
                    <a:pt x="346" y="3"/>
                  </a:cubicBezTo>
                  <a:cubicBezTo>
                    <a:pt x="344" y="2"/>
                    <a:pt x="342" y="0"/>
                    <a:pt x="340" y="0"/>
                  </a:cubicBezTo>
                  <a:cubicBezTo>
                    <a:pt x="336" y="0"/>
                    <a:pt x="333" y="2"/>
                    <a:pt x="334" y="6"/>
                  </a:cubicBezTo>
                  <a:cubicBezTo>
                    <a:pt x="335" y="9"/>
                    <a:pt x="338" y="10"/>
                    <a:pt x="338" y="13"/>
                  </a:cubicBezTo>
                  <a:cubicBezTo>
                    <a:pt x="338" y="15"/>
                    <a:pt x="339" y="16"/>
                    <a:pt x="338" y="18"/>
                  </a:cubicBezTo>
                  <a:cubicBezTo>
                    <a:pt x="338" y="19"/>
                    <a:pt x="337" y="19"/>
                    <a:pt x="337" y="21"/>
                  </a:cubicBezTo>
                  <a:cubicBezTo>
                    <a:pt x="337" y="21"/>
                    <a:pt x="337" y="22"/>
                    <a:pt x="337" y="22"/>
                  </a:cubicBezTo>
                  <a:cubicBezTo>
                    <a:pt x="337" y="25"/>
                    <a:pt x="338" y="28"/>
                    <a:pt x="336" y="30"/>
                  </a:cubicBezTo>
                  <a:cubicBezTo>
                    <a:pt x="335" y="30"/>
                    <a:pt x="334" y="30"/>
                    <a:pt x="333" y="31"/>
                  </a:cubicBezTo>
                  <a:cubicBezTo>
                    <a:pt x="332" y="31"/>
                    <a:pt x="331" y="32"/>
                    <a:pt x="330" y="33"/>
                  </a:cubicBezTo>
                  <a:cubicBezTo>
                    <a:pt x="329" y="33"/>
                    <a:pt x="327" y="34"/>
                    <a:pt x="326" y="34"/>
                  </a:cubicBezTo>
                  <a:cubicBezTo>
                    <a:pt x="323" y="35"/>
                    <a:pt x="322" y="34"/>
                    <a:pt x="320" y="33"/>
                  </a:cubicBezTo>
                  <a:cubicBezTo>
                    <a:pt x="319" y="33"/>
                    <a:pt x="318" y="32"/>
                    <a:pt x="317" y="32"/>
                  </a:cubicBezTo>
                  <a:cubicBezTo>
                    <a:pt x="316" y="32"/>
                    <a:pt x="316" y="32"/>
                    <a:pt x="315" y="33"/>
                  </a:cubicBezTo>
                  <a:cubicBezTo>
                    <a:pt x="312" y="34"/>
                    <a:pt x="310" y="30"/>
                    <a:pt x="307" y="31"/>
                  </a:cubicBezTo>
                  <a:cubicBezTo>
                    <a:pt x="309" y="32"/>
                    <a:pt x="309" y="34"/>
                    <a:pt x="309" y="36"/>
                  </a:cubicBezTo>
                  <a:cubicBezTo>
                    <a:pt x="304" y="36"/>
                    <a:pt x="298" y="37"/>
                    <a:pt x="293" y="37"/>
                  </a:cubicBezTo>
                  <a:cubicBezTo>
                    <a:pt x="291" y="37"/>
                    <a:pt x="289" y="37"/>
                    <a:pt x="287" y="37"/>
                  </a:cubicBezTo>
                  <a:cubicBezTo>
                    <a:pt x="287" y="37"/>
                    <a:pt x="286" y="37"/>
                    <a:pt x="286" y="36"/>
                  </a:cubicBezTo>
                  <a:cubicBezTo>
                    <a:pt x="285" y="36"/>
                    <a:pt x="284" y="37"/>
                    <a:pt x="283" y="36"/>
                  </a:cubicBezTo>
                  <a:cubicBezTo>
                    <a:pt x="282" y="36"/>
                    <a:pt x="281" y="34"/>
                    <a:pt x="279" y="33"/>
                  </a:cubicBezTo>
                  <a:cubicBezTo>
                    <a:pt x="279" y="33"/>
                    <a:pt x="278" y="32"/>
                    <a:pt x="277" y="32"/>
                  </a:cubicBezTo>
                  <a:cubicBezTo>
                    <a:pt x="275" y="32"/>
                    <a:pt x="274" y="33"/>
                    <a:pt x="273" y="31"/>
                  </a:cubicBezTo>
                  <a:cubicBezTo>
                    <a:pt x="272" y="31"/>
                    <a:pt x="271" y="31"/>
                    <a:pt x="270" y="30"/>
                  </a:cubicBezTo>
                  <a:cubicBezTo>
                    <a:pt x="269" y="30"/>
                    <a:pt x="269" y="29"/>
                    <a:pt x="268" y="28"/>
                  </a:cubicBezTo>
                  <a:cubicBezTo>
                    <a:pt x="266" y="28"/>
                    <a:pt x="264" y="29"/>
                    <a:pt x="262" y="29"/>
                  </a:cubicBezTo>
                  <a:cubicBezTo>
                    <a:pt x="261" y="30"/>
                    <a:pt x="261" y="31"/>
                    <a:pt x="260" y="30"/>
                  </a:cubicBezTo>
                  <a:cubicBezTo>
                    <a:pt x="259" y="29"/>
                    <a:pt x="259" y="27"/>
                    <a:pt x="258" y="27"/>
                  </a:cubicBezTo>
                  <a:cubicBezTo>
                    <a:pt x="257" y="26"/>
                    <a:pt x="257" y="26"/>
                    <a:pt x="257" y="26"/>
                  </a:cubicBezTo>
                  <a:cubicBezTo>
                    <a:pt x="256" y="25"/>
                    <a:pt x="255" y="24"/>
                    <a:pt x="255" y="23"/>
                  </a:cubicBezTo>
                  <a:cubicBezTo>
                    <a:pt x="253" y="21"/>
                    <a:pt x="251" y="21"/>
                    <a:pt x="249" y="20"/>
                  </a:cubicBezTo>
                  <a:cubicBezTo>
                    <a:pt x="248" y="20"/>
                    <a:pt x="247" y="19"/>
                    <a:pt x="247" y="18"/>
                  </a:cubicBezTo>
                  <a:cubicBezTo>
                    <a:pt x="247" y="18"/>
                    <a:pt x="246" y="17"/>
                    <a:pt x="246" y="17"/>
                  </a:cubicBezTo>
                  <a:cubicBezTo>
                    <a:pt x="245" y="16"/>
                    <a:pt x="246" y="13"/>
                    <a:pt x="245" y="12"/>
                  </a:cubicBezTo>
                  <a:cubicBezTo>
                    <a:pt x="244" y="11"/>
                    <a:pt x="242" y="12"/>
                    <a:pt x="241" y="13"/>
                  </a:cubicBezTo>
                  <a:cubicBezTo>
                    <a:pt x="241" y="11"/>
                    <a:pt x="240" y="13"/>
                    <a:pt x="239" y="13"/>
                  </a:cubicBezTo>
                  <a:cubicBezTo>
                    <a:pt x="237" y="13"/>
                    <a:pt x="238" y="11"/>
                    <a:pt x="236" y="11"/>
                  </a:cubicBezTo>
                  <a:cubicBezTo>
                    <a:pt x="236" y="12"/>
                    <a:pt x="235" y="11"/>
                    <a:pt x="235" y="12"/>
                  </a:cubicBezTo>
                  <a:cubicBezTo>
                    <a:pt x="234" y="12"/>
                    <a:pt x="234" y="13"/>
                    <a:pt x="234" y="13"/>
                  </a:cubicBezTo>
                  <a:cubicBezTo>
                    <a:pt x="232" y="14"/>
                    <a:pt x="231" y="13"/>
                    <a:pt x="229" y="13"/>
                  </a:cubicBezTo>
                  <a:cubicBezTo>
                    <a:pt x="228" y="13"/>
                    <a:pt x="226" y="13"/>
                    <a:pt x="225" y="13"/>
                  </a:cubicBezTo>
                  <a:cubicBezTo>
                    <a:pt x="224" y="13"/>
                    <a:pt x="223" y="12"/>
                    <a:pt x="222" y="11"/>
                  </a:cubicBezTo>
                  <a:cubicBezTo>
                    <a:pt x="219" y="10"/>
                    <a:pt x="220" y="14"/>
                    <a:pt x="220" y="15"/>
                  </a:cubicBezTo>
                  <a:cubicBezTo>
                    <a:pt x="219" y="18"/>
                    <a:pt x="216" y="19"/>
                    <a:pt x="214" y="17"/>
                  </a:cubicBezTo>
                  <a:cubicBezTo>
                    <a:pt x="213" y="18"/>
                    <a:pt x="212" y="19"/>
                    <a:pt x="211" y="19"/>
                  </a:cubicBezTo>
                  <a:cubicBezTo>
                    <a:pt x="211" y="19"/>
                    <a:pt x="210" y="19"/>
                    <a:pt x="209" y="19"/>
                  </a:cubicBezTo>
                  <a:cubicBezTo>
                    <a:pt x="208" y="19"/>
                    <a:pt x="208" y="20"/>
                    <a:pt x="207" y="21"/>
                  </a:cubicBezTo>
                  <a:cubicBezTo>
                    <a:pt x="206" y="22"/>
                    <a:pt x="203" y="23"/>
                    <a:pt x="201" y="23"/>
                  </a:cubicBezTo>
                  <a:cubicBezTo>
                    <a:pt x="199" y="24"/>
                    <a:pt x="197" y="23"/>
                    <a:pt x="195" y="24"/>
                  </a:cubicBezTo>
                  <a:cubicBezTo>
                    <a:pt x="194" y="24"/>
                    <a:pt x="193" y="24"/>
                    <a:pt x="191" y="24"/>
                  </a:cubicBezTo>
                  <a:cubicBezTo>
                    <a:pt x="190" y="24"/>
                    <a:pt x="189" y="23"/>
                    <a:pt x="188" y="23"/>
                  </a:cubicBezTo>
                  <a:cubicBezTo>
                    <a:pt x="186" y="22"/>
                    <a:pt x="182" y="24"/>
                    <a:pt x="180" y="25"/>
                  </a:cubicBezTo>
                  <a:cubicBezTo>
                    <a:pt x="177" y="26"/>
                    <a:pt x="175" y="26"/>
                    <a:pt x="172" y="26"/>
                  </a:cubicBezTo>
                  <a:cubicBezTo>
                    <a:pt x="170" y="26"/>
                    <a:pt x="168" y="26"/>
                    <a:pt x="167" y="26"/>
                  </a:cubicBezTo>
                  <a:cubicBezTo>
                    <a:pt x="165" y="26"/>
                    <a:pt x="164" y="27"/>
                    <a:pt x="163" y="26"/>
                  </a:cubicBezTo>
                  <a:cubicBezTo>
                    <a:pt x="162" y="25"/>
                    <a:pt x="162" y="24"/>
                    <a:pt x="161" y="24"/>
                  </a:cubicBezTo>
                  <a:cubicBezTo>
                    <a:pt x="160" y="23"/>
                    <a:pt x="159" y="22"/>
                    <a:pt x="158" y="21"/>
                  </a:cubicBezTo>
                  <a:cubicBezTo>
                    <a:pt x="158" y="21"/>
                    <a:pt x="158" y="21"/>
                    <a:pt x="158" y="21"/>
                  </a:cubicBezTo>
                  <a:cubicBezTo>
                    <a:pt x="158" y="21"/>
                    <a:pt x="157" y="21"/>
                    <a:pt x="157" y="21"/>
                  </a:cubicBezTo>
                  <a:cubicBezTo>
                    <a:pt x="157" y="22"/>
                    <a:pt x="156" y="22"/>
                    <a:pt x="155" y="22"/>
                  </a:cubicBezTo>
                  <a:cubicBezTo>
                    <a:pt x="154" y="23"/>
                    <a:pt x="154" y="23"/>
                    <a:pt x="153" y="24"/>
                  </a:cubicBezTo>
                  <a:cubicBezTo>
                    <a:pt x="152" y="24"/>
                    <a:pt x="151" y="26"/>
                    <a:pt x="150" y="26"/>
                  </a:cubicBezTo>
                  <a:cubicBezTo>
                    <a:pt x="149" y="26"/>
                    <a:pt x="147" y="25"/>
                    <a:pt x="147" y="27"/>
                  </a:cubicBezTo>
                  <a:cubicBezTo>
                    <a:pt x="146" y="27"/>
                    <a:pt x="147" y="29"/>
                    <a:pt x="147" y="29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1"/>
                    <a:pt x="146" y="31"/>
                    <a:pt x="146" y="32"/>
                  </a:cubicBezTo>
                  <a:cubicBezTo>
                    <a:pt x="145" y="34"/>
                    <a:pt x="145" y="35"/>
                    <a:pt x="145" y="37"/>
                  </a:cubicBezTo>
                  <a:cubicBezTo>
                    <a:pt x="145" y="38"/>
                    <a:pt x="145" y="39"/>
                    <a:pt x="144" y="40"/>
                  </a:cubicBezTo>
                  <a:cubicBezTo>
                    <a:pt x="143" y="40"/>
                    <a:pt x="143" y="38"/>
                    <a:pt x="142" y="37"/>
                  </a:cubicBezTo>
                  <a:cubicBezTo>
                    <a:pt x="141" y="37"/>
                    <a:pt x="138" y="39"/>
                    <a:pt x="138" y="40"/>
                  </a:cubicBezTo>
                  <a:cubicBezTo>
                    <a:pt x="137" y="40"/>
                    <a:pt x="136" y="40"/>
                    <a:pt x="135" y="40"/>
                  </a:cubicBezTo>
                  <a:cubicBezTo>
                    <a:pt x="133" y="40"/>
                    <a:pt x="132" y="39"/>
                    <a:pt x="131" y="39"/>
                  </a:cubicBezTo>
                  <a:cubicBezTo>
                    <a:pt x="129" y="39"/>
                    <a:pt x="127" y="39"/>
                    <a:pt x="125" y="39"/>
                  </a:cubicBezTo>
                  <a:cubicBezTo>
                    <a:pt x="125" y="39"/>
                    <a:pt x="124" y="39"/>
                    <a:pt x="124" y="39"/>
                  </a:cubicBezTo>
                  <a:cubicBezTo>
                    <a:pt x="123" y="39"/>
                    <a:pt x="123" y="39"/>
                    <a:pt x="122" y="39"/>
                  </a:cubicBezTo>
                  <a:cubicBezTo>
                    <a:pt x="121" y="38"/>
                    <a:pt x="119" y="38"/>
                    <a:pt x="118" y="37"/>
                  </a:cubicBezTo>
                  <a:cubicBezTo>
                    <a:pt x="117" y="37"/>
                    <a:pt x="116" y="37"/>
                    <a:pt x="115" y="38"/>
                  </a:cubicBezTo>
                  <a:cubicBezTo>
                    <a:pt x="115" y="38"/>
                    <a:pt x="114" y="39"/>
                    <a:pt x="113" y="39"/>
                  </a:cubicBezTo>
                  <a:cubicBezTo>
                    <a:pt x="112" y="39"/>
                    <a:pt x="110" y="38"/>
                    <a:pt x="109" y="38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5" y="37"/>
                    <a:pt x="103" y="39"/>
                    <a:pt x="102" y="41"/>
                  </a:cubicBezTo>
                  <a:cubicBezTo>
                    <a:pt x="101" y="42"/>
                    <a:pt x="100" y="43"/>
                    <a:pt x="99" y="44"/>
                  </a:cubicBezTo>
                  <a:cubicBezTo>
                    <a:pt x="98" y="46"/>
                    <a:pt x="95" y="47"/>
                    <a:pt x="94" y="49"/>
                  </a:cubicBezTo>
                  <a:cubicBezTo>
                    <a:pt x="93" y="50"/>
                    <a:pt x="93" y="51"/>
                    <a:pt x="93" y="52"/>
                  </a:cubicBezTo>
                  <a:cubicBezTo>
                    <a:pt x="92" y="52"/>
                    <a:pt x="91" y="54"/>
                    <a:pt x="90" y="54"/>
                  </a:cubicBezTo>
                  <a:cubicBezTo>
                    <a:pt x="89" y="55"/>
                    <a:pt x="87" y="56"/>
                    <a:pt x="86" y="56"/>
                  </a:cubicBezTo>
                  <a:cubicBezTo>
                    <a:pt x="85" y="56"/>
                    <a:pt x="83" y="56"/>
                    <a:pt x="82" y="56"/>
                  </a:cubicBezTo>
                  <a:cubicBezTo>
                    <a:pt x="81" y="57"/>
                    <a:pt x="80" y="56"/>
                    <a:pt x="79" y="56"/>
                  </a:cubicBezTo>
                  <a:cubicBezTo>
                    <a:pt x="79" y="56"/>
                    <a:pt x="78" y="56"/>
                    <a:pt x="78" y="56"/>
                  </a:cubicBezTo>
                  <a:cubicBezTo>
                    <a:pt x="77" y="57"/>
                    <a:pt x="78" y="57"/>
                    <a:pt x="77" y="58"/>
                  </a:cubicBezTo>
                  <a:cubicBezTo>
                    <a:pt x="77" y="58"/>
                    <a:pt x="76" y="58"/>
                    <a:pt x="75" y="58"/>
                  </a:cubicBezTo>
                  <a:cubicBezTo>
                    <a:pt x="73" y="58"/>
                    <a:pt x="72" y="57"/>
                    <a:pt x="70" y="57"/>
                  </a:cubicBezTo>
                  <a:cubicBezTo>
                    <a:pt x="68" y="57"/>
                    <a:pt x="67" y="57"/>
                    <a:pt x="65" y="57"/>
                  </a:cubicBezTo>
                  <a:cubicBezTo>
                    <a:pt x="64" y="57"/>
                    <a:pt x="62" y="57"/>
                    <a:pt x="60" y="57"/>
                  </a:cubicBezTo>
                  <a:cubicBezTo>
                    <a:pt x="59" y="58"/>
                    <a:pt x="57" y="59"/>
                    <a:pt x="56" y="60"/>
                  </a:cubicBezTo>
                  <a:cubicBezTo>
                    <a:pt x="54" y="60"/>
                    <a:pt x="52" y="61"/>
                    <a:pt x="51" y="62"/>
                  </a:cubicBezTo>
                  <a:cubicBezTo>
                    <a:pt x="49" y="64"/>
                    <a:pt x="47" y="66"/>
                    <a:pt x="45" y="67"/>
                  </a:cubicBezTo>
                  <a:cubicBezTo>
                    <a:pt x="46" y="69"/>
                    <a:pt x="49" y="71"/>
                    <a:pt x="50" y="73"/>
                  </a:cubicBezTo>
                  <a:cubicBezTo>
                    <a:pt x="51" y="74"/>
                    <a:pt x="53" y="79"/>
                    <a:pt x="52" y="81"/>
                  </a:cubicBezTo>
                  <a:cubicBezTo>
                    <a:pt x="51" y="81"/>
                    <a:pt x="50" y="82"/>
                    <a:pt x="50" y="82"/>
                  </a:cubicBezTo>
                  <a:cubicBezTo>
                    <a:pt x="48" y="83"/>
                    <a:pt x="48" y="83"/>
                    <a:pt x="48" y="85"/>
                  </a:cubicBezTo>
                  <a:cubicBezTo>
                    <a:pt x="47" y="87"/>
                    <a:pt x="48" y="89"/>
                    <a:pt x="46" y="90"/>
                  </a:cubicBezTo>
                  <a:cubicBezTo>
                    <a:pt x="45" y="90"/>
                    <a:pt x="43" y="90"/>
                    <a:pt x="42" y="90"/>
                  </a:cubicBezTo>
                  <a:cubicBezTo>
                    <a:pt x="42" y="90"/>
                    <a:pt x="41" y="90"/>
                    <a:pt x="41" y="90"/>
                  </a:cubicBezTo>
                  <a:cubicBezTo>
                    <a:pt x="41" y="91"/>
                    <a:pt x="40" y="91"/>
                    <a:pt x="40" y="91"/>
                  </a:cubicBezTo>
                  <a:cubicBezTo>
                    <a:pt x="39" y="92"/>
                    <a:pt x="38" y="91"/>
                    <a:pt x="37" y="91"/>
                  </a:cubicBezTo>
                  <a:cubicBezTo>
                    <a:pt x="36" y="92"/>
                    <a:pt x="36" y="93"/>
                    <a:pt x="35" y="94"/>
                  </a:cubicBezTo>
                  <a:cubicBezTo>
                    <a:pt x="34" y="96"/>
                    <a:pt x="33" y="98"/>
                    <a:pt x="33" y="100"/>
                  </a:cubicBezTo>
                  <a:cubicBezTo>
                    <a:pt x="33" y="102"/>
                    <a:pt x="33" y="103"/>
                    <a:pt x="32" y="105"/>
                  </a:cubicBezTo>
                  <a:cubicBezTo>
                    <a:pt x="31" y="106"/>
                    <a:pt x="31" y="107"/>
                    <a:pt x="31" y="108"/>
                  </a:cubicBezTo>
                  <a:cubicBezTo>
                    <a:pt x="30" y="109"/>
                    <a:pt x="29" y="110"/>
                    <a:pt x="29" y="112"/>
                  </a:cubicBezTo>
                  <a:cubicBezTo>
                    <a:pt x="28" y="112"/>
                    <a:pt x="29" y="113"/>
                    <a:pt x="29" y="113"/>
                  </a:cubicBezTo>
                  <a:cubicBezTo>
                    <a:pt x="29" y="115"/>
                    <a:pt x="28" y="115"/>
                    <a:pt x="28" y="116"/>
                  </a:cubicBezTo>
                  <a:cubicBezTo>
                    <a:pt x="27" y="117"/>
                    <a:pt x="27" y="118"/>
                    <a:pt x="27" y="119"/>
                  </a:cubicBezTo>
                  <a:cubicBezTo>
                    <a:pt x="27" y="119"/>
                    <a:pt x="26" y="121"/>
                    <a:pt x="26" y="121"/>
                  </a:cubicBezTo>
                  <a:cubicBezTo>
                    <a:pt x="25" y="121"/>
                    <a:pt x="23" y="120"/>
                    <a:pt x="22" y="120"/>
                  </a:cubicBezTo>
                  <a:cubicBezTo>
                    <a:pt x="20" y="120"/>
                    <a:pt x="19" y="120"/>
                    <a:pt x="18" y="121"/>
                  </a:cubicBezTo>
                  <a:cubicBezTo>
                    <a:pt x="16" y="122"/>
                    <a:pt x="14" y="123"/>
                    <a:pt x="13" y="125"/>
                  </a:cubicBezTo>
                  <a:cubicBezTo>
                    <a:pt x="12" y="126"/>
                    <a:pt x="12" y="126"/>
                    <a:pt x="11" y="127"/>
                  </a:cubicBezTo>
                  <a:cubicBezTo>
                    <a:pt x="11" y="128"/>
                    <a:pt x="11" y="128"/>
                    <a:pt x="10" y="129"/>
                  </a:cubicBezTo>
                  <a:cubicBezTo>
                    <a:pt x="10" y="129"/>
                    <a:pt x="9" y="131"/>
                    <a:pt x="9" y="132"/>
                  </a:cubicBezTo>
                  <a:cubicBezTo>
                    <a:pt x="9" y="133"/>
                    <a:pt x="10" y="133"/>
                    <a:pt x="10" y="134"/>
                  </a:cubicBezTo>
                  <a:cubicBezTo>
                    <a:pt x="11" y="135"/>
                    <a:pt x="11" y="136"/>
                    <a:pt x="11" y="137"/>
                  </a:cubicBezTo>
                  <a:cubicBezTo>
                    <a:pt x="12" y="138"/>
                    <a:pt x="13" y="139"/>
                    <a:pt x="12" y="140"/>
                  </a:cubicBezTo>
                  <a:cubicBezTo>
                    <a:pt x="12" y="141"/>
                    <a:pt x="11" y="141"/>
                    <a:pt x="11" y="142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7" y="144"/>
                    <a:pt x="7" y="145"/>
                    <a:pt x="7" y="147"/>
                  </a:cubicBezTo>
                  <a:cubicBezTo>
                    <a:pt x="6" y="148"/>
                    <a:pt x="5" y="150"/>
                    <a:pt x="4" y="150"/>
                  </a:cubicBezTo>
                  <a:cubicBezTo>
                    <a:pt x="4" y="151"/>
                    <a:pt x="3" y="151"/>
                    <a:pt x="3" y="151"/>
                  </a:cubicBezTo>
                  <a:cubicBezTo>
                    <a:pt x="2" y="152"/>
                    <a:pt x="2" y="152"/>
                    <a:pt x="2" y="153"/>
                  </a:cubicBezTo>
                  <a:cubicBezTo>
                    <a:pt x="1" y="153"/>
                    <a:pt x="0" y="153"/>
                    <a:pt x="0" y="15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3" name="Freeform 44">
              <a:extLst>
                <a:ext uri="{FF2B5EF4-FFF2-40B4-BE49-F238E27FC236}">
                  <a16:creationId xmlns:a16="http://schemas.microsoft.com/office/drawing/2014/main" id="{42154E6F-9DBD-434B-B83C-1479D0FAC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188" y="6280150"/>
              <a:ext cx="52388" cy="61913"/>
            </a:xfrm>
            <a:custGeom>
              <a:avLst/>
              <a:gdLst/>
              <a:ahLst/>
              <a:cxnLst>
                <a:cxn ang="0">
                  <a:pos x="23" y="23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2" y="3"/>
                </a:cxn>
                <a:cxn ang="0">
                  <a:pos x="12" y="12"/>
                </a:cxn>
                <a:cxn ang="0">
                  <a:pos x="7" y="14"/>
                </a:cxn>
                <a:cxn ang="0">
                  <a:pos x="2" y="20"/>
                </a:cxn>
                <a:cxn ang="0">
                  <a:pos x="2" y="27"/>
                </a:cxn>
                <a:cxn ang="0">
                  <a:pos x="6" y="22"/>
                </a:cxn>
                <a:cxn ang="0">
                  <a:pos x="8" y="28"/>
                </a:cxn>
                <a:cxn ang="0">
                  <a:pos x="13" y="31"/>
                </a:cxn>
                <a:cxn ang="0">
                  <a:pos x="26" y="32"/>
                </a:cxn>
                <a:cxn ang="0">
                  <a:pos x="25" y="23"/>
                </a:cxn>
                <a:cxn ang="0">
                  <a:pos x="23" y="23"/>
                </a:cxn>
              </a:cxnLst>
              <a:rect l="0" t="0" r="r" b="b"/>
              <a:pathLst>
                <a:path w="28" h="33">
                  <a:moveTo>
                    <a:pt x="23" y="23"/>
                  </a:moveTo>
                  <a:cubicBezTo>
                    <a:pt x="20" y="23"/>
                    <a:pt x="18" y="18"/>
                    <a:pt x="17" y="16"/>
                  </a:cubicBezTo>
                  <a:cubicBezTo>
                    <a:pt x="17" y="13"/>
                    <a:pt x="17" y="10"/>
                    <a:pt x="17" y="8"/>
                  </a:cubicBezTo>
                  <a:cubicBezTo>
                    <a:pt x="17" y="6"/>
                    <a:pt x="15" y="0"/>
                    <a:pt x="12" y="3"/>
                  </a:cubicBezTo>
                  <a:cubicBezTo>
                    <a:pt x="10" y="5"/>
                    <a:pt x="13" y="9"/>
                    <a:pt x="12" y="12"/>
                  </a:cubicBezTo>
                  <a:cubicBezTo>
                    <a:pt x="11" y="13"/>
                    <a:pt x="9" y="14"/>
                    <a:pt x="7" y="14"/>
                  </a:cubicBezTo>
                  <a:cubicBezTo>
                    <a:pt x="4" y="15"/>
                    <a:pt x="3" y="16"/>
                    <a:pt x="2" y="20"/>
                  </a:cubicBezTo>
                  <a:cubicBezTo>
                    <a:pt x="1" y="22"/>
                    <a:pt x="0" y="27"/>
                    <a:pt x="2" y="27"/>
                  </a:cubicBezTo>
                  <a:cubicBezTo>
                    <a:pt x="5" y="27"/>
                    <a:pt x="6" y="24"/>
                    <a:pt x="6" y="22"/>
                  </a:cubicBezTo>
                  <a:cubicBezTo>
                    <a:pt x="7" y="24"/>
                    <a:pt x="7" y="27"/>
                    <a:pt x="8" y="28"/>
                  </a:cubicBezTo>
                  <a:cubicBezTo>
                    <a:pt x="9" y="30"/>
                    <a:pt x="11" y="30"/>
                    <a:pt x="13" y="31"/>
                  </a:cubicBezTo>
                  <a:cubicBezTo>
                    <a:pt x="17" y="32"/>
                    <a:pt x="22" y="33"/>
                    <a:pt x="26" y="32"/>
                  </a:cubicBezTo>
                  <a:cubicBezTo>
                    <a:pt x="27" y="30"/>
                    <a:pt x="28" y="24"/>
                    <a:pt x="25" y="23"/>
                  </a:cubicBezTo>
                  <a:lnTo>
                    <a:pt x="23" y="2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4" name="Freeform 45">
              <a:extLst>
                <a:ext uri="{FF2B5EF4-FFF2-40B4-BE49-F238E27FC236}">
                  <a16:creationId xmlns:a16="http://schemas.microsoft.com/office/drawing/2014/main" id="{0140552F-2D8B-4A56-8189-BEC3457B5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6359525"/>
              <a:ext cx="38100" cy="42863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3" y="2"/>
                </a:cxn>
                <a:cxn ang="0">
                  <a:pos x="1" y="11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13" y="23"/>
                </a:cxn>
                <a:cxn ang="0">
                  <a:pos x="14" y="20"/>
                </a:cxn>
                <a:cxn ang="0">
                  <a:pos x="19" y="20"/>
                </a:cxn>
                <a:cxn ang="0">
                  <a:pos x="12" y="8"/>
                </a:cxn>
                <a:cxn ang="0">
                  <a:pos x="10" y="7"/>
                </a:cxn>
              </a:cxnLst>
              <a:rect l="0" t="0" r="r" b="b"/>
              <a:pathLst>
                <a:path w="21" h="23">
                  <a:moveTo>
                    <a:pt x="10" y="7"/>
                  </a:moveTo>
                  <a:cubicBezTo>
                    <a:pt x="8" y="5"/>
                    <a:pt x="6" y="0"/>
                    <a:pt x="3" y="2"/>
                  </a:cubicBezTo>
                  <a:cubicBezTo>
                    <a:pt x="0" y="3"/>
                    <a:pt x="1" y="9"/>
                    <a:pt x="1" y="11"/>
                  </a:cubicBezTo>
                  <a:cubicBezTo>
                    <a:pt x="2" y="13"/>
                    <a:pt x="3" y="16"/>
                    <a:pt x="4" y="18"/>
                  </a:cubicBezTo>
                  <a:cubicBezTo>
                    <a:pt x="5" y="21"/>
                    <a:pt x="5" y="21"/>
                    <a:pt x="8" y="22"/>
                  </a:cubicBezTo>
                  <a:cubicBezTo>
                    <a:pt x="9" y="22"/>
                    <a:pt x="12" y="23"/>
                    <a:pt x="13" y="23"/>
                  </a:cubicBezTo>
                  <a:cubicBezTo>
                    <a:pt x="13" y="22"/>
                    <a:pt x="13" y="21"/>
                    <a:pt x="14" y="20"/>
                  </a:cubicBezTo>
                  <a:cubicBezTo>
                    <a:pt x="16" y="20"/>
                    <a:pt x="17" y="23"/>
                    <a:pt x="19" y="20"/>
                  </a:cubicBezTo>
                  <a:cubicBezTo>
                    <a:pt x="21" y="16"/>
                    <a:pt x="15" y="10"/>
                    <a:pt x="12" y="8"/>
                  </a:cubicBezTo>
                  <a:lnTo>
                    <a:pt x="10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5" name="Freeform 46">
              <a:extLst>
                <a:ext uri="{FF2B5EF4-FFF2-40B4-BE49-F238E27FC236}">
                  <a16:creationId xmlns:a16="http://schemas.microsoft.com/office/drawing/2014/main" id="{8EDE5834-E279-4124-AFEA-50107F2A3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5" y="6384925"/>
              <a:ext cx="31750" cy="39688"/>
            </a:xfrm>
            <a:custGeom>
              <a:avLst/>
              <a:gdLst/>
              <a:ahLst/>
              <a:cxnLst>
                <a:cxn ang="0">
                  <a:pos x="10" y="6"/>
                </a:cxn>
                <a:cxn ang="0">
                  <a:pos x="1" y="1"/>
                </a:cxn>
                <a:cxn ang="0">
                  <a:pos x="7" y="12"/>
                </a:cxn>
                <a:cxn ang="0">
                  <a:pos x="16" y="21"/>
                </a:cxn>
                <a:cxn ang="0">
                  <a:pos x="15" y="14"/>
                </a:cxn>
                <a:cxn ang="0">
                  <a:pos x="10" y="7"/>
                </a:cxn>
                <a:cxn ang="0">
                  <a:pos x="10" y="6"/>
                </a:cxn>
              </a:cxnLst>
              <a:rect l="0" t="0" r="r" b="b"/>
              <a:pathLst>
                <a:path w="17" h="21">
                  <a:moveTo>
                    <a:pt x="10" y="6"/>
                  </a:moveTo>
                  <a:cubicBezTo>
                    <a:pt x="11" y="3"/>
                    <a:pt x="5" y="0"/>
                    <a:pt x="1" y="1"/>
                  </a:cubicBezTo>
                  <a:cubicBezTo>
                    <a:pt x="0" y="5"/>
                    <a:pt x="4" y="9"/>
                    <a:pt x="7" y="12"/>
                  </a:cubicBezTo>
                  <a:cubicBezTo>
                    <a:pt x="9" y="15"/>
                    <a:pt x="13" y="20"/>
                    <a:pt x="16" y="21"/>
                  </a:cubicBezTo>
                  <a:cubicBezTo>
                    <a:pt x="17" y="19"/>
                    <a:pt x="16" y="16"/>
                    <a:pt x="15" y="14"/>
                  </a:cubicBezTo>
                  <a:cubicBezTo>
                    <a:pt x="14" y="13"/>
                    <a:pt x="12" y="8"/>
                    <a:pt x="10" y="7"/>
                  </a:cubicBezTo>
                  <a:lnTo>
                    <a:pt x="10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6" name="Freeform 47">
              <a:extLst>
                <a:ext uri="{FF2B5EF4-FFF2-40B4-BE49-F238E27FC236}">
                  <a16:creationId xmlns:a16="http://schemas.microsoft.com/office/drawing/2014/main" id="{0FBFB63E-3764-4ECB-8EA7-DE3F2DCC3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0425" y="6432550"/>
              <a:ext cx="31750" cy="15875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1"/>
                </a:cxn>
                <a:cxn ang="0">
                  <a:pos x="11" y="8"/>
                </a:cxn>
                <a:cxn ang="0">
                  <a:pos x="7" y="1"/>
                </a:cxn>
                <a:cxn ang="0">
                  <a:pos x="10" y="3"/>
                </a:cxn>
              </a:cxnLst>
              <a:rect l="0" t="0" r="r" b="b"/>
              <a:pathLst>
                <a:path w="17" h="9">
                  <a:moveTo>
                    <a:pt x="10" y="3"/>
                  </a:moveTo>
                  <a:cubicBezTo>
                    <a:pt x="7" y="2"/>
                    <a:pt x="4" y="0"/>
                    <a:pt x="1" y="1"/>
                  </a:cubicBezTo>
                  <a:cubicBezTo>
                    <a:pt x="0" y="6"/>
                    <a:pt x="6" y="9"/>
                    <a:pt x="11" y="8"/>
                  </a:cubicBezTo>
                  <a:cubicBezTo>
                    <a:pt x="17" y="8"/>
                    <a:pt x="11" y="1"/>
                    <a:pt x="7" y="1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7" name="Freeform 48">
              <a:extLst>
                <a:ext uri="{FF2B5EF4-FFF2-40B4-BE49-F238E27FC236}">
                  <a16:creationId xmlns:a16="http://schemas.microsoft.com/office/drawing/2014/main" id="{B97571D9-E131-4407-A8B3-4A214B7A0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4238" y="6497638"/>
              <a:ext cx="22225" cy="36513"/>
            </a:xfrm>
            <a:custGeom>
              <a:avLst/>
              <a:gdLst/>
              <a:ahLst/>
              <a:cxnLst>
                <a:cxn ang="0">
                  <a:pos x="12" y="1"/>
                </a:cxn>
                <a:cxn ang="0">
                  <a:pos x="1" y="3"/>
                </a:cxn>
                <a:cxn ang="0">
                  <a:pos x="1" y="10"/>
                </a:cxn>
                <a:cxn ang="0">
                  <a:pos x="11" y="19"/>
                </a:cxn>
                <a:cxn ang="0">
                  <a:pos x="12" y="5"/>
                </a:cxn>
                <a:cxn ang="0">
                  <a:pos x="12" y="1"/>
                </a:cxn>
              </a:cxnLst>
              <a:rect l="0" t="0" r="r" b="b"/>
              <a:pathLst>
                <a:path w="12" h="20">
                  <a:moveTo>
                    <a:pt x="12" y="1"/>
                  </a:moveTo>
                  <a:cubicBezTo>
                    <a:pt x="8" y="1"/>
                    <a:pt x="3" y="0"/>
                    <a:pt x="1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2" y="13"/>
                    <a:pt x="7" y="20"/>
                    <a:pt x="11" y="19"/>
                  </a:cubicBezTo>
                  <a:cubicBezTo>
                    <a:pt x="12" y="14"/>
                    <a:pt x="12" y="10"/>
                    <a:pt x="12" y="5"/>
                  </a:cubicBezTo>
                  <a:lnTo>
                    <a:pt x="12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8" name="Freeform 49">
              <a:extLst>
                <a:ext uri="{FF2B5EF4-FFF2-40B4-BE49-F238E27FC236}">
                  <a16:creationId xmlns:a16="http://schemas.microsoft.com/office/drawing/2014/main" id="{C3EC4FB3-53F9-41C3-8BA7-E4FE5371D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313" y="6503988"/>
              <a:ext cx="17463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11"/>
                </a:cxn>
                <a:cxn ang="0">
                  <a:pos x="8" y="14"/>
                </a:cxn>
                <a:cxn ang="0">
                  <a:pos x="9" y="4"/>
                </a:cxn>
                <a:cxn ang="0">
                  <a:pos x="10" y="0"/>
                </a:cxn>
              </a:cxnLst>
              <a:rect l="0" t="0" r="r" b="b"/>
              <a:pathLst>
                <a:path w="10" h="15">
                  <a:moveTo>
                    <a:pt x="10" y="0"/>
                  </a:moveTo>
                  <a:cubicBezTo>
                    <a:pt x="7" y="0"/>
                    <a:pt x="0" y="8"/>
                    <a:pt x="0" y="11"/>
                  </a:cubicBezTo>
                  <a:cubicBezTo>
                    <a:pt x="0" y="15"/>
                    <a:pt x="5" y="14"/>
                    <a:pt x="8" y="14"/>
                  </a:cubicBezTo>
                  <a:cubicBezTo>
                    <a:pt x="8" y="11"/>
                    <a:pt x="9" y="7"/>
                    <a:pt x="9" y="4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9" name="Freeform 50">
              <a:extLst>
                <a:ext uri="{FF2B5EF4-FFF2-40B4-BE49-F238E27FC236}">
                  <a16:creationId xmlns:a16="http://schemas.microsoft.com/office/drawing/2014/main" id="{AE2656BA-5C85-46A9-AC34-F255D8434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0875" y="6650038"/>
              <a:ext cx="273050" cy="58738"/>
            </a:xfrm>
            <a:custGeom>
              <a:avLst/>
              <a:gdLst/>
              <a:ahLst/>
              <a:cxnLst>
                <a:cxn ang="0">
                  <a:pos x="116" y="7"/>
                </a:cxn>
                <a:cxn ang="0">
                  <a:pos x="95" y="5"/>
                </a:cxn>
                <a:cxn ang="0">
                  <a:pos x="67" y="4"/>
                </a:cxn>
                <a:cxn ang="0">
                  <a:pos x="57" y="3"/>
                </a:cxn>
                <a:cxn ang="0">
                  <a:pos x="37" y="1"/>
                </a:cxn>
                <a:cxn ang="0">
                  <a:pos x="22" y="0"/>
                </a:cxn>
                <a:cxn ang="0">
                  <a:pos x="5" y="3"/>
                </a:cxn>
                <a:cxn ang="0">
                  <a:pos x="1" y="8"/>
                </a:cxn>
                <a:cxn ang="0">
                  <a:pos x="13" y="13"/>
                </a:cxn>
                <a:cxn ang="0">
                  <a:pos x="41" y="15"/>
                </a:cxn>
                <a:cxn ang="0">
                  <a:pos x="57" y="16"/>
                </a:cxn>
                <a:cxn ang="0">
                  <a:pos x="65" y="19"/>
                </a:cxn>
                <a:cxn ang="0">
                  <a:pos x="68" y="25"/>
                </a:cxn>
                <a:cxn ang="0">
                  <a:pos x="71" y="30"/>
                </a:cxn>
                <a:cxn ang="0">
                  <a:pos x="76" y="31"/>
                </a:cxn>
                <a:cxn ang="0">
                  <a:pos x="93" y="28"/>
                </a:cxn>
                <a:cxn ang="0">
                  <a:pos x="127" y="27"/>
                </a:cxn>
                <a:cxn ang="0">
                  <a:pos x="142" y="25"/>
                </a:cxn>
                <a:cxn ang="0">
                  <a:pos x="146" y="22"/>
                </a:cxn>
                <a:cxn ang="0">
                  <a:pos x="139" y="15"/>
                </a:cxn>
                <a:cxn ang="0">
                  <a:pos x="123" y="8"/>
                </a:cxn>
                <a:cxn ang="0">
                  <a:pos x="116" y="7"/>
                </a:cxn>
              </a:cxnLst>
              <a:rect l="0" t="0" r="r" b="b"/>
              <a:pathLst>
                <a:path w="146" h="31">
                  <a:moveTo>
                    <a:pt x="116" y="7"/>
                  </a:moveTo>
                  <a:cubicBezTo>
                    <a:pt x="109" y="5"/>
                    <a:pt x="102" y="5"/>
                    <a:pt x="95" y="5"/>
                  </a:cubicBezTo>
                  <a:cubicBezTo>
                    <a:pt x="86" y="5"/>
                    <a:pt x="77" y="4"/>
                    <a:pt x="67" y="4"/>
                  </a:cubicBezTo>
                  <a:cubicBezTo>
                    <a:pt x="64" y="3"/>
                    <a:pt x="60" y="3"/>
                    <a:pt x="57" y="3"/>
                  </a:cubicBezTo>
                  <a:cubicBezTo>
                    <a:pt x="50" y="3"/>
                    <a:pt x="44" y="1"/>
                    <a:pt x="37" y="1"/>
                  </a:cubicBezTo>
                  <a:cubicBezTo>
                    <a:pt x="32" y="0"/>
                    <a:pt x="27" y="1"/>
                    <a:pt x="22" y="0"/>
                  </a:cubicBezTo>
                  <a:cubicBezTo>
                    <a:pt x="16" y="0"/>
                    <a:pt x="10" y="0"/>
                    <a:pt x="5" y="3"/>
                  </a:cubicBezTo>
                  <a:cubicBezTo>
                    <a:pt x="3" y="4"/>
                    <a:pt x="0" y="5"/>
                    <a:pt x="1" y="8"/>
                  </a:cubicBezTo>
                  <a:cubicBezTo>
                    <a:pt x="3" y="11"/>
                    <a:pt x="11" y="12"/>
                    <a:pt x="13" y="13"/>
                  </a:cubicBezTo>
                  <a:cubicBezTo>
                    <a:pt x="22" y="14"/>
                    <a:pt x="31" y="14"/>
                    <a:pt x="41" y="15"/>
                  </a:cubicBezTo>
                  <a:cubicBezTo>
                    <a:pt x="46" y="15"/>
                    <a:pt x="52" y="15"/>
                    <a:pt x="57" y="16"/>
                  </a:cubicBezTo>
                  <a:cubicBezTo>
                    <a:pt x="59" y="17"/>
                    <a:pt x="64" y="18"/>
                    <a:pt x="65" y="19"/>
                  </a:cubicBezTo>
                  <a:cubicBezTo>
                    <a:pt x="67" y="21"/>
                    <a:pt x="67" y="23"/>
                    <a:pt x="68" y="25"/>
                  </a:cubicBezTo>
                  <a:cubicBezTo>
                    <a:pt x="68" y="27"/>
                    <a:pt x="69" y="30"/>
                    <a:pt x="71" y="30"/>
                  </a:cubicBezTo>
                  <a:cubicBezTo>
                    <a:pt x="72" y="31"/>
                    <a:pt x="75" y="31"/>
                    <a:pt x="76" y="31"/>
                  </a:cubicBezTo>
                  <a:cubicBezTo>
                    <a:pt x="82" y="30"/>
                    <a:pt x="88" y="28"/>
                    <a:pt x="93" y="28"/>
                  </a:cubicBezTo>
                  <a:cubicBezTo>
                    <a:pt x="104" y="27"/>
                    <a:pt x="116" y="27"/>
                    <a:pt x="127" y="27"/>
                  </a:cubicBezTo>
                  <a:cubicBezTo>
                    <a:pt x="132" y="27"/>
                    <a:pt x="137" y="27"/>
                    <a:pt x="142" y="25"/>
                  </a:cubicBezTo>
                  <a:cubicBezTo>
                    <a:pt x="143" y="25"/>
                    <a:pt x="145" y="23"/>
                    <a:pt x="146" y="22"/>
                  </a:cubicBezTo>
                  <a:cubicBezTo>
                    <a:pt x="146" y="19"/>
                    <a:pt x="140" y="16"/>
                    <a:pt x="139" y="15"/>
                  </a:cubicBezTo>
                  <a:cubicBezTo>
                    <a:pt x="134" y="12"/>
                    <a:pt x="129" y="10"/>
                    <a:pt x="123" y="8"/>
                  </a:cubicBezTo>
                  <a:lnTo>
                    <a:pt x="116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0" name="Freeform 51">
              <a:extLst>
                <a:ext uri="{FF2B5EF4-FFF2-40B4-BE49-F238E27FC236}">
                  <a16:creationId xmlns:a16="http://schemas.microsoft.com/office/drawing/2014/main" id="{0B6B2417-1547-4384-96A2-53B6B5DD0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975" y="6275388"/>
              <a:ext cx="39688" cy="76200"/>
            </a:xfrm>
            <a:custGeom>
              <a:avLst/>
              <a:gdLst/>
              <a:ahLst/>
              <a:cxnLst>
                <a:cxn ang="0">
                  <a:pos x="17" y="12"/>
                </a:cxn>
                <a:cxn ang="0">
                  <a:pos x="1" y="5"/>
                </a:cxn>
                <a:cxn ang="0">
                  <a:pos x="0" y="10"/>
                </a:cxn>
                <a:cxn ang="0">
                  <a:pos x="2" y="17"/>
                </a:cxn>
                <a:cxn ang="0">
                  <a:pos x="7" y="22"/>
                </a:cxn>
                <a:cxn ang="0">
                  <a:pos x="4" y="25"/>
                </a:cxn>
                <a:cxn ang="0">
                  <a:pos x="1" y="31"/>
                </a:cxn>
                <a:cxn ang="0">
                  <a:pos x="8" y="36"/>
                </a:cxn>
                <a:cxn ang="0">
                  <a:pos x="13" y="41"/>
                </a:cxn>
                <a:cxn ang="0">
                  <a:pos x="15" y="34"/>
                </a:cxn>
                <a:cxn ang="0">
                  <a:pos x="19" y="25"/>
                </a:cxn>
                <a:cxn ang="0">
                  <a:pos x="16" y="13"/>
                </a:cxn>
                <a:cxn ang="0">
                  <a:pos x="17" y="12"/>
                </a:cxn>
              </a:cxnLst>
              <a:rect l="0" t="0" r="r" b="b"/>
              <a:pathLst>
                <a:path w="22" h="41">
                  <a:moveTo>
                    <a:pt x="17" y="12"/>
                  </a:moveTo>
                  <a:cubicBezTo>
                    <a:pt x="14" y="9"/>
                    <a:pt x="6" y="0"/>
                    <a:pt x="1" y="5"/>
                  </a:cubicBezTo>
                  <a:cubicBezTo>
                    <a:pt x="0" y="7"/>
                    <a:pt x="0" y="9"/>
                    <a:pt x="0" y="10"/>
                  </a:cubicBezTo>
                  <a:cubicBezTo>
                    <a:pt x="0" y="13"/>
                    <a:pt x="1" y="15"/>
                    <a:pt x="2" y="17"/>
                  </a:cubicBezTo>
                  <a:cubicBezTo>
                    <a:pt x="3" y="18"/>
                    <a:pt x="6" y="20"/>
                    <a:pt x="7" y="22"/>
                  </a:cubicBezTo>
                  <a:cubicBezTo>
                    <a:pt x="8" y="25"/>
                    <a:pt x="6" y="24"/>
                    <a:pt x="4" y="25"/>
                  </a:cubicBezTo>
                  <a:cubicBezTo>
                    <a:pt x="1" y="26"/>
                    <a:pt x="1" y="28"/>
                    <a:pt x="1" y="31"/>
                  </a:cubicBezTo>
                  <a:cubicBezTo>
                    <a:pt x="2" y="35"/>
                    <a:pt x="5" y="34"/>
                    <a:pt x="8" y="36"/>
                  </a:cubicBezTo>
                  <a:cubicBezTo>
                    <a:pt x="10" y="38"/>
                    <a:pt x="10" y="41"/>
                    <a:pt x="13" y="41"/>
                  </a:cubicBezTo>
                  <a:cubicBezTo>
                    <a:pt x="15" y="40"/>
                    <a:pt x="15" y="36"/>
                    <a:pt x="15" y="34"/>
                  </a:cubicBezTo>
                  <a:cubicBezTo>
                    <a:pt x="15" y="29"/>
                    <a:pt x="17" y="28"/>
                    <a:pt x="19" y="25"/>
                  </a:cubicBezTo>
                  <a:cubicBezTo>
                    <a:pt x="22" y="21"/>
                    <a:pt x="22" y="14"/>
                    <a:pt x="16" y="13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1" name="Freeform 52">
              <a:extLst>
                <a:ext uri="{FF2B5EF4-FFF2-40B4-BE49-F238E27FC236}">
                  <a16:creationId xmlns:a16="http://schemas.microsoft.com/office/drawing/2014/main" id="{918249BB-B644-4D35-8D0C-422AC99F9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975" y="6175375"/>
              <a:ext cx="87313" cy="68263"/>
            </a:xfrm>
            <a:custGeom>
              <a:avLst/>
              <a:gdLst/>
              <a:ahLst/>
              <a:cxnLst>
                <a:cxn ang="0">
                  <a:pos x="39" y="6"/>
                </a:cxn>
                <a:cxn ang="0">
                  <a:pos x="35" y="5"/>
                </a:cxn>
                <a:cxn ang="0">
                  <a:pos x="25" y="0"/>
                </a:cxn>
                <a:cxn ang="0">
                  <a:pos x="19" y="3"/>
                </a:cxn>
                <a:cxn ang="0">
                  <a:pos x="16" y="5"/>
                </a:cxn>
                <a:cxn ang="0">
                  <a:pos x="5" y="9"/>
                </a:cxn>
                <a:cxn ang="0">
                  <a:pos x="0" y="14"/>
                </a:cxn>
                <a:cxn ang="0">
                  <a:pos x="6" y="20"/>
                </a:cxn>
                <a:cxn ang="0">
                  <a:pos x="10" y="23"/>
                </a:cxn>
                <a:cxn ang="0">
                  <a:pos x="12" y="22"/>
                </a:cxn>
                <a:cxn ang="0">
                  <a:pos x="31" y="22"/>
                </a:cxn>
                <a:cxn ang="0">
                  <a:pos x="20" y="30"/>
                </a:cxn>
                <a:cxn ang="0">
                  <a:pos x="33" y="33"/>
                </a:cxn>
                <a:cxn ang="0">
                  <a:pos x="39" y="34"/>
                </a:cxn>
                <a:cxn ang="0">
                  <a:pos x="43" y="35"/>
                </a:cxn>
                <a:cxn ang="0">
                  <a:pos x="45" y="27"/>
                </a:cxn>
                <a:cxn ang="0">
                  <a:pos x="40" y="25"/>
                </a:cxn>
                <a:cxn ang="0">
                  <a:pos x="39" y="21"/>
                </a:cxn>
                <a:cxn ang="0">
                  <a:pos x="37" y="16"/>
                </a:cxn>
                <a:cxn ang="0">
                  <a:pos x="34" y="11"/>
                </a:cxn>
                <a:cxn ang="0">
                  <a:pos x="34" y="5"/>
                </a:cxn>
                <a:cxn ang="0">
                  <a:pos x="39" y="6"/>
                </a:cxn>
              </a:cxnLst>
              <a:rect l="0" t="0" r="r" b="b"/>
              <a:pathLst>
                <a:path w="47" h="36">
                  <a:moveTo>
                    <a:pt x="39" y="6"/>
                  </a:moveTo>
                  <a:cubicBezTo>
                    <a:pt x="38" y="6"/>
                    <a:pt x="37" y="6"/>
                    <a:pt x="35" y="5"/>
                  </a:cubicBezTo>
                  <a:cubicBezTo>
                    <a:pt x="32" y="2"/>
                    <a:pt x="29" y="1"/>
                    <a:pt x="25" y="0"/>
                  </a:cubicBezTo>
                  <a:cubicBezTo>
                    <a:pt x="22" y="0"/>
                    <a:pt x="21" y="1"/>
                    <a:pt x="19" y="3"/>
                  </a:cubicBezTo>
                  <a:cubicBezTo>
                    <a:pt x="18" y="4"/>
                    <a:pt x="17" y="5"/>
                    <a:pt x="16" y="5"/>
                  </a:cubicBezTo>
                  <a:cubicBezTo>
                    <a:pt x="13" y="8"/>
                    <a:pt x="8" y="9"/>
                    <a:pt x="5" y="9"/>
                  </a:cubicBezTo>
                  <a:cubicBezTo>
                    <a:pt x="1" y="10"/>
                    <a:pt x="0" y="10"/>
                    <a:pt x="0" y="14"/>
                  </a:cubicBezTo>
                  <a:cubicBezTo>
                    <a:pt x="0" y="18"/>
                    <a:pt x="2" y="19"/>
                    <a:pt x="6" y="20"/>
                  </a:cubicBezTo>
                  <a:cubicBezTo>
                    <a:pt x="7" y="21"/>
                    <a:pt x="8" y="23"/>
                    <a:pt x="10" y="23"/>
                  </a:cubicBezTo>
                  <a:cubicBezTo>
                    <a:pt x="11" y="23"/>
                    <a:pt x="11" y="23"/>
                    <a:pt x="12" y="22"/>
                  </a:cubicBezTo>
                  <a:cubicBezTo>
                    <a:pt x="17" y="19"/>
                    <a:pt x="27" y="16"/>
                    <a:pt x="31" y="22"/>
                  </a:cubicBezTo>
                  <a:cubicBezTo>
                    <a:pt x="26" y="24"/>
                    <a:pt x="20" y="23"/>
                    <a:pt x="20" y="30"/>
                  </a:cubicBezTo>
                  <a:cubicBezTo>
                    <a:pt x="25" y="32"/>
                    <a:pt x="28" y="33"/>
                    <a:pt x="33" y="33"/>
                  </a:cubicBezTo>
                  <a:cubicBezTo>
                    <a:pt x="35" y="33"/>
                    <a:pt x="37" y="33"/>
                    <a:pt x="39" y="34"/>
                  </a:cubicBezTo>
                  <a:cubicBezTo>
                    <a:pt x="40" y="35"/>
                    <a:pt x="40" y="36"/>
                    <a:pt x="43" y="35"/>
                  </a:cubicBezTo>
                  <a:cubicBezTo>
                    <a:pt x="46" y="34"/>
                    <a:pt x="47" y="29"/>
                    <a:pt x="45" y="27"/>
                  </a:cubicBezTo>
                  <a:cubicBezTo>
                    <a:pt x="43" y="25"/>
                    <a:pt x="41" y="26"/>
                    <a:pt x="40" y="25"/>
                  </a:cubicBezTo>
                  <a:cubicBezTo>
                    <a:pt x="39" y="24"/>
                    <a:pt x="39" y="22"/>
                    <a:pt x="39" y="21"/>
                  </a:cubicBezTo>
                  <a:cubicBezTo>
                    <a:pt x="39" y="19"/>
                    <a:pt x="37" y="18"/>
                    <a:pt x="37" y="16"/>
                  </a:cubicBezTo>
                  <a:cubicBezTo>
                    <a:pt x="36" y="14"/>
                    <a:pt x="35" y="13"/>
                    <a:pt x="34" y="11"/>
                  </a:cubicBezTo>
                  <a:cubicBezTo>
                    <a:pt x="33" y="9"/>
                    <a:pt x="34" y="7"/>
                    <a:pt x="34" y="5"/>
                  </a:cubicBezTo>
                  <a:lnTo>
                    <a:pt x="39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2" name="Freeform 53">
              <a:extLst>
                <a:ext uri="{FF2B5EF4-FFF2-40B4-BE49-F238E27FC236}">
                  <a16:creationId xmlns:a16="http://schemas.microsoft.com/office/drawing/2014/main" id="{6156EDBF-B7DA-49F0-8CA1-1393EEC11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475" y="6632575"/>
              <a:ext cx="69850" cy="68263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5" y="7"/>
                </a:cxn>
                <a:cxn ang="0">
                  <a:pos x="12" y="11"/>
                </a:cxn>
                <a:cxn ang="0">
                  <a:pos x="12" y="13"/>
                </a:cxn>
                <a:cxn ang="0">
                  <a:pos x="3" y="21"/>
                </a:cxn>
                <a:cxn ang="0">
                  <a:pos x="7" y="24"/>
                </a:cxn>
                <a:cxn ang="0">
                  <a:pos x="11" y="28"/>
                </a:cxn>
                <a:cxn ang="0">
                  <a:pos x="12" y="31"/>
                </a:cxn>
                <a:cxn ang="0">
                  <a:pos x="14" y="31"/>
                </a:cxn>
                <a:cxn ang="0">
                  <a:pos x="17" y="35"/>
                </a:cxn>
                <a:cxn ang="0">
                  <a:pos x="22" y="23"/>
                </a:cxn>
                <a:cxn ang="0">
                  <a:pos x="33" y="11"/>
                </a:cxn>
                <a:cxn ang="0">
                  <a:pos x="33" y="3"/>
                </a:cxn>
                <a:cxn ang="0">
                  <a:pos x="23" y="6"/>
                </a:cxn>
                <a:cxn ang="0">
                  <a:pos x="27" y="0"/>
                </a:cxn>
              </a:cxnLst>
              <a:rect l="0" t="0" r="r" b="b"/>
              <a:pathLst>
                <a:path w="38" h="37">
                  <a:moveTo>
                    <a:pt x="27" y="0"/>
                  </a:moveTo>
                  <a:cubicBezTo>
                    <a:pt x="23" y="2"/>
                    <a:pt x="18" y="4"/>
                    <a:pt x="15" y="7"/>
                  </a:cubicBezTo>
                  <a:cubicBezTo>
                    <a:pt x="14" y="8"/>
                    <a:pt x="13" y="9"/>
                    <a:pt x="12" y="11"/>
                  </a:cubicBezTo>
                  <a:cubicBezTo>
                    <a:pt x="12" y="12"/>
                    <a:pt x="13" y="12"/>
                    <a:pt x="12" y="13"/>
                  </a:cubicBezTo>
                  <a:cubicBezTo>
                    <a:pt x="11" y="16"/>
                    <a:pt x="0" y="17"/>
                    <a:pt x="3" y="21"/>
                  </a:cubicBezTo>
                  <a:cubicBezTo>
                    <a:pt x="4" y="22"/>
                    <a:pt x="6" y="23"/>
                    <a:pt x="7" y="24"/>
                  </a:cubicBezTo>
                  <a:cubicBezTo>
                    <a:pt x="9" y="25"/>
                    <a:pt x="9" y="25"/>
                    <a:pt x="11" y="28"/>
                  </a:cubicBezTo>
                  <a:cubicBezTo>
                    <a:pt x="11" y="29"/>
                    <a:pt x="12" y="30"/>
                    <a:pt x="12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3"/>
                    <a:pt x="15" y="35"/>
                    <a:pt x="17" y="35"/>
                  </a:cubicBezTo>
                  <a:cubicBezTo>
                    <a:pt x="20" y="37"/>
                    <a:pt x="22" y="25"/>
                    <a:pt x="22" y="23"/>
                  </a:cubicBezTo>
                  <a:cubicBezTo>
                    <a:pt x="24" y="18"/>
                    <a:pt x="30" y="15"/>
                    <a:pt x="33" y="11"/>
                  </a:cubicBezTo>
                  <a:cubicBezTo>
                    <a:pt x="35" y="8"/>
                    <a:pt x="38" y="4"/>
                    <a:pt x="33" y="3"/>
                  </a:cubicBezTo>
                  <a:cubicBezTo>
                    <a:pt x="31" y="2"/>
                    <a:pt x="22" y="1"/>
                    <a:pt x="23" y="6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3" name="Freeform 54">
              <a:extLst>
                <a:ext uri="{FF2B5EF4-FFF2-40B4-BE49-F238E27FC236}">
                  <a16:creationId xmlns:a16="http://schemas.microsoft.com/office/drawing/2014/main" id="{0AC4CD5C-F203-482B-824A-2499B5BA2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688" y="6553200"/>
              <a:ext cx="42863" cy="31750"/>
            </a:xfrm>
            <a:custGeom>
              <a:avLst/>
              <a:gdLst/>
              <a:ahLst/>
              <a:cxnLst>
                <a:cxn ang="0">
                  <a:pos x="21" y="2"/>
                </a:cxn>
                <a:cxn ang="0">
                  <a:pos x="5" y="7"/>
                </a:cxn>
                <a:cxn ang="0">
                  <a:pos x="3" y="15"/>
                </a:cxn>
                <a:cxn ang="0">
                  <a:pos x="18" y="5"/>
                </a:cxn>
                <a:cxn ang="0">
                  <a:pos x="22" y="3"/>
                </a:cxn>
                <a:cxn ang="0">
                  <a:pos x="23" y="0"/>
                </a:cxn>
                <a:cxn ang="0">
                  <a:pos x="21" y="2"/>
                </a:cxn>
              </a:cxnLst>
              <a:rect l="0" t="0" r="r" b="b"/>
              <a:pathLst>
                <a:path w="23" h="17">
                  <a:moveTo>
                    <a:pt x="21" y="2"/>
                  </a:moveTo>
                  <a:cubicBezTo>
                    <a:pt x="16" y="1"/>
                    <a:pt x="8" y="4"/>
                    <a:pt x="5" y="7"/>
                  </a:cubicBezTo>
                  <a:cubicBezTo>
                    <a:pt x="3" y="9"/>
                    <a:pt x="0" y="13"/>
                    <a:pt x="3" y="15"/>
                  </a:cubicBezTo>
                  <a:cubicBezTo>
                    <a:pt x="8" y="17"/>
                    <a:pt x="16" y="8"/>
                    <a:pt x="18" y="5"/>
                  </a:cubicBezTo>
                  <a:cubicBezTo>
                    <a:pt x="19" y="4"/>
                    <a:pt x="22" y="4"/>
                    <a:pt x="22" y="3"/>
                  </a:cubicBezTo>
                  <a:cubicBezTo>
                    <a:pt x="23" y="2"/>
                    <a:pt x="23" y="1"/>
                    <a:pt x="23" y="0"/>
                  </a:cubicBezTo>
                  <a:lnTo>
                    <a:pt x="21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4" name="Freeform 55">
              <a:extLst>
                <a:ext uri="{FF2B5EF4-FFF2-40B4-BE49-F238E27FC236}">
                  <a16:creationId xmlns:a16="http://schemas.microsoft.com/office/drawing/2014/main" id="{F56ED350-201E-409A-B9D8-1BBDACB6D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6432550"/>
              <a:ext cx="42863" cy="22225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4" y="7"/>
                </a:cxn>
                <a:cxn ang="0">
                  <a:pos x="2" y="11"/>
                </a:cxn>
                <a:cxn ang="0">
                  <a:pos x="9" y="11"/>
                </a:cxn>
                <a:cxn ang="0">
                  <a:pos x="19" y="9"/>
                </a:cxn>
                <a:cxn ang="0">
                  <a:pos x="23" y="0"/>
                </a:cxn>
                <a:cxn ang="0">
                  <a:pos x="17" y="0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11" y="0"/>
                    <a:pt x="8" y="4"/>
                    <a:pt x="4" y="7"/>
                  </a:cubicBezTo>
                  <a:cubicBezTo>
                    <a:pt x="3" y="8"/>
                    <a:pt x="0" y="9"/>
                    <a:pt x="2" y="11"/>
                  </a:cubicBezTo>
                  <a:cubicBezTo>
                    <a:pt x="3" y="12"/>
                    <a:pt x="7" y="11"/>
                    <a:pt x="9" y="11"/>
                  </a:cubicBezTo>
                  <a:cubicBezTo>
                    <a:pt x="13" y="11"/>
                    <a:pt x="16" y="12"/>
                    <a:pt x="19" y="9"/>
                  </a:cubicBezTo>
                  <a:cubicBezTo>
                    <a:pt x="23" y="7"/>
                    <a:pt x="23" y="4"/>
                    <a:pt x="23" y="0"/>
                  </a:cubicBezTo>
                  <a:lnTo>
                    <a:pt x="1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5" name="Freeform 56">
              <a:extLst>
                <a:ext uri="{FF2B5EF4-FFF2-40B4-BE49-F238E27FC236}">
                  <a16:creationId xmlns:a16="http://schemas.microsoft.com/office/drawing/2014/main" id="{FA1A2F00-4010-4FB3-895E-1D5D4E319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4075" y="6078538"/>
              <a:ext cx="42863" cy="39688"/>
            </a:xfrm>
            <a:custGeom>
              <a:avLst/>
              <a:gdLst/>
              <a:ahLst/>
              <a:cxnLst>
                <a:cxn ang="0">
                  <a:pos x="19" y="5"/>
                </a:cxn>
                <a:cxn ang="0">
                  <a:pos x="20" y="3"/>
                </a:cxn>
                <a:cxn ang="0">
                  <a:pos x="17" y="1"/>
                </a:cxn>
                <a:cxn ang="0">
                  <a:pos x="14" y="1"/>
                </a:cxn>
                <a:cxn ang="0">
                  <a:pos x="13" y="3"/>
                </a:cxn>
                <a:cxn ang="0">
                  <a:pos x="6" y="1"/>
                </a:cxn>
                <a:cxn ang="0">
                  <a:pos x="3" y="3"/>
                </a:cxn>
                <a:cxn ang="0">
                  <a:pos x="2" y="13"/>
                </a:cxn>
                <a:cxn ang="0">
                  <a:pos x="14" y="11"/>
                </a:cxn>
                <a:cxn ang="0">
                  <a:pos x="21" y="17"/>
                </a:cxn>
                <a:cxn ang="0">
                  <a:pos x="22" y="9"/>
                </a:cxn>
                <a:cxn ang="0">
                  <a:pos x="18" y="5"/>
                </a:cxn>
                <a:cxn ang="0">
                  <a:pos x="19" y="5"/>
                </a:cxn>
              </a:cxnLst>
              <a:rect l="0" t="0" r="r" b="b"/>
              <a:pathLst>
                <a:path w="23" h="21">
                  <a:moveTo>
                    <a:pt x="19" y="5"/>
                  </a:moveTo>
                  <a:cubicBezTo>
                    <a:pt x="20" y="5"/>
                    <a:pt x="20" y="4"/>
                    <a:pt x="20" y="3"/>
                  </a:cubicBezTo>
                  <a:cubicBezTo>
                    <a:pt x="20" y="1"/>
                    <a:pt x="19" y="1"/>
                    <a:pt x="17" y="1"/>
                  </a:cubicBezTo>
                  <a:cubicBezTo>
                    <a:pt x="16" y="1"/>
                    <a:pt x="15" y="1"/>
                    <a:pt x="14" y="1"/>
                  </a:cubicBezTo>
                  <a:cubicBezTo>
                    <a:pt x="13" y="1"/>
                    <a:pt x="14" y="2"/>
                    <a:pt x="13" y="3"/>
                  </a:cubicBezTo>
                  <a:cubicBezTo>
                    <a:pt x="10" y="4"/>
                    <a:pt x="8" y="0"/>
                    <a:pt x="6" y="1"/>
                  </a:cubicBezTo>
                  <a:cubicBezTo>
                    <a:pt x="4" y="1"/>
                    <a:pt x="4" y="1"/>
                    <a:pt x="3" y="3"/>
                  </a:cubicBezTo>
                  <a:cubicBezTo>
                    <a:pt x="2" y="6"/>
                    <a:pt x="0" y="11"/>
                    <a:pt x="2" y="13"/>
                  </a:cubicBezTo>
                  <a:cubicBezTo>
                    <a:pt x="5" y="16"/>
                    <a:pt x="11" y="13"/>
                    <a:pt x="14" y="11"/>
                  </a:cubicBezTo>
                  <a:cubicBezTo>
                    <a:pt x="15" y="15"/>
                    <a:pt x="16" y="21"/>
                    <a:pt x="21" y="17"/>
                  </a:cubicBezTo>
                  <a:cubicBezTo>
                    <a:pt x="23" y="15"/>
                    <a:pt x="22" y="12"/>
                    <a:pt x="22" y="9"/>
                  </a:cubicBezTo>
                  <a:cubicBezTo>
                    <a:pt x="22" y="5"/>
                    <a:pt x="21" y="4"/>
                    <a:pt x="18" y="5"/>
                  </a:cubicBezTo>
                  <a:lnTo>
                    <a:pt x="19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6" name="Freeform 57">
              <a:extLst>
                <a:ext uri="{FF2B5EF4-FFF2-40B4-BE49-F238E27FC236}">
                  <a16:creationId xmlns:a16="http://schemas.microsoft.com/office/drawing/2014/main" id="{DAE9E9F9-D2B2-4FF1-BA6C-2FCA501C4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75" y="5954713"/>
              <a:ext cx="38100" cy="3968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5" y="1"/>
                </a:cxn>
                <a:cxn ang="0">
                  <a:pos x="1" y="12"/>
                </a:cxn>
                <a:cxn ang="0">
                  <a:pos x="15" y="17"/>
                </a:cxn>
                <a:cxn ang="0">
                  <a:pos x="14" y="4"/>
                </a:cxn>
                <a:cxn ang="0">
                  <a:pos x="16" y="2"/>
                </a:cxn>
              </a:cxnLst>
              <a:rect l="0" t="0" r="r" b="b"/>
              <a:pathLst>
                <a:path w="20" h="21">
                  <a:moveTo>
                    <a:pt x="16" y="2"/>
                  </a:moveTo>
                  <a:cubicBezTo>
                    <a:pt x="12" y="3"/>
                    <a:pt x="9" y="0"/>
                    <a:pt x="5" y="1"/>
                  </a:cubicBezTo>
                  <a:cubicBezTo>
                    <a:pt x="1" y="2"/>
                    <a:pt x="0" y="8"/>
                    <a:pt x="1" y="12"/>
                  </a:cubicBezTo>
                  <a:cubicBezTo>
                    <a:pt x="4" y="17"/>
                    <a:pt x="10" y="21"/>
                    <a:pt x="15" y="17"/>
                  </a:cubicBezTo>
                  <a:cubicBezTo>
                    <a:pt x="20" y="14"/>
                    <a:pt x="16" y="8"/>
                    <a:pt x="14" y="4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7" name="Freeform 58">
              <a:extLst>
                <a:ext uri="{FF2B5EF4-FFF2-40B4-BE49-F238E27FC236}">
                  <a16:creationId xmlns:a16="http://schemas.microsoft.com/office/drawing/2014/main" id="{D96C50E8-0910-4DB3-A515-016970277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0" y="5995988"/>
              <a:ext cx="34925" cy="20638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5" y="2"/>
                </a:cxn>
                <a:cxn ang="0">
                  <a:pos x="0" y="8"/>
                </a:cxn>
                <a:cxn ang="0">
                  <a:pos x="8" y="11"/>
                </a:cxn>
                <a:cxn ang="0">
                  <a:pos x="19" y="11"/>
                </a:cxn>
                <a:cxn ang="0">
                  <a:pos x="16" y="9"/>
                </a:cxn>
                <a:cxn ang="0">
                  <a:pos x="17" y="7"/>
                </a:cxn>
              </a:cxnLst>
              <a:rect l="0" t="0" r="r" b="b"/>
              <a:pathLst>
                <a:path w="19" h="11">
                  <a:moveTo>
                    <a:pt x="17" y="7"/>
                  </a:moveTo>
                  <a:cubicBezTo>
                    <a:pt x="14" y="4"/>
                    <a:pt x="9" y="0"/>
                    <a:pt x="5" y="2"/>
                  </a:cubicBezTo>
                  <a:cubicBezTo>
                    <a:pt x="3" y="2"/>
                    <a:pt x="0" y="5"/>
                    <a:pt x="0" y="8"/>
                  </a:cubicBezTo>
                  <a:cubicBezTo>
                    <a:pt x="1" y="11"/>
                    <a:pt x="6" y="11"/>
                    <a:pt x="8" y="11"/>
                  </a:cubicBezTo>
                  <a:cubicBezTo>
                    <a:pt x="12" y="11"/>
                    <a:pt x="15" y="11"/>
                    <a:pt x="19" y="11"/>
                  </a:cubicBezTo>
                  <a:cubicBezTo>
                    <a:pt x="18" y="10"/>
                    <a:pt x="18" y="9"/>
                    <a:pt x="16" y="9"/>
                  </a:cubicBezTo>
                  <a:lnTo>
                    <a:pt x="17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8" name="Freeform 59">
              <a:extLst>
                <a:ext uri="{FF2B5EF4-FFF2-40B4-BE49-F238E27FC236}">
                  <a16:creationId xmlns:a16="http://schemas.microsoft.com/office/drawing/2014/main" id="{6273F810-F905-42F8-B53D-2EF8C8138D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1863" y="5770563"/>
              <a:ext cx="2187575" cy="968375"/>
            </a:xfrm>
            <a:custGeom>
              <a:avLst/>
              <a:gdLst/>
              <a:ahLst/>
              <a:cxnLst>
                <a:cxn ang="0">
                  <a:pos x="135" y="37"/>
                </a:cxn>
                <a:cxn ang="0">
                  <a:pos x="102" y="10"/>
                </a:cxn>
                <a:cxn ang="0">
                  <a:pos x="53" y="16"/>
                </a:cxn>
                <a:cxn ang="0">
                  <a:pos x="54" y="38"/>
                </a:cxn>
                <a:cxn ang="0">
                  <a:pos x="19" y="104"/>
                </a:cxn>
                <a:cxn ang="0">
                  <a:pos x="59" y="122"/>
                </a:cxn>
                <a:cxn ang="0">
                  <a:pos x="74" y="124"/>
                </a:cxn>
                <a:cxn ang="0">
                  <a:pos x="113" y="111"/>
                </a:cxn>
                <a:cxn ang="0">
                  <a:pos x="104" y="96"/>
                </a:cxn>
                <a:cxn ang="0">
                  <a:pos x="141" y="88"/>
                </a:cxn>
                <a:cxn ang="0">
                  <a:pos x="187" y="95"/>
                </a:cxn>
                <a:cxn ang="0">
                  <a:pos x="311" y="435"/>
                </a:cxn>
                <a:cxn ang="0">
                  <a:pos x="1149" y="410"/>
                </a:cxn>
                <a:cxn ang="0">
                  <a:pos x="1131" y="343"/>
                </a:cxn>
                <a:cxn ang="0">
                  <a:pos x="1139" y="238"/>
                </a:cxn>
                <a:cxn ang="0">
                  <a:pos x="1079" y="167"/>
                </a:cxn>
                <a:cxn ang="0">
                  <a:pos x="1047" y="94"/>
                </a:cxn>
                <a:cxn ang="0">
                  <a:pos x="986" y="83"/>
                </a:cxn>
                <a:cxn ang="0">
                  <a:pos x="925" y="97"/>
                </a:cxn>
                <a:cxn ang="0">
                  <a:pos x="812" y="112"/>
                </a:cxn>
                <a:cxn ang="0">
                  <a:pos x="739" y="118"/>
                </a:cxn>
                <a:cxn ang="0">
                  <a:pos x="663" y="97"/>
                </a:cxn>
                <a:cxn ang="0">
                  <a:pos x="612" y="65"/>
                </a:cxn>
                <a:cxn ang="0">
                  <a:pos x="550" y="27"/>
                </a:cxn>
                <a:cxn ang="0">
                  <a:pos x="477" y="22"/>
                </a:cxn>
                <a:cxn ang="0">
                  <a:pos x="367" y="43"/>
                </a:cxn>
                <a:cxn ang="0">
                  <a:pos x="321" y="86"/>
                </a:cxn>
                <a:cxn ang="0">
                  <a:pos x="208" y="75"/>
                </a:cxn>
                <a:cxn ang="0">
                  <a:pos x="194" y="88"/>
                </a:cxn>
                <a:cxn ang="0">
                  <a:pos x="199" y="100"/>
                </a:cxn>
                <a:cxn ang="0">
                  <a:pos x="242" y="115"/>
                </a:cxn>
                <a:cxn ang="0">
                  <a:pos x="208" y="119"/>
                </a:cxn>
                <a:cxn ang="0">
                  <a:pos x="178" y="135"/>
                </a:cxn>
                <a:cxn ang="0">
                  <a:pos x="141" y="140"/>
                </a:cxn>
                <a:cxn ang="0">
                  <a:pos x="119" y="137"/>
                </a:cxn>
                <a:cxn ang="0">
                  <a:pos x="86" y="135"/>
                </a:cxn>
                <a:cxn ang="0">
                  <a:pos x="59" y="130"/>
                </a:cxn>
                <a:cxn ang="0">
                  <a:pos x="1" y="158"/>
                </a:cxn>
                <a:cxn ang="0">
                  <a:pos x="29" y="171"/>
                </a:cxn>
                <a:cxn ang="0">
                  <a:pos x="60" y="208"/>
                </a:cxn>
                <a:cxn ang="0">
                  <a:pos x="67" y="265"/>
                </a:cxn>
                <a:cxn ang="0">
                  <a:pos x="41" y="277"/>
                </a:cxn>
                <a:cxn ang="0">
                  <a:pos x="86" y="340"/>
                </a:cxn>
                <a:cxn ang="0">
                  <a:pos x="65" y="361"/>
                </a:cxn>
                <a:cxn ang="0">
                  <a:pos x="98" y="400"/>
                </a:cxn>
                <a:cxn ang="0">
                  <a:pos x="146" y="416"/>
                </a:cxn>
                <a:cxn ang="0">
                  <a:pos x="125" y="439"/>
                </a:cxn>
                <a:cxn ang="0">
                  <a:pos x="187" y="443"/>
                </a:cxn>
                <a:cxn ang="0">
                  <a:pos x="272" y="477"/>
                </a:cxn>
                <a:cxn ang="0">
                  <a:pos x="345" y="445"/>
                </a:cxn>
                <a:cxn ang="0">
                  <a:pos x="381" y="481"/>
                </a:cxn>
                <a:cxn ang="0">
                  <a:pos x="492" y="491"/>
                </a:cxn>
                <a:cxn ang="0">
                  <a:pos x="542" y="456"/>
                </a:cxn>
                <a:cxn ang="0">
                  <a:pos x="595" y="462"/>
                </a:cxn>
                <a:cxn ang="0">
                  <a:pos x="617" y="517"/>
                </a:cxn>
                <a:cxn ang="0">
                  <a:pos x="669" y="462"/>
                </a:cxn>
                <a:cxn ang="0">
                  <a:pos x="764" y="454"/>
                </a:cxn>
                <a:cxn ang="0">
                  <a:pos x="882" y="455"/>
                </a:cxn>
                <a:cxn ang="0">
                  <a:pos x="983" y="447"/>
                </a:cxn>
                <a:cxn ang="0">
                  <a:pos x="1079" y="436"/>
                </a:cxn>
              </a:cxnLst>
              <a:rect l="0" t="0" r="r" b="b"/>
              <a:pathLst>
                <a:path w="1171" h="518">
                  <a:moveTo>
                    <a:pt x="197" y="70"/>
                  </a:moveTo>
                  <a:cubicBezTo>
                    <a:pt x="193" y="69"/>
                    <a:pt x="188" y="67"/>
                    <a:pt x="184" y="66"/>
                  </a:cubicBezTo>
                  <a:cubicBezTo>
                    <a:pt x="181" y="65"/>
                    <a:pt x="178" y="66"/>
                    <a:pt x="175" y="65"/>
                  </a:cubicBezTo>
                  <a:cubicBezTo>
                    <a:pt x="172" y="65"/>
                    <a:pt x="171" y="64"/>
                    <a:pt x="168" y="63"/>
                  </a:cubicBezTo>
                  <a:cubicBezTo>
                    <a:pt x="165" y="61"/>
                    <a:pt x="164" y="62"/>
                    <a:pt x="162" y="59"/>
                  </a:cubicBezTo>
                  <a:cubicBezTo>
                    <a:pt x="161" y="58"/>
                    <a:pt x="160" y="56"/>
                    <a:pt x="159" y="55"/>
                  </a:cubicBezTo>
                  <a:cubicBezTo>
                    <a:pt x="158" y="53"/>
                    <a:pt x="156" y="54"/>
                    <a:pt x="154" y="54"/>
                  </a:cubicBezTo>
                  <a:cubicBezTo>
                    <a:pt x="152" y="53"/>
                    <a:pt x="150" y="51"/>
                    <a:pt x="148" y="49"/>
                  </a:cubicBezTo>
                  <a:cubicBezTo>
                    <a:pt x="145" y="47"/>
                    <a:pt x="142" y="48"/>
                    <a:pt x="140" y="47"/>
                  </a:cubicBezTo>
                  <a:cubicBezTo>
                    <a:pt x="135" y="45"/>
                    <a:pt x="137" y="41"/>
                    <a:pt x="135" y="37"/>
                  </a:cubicBezTo>
                  <a:cubicBezTo>
                    <a:pt x="135" y="36"/>
                    <a:pt x="134" y="35"/>
                    <a:pt x="134" y="34"/>
                  </a:cubicBezTo>
                  <a:cubicBezTo>
                    <a:pt x="134" y="32"/>
                    <a:pt x="134" y="30"/>
                    <a:pt x="134" y="28"/>
                  </a:cubicBezTo>
                  <a:cubicBezTo>
                    <a:pt x="133" y="24"/>
                    <a:pt x="131" y="23"/>
                    <a:pt x="131" y="19"/>
                  </a:cubicBezTo>
                  <a:cubicBezTo>
                    <a:pt x="131" y="16"/>
                    <a:pt x="130" y="14"/>
                    <a:pt x="128" y="11"/>
                  </a:cubicBezTo>
                  <a:cubicBezTo>
                    <a:pt x="128" y="11"/>
                    <a:pt x="127" y="11"/>
                    <a:pt x="126" y="11"/>
                  </a:cubicBezTo>
                  <a:cubicBezTo>
                    <a:pt x="123" y="12"/>
                    <a:pt x="121" y="13"/>
                    <a:pt x="118" y="13"/>
                  </a:cubicBezTo>
                  <a:cubicBezTo>
                    <a:pt x="116" y="13"/>
                    <a:pt x="114" y="14"/>
                    <a:pt x="112" y="15"/>
                  </a:cubicBezTo>
                  <a:cubicBezTo>
                    <a:pt x="111" y="15"/>
                    <a:pt x="110" y="16"/>
                    <a:pt x="108" y="16"/>
                  </a:cubicBezTo>
                  <a:cubicBezTo>
                    <a:pt x="106" y="16"/>
                    <a:pt x="107" y="16"/>
                    <a:pt x="106" y="14"/>
                  </a:cubicBezTo>
                  <a:cubicBezTo>
                    <a:pt x="105" y="13"/>
                    <a:pt x="103" y="11"/>
                    <a:pt x="102" y="10"/>
                  </a:cubicBezTo>
                  <a:cubicBezTo>
                    <a:pt x="101" y="8"/>
                    <a:pt x="101" y="8"/>
                    <a:pt x="99" y="8"/>
                  </a:cubicBezTo>
                  <a:cubicBezTo>
                    <a:pt x="98" y="7"/>
                    <a:pt x="98" y="6"/>
                    <a:pt x="97" y="6"/>
                  </a:cubicBezTo>
                  <a:cubicBezTo>
                    <a:pt x="96" y="5"/>
                    <a:pt x="95" y="6"/>
                    <a:pt x="93" y="6"/>
                  </a:cubicBezTo>
                  <a:cubicBezTo>
                    <a:pt x="90" y="6"/>
                    <a:pt x="88" y="3"/>
                    <a:pt x="86" y="2"/>
                  </a:cubicBezTo>
                  <a:cubicBezTo>
                    <a:pt x="83" y="0"/>
                    <a:pt x="82" y="3"/>
                    <a:pt x="80" y="4"/>
                  </a:cubicBezTo>
                  <a:cubicBezTo>
                    <a:pt x="76" y="6"/>
                    <a:pt x="74" y="8"/>
                    <a:pt x="71" y="10"/>
                  </a:cubicBezTo>
                  <a:cubicBezTo>
                    <a:pt x="69" y="11"/>
                    <a:pt x="69" y="11"/>
                    <a:pt x="67" y="10"/>
                  </a:cubicBezTo>
                  <a:cubicBezTo>
                    <a:pt x="66" y="10"/>
                    <a:pt x="65" y="11"/>
                    <a:pt x="64" y="11"/>
                  </a:cubicBezTo>
                  <a:cubicBezTo>
                    <a:pt x="62" y="12"/>
                    <a:pt x="60" y="12"/>
                    <a:pt x="58" y="12"/>
                  </a:cubicBezTo>
                  <a:cubicBezTo>
                    <a:pt x="57" y="13"/>
                    <a:pt x="55" y="14"/>
                    <a:pt x="53" y="16"/>
                  </a:cubicBezTo>
                  <a:cubicBezTo>
                    <a:pt x="53" y="16"/>
                    <a:pt x="53" y="17"/>
                    <a:pt x="53" y="17"/>
                  </a:cubicBezTo>
                  <a:cubicBezTo>
                    <a:pt x="52" y="18"/>
                    <a:pt x="52" y="18"/>
                    <a:pt x="51" y="19"/>
                  </a:cubicBezTo>
                  <a:cubicBezTo>
                    <a:pt x="51" y="19"/>
                    <a:pt x="50" y="19"/>
                    <a:pt x="50" y="20"/>
                  </a:cubicBezTo>
                  <a:cubicBezTo>
                    <a:pt x="50" y="20"/>
                    <a:pt x="49" y="20"/>
                    <a:pt x="50" y="21"/>
                  </a:cubicBezTo>
                  <a:cubicBezTo>
                    <a:pt x="47" y="21"/>
                    <a:pt x="47" y="21"/>
                    <a:pt x="45" y="23"/>
                  </a:cubicBezTo>
                  <a:cubicBezTo>
                    <a:pt x="44" y="24"/>
                    <a:pt x="44" y="25"/>
                    <a:pt x="43" y="27"/>
                  </a:cubicBezTo>
                  <a:cubicBezTo>
                    <a:pt x="43" y="29"/>
                    <a:pt x="43" y="31"/>
                    <a:pt x="43" y="33"/>
                  </a:cubicBezTo>
                  <a:cubicBezTo>
                    <a:pt x="43" y="32"/>
                    <a:pt x="43" y="31"/>
                    <a:pt x="43" y="30"/>
                  </a:cubicBezTo>
                  <a:cubicBezTo>
                    <a:pt x="45" y="31"/>
                    <a:pt x="46" y="33"/>
                    <a:pt x="48" y="34"/>
                  </a:cubicBezTo>
                  <a:cubicBezTo>
                    <a:pt x="51" y="35"/>
                    <a:pt x="54" y="34"/>
                    <a:pt x="54" y="38"/>
                  </a:cubicBezTo>
                  <a:cubicBezTo>
                    <a:pt x="54" y="43"/>
                    <a:pt x="54" y="46"/>
                    <a:pt x="55" y="50"/>
                  </a:cubicBezTo>
                  <a:cubicBezTo>
                    <a:pt x="55" y="54"/>
                    <a:pt x="57" y="59"/>
                    <a:pt x="53" y="61"/>
                  </a:cubicBezTo>
                  <a:cubicBezTo>
                    <a:pt x="51" y="63"/>
                    <a:pt x="46" y="61"/>
                    <a:pt x="44" y="63"/>
                  </a:cubicBezTo>
                  <a:cubicBezTo>
                    <a:pt x="40" y="65"/>
                    <a:pt x="40" y="70"/>
                    <a:pt x="40" y="74"/>
                  </a:cubicBezTo>
                  <a:cubicBezTo>
                    <a:pt x="40" y="78"/>
                    <a:pt x="39" y="81"/>
                    <a:pt x="39" y="85"/>
                  </a:cubicBezTo>
                  <a:cubicBezTo>
                    <a:pt x="39" y="87"/>
                    <a:pt x="39" y="87"/>
                    <a:pt x="38" y="89"/>
                  </a:cubicBezTo>
                  <a:cubicBezTo>
                    <a:pt x="37" y="91"/>
                    <a:pt x="33" y="93"/>
                    <a:pt x="31" y="95"/>
                  </a:cubicBezTo>
                  <a:cubicBezTo>
                    <a:pt x="28" y="97"/>
                    <a:pt x="27" y="100"/>
                    <a:pt x="25" y="103"/>
                  </a:cubicBezTo>
                  <a:cubicBezTo>
                    <a:pt x="24" y="105"/>
                    <a:pt x="24" y="107"/>
                    <a:pt x="22" y="107"/>
                  </a:cubicBezTo>
                  <a:cubicBezTo>
                    <a:pt x="22" y="107"/>
                    <a:pt x="21" y="106"/>
                    <a:pt x="19" y="104"/>
                  </a:cubicBezTo>
                  <a:cubicBezTo>
                    <a:pt x="19" y="105"/>
                    <a:pt x="19" y="106"/>
                    <a:pt x="19" y="107"/>
                  </a:cubicBezTo>
                  <a:cubicBezTo>
                    <a:pt x="20" y="108"/>
                    <a:pt x="21" y="109"/>
                    <a:pt x="21" y="111"/>
                  </a:cubicBezTo>
                  <a:cubicBezTo>
                    <a:pt x="22" y="116"/>
                    <a:pt x="22" y="120"/>
                    <a:pt x="29" y="121"/>
                  </a:cubicBezTo>
                  <a:cubicBezTo>
                    <a:pt x="35" y="122"/>
                    <a:pt x="42" y="121"/>
                    <a:pt x="48" y="121"/>
                  </a:cubicBezTo>
                  <a:cubicBezTo>
                    <a:pt x="50" y="121"/>
                    <a:pt x="51" y="121"/>
                    <a:pt x="52" y="122"/>
                  </a:cubicBezTo>
                  <a:cubicBezTo>
                    <a:pt x="51" y="121"/>
                    <a:pt x="56" y="124"/>
                    <a:pt x="56" y="123"/>
                  </a:cubicBezTo>
                  <a:cubicBezTo>
                    <a:pt x="57" y="124"/>
                    <a:pt x="57" y="126"/>
                    <a:pt x="58" y="126"/>
                  </a:cubicBezTo>
                  <a:cubicBezTo>
                    <a:pt x="58" y="126"/>
                    <a:pt x="59" y="126"/>
                    <a:pt x="59" y="126"/>
                  </a:cubicBezTo>
                  <a:cubicBezTo>
                    <a:pt x="59" y="126"/>
                    <a:pt x="59" y="126"/>
                    <a:pt x="59" y="125"/>
                  </a:cubicBezTo>
                  <a:cubicBezTo>
                    <a:pt x="59" y="124"/>
                    <a:pt x="58" y="123"/>
                    <a:pt x="59" y="122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60" y="122"/>
                    <a:pt x="60" y="123"/>
                    <a:pt x="61" y="123"/>
                  </a:cubicBezTo>
                  <a:cubicBezTo>
                    <a:pt x="61" y="124"/>
                    <a:pt x="61" y="125"/>
                    <a:pt x="61" y="12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2" y="127"/>
                    <a:pt x="62" y="127"/>
                    <a:pt x="62" y="128"/>
                  </a:cubicBezTo>
                  <a:cubicBezTo>
                    <a:pt x="62" y="128"/>
                    <a:pt x="63" y="128"/>
                    <a:pt x="63" y="128"/>
                  </a:cubicBezTo>
                  <a:cubicBezTo>
                    <a:pt x="64" y="128"/>
                    <a:pt x="64" y="128"/>
                    <a:pt x="65" y="128"/>
                  </a:cubicBezTo>
                  <a:cubicBezTo>
                    <a:pt x="66" y="128"/>
                    <a:pt x="67" y="128"/>
                    <a:pt x="68" y="128"/>
                  </a:cubicBezTo>
                  <a:cubicBezTo>
                    <a:pt x="69" y="127"/>
                    <a:pt x="70" y="126"/>
                    <a:pt x="71" y="126"/>
                  </a:cubicBezTo>
                  <a:cubicBezTo>
                    <a:pt x="72" y="125"/>
                    <a:pt x="73" y="124"/>
                    <a:pt x="74" y="124"/>
                  </a:cubicBezTo>
                  <a:cubicBezTo>
                    <a:pt x="75" y="124"/>
                    <a:pt x="76" y="124"/>
                    <a:pt x="76" y="124"/>
                  </a:cubicBezTo>
                  <a:cubicBezTo>
                    <a:pt x="77" y="123"/>
                    <a:pt x="78" y="122"/>
                    <a:pt x="79" y="121"/>
                  </a:cubicBezTo>
                  <a:cubicBezTo>
                    <a:pt x="81" y="120"/>
                    <a:pt x="84" y="119"/>
                    <a:pt x="85" y="117"/>
                  </a:cubicBezTo>
                  <a:cubicBezTo>
                    <a:pt x="85" y="116"/>
                    <a:pt x="85" y="115"/>
                    <a:pt x="86" y="114"/>
                  </a:cubicBezTo>
                  <a:cubicBezTo>
                    <a:pt x="87" y="113"/>
                    <a:pt x="90" y="112"/>
                    <a:pt x="92" y="112"/>
                  </a:cubicBezTo>
                  <a:cubicBezTo>
                    <a:pt x="93" y="112"/>
                    <a:pt x="94" y="112"/>
                    <a:pt x="95" y="112"/>
                  </a:cubicBezTo>
                  <a:cubicBezTo>
                    <a:pt x="97" y="112"/>
                    <a:pt x="100" y="112"/>
                    <a:pt x="103" y="112"/>
                  </a:cubicBezTo>
                  <a:cubicBezTo>
                    <a:pt x="104" y="112"/>
                    <a:pt x="105" y="112"/>
                    <a:pt x="106" y="112"/>
                  </a:cubicBezTo>
                  <a:cubicBezTo>
                    <a:pt x="107" y="111"/>
                    <a:pt x="107" y="111"/>
                    <a:pt x="108" y="111"/>
                  </a:cubicBezTo>
                  <a:cubicBezTo>
                    <a:pt x="109" y="110"/>
                    <a:pt x="111" y="111"/>
                    <a:pt x="113" y="111"/>
                  </a:cubicBezTo>
                  <a:cubicBezTo>
                    <a:pt x="113" y="111"/>
                    <a:pt x="114" y="111"/>
                    <a:pt x="115" y="111"/>
                  </a:cubicBezTo>
                  <a:cubicBezTo>
                    <a:pt x="117" y="113"/>
                    <a:pt x="119" y="114"/>
                    <a:pt x="121" y="115"/>
                  </a:cubicBezTo>
                  <a:cubicBezTo>
                    <a:pt x="124" y="116"/>
                    <a:pt x="127" y="117"/>
                    <a:pt x="129" y="114"/>
                  </a:cubicBezTo>
                  <a:cubicBezTo>
                    <a:pt x="130" y="112"/>
                    <a:pt x="132" y="109"/>
                    <a:pt x="132" y="107"/>
                  </a:cubicBezTo>
                  <a:cubicBezTo>
                    <a:pt x="131" y="106"/>
                    <a:pt x="130" y="105"/>
                    <a:pt x="129" y="104"/>
                  </a:cubicBezTo>
                  <a:cubicBezTo>
                    <a:pt x="128" y="104"/>
                    <a:pt x="128" y="103"/>
                    <a:pt x="127" y="102"/>
                  </a:cubicBezTo>
                  <a:cubicBezTo>
                    <a:pt x="126" y="101"/>
                    <a:pt x="125" y="101"/>
                    <a:pt x="124" y="101"/>
                  </a:cubicBezTo>
                  <a:cubicBezTo>
                    <a:pt x="121" y="101"/>
                    <a:pt x="119" y="101"/>
                    <a:pt x="117" y="100"/>
                  </a:cubicBezTo>
                  <a:cubicBezTo>
                    <a:pt x="115" y="100"/>
                    <a:pt x="113" y="99"/>
                    <a:pt x="111" y="98"/>
                  </a:cubicBezTo>
                  <a:cubicBezTo>
                    <a:pt x="109" y="98"/>
                    <a:pt x="105" y="98"/>
                    <a:pt x="104" y="96"/>
                  </a:cubicBezTo>
                  <a:cubicBezTo>
                    <a:pt x="103" y="95"/>
                    <a:pt x="104" y="94"/>
                    <a:pt x="104" y="93"/>
                  </a:cubicBezTo>
                  <a:cubicBezTo>
                    <a:pt x="105" y="92"/>
                    <a:pt x="107" y="92"/>
                    <a:pt x="108" y="92"/>
                  </a:cubicBezTo>
                  <a:cubicBezTo>
                    <a:pt x="110" y="91"/>
                    <a:pt x="112" y="91"/>
                    <a:pt x="114" y="91"/>
                  </a:cubicBezTo>
                  <a:cubicBezTo>
                    <a:pt x="116" y="91"/>
                    <a:pt x="118" y="91"/>
                    <a:pt x="120" y="91"/>
                  </a:cubicBezTo>
                  <a:cubicBezTo>
                    <a:pt x="123" y="91"/>
                    <a:pt x="125" y="92"/>
                    <a:pt x="128" y="92"/>
                  </a:cubicBezTo>
                  <a:cubicBezTo>
                    <a:pt x="129" y="92"/>
                    <a:pt x="129" y="92"/>
                    <a:pt x="130" y="91"/>
                  </a:cubicBezTo>
                  <a:cubicBezTo>
                    <a:pt x="131" y="91"/>
                    <a:pt x="132" y="90"/>
                    <a:pt x="132" y="89"/>
                  </a:cubicBezTo>
                  <a:cubicBezTo>
                    <a:pt x="132" y="88"/>
                    <a:pt x="131" y="87"/>
                    <a:pt x="132" y="87"/>
                  </a:cubicBezTo>
                  <a:cubicBezTo>
                    <a:pt x="133" y="86"/>
                    <a:pt x="135" y="87"/>
                    <a:pt x="136" y="87"/>
                  </a:cubicBezTo>
                  <a:cubicBezTo>
                    <a:pt x="138" y="87"/>
                    <a:pt x="140" y="87"/>
                    <a:pt x="141" y="88"/>
                  </a:cubicBezTo>
                  <a:cubicBezTo>
                    <a:pt x="143" y="88"/>
                    <a:pt x="145" y="88"/>
                    <a:pt x="146" y="88"/>
                  </a:cubicBezTo>
                  <a:cubicBezTo>
                    <a:pt x="150" y="87"/>
                    <a:pt x="153" y="87"/>
                    <a:pt x="156" y="88"/>
                  </a:cubicBezTo>
                  <a:cubicBezTo>
                    <a:pt x="157" y="89"/>
                    <a:pt x="158" y="90"/>
                    <a:pt x="159" y="90"/>
                  </a:cubicBezTo>
                  <a:cubicBezTo>
                    <a:pt x="160" y="91"/>
                    <a:pt x="161" y="91"/>
                    <a:pt x="162" y="92"/>
                  </a:cubicBezTo>
                  <a:cubicBezTo>
                    <a:pt x="164" y="92"/>
                    <a:pt x="166" y="93"/>
                    <a:pt x="168" y="94"/>
                  </a:cubicBezTo>
                  <a:cubicBezTo>
                    <a:pt x="171" y="95"/>
                    <a:pt x="173" y="95"/>
                    <a:pt x="175" y="96"/>
                  </a:cubicBezTo>
                  <a:cubicBezTo>
                    <a:pt x="177" y="97"/>
                    <a:pt x="178" y="96"/>
                    <a:pt x="179" y="95"/>
                  </a:cubicBezTo>
                  <a:cubicBezTo>
                    <a:pt x="180" y="95"/>
                    <a:pt x="181" y="94"/>
                    <a:pt x="183" y="94"/>
                  </a:cubicBezTo>
                  <a:cubicBezTo>
                    <a:pt x="183" y="94"/>
                    <a:pt x="184" y="95"/>
                    <a:pt x="185" y="95"/>
                  </a:cubicBezTo>
                  <a:cubicBezTo>
                    <a:pt x="185" y="95"/>
                    <a:pt x="187" y="95"/>
                    <a:pt x="187" y="95"/>
                  </a:cubicBezTo>
                  <a:cubicBezTo>
                    <a:pt x="188" y="95"/>
                    <a:pt x="188" y="94"/>
                    <a:pt x="189" y="94"/>
                  </a:cubicBezTo>
                  <a:cubicBezTo>
                    <a:pt x="189" y="93"/>
                    <a:pt x="190" y="92"/>
                    <a:pt x="191" y="92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2" y="90"/>
                    <a:pt x="191" y="88"/>
                    <a:pt x="191" y="87"/>
                  </a:cubicBezTo>
                  <a:cubicBezTo>
                    <a:pt x="191" y="85"/>
                    <a:pt x="192" y="84"/>
                    <a:pt x="193" y="82"/>
                  </a:cubicBezTo>
                  <a:cubicBezTo>
                    <a:pt x="194" y="80"/>
                    <a:pt x="195" y="77"/>
                    <a:pt x="195" y="75"/>
                  </a:cubicBezTo>
                  <a:cubicBezTo>
                    <a:pt x="195" y="74"/>
                    <a:pt x="196" y="72"/>
                    <a:pt x="197" y="71"/>
                  </a:cubicBezTo>
                  <a:cubicBezTo>
                    <a:pt x="197" y="71"/>
                    <a:pt x="197" y="70"/>
                    <a:pt x="197" y="70"/>
                  </a:cubicBezTo>
                  <a:moveTo>
                    <a:pt x="312" y="435"/>
                  </a:moveTo>
                  <a:cubicBezTo>
                    <a:pt x="312" y="435"/>
                    <a:pt x="311" y="435"/>
                    <a:pt x="311" y="435"/>
                  </a:cubicBezTo>
                  <a:cubicBezTo>
                    <a:pt x="311" y="435"/>
                    <a:pt x="312" y="435"/>
                    <a:pt x="312" y="435"/>
                  </a:cubicBezTo>
                  <a:moveTo>
                    <a:pt x="668" y="97"/>
                  </a:moveTo>
                  <a:cubicBezTo>
                    <a:pt x="669" y="97"/>
                    <a:pt x="670" y="97"/>
                    <a:pt x="671" y="97"/>
                  </a:cubicBezTo>
                  <a:cubicBezTo>
                    <a:pt x="670" y="97"/>
                    <a:pt x="669" y="97"/>
                    <a:pt x="668" y="97"/>
                  </a:cubicBezTo>
                  <a:cubicBezTo>
                    <a:pt x="668" y="97"/>
                    <a:pt x="668" y="97"/>
                    <a:pt x="668" y="97"/>
                  </a:cubicBezTo>
                  <a:moveTo>
                    <a:pt x="1170" y="445"/>
                  </a:moveTo>
                  <a:cubicBezTo>
                    <a:pt x="1169" y="442"/>
                    <a:pt x="1168" y="441"/>
                    <a:pt x="1165" y="439"/>
                  </a:cubicBezTo>
                  <a:cubicBezTo>
                    <a:pt x="1161" y="437"/>
                    <a:pt x="1159" y="436"/>
                    <a:pt x="1156" y="432"/>
                  </a:cubicBezTo>
                  <a:cubicBezTo>
                    <a:pt x="1151" y="428"/>
                    <a:pt x="1148" y="425"/>
                    <a:pt x="1149" y="419"/>
                  </a:cubicBezTo>
                  <a:cubicBezTo>
                    <a:pt x="1149" y="416"/>
                    <a:pt x="1149" y="413"/>
                    <a:pt x="1149" y="410"/>
                  </a:cubicBezTo>
                  <a:cubicBezTo>
                    <a:pt x="1149" y="407"/>
                    <a:pt x="1151" y="399"/>
                    <a:pt x="1149" y="396"/>
                  </a:cubicBezTo>
                  <a:cubicBezTo>
                    <a:pt x="1149" y="396"/>
                    <a:pt x="1145" y="394"/>
                    <a:pt x="1144" y="394"/>
                  </a:cubicBezTo>
                  <a:cubicBezTo>
                    <a:pt x="1142" y="393"/>
                    <a:pt x="1139" y="391"/>
                    <a:pt x="1137" y="390"/>
                  </a:cubicBezTo>
                  <a:cubicBezTo>
                    <a:pt x="1133" y="389"/>
                    <a:pt x="1131" y="391"/>
                    <a:pt x="1130" y="387"/>
                  </a:cubicBezTo>
                  <a:cubicBezTo>
                    <a:pt x="1129" y="384"/>
                    <a:pt x="1130" y="382"/>
                    <a:pt x="1132" y="380"/>
                  </a:cubicBezTo>
                  <a:cubicBezTo>
                    <a:pt x="1134" y="378"/>
                    <a:pt x="1134" y="380"/>
                    <a:pt x="1136" y="376"/>
                  </a:cubicBezTo>
                  <a:cubicBezTo>
                    <a:pt x="1138" y="372"/>
                    <a:pt x="1141" y="368"/>
                    <a:pt x="1142" y="363"/>
                  </a:cubicBezTo>
                  <a:cubicBezTo>
                    <a:pt x="1142" y="361"/>
                    <a:pt x="1143" y="354"/>
                    <a:pt x="1141" y="352"/>
                  </a:cubicBezTo>
                  <a:cubicBezTo>
                    <a:pt x="1140" y="350"/>
                    <a:pt x="1136" y="351"/>
                    <a:pt x="1134" y="351"/>
                  </a:cubicBezTo>
                  <a:cubicBezTo>
                    <a:pt x="1130" y="350"/>
                    <a:pt x="1131" y="347"/>
                    <a:pt x="1131" y="343"/>
                  </a:cubicBezTo>
                  <a:cubicBezTo>
                    <a:pt x="1131" y="339"/>
                    <a:pt x="1131" y="335"/>
                    <a:pt x="1131" y="331"/>
                  </a:cubicBezTo>
                  <a:cubicBezTo>
                    <a:pt x="1131" y="322"/>
                    <a:pt x="1128" y="312"/>
                    <a:pt x="1124" y="302"/>
                  </a:cubicBezTo>
                  <a:cubicBezTo>
                    <a:pt x="1123" y="299"/>
                    <a:pt x="1120" y="295"/>
                    <a:pt x="1119" y="291"/>
                  </a:cubicBezTo>
                  <a:cubicBezTo>
                    <a:pt x="1116" y="283"/>
                    <a:pt x="1122" y="275"/>
                    <a:pt x="1120" y="268"/>
                  </a:cubicBezTo>
                  <a:cubicBezTo>
                    <a:pt x="1118" y="267"/>
                    <a:pt x="1114" y="268"/>
                    <a:pt x="1111" y="266"/>
                  </a:cubicBezTo>
                  <a:cubicBezTo>
                    <a:pt x="1106" y="263"/>
                    <a:pt x="1111" y="262"/>
                    <a:pt x="1115" y="261"/>
                  </a:cubicBezTo>
                  <a:cubicBezTo>
                    <a:pt x="1119" y="261"/>
                    <a:pt x="1126" y="261"/>
                    <a:pt x="1128" y="257"/>
                  </a:cubicBezTo>
                  <a:cubicBezTo>
                    <a:pt x="1129" y="256"/>
                    <a:pt x="1129" y="255"/>
                    <a:pt x="1129" y="253"/>
                  </a:cubicBezTo>
                  <a:cubicBezTo>
                    <a:pt x="1130" y="252"/>
                    <a:pt x="1132" y="250"/>
                    <a:pt x="1133" y="248"/>
                  </a:cubicBezTo>
                  <a:cubicBezTo>
                    <a:pt x="1135" y="245"/>
                    <a:pt x="1136" y="241"/>
                    <a:pt x="1139" y="238"/>
                  </a:cubicBezTo>
                  <a:cubicBezTo>
                    <a:pt x="1140" y="237"/>
                    <a:pt x="1142" y="236"/>
                    <a:pt x="1144" y="235"/>
                  </a:cubicBezTo>
                  <a:cubicBezTo>
                    <a:pt x="1146" y="234"/>
                    <a:pt x="1149" y="232"/>
                    <a:pt x="1151" y="230"/>
                  </a:cubicBezTo>
                  <a:cubicBezTo>
                    <a:pt x="1147" y="228"/>
                    <a:pt x="1144" y="226"/>
                    <a:pt x="1140" y="224"/>
                  </a:cubicBezTo>
                  <a:cubicBezTo>
                    <a:pt x="1140" y="224"/>
                    <a:pt x="1133" y="222"/>
                    <a:pt x="1133" y="221"/>
                  </a:cubicBezTo>
                  <a:cubicBezTo>
                    <a:pt x="1131" y="220"/>
                    <a:pt x="1131" y="218"/>
                    <a:pt x="1130" y="216"/>
                  </a:cubicBezTo>
                  <a:cubicBezTo>
                    <a:pt x="1125" y="213"/>
                    <a:pt x="1119" y="214"/>
                    <a:pt x="1113" y="214"/>
                  </a:cubicBezTo>
                  <a:cubicBezTo>
                    <a:pt x="1104" y="213"/>
                    <a:pt x="1096" y="206"/>
                    <a:pt x="1090" y="201"/>
                  </a:cubicBezTo>
                  <a:cubicBezTo>
                    <a:pt x="1084" y="195"/>
                    <a:pt x="1083" y="190"/>
                    <a:pt x="1081" y="181"/>
                  </a:cubicBezTo>
                  <a:cubicBezTo>
                    <a:pt x="1080" y="178"/>
                    <a:pt x="1079" y="177"/>
                    <a:pt x="1078" y="175"/>
                  </a:cubicBezTo>
                  <a:cubicBezTo>
                    <a:pt x="1077" y="172"/>
                    <a:pt x="1078" y="169"/>
                    <a:pt x="1079" y="167"/>
                  </a:cubicBezTo>
                  <a:cubicBezTo>
                    <a:pt x="1081" y="161"/>
                    <a:pt x="1085" y="154"/>
                    <a:pt x="1084" y="148"/>
                  </a:cubicBezTo>
                  <a:cubicBezTo>
                    <a:pt x="1084" y="146"/>
                    <a:pt x="1083" y="144"/>
                    <a:pt x="1082" y="142"/>
                  </a:cubicBezTo>
                  <a:cubicBezTo>
                    <a:pt x="1082" y="141"/>
                    <a:pt x="1079" y="138"/>
                    <a:pt x="1078" y="136"/>
                  </a:cubicBezTo>
                  <a:cubicBezTo>
                    <a:pt x="1077" y="134"/>
                    <a:pt x="1072" y="133"/>
                    <a:pt x="1072" y="131"/>
                  </a:cubicBezTo>
                  <a:cubicBezTo>
                    <a:pt x="1068" y="125"/>
                    <a:pt x="1082" y="122"/>
                    <a:pt x="1080" y="116"/>
                  </a:cubicBezTo>
                  <a:cubicBezTo>
                    <a:pt x="1072" y="114"/>
                    <a:pt x="1065" y="111"/>
                    <a:pt x="1057" y="108"/>
                  </a:cubicBezTo>
                  <a:cubicBezTo>
                    <a:pt x="1056" y="107"/>
                    <a:pt x="1054" y="107"/>
                    <a:pt x="1052" y="107"/>
                  </a:cubicBezTo>
                  <a:cubicBezTo>
                    <a:pt x="1051" y="106"/>
                    <a:pt x="1051" y="106"/>
                    <a:pt x="1049" y="105"/>
                  </a:cubicBezTo>
                  <a:cubicBezTo>
                    <a:pt x="1047" y="104"/>
                    <a:pt x="1045" y="104"/>
                    <a:pt x="1045" y="101"/>
                  </a:cubicBezTo>
                  <a:cubicBezTo>
                    <a:pt x="1045" y="98"/>
                    <a:pt x="1047" y="96"/>
                    <a:pt x="1047" y="94"/>
                  </a:cubicBezTo>
                  <a:cubicBezTo>
                    <a:pt x="1044" y="93"/>
                    <a:pt x="1039" y="96"/>
                    <a:pt x="1037" y="94"/>
                  </a:cubicBezTo>
                  <a:cubicBezTo>
                    <a:pt x="1036" y="93"/>
                    <a:pt x="1035" y="90"/>
                    <a:pt x="1034" y="89"/>
                  </a:cubicBezTo>
                  <a:cubicBezTo>
                    <a:pt x="1032" y="87"/>
                    <a:pt x="1028" y="87"/>
                    <a:pt x="1027" y="85"/>
                  </a:cubicBezTo>
                  <a:cubicBezTo>
                    <a:pt x="1025" y="84"/>
                    <a:pt x="1026" y="82"/>
                    <a:pt x="1025" y="80"/>
                  </a:cubicBezTo>
                  <a:cubicBezTo>
                    <a:pt x="1023" y="77"/>
                    <a:pt x="1017" y="76"/>
                    <a:pt x="1014" y="75"/>
                  </a:cubicBezTo>
                  <a:cubicBezTo>
                    <a:pt x="1012" y="74"/>
                    <a:pt x="1008" y="72"/>
                    <a:pt x="1006" y="73"/>
                  </a:cubicBezTo>
                  <a:cubicBezTo>
                    <a:pt x="1005" y="75"/>
                    <a:pt x="1006" y="80"/>
                    <a:pt x="1006" y="81"/>
                  </a:cubicBezTo>
                  <a:cubicBezTo>
                    <a:pt x="1003" y="82"/>
                    <a:pt x="1000" y="81"/>
                    <a:pt x="996" y="81"/>
                  </a:cubicBezTo>
                  <a:cubicBezTo>
                    <a:pt x="995" y="81"/>
                    <a:pt x="992" y="81"/>
                    <a:pt x="990" y="81"/>
                  </a:cubicBezTo>
                  <a:cubicBezTo>
                    <a:pt x="988" y="82"/>
                    <a:pt x="988" y="83"/>
                    <a:pt x="986" y="83"/>
                  </a:cubicBezTo>
                  <a:cubicBezTo>
                    <a:pt x="985" y="82"/>
                    <a:pt x="983" y="82"/>
                    <a:pt x="982" y="81"/>
                  </a:cubicBezTo>
                  <a:cubicBezTo>
                    <a:pt x="981" y="81"/>
                    <a:pt x="979" y="79"/>
                    <a:pt x="978" y="79"/>
                  </a:cubicBezTo>
                  <a:cubicBezTo>
                    <a:pt x="976" y="78"/>
                    <a:pt x="973" y="79"/>
                    <a:pt x="970" y="79"/>
                  </a:cubicBezTo>
                  <a:cubicBezTo>
                    <a:pt x="969" y="79"/>
                    <a:pt x="968" y="79"/>
                    <a:pt x="967" y="79"/>
                  </a:cubicBezTo>
                  <a:cubicBezTo>
                    <a:pt x="965" y="79"/>
                    <a:pt x="966" y="80"/>
                    <a:pt x="964" y="80"/>
                  </a:cubicBezTo>
                  <a:cubicBezTo>
                    <a:pt x="962" y="82"/>
                    <a:pt x="959" y="83"/>
                    <a:pt x="955" y="83"/>
                  </a:cubicBezTo>
                  <a:cubicBezTo>
                    <a:pt x="953" y="82"/>
                    <a:pt x="951" y="81"/>
                    <a:pt x="949" y="81"/>
                  </a:cubicBezTo>
                  <a:cubicBezTo>
                    <a:pt x="945" y="80"/>
                    <a:pt x="942" y="81"/>
                    <a:pt x="938" y="81"/>
                  </a:cubicBezTo>
                  <a:cubicBezTo>
                    <a:pt x="939" y="86"/>
                    <a:pt x="930" y="93"/>
                    <a:pt x="926" y="96"/>
                  </a:cubicBezTo>
                  <a:cubicBezTo>
                    <a:pt x="926" y="97"/>
                    <a:pt x="926" y="97"/>
                    <a:pt x="925" y="97"/>
                  </a:cubicBezTo>
                  <a:cubicBezTo>
                    <a:pt x="923" y="98"/>
                    <a:pt x="921" y="98"/>
                    <a:pt x="920" y="99"/>
                  </a:cubicBezTo>
                  <a:cubicBezTo>
                    <a:pt x="919" y="99"/>
                    <a:pt x="918" y="101"/>
                    <a:pt x="917" y="102"/>
                  </a:cubicBezTo>
                  <a:cubicBezTo>
                    <a:pt x="916" y="102"/>
                    <a:pt x="914" y="103"/>
                    <a:pt x="913" y="104"/>
                  </a:cubicBezTo>
                  <a:cubicBezTo>
                    <a:pt x="910" y="105"/>
                    <a:pt x="907" y="106"/>
                    <a:pt x="904" y="107"/>
                  </a:cubicBezTo>
                  <a:cubicBezTo>
                    <a:pt x="901" y="109"/>
                    <a:pt x="897" y="110"/>
                    <a:pt x="893" y="110"/>
                  </a:cubicBezTo>
                  <a:cubicBezTo>
                    <a:pt x="886" y="110"/>
                    <a:pt x="879" y="110"/>
                    <a:pt x="874" y="115"/>
                  </a:cubicBezTo>
                  <a:cubicBezTo>
                    <a:pt x="870" y="119"/>
                    <a:pt x="866" y="120"/>
                    <a:pt x="862" y="122"/>
                  </a:cubicBezTo>
                  <a:cubicBezTo>
                    <a:pt x="854" y="125"/>
                    <a:pt x="848" y="121"/>
                    <a:pt x="841" y="118"/>
                  </a:cubicBezTo>
                  <a:cubicBezTo>
                    <a:pt x="833" y="115"/>
                    <a:pt x="824" y="117"/>
                    <a:pt x="816" y="115"/>
                  </a:cubicBezTo>
                  <a:cubicBezTo>
                    <a:pt x="814" y="114"/>
                    <a:pt x="813" y="113"/>
                    <a:pt x="812" y="112"/>
                  </a:cubicBezTo>
                  <a:cubicBezTo>
                    <a:pt x="810" y="112"/>
                    <a:pt x="809" y="113"/>
                    <a:pt x="808" y="113"/>
                  </a:cubicBezTo>
                  <a:cubicBezTo>
                    <a:pt x="806" y="112"/>
                    <a:pt x="804" y="111"/>
                    <a:pt x="802" y="111"/>
                  </a:cubicBezTo>
                  <a:cubicBezTo>
                    <a:pt x="801" y="111"/>
                    <a:pt x="800" y="111"/>
                    <a:pt x="799" y="111"/>
                  </a:cubicBezTo>
                  <a:cubicBezTo>
                    <a:pt x="798" y="111"/>
                    <a:pt x="798" y="113"/>
                    <a:pt x="796" y="113"/>
                  </a:cubicBezTo>
                  <a:cubicBezTo>
                    <a:pt x="794" y="114"/>
                    <a:pt x="789" y="113"/>
                    <a:pt x="786" y="113"/>
                  </a:cubicBezTo>
                  <a:cubicBezTo>
                    <a:pt x="780" y="113"/>
                    <a:pt x="777" y="114"/>
                    <a:pt x="771" y="116"/>
                  </a:cubicBezTo>
                  <a:cubicBezTo>
                    <a:pt x="768" y="118"/>
                    <a:pt x="765" y="117"/>
                    <a:pt x="762" y="118"/>
                  </a:cubicBezTo>
                  <a:cubicBezTo>
                    <a:pt x="759" y="118"/>
                    <a:pt x="757" y="121"/>
                    <a:pt x="754" y="121"/>
                  </a:cubicBezTo>
                  <a:cubicBezTo>
                    <a:pt x="753" y="121"/>
                    <a:pt x="752" y="121"/>
                    <a:pt x="752" y="121"/>
                  </a:cubicBezTo>
                  <a:cubicBezTo>
                    <a:pt x="748" y="120"/>
                    <a:pt x="743" y="119"/>
                    <a:pt x="739" y="118"/>
                  </a:cubicBezTo>
                  <a:cubicBezTo>
                    <a:pt x="736" y="116"/>
                    <a:pt x="735" y="114"/>
                    <a:pt x="731" y="113"/>
                  </a:cubicBezTo>
                  <a:cubicBezTo>
                    <a:pt x="729" y="112"/>
                    <a:pt x="726" y="113"/>
                    <a:pt x="723" y="112"/>
                  </a:cubicBezTo>
                  <a:cubicBezTo>
                    <a:pt x="720" y="112"/>
                    <a:pt x="719" y="111"/>
                    <a:pt x="717" y="108"/>
                  </a:cubicBezTo>
                  <a:cubicBezTo>
                    <a:pt x="714" y="105"/>
                    <a:pt x="710" y="100"/>
                    <a:pt x="706" y="99"/>
                  </a:cubicBezTo>
                  <a:cubicBezTo>
                    <a:pt x="704" y="98"/>
                    <a:pt x="701" y="99"/>
                    <a:pt x="698" y="99"/>
                  </a:cubicBezTo>
                  <a:cubicBezTo>
                    <a:pt x="695" y="98"/>
                    <a:pt x="692" y="97"/>
                    <a:pt x="689" y="97"/>
                  </a:cubicBezTo>
                  <a:cubicBezTo>
                    <a:pt x="683" y="97"/>
                    <a:pt x="677" y="97"/>
                    <a:pt x="671" y="97"/>
                  </a:cubicBezTo>
                  <a:cubicBezTo>
                    <a:pt x="672" y="98"/>
                    <a:pt x="673" y="98"/>
                    <a:pt x="674" y="99"/>
                  </a:cubicBezTo>
                  <a:cubicBezTo>
                    <a:pt x="672" y="99"/>
                    <a:pt x="670" y="98"/>
                    <a:pt x="668" y="97"/>
                  </a:cubicBezTo>
                  <a:cubicBezTo>
                    <a:pt x="666" y="97"/>
                    <a:pt x="665" y="97"/>
                    <a:pt x="663" y="97"/>
                  </a:cubicBezTo>
                  <a:cubicBezTo>
                    <a:pt x="665" y="97"/>
                    <a:pt x="666" y="97"/>
                    <a:pt x="668" y="97"/>
                  </a:cubicBezTo>
                  <a:cubicBezTo>
                    <a:pt x="665" y="96"/>
                    <a:pt x="662" y="94"/>
                    <a:pt x="659" y="92"/>
                  </a:cubicBezTo>
                  <a:cubicBezTo>
                    <a:pt x="655" y="90"/>
                    <a:pt x="653" y="89"/>
                    <a:pt x="653" y="84"/>
                  </a:cubicBezTo>
                  <a:cubicBezTo>
                    <a:pt x="652" y="80"/>
                    <a:pt x="652" y="80"/>
                    <a:pt x="648" y="81"/>
                  </a:cubicBezTo>
                  <a:cubicBezTo>
                    <a:pt x="646" y="81"/>
                    <a:pt x="640" y="81"/>
                    <a:pt x="640" y="84"/>
                  </a:cubicBezTo>
                  <a:cubicBezTo>
                    <a:pt x="638" y="84"/>
                    <a:pt x="634" y="84"/>
                    <a:pt x="632" y="84"/>
                  </a:cubicBezTo>
                  <a:cubicBezTo>
                    <a:pt x="629" y="83"/>
                    <a:pt x="625" y="81"/>
                    <a:pt x="623" y="80"/>
                  </a:cubicBezTo>
                  <a:cubicBezTo>
                    <a:pt x="618" y="79"/>
                    <a:pt x="620" y="80"/>
                    <a:pt x="619" y="78"/>
                  </a:cubicBezTo>
                  <a:cubicBezTo>
                    <a:pt x="617" y="76"/>
                    <a:pt x="618" y="71"/>
                    <a:pt x="616" y="69"/>
                  </a:cubicBezTo>
                  <a:cubicBezTo>
                    <a:pt x="615" y="67"/>
                    <a:pt x="613" y="68"/>
                    <a:pt x="612" y="65"/>
                  </a:cubicBezTo>
                  <a:cubicBezTo>
                    <a:pt x="611" y="64"/>
                    <a:pt x="610" y="62"/>
                    <a:pt x="610" y="60"/>
                  </a:cubicBezTo>
                  <a:cubicBezTo>
                    <a:pt x="610" y="55"/>
                    <a:pt x="612" y="46"/>
                    <a:pt x="609" y="41"/>
                  </a:cubicBezTo>
                  <a:cubicBezTo>
                    <a:pt x="606" y="38"/>
                    <a:pt x="602" y="38"/>
                    <a:pt x="598" y="38"/>
                  </a:cubicBezTo>
                  <a:cubicBezTo>
                    <a:pt x="596" y="39"/>
                    <a:pt x="596" y="39"/>
                    <a:pt x="594" y="40"/>
                  </a:cubicBezTo>
                  <a:cubicBezTo>
                    <a:pt x="592" y="41"/>
                    <a:pt x="591" y="42"/>
                    <a:pt x="589" y="43"/>
                  </a:cubicBezTo>
                  <a:cubicBezTo>
                    <a:pt x="588" y="44"/>
                    <a:pt x="587" y="45"/>
                    <a:pt x="586" y="46"/>
                  </a:cubicBezTo>
                  <a:cubicBezTo>
                    <a:pt x="582" y="49"/>
                    <a:pt x="571" y="46"/>
                    <a:pt x="566" y="46"/>
                  </a:cubicBezTo>
                  <a:cubicBezTo>
                    <a:pt x="564" y="46"/>
                    <a:pt x="563" y="46"/>
                    <a:pt x="561" y="46"/>
                  </a:cubicBezTo>
                  <a:cubicBezTo>
                    <a:pt x="559" y="44"/>
                    <a:pt x="557" y="38"/>
                    <a:pt x="555" y="36"/>
                  </a:cubicBezTo>
                  <a:cubicBezTo>
                    <a:pt x="552" y="33"/>
                    <a:pt x="549" y="32"/>
                    <a:pt x="550" y="27"/>
                  </a:cubicBezTo>
                  <a:cubicBezTo>
                    <a:pt x="550" y="24"/>
                    <a:pt x="552" y="22"/>
                    <a:pt x="550" y="20"/>
                  </a:cubicBezTo>
                  <a:cubicBezTo>
                    <a:pt x="548" y="19"/>
                    <a:pt x="543" y="19"/>
                    <a:pt x="541" y="19"/>
                  </a:cubicBezTo>
                  <a:cubicBezTo>
                    <a:pt x="539" y="20"/>
                    <a:pt x="538" y="23"/>
                    <a:pt x="536" y="24"/>
                  </a:cubicBezTo>
                  <a:cubicBezTo>
                    <a:pt x="533" y="25"/>
                    <a:pt x="527" y="27"/>
                    <a:pt x="523" y="27"/>
                  </a:cubicBezTo>
                  <a:cubicBezTo>
                    <a:pt x="520" y="27"/>
                    <a:pt x="519" y="26"/>
                    <a:pt x="516" y="25"/>
                  </a:cubicBezTo>
                  <a:cubicBezTo>
                    <a:pt x="513" y="25"/>
                    <a:pt x="510" y="25"/>
                    <a:pt x="508" y="24"/>
                  </a:cubicBezTo>
                  <a:cubicBezTo>
                    <a:pt x="505" y="24"/>
                    <a:pt x="502" y="22"/>
                    <a:pt x="499" y="23"/>
                  </a:cubicBezTo>
                  <a:cubicBezTo>
                    <a:pt x="496" y="23"/>
                    <a:pt x="495" y="24"/>
                    <a:pt x="491" y="25"/>
                  </a:cubicBezTo>
                  <a:cubicBezTo>
                    <a:pt x="490" y="25"/>
                    <a:pt x="487" y="25"/>
                    <a:pt x="486" y="25"/>
                  </a:cubicBezTo>
                  <a:cubicBezTo>
                    <a:pt x="482" y="25"/>
                    <a:pt x="480" y="23"/>
                    <a:pt x="477" y="22"/>
                  </a:cubicBezTo>
                  <a:cubicBezTo>
                    <a:pt x="469" y="21"/>
                    <a:pt x="462" y="20"/>
                    <a:pt x="454" y="20"/>
                  </a:cubicBezTo>
                  <a:cubicBezTo>
                    <a:pt x="447" y="20"/>
                    <a:pt x="437" y="19"/>
                    <a:pt x="430" y="21"/>
                  </a:cubicBezTo>
                  <a:cubicBezTo>
                    <a:pt x="426" y="22"/>
                    <a:pt x="422" y="23"/>
                    <a:pt x="418" y="25"/>
                  </a:cubicBezTo>
                  <a:cubicBezTo>
                    <a:pt x="416" y="27"/>
                    <a:pt x="413" y="27"/>
                    <a:pt x="411" y="28"/>
                  </a:cubicBezTo>
                  <a:cubicBezTo>
                    <a:pt x="411" y="28"/>
                    <a:pt x="408" y="29"/>
                    <a:pt x="408" y="29"/>
                  </a:cubicBezTo>
                  <a:cubicBezTo>
                    <a:pt x="406" y="30"/>
                    <a:pt x="403" y="30"/>
                    <a:pt x="400" y="30"/>
                  </a:cubicBezTo>
                  <a:cubicBezTo>
                    <a:pt x="398" y="31"/>
                    <a:pt x="395" y="30"/>
                    <a:pt x="393" y="31"/>
                  </a:cubicBezTo>
                  <a:cubicBezTo>
                    <a:pt x="389" y="32"/>
                    <a:pt x="386" y="34"/>
                    <a:pt x="383" y="35"/>
                  </a:cubicBezTo>
                  <a:cubicBezTo>
                    <a:pt x="380" y="36"/>
                    <a:pt x="378" y="37"/>
                    <a:pt x="375" y="39"/>
                  </a:cubicBezTo>
                  <a:cubicBezTo>
                    <a:pt x="373" y="41"/>
                    <a:pt x="370" y="41"/>
                    <a:pt x="367" y="43"/>
                  </a:cubicBezTo>
                  <a:cubicBezTo>
                    <a:pt x="365" y="45"/>
                    <a:pt x="365" y="45"/>
                    <a:pt x="362" y="46"/>
                  </a:cubicBezTo>
                  <a:cubicBezTo>
                    <a:pt x="361" y="46"/>
                    <a:pt x="360" y="46"/>
                    <a:pt x="358" y="46"/>
                  </a:cubicBezTo>
                  <a:cubicBezTo>
                    <a:pt x="355" y="47"/>
                    <a:pt x="356" y="47"/>
                    <a:pt x="354" y="49"/>
                  </a:cubicBezTo>
                  <a:cubicBezTo>
                    <a:pt x="353" y="51"/>
                    <a:pt x="351" y="52"/>
                    <a:pt x="350" y="55"/>
                  </a:cubicBezTo>
                  <a:cubicBezTo>
                    <a:pt x="348" y="59"/>
                    <a:pt x="351" y="63"/>
                    <a:pt x="347" y="66"/>
                  </a:cubicBezTo>
                  <a:cubicBezTo>
                    <a:pt x="346" y="67"/>
                    <a:pt x="343" y="67"/>
                    <a:pt x="341" y="68"/>
                  </a:cubicBezTo>
                  <a:cubicBezTo>
                    <a:pt x="340" y="69"/>
                    <a:pt x="340" y="71"/>
                    <a:pt x="339" y="72"/>
                  </a:cubicBezTo>
                  <a:cubicBezTo>
                    <a:pt x="338" y="74"/>
                    <a:pt x="336" y="74"/>
                    <a:pt x="335" y="76"/>
                  </a:cubicBezTo>
                  <a:cubicBezTo>
                    <a:pt x="333" y="78"/>
                    <a:pt x="335" y="81"/>
                    <a:pt x="334" y="84"/>
                  </a:cubicBezTo>
                  <a:cubicBezTo>
                    <a:pt x="332" y="88"/>
                    <a:pt x="324" y="86"/>
                    <a:pt x="321" y="86"/>
                  </a:cubicBezTo>
                  <a:cubicBezTo>
                    <a:pt x="319" y="86"/>
                    <a:pt x="314" y="85"/>
                    <a:pt x="312" y="86"/>
                  </a:cubicBezTo>
                  <a:cubicBezTo>
                    <a:pt x="310" y="87"/>
                    <a:pt x="309" y="89"/>
                    <a:pt x="307" y="89"/>
                  </a:cubicBezTo>
                  <a:cubicBezTo>
                    <a:pt x="304" y="91"/>
                    <a:pt x="302" y="91"/>
                    <a:pt x="299" y="90"/>
                  </a:cubicBezTo>
                  <a:cubicBezTo>
                    <a:pt x="295" y="88"/>
                    <a:pt x="292" y="86"/>
                    <a:pt x="288" y="85"/>
                  </a:cubicBezTo>
                  <a:cubicBezTo>
                    <a:pt x="282" y="83"/>
                    <a:pt x="274" y="85"/>
                    <a:pt x="269" y="81"/>
                  </a:cubicBezTo>
                  <a:cubicBezTo>
                    <a:pt x="266" y="79"/>
                    <a:pt x="266" y="78"/>
                    <a:pt x="262" y="80"/>
                  </a:cubicBezTo>
                  <a:cubicBezTo>
                    <a:pt x="259" y="82"/>
                    <a:pt x="255" y="81"/>
                    <a:pt x="251" y="81"/>
                  </a:cubicBezTo>
                  <a:cubicBezTo>
                    <a:pt x="243" y="81"/>
                    <a:pt x="234" y="83"/>
                    <a:pt x="226" y="81"/>
                  </a:cubicBezTo>
                  <a:cubicBezTo>
                    <a:pt x="223" y="81"/>
                    <a:pt x="221" y="79"/>
                    <a:pt x="218" y="77"/>
                  </a:cubicBezTo>
                  <a:cubicBezTo>
                    <a:pt x="214" y="76"/>
                    <a:pt x="211" y="76"/>
                    <a:pt x="208" y="75"/>
                  </a:cubicBezTo>
                  <a:cubicBezTo>
                    <a:pt x="205" y="74"/>
                    <a:pt x="202" y="72"/>
                    <a:pt x="200" y="71"/>
                  </a:cubicBezTo>
                  <a:cubicBezTo>
                    <a:pt x="200" y="71"/>
                    <a:pt x="200" y="71"/>
                    <a:pt x="200" y="72"/>
                  </a:cubicBezTo>
                  <a:cubicBezTo>
                    <a:pt x="200" y="72"/>
                    <a:pt x="199" y="73"/>
                    <a:pt x="199" y="74"/>
                  </a:cubicBezTo>
                  <a:cubicBezTo>
                    <a:pt x="198" y="74"/>
                    <a:pt x="198" y="75"/>
                    <a:pt x="198" y="76"/>
                  </a:cubicBezTo>
                  <a:cubicBezTo>
                    <a:pt x="197" y="78"/>
                    <a:pt x="197" y="80"/>
                    <a:pt x="195" y="82"/>
                  </a:cubicBezTo>
                  <a:cubicBezTo>
                    <a:pt x="195" y="82"/>
                    <a:pt x="195" y="82"/>
                    <a:pt x="194" y="83"/>
                  </a:cubicBezTo>
                  <a:cubicBezTo>
                    <a:pt x="194" y="83"/>
                    <a:pt x="195" y="83"/>
                    <a:pt x="195" y="83"/>
                  </a:cubicBezTo>
                  <a:cubicBezTo>
                    <a:pt x="194" y="84"/>
                    <a:pt x="194" y="84"/>
                    <a:pt x="194" y="84"/>
                  </a:cubicBezTo>
                  <a:cubicBezTo>
                    <a:pt x="194" y="85"/>
                    <a:pt x="194" y="85"/>
                    <a:pt x="194" y="86"/>
                  </a:cubicBezTo>
                  <a:cubicBezTo>
                    <a:pt x="194" y="87"/>
                    <a:pt x="194" y="87"/>
                    <a:pt x="194" y="88"/>
                  </a:cubicBezTo>
                  <a:cubicBezTo>
                    <a:pt x="194" y="90"/>
                    <a:pt x="194" y="92"/>
                    <a:pt x="194" y="94"/>
                  </a:cubicBezTo>
                  <a:cubicBezTo>
                    <a:pt x="194" y="95"/>
                    <a:pt x="194" y="96"/>
                    <a:pt x="194" y="96"/>
                  </a:cubicBezTo>
                  <a:cubicBezTo>
                    <a:pt x="195" y="98"/>
                    <a:pt x="198" y="99"/>
                    <a:pt x="199" y="100"/>
                  </a:cubicBezTo>
                  <a:cubicBezTo>
                    <a:pt x="199" y="100"/>
                    <a:pt x="200" y="100"/>
                    <a:pt x="201" y="101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199" y="99"/>
                    <a:pt x="199" y="99"/>
                    <a:pt x="198" y="99"/>
                  </a:cubicBezTo>
                  <a:cubicBezTo>
                    <a:pt x="198" y="99"/>
                    <a:pt x="198" y="99"/>
                    <a:pt x="197" y="98"/>
                  </a:cubicBezTo>
                  <a:cubicBezTo>
                    <a:pt x="197" y="98"/>
                    <a:pt x="196" y="98"/>
                    <a:pt x="196" y="97"/>
                  </a:cubicBezTo>
                  <a:cubicBezTo>
                    <a:pt x="196" y="97"/>
                    <a:pt x="196" y="97"/>
                    <a:pt x="195" y="97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200" y="100"/>
                    <a:pt x="200" y="100"/>
                    <a:pt x="201" y="100"/>
                  </a:cubicBezTo>
                  <a:cubicBezTo>
                    <a:pt x="204" y="100"/>
                    <a:pt x="206" y="103"/>
                    <a:pt x="209" y="105"/>
                  </a:cubicBezTo>
                  <a:cubicBezTo>
                    <a:pt x="209" y="106"/>
                    <a:pt x="210" y="106"/>
                    <a:pt x="211" y="106"/>
                  </a:cubicBezTo>
                  <a:cubicBezTo>
                    <a:pt x="212" y="106"/>
                    <a:pt x="213" y="106"/>
                    <a:pt x="215" y="107"/>
                  </a:cubicBezTo>
                  <a:cubicBezTo>
                    <a:pt x="216" y="107"/>
                    <a:pt x="218" y="108"/>
                    <a:pt x="219" y="108"/>
                  </a:cubicBezTo>
                  <a:cubicBezTo>
                    <a:pt x="222" y="110"/>
                    <a:pt x="225" y="112"/>
                    <a:pt x="228" y="113"/>
                  </a:cubicBezTo>
                  <a:cubicBezTo>
                    <a:pt x="230" y="114"/>
                    <a:pt x="231" y="114"/>
                    <a:pt x="233" y="114"/>
                  </a:cubicBezTo>
                  <a:cubicBezTo>
                    <a:pt x="237" y="114"/>
                    <a:pt x="241" y="113"/>
                    <a:pt x="245" y="113"/>
                  </a:cubicBezTo>
                  <a:cubicBezTo>
                    <a:pt x="246" y="114"/>
                    <a:pt x="247" y="114"/>
                    <a:pt x="248" y="115"/>
                  </a:cubicBezTo>
                  <a:cubicBezTo>
                    <a:pt x="246" y="115"/>
                    <a:pt x="244" y="115"/>
                    <a:pt x="242" y="115"/>
                  </a:cubicBezTo>
                  <a:cubicBezTo>
                    <a:pt x="241" y="115"/>
                    <a:pt x="240" y="115"/>
                    <a:pt x="239" y="115"/>
                  </a:cubicBezTo>
                  <a:cubicBezTo>
                    <a:pt x="237" y="115"/>
                    <a:pt x="235" y="115"/>
                    <a:pt x="233" y="116"/>
                  </a:cubicBezTo>
                  <a:cubicBezTo>
                    <a:pt x="232" y="117"/>
                    <a:pt x="232" y="118"/>
                    <a:pt x="232" y="119"/>
                  </a:cubicBezTo>
                  <a:cubicBezTo>
                    <a:pt x="231" y="122"/>
                    <a:pt x="227" y="119"/>
                    <a:pt x="225" y="118"/>
                  </a:cubicBezTo>
                  <a:cubicBezTo>
                    <a:pt x="225" y="118"/>
                    <a:pt x="224" y="117"/>
                    <a:pt x="224" y="117"/>
                  </a:cubicBezTo>
                  <a:cubicBezTo>
                    <a:pt x="223" y="118"/>
                    <a:pt x="222" y="118"/>
                    <a:pt x="222" y="118"/>
                  </a:cubicBezTo>
                  <a:cubicBezTo>
                    <a:pt x="221" y="118"/>
                    <a:pt x="220" y="119"/>
                    <a:pt x="219" y="118"/>
                  </a:cubicBezTo>
                  <a:cubicBezTo>
                    <a:pt x="217" y="118"/>
                    <a:pt x="216" y="118"/>
                    <a:pt x="214" y="118"/>
                  </a:cubicBezTo>
                  <a:cubicBezTo>
                    <a:pt x="212" y="117"/>
                    <a:pt x="212" y="116"/>
                    <a:pt x="210" y="117"/>
                  </a:cubicBezTo>
                  <a:cubicBezTo>
                    <a:pt x="210" y="117"/>
                    <a:pt x="208" y="118"/>
                    <a:pt x="208" y="119"/>
                  </a:cubicBezTo>
                  <a:cubicBezTo>
                    <a:pt x="208" y="119"/>
                    <a:pt x="208" y="120"/>
                    <a:pt x="208" y="120"/>
                  </a:cubicBezTo>
                  <a:cubicBezTo>
                    <a:pt x="207" y="121"/>
                    <a:pt x="208" y="121"/>
                    <a:pt x="207" y="121"/>
                  </a:cubicBezTo>
                  <a:cubicBezTo>
                    <a:pt x="206" y="121"/>
                    <a:pt x="206" y="121"/>
                    <a:pt x="205" y="121"/>
                  </a:cubicBezTo>
                  <a:cubicBezTo>
                    <a:pt x="201" y="120"/>
                    <a:pt x="195" y="119"/>
                    <a:pt x="191" y="122"/>
                  </a:cubicBezTo>
                  <a:cubicBezTo>
                    <a:pt x="191" y="122"/>
                    <a:pt x="191" y="122"/>
                    <a:pt x="191" y="122"/>
                  </a:cubicBezTo>
                  <a:cubicBezTo>
                    <a:pt x="192" y="123"/>
                    <a:pt x="191" y="124"/>
                    <a:pt x="191" y="125"/>
                  </a:cubicBezTo>
                  <a:cubicBezTo>
                    <a:pt x="191" y="126"/>
                    <a:pt x="189" y="126"/>
                    <a:pt x="188" y="126"/>
                  </a:cubicBezTo>
                  <a:cubicBezTo>
                    <a:pt x="186" y="127"/>
                    <a:pt x="183" y="126"/>
                    <a:pt x="181" y="127"/>
                  </a:cubicBezTo>
                  <a:cubicBezTo>
                    <a:pt x="178" y="128"/>
                    <a:pt x="182" y="131"/>
                    <a:pt x="183" y="132"/>
                  </a:cubicBezTo>
                  <a:cubicBezTo>
                    <a:pt x="183" y="134"/>
                    <a:pt x="179" y="135"/>
                    <a:pt x="178" y="135"/>
                  </a:cubicBezTo>
                  <a:cubicBezTo>
                    <a:pt x="176" y="135"/>
                    <a:pt x="176" y="134"/>
                    <a:pt x="175" y="134"/>
                  </a:cubicBezTo>
                  <a:cubicBezTo>
                    <a:pt x="173" y="133"/>
                    <a:pt x="170" y="134"/>
                    <a:pt x="168" y="133"/>
                  </a:cubicBezTo>
                  <a:cubicBezTo>
                    <a:pt x="167" y="132"/>
                    <a:pt x="166" y="131"/>
                    <a:pt x="166" y="130"/>
                  </a:cubicBezTo>
                  <a:cubicBezTo>
                    <a:pt x="166" y="130"/>
                    <a:pt x="164" y="127"/>
                    <a:pt x="163" y="127"/>
                  </a:cubicBezTo>
                  <a:cubicBezTo>
                    <a:pt x="163" y="127"/>
                    <a:pt x="161" y="128"/>
                    <a:pt x="161" y="129"/>
                  </a:cubicBezTo>
                  <a:cubicBezTo>
                    <a:pt x="159" y="130"/>
                    <a:pt x="157" y="131"/>
                    <a:pt x="156" y="133"/>
                  </a:cubicBezTo>
                  <a:cubicBezTo>
                    <a:pt x="153" y="134"/>
                    <a:pt x="152" y="136"/>
                    <a:pt x="150" y="137"/>
                  </a:cubicBezTo>
                  <a:cubicBezTo>
                    <a:pt x="149" y="138"/>
                    <a:pt x="148" y="138"/>
                    <a:pt x="148" y="138"/>
                  </a:cubicBezTo>
                  <a:cubicBezTo>
                    <a:pt x="147" y="139"/>
                    <a:pt x="146" y="139"/>
                    <a:pt x="145" y="140"/>
                  </a:cubicBezTo>
                  <a:cubicBezTo>
                    <a:pt x="143" y="140"/>
                    <a:pt x="143" y="140"/>
                    <a:pt x="141" y="140"/>
                  </a:cubicBezTo>
                  <a:cubicBezTo>
                    <a:pt x="140" y="139"/>
                    <a:pt x="140" y="139"/>
                    <a:pt x="138" y="140"/>
                  </a:cubicBezTo>
                  <a:cubicBezTo>
                    <a:pt x="137" y="140"/>
                    <a:pt x="136" y="140"/>
                    <a:pt x="134" y="140"/>
                  </a:cubicBezTo>
                  <a:cubicBezTo>
                    <a:pt x="134" y="140"/>
                    <a:pt x="133" y="140"/>
                    <a:pt x="133" y="140"/>
                  </a:cubicBezTo>
                  <a:cubicBezTo>
                    <a:pt x="132" y="140"/>
                    <a:pt x="132" y="138"/>
                    <a:pt x="132" y="138"/>
                  </a:cubicBezTo>
                  <a:cubicBezTo>
                    <a:pt x="133" y="136"/>
                    <a:pt x="134" y="134"/>
                    <a:pt x="133" y="132"/>
                  </a:cubicBezTo>
                  <a:cubicBezTo>
                    <a:pt x="133" y="130"/>
                    <a:pt x="131" y="129"/>
                    <a:pt x="129" y="129"/>
                  </a:cubicBezTo>
                  <a:cubicBezTo>
                    <a:pt x="127" y="129"/>
                    <a:pt x="126" y="129"/>
                    <a:pt x="125" y="129"/>
                  </a:cubicBezTo>
                  <a:cubicBezTo>
                    <a:pt x="122" y="129"/>
                    <a:pt x="118" y="127"/>
                    <a:pt x="115" y="128"/>
                  </a:cubicBezTo>
                  <a:cubicBezTo>
                    <a:pt x="113" y="129"/>
                    <a:pt x="113" y="132"/>
                    <a:pt x="114" y="134"/>
                  </a:cubicBezTo>
                  <a:cubicBezTo>
                    <a:pt x="115" y="136"/>
                    <a:pt x="116" y="136"/>
                    <a:pt x="119" y="137"/>
                  </a:cubicBezTo>
                  <a:cubicBezTo>
                    <a:pt x="121" y="137"/>
                    <a:pt x="125" y="140"/>
                    <a:pt x="126" y="143"/>
                  </a:cubicBezTo>
                  <a:cubicBezTo>
                    <a:pt x="126" y="145"/>
                    <a:pt x="123" y="146"/>
                    <a:pt x="121" y="147"/>
                  </a:cubicBezTo>
                  <a:cubicBezTo>
                    <a:pt x="118" y="147"/>
                    <a:pt x="114" y="145"/>
                    <a:pt x="111" y="144"/>
                  </a:cubicBezTo>
                  <a:cubicBezTo>
                    <a:pt x="110" y="144"/>
                    <a:pt x="109" y="143"/>
                    <a:pt x="107" y="143"/>
                  </a:cubicBezTo>
                  <a:cubicBezTo>
                    <a:pt x="105" y="143"/>
                    <a:pt x="102" y="144"/>
                    <a:pt x="100" y="143"/>
                  </a:cubicBezTo>
                  <a:cubicBezTo>
                    <a:pt x="98" y="143"/>
                    <a:pt x="95" y="141"/>
                    <a:pt x="93" y="140"/>
                  </a:cubicBezTo>
                  <a:cubicBezTo>
                    <a:pt x="93" y="139"/>
                    <a:pt x="92" y="138"/>
                    <a:pt x="92" y="137"/>
                  </a:cubicBezTo>
                  <a:cubicBezTo>
                    <a:pt x="91" y="136"/>
                    <a:pt x="92" y="136"/>
                    <a:pt x="91" y="135"/>
                  </a:cubicBezTo>
                  <a:cubicBezTo>
                    <a:pt x="91" y="135"/>
                    <a:pt x="90" y="133"/>
                    <a:pt x="89" y="132"/>
                  </a:cubicBezTo>
                  <a:cubicBezTo>
                    <a:pt x="88" y="132"/>
                    <a:pt x="87" y="134"/>
                    <a:pt x="86" y="135"/>
                  </a:cubicBezTo>
                  <a:cubicBezTo>
                    <a:pt x="86" y="135"/>
                    <a:pt x="85" y="135"/>
                    <a:pt x="85" y="135"/>
                  </a:cubicBezTo>
                  <a:cubicBezTo>
                    <a:pt x="84" y="135"/>
                    <a:pt x="84" y="135"/>
                    <a:pt x="83" y="135"/>
                  </a:cubicBezTo>
                  <a:cubicBezTo>
                    <a:pt x="81" y="136"/>
                    <a:pt x="78" y="136"/>
                    <a:pt x="76" y="136"/>
                  </a:cubicBezTo>
                  <a:cubicBezTo>
                    <a:pt x="74" y="135"/>
                    <a:pt x="72" y="135"/>
                    <a:pt x="71" y="135"/>
                  </a:cubicBezTo>
                  <a:cubicBezTo>
                    <a:pt x="69" y="135"/>
                    <a:pt x="68" y="136"/>
                    <a:pt x="66" y="136"/>
                  </a:cubicBezTo>
                  <a:cubicBezTo>
                    <a:pt x="64" y="137"/>
                    <a:pt x="63" y="138"/>
                    <a:pt x="60" y="137"/>
                  </a:cubicBezTo>
                  <a:cubicBezTo>
                    <a:pt x="59" y="137"/>
                    <a:pt x="58" y="138"/>
                    <a:pt x="58" y="136"/>
                  </a:cubicBezTo>
                  <a:cubicBezTo>
                    <a:pt x="58" y="136"/>
                    <a:pt x="58" y="135"/>
                    <a:pt x="58" y="134"/>
                  </a:cubicBezTo>
                  <a:cubicBezTo>
                    <a:pt x="58" y="134"/>
                    <a:pt x="59" y="133"/>
                    <a:pt x="59" y="132"/>
                  </a:cubicBezTo>
                  <a:cubicBezTo>
                    <a:pt x="59" y="132"/>
                    <a:pt x="59" y="131"/>
                    <a:pt x="59" y="130"/>
                  </a:cubicBezTo>
                  <a:cubicBezTo>
                    <a:pt x="59" y="130"/>
                    <a:pt x="59" y="130"/>
                    <a:pt x="59" y="129"/>
                  </a:cubicBezTo>
                  <a:cubicBezTo>
                    <a:pt x="57" y="130"/>
                    <a:pt x="55" y="130"/>
                    <a:pt x="54" y="131"/>
                  </a:cubicBezTo>
                  <a:cubicBezTo>
                    <a:pt x="52" y="132"/>
                    <a:pt x="51" y="132"/>
                    <a:pt x="49" y="133"/>
                  </a:cubicBezTo>
                  <a:cubicBezTo>
                    <a:pt x="48" y="134"/>
                    <a:pt x="47" y="136"/>
                    <a:pt x="46" y="136"/>
                  </a:cubicBezTo>
                  <a:cubicBezTo>
                    <a:pt x="42" y="138"/>
                    <a:pt x="34" y="136"/>
                    <a:pt x="30" y="136"/>
                  </a:cubicBezTo>
                  <a:cubicBezTo>
                    <a:pt x="27" y="136"/>
                    <a:pt x="20" y="135"/>
                    <a:pt x="17" y="137"/>
                  </a:cubicBezTo>
                  <a:cubicBezTo>
                    <a:pt x="15" y="138"/>
                    <a:pt x="16" y="139"/>
                    <a:pt x="16" y="140"/>
                  </a:cubicBezTo>
                  <a:cubicBezTo>
                    <a:pt x="15" y="142"/>
                    <a:pt x="15" y="145"/>
                    <a:pt x="14" y="147"/>
                  </a:cubicBezTo>
                  <a:cubicBezTo>
                    <a:pt x="11" y="150"/>
                    <a:pt x="8" y="150"/>
                    <a:pt x="5" y="151"/>
                  </a:cubicBezTo>
                  <a:cubicBezTo>
                    <a:pt x="2" y="152"/>
                    <a:pt x="0" y="155"/>
                    <a:pt x="1" y="158"/>
                  </a:cubicBezTo>
                  <a:cubicBezTo>
                    <a:pt x="4" y="164"/>
                    <a:pt x="6" y="158"/>
                    <a:pt x="8" y="156"/>
                  </a:cubicBezTo>
                  <a:cubicBezTo>
                    <a:pt x="9" y="155"/>
                    <a:pt x="11" y="154"/>
                    <a:pt x="12" y="154"/>
                  </a:cubicBezTo>
                  <a:cubicBezTo>
                    <a:pt x="14" y="153"/>
                    <a:pt x="19" y="150"/>
                    <a:pt x="21" y="150"/>
                  </a:cubicBezTo>
                  <a:cubicBezTo>
                    <a:pt x="21" y="151"/>
                    <a:pt x="23" y="152"/>
                    <a:pt x="25" y="153"/>
                  </a:cubicBezTo>
                  <a:cubicBezTo>
                    <a:pt x="26" y="153"/>
                    <a:pt x="29" y="153"/>
                    <a:pt x="30" y="154"/>
                  </a:cubicBezTo>
                  <a:cubicBezTo>
                    <a:pt x="32" y="156"/>
                    <a:pt x="28" y="161"/>
                    <a:pt x="29" y="163"/>
                  </a:cubicBezTo>
                  <a:cubicBezTo>
                    <a:pt x="32" y="165"/>
                    <a:pt x="39" y="157"/>
                    <a:pt x="38" y="166"/>
                  </a:cubicBezTo>
                  <a:cubicBezTo>
                    <a:pt x="37" y="169"/>
                    <a:pt x="37" y="167"/>
                    <a:pt x="34" y="168"/>
                  </a:cubicBezTo>
                  <a:cubicBezTo>
                    <a:pt x="33" y="169"/>
                    <a:pt x="32" y="169"/>
                    <a:pt x="32" y="170"/>
                  </a:cubicBezTo>
                  <a:cubicBezTo>
                    <a:pt x="31" y="171"/>
                    <a:pt x="30" y="171"/>
                    <a:pt x="29" y="171"/>
                  </a:cubicBezTo>
                  <a:cubicBezTo>
                    <a:pt x="27" y="172"/>
                    <a:pt x="27" y="170"/>
                    <a:pt x="26" y="173"/>
                  </a:cubicBezTo>
                  <a:cubicBezTo>
                    <a:pt x="26" y="175"/>
                    <a:pt x="26" y="180"/>
                    <a:pt x="27" y="182"/>
                  </a:cubicBezTo>
                  <a:cubicBezTo>
                    <a:pt x="27" y="187"/>
                    <a:pt x="29" y="194"/>
                    <a:pt x="26" y="198"/>
                  </a:cubicBezTo>
                  <a:cubicBezTo>
                    <a:pt x="25" y="201"/>
                    <a:pt x="25" y="201"/>
                    <a:pt x="24" y="204"/>
                  </a:cubicBezTo>
                  <a:cubicBezTo>
                    <a:pt x="24" y="205"/>
                    <a:pt x="25" y="207"/>
                    <a:pt x="24" y="208"/>
                  </a:cubicBezTo>
                  <a:cubicBezTo>
                    <a:pt x="26" y="209"/>
                    <a:pt x="29" y="209"/>
                    <a:pt x="31" y="209"/>
                  </a:cubicBezTo>
                  <a:cubicBezTo>
                    <a:pt x="34" y="210"/>
                    <a:pt x="35" y="211"/>
                    <a:pt x="38" y="211"/>
                  </a:cubicBezTo>
                  <a:cubicBezTo>
                    <a:pt x="41" y="211"/>
                    <a:pt x="46" y="212"/>
                    <a:pt x="48" y="211"/>
                  </a:cubicBezTo>
                  <a:cubicBezTo>
                    <a:pt x="51" y="210"/>
                    <a:pt x="51" y="209"/>
                    <a:pt x="53" y="208"/>
                  </a:cubicBezTo>
                  <a:cubicBezTo>
                    <a:pt x="55" y="208"/>
                    <a:pt x="58" y="208"/>
                    <a:pt x="60" y="208"/>
                  </a:cubicBezTo>
                  <a:cubicBezTo>
                    <a:pt x="64" y="208"/>
                    <a:pt x="68" y="208"/>
                    <a:pt x="73" y="208"/>
                  </a:cubicBezTo>
                  <a:cubicBezTo>
                    <a:pt x="74" y="213"/>
                    <a:pt x="61" y="217"/>
                    <a:pt x="58" y="220"/>
                  </a:cubicBezTo>
                  <a:cubicBezTo>
                    <a:pt x="55" y="222"/>
                    <a:pt x="52" y="226"/>
                    <a:pt x="54" y="229"/>
                  </a:cubicBezTo>
                  <a:cubicBezTo>
                    <a:pt x="55" y="232"/>
                    <a:pt x="60" y="233"/>
                    <a:pt x="61" y="235"/>
                  </a:cubicBezTo>
                  <a:cubicBezTo>
                    <a:pt x="62" y="237"/>
                    <a:pt x="63" y="239"/>
                    <a:pt x="63" y="241"/>
                  </a:cubicBezTo>
                  <a:cubicBezTo>
                    <a:pt x="65" y="244"/>
                    <a:pt x="63" y="248"/>
                    <a:pt x="64" y="252"/>
                  </a:cubicBezTo>
                  <a:cubicBezTo>
                    <a:pt x="65" y="253"/>
                    <a:pt x="66" y="256"/>
                    <a:pt x="66" y="256"/>
                  </a:cubicBezTo>
                  <a:cubicBezTo>
                    <a:pt x="68" y="257"/>
                    <a:pt x="69" y="256"/>
                    <a:pt x="70" y="257"/>
                  </a:cubicBezTo>
                  <a:cubicBezTo>
                    <a:pt x="71" y="258"/>
                    <a:pt x="72" y="259"/>
                    <a:pt x="72" y="261"/>
                  </a:cubicBezTo>
                  <a:cubicBezTo>
                    <a:pt x="72" y="265"/>
                    <a:pt x="70" y="264"/>
                    <a:pt x="67" y="265"/>
                  </a:cubicBezTo>
                  <a:cubicBezTo>
                    <a:pt x="66" y="266"/>
                    <a:pt x="65" y="268"/>
                    <a:pt x="64" y="269"/>
                  </a:cubicBezTo>
                  <a:cubicBezTo>
                    <a:pt x="62" y="270"/>
                    <a:pt x="60" y="270"/>
                    <a:pt x="59" y="273"/>
                  </a:cubicBezTo>
                  <a:cubicBezTo>
                    <a:pt x="58" y="277"/>
                    <a:pt x="64" y="286"/>
                    <a:pt x="66" y="288"/>
                  </a:cubicBezTo>
                  <a:cubicBezTo>
                    <a:pt x="68" y="290"/>
                    <a:pt x="69" y="290"/>
                    <a:pt x="70" y="291"/>
                  </a:cubicBezTo>
                  <a:cubicBezTo>
                    <a:pt x="70" y="292"/>
                    <a:pt x="72" y="296"/>
                    <a:pt x="72" y="297"/>
                  </a:cubicBezTo>
                  <a:cubicBezTo>
                    <a:pt x="72" y="303"/>
                    <a:pt x="60" y="299"/>
                    <a:pt x="57" y="299"/>
                  </a:cubicBezTo>
                  <a:cubicBezTo>
                    <a:pt x="52" y="299"/>
                    <a:pt x="50" y="298"/>
                    <a:pt x="49" y="293"/>
                  </a:cubicBezTo>
                  <a:cubicBezTo>
                    <a:pt x="48" y="291"/>
                    <a:pt x="49" y="289"/>
                    <a:pt x="49" y="287"/>
                  </a:cubicBezTo>
                  <a:cubicBezTo>
                    <a:pt x="48" y="285"/>
                    <a:pt x="47" y="284"/>
                    <a:pt x="46" y="283"/>
                  </a:cubicBezTo>
                  <a:cubicBezTo>
                    <a:pt x="45" y="280"/>
                    <a:pt x="46" y="275"/>
                    <a:pt x="41" y="277"/>
                  </a:cubicBezTo>
                  <a:cubicBezTo>
                    <a:pt x="35" y="280"/>
                    <a:pt x="37" y="289"/>
                    <a:pt x="39" y="293"/>
                  </a:cubicBezTo>
                  <a:cubicBezTo>
                    <a:pt x="40" y="295"/>
                    <a:pt x="41" y="297"/>
                    <a:pt x="40" y="299"/>
                  </a:cubicBezTo>
                  <a:cubicBezTo>
                    <a:pt x="40" y="302"/>
                    <a:pt x="36" y="301"/>
                    <a:pt x="35" y="302"/>
                  </a:cubicBezTo>
                  <a:cubicBezTo>
                    <a:pt x="34" y="305"/>
                    <a:pt x="37" y="310"/>
                    <a:pt x="40" y="310"/>
                  </a:cubicBezTo>
                  <a:cubicBezTo>
                    <a:pt x="40" y="314"/>
                    <a:pt x="48" y="315"/>
                    <a:pt x="51" y="315"/>
                  </a:cubicBezTo>
                  <a:cubicBezTo>
                    <a:pt x="54" y="315"/>
                    <a:pt x="56" y="315"/>
                    <a:pt x="58" y="316"/>
                  </a:cubicBezTo>
                  <a:cubicBezTo>
                    <a:pt x="60" y="317"/>
                    <a:pt x="60" y="320"/>
                    <a:pt x="62" y="320"/>
                  </a:cubicBezTo>
                  <a:cubicBezTo>
                    <a:pt x="67" y="322"/>
                    <a:pt x="71" y="321"/>
                    <a:pt x="75" y="326"/>
                  </a:cubicBezTo>
                  <a:cubicBezTo>
                    <a:pt x="78" y="329"/>
                    <a:pt x="81" y="332"/>
                    <a:pt x="82" y="336"/>
                  </a:cubicBezTo>
                  <a:cubicBezTo>
                    <a:pt x="85" y="336"/>
                    <a:pt x="85" y="337"/>
                    <a:pt x="86" y="340"/>
                  </a:cubicBezTo>
                  <a:cubicBezTo>
                    <a:pt x="87" y="343"/>
                    <a:pt x="90" y="347"/>
                    <a:pt x="89" y="350"/>
                  </a:cubicBezTo>
                  <a:cubicBezTo>
                    <a:pt x="86" y="357"/>
                    <a:pt x="73" y="350"/>
                    <a:pt x="70" y="348"/>
                  </a:cubicBezTo>
                  <a:cubicBezTo>
                    <a:pt x="67" y="346"/>
                    <a:pt x="68" y="344"/>
                    <a:pt x="63" y="344"/>
                  </a:cubicBezTo>
                  <a:cubicBezTo>
                    <a:pt x="62" y="344"/>
                    <a:pt x="59" y="344"/>
                    <a:pt x="57" y="344"/>
                  </a:cubicBezTo>
                  <a:cubicBezTo>
                    <a:pt x="57" y="345"/>
                    <a:pt x="56" y="346"/>
                    <a:pt x="55" y="347"/>
                  </a:cubicBezTo>
                  <a:cubicBezTo>
                    <a:pt x="55" y="347"/>
                    <a:pt x="53" y="348"/>
                    <a:pt x="52" y="348"/>
                  </a:cubicBezTo>
                  <a:cubicBezTo>
                    <a:pt x="51" y="349"/>
                    <a:pt x="47" y="351"/>
                    <a:pt x="48" y="353"/>
                  </a:cubicBezTo>
                  <a:cubicBezTo>
                    <a:pt x="50" y="356"/>
                    <a:pt x="52" y="354"/>
                    <a:pt x="54" y="355"/>
                  </a:cubicBezTo>
                  <a:cubicBezTo>
                    <a:pt x="56" y="355"/>
                    <a:pt x="57" y="358"/>
                    <a:pt x="59" y="359"/>
                  </a:cubicBezTo>
                  <a:cubicBezTo>
                    <a:pt x="61" y="360"/>
                    <a:pt x="62" y="361"/>
                    <a:pt x="65" y="361"/>
                  </a:cubicBezTo>
                  <a:cubicBezTo>
                    <a:pt x="68" y="362"/>
                    <a:pt x="69" y="362"/>
                    <a:pt x="71" y="364"/>
                  </a:cubicBezTo>
                  <a:cubicBezTo>
                    <a:pt x="73" y="365"/>
                    <a:pt x="74" y="366"/>
                    <a:pt x="75" y="367"/>
                  </a:cubicBezTo>
                  <a:cubicBezTo>
                    <a:pt x="77" y="368"/>
                    <a:pt x="78" y="370"/>
                    <a:pt x="79" y="371"/>
                  </a:cubicBezTo>
                  <a:cubicBezTo>
                    <a:pt x="80" y="371"/>
                    <a:pt x="81" y="371"/>
                    <a:pt x="82" y="371"/>
                  </a:cubicBezTo>
                  <a:cubicBezTo>
                    <a:pt x="83" y="371"/>
                    <a:pt x="84" y="374"/>
                    <a:pt x="84" y="375"/>
                  </a:cubicBezTo>
                  <a:cubicBezTo>
                    <a:pt x="86" y="380"/>
                    <a:pt x="82" y="386"/>
                    <a:pt x="89" y="387"/>
                  </a:cubicBezTo>
                  <a:cubicBezTo>
                    <a:pt x="94" y="388"/>
                    <a:pt x="96" y="382"/>
                    <a:pt x="101" y="384"/>
                  </a:cubicBezTo>
                  <a:cubicBezTo>
                    <a:pt x="104" y="385"/>
                    <a:pt x="108" y="392"/>
                    <a:pt x="108" y="396"/>
                  </a:cubicBezTo>
                  <a:cubicBezTo>
                    <a:pt x="107" y="400"/>
                    <a:pt x="102" y="405"/>
                    <a:pt x="98" y="402"/>
                  </a:cubicBezTo>
                  <a:cubicBezTo>
                    <a:pt x="98" y="402"/>
                    <a:pt x="98" y="401"/>
                    <a:pt x="98" y="400"/>
                  </a:cubicBezTo>
                  <a:cubicBezTo>
                    <a:pt x="97" y="399"/>
                    <a:pt x="95" y="401"/>
                    <a:pt x="94" y="400"/>
                  </a:cubicBezTo>
                  <a:cubicBezTo>
                    <a:pt x="93" y="400"/>
                    <a:pt x="93" y="399"/>
                    <a:pt x="93" y="398"/>
                  </a:cubicBezTo>
                  <a:cubicBezTo>
                    <a:pt x="91" y="397"/>
                    <a:pt x="90" y="397"/>
                    <a:pt x="88" y="398"/>
                  </a:cubicBezTo>
                  <a:cubicBezTo>
                    <a:pt x="85" y="399"/>
                    <a:pt x="86" y="401"/>
                    <a:pt x="85" y="403"/>
                  </a:cubicBezTo>
                  <a:cubicBezTo>
                    <a:pt x="84" y="406"/>
                    <a:pt x="82" y="404"/>
                    <a:pt x="85" y="407"/>
                  </a:cubicBezTo>
                  <a:cubicBezTo>
                    <a:pt x="88" y="410"/>
                    <a:pt x="92" y="412"/>
                    <a:pt x="96" y="412"/>
                  </a:cubicBezTo>
                  <a:cubicBezTo>
                    <a:pt x="105" y="412"/>
                    <a:pt x="114" y="411"/>
                    <a:pt x="123" y="412"/>
                  </a:cubicBezTo>
                  <a:cubicBezTo>
                    <a:pt x="125" y="412"/>
                    <a:pt x="128" y="412"/>
                    <a:pt x="130" y="413"/>
                  </a:cubicBezTo>
                  <a:cubicBezTo>
                    <a:pt x="133" y="413"/>
                    <a:pt x="137" y="412"/>
                    <a:pt x="140" y="413"/>
                  </a:cubicBezTo>
                  <a:cubicBezTo>
                    <a:pt x="142" y="414"/>
                    <a:pt x="144" y="416"/>
                    <a:pt x="146" y="416"/>
                  </a:cubicBezTo>
                  <a:cubicBezTo>
                    <a:pt x="147" y="417"/>
                    <a:pt x="149" y="416"/>
                    <a:pt x="150" y="416"/>
                  </a:cubicBezTo>
                  <a:cubicBezTo>
                    <a:pt x="149" y="422"/>
                    <a:pt x="139" y="415"/>
                    <a:pt x="139" y="423"/>
                  </a:cubicBezTo>
                  <a:cubicBezTo>
                    <a:pt x="138" y="423"/>
                    <a:pt x="138" y="424"/>
                    <a:pt x="137" y="424"/>
                  </a:cubicBezTo>
                  <a:cubicBezTo>
                    <a:pt x="135" y="425"/>
                    <a:pt x="134" y="425"/>
                    <a:pt x="132" y="425"/>
                  </a:cubicBezTo>
                  <a:cubicBezTo>
                    <a:pt x="129" y="426"/>
                    <a:pt x="126" y="425"/>
                    <a:pt x="124" y="425"/>
                  </a:cubicBezTo>
                  <a:cubicBezTo>
                    <a:pt x="121" y="426"/>
                    <a:pt x="121" y="428"/>
                    <a:pt x="118" y="429"/>
                  </a:cubicBezTo>
                  <a:cubicBezTo>
                    <a:pt x="112" y="432"/>
                    <a:pt x="106" y="425"/>
                    <a:pt x="101" y="427"/>
                  </a:cubicBezTo>
                  <a:cubicBezTo>
                    <a:pt x="98" y="428"/>
                    <a:pt x="96" y="431"/>
                    <a:pt x="96" y="433"/>
                  </a:cubicBezTo>
                  <a:cubicBezTo>
                    <a:pt x="97" y="439"/>
                    <a:pt x="102" y="438"/>
                    <a:pt x="106" y="438"/>
                  </a:cubicBezTo>
                  <a:cubicBezTo>
                    <a:pt x="113" y="438"/>
                    <a:pt x="119" y="440"/>
                    <a:pt x="125" y="439"/>
                  </a:cubicBezTo>
                  <a:cubicBezTo>
                    <a:pt x="127" y="438"/>
                    <a:pt x="134" y="436"/>
                    <a:pt x="134" y="440"/>
                  </a:cubicBezTo>
                  <a:cubicBezTo>
                    <a:pt x="133" y="442"/>
                    <a:pt x="130" y="442"/>
                    <a:pt x="128" y="444"/>
                  </a:cubicBezTo>
                  <a:cubicBezTo>
                    <a:pt x="130" y="448"/>
                    <a:pt x="143" y="452"/>
                    <a:pt x="147" y="448"/>
                  </a:cubicBezTo>
                  <a:cubicBezTo>
                    <a:pt x="150" y="444"/>
                    <a:pt x="144" y="435"/>
                    <a:pt x="149" y="433"/>
                  </a:cubicBezTo>
                  <a:cubicBezTo>
                    <a:pt x="150" y="432"/>
                    <a:pt x="156" y="433"/>
                    <a:pt x="157" y="434"/>
                  </a:cubicBezTo>
                  <a:cubicBezTo>
                    <a:pt x="159" y="434"/>
                    <a:pt x="160" y="436"/>
                    <a:pt x="162" y="436"/>
                  </a:cubicBezTo>
                  <a:cubicBezTo>
                    <a:pt x="164" y="436"/>
                    <a:pt x="165" y="435"/>
                    <a:pt x="166" y="436"/>
                  </a:cubicBezTo>
                  <a:cubicBezTo>
                    <a:pt x="170" y="438"/>
                    <a:pt x="169" y="443"/>
                    <a:pt x="174" y="443"/>
                  </a:cubicBezTo>
                  <a:cubicBezTo>
                    <a:pt x="176" y="443"/>
                    <a:pt x="180" y="441"/>
                    <a:pt x="181" y="439"/>
                  </a:cubicBezTo>
                  <a:cubicBezTo>
                    <a:pt x="183" y="439"/>
                    <a:pt x="186" y="441"/>
                    <a:pt x="187" y="443"/>
                  </a:cubicBezTo>
                  <a:cubicBezTo>
                    <a:pt x="190" y="445"/>
                    <a:pt x="189" y="446"/>
                    <a:pt x="190" y="449"/>
                  </a:cubicBezTo>
                  <a:cubicBezTo>
                    <a:pt x="191" y="456"/>
                    <a:pt x="195" y="458"/>
                    <a:pt x="200" y="462"/>
                  </a:cubicBezTo>
                  <a:cubicBezTo>
                    <a:pt x="202" y="463"/>
                    <a:pt x="204" y="464"/>
                    <a:pt x="206" y="466"/>
                  </a:cubicBezTo>
                  <a:cubicBezTo>
                    <a:pt x="207" y="467"/>
                    <a:pt x="207" y="468"/>
                    <a:pt x="208" y="470"/>
                  </a:cubicBezTo>
                  <a:cubicBezTo>
                    <a:pt x="211" y="475"/>
                    <a:pt x="213" y="481"/>
                    <a:pt x="217" y="486"/>
                  </a:cubicBezTo>
                  <a:cubicBezTo>
                    <a:pt x="221" y="492"/>
                    <a:pt x="225" y="494"/>
                    <a:pt x="232" y="495"/>
                  </a:cubicBezTo>
                  <a:cubicBezTo>
                    <a:pt x="236" y="495"/>
                    <a:pt x="240" y="495"/>
                    <a:pt x="243" y="495"/>
                  </a:cubicBezTo>
                  <a:cubicBezTo>
                    <a:pt x="248" y="494"/>
                    <a:pt x="250" y="491"/>
                    <a:pt x="254" y="489"/>
                  </a:cubicBezTo>
                  <a:cubicBezTo>
                    <a:pt x="257" y="487"/>
                    <a:pt x="259" y="485"/>
                    <a:pt x="262" y="483"/>
                  </a:cubicBezTo>
                  <a:cubicBezTo>
                    <a:pt x="265" y="481"/>
                    <a:pt x="269" y="479"/>
                    <a:pt x="272" y="477"/>
                  </a:cubicBezTo>
                  <a:cubicBezTo>
                    <a:pt x="274" y="476"/>
                    <a:pt x="272" y="474"/>
                    <a:pt x="275" y="475"/>
                  </a:cubicBezTo>
                  <a:cubicBezTo>
                    <a:pt x="277" y="475"/>
                    <a:pt x="279" y="480"/>
                    <a:pt x="282" y="477"/>
                  </a:cubicBezTo>
                  <a:cubicBezTo>
                    <a:pt x="286" y="475"/>
                    <a:pt x="283" y="463"/>
                    <a:pt x="283" y="459"/>
                  </a:cubicBezTo>
                  <a:cubicBezTo>
                    <a:pt x="284" y="452"/>
                    <a:pt x="288" y="444"/>
                    <a:pt x="291" y="438"/>
                  </a:cubicBezTo>
                  <a:cubicBezTo>
                    <a:pt x="293" y="433"/>
                    <a:pt x="295" y="431"/>
                    <a:pt x="300" y="433"/>
                  </a:cubicBezTo>
                  <a:cubicBezTo>
                    <a:pt x="304" y="435"/>
                    <a:pt x="307" y="435"/>
                    <a:pt x="311" y="435"/>
                  </a:cubicBezTo>
                  <a:cubicBezTo>
                    <a:pt x="309" y="435"/>
                    <a:pt x="307" y="434"/>
                    <a:pt x="307" y="432"/>
                  </a:cubicBezTo>
                  <a:cubicBezTo>
                    <a:pt x="312" y="431"/>
                    <a:pt x="313" y="433"/>
                    <a:pt x="316" y="436"/>
                  </a:cubicBezTo>
                  <a:cubicBezTo>
                    <a:pt x="319" y="438"/>
                    <a:pt x="323" y="439"/>
                    <a:pt x="327" y="440"/>
                  </a:cubicBezTo>
                  <a:cubicBezTo>
                    <a:pt x="333" y="441"/>
                    <a:pt x="339" y="444"/>
                    <a:pt x="345" y="445"/>
                  </a:cubicBezTo>
                  <a:cubicBezTo>
                    <a:pt x="349" y="447"/>
                    <a:pt x="351" y="449"/>
                    <a:pt x="355" y="451"/>
                  </a:cubicBezTo>
                  <a:cubicBezTo>
                    <a:pt x="359" y="453"/>
                    <a:pt x="362" y="454"/>
                    <a:pt x="365" y="457"/>
                  </a:cubicBezTo>
                  <a:cubicBezTo>
                    <a:pt x="368" y="459"/>
                    <a:pt x="368" y="461"/>
                    <a:pt x="369" y="464"/>
                  </a:cubicBezTo>
                  <a:cubicBezTo>
                    <a:pt x="369" y="464"/>
                    <a:pt x="371" y="466"/>
                    <a:pt x="371" y="467"/>
                  </a:cubicBezTo>
                  <a:cubicBezTo>
                    <a:pt x="371" y="467"/>
                    <a:pt x="371" y="468"/>
                    <a:pt x="371" y="468"/>
                  </a:cubicBezTo>
                  <a:cubicBezTo>
                    <a:pt x="371" y="470"/>
                    <a:pt x="372" y="470"/>
                    <a:pt x="373" y="471"/>
                  </a:cubicBezTo>
                  <a:cubicBezTo>
                    <a:pt x="372" y="470"/>
                    <a:pt x="375" y="474"/>
                    <a:pt x="374" y="473"/>
                  </a:cubicBezTo>
                  <a:cubicBezTo>
                    <a:pt x="375" y="475"/>
                    <a:pt x="377" y="474"/>
                    <a:pt x="378" y="476"/>
                  </a:cubicBezTo>
                  <a:cubicBezTo>
                    <a:pt x="378" y="476"/>
                    <a:pt x="378" y="477"/>
                    <a:pt x="379" y="478"/>
                  </a:cubicBezTo>
                  <a:cubicBezTo>
                    <a:pt x="379" y="479"/>
                    <a:pt x="380" y="480"/>
                    <a:pt x="381" y="481"/>
                  </a:cubicBezTo>
                  <a:cubicBezTo>
                    <a:pt x="383" y="483"/>
                    <a:pt x="384" y="484"/>
                    <a:pt x="385" y="486"/>
                  </a:cubicBezTo>
                  <a:cubicBezTo>
                    <a:pt x="387" y="487"/>
                    <a:pt x="390" y="489"/>
                    <a:pt x="392" y="491"/>
                  </a:cubicBezTo>
                  <a:cubicBezTo>
                    <a:pt x="394" y="493"/>
                    <a:pt x="394" y="496"/>
                    <a:pt x="398" y="497"/>
                  </a:cubicBezTo>
                  <a:cubicBezTo>
                    <a:pt x="403" y="499"/>
                    <a:pt x="408" y="501"/>
                    <a:pt x="413" y="502"/>
                  </a:cubicBezTo>
                  <a:cubicBezTo>
                    <a:pt x="417" y="504"/>
                    <a:pt x="419" y="504"/>
                    <a:pt x="424" y="503"/>
                  </a:cubicBezTo>
                  <a:cubicBezTo>
                    <a:pt x="429" y="502"/>
                    <a:pt x="433" y="500"/>
                    <a:pt x="438" y="500"/>
                  </a:cubicBezTo>
                  <a:cubicBezTo>
                    <a:pt x="447" y="500"/>
                    <a:pt x="456" y="500"/>
                    <a:pt x="465" y="500"/>
                  </a:cubicBezTo>
                  <a:cubicBezTo>
                    <a:pt x="472" y="500"/>
                    <a:pt x="479" y="501"/>
                    <a:pt x="486" y="500"/>
                  </a:cubicBezTo>
                  <a:cubicBezTo>
                    <a:pt x="490" y="500"/>
                    <a:pt x="490" y="498"/>
                    <a:pt x="491" y="495"/>
                  </a:cubicBezTo>
                  <a:cubicBezTo>
                    <a:pt x="492" y="493"/>
                    <a:pt x="491" y="493"/>
                    <a:pt x="492" y="491"/>
                  </a:cubicBezTo>
                  <a:cubicBezTo>
                    <a:pt x="492" y="490"/>
                    <a:pt x="495" y="489"/>
                    <a:pt x="496" y="488"/>
                  </a:cubicBezTo>
                  <a:cubicBezTo>
                    <a:pt x="498" y="485"/>
                    <a:pt x="500" y="483"/>
                    <a:pt x="501" y="480"/>
                  </a:cubicBezTo>
                  <a:cubicBezTo>
                    <a:pt x="503" y="478"/>
                    <a:pt x="502" y="479"/>
                    <a:pt x="504" y="477"/>
                  </a:cubicBezTo>
                  <a:cubicBezTo>
                    <a:pt x="505" y="476"/>
                    <a:pt x="507" y="474"/>
                    <a:pt x="508" y="473"/>
                  </a:cubicBezTo>
                  <a:cubicBezTo>
                    <a:pt x="512" y="470"/>
                    <a:pt x="519" y="473"/>
                    <a:pt x="520" y="465"/>
                  </a:cubicBezTo>
                  <a:cubicBezTo>
                    <a:pt x="520" y="463"/>
                    <a:pt x="519" y="459"/>
                    <a:pt x="521" y="457"/>
                  </a:cubicBezTo>
                  <a:cubicBezTo>
                    <a:pt x="522" y="455"/>
                    <a:pt x="523" y="455"/>
                    <a:pt x="525" y="454"/>
                  </a:cubicBezTo>
                  <a:cubicBezTo>
                    <a:pt x="527" y="453"/>
                    <a:pt x="526" y="452"/>
                    <a:pt x="528" y="451"/>
                  </a:cubicBezTo>
                  <a:cubicBezTo>
                    <a:pt x="531" y="450"/>
                    <a:pt x="535" y="452"/>
                    <a:pt x="537" y="454"/>
                  </a:cubicBezTo>
                  <a:cubicBezTo>
                    <a:pt x="539" y="455"/>
                    <a:pt x="540" y="456"/>
                    <a:pt x="542" y="456"/>
                  </a:cubicBezTo>
                  <a:cubicBezTo>
                    <a:pt x="544" y="457"/>
                    <a:pt x="546" y="456"/>
                    <a:pt x="547" y="456"/>
                  </a:cubicBezTo>
                  <a:cubicBezTo>
                    <a:pt x="550" y="457"/>
                    <a:pt x="551" y="459"/>
                    <a:pt x="554" y="461"/>
                  </a:cubicBezTo>
                  <a:cubicBezTo>
                    <a:pt x="558" y="464"/>
                    <a:pt x="561" y="464"/>
                    <a:pt x="565" y="466"/>
                  </a:cubicBezTo>
                  <a:cubicBezTo>
                    <a:pt x="565" y="466"/>
                    <a:pt x="568" y="467"/>
                    <a:pt x="568" y="467"/>
                  </a:cubicBezTo>
                  <a:cubicBezTo>
                    <a:pt x="570" y="468"/>
                    <a:pt x="571" y="468"/>
                    <a:pt x="573" y="469"/>
                  </a:cubicBezTo>
                  <a:cubicBezTo>
                    <a:pt x="574" y="469"/>
                    <a:pt x="575" y="470"/>
                    <a:pt x="576" y="470"/>
                  </a:cubicBezTo>
                  <a:cubicBezTo>
                    <a:pt x="579" y="471"/>
                    <a:pt x="582" y="470"/>
                    <a:pt x="585" y="470"/>
                  </a:cubicBezTo>
                  <a:cubicBezTo>
                    <a:pt x="588" y="470"/>
                    <a:pt x="589" y="470"/>
                    <a:pt x="591" y="468"/>
                  </a:cubicBezTo>
                  <a:cubicBezTo>
                    <a:pt x="592" y="467"/>
                    <a:pt x="591" y="465"/>
                    <a:pt x="592" y="464"/>
                  </a:cubicBezTo>
                  <a:cubicBezTo>
                    <a:pt x="593" y="462"/>
                    <a:pt x="594" y="463"/>
                    <a:pt x="595" y="462"/>
                  </a:cubicBezTo>
                  <a:cubicBezTo>
                    <a:pt x="598" y="462"/>
                    <a:pt x="600" y="461"/>
                    <a:pt x="602" y="459"/>
                  </a:cubicBezTo>
                  <a:cubicBezTo>
                    <a:pt x="605" y="458"/>
                    <a:pt x="607" y="457"/>
                    <a:pt x="610" y="456"/>
                  </a:cubicBezTo>
                  <a:cubicBezTo>
                    <a:pt x="614" y="455"/>
                    <a:pt x="621" y="451"/>
                    <a:pt x="624" y="457"/>
                  </a:cubicBezTo>
                  <a:cubicBezTo>
                    <a:pt x="625" y="460"/>
                    <a:pt x="623" y="462"/>
                    <a:pt x="621" y="464"/>
                  </a:cubicBezTo>
                  <a:cubicBezTo>
                    <a:pt x="619" y="467"/>
                    <a:pt x="619" y="470"/>
                    <a:pt x="616" y="472"/>
                  </a:cubicBezTo>
                  <a:cubicBezTo>
                    <a:pt x="612" y="474"/>
                    <a:pt x="608" y="475"/>
                    <a:pt x="605" y="477"/>
                  </a:cubicBezTo>
                  <a:cubicBezTo>
                    <a:pt x="601" y="479"/>
                    <a:pt x="601" y="480"/>
                    <a:pt x="601" y="484"/>
                  </a:cubicBezTo>
                  <a:cubicBezTo>
                    <a:pt x="601" y="491"/>
                    <a:pt x="605" y="495"/>
                    <a:pt x="608" y="500"/>
                  </a:cubicBezTo>
                  <a:cubicBezTo>
                    <a:pt x="609" y="503"/>
                    <a:pt x="611" y="507"/>
                    <a:pt x="613" y="510"/>
                  </a:cubicBezTo>
                  <a:cubicBezTo>
                    <a:pt x="614" y="512"/>
                    <a:pt x="614" y="515"/>
                    <a:pt x="617" y="517"/>
                  </a:cubicBezTo>
                  <a:cubicBezTo>
                    <a:pt x="619" y="518"/>
                    <a:pt x="624" y="518"/>
                    <a:pt x="627" y="518"/>
                  </a:cubicBezTo>
                  <a:cubicBezTo>
                    <a:pt x="631" y="518"/>
                    <a:pt x="632" y="514"/>
                    <a:pt x="634" y="511"/>
                  </a:cubicBezTo>
                  <a:cubicBezTo>
                    <a:pt x="636" y="508"/>
                    <a:pt x="637" y="504"/>
                    <a:pt x="640" y="503"/>
                  </a:cubicBezTo>
                  <a:cubicBezTo>
                    <a:pt x="643" y="502"/>
                    <a:pt x="646" y="503"/>
                    <a:pt x="648" y="503"/>
                  </a:cubicBezTo>
                  <a:cubicBezTo>
                    <a:pt x="650" y="502"/>
                    <a:pt x="654" y="502"/>
                    <a:pt x="655" y="500"/>
                  </a:cubicBezTo>
                  <a:cubicBezTo>
                    <a:pt x="657" y="497"/>
                    <a:pt x="652" y="493"/>
                    <a:pt x="651" y="490"/>
                  </a:cubicBezTo>
                  <a:cubicBezTo>
                    <a:pt x="650" y="488"/>
                    <a:pt x="650" y="483"/>
                    <a:pt x="651" y="481"/>
                  </a:cubicBezTo>
                  <a:cubicBezTo>
                    <a:pt x="651" y="477"/>
                    <a:pt x="654" y="475"/>
                    <a:pt x="655" y="472"/>
                  </a:cubicBezTo>
                  <a:cubicBezTo>
                    <a:pt x="657" y="469"/>
                    <a:pt x="657" y="466"/>
                    <a:pt x="661" y="464"/>
                  </a:cubicBezTo>
                  <a:cubicBezTo>
                    <a:pt x="663" y="463"/>
                    <a:pt x="666" y="462"/>
                    <a:pt x="669" y="462"/>
                  </a:cubicBezTo>
                  <a:cubicBezTo>
                    <a:pt x="672" y="462"/>
                    <a:pt x="675" y="462"/>
                    <a:pt x="678" y="462"/>
                  </a:cubicBezTo>
                  <a:cubicBezTo>
                    <a:pt x="679" y="463"/>
                    <a:pt x="680" y="464"/>
                    <a:pt x="682" y="464"/>
                  </a:cubicBezTo>
                  <a:cubicBezTo>
                    <a:pt x="683" y="465"/>
                    <a:pt x="685" y="464"/>
                    <a:pt x="686" y="464"/>
                  </a:cubicBezTo>
                  <a:cubicBezTo>
                    <a:pt x="689" y="465"/>
                    <a:pt x="691" y="465"/>
                    <a:pt x="694" y="466"/>
                  </a:cubicBezTo>
                  <a:cubicBezTo>
                    <a:pt x="696" y="466"/>
                    <a:pt x="698" y="467"/>
                    <a:pt x="701" y="467"/>
                  </a:cubicBezTo>
                  <a:cubicBezTo>
                    <a:pt x="703" y="467"/>
                    <a:pt x="706" y="467"/>
                    <a:pt x="708" y="467"/>
                  </a:cubicBezTo>
                  <a:cubicBezTo>
                    <a:pt x="714" y="467"/>
                    <a:pt x="719" y="465"/>
                    <a:pt x="724" y="464"/>
                  </a:cubicBezTo>
                  <a:cubicBezTo>
                    <a:pt x="730" y="464"/>
                    <a:pt x="735" y="460"/>
                    <a:pt x="741" y="459"/>
                  </a:cubicBezTo>
                  <a:cubicBezTo>
                    <a:pt x="744" y="457"/>
                    <a:pt x="749" y="457"/>
                    <a:pt x="752" y="456"/>
                  </a:cubicBezTo>
                  <a:cubicBezTo>
                    <a:pt x="756" y="455"/>
                    <a:pt x="759" y="453"/>
                    <a:pt x="764" y="454"/>
                  </a:cubicBezTo>
                  <a:cubicBezTo>
                    <a:pt x="767" y="454"/>
                    <a:pt x="771" y="457"/>
                    <a:pt x="774" y="459"/>
                  </a:cubicBezTo>
                  <a:cubicBezTo>
                    <a:pt x="780" y="462"/>
                    <a:pt x="786" y="466"/>
                    <a:pt x="793" y="467"/>
                  </a:cubicBezTo>
                  <a:cubicBezTo>
                    <a:pt x="799" y="468"/>
                    <a:pt x="806" y="468"/>
                    <a:pt x="813" y="468"/>
                  </a:cubicBezTo>
                  <a:cubicBezTo>
                    <a:pt x="824" y="468"/>
                    <a:pt x="834" y="467"/>
                    <a:pt x="845" y="467"/>
                  </a:cubicBezTo>
                  <a:cubicBezTo>
                    <a:pt x="850" y="467"/>
                    <a:pt x="852" y="466"/>
                    <a:pt x="857" y="465"/>
                  </a:cubicBezTo>
                  <a:cubicBezTo>
                    <a:pt x="859" y="464"/>
                    <a:pt x="861" y="463"/>
                    <a:pt x="863" y="462"/>
                  </a:cubicBezTo>
                  <a:cubicBezTo>
                    <a:pt x="865" y="462"/>
                    <a:pt x="866" y="462"/>
                    <a:pt x="868" y="462"/>
                  </a:cubicBezTo>
                  <a:cubicBezTo>
                    <a:pt x="869" y="462"/>
                    <a:pt x="871" y="461"/>
                    <a:pt x="872" y="460"/>
                  </a:cubicBezTo>
                  <a:cubicBezTo>
                    <a:pt x="873" y="459"/>
                    <a:pt x="874" y="459"/>
                    <a:pt x="875" y="459"/>
                  </a:cubicBezTo>
                  <a:cubicBezTo>
                    <a:pt x="878" y="458"/>
                    <a:pt x="880" y="456"/>
                    <a:pt x="882" y="455"/>
                  </a:cubicBezTo>
                  <a:cubicBezTo>
                    <a:pt x="886" y="452"/>
                    <a:pt x="888" y="449"/>
                    <a:pt x="893" y="449"/>
                  </a:cubicBezTo>
                  <a:cubicBezTo>
                    <a:pt x="901" y="449"/>
                    <a:pt x="909" y="449"/>
                    <a:pt x="917" y="448"/>
                  </a:cubicBezTo>
                  <a:cubicBezTo>
                    <a:pt x="925" y="448"/>
                    <a:pt x="937" y="447"/>
                    <a:pt x="945" y="448"/>
                  </a:cubicBezTo>
                  <a:cubicBezTo>
                    <a:pt x="947" y="449"/>
                    <a:pt x="948" y="450"/>
                    <a:pt x="950" y="451"/>
                  </a:cubicBezTo>
                  <a:cubicBezTo>
                    <a:pt x="952" y="452"/>
                    <a:pt x="954" y="451"/>
                    <a:pt x="957" y="451"/>
                  </a:cubicBezTo>
                  <a:cubicBezTo>
                    <a:pt x="959" y="451"/>
                    <a:pt x="961" y="451"/>
                    <a:pt x="962" y="451"/>
                  </a:cubicBezTo>
                  <a:cubicBezTo>
                    <a:pt x="963" y="449"/>
                    <a:pt x="964" y="449"/>
                    <a:pt x="965" y="449"/>
                  </a:cubicBezTo>
                  <a:cubicBezTo>
                    <a:pt x="964" y="450"/>
                    <a:pt x="963" y="450"/>
                    <a:pt x="962" y="451"/>
                  </a:cubicBezTo>
                  <a:cubicBezTo>
                    <a:pt x="962" y="452"/>
                    <a:pt x="962" y="455"/>
                    <a:pt x="963" y="456"/>
                  </a:cubicBezTo>
                  <a:cubicBezTo>
                    <a:pt x="970" y="455"/>
                    <a:pt x="976" y="450"/>
                    <a:pt x="983" y="447"/>
                  </a:cubicBezTo>
                  <a:cubicBezTo>
                    <a:pt x="985" y="446"/>
                    <a:pt x="988" y="445"/>
                    <a:pt x="990" y="444"/>
                  </a:cubicBezTo>
                  <a:cubicBezTo>
                    <a:pt x="992" y="443"/>
                    <a:pt x="994" y="441"/>
                    <a:pt x="996" y="441"/>
                  </a:cubicBezTo>
                  <a:cubicBezTo>
                    <a:pt x="1001" y="440"/>
                    <a:pt x="999" y="442"/>
                    <a:pt x="1001" y="445"/>
                  </a:cubicBezTo>
                  <a:cubicBezTo>
                    <a:pt x="1003" y="448"/>
                    <a:pt x="1008" y="448"/>
                    <a:pt x="1011" y="449"/>
                  </a:cubicBezTo>
                  <a:cubicBezTo>
                    <a:pt x="1013" y="449"/>
                    <a:pt x="1016" y="450"/>
                    <a:pt x="1018" y="449"/>
                  </a:cubicBezTo>
                  <a:cubicBezTo>
                    <a:pt x="1021" y="448"/>
                    <a:pt x="1026" y="444"/>
                    <a:pt x="1026" y="441"/>
                  </a:cubicBezTo>
                  <a:cubicBezTo>
                    <a:pt x="1029" y="441"/>
                    <a:pt x="1032" y="439"/>
                    <a:pt x="1035" y="437"/>
                  </a:cubicBezTo>
                  <a:cubicBezTo>
                    <a:pt x="1038" y="436"/>
                    <a:pt x="1039" y="435"/>
                    <a:pt x="1043" y="435"/>
                  </a:cubicBezTo>
                  <a:cubicBezTo>
                    <a:pt x="1050" y="435"/>
                    <a:pt x="1057" y="435"/>
                    <a:pt x="1064" y="435"/>
                  </a:cubicBezTo>
                  <a:cubicBezTo>
                    <a:pt x="1068" y="435"/>
                    <a:pt x="1074" y="435"/>
                    <a:pt x="1079" y="436"/>
                  </a:cubicBezTo>
                  <a:cubicBezTo>
                    <a:pt x="1081" y="436"/>
                    <a:pt x="1082" y="438"/>
                    <a:pt x="1084" y="439"/>
                  </a:cubicBezTo>
                  <a:cubicBezTo>
                    <a:pt x="1087" y="441"/>
                    <a:pt x="1089" y="441"/>
                    <a:pt x="1092" y="441"/>
                  </a:cubicBezTo>
                  <a:cubicBezTo>
                    <a:pt x="1098" y="440"/>
                    <a:pt x="1103" y="441"/>
                    <a:pt x="1109" y="441"/>
                  </a:cubicBezTo>
                  <a:cubicBezTo>
                    <a:pt x="1113" y="441"/>
                    <a:pt x="1118" y="440"/>
                    <a:pt x="1122" y="441"/>
                  </a:cubicBezTo>
                  <a:cubicBezTo>
                    <a:pt x="1128" y="442"/>
                    <a:pt x="1130" y="447"/>
                    <a:pt x="1132" y="452"/>
                  </a:cubicBezTo>
                  <a:cubicBezTo>
                    <a:pt x="1135" y="457"/>
                    <a:pt x="1137" y="469"/>
                    <a:pt x="1144" y="468"/>
                  </a:cubicBezTo>
                  <a:cubicBezTo>
                    <a:pt x="1149" y="467"/>
                    <a:pt x="1151" y="462"/>
                    <a:pt x="1154" y="459"/>
                  </a:cubicBezTo>
                  <a:cubicBezTo>
                    <a:pt x="1157" y="457"/>
                    <a:pt x="1159" y="455"/>
                    <a:pt x="1162" y="453"/>
                  </a:cubicBezTo>
                  <a:cubicBezTo>
                    <a:pt x="1167" y="451"/>
                    <a:pt x="1171" y="453"/>
                    <a:pt x="1170" y="44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9" name="Freeform 60">
              <a:extLst>
                <a:ext uri="{FF2B5EF4-FFF2-40B4-BE49-F238E27FC236}">
                  <a16:creationId xmlns:a16="http://schemas.microsoft.com/office/drawing/2014/main" id="{D8AF035B-DF2E-45AE-966F-B73BDED0F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623888"/>
              <a:ext cx="1301750" cy="3043238"/>
            </a:xfrm>
            <a:custGeom>
              <a:avLst/>
              <a:gdLst/>
              <a:ahLst/>
              <a:cxnLst>
                <a:cxn ang="0">
                  <a:pos x="16" y="1348"/>
                </a:cxn>
                <a:cxn ang="0">
                  <a:pos x="39" y="1406"/>
                </a:cxn>
                <a:cxn ang="0">
                  <a:pos x="65" y="1460"/>
                </a:cxn>
                <a:cxn ang="0">
                  <a:pos x="92" y="1509"/>
                </a:cxn>
                <a:cxn ang="0">
                  <a:pos x="77" y="1543"/>
                </a:cxn>
                <a:cxn ang="0">
                  <a:pos x="98" y="1574"/>
                </a:cxn>
                <a:cxn ang="0">
                  <a:pos x="94" y="1619"/>
                </a:cxn>
                <a:cxn ang="0">
                  <a:pos x="174" y="1598"/>
                </a:cxn>
                <a:cxn ang="0">
                  <a:pos x="197" y="1550"/>
                </a:cxn>
                <a:cxn ang="0">
                  <a:pos x="256" y="1552"/>
                </a:cxn>
                <a:cxn ang="0">
                  <a:pos x="290" y="1530"/>
                </a:cxn>
                <a:cxn ang="0">
                  <a:pos x="323" y="1440"/>
                </a:cxn>
                <a:cxn ang="0">
                  <a:pos x="291" y="1465"/>
                </a:cxn>
                <a:cxn ang="0">
                  <a:pos x="306" y="1384"/>
                </a:cxn>
                <a:cxn ang="0">
                  <a:pos x="313" y="1309"/>
                </a:cxn>
                <a:cxn ang="0">
                  <a:pos x="368" y="1274"/>
                </a:cxn>
                <a:cxn ang="0">
                  <a:pos x="405" y="1223"/>
                </a:cxn>
                <a:cxn ang="0">
                  <a:pos x="423" y="1177"/>
                </a:cxn>
                <a:cxn ang="0">
                  <a:pos x="411" y="1135"/>
                </a:cxn>
                <a:cxn ang="0">
                  <a:pos x="374" y="1103"/>
                </a:cxn>
                <a:cxn ang="0">
                  <a:pos x="335" y="1060"/>
                </a:cxn>
                <a:cxn ang="0">
                  <a:pos x="330" y="993"/>
                </a:cxn>
                <a:cxn ang="0">
                  <a:pos x="343" y="889"/>
                </a:cxn>
                <a:cxn ang="0">
                  <a:pos x="385" y="832"/>
                </a:cxn>
                <a:cxn ang="0">
                  <a:pos x="390" y="802"/>
                </a:cxn>
                <a:cxn ang="0">
                  <a:pos x="466" y="744"/>
                </a:cxn>
                <a:cxn ang="0">
                  <a:pos x="529" y="678"/>
                </a:cxn>
                <a:cxn ang="0">
                  <a:pos x="535" y="588"/>
                </a:cxn>
                <a:cxn ang="0">
                  <a:pos x="570" y="518"/>
                </a:cxn>
                <a:cxn ang="0">
                  <a:pos x="603" y="480"/>
                </a:cxn>
                <a:cxn ang="0">
                  <a:pos x="665" y="465"/>
                </a:cxn>
                <a:cxn ang="0">
                  <a:pos x="684" y="410"/>
                </a:cxn>
                <a:cxn ang="0">
                  <a:pos x="669" y="276"/>
                </a:cxn>
                <a:cxn ang="0">
                  <a:pos x="664" y="221"/>
                </a:cxn>
                <a:cxn ang="0">
                  <a:pos x="642" y="140"/>
                </a:cxn>
                <a:cxn ang="0">
                  <a:pos x="591" y="84"/>
                </a:cxn>
                <a:cxn ang="0">
                  <a:pos x="525" y="28"/>
                </a:cxn>
                <a:cxn ang="0">
                  <a:pos x="485" y="12"/>
                </a:cxn>
                <a:cxn ang="0">
                  <a:pos x="478" y="95"/>
                </a:cxn>
                <a:cxn ang="0">
                  <a:pos x="379" y="78"/>
                </a:cxn>
                <a:cxn ang="0">
                  <a:pos x="349" y="151"/>
                </a:cxn>
                <a:cxn ang="0">
                  <a:pos x="288" y="188"/>
                </a:cxn>
                <a:cxn ang="0">
                  <a:pos x="267" y="249"/>
                </a:cxn>
                <a:cxn ang="0">
                  <a:pos x="250" y="327"/>
                </a:cxn>
                <a:cxn ang="0">
                  <a:pos x="178" y="415"/>
                </a:cxn>
                <a:cxn ang="0">
                  <a:pos x="174" y="490"/>
                </a:cxn>
                <a:cxn ang="0">
                  <a:pos x="151" y="582"/>
                </a:cxn>
                <a:cxn ang="0">
                  <a:pos x="155" y="665"/>
                </a:cxn>
                <a:cxn ang="0">
                  <a:pos x="76" y="696"/>
                </a:cxn>
                <a:cxn ang="0">
                  <a:pos x="46" y="775"/>
                </a:cxn>
                <a:cxn ang="0">
                  <a:pos x="45" y="822"/>
                </a:cxn>
                <a:cxn ang="0">
                  <a:pos x="54" y="944"/>
                </a:cxn>
                <a:cxn ang="0">
                  <a:pos x="90" y="1011"/>
                </a:cxn>
                <a:cxn ang="0">
                  <a:pos x="61" y="1039"/>
                </a:cxn>
                <a:cxn ang="0">
                  <a:pos x="70" y="1128"/>
                </a:cxn>
                <a:cxn ang="0">
                  <a:pos x="36" y="1187"/>
                </a:cxn>
                <a:cxn ang="0">
                  <a:pos x="16" y="1270"/>
                </a:cxn>
              </a:cxnLst>
              <a:rect l="0" t="0" r="r" b="b"/>
              <a:pathLst>
                <a:path w="696" h="1628">
                  <a:moveTo>
                    <a:pt x="2" y="1255"/>
                  </a:moveTo>
                  <a:cubicBezTo>
                    <a:pt x="1" y="1264"/>
                    <a:pt x="0" y="1275"/>
                    <a:pt x="2" y="1284"/>
                  </a:cubicBezTo>
                  <a:cubicBezTo>
                    <a:pt x="3" y="1292"/>
                    <a:pt x="5" y="1298"/>
                    <a:pt x="4" y="1306"/>
                  </a:cubicBezTo>
                  <a:cubicBezTo>
                    <a:pt x="4" y="1308"/>
                    <a:pt x="4" y="1310"/>
                    <a:pt x="5" y="1312"/>
                  </a:cubicBezTo>
                  <a:cubicBezTo>
                    <a:pt x="6" y="1314"/>
                    <a:pt x="8" y="1315"/>
                    <a:pt x="9" y="1317"/>
                  </a:cubicBezTo>
                  <a:cubicBezTo>
                    <a:pt x="10" y="1319"/>
                    <a:pt x="9" y="1321"/>
                    <a:pt x="8" y="1324"/>
                  </a:cubicBezTo>
                  <a:cubicBezTo>
                    <a:pt x="8" y="1327"/>
                    <a:pt x="8" y="1330"/>
                    <a:pt x="8" y="1333"/>
                  </a:cubicBezTo>
                  <a:cubicBezTo>
                    <a:pt x="9" y="1339"/>
                    <a:pt x="14" y="1342"/>
                    <a:pt x="16" y="1348"/>
                  </a:cubicBezTo>
                  <a:cubicBezTo>
                    <a:pt x="18" y="1350"/>
                    <a:pt x="19" y="1357"/>
                    <a:pt x="20" y="1359"/>
                  </a:cubicBezTo>
                  <a:cubicBezTo>
                    <a:pt x="20" y="1357"/>
                    <a:pt x="20" y="1356"/>
                    <a:pt x="21" y="1354"/>
                  </a:cubicBezTo>
                  <a:cubicBezTo>
                    <a:pt x="23" y="1353"/>
                    <a:pt x="30" y="1355"/>
                    <a:pt x="32" y="1356"/>
                  </a:cubicBezTo>
                  <a:cubicBezTo>
                    <a:pt x="36" y="1358"/>
                    <a:pt x="33" y="1360"/>
                    <a:pt x="30" y="1361"/>
                  </a:cubicBezTo>
                  <a:cubicBezTo>
                    <a:pt x="28" y="1362"/>
                    <a:pt x="27" y="1362"/>
                    <a:pt x="27" y="1365"/>
                  </a:cubicBezTo>
                  <a:cubicBezTo>
                    <a:pt x="25" y="1372"/>
                    <a:pt x="27" y="1379"/>
                    <a:pt x="31" y="1384"/>
                  </a:cubicBezTo>
                  <a:cubicBezTo>
                    <a:pt x="34" y="1388"/>
                    <a:pt x="34" y="1394"/>
                    <a:pt x="35" y="1398"/>
                  </a:cubicBezTo>
                  <a:cubicBezTo>
                    <a:pt x="36" y="1401"/>
                    <a:pt x="37" y="1404"/>
                    <a:pt x="39" y="1406"/>
                  </a:cubicBezTo>
                  <a:cubicBezTo>
                    <a:pt x="40" y="1407"/>
                    <a:pt x="40" y="1407"/>
                    <a:pt x="41" y="1407"/>
                  </a:cubicBezTo>
                  <a:cubicBezTo>
                    <a:pt x="43" y="1408"/>
                    <a:pt x="44" y="1410"/>
                    <a:pt x="47" y="1410"/>
                  </a:cubicBezTo>
                  <a:cubicBezTo>
                    <a:pt x="48" y="1415"/>
                    <a:pt x="49" y="1420"/>
                    <a:pt x="49" y="1425"/>
                  </a:cubicBezTo>
                  <a:cubicBezTo>
                    <a:pt x="51" y="1426"/>
                    <a:pt x="54" y="1426"/>
                    <a:pt x="55" y="1427"/>
                  </a:cubicBezTo>
                  <a:cubicBezTo>
                    <a:pt x="57" y="1429"/>
                    <a:pt x="56" y="1432"/>
                    <a:pt x="57" y="1434"/>
                  </a:cubicBezTo>
                  <a:cubicBezTo>
                    <a:pt x="57" y="1438"/>
                    <a:pt x="59" y="1441"/>
                    <a:pt x="60" y="1445"/>
                  </a:cubicBezTo>
                  <a:cubicBezTo>
                    <a:pt x="61" y="1448"/>
                    <a:pt x="60" y="1452"/>
                    <a:pt x="62" y="1455"/>
                  </a:cubicBezTo>
                  <a:cubicBezTo>
                    <a:pt x="63" y="1457"/>
                    <a:pt x="64" y="1459"/>
                    <a:pt x="65" y="1460"/>
                  </a:cubicBezTo>
                  <a:cubicBezTo>
                    <a:pt x="67" y="1462"/>
                    <a:pt x="67" y="1464"/>
                    <a:pt x="68" y="1466"/>
                  </a:cubicBezTo>
                  <a:cubicBezTo>
                    <a:pt x="70" y="1470"/>
                    <a:pt x="73" y="1474"/>
                    <a:pt x="75" y="1479"/>
                  </a:cubicBezTo>
                  <a:cubicBezTo>
                    <a:pt x="75" y="1474"/>
                    <a:pt x="79" y="1474"/>
                    <a:pt x="81" y="1478"/>
                  </a:cubicBezTo>
                  <a:cubicBezTo>
                    <a:pt x="82" y="1479"/>
                    <a:pt x="82" y="1483"/>
                    <a:pt x="83" y="1484"/>
                  </a:cubicBezTo>
                  <a:cubicBezTo>
                    <a:pt x="83" y="1487"/>
                    <a:pt x="83" y="1490"/>
                    <a:pt x="85" y="1493"/>
                  </a:cubicBezTo>
                  <a:cubicBezTo>
                    <a:pt x="86" y="1495"/>
                    <a:pt x="88" y="1497"/>
                    <a:pt x="89" y="1498"/>
                  </a:cubicBezTo>
                  <a:cubicBezTo>
                    <a:pt x="91" y="1501"/>
                    <a:pt x="89" y="1500"/>
                    <a:pt x="91" y="1500"/>
                  </a:cubicBezTo>
                  <a:cubicBezTo>
                    <a:pt x="91" y="1503"/>
                    <a:pt x="90" y="1507"/>
                    <a:pt x="92" y="1509"/>
                  </a:cubicBezTo>
                  <a:cubicBezTo>
                    <a:pt x="93" y="1510"/>
                    <a:pt x="101" y="1514"/>
                    <a:pt x="97" y="1517"/>
                  </a:cubicBezTo>
                  <a:cubicBezTo>
                    <a:pt x="93" y="1512"/>
                    <a:pt x="87" y="1515"/>
                    <a:pt x="85" y="1521"/>
                  </a:cubicBezTo>
                  <a:cubicBezTo>
                    <a:pt x="84" y="1523"/>
                    <a:pt x="84" y="1525"/>
                    <a:pt x="85" y="1527"/>
                  </a:cubicBezTo>
                  <a:cubicBezTo>
                    <a:pt x="86" y="1531"/>
                    <a:pt x="95" y="1535"/>
                    <a:pt x="92" y="1540"/>
                  </a:cubicBezTo>
                  <a:cubicBezTo>
                    <a:pt x="90" y="1540"/>
                    <a:pt x="87" y="1541"/>
                    <a:pt x="85" y="1540"/>
                  </a:cubicBezTo>
                  <a:cubicBezTo>
                    <a:pt x="82" y="1539"/>
                    <a:pt x="83" y="1537"/>
                    <a:pt x="82" y="1534"/>
                  </a:cubicBezTo>
                  <a:cubicBezTo>
                    <a:pt x="81" y="1533"/>
                    <a:pt x="76" y="1535"/>
                    <a:pt x="75" y="1537"/>
                  </a:cubicBezTo>
                  <a:cubicBezTo>
                    <a:pt x="74" y="1539"/>
                    <a:pt x="76" y="1541"/>
                    <a:pt x="77" y="1543"/>
                  </a:cubicBezTo>
                  <a:cubicBezTo>
                    <a:pt x="78" y="1545"/>
                    <a:pt x="79" y="1547"/>
                    <a:pt x="81" y="1549"/>
                  </a:cubicBezTo>
                  <a:cubicBezTo>
                    <a:pt x="82" y="1550"/>
                    <a:pt x="83" y="1551"/>
                    <a:pt x="83" y="1551"/>
                  </a:cubicBezTo>
                  <a:cubicBezTo>
                    <a:pt x="84" y="1553"/>
                    <a:pt x="85" y="1554"/>
                    <a:pt x="86" y="1555"/>
                  </a:cubicBezTo>
                  <a:cubicBezTo>
                    <a:pt x="88" y="1556"/>
                    <a:pt x="92" y="1554"/>
                    <a:pt x="91" y="1558"/>
                  </a:cubicBezTo>
                  <a:cubicBezTo>
                    <a:pt x="90" y="1560"/>
                    <a:pt x="88" y="1559"/>
                    <a:pt x="88" y="1562"/>
                  </a:cubicBezTo>
                  <a:cubicBezTo>
                    <a:pt x="87" y="1563"/>
                    <a:pt x="88" y="1566"/>
                    <a:pt x="89" y="1568"/>
                  </a:cubicBezTo>
                  <a:cubicBezTo>
                    <a:pt x="90" y="1570"/>
                    <a:pt x="88" y="1569"/>
                    <a:pt x="91" y="1571"/>
                  </a:cubicBezTo>
                  <a:cubicBezTo>
                    <a:pt x="93" y="1572"/>
                    <a:pt x="96" y="1573"/>
                    <a:pt x="98" y="1574"/>
                  </a:cubicBezTo>
                  <a:cubicBezTo>
                    <a:pt x="104" y="1578"/>
                    <a:pt x="99" y="1583"/>
                    <a:pt x="98" y="1589"/>
                  </a:cubicBezTo>
                  <a:cubicBezTo>
                    <a:pt x="98" y="1591"/>
                    <a:pt x="98" y="1594"/>
                    <a:pt x="99" y="1596"/>
                  </a:cubicBezTo>
                  <a:cubicBezTo>
                    <a:pt x="100" y="1598"/>
                    <a:pt x="101" y="1598"/>
                    <a:pt x="102" y="1601"/>
                  </a:cubicBezTo>
                  <a:cubicBezTo>
                    <a:pt x="103" y="1606"/>
                    <a:pt x="98" y="1606"/>
                    <a:pt x="94" y="1606"/>
                  </a:cubicBezTo>
                  <a:cubicBezTo>
                    <a:pt x="91" y="1606"/>
                    <a:pt x="89" y="1605"/>
                    <a:pt x="88" y="1609"/>
                  </a:cubicBezTo>
                  <a:cubicBezTo>
                    <a:pt x="87" y="1611"/>
                    <a:pt x="87" y="1615"/>
                    <a:pt x="89" y="1617"/>
                  </a:cubicBezTo>
                  <a:cubicBezTo>
                    <a:pt x="90" y="1617"/>
                    <a:pt x="91" y="1617"/>
                    <a:pt x="92" y="1617"/>
                  </a:cubicBezTo>
                  <a:cubicBezTo>
                    <a:pt x="93" y="1617"/>
                    <a:pt x="93" y="1618"/>
                    <a:pt x="94" y="1619"/>
                  </a:cubicBezTo>
                  <a:cubicBezTo>
                    <a:pt x="95" y="1620"/>
                    <a:pt x="99" y="1620"/>
                    <a:pt x="100" y="1621"/>
                  </a:cubicBezTo>
                  <a:cubicBezTo>
                    <a:pt x="107" y="1623"/>
                    <a:pt x="114" y="1624"/>
                    <a:pt x="121" y="1626"/>
                  </a:cubicBezTo>
                  <a:cubicBezTo>
                    <a:pt x="123" y="1627"/>
                    <a:pt x="125" y="1628"/>
                    <a:pt x="127" y="1627"/>
                  </a:cubicBezTo>
                  <a:cubicBezTo>
                    <a:pt x="131" y="1626"/>
                    <a:pt x="133" y="1624"/>
                    <a:pt x="138" y="1624"/>
                  </a:cubicBezTo>
                  <a:cubicBezTo>
                    <a:pt x="143" y="1624"/>
                    <a:pt x="148" y="1625"/>
                    <a:pt x="153" y="1624"/>
                  </a:cubicBezTo>
                  <a:cubicBezTo>
                    <a:pt x="157" y="1624"/>
                    <a:pt x="160" y="1622"/>
                    <a:pt x="163" y="1619"/>
                  </a:cubicBezTo>
                  <a:cubicBezTo>
                    <a:pt x="167" y="1616"/>
                    <a:pt x="172" y="1611"/>
                    <a:pt x="173" y="1606"/>
                  </a:cubicBezTo>
                  <a:cubicBezTo>
                    <a:pt x="174" y="1605"/>
                    <a:pt x="174" y="1599"/>
                    <a:pt x="174" y="1598"/>
                  </a:cubicBezTo>
                  <a:cubicBezTo>
                    <a:pt x="173" y="1595"/>
                    <a:pt x="172" y="1595"/>
                    <a:pt x="170" y="1594"/>
                  </a:cubicBezTo>
                  <a:cubicBezTo>
                    <a:pt x="166" y="1592"/>
                    <a:pt x="162" y="1591"/>
                    <a:pt x="164" y="1585"/>
                  </a:cubicBezTo>
                  <a:cubicBezTo>
                    <a:pt x="165" y="1581"/>
                    <a:pt x="168" y="1577"/>
                    <a:pt x="171" y="1575"/>
                  </a:cubicBezTo>
                  <a:cubicBezTo>
                    <a:pt x="174" y="1572"/>
                    <a:pt x="179" y="1572"/>
                    <a:pt x="180" y="1568"/>
                  </a:cubicBezTo>
                  <a:cubicBezTo>
                    <a:pt x="181" y="1566"/>
                    <a:pt x="180" y="1564"/>
                    <a:pt x="180" y="1562"/>
                  </a:cubicBezTo>
                  <a:cubicBezTo>
                    <a:pt x="180" y="1560"/>
                    <a:pt x="183" y="1553"/>
                    <a:pt x="185" y="1553"/>
                  </a:cubicBezTo>
                  <a:cubicBezTo>
                    <a:pt x="185" y="1556"/>
                    <a:pt x="196" y="1562"/>
                    <a:pt x="198" y="1559"/>
                  </a:cubicBezTo>
                  <a:cubicBezTo>
                    <a:pt x="200" y="1556"/>
                    <a:pt x="195" y="1553"/>
                    <a:pt x="197" y="1550"/>
                  </a:cubicBezTo>
                  <a:cubicBezTo>
                    <a:pt x="199" y="1547"/>
                    <a:pt x="203" y="1547"/>
                    <a:pt x="206" y="1546"/>
                  </a:cubicBezTo>
                  <a:cubicBezTo>
                    <a:pt x="206" y="1545"/>
                    <a:pt x="206" y="1545"/>
                    <a:pt x="207" y="1545"/>
                  </a:cubicBezTo>
                  <a:cubicBezTo>
                    <a:pt x="208" y="1545"/>
                    <a:pt x="209" y="1545"/>
                    <a:pt x="209" y="1545"/>
                  </a:cubicBezTo>
                  <a:cubicBezTo>
                    <a:pt x="212" y="1545"/>
                    <a:pt x="213" y="1545"/>
                    <a:pt x="216" y="1544"/>
                  </a:cubicBezTo>
                  <a:cubicBezTo>
                    <a:pt x="220" y="1543"/>
                    <a:pt x="224" y="1543"/>
                    <a:pt x="228" y="1542"/>
                  </a:cubicBezTo>
                  <a:cubicBezTo>
                    <a:pt x="233" y="1540"/>
                    <a:pt x="236" y="1539"/>
                    <a:pt x="240" y="1544"/>
                  </a:cubicBezTo>
                  <a:cubicBezTo>
                    <a:pt x="243" y="1549"/>
                    <a:pt x="243" y="1556"/>
                    <a:pt x="250" y="1554"/>
                  </a:cubicBezTo>
                  <a:cubicBezTo>
                    <a:pt x="252" y="1554"/>
                    <a:pt x="254" y="1553"/>
                    <a:pt x="256" y="1552"/>
                  </a:cubicBezTo>
                  <a:cubicBezTo>
                    <a:pt x="257" y="1552"/>
                    <a:pt x="259" y="1553"/>
                    <a:pt x="261" y="1552"/>
                  </a:cubicBezTo>
                  <a:cubicBezTo>
                    <a:pt x="261" y="1550"/>
                    <a:pt x="263" y="1548"/>
                    <a:pt x="264" y="1546"/>
                  </a:cubicBezTo>
                  <a:cubicBezTo>
                    <a:pt x="265" y="1545"/>
                    <a:pt x="267" y="1543"/>
                    <a:pt x="268" y="1540"/>
                  </a:cubicBezTo>
                  <a:cubicBezTo>
                    <a:pt x="270" y="1536"/>
                    <a:pt x="272" y="1533"/>
                    <a:pt x="274" y="1529"/>
                  </a:cubicBezTo>
                  <a:cubicBezTo>
                    <a:pt x="276" y="1524"/>
                    <a:pt x="277" y="1519"/>
                    <a:pt x="278" y="1515"/>
                  </a:cubicBezTo>
                  <a:cubicBezTo>
                    <a:pt x="279" y="1512"/>
                    <a:pt x="282" y="1502"/>
                    <a:pt x="286" y="1502"/>
                  </a:cubicBezTo>
                  <a:cubicBezTo>
                    <a:pt x="289" y="1503"/>
                    <a:pt x="289" y="1512"/>
                    <a:pt x="290" y="1515"/>
                  </a:cubicBezTo>
                  <a:cubicBezTo>
                    <a:pt x="291" y="1520"/>
                    <a:pt x="291" y="1524"/>
                    <a:pt x="290" y="1530"/>
                  </a:cubicBezTo>
                  <a:cubicBezTo>
                    <a:pt x="290" y="1533"/>
                    <a:pt x="288" y="1543"/>
                    <a:pt x="290" y="1545"/>
                  </a:cubicBezTo>
                  <a:cubicBezTo>
                    <a:pt x="292" y="1543"/>
                    <a:pt x="294" y="1541"/>
                    <a:pt x="295" y="1539"/>
                  </a:cubicBezTo>
                  <a:cubicBezTo>
                    <a:pt x="296" y="1536"/>
                    <a:pt x="296" y="1533"/>
                    <a:pt x="297" y="1530"/>
                  </a:cubicBezTo>
                  <a:cubicBezTo>
                    <a:pt x="298" y="1524"/>
                    <a:pt x="300" y="1520"/>
                    <a:pt x="301" y="1514"/>
                  </a:cubicBezTo>
                  <a:cubicBezTo>
                    <a:pt x="303" y="1507"/>
                    <a:pt x="306" y="1500"/>
                    <a:pt x="309" y="1493"/>
                  </a:cubicBezTo>
                  <a:cubicBezTo>
                    <a:pt x="313" y="1485"/>
                    <a:pt x="317" y="1476"/>
                    <a:pt x="320" y="1467"/>
                  </a:cubicBezTo>
                  <a:cubicBezTo>
                    <a:pt x="321" y="1462"/>
                    <a:pt x="322" y="1456"/>
                    <a:pt x="323" y="1451"/>
                  </a:cubicBezTo>
                  <a:cubicBezTo>
                    <a:pt x="323" y="1448"/>
                    <a:pt x="323" y="1444"/>
                    <a:pt x="323" y="1440"/>
                  </a:cubicBezTo>
                  <a:cubicBezTo>
                    <a:pt x="323" y="1438"/>
                    <a:pt x="324" y="1430"/>
                    <a:pt x="320" y="1433"/>
                  </a:cubicBezTo>
                  <a:cubicBezTo>
                    <a:pt x="318" y="1434"/>
                    <a:pt x="317" y="1439"/>
                    <a:pt x="316" y="1441"/>
                  </a:cubicBezTo>
                  <a:cubicBezTo>
                    <a:pt x="315" y="1444"/>
                    <a:pt x="314" y="1446"/>
                    <a:pt x="312" y="1449"/>
                  </a:cubicBezTo>
                  <a:cubicBezTo>
                    <a:pt x="310" y="1454"/>
                    <a:pt x="308" y="1458"/>
                    <a:pt x="306" y="1462"/>
                  </a:cubicBezTo>
                  <a:cubicBezTo>
                    <a:pt x="304" y="1465"/>
                    <a:pt x="303" y="1469"/>
                    <a:pt x="303" y="1473"/>
                  </a:cubicBezTo>
                  <a:cubicBezTo>
                    <a:pt x="302" y="1475"/>
                    <a:pt x="302" y="1480"/>
                    <a:pt x="300" y="1482"/>
                  </a:cubicBezTo>
                  <a:cubicBezTo>
                    <a:pt x="299" y="1483"/>
                    <a:pt x="294" y="1486"/>
                    <a:pt x="293" y="1485"/>
                  </a:cubicBezTo>
                  <a:cubicBezTo>
                    <a:pt x="289" y="1484"/>
                    <a:pt x="290" y="1469"/>
                    <a:pt x="291" y="1465"/>
                  </a:cubicBezTo>
                  <a:cubicBezTo>
                    <a:pt x="292" y="1460"/>
                    <a:pt x="293" y="1456"/>
                    <a:pt x="293" y="1451"/>
                  </a:cubicBezTo>
                  <a:cubicBezTo>
                    <a:pt x="292" y="1450"/>
                    <a:pt x="292" y="1449"/>
                    <a:pt x="292" y="1447"/>
                  </a:cubicBezTo>
                  <a:cubicBezTo>
                    <a:pt x="292" y="1444"/>
                    <a:pt x="293" y="1440"/>
                    <a:pt x="295" y="1437"/>
                  </a:cubicBezTo>
                  <a:cubicBezTo>
                    <a:pt x="297" y="1435"/>
                    <a:pt x="299" y="1436"/>
                    <a:pt x="300" y="1433"/>
                  </a:cubicBezTo>
                  <a:cubicBezTo>
                    <a:pt x="301" y="1430"/>
                    <a:pt x="301" y="1426"/>
                    <a:pt x="302" y="1423"/>
                  </a:cubicBezTo>
                  <a:cubicBezTo>
                    <a:pt x="302" y="1414"/>
                    <a:pt x="301" y="1406"/>
                    <a:pt x="302" y="1397"/>
                  </a:cubicBezTo>
                  <a:cubicBezTo>
                    <a:pt x="303" y="1394"/>
                    <a:pt x="303" y="1391"/>
                    <a:pt x="304" y="1388"/>
                  </a:cubicBezTo>
                  <a:cubicBezTo>
                    <a:pt x="304" y="1387"/>
                    <a:pt x="305" y="1386"/>
                    <a:pt x="306" y="1384"/>
                  </a:cubicBezTo>
                  <a:cubicBezTo>
                    <a:pt x="306" y="1382"/>
                    <a:pt x="306" y="1379"/>
                    <a:pt x="307" y="1376"/>
                  </a:cubicBezTo>
                  <a:cubicBezTo>
                    <a:pt x="308" y="1369"/>
                    <a:pt x="310" y="1363"/>
                    <a:pt x="309" y="1356"/>
                  </a:cubicBezTo>
                  <a:cubicBezTo>
                    <a:pt x="309" y="1353"/>
                    <a:pt x="308" y="1349"/>
                    <a:pt x="309" y="1345"/>
                  </a:cubicBezTo>
                  <a:cubicBezTo>
                    <a:pt x="310" y="1341"/>
                    <a:pt x="317" y="1337"/>
                    <a:pt x="312" y="1332"/>
                  </a:cubicBezTo>
                  <a:cubicBezTo>
                    <a:pt x="310" y="1329"/>
                    <a:pt x="308" y="1330"/>
                    <a:pt x="309" y="1326"/>
                  </a:cubicBezTo>
                  <a:cubicBezTo>
                    <a:pt x="309" y="1325"/>
                    <a:pt x="310" y="1322"/>
                    <a:pt x="311" y="1321"/>
                  </a:cubicBezTo>
                  <a:cubicBezTo>
                    <a:pt x="313" y="1318"/>
                    <a:pt x="318" y="1317"/>
                    <a:pt x="316" y="1313"/>
                  </a:cubicBezTo>
                  <a:cubicBezTo>
                    <a:pt x="315" y="1311"/>
                    <a:pt x="313" y="1310"/>
                    <a:pt x="313" y="1309"/>
                  </a:cubicBezTo>
                  <a:cubicBezTo>
                    <a:pt x="312" y="1307"/>
                    <a:pt x="314" y="1306"/>
                    <a:pt x="314" y="1304"/>
                  </a:cubicBezTo>
                  <a:cubicBezTo>
                    <a:pt x="316" y="1300"/>
                    <a:pt x="315" y="1298"/>
                    <a:pt x="319" y="1298"/>
                  </a:cubicBezTo>
                  <a:cubicBezTo>
                    <a:pt x="322" y="1297"/>
                    <a:pt x="323" y="1297"/>
                    <a:pt x="325" y="1296"/>
                  </a:cubicBezTo>
                  <a:cubicBezTo>
                    <a:pt x="328" y="1294"/>
                    <a:pt x="330" y="1290"/>
                    <a:pt x="333" y="1288"/>
                  </a:cubicBezTo>
                  <a:cubicBezTo>
                    <a:pt x="336" y="1285"/>
                    <a:pt x="342" y="1286"/>
                    <a:pt x="346" y="1283"/>
                  </a:cubicBezTo>
                  <a:cubicBezTo>
                    <a:pt x="351" y="1280"/>
                    <a:pt x="352" y="1271"/>
                    <a:pt x="357" y="1268"/>
                  </a:cubicBezTo>
                  <a:cubicBezTo>
                    <a:pt x="357" y="1271"/>
                    <a:pt x="357" y="1277"/>
                    <a:pt x="361" y="1278"/>
                  </a:cubicBezTo>
                  <a:cubicBezTo>
                    <a:pt x="363" y="1278"/>
                    <a:pt x="367" y="1275"/>
                    <a:pt x="368" y="1274"/>
                  </a:cubicBezTo>
                  <a:cubicBezTo>
                    <a:pt x="369" y="1271"/>
                    <a:pt x="367" y="1267"/>
                    <a:pt x="368" y="1264"/>
                  </a:cubicBezTo>
                  <a:cubicBezTo>
                    <a:pt x="376" y="1264"/>
                    <a:pt x="387" y="1267"/>
                    <a:pt x="393" y="1262"/>
                  </a:cubicBezTo>
                  <a:cubicBezTo>
                    <a:pt x="394" y="1262"/>
                    <a:pt x="394" y="1260"/>
                    <a:pt x="395" y="1260"/>
                  </a:cubicBezTo>
                  <a:cubicBezTo>
                    <a:pt x="397" y="1259"/>
                    <a:pt x="399" y="1258"/>
                    <a:pt x="401" y="1257"/>
                  </a:cubicBezTo>
                  <a:cubicBezTo>
                    <a:pt x="403" y="1256"/>
                    <a:pt x="409" y="1254"/>
                    <a:pt x="407" y="1250"/>
                  </a:cubicBezTo>
                  <a:cubicBezTo>
                    <a:pt x="403" y="1249"/>
                    <a:pt x="399" y="1250"/>
                    <a:pt x="395" y="1248"/>
                  </a:cubicBezTo>
                  <a:cubicBezTo>
                    <a:pt x="395" y="1240"/>
                    <a:pt x="386" y="1235"/>
                    <a:pt x="388" y="1226"/>
                  </a:cubicBezTo>
                  <a:cubicBezTo>
                    <a:pt x="392" y="1225"/>
                    <a:pt x="407" y="1233"/>
                    <a:pt x="405" y="1223"/>
                  </a:cubicBezTo>
                  <a:cubicBezTo>
                    <a:pt x="398" y="1220"/>
                    <a:pt x="389" y="1218"/>
                    <a:pt x="392" y="1208"/>
                  </a:cubicBezTo>
                  <a:cubicBezTo>
                    <a:pt x="393" y="1204"/>
                    <a:pt x="401" y="1205"/>
                    <a:pt x="405" y="1206"/>
                  </a:cubicBezTo>
                  <a:cubicBezTo>
                    <a:pt x="412" y="1207"/>
                    <a:pt x="408" y="1204"/>
                    <a:pt x="410" y="1199"/>
                  </a:cubicBezTo>
                  <a:cubicBezTo>
                    <a:pt x="411" y="1196"/>
                    <a:pt x="411" y="1196"/>
                    <a:pt x="414" y="1195"/>
                  </a:cubicBezTo>
                  <a:cubicBezTo>
                    <a:pt x="416" y="1194"/>
                    <a:pt x="420" y="1194"/>
                    <a:pt x="423" y="1192"/>
                  </a:cubicBezTo>
                  <a:cubicBezTo>
                    <a:pt x="425" y="1190"/>
                    <a:pt x="426" y="1190"/>
                    <a:pt x="424" y="1187"/>
                  </a:cubicBezTo>
                  <a:cubicBezTo>
                    <a:pt x="424" y="1186"/>
                    <a:pt x="422" y="1185"/>
                    <a:pt x="421" y="1185"/>
                  </a:cubicBezTo>
                  <a:cubicBezTo>
                    <a:pt x="421" y="1183"/>
                    <a:pt x="422" y="1178"/>
                    <a:pt x="423" y="1177"/>
                  </a:cubicBezTo>
                  <a:cubicBezTo>
                    <a:pt x="425" y="1176"/>
                    <a:pt x="428" y="1178"/>
                    <a:pt x="430" y="1176"/>
                  </a:cubicBezTo>
                  <a:cubicBezTo>
                    <a:pt x="434" y="1174"/>
                    <a:pt x="433" y="1169"/>
                    <a:pt x="432" y="1166"/>
                  </a:cubicBezTo>
                  <a:cubicBezTo>
                    <a:pt x="431" y="1163"/>
                    <a:pt x="430" y="1161"/>
                    <a:pt x="428" y="1159"/>
                  </a:cubicBezTo>
                  <a:cubicBezTo>
                    <a:pt x="427" y="1159"/>
                    <a:pt x="426" y="1158"/>
                    <a:pt x="426" y="1157"/>
                  </a:cubicBezTo>
                  <a:cubicBezTo>
                    <a:pt x="422" y="1155"/>
                    <a:pt x="419" y="1155"/>
                    <a:pt x="417" y="1151"/>
                  </a:cubicBezTo>
                  <a:cubicBezTo>
                    <a:pt x="416" y="1148"/>
                    <a:pt x="417" y="1145"/>
                    <a:pt x="416" y="1143"/>
                  </a:cubicBezTo>
                  <a:cubicBezTo>
                    <a:pt x="416" y="1142"/>
                    <a:pt x="414" y="1141"/>
                    <a:pt x="413" y="1140"/>
                  </a:cubicBezTo>
                  <a:cubicBezTo>
                    <a:pt x="412" y="1139"/>
                    <a:pt x="412" y="1137"/>
                    <a:pt x="411" y="1135"/>
                  </a:cubicBezTo>
                  <a:cubicBezTo>
                    <a:pt x="410" y="1134"/>
                    <a:pt x="408" y="1134"/>
                    <a:pt x="408" y="1133"/>
                  </a:cubicBezTo>
                  <a:cubicBezTo>
                    <a:pt x="407" y="1131"/>
                    <a:pt x="408" y="1127"/>
                    <a:pt x="407" y="1125"/>
                  </a:cubicBezTo>
                  <a:cubicBezTo>
                    <a:pt x="407" y="1122"/>
                    <a:pt x="406" y="1122"/>
                    <a:pt x="404" y="1120"/>
                  </a:cubicBezTo>
                  <a:cubicBezTo>
                    <a:pt x="403" y="1119"/>
                    <a:pt x="400" y="1118"/>
                    <a:pt x="399" y="1117"/>
                  </a:cubicBezTo>
                  <a:cubicBezTo>
                    <a:pt x="399" y="1116"/>
                    <a:pt x="399" y="1114"/>
                    <a:pt x="399" y="1113"/>
                  </a:cubicBezTo>
                  <a:cubicBezTo>
                    <a:pt x="398" y="1108"/>
                    <a:pt x="394" y="1099"/>
                    <a:pt x="389" y="1098"/>
                  </a:cubicBezTo>
                  <a:cubicBezTo>
                    <a:pt x="389" y="1102"/>
                    <a:pt x="390" y="1109"/>
                    <a:pt x="385" y="1110"/>
                  </a:cubicBezTo>
                  <a:cubicBezTo>
                    <a:pt x="381" y="1111"/>
                    <a:pt x="377" y="1106"/>
                    <a:pt x="374" y="1103"/>
                  </a:cubicBezTo>
                  <a:cubicBezTo>
                    <a:pt x="371" y="1099"/>
                    <a:pt x="368" y="1096"/>
                    <a:pt x="366" y="1091"/>
                  </a:cubicBezTo>
                  <a:cubicBezTo>
                    <a:pt x="365" y="1089"/>
                    <a:pt x="364" y="1087"/>
                    <a:pt x="361" y="1088"/>
                  </a:cubicBezTo>
                  <a:cubicBezTo>
                    <a:pt x="361" y="1089"/>
                    <a:pt x="361" y="1093"/>
                    <a:pt x="360" y="1094"/>
                  </a:cubicBezTo>
                  <a:cubicBezTo>
                    <a:pt x="357" y="1095"/>
                    <a:pt x="354" y="1089"/>
                    <a:pt x="353" y="1088"/>
                  </a:cubicBezTo>
                  <a:cubicBezTo>
                    <a:pt x="351" y="1084"/>
                    <a:pt x="353" y="1083"/>
                    <a:pt x="348" y="1083"/>
                  </a:cubicBezTo>
                  <a:cubicBezTo>
                    <a:pt x="344" y="1083"/>
                    <a:pt x="338" y="1081"/>
                    <a:pt x="336" y="1076"/>
                  </a:cubicBezTo>
                  <a:cubicBezTo>
                    <a:pt x="334" y="1070"/>
                    <a:pt x="341" y="1072"/>
                    <a:pt x="341" y="1068"/>
                  </a:cubicBezTo>
                  <a:cubicBezTo>
                    <a:pt x="341" y="1064"/>
                    <a:pt x="336" y="1063"/>
                    <a:pt x="335" y="1060"/>
                  </a:cubicBezTo>
                  <a:cubicBezTo>
                    <a:pt x="334" y="1057"/>
                    <a:pt x="334" y="1054"/>
                    <a:pt x="334" y="1051"/>
                  </a:cubicBezTo>
                  <a:cubicBezTo>
                    <a:pt x="334" y="1047"/>
                    <a:pt x="333" y="1044"/>
                    <a:pt x="332" y="1041"/>
                  </a:cubicBezTo>
                  <a:cubicBezTo>
                    <a:pt x="331" y="1040"/>
                    <a:pt x="331" y="1040"/>
                    <a:pt x="330" y="1039"/>
                  </a:cubicBezTo>
                  <a:cubicBezTo>
                    <a:pt x="330" y="1038"/>
                    <a:pt x="330" y="1037"/>
                    <a:pt x="330" y="1036"/>
                  </a:cubicBezTo>
                  <a:cubicBezTo>
                    <a:pt x="330" y="1034"/>
                    <a:pt x="330" y="1032"/>
                    <a:pt x="330" y="1029"/>
                  </a:cubicBezTo>
                  <a:cubicBezTo>
                    <a:pt x="330" y="1024"/>
                    <a:pt x="330" y="1018"/>
                    <a:pt x="330" y="1013"/>
                  </a:cubicBezTo>
                  <a:cubicBezTo>
                    <a:pt x="330" y="1009"/>
                    <a:pt x="330" y="1006"/>
                    <a:pt x="329" y="1003"/>
                  </a:cubicBezTo>
                  <a:cubicBezTo>
                    <a:pt x="329" y="1000"/>
                    <a:pt x="330" y="996"/>
                    <a:pt x="330" y="993"/>
                  </a:cubicBezTo>
                  <a:cubicBezTo>
                    <a:pt x="331" y="988"/>
                    <a:pt x="330" y="983"/>
                    <a:pt x="330" y="979"/>
                  </a:cubicBezTo>
                  <a:cubicBezTo>
                    <a:pt x="330" y="977"/>
                    <a:pt x="330" y="974"/>
                    <a:pt x="330" y="973"/>
                  </a:cubicBezTo>
                  <a:cubicBezTo>
                    <a:pt x="331" y="969"/>
                    <a:pt x="336" y="969"/>
                    <a:pt x="338" y="966"/>
                  </a:cubicBezTo>
                  <a:cubicBezTo>
                    <a:pt x="343" y="960"/>
                    <a:pt x="342" y="946"/>
                    <a:pt x="342" y="938"/>
                  </a:cubicBezTo>
                  <a:cubicBezTo>
                    <a:pt x="342" y="930"/>
                    <a:pt x="340" y="920"/>
                    <a:pt x="342" y="912"/>
                  </a:cubicBezTo>
                  <a:cubicBezTo>
                    <a:pt x="343" y="909"/>
                    <a:pt x="344" y="907"/>
                    <a:pt x="344" y="903"/>
                  </a:cubicBezTo>
                  <a:cubicBezTo>
                    <a:pt x="344" y="901"/>
                    <a:pt x="343" y="899"/>
                    <a:pt x="342" y="897"/>
                  </a:cubicBezTo>
                  <a:cubicBezTo>
                    <a:pt x="342" y="895"/>
                    <a:pt x="342" y="890"/>
                    <a:pt x="343" y="889"/>
                  </a:cubicBezTo>
                  <a:cubicBezTo>
                    <a:pt x="345" y="887"/>
                    <a:pt x="350" y="888"/>
                    <a:pt x="352" y="888"/>
                  </a:cubicBezTo>
                  <a:cubicBezTo>
                    <a:pt x="356" y="887"/>
                    <a:pt x="356" y="886"/>
                    <a:pt x="358" y="882"/>
                  </a:cubicBezTo>
                  <a:cubicBezTo>
                    <a:pt x="360" y="877"/>
                    <a:pt x="362" y="872"/>
                    <a:pt x="365" y="867"/>
                  </a:cubicBezTo>
                  <a:cubicBezTo>
                    <a:pt x="365" y="865"/>
                    <a:pt x="366" y="861"/>
                    <a:pt x="368" y="860"/>
                  </a:cubicBezTo>
                  <a:cubicBezTo>
                    <a:pt x="368" y="859"/>
                    <a:pt x="369" y="859"/>
                    <a:pt x="370" y="858"/>
                  </a:cubicBezTo>
                  <a:cubicBezTo>
                    <a:pt x="372" y="857"/>
                    <a:pt x="374" y="853"/>
                    <a:pt x="374" y="851"/>
                  </a:cubicBezTo>
                  <a:cubicBezTo>
                    <a:pt x="375" y="848"/>
                    <a:pt x="375" y="845"/>
                    <a:pt x="377" y="841"/>
                  </a:cubicBezTo>
                  <a:cubicBezTo>
                    <a:pt x="378" y="839"/>
                    <a:pt x="382" y="834"/>
                    <a:pt x="385" y="832"/>
                  </a:cubicBezTo>
                  <a:cubicBezTo>
                    <a:pt x="387" y="832"/>
                    <a:pt x="388" y="833"/>
                    <a:pt x="389" y="832"/>
                  </a:cubicBezTo>
                  <a:cubicBezTo>
                    <a:pt x="389" y="831"/>
                    <a:pt x="391" y="828"/>
                    <a:pt x="391" y="827"/>
                  </a:cubicBezTo>
                  <a:cubicBezTo>
                    <a:pt x="392" y="825"/>
                    <a:pt x="393" y="822"/>
                    <a:pt x="393" y="819"/>
                  </a:cubicBezTo>
                  <a:cubicBezTo>
                    <a:pt x="393" y="817"/>
                    <a:pt x="391" y="815"/>
                    <a:pt x="392" y="812"/>
                  </a:cubicBezTo>
                  <a:cubicBezTo>
                    <a:pt x="392" y="811"/>
                    <a:pt x="393" y="812"/>
                    <a:pt x="393" y="811"/>
                  </a:cubicBezTo>
                  <a:cubicBezTo>
                    <a:pt x="393" y="809"/>
                    <a:pt x="393" y="809"/>
                    <a:pt x="393" y="808"/>
                  </a:cubicBezTo>
                  <a:cubicBezTo>
                    <a:pt x="392" y="806"/>
                    <a:pt x="392" y="804"/>
                    <a:pt x="391" y="803"/>
                  </a:cubicBezTo>
                  <a:cubicBezTo>
                    <a:pt x="391" y="802"/>
                    <a:pt x="390" y="802"/>
                    <a:pt x="390" y="802"/>
                  </a:cubicBezTo>
                  <a:cubicBezTo>
                    <a:pt x="395" y="801"/>
                    <a:pt x="400" y="800"/>
                    <a:pt x="404" y="798"/>
                  </a:cubicBezTo>
                  <a:cubicBezTo>
                    <a:pt x="407" y="796"/>
                    <a:pt x="407" y="795"/>
                    <a:pt x="409" y="793"/>
                  </a:cubicBezTo>
                  <a:cubicBezTo>
                    <a:pt x="415" y="783"/>
                    <a:pt x="422" y="775"/>
                    <a:pt x="431" y="768"/>
                  </a:cubicBezTo>
                  <a:cubicBezTo>
                    <a:pt x="434" y="766"/>
                    <a:pt x="437" y="764"/>
                    <a:pt x="440" y="761"/>
                  </a:cubicBezTo>
                  <a:cubicBezTo>
                    <a:pt x="443" y="759"/>
                    <a:pt x="445" y="756"/>
                    <a:pt x="448" y="753"/>
                  </a:cubicBezTo>
                  <a:cubicBezTo>
                    <a:pt x="451" y="750"/>
                    <a:pt x="452" y="750"/>
                    <a:pt x="456" y="752"/>
                  </a:cubicBezTo>
                  <a:cubicBezTo>
                    <a:pt x="458" y="752"/>
                    <a:pt x="459" y="753"/>
                    <a:pt x="461" y="753"/>
                  </a:cubicBezTo>
                  <a:cubicBezTo>
                    <a:pt x="464" y="752"/>
                    <a:pt x="464" y="746"/>
                    <a:pt x="466" y="744"/>
                  </a:cubicBezTo>
                  <a:cubicBezTo>
                    <a:pt x="471" y="740"/>
                    <a:pt x="476" y="739"/>
                    <a:pt x="481" y="736"/>
                  </a:cubicBezTo>
                  <a:cubicBezTo>
                    <a:pt x="484" y="735"/>
                    <a:pt x="487" y="731"/>
                    <a:pt x="490" y="730"/>
                  </a:cubicBezTo>
                  <a:cubicBezTo>
                    <a:pt x="493" y="729"/>
                    <a:pt x="497" y="731"/>
                    <a:pt x="500" y="732"/>
                  </a:cubicBezTo>
                  <a:cubicBezTo>
                    <a:pt x="503" y="732"/>
                    <a:pt x="507" y="732"/>
                    <a:pt x="510" y="732"/>
                  </a:cubicBezTo>
                  <a:cubicBezTo>
                    <a:pt x="513" y="732"/>
                    <a:pt x="514" y="733"/>
                    <a:pt x="515" y="729"/>
                  </a:cubicBezTo>
                  <a:cubicBezTo>
                    <a:pt x="517" y="725"/>
                    <a:pt x="518" y="719"/>
                    <a:pt x="518" y="715"/>
                  </a:cubicBezTo>
                  <a:cubicBezTo>
                    <a:pt x="519" y="706"/>
                    <a:pt x="520" y="697"/>
                    <a:pt x="523" y="689"/>
                  </a:cubicBezTo>
                  <a:cubicBezTo>
                    <a:pt x="525" y="685"/>
                    <a:pt x="527" y="681"/>
                    <a:pt x="529" y="678"/>
                  </a:cubicBezTo>
                  <a:cubicBezTo>
                    <a:pt x="530" y="675"/>
                    <a:pt x="530" y="672"/>
                    <a:pt x="532" y="670"/>
                  </a:cubicBezTo>
                  <a:cubicBezTo>
                    <a:pt x="533" y="668"/>
                    <a:pt x="535" y="667"/>
                    <a:pt x="536" y="665"/>
                  </a:cubicBezTo>
                  <a:cubicBezTo>
                    <a:pt x="538" y="663"/>
                    <a:pt x="538" y="661"/>
                    <a:pt x="540" y="659"/>
                  </a:cubicBezTo>
                  <a:cubicBezTo>
                    <a:pt x="544" y="655"/>
                    <a:pt x="548" y="651"/>
                    <a:pt x="552" y="647"/>
                  </a:cubicBezTo>
                  <a:cubicBezTo>
                    <a:pt x="557" y="641"/>
                    <a:pt x="556" y="634"/>
                    <a:pt x="554" y="627"/>
                  </a:cubicBezTo>
                  <a:cubicBezTo>
                    <a:pt x="553" y="624"/>
                    <a:pt x="551" y="618"/>
                    <a:pt x="547" y="619"/>
                  </a:cubicBezTo>
                  <a:cubicBezTo>
                    <a:pt x="546" y="612"/>
                    <a:pt x="540" y="605"/>
                    <a:pt x="537" y="599"/>
                  </a:cubicBezTo>
                  <a:cubicBezTo>
                    <a:pt x="536" y="595"/>
                    <a:pt x="535" y="592"/>
                    <a:pt x="535" y="588"/>
                  </a:cubicBezTo>
                  <a:cubicBezTo>
                    <a:pt x="536" y="581"/>
                    <a:pt x="541" y="575"/>
                    <a:pt x="544" y="569"/>
                  </a:cubicBezTo>
                  <a:cubicBezTo>
                    <a:pt x="546" y="566"/>
                    <a:pt x="551" y="563"/>
                    <a:pt x="551" y="559"/>
                  </a:cubicBezTo>
                  <a:cubicBezTo>
                    <a:pt x="552" y="558"/>
                    <a:pt x="551" y="556"/>
                    <a:pt x="552" y="555"/>
                  </a:cubicBezTo>
                  <a:cubicBezTo>
                    <a:pt x="552" y="551"/>
                    <a:pt x="553" y="547"/>
                    <a:pt x="554" y="543"/>
                  </a:cubicBezTo>
                  <a:cubicBezTo>
                    <a:pt x="556" y="540"/>
                    <a:pt x="558" y="537"/>
                    <a:pt x="558" y="533"/>
                  </a:cubicBezTo>
                  <a:cubicBezTo>
                    <a:pt x="558" y="531"/>
                    <a:pt x="558" y="529"/>
                    <a:pt x="559" y="527"/>
                  </a:cubicBezTo>
                  <a:cubicBezTo>
                    <a:pt x="559" y="526"/>
                    <a:pt x="562" y="524"/>
                    <a:pt x="563" y="523"/>
                  </a:cubicBezTo>
                  <a:cubicBezTo>
                    <a:pt x="565" y="521"/>
                    <a:pt x="566" y="518"/>
                    <a:pt x="570" y="518"/>
                  </a:cubicBezTo>
                  <a:cubicBezTo>
                    <a:pt x="571" y="518"/>
                    <a:pt x="572" y="518"/>
                    <a:pt x="573" y="518"/>
                  </a:cubicBezTo>
                  <a:cubicBezTo>
                    <a:pt x="576" y="517"/>
                    <a:pt x="582" y="517"/>
                    <a:pt x="584" y="516"/>
                  </a:cubicBezTo>
                  <a:cubicBezTo>
                    <a:pt x="586" y="514"/>
                    <a:pt x="584" y="509"/>
                    <a:pt x="587" y="507"/>
                  </a:cubicBezTo>
                  <a:cubicBezTo>
                    <a:pt x="588" y="506"/>
                    <a:pt x="589" y="507"/>
                    <a:pt x="590" y="507"/>
                  </a:cubicBezTo>
                  <a:cubicBezTo>
                    <a:pt x="592" y="507"/>
                    <a:pt x="592" y="506"/>
                    <a:pt x="593" y="505"/>
                  </a:cubicBezTo>
                  <a:cubicBezTo>
                    <a:pt x="596" y="503"/>
                    <a:pt x="598" y="502"/>
                    <a:pt x="599" y="499"/>
                  </a:cubicBezTo>
                  <a:cubicBezTo>
                    <a:pt x="599" y="498"/>
                    <a:pt x="599" y="495"/>
                    <a:pt x="600" y="494"/>
                  </a:cubicBezTo>
                  <a:cubicBezTo>
                    <a:pt x="601" y="489"/>
                    <a:pt x="603" y="485"/>
                    <a:pt x="603" y="480"/>
                  </a:cubicBezTo>
                  <a:cubicBezTo>
                    <a:pt x="604" y="474"/>
                    <a:pt x="602" y="468"/>
                    <a:pt x="603" y="462"/>
                  </a:cubicBezTo>
                  <a:cubicBezTo>
                    <a:pt x="606" y="461"/>
                    <a:pt x="607" y="465"/>
                    <a:pt x="610" y="465"/>
                  </a:cubicBezTo>
                  <a:cubicBezTo>
                    <a:pt x="615" y="465"/>
                    <a:pt x="612" y="460"/>
                    <a:pt x="615" y="460"/>
                  </a:cubicBezTo>
                  <a:cubicBezTo>
                    <a:pt x="621" y="469"/>
                    <a:pt x="632" y="472"/>
                    <a:pt x="642" y="467"/>
                  </a:cubicBezTo>
                  <a:cubicBezTo>
                    <a:pt x="643" y="467"/>
                    <a:pt x="643" y="467"/>
                    <a:pt x="644" y="467"/>
                  </a:cubicBezTo>
                  <a:cubicBezTo>
                    <a:pt x="645" y="466"/>
                    <a:pt x="645" y="465"/>
                    <a:pt x="646" y="464"/>
                  </a:cubicBezTo>
                  <a:cubicBezTo>
                    <a:pt x="648" y="462"/>
                    <a:pt x="651" y="463"/>
                    <a:pt x="653" y="463"/>
                  </a:cubicBezTo>
                  <a:cubicBezTo>
                    <a:pt x="657" y="463"/>
                    <a:pt x="661" y="464"/>
                    <a:pt x="665" y="465"/>
                  </a:cubicBezTo>
                  <a:cubicBezTo>
                    <a:pt x="668" y="466"/>
                    <a:pt x="670" y="467"/>
                    <a:pt x="672" y="468"/>
                  </a:cubicBezTo>
                  <a:cubicBezTo>
                    <a:pt x="676" y="468"/>
                    <a:pt x="675" y="467"/>
                    <a:pt x="677" y="465"/>
                  </a:cubicBezTo>
                  <a:cubicBezTo>
                    <a:pt x="676" y="465"/>
                    <a:pt x="680" y="463"/>
                    <a:pt x="680" y="463"/>
                  </a:cubicBezTo>
                  <a:cubicBezTo>
                    <a:pt x="682" y="462"/>
                    <a:pt x="685" y="460"/>
                    <a:pt x="687" y="460"/>
                  </a:cubicBezTo>
                  <a:cubicBezTo>
                    <a:pt x="690" y="459"/>
                    <a:pt x="692" y="460"/>
                    <a:pt x="694" y="459"/>
                  </a:cubicBezTo>
                  <a:cubicBezTo>
                    <a:pt x="694" y="458"/>
                    <a:pt x="695" y="456"/>
                    <a:pt x="695" y="455"/>
                  </a:cubicBezTo>
                  <a:cubicBezTo>
                    <a:pt x="696" y="450"/>
                    <a:pt x="695" y="444"/>
                    <a:pt x="694" y="439"/>
                  </a:cubicBezTo>
                  <a:cubicBezTo>
                    <a:pt x="691" y="429"/>
                    <a:pt x="690" y="419"/>
                    <a:pt x="684" y="410"/>
                  </a:cubicBezTo>
                  <a:cubicBezTo>
                    <a:pt x="682" y="406"/>
                    <a:pt x="679" y="405"/>
                    <a:pt x="677" y="401"/>
                  </a:cubicBezTo>
                  <a:cubicBezTo>
                    <a:pt x="676" y="398"/>
                    <a:pt x="677" y="394"/>
                    <a:pt x="677" y="391"/>
                  </a:cubicBezTo>
                  <a:cubicBezTo>
                    <a:pt x="677" y="387"/>
                    <a:pt x="676" y="384"/>
                    <a:pt x="677" y="380"/>
                  </a:cubicBezTo>
                  <a:cubicBezTo>
                    <a:pt x="677" y="376"/>
                    <a:pt x="679" y="374"/>
                    <a:pt x="681" y="371"/>
                  </a:cubicBezTo>
                  <a:cubicBezTo>
                    <a:pt x="684" y="365"/>
                    <a:pt x="683" y="359"/>
                    <a:pt x="684" y="353"/>
                  </a:cubicBezTo>
                  <a:cubicBezTo>
                    <a:pt x="686" y="345"/>
                    <a:pt x="689" y="337"/>
                    <a:pt x="687" y="328"/>
                  </a:cubicBezTo>
                  <a:cubicBezTo>
                    <a:pt x="686" y="320"/>
                    <a:pt x="682" y="312"/>
                    <a:pt x="677" y="305"/>
                  </a:cubicBezTo>
                  <a:cubicBezTo>
                    <a:pt x="672" y="296"/>
                    <a:pt x="669" y="286"/>
                    <a:pt x="669" y="276"/>
                  </a:cubicBezTo>
                  <a:cubicBezTo>
                    <a:pt x="669" y="273"/>
                    <a:pt x="668" y="267"/>
                    <a:pt x="670" y="265"/>
                  </a:cubicBezTo>
                  <a:cubicBezTo>
                    <a:pt x="671" y="263"/>
                    <a:pt x="673" y="264"/>
                    <a:pt x="673" y="262"/>
                  </a:cubicBezTo>
                  <a:cubicBezTo>
                    <a:pt x="674" y="259"/>
                    <a:pt x="673" y="255"/>
                    <a:pt x="672" y="253"/>
                  </a:cubicBezTo>
                  <a:cubicBezTo>
                    <a:pt x="672" y="249"/>
                    <a:pt x="671" y="246"/>
                    <a:pt x="670" y="243"/>
                  </a:cubicBezTo>
                  <a:cubicBezTo>
                    <a:pt x="670" y="241"/>
                    <a:pt x="670" y="240"/>
                    <a:pt x="669" y="239"/>
                  </a:cubicBezTo>
                  <a:cubicBezTo>
                    <a:pt x="667" y="238"/>
                    <a:pt x="663" y="239"/>
                    <a:pt x="661" y="237"/>
                  </a:cubicBezTo>
                  <a:cubicBezTo>
                    <a:pt x="659" y="236"/>
                    <a:pt x="658" y="233"/>
                    <a:pt x="657" y="230"/>
                  </a:cubicBezTo>
                  <a:cubicBezTo>
                    <a:pt x="656" y="225"/>
                    <a:pt x="661" y="224"/>
                    <a:pt x="664" y="221"/>
                  </a:cubicBezTo>
                  <a:cubicBezTo>
                    <a:pt x="666" y="218"/>
                    <a:pt x="666" y="214"/>
                    <a:pt x="666" y="211"/>
                  </a:cubicBezTo>
                  <a:cubicBezTo>
                    <a:pt x="665" y="204"/>
                    <a:pt x="662" y="199"/>
                    <a:pt x="662" y="192"/>
                  </a:cubicBezTo>
                  <a:cubicBezTo>
                    <a:pt x="662" y="188"/>
                    <a:pt x="662" y="184"/>
                    <a:pt x="662" y="180"/>
                  </a:cubicBezTo>
                  <a:cubicBezTo>
                    <a:pt x="662" y="178"/>
                    <a:pt x="663" y="176"/>
                    <a:pt x="663" y="174"/>
                  </a:cubicBezTo>
                  <a:cubicBezTo>
                    <a:pt x="665" y="169"/>
                    <a:pt x="668" y="167"/>
                    <a:pt x="667" y="162"/>
                  </a:cubicBezTo>
                  <a:cubicBezTo>
                    <a:pt x="660" y="161"/>
                    <a:pt x="659" y="153"/>
                    <a:pt x="656" y="148"/>
                  </a:cubicBezTo>
                  <a:cubicBezTo>
                    <a:pt x="654" y="145"/>
                    <a:pt x="653" y="143"/>
                    <a:pt x="649" y="142"/>
                  </a:cubicBezTo>
                  <a:cubicBezTo>
                    <a:pt x="647" y="141"/>
                    <a:pt x="645" y="140"/>
                    <a:pt x="642" y="140"/>
                  </a:cubicBezTo>
                  <a:cubicBezTo>
                    <a:pt x="641" y="137"/>
                    <a:pt x="642" y="133"/>
                    <a:pt x="641" y="129"/>
                  </a:cubicBezTo>
                  <a:cubicBezTo>
                    <a:pt x="641" y="128"/>
                    <a:pt x="642" y="125"/>
                    <a:pt x="641" y="123"/>
                  </a:cubicBezTo>
                  <a:cubicBezTo>
                    <a:pt x="639" y="122"/>
                    <a:pt x="634" y="121"/>
                    <a:pt x="632" y="120"/>
                  </a:cubicBezTo>
                  <a:cubicBezTo>
                    <a:pt x="629" y="119"/>
                    <a:pt x="628" y="120"/>
                    <a:pt x="627" y="117"/>
                  </a:cubicBezTo>
                  <a:cubicBezTo>
                    <a:pt x="626" y="115"/>
                    <a:pt x="625" y="114"/>
                    <a:pt x="624" y="112"/>
                  </a:cubicBezTo>
                  <a:cubicBezTo>
                    <a:pt x="621" y="106"/>
                    <a:pt x="616" y="100"/>
                    <a:pt x="613" y="95"/>
                  </a:cubicBezTo>
                  <a:cubicBezTo>
                    <a:pt x="609" y="90"/>
                    <a:pt x="607" y="89"/>
                    <a:pt x="602" y="86"/>
                  </a:cubicBezTo>
                  <a:cubicBezTo>
                    <a:pt x="598" y="85"/>
                    <a:pt x="595" y="84"/>
                    <a:pt x="591" y="84"/>
                  </a:cubicBezTo>
                  <a:cubicBezTo>
                    <a:pt x="589" y="84"/>
                    <a:pt x="588" y="84"/>
                    <a:pt x="587" y="83"/>
                  </a:cubicBezTo>
                  <a:cubicBezTo>
                    <a:pt x="585" y="82"/>
                    <a:pt x="583" y="80"/>
                    <a:pt x="582" y="78"/>
                  </a:cubicBezTo>
                  <a:cubicBezTo>
                    <a:pt x="579" y="76"/>
                    <a:pt x="577" y="74"/>
                    <a:pt x="574" y="72"/>
                  </a:cubicBezTo>
                  <a:cubicBezTo>
                    <a:pt x="570" y="69"/>
                    <a:pt x="568" y="69"/>
                    <a:pt x="563" y="68"/>
                  </a:cubicBezTo>
                  <a:cubicBezTo>
                    <a:pt x="559" y="67"/>
                    <a:pt x="555" y="62"/>
                    <a:pt x="552" y="59"/>
                  </a:cubicBezTo>
                  <a:cubicBezTo>
                    <a:pt x="549" y="54"/>
                    <a:pt x="547" y="50"/>
                    <a:pt x="542" y="47"/>
                  </a:cubicBezTo>
                  <a:cubicBezTo>
                    <a:pt x="538" y="44"/>
                    <a:pt x="537" y="39"/>
                    <a:pt x="534" y="35"/>
                  </a:cubicBezTo>
                  <a:cubicBezTo>
                    <a:pt x="531" y="32"/>
                    <a:pt x="528" y="30"/>
                    <a:pt x="525" y="28"/>
                  </a:cubicBezTo>
                  <a:cubicBezTo>
                    <a:pt x="523" y="26"/>
                    <a:pt x="522" y="24"/>
                    <a:pt x="519" y="22"/>
                  </a:cubicBezTo>
                  <a:cubicBezTo>
                    <a:pt x="516" y="19"/>
                    <a:pt x="513" y="17"/>
                    <a:pt x="510" y="14"/>
                  </a:cubicBezTo>
                  <a:cubicBezTo>
                    <a:pt x="508" y="11"/>
                    <a:pt x="505" y="8"/>
                    <a:pt x="504" y="5"/>
                  </a:cubicBezTo>
                  <a:cubicBezTo>
                    <a:pt x="503" y="4"/>
                    <a:pt x="503" y="2"/>
                    <a:pt x="502" y="1"/>
                  </a:cubicBezTo>
                  <a:cubicBezTo>
                    <a:pt x="502" y="1"/>
                    <a:pt x="502" y="0"/>
                    <a:pt x="502" y="0"/>
                  </a:cubicBezTo>
                  <a:cubicBezTo>
                    <a:pt x="500" y="0"/>
                    <a:pt x="498" y="0"/>
                    <a:pt x="497" y="1"/>
                  </a:cubicBezTo>
                  <a:cubicBezTo>
                    <a:pt x="494" y="1"/>
                    <a:pt x="481" y="1"/>
                    <a:pt x="480" y="4"/>
                  </a:cubicBezTo>
                  <a:cubicBezTo>
                    <a:pt x="482" y="6"/>
                    <a:pt x="483" y="10"/>
                    <a:pt x="485" y="12"/>
                  </a:cubicBezTo>
                  <a:cubicBezTo>
                    <a:pt x="487" y="17"/>
                    <a:pt x="490" y="22"/>
                    <a:pt x="493" y="26"/>
                  </a:cubicBezTo>
                  <a:cubicBezTo>
                    <a:pt x="498" y="33"/>
                    <a:pt x="500" y="39"/>
                    <a:pt x="500" y="47"/>
                  </a:cubicBezTo>
                  <a:cubicBezTo>
                    <a:pt x="500" y="54"/>
                    <a:pt x="497" y="56"/>
                    <a:pt x="492" y="60"/>
                  </a:cubicBezTo>
                  <a:cubicBezTo>
                    <a:pt x="487" y="64"/>
                    <a:pt x="483" y="67"/>
                    <a:pt x="478" y="70"/>
                  </a:cubicBezTo>
                  <a:cubicBezTo>
                    <a:pt x="475" y="72"/>
                    <a:pt x="470" y="73"/>
                    <a:pt x="468" y="76"/>
                  </a:cubicBezTo>
                  <a:cubicBezTo>
                    <a:pt x="471" y="78"/>
                    <a:pt x="484" y="81"/>
                    <a:pt x="484" y="85"/>
                  </a:cubicBezTo>
                  <a:cubicBezTo>
                    <a:pt x="484" y="86"/>
                    <a:pt x="481" y="88"/>
                    <a:pt x="481" y="89"/>
                  </a:cubicBezTo>
                  <a:cubicBezTo>
                    <a:pt x="480" y="91"/>
                    <a:pt x="480" y="92"/>
                    <a:pt x="478" y="95"/>
                  </a:cubicBezTo>
                  <a:cubicBezTo>
                    <a:pt x="478" y="96"/>
                    <a:pt x="475" y="100"/>
                    <a:pt x="474" y="101"/>
                  </a:cubicBezTo>
                  <a:cubicBezTo>
                    <a:pt x="472" y="102"/>
                    <a:pt x="471" y="101"/>
                    <a:pt x="469" y="101"/>
                  </a:cubicBezTo>
                  <a:cubicBezTo>
                    <a:pt x="462" y="100"/>
                    <a:pt x="456" y="98"/>
                    <a:pt x="449" y="94"/>
                  </a:cubicBezTo>
                  <a:cubicBezTo>
                    <a:pt x="444" y="91"/>
                    <a:pt x="438" y="92"/>
                    <a:pt x="432" y="91"/>
                  </a:cubicBezTo>
                  <a:cubicBezTo>
                    <a:pt x="423" y="89"/>
                    <a:pt x="414" y="87"/>
                    <a:pt x="405" y="84"/>
                  </a:cubicBezTo>
                  <a:cubicBezTo>
                    <a:pt x="403" y="83"/>
                    <a:pt x="399" y="83"/>
                    <a:pt x="397" y="82"/>
                  </a:cubicBezTo>
                  <a:cubicBezTo>
                    <a:pt x="394" y="81"/>
                    <a:pt x="393" y="80"/>
                    <a:pt x="391" y="80"/>
                  </a:cubicBezTo>
                  <a:cubicBezTo>
                    <a:pt x="387" y="80"/>
                    <a:pt x="382" y="81"/>
                    <a:pt x="379" y="78"/>
                  </a:cubicBezTo>
                  <a:cubicBezTo>
                    <a:pt x="380" y="83"/>
                    <a:pt x="380" y="89"/>
                    <a:pt x="380" y="94"/>
                  </a:cubicBezTo>
                  <a:cubicBezTo>
                    <a:pt x="380" y="117"/>
                    <a:pt x="380" y="117"/>
                    <a:pt x="380" y="117"/>
                  </a:cubicBezTo>
                  <a:cubicBezTo>
                    <a:pt x="380" y="119"/>
                    <a:pt x="380" y="123"/>
                    <a:pt x="380" y="124"/>
                  </a:cubicBezTo>
                  <a:cubicBezTo>
                    <a:pt x="379" y="126"/>
                    <a:pt x="378" y="128"/>
                    <a:pt x="378" y="129"/>
                  </a:cubicBezTo>
                  <a:cubicBezTo>
                    <a:pt x="377" y="132"/>
                    <a:pt x="375" y="134"/>
                    <a:pt x="373" y="137"/>
                  </a:cubicBezTo>
                  <a:cubicBezTo>
                    <a:pt x="371" y="142"/>
                    <a:pt x="368" y="147"/>
                    <a:pt x="366" y="151"/>
                  </a:cubicBezTo>
                  <a:cubicBezTo>
                    <a:pt x="365" y="153"/>
                    <a:pt x="365" y="155"/>
                    <a:pt x="364" y="157"/>
                  </a:cubicBezTo>
                  <a:cubicBezTo>
                    <a:pt x="359" y="155"/>
                    <a:pt x="354" y="152"/>
                    <a:pt x="349" y="151"/>
                  </a:cubicBezTo>
                  <a:cubicBezTo>
                    <a:pt x="345" y="149"/>
                    <a:pt x="343" y="147"/>
                    <a:pt x="340" y="146"/>
                  </a:cubicBezTo>
                  <a:cubicBezTo>
                    <a:pt x="336" y="144"/>
                    <a:pt x="329" y="144"/>
                    <a:pt x="325" y="145"/>
                  </a:cubicBezTo>
                  <a:cubicBezTo>
                    <a:pt x="322" y="146"/>
                    <a:pt x="319" y="149"/>
                    <a:pt x="317" y="151"/>
                  </a:cubicBezTo>
                  <a:cubicBezTo>
                    <a:pt x="313" y="153"/>
                    <a:pt x="311" y="155"/>
                    <a:pt x="308" y="159"/>
                  </a:cubicBezTo>
                  <a:cubicBezTo>
                    <a:pt x="305" y="163"/>
                    <a:pt x="302" y="168"/>
                    <a:pt x="299" y="172"/>
                  </a:cubicBezTo>
                  <a:cubicBezTo>
                    <a:pt x="298" y="173"/>
                    <a:pt x="295" y="175"/>
                    <a:pt x="295" y="177"/>
                  </a:cubicBezTo>
                  <a:cubicBezTo>
                    <a:pt x="292" y="178"/>
                    <a:pt x="292" y="181"/>
                    <a:pt x="291" y="183"/>
                  </a:cubicBezTo>
                  <a:cubicBezTo>
                    <a:pt x="290" y="185"/>
                    <a:pt x="289" y="186"/>
                    <a:pt x="288" y="188"/>
                  </a:cubicBezTo>
                  <a:cubicBezTo>
                    <a:pt x="289" y="187"/>
                    <a:pt x="290" y="187"/>
                    <a:pt x="290" y="187"/>
                  </a:cubicBezTo>
                  <a:cubicBezTo>
                    <a:pt x="289" y="188"/>
                    <a:pt x="289" y="190"/>
                    <a:pt x="288" y="192"/>
                  </a:cubicBezTo>
                  <a:cubicBezTo>
                    <a:pt x="287" y="195"/>
                    <a:pt x="285" y="199"/>
                    <a:pt x="284" y="202"/>
                  </a:cubicBezTo>
                  <a:cubicBezTo>
                    <a:pt x="282" y="207"/>
                    <a:pt x="280" y="211"/>
                    <a:pt x="279" y="216"/>
                  </a:cubicBezTo>
                  <a:cubicBezTo>
                    <a:pt x="279" y="220"/>
                    <a:pt x="278" y="223"/>
                    <a:pt x="274" y="224"/>
                  </a:cubicBezTo>
                  <a:cubicBezTo>
                    <a:pt x="269" y="227"/>
                    <a:pt x="268" y="229"/>
                    <a:pt x="267" y="234"/>
                  </a:cubicBezTo>
                  <a:cubicBezTo>
                    <a:pt x="266" y="237"/>
                    <a:pt x="266" y="239"/>
                    <a:pt x="266" y="243"/>
                  </a:cubicBezTo>
                  <a:cubicBezTo>
                    <a:pt x="266" y="245"/>
                    <a:pt x="266" y="247"/>
                    <a:pt x="267" y="249"/>
                  </a:cubicBezTo>
                  <a:cubicBezTo>
                    <a:pt x="268" y="253"/>
                    <a:pt x="268" y="256"/>
                    <a:pt x="269" y="259"/>
                  </a:cubicBezTo>
                  <a:cubicBezTo>
                    <a:pt x="269" y="261"/>
                    <a:pt x="271" y="263"/>
                    <a:pt x="272" y="265"/>
                  </a:cubicBezTo>
                  <a:cubicBezTo>
                    <a:pt x="272" y="266"/>
                    <a:pt x="272" y="268"/>
                    <a:pt x="272" y="270"/>
                  </a:cubicBezTo>
                  <a:cubicBezTo>
                    <a:pt x="272" y="272"/>
                    <a:pt x="274" y="275"/>
                    <a:pt x="275" y="278"/>
                  </a:cubicBezTo>
                  <a:cubicBezTo>
                    <a:pt x="276" y="282"/>
                    <a:pt x="277" y="294"/>
                    <a:pt x="273" y="297"/>
                  </a:cubicBezTo>
                  <a:cubicBezTo>
                    <a:pt x="269" y="299"/>
                    <a:pt x="265" y="300"/>
                    <a:pt x="261" y="303"/>
                  </a:cubicBezTo>
                  <a:cubicBezTo>
                    <a:pt x="258" y="306"/>
                    <a:pt x="256" y="310"/>
                    <a:pt x="256" y="314"/>
                  </a:cubicBezTo>
                  <a:cubicBezTo>
                    <a:pt x="255" y="319"/>
                    <a:pt x="252" y="323"/>
                    <a:pt x="250" y="327"/>
                  </a:cubicBezTo>
                  <a:cubicBezTo>
                    <a:pt x="247" y="335"/>
                    <a:pt x="243" y="344"/>
                    <a:pt x="239" y="352"/>
                  </a:cubicBezTo>
                  <a:cubicBezTo>
                    <a:pt x="237" y="357"/>
                    <a:pt x="236" y="360"/>
                    <a:pt x="231" y="363"/>
                  </a:cubicBezTo>
                  <a:cubicBezTo>
                    <a:pt x="227" y="366"/>
                    <a:pt x="224" y="368"/>
                    <a:pt x="225" y="374"/>
                  </a:cubicBezTo>
                  <a:cubicBezTo>
                    <a:pt x="225" y="379"/>
                    <a:pt x="233" y="388"/>
                    <a:pt x="230" y="394"/>
                  </a:cubicBezTo>
                  <a:cubicBezTo>
                    <a:pt x="228" y="397"/>
                    <a:pt x="223" y="396"/>
                    <a:pt x="220" y="398"/>
                  </a:cubicBezTo>
                  <a:cubicBezTo>
                    <a:pt x="215" y="401"/>
                    <a:pt x="215" y="408"/>
                    <a:pt x="209" y="410"/>
                  </a:cubicBezTo>
                  <a:cubicBezTo>
                    <a:pt x="206" y="412"/>
                    <a:pt x="201" y="413"/>
                    <a:pt x="197" y="414"/>
                  </a:cubicBezTo>
                  <a:cubicBezTo>
                    <a:pt x="193" y="415"/>
                    <a:pt x="181" y="412"/>
                    <a:pt x="178" y="415"/>
                  </a:cubicBezTo>
                  <a:cubicBezTo>
                    <a:pt x="178" y="415"/>
                    <a:pt x="178" y="416"/>
                    <a:pt x="178" y="416"/>
                  </a:cubicBezTo>
                  <a:cubicBezTo>
                    <a:pt x="178" y="418"/>
                    <a:pt x="178" y="422"/>
                    <a:pt x="178" y="422"/>
                  </a:cubicBezTo>
                  <a:cubicBezTo>
                    <a:pt x="179" y="428"/>
                    <a:pt x="180" y="435"/>
                    <a:pt x="181" y="441"/>
                  </a:cubicBezTo>
                  <a:cubicBezTo>
                    <a:pt x="182" y="449"/>
                    <a:pt x="186" y="456"/>
                    <a:pt x="184" y="463"/>
                  </a:cubicBezTo>
                  <a:cubicBezTo>
                    <a:pt x="184" y="466"/>
                    <a:pt x="184" y="467"/>
                    <a:pt x="183" y="469"/>
                  </a:cubicBezTo>
                  <a:cubicBezTo>
                    <a:pt x="182" y="470"/>
                    <a:pt x="181" y="471"/>
                    <a:pt x="180" y="471"/>
                  </a:cubicBezTo>
                  <a:cubicBezTo>
                    <a:pt x="179" y="473"/>
                    <a:pt x="179" y="475"/>
                    <a:pt x="178" y="477"/>
                  </a:cubicBezTo>
                  <a:cubicBezTo>
                    <a:pt x="177" y="481"/>
                    <a:pt x="174" y="485"/>
                    <a:pt x="174" y="490"/>
                  </a:cubicBezTo>
                  <a:cubicBezTo>
                    <a:pt x="173" y="496"/>
                    <a:pt x="174" y="502"/>
                    <a:pt x="175" y="508"/>
                  </a:cubicBezTo>
                  <a:cubicBezTo>
                    <a:pt x="175" y="513"/>
                    <a:pt x="175" y="518"/>
                    <a:pt x="175" y="524"/>
                  </a:cubicBezTo>
                  <a:cubicBezTo>
                    <a:pt x="175" y="530"/>
                    <a:pt x="175" y="531"/>
                    <a:pt x="171" y="534"/>
                  </a:cubicBezTo>
                  <a:cubicBezTo>
                    <a:pt x="168" y="536"/>
                    <a:pt x="166" y="540"/>
                    <a:pt x="165" y="543"/>
                  </a:cubicBezTo>
                  <a:cubicBezTo>
                    <a:pt x="163" y="547"/>
                    <a:pt x="162" y="552"/>
                    <a:pt x="160" y="556"/>
                  </a:cubicBezTo>
                  <a:cubicBezTo>
                    <a:pt x="157" y="561"/>
                    <a:pt x="157" y="567"/>
                    <a:pt x="154" y="570"/>
                  </a:cubicBezTo>
                  <a:cubicBezTo>
                    <a:pt x="153" y="572"/>
                    <a:pt x="153" y="574"/>
                    <a:pt x="152" y="576"/>
                  </a:cubicBezTo>
                  <a:cubicBezTo>
                    <a:pt x="151" y="578"/>
                    <a:pt x="151" y="580"/>
                    <a:pt x="151" y="582"/>
                  </a:cubicBezTo>
                  <a:cubicBezTo>
                    <a:pt x="150" y="586"/>
                    <a:pt x="149" y="590"/>
                    <a:pt x="147" y="593"/>
                  </a:cubicBezTo>
                  <a:cubicBezTo>
                    <a:pt x="145" y="598"/>
                    <a:pt x="142" y="602"/>
                    <a:pt x="139" y="606"/>
                  </a:cubicBezTo>
                  <a:cubicBezTo>
                    <a:pt x="137" y="609"/>
                    <a:pt x="135" y="612"/>
                    <a:pt x="134" y="615"/>
                  </a:cubicBezTo>
                  <a:cubicBezTo>
                    <a:pt x="137" y="616"/>
                    <a:pt x="138" y="618"/>
                    <a:pt x="140" y="620"/>
                  </a:cubicBezTo>
                  <a:cubicBezTo>
                    <a:pt x="143" y="621"/>
                    <a:pt x="145" y="622"/>
                    <a:pt x="148" y="624"/>
                  </a:cubicBezTo>
                  <a:cubicBezTo>
                    <a:pt x="153" y="628"/>
                    <a:pt x="151" y="636"/>
                    <a:pt x="151" y="642"/>
                  </a:cubicBezTo>
                  <a:cubicBezTo>
                    <a:pt x="151" y="646"/>
                    <a:pt x="151" y="650"/>
                    <a:pt x="151" y="653"/>
                  </a:cubicBezTo>
                  <a:cubicBezTo>
                    <a:pt x="152" y="657"/>
                    <a:pt x="154" y="661"/>
                    <a:pt x="155" y="665"/>
                  </a:cubicBezTo>
                  <a:cubicBezTo>
                    <a:pt x="155" y="669"/>
                    <a:pt x="154" y="672"/>
                    <a:pt x="152" y="676"/>
                  </a:cubicBezTo>
                  <a:cubicBezTo>
                    <a:pt x="151" y="679"/>
                    <a:pt x="150" y="684"/>
                    <a:pt x="148" y="687"/>
                  </a:cubicBezTo>
                  <a:cubicBezTo>
                    <a:pt x="144" y="685"/>
                    <a:pt x="138" y="685"/>
                    <a:pt x="134" y="684"/>
                  </a:cubicBezTo>
                  <a:cubicBezTo>
                    <a:pt x="128" y="684"/>
                    <a:pt x="123" y="683"/>
                    <a:pt x="117" y="682"/>
                  </a:cubicBezTo>
                  <a:cubicBezTo>
                    <a:pt x="112" y="682"/>
                    <a:pt x="108" y="683"/>
                    <a:pt x="103" y="683"/>
                  </a:cubicBezTo>
                  <a:cubicBezTo>
                    <a:pt x="98" y="683"/>
                    <a:pt x="94" y="684"/>
                    <a:pt x="89" y="686"/>
                  </a:cubicBezTo>
                  <a:cubicBezTo>
                    <a:pt x="85" y="688"/>
                    <a:pt x="84" y="692"/>
                    <a:pt x="81" y="694"/>
                  </a:cubicBezTo>
                  <a:cubicBezTo>
                    <a:pt x="80" y="695"/>
                    <a:pt x="78" y="695"/>
                    <a:pt x="76" y="696"/>
                  </a:cubicBezTo>
                  <a:cubicBezTo>
                    <a:pt x="74" y="697"/>
                    <a:pt x="73" y="699"/>
                    <a:pt x="71" y="700"/>
                  </a:cubicBezTo>
                  <a:cubicBezTo>
                    <a:pt x="70" y="702"/>
                    <a:pt x="70" y="703"/>
                    <a:pt x="68" y="705"/>
                  </a:cubicBezTo>
                  <a:cubicBezTo>
                    <a:pt x="67" y="706"/>
                    <a:pt x="67" y="708"/>
                    <a:pt x="67" y="710"/>
                  </a:cubicBezTo>
                  <a:cubicBezTo>
                    <a:pt x="66" y="712"/>
                    <a:pt x="65" y="715"/>
                    <a:pt x="64" y="718"/>
                  </a:cubicBezTo>
                  <a:cubicBezTo>
                    <a:pt x="63" y="722"/>
                    <a:pt x="60" y="727"/>
                    <a:pt x="57" y="731"/>
                  </a:cubicBezTo>
                  <a:cubicBezTo>
                    <a:pt x="54" y="736"/>
                    <a:pt x="49" y="738"/>
                    <a:pt x="48" y="745"/>
                  </a:cubicBezTo>
                  <a:cubicBezTo>
                    <a:pt x="48" y="749"/>
                    <a:pt x="48" y="753"/>
                    <a:pt x="48" y="757"/>
                  </a:cubicBezTo>
                  <a:cubicBezTo>
                    <a:pt x="48" y="762"/>
                    <a:pt x="49" y="770"/>
                    <a:pt x="46" y="775"/>
                  </a:cubicBezTo>
                  <a:cubicBezTo>
                    <a:pt x="45" y="777"/>
                    <a:pt x="44" y="778"/>
                    <a:pt x="44" y="780"/>
                  </a:cubicBezTo>
                  <a:cubicBezTo>
                    <a:pt x="44" y="782"/>
                    <a:pt x="45" y="784"/>
                    <a:pt x="45" y="786"/>
                  </a:cubicBezTo>
                  <a:cubicBezTo>
                    <a:pt x="47" y="789"/>
                    <a:pt x="48" y="792"/>
                    <a:pt x="49" y="795"/>
                  </a:cubicBezTo>
                  <a:cubicBezTo>
                    <a:pt x="50" y="799"/>
                    <a:pt x="50" y="803"/>
                    <a:pt x="52" y="807"/>
                  </a:cubicBezTo>
                  <a:cubicBezTo>
                    <a:pt x="53" y="809"/>
                    <a:pt x="54" y="810"/>
                    <a:pt x="53" y="812"/>
                  </a:cubicBezTo>
                  <a:cubicBezTo>
                    <a:pt x="53" y="814"/>
                    <a:pt x="50" y="816"/>
                    <a:pt x="49" y="817"/>
                  </a:cubicBezTo>
                  <a:cubicBezTo>
                    <a:pt x="48" y="818"/>
                    <a:pt x="48" y="820"/>
                    <a:pt x="47" y="821"/>
                  </a:cubicBezTo>
                  <a:cubicBezTo>
                    <a:pt x="47" y="822"/>
                    <a:pt x="45" y="821"/>
                    <a:pt x="45" y="822"/>
                  </a:cubicBezTo>
                  <a:cubicBezTo>
                    <a:pt x="44" y="824"/>
                    <a:pt x="45" y="828"/>
                    <a:pt x="45" y="830"/>
                  </a:cubicBezTo>
                  <a:cubicBezTo>
                    <a:pt x="45" y="836"/>
                    <a:pt x="45" y="841"/>
                    <a:pt x="45" y="847"/>
                  </a:cubicBezTo>
                  <a:cubicBezTo>
                    <a:pt x="45" y="851"/>
                    <a:pt x="44" y="855"/>
                    <a:pt x="43" y="860"/>
                  </a:cubicBezTo>
                  <a:cubicBezTo>
                    <a:pt x="43" y="863"/>
                    <a:pt x="44" y="863"/>
                    <a:pt x="45" y="866"/>
                  </a:cubicBezTo>
                  <a:cubicBezTo>
                    <a:pt x="49" y="872"/>
                    <a:pt x="52" y="879"/>
                    <a:pt x="55" y="886"/>
                  </a:cubicBezTo>
                  <a:cubicBezTo>
                    <a:pt x="56" y="888"/>
                    <a:pt x="57" y="890"/>
                    <a:pt x="57" y="892"/>
                  </a:cubicBezTo>
                  <a:cubicBezTo>
                    <a:pt x="58" y="896"/>
                    <a:pt x="57" y="900"/>
                    <a:pt x="57" y="904"/>
                  </a:cubicBezTo>
                  <a:cubicBezTo>
                    <a:pt x="57" y="918"/>
                    <a:pt x="57" y="931"/>
                    <a:pt x="54" y="944"/>
                  </a:cubicBezTo>
                  <a:cubicBezTo>
                    <a:pt x="53" y="950"/>
                    <a:pt x="48" y="958"/>
                    <a:pt x="51" y="964"/>
                  </a:cubicBezTo>
                  <a:cubicBezTo>
                    <a:pt x="53" y="968"/>
                    <a:pt x="58" y="969"/>
                    <a:pt x="61" y="971"/>
                  </a:cubicBezTo>
                  <a:cubicBezTo>
                    <a:pt x="64" y="973"/>
                    <a:pt x="65" y="976"/>
                    <a:pt x="68" y="979"/>
                  </a:cubicBezTo>
                  <a:cubicBezTo>
                    <a:pt x="72" y="983"/>
                    <a:pt x="80" y="979"/>
                    <a:pt x="84" y="985"/>
                  </a:cubicBezTo>
                  <a:cubicBezTo>
                    <a:pt x="85" y="985"/>
                    <a:pt x="84" y="987"/>
                    <a:pt x="85" y="987"/>
                  </a:cubicBezTo>
                  <a:cubicBezTo>
                    <a:pt x="86" y="989"/>
                    <a:pt x="87" y="989"/>
                    <a:pt x="88" y="990"/>
                  </a:cubicBezTo>
                  <a:cubicBezTo>
                    <a:pt x="90" y="992"/>
                    <a:pt x="93" y="998"/>
                    <a:pt x="96" y="999"/>
                  </a:cubicBezTo>
                  <a:cubicBezTo>
                    <a:pt x="97" y="1003"/>
                    <a:pt x="92" y="1008"/>
                    <a:pt x="90" y="1011"/>
                  </a:cubicBezTo>
                  <a:cubicBezTo>
                    <a:pt x="88" y="1016"/>
                    <a:pt x="86" y="1021"/>
                    <a:pt x="84" y="1026"/>
                  </a:cubicBezTo>
                  <a:cubicBezTo>
                    <a:pt x="82" y="1029"/>
                    <a:pt x="82" y="1028"/>
                    <a:pt x="82" y="1030"/>
                  </a:cubicBezTo>
                  <a:cubicBezTo>
                    <a:pt x="81" y="1032"/>
                    <a:pt x="82" y="1032"/>
                    <a:pt x="81" y="1034"/>
                  </a:cubicBezTo>
                  <a:cubicBezTo>
                    <a:pt x="80" y="1034"/>
                    <a:pt x="79" y="1035"/>
                    <a:pt x="77" y="1035"/>
                  </a:cubicBezTo>
                  <a:cubicBezTo>
                    <a:pt x="76" y="1035"/>
                    <a:pt x="76" y="1035"/>
                    <a:pt x="76" y="1036"/>
                  </a:cubicBezTo>
                  <a:cubicBezTo>
                    <a:pt x="75" y="1036"/>
                    <a:pt x="74" y="1036"/>
                    <a:pt x="73" y="1037"/>
                  </a:cubicBezTo>
                  <a:cubicBezTo>
                    <a:pt x="71" y="1038"/>
                    <a:pt x="69" y="1039"/>
                    <a:pt x="66" y="1039"/>
                  </a:cubicBezTo>
                  <a:cubicBezTo>
                    <a:pt x="64" y="1040"/>
                    <a:pt x="63" y="1039"/>
                    <a:pt x="61" y="1039"/>
                  </a:cubicBezTo>
                  <a:cubicBezTo>
                    <a:pt x="60" y="1042"/>
                    <a:pt x="62" y="1048"/>
                    <a:pt x="62" y="1051"/>
                  </a:cubicBezTo>
                  <a:cubicBezTo>
                    <a:pt x="63" y="1055"/>
                    <a:pt x="64" y="1059"/>
                    <a:pt x="65" y="1063"/>
                  </a:cubicBezTo>
                  <a:cubicBezTo>
                    <a:pt x="68" y="1075"/>
                    <a:pt x="76" y="1084"/>
                    <a:pt x="78" y="1096"/>
                  </a:cubicBezTo>
                  <a:cubicBezTo>
                    <a:pt x="78" y="1099"/>
                    <a:pt x="79" y="1102"/>
                    <a:pt x="78" y="1105"/>
                  </a:cubicBezTo>
                  <a:cubicBezTo>
                    <a:pt x="78" y="1107"/>
                    <a:pt x="77" y="1108"/>
                    <a:pt x="75" y="1111"/>
                  </a:cubicBezTo>
                  <a:cubicBezTo>
                    <a:pt x="72" y="1116"/>
                    <a:pt x="67" y="1122"/>
                    <a:pt x="65" y="1129"/>
                  </a:cubicBezTo>
                  <a:cubicBezTo>
                    <a:pt x="66" y="1128"/>
                    <a:pt x="67" y="1128"/>
                    <a:pt x="67" y="1128"/>
                  </a:cubicBezTo>
                  <a:cubicBezTo>
                    <a:pt x="68" y="1127"/>
                    <a:pt x="69" y="1126"/>
                    <a:pt x="70" y="1128"/>
                  </a:cubicBezTo>
                  <a:cubicBezTo>
                    <a:pt x="69" y="1128"/>
                    <a:pt x="68" y="1128"/>
                    <a:pt x="67" y="1128"/>
                  </a:cubicBezTo>
                  <a:cubicBezTo>
                    <a:pt x="67" y="1129"/>
                    <a:pt x="67" y="1131"/>
                    <a:pt x="67" y="1131"/>
                  </a:cubicBezTo>
                  <a:cubicBezTo>
                    <a:pt x="66" y="1134"/>
                    <a:pt x="64" y="1135"/>
                    <a:pt x="63" y="1138"/>
                  </a:cubicBezTo>
                  <a:cubicBezTo>
                    <a:pt x="61" y="1143"/>
                    <a:pt x="62" y="1150"/>
                    <a:pt x="60" y="1154"/>
                  </a:cubicBezTo>
                  <a:cubicBezTo>
                    <a:pt x="57" y="1158"/>
                    <a:pt x="52" y="1161"/>
                    <a:pt x="49" y="1162"/>
                  </a:cubicBezTo>
                  <a:cubicBezTo>
                    <a:pt x="44" y="1164"/>
                    <a:pt x="41" y="1169"/>
                    <a:pt x="35" y="1169"/>
                  </a:cubicBezTo>
                  <a:cubicBezTo>
                    <a:pt x="34" y="1173"/>
                    <a:pt x="39" y="1177"/>
                    <a:pt x="39" y="1181"/>
                  </a:cubicBezTo>
                  <a:cubicBezTo>
                    <a:pt x="38" y="1184"/>
                    <a:pt x="38" y="1185"/>
                    <a:pt x="36" y="1187"/>
                  </a:cubicBezTo>
                  <a:cubicBezTo>
                    <a:pt x="35" y="1189"/>
                    <a:pt x="31" y="1192"/>
                    <a:pt x="30" y="1195"/>
                  </a:cubicBezTo>
                  <a:cubicBezTo>
                    <a:pt x="30" y="1197"/>
                    <a:pt x="30" y="1200"/>
                    <a:pt x="30" y="1202"/>
                  </a:cubicBezTo>
                  <a:cubicBezTo>
                    <a:pt x="30" y="1210"/>
                    <a:pt x="33" y="1218"/>
                    <a:pt x="33" y="1226"/>
                  </a:cubicBezTo>
                  <a:cubicBezTo>
                    <a:pt x="33" y="1235"/>
                    <a:pt x="33" y="1244"/>
                    <a:pt x="30" y="1253"/>
                  </a:cubicBezTo>
                  <a:cubicBezTo>
                    <a:pt x="29" y="1258"/>
                    <a:pt x="30" y="1262"/>
                    <a:pt x="29" y="1266"/>
                  </a:cubicBezTo>
                  <a:cubicBezTo>
                    <a:pt x="28" y="1270"/>
                    <a:pt x="26" y="1274"/>
                    <a:pt x="21" y="1273"/>
                  </a:cubicBezTo>
                  <a:cubicBezTo>
                    <a:pt x="20" y="1273"/>
                    <a:pt x="21" y="1271"/>
                    <a:pt x="19" y="1271"/>
                  </a:cubicBezTo>
                  <a:cubicBezTo>
                    <a:pt x="18" y="1270"/>
                    <a:pt x="17" y="1270"/>
                    <a:pt x="16" y="1270"/>
                  </a:cubicBezTo>
                  <a:cubicBezTo>
                    <a:pt x="13" y="1268"/>
                    <a:pt x="13" y="1265"/>
                    <a:pt x="12" y="1262"/>
                  </a:cubicBezTo>
                  <a:cubicBezTo>
                    <a:pt x="11" y="1259"/>
                    <a:pt x="11" y="1253"/>
                    <a:pt x="8" y="1252"/>
                  </a:cubicBezTo>
                  <a:cubicBezTo>
                    <a:pt x="6" y="1251"/>
                    <a:pt x="3" y="1253"/>
                    <a:pt x="2" y="1254"/>
                  </a:cubicBezTo>
                  <a:cubicBezTo>
                    <a:pt x="2" y="1254"/>
                    <a:pt x="2" y="1255"/>
                    <a:pt x="2" y="125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0" name="Freeform 61">
              <a:extLst>
                <a:ext uri="{FF2B5EF4-FFF2-40B4-BE49-F238E27FC236}">
                  <a16:creationId xmlns:a16="http://schemas.microsoft.com/office/drawing/2014/main" id="{5F7225E1-F03E-458A-B2DA-E63D4A103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0188" y="3175000"/>
              <a:ext cx="106363" cy="204788"/>
            </a:xfrm>
            <a:custGeom>
              <a:avLst/>
              <a:gdLst/>
              <a:ahLst/>
              <a:cxnLst>
                <a:cxn ang="0">
                  <a:pos x="55" y="10"/>
                </a:cxn>
                <a:cxn ang="0">
                  <a:pos x="55" y="23"/>
                </a:cxn>
                <a:cxn ang="0">
                  <a:pos x="49" y="25"/>
                </a:cxn>
                <a:cxn ang="0">
                  <a:pos x="46" y="27"/>
                </a:cxn>
                <a:cxn ang="0">
                  <a:pos x="43" y="28"/>
                </a:cxn>
                <a:cxn ang="0">
                  <a:pos x="42" y="39"/>
                </a:cxn>
                <a:cxn ang="0">
                  <a:pos x="42" y="51"/>
                </a:cxn>
                <a:cxn ang="0">
                  <a:pos x="46" y="54"/>
                </a:cxn>
                <a:cxn ang="0">
                  <a:pos x="44" y="61"/>
                </a:cxn>
                <a:cxn ang="0">
                  <a:pos x="39" y="64"/>
                </a:cxn>
                <a:cxn ang="0">
                  <a:pos x="39" y="68"/>
                </a:cxn>
                <a:cxn ang="0">
                  <a:pos x="38" y="72"/>
                </a:cxn>
                <a:cxn ang="0">
                  <a:pos x="35" y="79"/>
                </a:cxn>
                <a:cxn ang="0">
                  <a:pos x="29" y="84"/>
                </a:cxn>
                <a:cxn ang="0">
                  <a:pos x="24" y="87"/>
                </a:cxn>
                <a:cxn ang="0">
                  <a:pos x="18" y="92"/>
                </a:cxn>
                <a:cxn ang="0">
                  <a:pos x="15" y="98"/>
                </a:cxn>
                <a:cxn ang="0">
                  <a:pos x="6" y="107"/>
                </a:cxn>
                <a:cxn ang="0">
                  <a:pos x="4" y="105"/>
                </a:cxn>
                <a:cxn ang="0">
                  <a:pos x="5" y="101"/>
                </a:cxn>
                <a:cxn ang="0">
                  <a:pos x="7" y="94"/>
                </a:cxn>
                <a:cxn ang="0">
                  <a:pos x="4" y="86"/>
                </a:cxn>
                <a:cxn ang="0">
                  <a:pos x="1" y="77"/>
                </a:cxn>
                <a:cxn ang="0">
                  <a:pos x="1" y="67"/>
                </a:cxn>
                <a:cxn ang="0">
                  <a:pos x="3" y="59"/>
                </a:cxn>
                <a:cxn ang="0">
                  <a:pos x="2" y="45"/>
                </a:cxn>
                <a:cxn ang="0">
                  <a:pos x="7" y="41"/>
                </a:cxn>
                <a:cxn ang="0">
                  <a:pos x="13" y="35"/>
                </a:cxn>
                <a:cxn ang="0">
                  <a:pos x="13" y="22"/>
                </a:cxn>
                <a:cxn ang="0">
                  <a:pos x="37" y="5"/>
                </a:cxn>
                <a:cxn ang="0">
                  <a:pos x="42" y="6"/>
                </a:cxn>
                <a:cxn ang="0">
                  <a:pos x="47" y="3"/>
                </a:cxn>
                <a:cxn ang="0">
                  <a:pos x="55" y="6"/>
                </a:cxn>
                <a:cxn ang="0">
                  <a:pos x="55" y="10"/>
                </a:cxn>
              </a:cxnLst>
              <a:rect l="0" t="0" r="r" b="b"/>
              <a:pathLst>
                <a:path w="57" h="109">
                  <a:moveTo>
                    <a:pt x="55" y="10"/>
                  </a:moveTo>
                  <a:cubicBezTo>
                    <a:pt x="55" y="13"/>
                    <a:pt x="57" y="20"/>
                    <a:pt x="55" y="23"/>
                  </a:cubicBezTo>
                  <a:cubicBezTo>
                    <a:pt x="54" y="26"/>
                    <a:pt x="51" y="24"/>
                    <a:pt x="49" y="25"/>
                  </a:cubicBezTo>
                  <a:cubicBezTo>
                    <a:pt x="48" y="26"/>
                    <a:pt x="46" y="27"/>
                    <a:pt x="46" y="27"/>
                  </a:cubicBezTo>
                  <a:cubicBezTo>
                    <a:pt x="44" y="27"/>
                    <a:pt x="45" y="26"/>
                    <a:pt x="43" y="28"/>
                  </a:cubicBezTo>
                  <a:cubicBezTo>
                    <a:pt x="39" y="31"/>
                    <a:pt x="42" y="36"/>
                    <a:pt x="42" y="39"/>
                  </a:cubicBezTo>
                  <a:cubicBezTo>
                    <a:pt x="42" y="43"/>
                    <a:pt x="40" y="47"/>
                    <a:pt x="42" y="51"/>
                  </a:cubicBezTo>
                  <a:cubicBezTo>
                    <a:pt x="43" y="53"/>
                    <a:pt x="45" y="52"/>
                    <a:pt x="46" y="54"/>
                  </a:cubicBezTo>
                  <a:cubicBezTo>
                    <a:pt x="48" y="55"/>
                    <a:pt x="45" y="59"/>
                    <a:pt x="44" y="61"/>
                  </a:cubicBezTo>
                  <a:cubicBezTo>
                    <a:pt x="43" y="62"/>
                    <a:pt x="40" y="62"/>
                    <a:pt x="39" y="64"/>
                  </a:cubicBezTo>
                  <a:cubicBezTo>
                    <a:pt x="38" y="65"/>
                    <a:pt x="39" y="67"/>
                    <a:pt x="39" y="68"/>
                  </a:cubicBezTo>
                  <a:cubicBezTo>
                    <a:pt x="39" y="69"/>
                    <a:pt x="38" y="70"/>
                    <a:pt x="38" y="72"/>
                  </a:cubicBezTo>
                  <a:cubicBezTo>
                    <a:pt x="37" y="74"/>
                    <a:pt x="37" y="77"/>
                    <a:pt x="35" y="79"/>
                  </a:cubicBezTo>
                  <a:cubicBezTo>
                    <a:pt x="34" y="81"/>
                    <a:pt x="31" y="83"/>
                    <a:pt x="29" y="84"/>
                  </a:cubicBezTo>
                  <a:cubicBezTo>
                    <a:pt x="27" y="86"/>
                    <a:pt x="26" y="86"/>
                    <a:pt x="24" y="87"/>
                  </a:cubicBezTo>
                  <a:cubicBezTo>
                    <a:pt x="21" y="88"/>
                    <a:pt x="20" y="90"/>
                    <a:pt x="18" y="92"/>
                  </a:cubicBezTo>
                  <a:cubicBezTo>
                    <a:pt x="14" y="94"/>
                    <a:pt x="15" y="94"/>
                    <a:pt x="15" y="98"/>
                  </a:cubicBezTo>
                  <a:cubicBezTo>
                    <a:pt x="15" y="102"/>
                    <a:pt x="12" y="109"/>
                    <a:pt x="6" y="107"/>
                  </a:cubicBezTo>
                  <a:cubicBezTo>
                    <a:pt x="4" y="106"/>
                    <a:pt x="5" y="108"/>
                    <a:pt x="4" y="105"/>
                  </a:cubicBezTo>
                  <a:cubicBezTo>
                    <a:pt x="3" y="103"/>
                    <a:pt x="4" y="102"/>
                    <a:pt x="5" y="101"/>
                  </a:cubicBezTo>
                  <a:cubicBezTo>
                    <a:pt x="6" y="98"/>
                    <a:pt x="7" y="97"/>
                    <a:pt x="7" y="94"/>
                  </a:cubicBezTo>
                  <a:cubicBezTo>
                    <a:pt x="8" y="91"/>
                    <a:pt x="6" y="89"/>
                    <a:pt x="4" y="86"/>
                  </a:cubicBezTo>
                  <a:cubicBezTo>
                    <a:pt x="3" y="83"/>
                    <a:pt x="2" y="80"/>
                    <a:pt x="1" y="77"/>
                  </a:cubicBezTo>
                  <a:cubicBezTo>
                    <a:pt x="1" y="74"/>
                    <a:pt x="0" y="71"/>
                    <a:pt x="1" y="67"/>
                  </a:cubicBezTo>
                  <a:cubicBezTo>
                    <a:pt x="1" y="64"/>
                    <a:pt x="3" y="62"/>
                    <a:pt x="3" y="59"/>
                  </a:cubicBezTo>
                  <a:cubicBezTo>
                    <a:pt x="2" y="55"/>
                    <a:pt x="0" y="48"/>
                    <a:pt x="2" y="45"/>
                  </a:cubicBezTo>
                  <a:cubicBezTo>
                    <a:pt x="4" y="43"/>
                    <a:pt x="6" y="42"/>
                    <a:pt x="7" y="41"/>
                  </a:cubicBezTo>
                  <a:cubicBezTo>
                    <a:pt x="9" y="39"/>
                    <a:pt x="11" y="37"/>
                    <a:pt x="13" y="35"/>
                  </a:cubicBezTo>
                  <a:cubicBezTo>
                    <a:pt x="16" y="32"/>
                    <a:pt x="14" y="27"/>
                    <a:pt x="13" y="22"/>
                  </a:cubicBezTo>
                  <a:cubicBezTo>
                    <a:pt x="7" y="8"/>
                    <a:pt x="37" y="17"/>
                    <a:pt x="37" y="5"/>
                  </a:cubicBezTo>
                  <a:cubicBezTo>
                    <a:pt x="39" y="4"/>
                    <a:pt x="40" y="6"/>
                    <a:pt x="42" y="6"/>
                  </a:cubicBezTo>
                  <a:cubicBezTo>
                    <a:pt x="45" y="6"/>
                    <a:pt x="45" y="5"/>
                    <a:pt x="47" y="3"/>
                  </a:cubicBezTo>
                  <a:cubicBezTo>
                    <a:pt x="51" y="0"/>
                    <a:pt x="55" y="1"/>
                    <a:pt x="55" y="6"/>
                  </a:cubicBezTo>
                  <a:lnTo>
                    <a:pt x="55" y="1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1" name="Freeform 62">
              <a:extLst>
                <a:ext uri="{FF2B5EF4-FFF2-40B4-BE49-F238E27FC236}">
                  <a16:creationId xmlns:a16="http://schemas.microsoft.com/office/drawing/2014/main" id="{E19CC3E8-83A5-43EA-B8BD-6AA872FD2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4025" y="330200"/>
              <a:ext cx="1131888" cy="2497138"/>
            </a:xfrm>
            <a:custGeom>
              <a:avLst/>
              <a:gdLst/>
              <a:ahLst/>
              <a:cxnLst>
                <a:cxn ang="0">
                  <a:pos x="479" y="128"/>
                </a:cxn>
                <a:cxn ang="0">
                  <a:pos x="589" y="963"/>
                </a:cxn>
                <a:cxn ang="0">
                  <a:pos x="528" y="880"/>
                </a:cxn>
                <a:cxn ang="0">
                  <a:pos x="530" y="815"/>
                </a:cxn>
                <a:cxn ang="0">
                  <a:pos x="520" y="761"/>
                </a:cxn>
                <a:cxn ang="0">
                  <a:pos x="501" y="712"/>
                </a:cxn>
                <a:cxn ang="0">
                  <a:pos x="502" y="654"/>
                </a:cxn>
                <a:cxn ang="0">
                  <a:pos x="513" y="378"/>
                </a:cxn>
                <a:cxn ang="0">
                  <a:pos x="491" y="323"/>
                </a:cxn>
                <a:cxn ang="0">
                  <a:pos x="441" y="261"/>
                </a:cxn>
                <a:cxn ang="0">
                  <a:pos x="437" y="185"/>
                </a:cxn>
                <a:cxn ang="0">
                  <a:pos x="458" y="162"/>
                </a:cxn>
                <a:cxn ang="0">
                  <a:pos x="452" y="133"/>
                </a:cxn>
                <a:cxn ang="0">
                  <a:pos x="471" y="84"/>
                </a:cxn>
                <a:cxn ang="0">
                  <a:pos x="434" y="45"/>
                </a:cxn>
                <a:cxn ang="0">
                  <a:pos x="414" y="17"/>
                </a:cxn>
                <a:cxn ang="0">
                  <a:pos x="393" y="3"/>
                </a:cxn>
                <a:cxn ang="0">
                  <a:pos x="374" y="14"/>
                </a:cxn>
                <a:cxn ang="0">
                  <a:pos x="339" y="26"/>
                </a:cxn>
                <a:cxn ang="0">
                  <a:pos x="306" y="64"/>
                </a:cxn>
                <a:cxn ang="0">
                  <a:pos x="292" y="86"/>
                </a:cxn>
                <a:cxn ang="0">
                  <a:pos x="287" y="167"/>
                </a:cxn>
                <a:cxn ang="0">
                  <a:pos x="271" y="186"/>
                </a:cxn>
                <a:cxn ang="0">
                  <a:pos x="256" y="203"/>
                </a:cxn>
                <a:cxn ang="0">
                  <a:pos x="248" y="210"/>
                </a:cxn>
                <a:cxn ang="0">
                  <a:pos x="232" y="220"/>
                </a:cxn>
                <a:cxn ang="0">
                  <a:pos x="200" y="203"/>
                </a:cxn>
                <a:cxn ang="0">
                  <a:pos x="172" y="215"/>
                </a:cxn>
                <a:cxn ang="0">
                  <a:pos x="142" y="217"/>
                </a:cxn>
                <a:cxn ang="0">
                  <a:pos x="105" y="211"/>
                </a:cxn>
                <a:cxn ang="0">
                  <a:pos x="93" y="174"/>
                </a:cxn>
                <a:cxn ang="0">
                  <a:pos x="67" y="135"/>
                </a:cxn>
                <a:cxn ang="0">
                  <a:pos x="34" y="151"/>
                </a:cxn>
                <a:cxn ang="0">
                  <a:pos x="0" y="158"/>
                </a:cxn>
                <a:cxn ang="0">
                  <a:pos x="22" y="179"/>
                </a:cxn>
                <a:cxn ang="0">
                  <a:pos x="66" y="225"/>
                </a:cxn>
                <a:cxn ang="0">
                  <a:pos x="105" y="243"/>
                </a:cxn>
                <a:cxn ang="0">
                  <a:pos x="144" y="280"/>
                </a:cxn>
                <a:cxn ang="0">
                  <a:pos x="170" y="319"/>
                </a:cxn>
                <a:cxn ang="0">
                  <a:pos x="167" y="378"/>
                </a:cxn>
                <a:cxn ang="0">
                  <a:pos x="175" y="410"/>
                </a:cxn>
                <a:cxn ang="0">
                  <a:pos x="190" y="485"/>
                </a:cxn>
                <a:cxn ang="0">
                  <a:pos x="180" y="558"/>
                </a:cxn>
                <a:cxn ang="0">
                  <a:pos x="196" y="616"/>
                </a:cxn>
                <a:cxn ang="0">
                  <a:pos x="262" y="666"/>
                </a:cxn>
                <a:cxn ang="0">
                  <a:pos x="261" y="726"/>
                </a:cxn>
                <a:cxn ang="0">
                  <a:pos x="222" y="758"/>
                </a:cxn>
                <a:cxn ang="0">
                  <a:pos x="164" y="841"/>
                </a:cxn>
                <a:cxn ang="0">
                  <a:pos x="124" y="871"/>
                </a:cxn>
                <a:cxn ang="0">
                  <a:pos x="96" y="932"/>
                </a:cxn>
                <a:cxn ang="0">
                  <a:pos x="50" y="969"/>
                </a:cxn>
                <a:cxn ang="0">
                  <a:pos x="43" y="1013"/>
                </a:cxn>
                <a:cxn ang="0">
                  <a:pos x="60" y="1098"/>
                </a:cxn>
                <a:cxn ang="0">
                  <a:pos x="61" y="1178"/>
                </a:cxn>
                <a:cxn ang="0">
                  <a:pos x="50" y="1251"/>
                </a:cxn>
                <a:cxn ang="0">
                  <a:pos x="87" y="1294"/>
                </a:cxn>
                <a:cxn ang="0">
                  <a:pos x="130" y="1311"/>
                </a:cxn>
                <a:cxn ang="0">
                  <a:pos x="167" y="1328"/>
                </a:cxn>
                <a:cxn ang="0">
                  <a:pos x="210" y="1302"/>
                </a:cxn>
                <a:cxn ang="0">
                  <a:pos x="282" y="1292"/>
                </a:cxn>
                <a:cxn ang="0">
                  <a:pos x="347" y="1265"/>
                </a:cxn>
                <a:cxn ang="0">
                  <a:pos x="401" y="1244"/>
                </a:cxn>
                <a:cxn ang="0">
                  <a:pos x="494" y="1162"/>
                </a:cxn>
              </a:cxnLst>
              <a:rect l="0" t="0" r="r" b="b"/>
              <a:pathLst>
                <a:path w="605" h="1336">
                  <a:moveTo>
                    <a:pt x="477" y="135"/>
                  </a:moveTo>
                  <a:cubicBezTo>
                    <a:pt x="480" y="130"/>
                    <a:pt x="483" y="125"/>
                    <a:pt x="486" y="120"/>
                  </a:cubicBezTo>
                  <a:cubicBezTo>
                    <a:pt x="484" y="120"/>
                    <a:pt x="483" y="120"/>
                    <a:pt x="481" y="121"/>
                  </a:cubicBezTo>
                  <a:cubicBezTo>
                    <a:pt x="480" y="122"/>
                    <a:pt x="479" y="123"/>
                    <a:pt x="478" y="124"/>
                  </a:cubicBezTo>
                  <a:cubicBezTo>
                    <a:pt x="478" y="125"/>
                    <a:pt x="479" y="127"/>
                    <a:pt x="479" y="128"/>
                  </a:cubicBezTo>
                  <a:cubicBezTo>
                    <a:pt x="478" y="130"/>
                    <a:pt x="478" y="133"/>
                    <a:pt x="477" y="135"/>
                  </a:cubicBezTo>
                  <a:moveTo>
                    <a:pt x="603" y="991"/>
                  </a:moveTo>
                  <a:cubicBezTo>
                    <a:pt x="603" y="988"/>
                    <a:pt x="602" y="986"/>
                    <a:pt x="600" y="983"/>
                  </a:cubicBezTo>
                  <a:cubicBezTo>
                    <a:pt x="598" y="979"/>
                    <a:pt x="595" y="976"/>
                    <a:pt x="594" y="972"/>
                  </a:cubicBezTo>
                  <a:cubicBezTo>
                    <a:pt x="592" y="968"/>
                    <a:pt x="592" y="967"/>
                    <a:pt x="589" y="963"/>
                  </a:cubicBezTo>
                  <a:cubicBezTo>
                    <a:pt x="586" y="959"/>
                    <a:pt x="584" y="953"/>
                    <a:pt x="583" y="949"/>
                  </a:cubicBezTo>
                  <a:cubicBezTo>
                    <a:pt x="580" y="942"/>
                    <a:pt x="576" y="936"/>
                    <a:pt x="573" y="929"/>
                  </a:cubicBezTo>
                  <a:cubicBezTo>
                    <a:pt x="566" y="917"/>
                    <a:pt x="553" y="908"/>
                    <a:pt x="544" y="898"/>
                  </a:cubicBezTo>
                  <a:cubicBezTo>
                    <a:pt x="541" y="893"/>
                    <a:pt x="537" y="891"/>
                    <a:pt x="533" y="887"/>
                  </a:cubicBezTo>
                  <a:cubicBezTo>
                    <a:pt x="530" y="885"/>
                    <a:pt x="528" y="884"/>
                    <a:pt x="528" y="880"/>
                  </a:cubicBezTo>
                  <a:cubicBezTo>
                    <a:pt x="527" y="878"/>
                    <a:pt x="529" y="874"/>
                    <a:pt x="529" y="872"/>
                  </a:cubicBezTo>
                  <a:cubicBezTo>
                    <a:pt x="529" y="868"/>
                    <a:pt x="529" y="865"/>
                    <a:pt x="530" y="862"/>
                  </a:cubicBezTo>
                  <a:cubicBezTo>
                    <a:pt x="533" y="852"/>
                    <a:pt x="530" y="841"/>
                    <a:pt x="535" y="832"/>
                  </a:cubicBezTo>
                  <a:cubicBezTo>
                    <a:pt x="540" y="821"/>
                    <a:pt x="535" y="834"/>
                    <a:pt x="532" y="823"/>
                  </a:cubicBezTo>
                  <a:cubicBezTo>
                    <a:pt x="531" y="821"/>
                    <a:pt x="531" y="818"/>
                    <a:pt x="530" y="815"/>
                  </a:cubicBezTo>
                  <a:cubicBezTo>
                    <a:pt x="526" y="806"/>
                    <a:pt x="519" y="800"/>
                    <a:pt x="514" y="792"/>
                  </a:cubicBezTo>
                  <a:cubicBezTo>
                    <a:pt x="513" y="791"/>
                    <a:pt x="513" y="789"/>
                    <a:pt x="512" y="788"/>
                  </a:cubicBezTo>
                  <a:cubicBezTo>
                    <a:pt x="511" y="786"/>
                    <a:pt x="510" y="789"/>
                    <a:pt x="510" y="786"/>
                  </a:cubicBezTo>
                  <a:cubicBezTo>
                    <a:pt x="509" y="783"/>
                    <a:pt x="513" y="780"/>
                    <a:pt x="514" y="778"/>
                  </a:cubicBezTo>
                  <a:cubicBezTo>
                    <a:pt x="517" y="772"/>
                    <a:pt x="518" y="766"/>
                    <a:pt x="520" y="761"/>
                  </a:cubicBezTo>
                  <a:cubicBezTo>
                    <a:pt x="521" y="759"/>
                    <a:pt x="524" y="758"/>
                    <a:pt x="522" y="755"/>
                  </a:cubicBezTo>
                  <a:cubicBezTo>
                    <a:pt x="519" y="750"/>
                    <a:pt x="509" y="749"/>
                    <a:pt x="504" y="746"/>
                  </a:cubicBezTo>
                  <a:cubicBezTo>
                    <a:pt x="500" y="742"/>
                    <a:pt x="497" y="738"/>
                    <a:pt x="495" y="733"/>
                  </a:cubicBezTo>
                  <a:cubicBezTo>
                    <a:pt x="493" y="729"/>
                    <a:pt x="492" y="719"/>
                    <a:pt x="494" y="714"/>
                  </a:cubicBezTo>
                  <a:cubicBezTo>
                    <a:pt x="495" y="710"/>
                    <a:pt x="497" y="713"/>
                    <a:pt x="501" y="712"/>
                  </a:cubicBezTo>
                  <a:cubicBezTo>
                    <a:pt x="505" y="711"/>
                    <a:pt x="503" y="710"/>
                    <a:pt x="505" y="708"/>
                  </a:cubicBezTo>
                  <a:cubicBezTo>
                    <a:pt x="509" y="703"/>
                    <a:pt x="510" y="699"/>
                    <a:pt x="505" y="693"/>
                  </a:cubicBezTo>
                  <a:cubicBezTo>
                    <a:pt x="502" y="691"/>
                    <a:pt x="500" y="691"/>
                    <a:pt x="499" y="688"/>
                  </a:cubicBezTo>
                  <a:cubicBezTo>
                    <a:pt x="497" y="685"/>
                    <a:pt x="499" y="679"/>
                    <a:pt x="499" y="676"/>
                  </a:cubicBezTo>
                  <a:cubicBezTo>
                    <a:pt x="499" y="668"/>
                    <a:pt x="498" y="661"/>
                    <a:pt x="502" y="654"/>
                  </a:cubicBezTo>
                  <a:cubicBezTo>
                    <a:pt x="504" y="651"/>
                    <a:pt x="504" y="652"/>
                    <a:pt x="505" y="649"/>
                  </a:cubicBezTo>
                  <a:cubicBezTo>
                    <a:pt x="505" y="646"/>
                    <a:pt x="504" y="643"/>
                    <a:pt x="506" y="640"/>
                  </a:cubicBezTo>
                  <a:cubicBezTo>
                    <a:pt x="512" y="633"/>
                    <a:pt x="530" y="647"/>
                    <a:pt x="516" y="607"/>
                  </a:cubicBezTo>
                  <a:cubicBezTo>
                    <a:pt x="514" y="599"/>
                    <a:pt x="460" y="469"/>
                    <a:pt x="462" y="461"/>
                  </a:cubicBezTo>
                  <a:cubicBezTo>
                    <a:pt x="464" y="455"/>
                    <a:pt x="508" y="393"/>
                    <a:pt x="513" y="378"/>
                  </a:cubicBezTo>
                  <a:cubicBezTo>
                    <a:pt x="515" y="372"/>
                    <a:pt x="519" y="366"/>
                    <a:pt x="515" y="359"/>
                  </a:cubicBezTo>
                  <a:cubicBezTo>
                    <a:pt x="514" y="357"/>
                    <a:pt x="511" y="355"/>
                    <a:pt x="509" y="353"/>
                  </a:cubicBezTo>
                  <a:cubicBezTo>
                    <a:pt x="507" y="351"/>
                    <a:pt x="506" y="349"/>
                    <a:pt x="504" y="346"/>
                  </a:cubicBezTo>
                  <a:cubicBezTo>
                    <a:pt x="503" y="343"/>
                    <a:pt x="500" y="340"/>
                    <a:pt x="498" y="337"/>
                  </a:cubicBezTo>
                  <a:cubicBezTo>
                    <a:pt x="496" y="332"/>
                    <a:pt x="493" y="327"/>
                    <a:pt x="491" y="323"/>
                  </a:cubicBezTo>
                  <a:cubicBezTo>
                    <a:pt x="488" y="316"/>
                    <a:pt x="484" y="312"/>
                    <a:pt x="479" y="307"/>
                  </a:cubicBezTo>
                  <a:cubicBezTo>
                    <a:pt x="476" y="304"/>
                    <a:pt x="477" y="304"/>
                    <a:pt x="472" y="302"/>
                  </a:cubicBezTo>
                  <a:cubicBezTo>
                    <a:pt x="470" y="301"/>
                    <a:pt x="468" y="299"/>
                    <a:pt x="466" y="297"/>
                  </a:cubicBezTo>
                  <a:cubicBezTo>
                    <a:pt x="458" y="292"/>
                    <a:pt x="449" y="293"/>
                    <a:pt x="444" y="284"/>
                  </a:cubicBezTo>
                  <a:cubicBezTo>
                    <a:pt x="440" y="277"/>
                    <a:pt x="441" y="269"/>
                    <a:pt x="441" y="261"/>
                  </a:cubicBezTo>
                  <a:cubicBezTo>
                    <a:pt x="441" y="252"/>
                    <a:pt x="441" y="243"/>
                    <a:pt x="441" y="235"/>
                  </a:cubicBezTo>
                  <a:cubicBezTo>
                    <a:pt x="441" y="226"/>
                    <a:pt x="443" y="219"/>
                    <a:pt x="444" y="211"/>
                  </a:cubicBezTo>
                  <a:cubicBezTo>
                    <a:pt x="446" y="203"/>
                    <a:pt x="445" y="194"/>
                    <a:pt x="449" y="188"/>
                  </a:cubicBezTo>
                  <a:cubicBezTo>
                    <a:pt x="447" y="188"/>
                    <a:pt x="447" y="188"/>
                    <a:pt x="447" y="188"/>
                  </a:cubicBezTo>
                  <a:cubicBezTo>
                    <a:pt x="443" y="188"/>
                    <a:pt x="434" y="189"/>
                    <a:pt x="437" y="185"/>
                  </a:cubicBezTo>
                  <a:cubicBezTo>
                    <a:pt x="436" y="185"/>
                    <a:pt x="442" y="181"/>
                    <a:pt x="442" y="181"/>
                  </a:cubicBezTo>
                  <a:cubicBezTo>
                    <a:pt x="446" y="180"/>
                    <a:pt x="445" y="182"/>
                    <a:pt x="448" y="178"/>
                  </a:cubicBezTo>
                  <a:cubicBezTo>
                    <a:pt x="452" y="174"/>
                    <a:pt x="457" y="171"/>
                    <a:pt x="460" y="166"/>
                  </a:cubicBezTo>
                  <a:cubicBezTo>
                    <a:pt x="461" y="165"/>
                    <a:pt x="462" y="164"/>
                    <a:pt x="462" y="163"/>
                  </a:cubicBezTo>
                  <a:cubicBezTo>
                    <a:pt x="461" y="163"/>
                    <a:pt x="459" y="164"/>
                    <a:pt x="458" y="162"/>
                  </a:cubicBezTo>
                  <a:cubicBezTo>
                    <a:pt x="456" y="161"/>
                    <a:pt x="455" y="159"/>
                    <a:pt x="454" y="158"/>
                  </a:cubicBezTo>
                  <a:cubicBezTo>
                    <a:pt x="453" y="156"/>
                    <a:pt x="452" y="154"/>
                    <a:pt x="451" y="152"/>
                  </a:cubicBezTo>
                  <a:cubicBezTo>
                    <a:pt x="450" y="150"/>
                    <a:pt x="450" y="148"/>
                    <a:pt x="449" y="147"/>
                  </a:cubicBezTo>
                  <a:cubicBezTo>
                    <a:pt x="447" y="143"/>
                    <a:pt x="448" y="140"/>
                    <a:pt x="450" y="136"/>
                  </a:cubicBezTo>
                  <a:cubicBezTo>
                    <a:pt x="450" y="135"/>
                    <a:pt x="451" y="134"/>
                    <a:pt x="452" y="133"/>
                  </a:cubicBezTo>
                  <a:cubicBezTo>
                    <a:pt x="454" y="130"/>
                    <a:pt x="455" y="127"/>
                    <a:pt x="456" y="125"/>
                  </a:cubicBezTo>
                  <a:cubicBezTo>
                    <a:pt x="460" y="118"/>
                    <a:pt x="463" y="112"/>
                    <a:pt x="467" y="107"/>
                  </a:cubicBezTo>
                  <a:cubicBezTo>
                    <a:pt x="469" y="104"/>
                    <a:pt x="470" y="102"/>
                    <a:pt x="472" y="100"/>
                  </a:cubicBezTo>
                  <a:cubicBezTo>
                    <a:pt x="473" y="98"/>
                    <a:pt x="474" y="96"/>
                    <a:pt x="474" y="94"/>
                  </a:cubicBezTo>
                  <a:cubicBezTo>
                    <a:pt x="474" y="91"/>
                    <a:pt x="472" y="87"/>
                    <a:pt x="471" y="84"/>
                  </a:cubicBezTo>
                  <a:cubicBezTo>
                    <a:pt x="469" y="80"/>
                    <a:pt x="468" y="77"/>
                    <a:pt x="467" y="73"/>
                  </a:cubicBezTo>
                  <a:cubicBezTo>
                    <a:pt x="466" y="72"/>
                    <a:pt x="466" y="70"/>
                    <a:pt x="466" y="69"/>
                  </a:cubicBezTo>
                  <a:cubicBezTo>
                    <a:pt x="465" y="67"/>
                    <a:pt x="464" y="66"/>
                    <a:pt x="462" y="65"/>
                  </a:cubicBezTo>
                  <a:cubicBezTo>
                    <a:pt x="458" y="63"/>
                    <a:pt x="456" y="59"/>
                    <a:pt x="452" y="56"/>
                  </a:cubicBezTo>
                  <a:cubicBezTo>
                    <a:pt x="447" y="51"/>
                    <a:pt x="441" y="48"/>
                    <a:pt x="434" y="45"/>
                  </a:cubicBezTo>
                  <a:cubicBezTo>
                    <a:pt x="432" y="43"/>
                    <a:pt x="431" y="42"/>
                    <a:pt x="430" y="40"/>
                  </a:cubicBezTo>
                  <a:cubicBezTo>
                    <a:pt x="429" y="39"/>
                    <a:pt x="428" y="37"/>
                    <a:pt x="428" y="36"/>
                  </a:cubicBezTo>
                  <a:cubicBezTo>
                    <a:pt x="426" y="34"/>
                    <a:pt x="425" y="32"/>
                    <a:pt x="423" y="29"/>
                  </a:cubicBezTo>
                  <a:cubicBezTo>
                    <a:pt x="422" y="26"/>
                    <a:pt x="419" y="24"/>
                    <a:pt x="417" y="21"/>
                  </a:cubicBezTo>
                  <a:cubicBezTo>
                    <a:pt x="417" y="21"/>
                    <a:pt x="415" y="18"/>
                    <a:pt x="414" y="17"/>
                  </a:cubicBezTo>
                  <a:cubicBezTo>
                    <a:pt x="412" y="16"/>
                    <a:pt x="410" y="17"/>
                    <a:pt x="409" y="14"/>
                  </a:cubicBezTo>
                  <a:cubicBezTo>
                    <a:pt x="408" y="13"/>
                    <a:pt x="409" y="10"/>
                    <a:pt x="409" y="9"/>
                  </a:cubicBezTo>
                  <a:cubicBezTo>
                    <a:pt x="409" y="8"/>
                    <a:pt x="408" y="5"/>
                    <a:pt x="407" y="5"/>
                  </a:cubicBezTo>
                  <a:cubicBezTo>
                    <a:pt x="405" y="2"/>
                    <a:pt x="408" y="4"/>
                    <a:pt x="404" y="3"/>
                  </a:cubicBezTo>
                  <a:cubicBezTo>
                    <a:pt x="401" y="3"/>
                    <a:pt x="397" y="5"/>
                    <a:pt x="393" y="3"/>
                  </a:cubicBezTo>
                  <a:cubicBezTo>
                    <a:pt x="392" y="2"/>
                    <a:pt x="392" y="1"/>
                    <a:pt x="390" y="0"/>
                  </a:cubicBezTo>
                  <a:cubicBezTo>
                    <a:pt x="389" y="1"/>
                    <a:pt x="388" y="1"/>
                    <a:pt x="387" y="1"/>
                  </a:cubicBezTo>
                  <a:cubicBezTo>
                    <a:pt x="386" y="1"/>
                    <a:pt x="385" y="2"/>
                    <a:pt x="385" y="2"/>
                  </a:cubicBezTo>
                  <a:cubicBezTo>
                    <a:pt x="382" y="4"/>
                    <a:pt x="381" y="7"/>
                    <a:pt x="379" y="9"/>
                  </a:cubicBezTo>
                  <a:cubicBezTo>
                    <a:pt x="377" y="11"/>
                    <a:pt x="375" y="12"/>
                    <a:pt x="374" y="14"/>
                  </a:cubicBezTo>
                  <a:cubicBezTo>
                    <a:pt x="371" y="17"/>
                    <a:pt x="372" y="21"/>
                    <a:pt x="371" y="25"/>
                  </a:cubicBezTo>
                  <a:cubicBezTo>
                    <a:pt x="368" y="26"/>
                    <a:pt x="365" y="26"/>
                    <a:pt x="362" y="27"/>
                  </a:cubicBezTo>
                  <a:cubicBezTo>
                    <a:pt x="359" y="27"/>
                    <a:pt x="355" y="29"/>
                    <a:pt x="352" y="28"/>
                  </a:cubicBezTo>
                  <a:cubicBezTo>
                    <a:pt x="352" y="28"/>
                    <a:pt x="352" y="26"/>
                    <a:pt x="352" y="26"/>
                  </a:cubicBezTo>
                  <a:cubicBezTo>
                    <a:pt x="348" y="25"/>
                    <a:pt x="343" y="26"/>
                    <a:pt x="339" y="26"/>
                  </a:cubicBezTo>
                  <a:cubicBezTo>
                    <a:pt x="335" y="26"/>
                    <a:pt x="330" y="25"/>
                    <a:pt x="326" y="27"/>
                  </a:cubicBezTo>
                  <a:cubicBezTo>
                    <a:pt x="321" y="30"/>
                    <a:pt x="315" y="36"/>
                    <a:pt x="312" y="41"/>
                  </a:cubicBezTo>
                  <a:cubicBezTo>
                    <a:pt x="311" y="43"/>
                    <a:pt x="311" y="46"/>
                    <a:pt x="309" y="48"/>
                  </a:cubicBezTo>
                  <a:cubicBezTo>
                    <a:pt x="308" y="49"/>
                    <a:pt x="307" y="50"/>
                    <a:pt x="307" y="52"/>
                  </a:cubicBezTo>
                  <a:cubicBezTo>
                    <a:pt x="306" y="56"/>
                    <a:pt x="309" y="61"/>
                    <a:pt x="306" y="64"/>
                  </a:cubicBezTo>
                  <a:cubicBezTo>
                    <a:pt x="303" y="67"/>
                    <a:pt x="297" y="65"/>
                    <a:pt x="295" y="69"/>
                  </a:cubicBezTo>
                  <a:cubicBezTo>
                    <a:pt x="294" y="70"/>
                    <a:pt x="294" y="71"/>
                    <a:pt x="294" y="72"/>
                  </a:cubicBezTo>
                  <a:cubicBezTo>
                    <a:pt x="293" y="73"/>
                    <a:pt x="293" y="73"/>
                    <a:pt x="293" y="74"/>
                  </a:cubicBezTo>
                  <a:cubicBezTo>
                    <a:pt x="292" y="75"/>
                    <a:pt x="293" y="77"/>
                    <a:pt x="293" y="78"/>
                  </a:cubicBezTo>
                  <a:cubicBezTo>
                    <a:pt x="293" y="80"/>
                    <a:pt x="292" y="83"/>
                    <a:pt x="292" y="86"/>
                  </a:cubicBezTo>
                  <a:cubicBezTo>
                    <a:pt x="291" y="91"/>
                    <a:pt x="292" y="97"/>
                    <a:pt x="290" y="102"/>
                  </a:cubicBezTo>
                  <a:cubicBezTo>
                    <a:pt x="289" y="107"/>
                    <a:pt x="288" y="110"/>
                    <a:pt x="288" y="115"/>
                  </a:cubicBezTo>
                  <a:cubicBezTo>
                    <a:pt x="288" y="121"/>
                    <a:pt x="288" y="128"/>
                    <a:pt x="288" y="135"/>
                  </a:cubicBezTo>
                  <a:cubicBezTo>
                    <a:pt x="288" y="143"/>
                    <a:pt x="288" y="152"/>
                    <a:pt x="288" y="160"/>
                  </a:cubicBezTo>
                  <a:cubicBezTo>
                    <a:pt x="288" y="164"/>
                    <a:pt x="288" y="165"/>
                    <a:pt x="287" y="167"/>
                  </a:cubicBezTo>
                  <a:cubicBezTo>
                    <a:pt x="286" y="169"/>
                    <a:pt x="285" y="169"/>
                    <a:pt x="284" y="170"/>
                  </a:cubicBezTo>
                  <a:cubicBezTo>
                    <a:pt x="283" y="172"/>
                    <a:pt x="282" y="175"/>
                    <a:pt x="281" y="177"/>
                  </a:cubicBezTo>
                  <a:cubicBezTo>
                    <a:pt x="280" y="178"/>
                    <a:pt x="279" y="180"/>
                    <a:pt x="278" y="183"/>
                  </a:cubicBezTo>
                  <a:cubicBezTo>
                    <a:pt x="278" y="184"/>
                    <a:pt x="279" y="185"/>
                    <a:pt x="278" y="187"/>
                  </a:cubicBezTo>
                  <a:cubicBezTo>
                    <a:pt x="275" y="187"/>
                    <a:pt x="274" y="186"/>
                    <a:pt x="271" y="186"/>
                  </a:cubicBezTo>
                  <a:cubicBezTo>
                    <a:pt x="268" y="185"/>
                    <a:pt x="268" y="185"/>
                    <a:pt x="266" y="189"/>
                  </a:cubicBezTo>
                  <a:cubicBezTo>
                    <a:pt x="265" y="192"/>
                    <a:pt x="265" y="194"/>
                    <a:pt x="263" y="196"/>
                  </a:cubicBezTo>
                  <a:cubicBezTo>
                    <a:pt x="263" y="196"/>
                    <a:pt x="260" y="198"/>
                    <a:pt x="260" y="198"/>
                  </a:cubicBezTo>
                  <a:cubicBezTo>
                    <a:pt x="260" y="199"/>
                    <a:pt x="259" y="200"/>
                    <a:pt x="258" y="201"/>
                  </a:cubicBezTo>
                  <a:cubicBezTo>
                    <a:pt x="257" y="202"/>
                    <a:pt x="256" y="201"/>
                    <a:pt x="256" y="203"/>
                  </a:cubicBezTo>
                  <a:cubicBezTo>
                    <a:pt x="255" y="203"/>
                    <a:pt x="255" y="202"/>
                    <a:pt x="255" y="201"/>
                  </a:cubicBezTo>
                  <a:cubicBezTo>
                    <a:pt x="254" y="201"/>
                    <a:pt x="254" y="199"/>
                    <a:pt x="252" y="198"/>
                  </a:cubicBezTo>
                  <a:cubicBezTo>
                    <a:pt x="249" y="195"/>
                    <a:pt x="244" y="196"/>
                    <a:pt x="241" y="195"/>
                  </a:cubicBezTo>
                  <a:cubicBezTo>
                    <a:pt x="243" y="198"/>
                    <a:pt x="250" y="201"/>
                    <a:pt x="254" y="201"/>
                  </a:cubicBezTo>
                  <a:cubicBezTo>
                    <a:pt x="252" y="203"/>
                    <a:pt x="249" y="207"/>
                    <a:pt x="248" y="210"/>
                  </a:cubicBezTo>
                  <a:cubicBezTo>
                    <a:pt x="247" y="214"/>
                    <a:pt x="255" y="224"/>
                    <a:pt x="249" y="227"/>
                  </a:cubicBezTo>
                  <a:cubicBezTo>
                    <a:pt x="247" y="228"/>
                    <a:pt x="245" y="226"/>
                    <a:pt x="243" y="228"/>
                  </a:cubicBezTo>
                  <a:cubicBezTo>
                    <a:pt x="241" y="229"/>
                    <a:pt x="241" y="231"/>
                    <a:pt x="239" y="232"/>
                  </a:cubicBezTo>
                  <a:cubicBezTo>
                    <a:pt x="236" y="232"/>
                    <a:pt x="237" y="226"/>
                    <a:pt x="235" y="224"/>
                  </a:cubicBezTo>
                  <a:cubicBezTo>
                    <a:pt x="234" y="223"/>
                    <a:pt x="234" y="221"/>
                    <a:pt x="232" y="220"/>
                  </a:cubicBezTo>
                  <a:cubicBezTo>
                    <a:pt x="229" y="219"/>
                    <a:pt x="225" y="217"/>
                    <a:pt x="222" y="216"/>
                  </a:cubicBezTo>
                  <a:cubicBezTo>
                    <a:pt x="220" y="215"/>
                    <a:pt x="218" y="215"/>
                    <a:pt x="217" y="214"/>
                  </a:cubicBezTo>
                  <a:cubicBezTo>
                    <a:pt x="216" y="213"/>
                    <a:pt x="215" y="213"/>
                    <a:pt x="214" y="213"/>
                  </a:cubicBezTo>
                  <a:cubicBezTo>
                    <a:pt x="214" y="212"/>
                    <a:pt x="213" y="212"/>
                    <a:pt x="213" y="211"/>
                  </a:cubicBezTo>
                  <a:cubicBezTo>
                    <a:pt x="209" y="208"/>
                    <a:pt x="204" y="206"/>
                    <a:pt x="200" y="203"/>
                  </a:cubicBezTo>
                  <a:cubicBezTo>
                    <a:pt x="195" y="200"/>
                    <a:pt x="190" y="196"/>
                    <a:pt x="184" y="196"/>
                  </a:cubicBezTo>
                  <a:cubicBezTo>
                    <a:pt x="183" y="198"/>
                    <a:pt x="183" y="200"/>
                    <a:pt x="182" y="202"/>
                  </a:cubicBezTo>
                  <a:cubicBezTo>
                    <a:pt x="181" y="203"/>
                    <a:pt x="179" y="205"/>
                    <a:pt x="178" y="206"/>
                  </a:cubicBezTo>
                  <a:cubicBezTo>
                    <a:pt x="176" y="209"/>
                    <a:pt x="176" y="212"/>
                    <a:pt x="175" y="214"/>
                  </a:cubicBezTo>
                  <a:cubicBezTo>
                    <a:pt x="174" y="215"/>
                    <a:pt x="172" y="214"/>
                    <a:pt x="172" y="215"/>
                  </a:cubicBezTo>
                  <a:cubicBezTo>
                    <a:pt x="172" y="216"/>
                    <a:pt x="172" y="217"/>
                    <a:pt x="172" y="217"/>
                  </a:cubicBezTo>
                  <a:cubicBezTo>
                    <a:pt x="170" y="220"/>
                    <a:pt x="172" y="220"/>
                    <a:pt x="169" y="220"/>
                  </a:cubicBezTo>
                  <a:cubicBezTo>
                    <a:pt x="167" y="220"/>
                    <a:pt x="165" y="220"/>
                    <a:pt x="163" y="220"/>
                  </a:cubicBezTo>
                  <a:cubicBezTo>
                    <a:pt x="159" y="220"/>
                    <a:pt x="154" y="224"/>
                    <a:pt x="150" y="223"/>
                  </a:cubicBezTo>
                  <a:cubicBezTo>
                    <a:pt x="146" y="222"/>
                    <a:pt x="146" y="219"/>
                    <a:pt x="142" y="217"/>
                  </a:cubicBezTo>
                  <a:cubicBezTo>
                    <a:pt x="140" y="217"/>
                    <a:pt x="137" y="217"/>
                    <a:pt x="135" y="217"/>
                  </a:cubicBezTo>
                  <a:cubicBezTo>
                    <a:pt x="133" y="217"/>
                    <a:pt x="132" y="216"/>
                    <a:pt x="130" y="215"/>
                  </a:cubicBezTo>
                  <a:cubicBezTo>
                    <a:pt x="125" y="213"/>
                    <a:pt x="121" y="212"/>
                    <a:pt x="115" y="211"/>
                  </a:cubicBezTo>
                  <a:cubicBezTo>
                    <a:pt x="114" y="210"/>
                    <a:pt x="112" y="210"/>
                    <a:pt x="110" y="210"/>
                  </a:cubicBezTo>
                  <a:cubicBezTo>
                    <a:pt x="108" y="210"/>
                    <a:pt x="107" y="211"/>
                    <a:pt x="105" y="211"/>
                  </a:cubicBezTo>
                  <a:cubicBezTo>
                    <a:pt x="104" y="204"/>
                    <a:pt x="105" y="196"/>
                    <a:pt x="104" y="189"/>
                  </a:cubicBezTo>
                  <a:cubicBezTo>
                    <a:pt x="103" y="186"/>
                    <a:pt x="103" y="188"/>
                    <a:pt x="101" y="186"/>
                  </a:cubicBezTo>
                  <a:cubicBezTo>
                    <a:pt x="100" y="185"/>
                    <a:pt x="100" y="184"/>
                    <a:pt x="99" y="183"/>
                  </a:cubicBezTo>
                  <a:cubicBezTo>
                    <a:pt x="99" y="181"/>
                    <a:pt x="97" y="180"/>
                    <a:pt x="96" y="178"/>
                  </a:cubicBezTo>
                  <a:cubicBezTo>
                    <a:pt x="95" y="177"/>
                    <a:pt x="94" y="175"/>
                    <a:pt x="93" y="174"/>
                  </a:cubicBezTo>
                  <a:cubicBezTo>
                    <a:pt x="91" y="171"/>
                    <a:pt x="88" y="167"/>
                    <a:pt x="85" y="164"/>
                  </a:cubicBezTo>
                  <a:cubicBezTo>
                    <a:pt x="83" y="162"/>
                    <a:pt x="81" y="160"/>
                    <a:pt x="79" y="157"/>
                  </a:cubicBezTo>
                  <a:cubicBezTo>
                    <a:pt x="76" y="153"/>
                    <a:pt x="74" y="148"/>
                    <a:pt x="73" y="144"/>
                  </a:cubicBezTo>
                  <a:cubicBezTo>
                    <a:pt x="72" y="142"/>
                    <a:pt x="72" y="141"/>
                    <a:pt x="71" y="139"/>
                  </a:cubicBezTo>
                  <a:cubicBezTo>
                    <a:pt x="70" y="138"/>
                    <a:pt x="68" y="137"/>
                    <a:pt x="67" y="135"/>
                  </a:cubicBezTo>
                  <a:cubicBezTo>
                    <a:pt x="66" y="133"/>
                    <a:pt x="66" y="129"/>
                    <a:pt x="64" y="127"/>
                  </a:cubicBezTo>
                  <a:cubicBezTo>
                    <a:pt x="62" y="125"/>
                    <a:pt x="57" y="126"/>
                    <a:pt x="55" y="126"/>
                  </a:cubicBezTo>
                  <a:cubicBezTo>
                    <a:pt x="49" y="126"/>
                    <a:pt x="44" y="129"/>
                    <a:pt x="39" y="130"/>
                  </a:cubicBezTo>
                  <a:cubicBezTo>
                    <a:pt x="34" y="132"/>
                    <a:pt x="27" y="134"/>
                    <a:pt x="30" y="141"/>
                  </a:cubicBezTo>
                  <a:cubicBezTo>
                    <a:pt x="31" y="144"/>
                    <a:pt x="33" y="146"/>
                    <a:pt x="34" y="151"/>
                  </a:cubicBezTo>
                  <a:cubicBezTo>
                    <a:pt x="34" y="154"/>
                    <a:pt x="34" y="158"/>
                    <a:pt x="34" y="161"/>
                  </a:cubicBezTo>
                  <a:cubicBezTo>
                    <a:pt x="31" y="160"/>
                    <a:pt x="28" y="158"/>
                    <a:pt x="25" y="157"/>
                  </a:cubicBezTo>
                  <a:cubicBezTo>
                    <a:pt x="23" y="156"/>
                    <a:pt x="19" y="153"/>
                    <a:pt x="17" y="154"/>
                  </a:cubicBezTo>
                  <a:cubicBezTo>
                    <a:pt x="17" y="154"/>
                    <a:pt x="17" y="155"/>
                    <a:pt x="17" y="156"/>
                  </a:cubicBezTo>
                  <a:cubicBezTo>
                    <a:pt x="11" y="157"/>
                    <a:pt x="5" y="157"/>
                    <a:pt x="0" y="158"/>
                  </a:cubicBezTo>
                  <a:cubicBezTo>
                    <a:pt x="1" y="157"/>
                    <a:pt x="3" y="157"/>
                    <a:pt x="5" y="157"/>
                  </a:cubicBezTo>
                  <a:cubicBezTo>
                    <a:pt x="5" y="157"/>
                    <a:pt x="5" y="158"/>
                    <a:pt x="5" y="158"/>
                  </a:cubicBezTo>
                  <a:cubicBezTo>
                    <a:pt x="6" y="159"/>
                    <a:pt x="6" y="161"/>
                    <a:pt x="7" y="162"/>
                  </a:cubicBezTo>
                  <a:cubicBezTo>
                    <a:pt x="8" y="165"/>
                    <a:pt x="11" y="168"/>
                    <a:pt x="13" y="171"/>
                  </a:cubicBezTo>
                  <a:cubicBezTo>
                    <a:pt x="16" y="174"/>
                    <a:pt x="19" y="176"/>
                    <a:pt x="22" y="179"/>
                  </a:cubicBezTo>
                  <a:cubicBezTo>
                    <a:pt x="25" y="181"/>
                    <a:pt x="26" y="183"/>
                    <a:pt x="28" y="185"/>
                  </a:cubicBezTo>
                  <a:cubicBezTo>
                    <a:pt x="31" y="187"/>
                    <a:pt x="34" y="189"/>
                    <a:pt x="37" y="192"/>
                  </a:cubicBezTo>
                  <a:cubicBezTo>
                    <a:pt x="40" y="196"/>
                    <a:pt x="41" y="201"/>
                    <a:pt x="45" y="204"/>
                  </a:cubicBezTo>
                  <a:cubicBezTo>
                    <a:pt x="50" y="207"/>
                    <a:pt x="52" y="211"/>
                    <a:pt x="55" y="216"/>
                  </a:cubicBezTo>
                  <a:cubicBezTo>
                    <a:pt x="58" y="219"/>
                    <a:pt x="62" y="224"/>
                    <a:pt x="66" y="225"/>
                  </a:cubicBezTo>
                  <a:cubicBezTo>
                    <a:pt x="71" y="226"/>
                    <a:pt x="73" y="226"/>
                    <a:pt x="77" y="229"/>
                  </a:cubicBezTo>
                  <a:cubicBezTo>
                    <a:pt x="80" y="231"/>
                    <a:pt x="82" y="233"/>
                    <a:pt x="85" y="235"/>
                  </a:cubicBezTo>
                  <a:cubicBezTo>
                    <a:pt x="86" y="237"/>
                    <a:pt x="88" y="239"/>
                    <a:pt x="90" y="240"/>
                  </a:cubicBezTo>
                  <a:cubicBezTo>
                    <a:pt x="91" y="241"/>
                    <a:pt x="92" y="241"/>
                    <a:pt x="94" y="241"/>
                  </a:cubicBezTo>
                  <a:cubicBezTo>
                    <a:pt x="98" y="241"/>
                    <a:pt x="101" y="242"/>
                    <a:pt x="105" y="243"/>
                  </a:cubicBezTo>
                  <a:cubicBezTo>
                    <a:pt x="110" y="246"/>
                    <a:pt x="112" y="247"/>
                    <a:pt x="116" y="252"/>
                  </a:cubicBezTo>
                  <a:cubicBezTo>
                    <a:pt x="119" y="257"/>
                    <a:pt x="124" y="263"/>
                    <a:pt x="127" y="269"/>
                  </a:cubicBezTo>
                  <a:cubicBezTo>
                    <a:pt x="128" y="271"/>
                    <a:pt x="129" y="272"/>
                    <a:pt x="130" y="274"/>
                  </a:cubicBezTo>
                  <a:cubicBezTo>
                    <a:pt x="131" y="277"/>
                    <a:pt x="132" y="276"/>
                    <a:pt x="135" y="277"/>
                  </a:cubicBezTo>
                  <a:cubicBezTo>
                    <a:pt x="137" y="278"/>
                    <a:pt x="142" y="279"/>
                    <a:pt x="144" y="280"/>
                  </a:cubicBezTo>
                  <a:cubicBezTo>
                    <a:pt x="145" y="282"/>
                    <a:pt x="144" y="285"/>
                    <a:pt x="144" y="286"/>
                  </a:cubicBezTo>
                  <a:cubicBezTo>
                    <a:pt x="145" y="290"/>
                    <a:pt x="144" y="294"/>
                    <a:pt x="145" y="297"/>
                  </a:cubicBezTo>
                  <a:cubicBezTo>
                    <a:pt x="148" y="297"/>
                    <a:pt x="150" y="298"/>
                    <a:pt x="152" y="299"/>
                  </a:cubicBezTo>
                  <a:cubicBezTo>
                    <a:pt x="156" y="300"/>
                    <a:pt x="157" y="302"/>
                    <a:pt x="159" y="305"/>
                  </a:cubicBezTo>
                  <a:cubicBezTo>
                    <a:pt x="162" y="310"/>
                    <a:pt x="163" y="318"/>
                    <a:pt x="170" y="319"/>
                  </a:cubicBezTo>
                  <a:cubicBezTo>
                    <a:pt x="171" y="324"/>
                    <a:pt x="168" y="326"/>
                    <a:pt x="166" y="331"/>
                  </a:cubicBezTo>
                  <a:cubicBezTo>
                    <a:pt x="166" y="333"/>
                    <a:pt x="165" y="335"/>
                    <a:pt x="165" y="337"/>
                  </a:cubicBezTo>
                  <a:cubicBezTo>
                    <a:pt x="165" y="341"/>
                    <a:pt x="165" y="345"/>
                    <a:pt x="165" y="349"/>
                  </a:cubicBezTo>
                  <a:cubicBezTo>
                    <a:pt x="165" y="356"/>
                    <a:pt x="168" y="361"/>
                    <a:pt x="169" y="368"/>
                  </a:cubicBezTo>
                  <a:cubicBezTo>
                    <a:pt x="169" y="371"/>
                    <a:pt x="169" y="375"/>
                    <a:pt x="167" y="378"/>
                  </a:cubicBezTo>
                  <a:cubicBezTo>
                    <a:pt x="164" y="381"/>
                    <a:pt x="159" y="382"/>
                    <a:pt x="160" y="387"/>
                  </a:cubicBezTo>
                  <a:cubicBezTo>
                    <a:pt x="161" y="390"/>
                    <a:pt x="162" y="393"/>
                    <a:pt x="164" y="394"/>
                  </a:cubicBezTo>
                  <a:cubicBezTo>
                    <a:pt x="166" y="396"/>
                    <a:pt x="170" y="395"/>
                    <a:pt x="172" y="396"/>
                  </a:cubicBezTo>
                  <a:cubicBezTo>
                    <a:pt x="173" y="397"/>
                    <a:pt x="173" y="398"/>
                    <a:pt x="173" y="400"/>
                  </a:cubicBezTo>
                  <a:cubicBezTo>
                    <a:pt x="174" y="403"/>
                    <a:pt x="175" y="406"/>
                    <a:pt x="175" y="410"/>
                  </a:cubicBezTo>
                  <a:cubicBezTo>
                    <a:pt x="176" y="412"/>
                    <a:pt x="177" y="416"/>
                    <a:pt x="176" y="419"/>
                  </a:cubicBezTo>
                  <a:cubicBezTo>
                    <a:pt x="176" y="421"/>
                    <a:pt x="174" y="420"/>
                    <a:pt x="173" y="422"/>
                  </a:cubicBezTo>
                  <a:cubicBezTo>
                    <a:pt x="171" y="424"/>
                    <a:pt x="172" y="430"/>
                    <a:pt x="172" y="433"/>
                  </a:cubicBezTo>
                  <a:cubicBezTo>
                    <a:pt x="172" y="443"/>
                    <a:pt x="175" y="453"/>
                    <a:pt x="180" y="462"/>
                  </a:cubicBezTo>
                  <a:cubicBezTo>
                    <a:pt x="185" y="469"/>
                    <a:pt x="189" y="477"/>
                    <a:pt x="190" y="485"/>
                  </a:cubicBezTo>
                  <a:cubicBezTo>
                    <a:pt x="192" y="494"/>
                    <a:pt x="189" y="502"/>
                    <a:pt x="187" y="510"/>
                  </a:cubicBezTo>
                  <a:cubicBezTo>
                    <a:pt x="186" y="516"/>
                    <a:pt x="187" y="522"/>
                    <a:pt x="184" y="528"/>
                  </a:cubicBezTo>
                  <a:cubicBezTo>
                    <a:pt x="182" y="531"/>
                    <a:pt x="180" y="533"/>
                    <a:pt x="180" y="537"/>
                  </a:cubicBezTo>
                  <a:cubicBezTo>
                    <a:pt x="179" y="541"/>
                    <a:pt x="180" y="544"/>
                    <a:pt x="180" y="548"/>
                  </a:cubicBezTo>
                  <a:cubicBezTo>
                    <a:pt x="180" y="551"/>
                    <a:pt x="179" y="555"/>
                    <a:pt x="180" y="558"/>
                  </a:cubicBezTo>
                  <a:cubicBezTo>
                    <a:pt x="182" y="562"/>
                    <a:pt x="185" y="563"/>
                    <a:pt x="187" y="567"/>
                  </a:cubicBezTo>
                  <a:cubicBezTo>
                    <a:pt x="193" y="576"/>
                    <a:pt x="194" y="586"/>
                    <a:pt x="197" y="596"/>
                  </a:cubicBezTo>
                  <a:cubicBezTo>
                    <a:pt x="198" y="601"/>
                    <a:pt x="199" y="607"/>
                    <a:pt x="198" y="612"/>
                  </a:cubicBezTo>
                  <a:cubicBezTo>
                    <a:pt x="198" y="613"/>
                    <a:pt x="197" y="615"/>
                    <a:pt x="197" y="616"/>
                  </a:cubicBezTo>
                  <a:cubicBezTo>
                    <a:pt x="197" y="616"/>
                    <a:pt x="197" y="616"/>
                    <a:pt x="196" y="616"/>
                  </a:cubicBezTo>
                  <a:cubicBezTo>
                    <a:pt x="199" y="619"/>
                    <a:pt x="202" y="620"/>
                    <a:pt x="205" y="620"/>
                  </a:cubicBezTo>
                  <a:cubicBezTo>
                    <a:pt x="205" y="630"/>
                    <a:pt x="221" y="632"/>
                    <a:pt x="228" y="634"/>
                  </a:cubicBezTo>
                  <a:cubicBezTo>
                    <a:pt x="234" y="636"/>
                    <a:pt x="242" y="639"/>
                    <a:pt x="247" y="644"/>
                  </a:cubicBezTo>
                  <a:cubicBezTo>
                    <a:pt x="252" y="648"/>
                    <a:pt x="255" y="654"/>
                    <a:pt x="258" y="659"/>
                  </a:cubicBezTo>
                  <a:cubicBezTo>
                    <a:pt x="259" y="661"/>
                    <a:pt x="260" y="664"/>
                    <a:pt x="262" y="666"/>
                  </a:cubicBezTo>
                  <a:cubicBezTo>
                    <a:pt x="263" y="667"/>
                    <a:pt x="265" y="667"/>
                    <a:pt x="266" y="667"/>
                  </a:cubicBezTo>
                  <a:cubicBezTo>
                    <a:pt x="270" y="674"/>
                    <a:pt x="265" y="686"/>
                    <a:pt x="264" y="693"/>
                  </a:cubicBezTo>
                  <a:cubicBezTo>
                    <a:pt x="264" y="698"/>
                    <a:pt x="264" y="702"/>
                    <a:pt x="267" y="706"/>
                  </a:cubicBezTo>
                  <a:cubicBezTo>
                    <a:pt x="269" y="711"/>
                    <a:pt x="276" y="716"/>
                    <a:pt x="274" y="723"/>
                  </a:cubicBezTo>
                  <a:cubicBezTo>
                    <a:pt x="271" y="723"/>
                    <a:pt x="263" y="723"/>
                    <a:pt x="261" y="726"/>
                  </a:cubicBezTo>
                  <a:cubicBezTo>
                    <a:pt x="264" y="728"/>
                    <a:pt x="271" y="735"/>
                    <a:pt x="267" y="738"/>
                  </a:cubicBezTo>
                  <a:cubicBezTo>
                    <a:pt x="263" y="735"/>
                    <a:pt x="261" y="733"/>
                    <a:pt x="256" y="735"/>
                  </a:cubicBezTo>
                  <a:cubicBezTo>
                    <a:pt x="251" y="737"/>
                    <a:pt x="250" y="741"/>
                    <a:pt x="246" y="743"/>
                  </a:cubicBezTo>
                  <a:cubicBezTo>
                    <a:pt x="239" y="746"/>
                    <a:pt x="228" y="739"/>
                    <a:pt x="224" y="749"/>
                  </a:cubicBezTo>
                  <a:cubicBezTo>
                    <a:pt x="223" y="752"/>
                    <a:pt x="224" y="755"/>
                    <a:pt x="222" y="758"/>
                  </a:cubicBezTo>
                  <a:cubicBezTo>
                    <a:pt x="221" y="763"/>
                    <a:pt x="217" y="763"/>
                    <a:pt x="214" y="767"/>
                  </a:cubicBezTo>
                  <a:cubicBezTo>
                    <a:pt x="208" y="774"/>
                    <a:pt x="201" y="783"/>
                    <a:pt x="195" y="791"/>
                  </a:cubicBezTo>
                  <a:cubicBezTo>
                    <a:pt x="187" y="802"/>
                    <a:pt x="180" y="816"/>
                    <a:pt x="171" y="826"/>
                  </a:cubicBezTo>
                  <a:cubicBezTo>
                    <a:pt x="169" y="828"/>
                    <a:pt x="167" y="830"/>
                    <a:pt x="166" y="833"/>
                  </a:cubicBezTo>
                  <a:cubicBezTo>
                    <a:pt x="165" y="836"/>
                    <a:pt x="168" y="840"/>
                    <a:pt x="164" y="841"/>
                  </a:cubicBezTo>
                  <a:cubicBezTo>
                    <a:pt x="160" y="843"/>
                    <a:pt x="158" y="839"/>
                    <a:pt x="155" y="841"/>
                  </a:cubicBezTo>
                  <a:cubicBezTo>
                    <a:pt x="151" y="844"/>
                    <a:pt x="146" y="853"/>
                    <a:pt x="145" y="857"/>
                  </a:cubicBezTo>
                  <a:cubicBezTo>
                    <a:pt x="144" y="862"/>
                    <a:pt x="147" y="868"/>
                    <a:pt x="140" y="869"/>
                  </a:cubicBezTo>
                  <a:cubicBezTo>
                    <a:pt x="134" y="870"/>
                    <a:pt x="133" y="864"/>
                    <a:pt x="128" y="863"/>
                  </a:cubicBezTo>
                  <a:cubicBezTo>
                    <a:pt x="127" y="866"/>
                    <a:pt x="125" y="868"/>
                    <a:pt x="124" y="871"/>
                  </a:cubicBezTo>
                  <a:cubicBezTo>
                    <a:pt x="124" y="874"/>
                    <a:pt x="125" y="877"/>
                    <a:pt x="124" y="881"/>
                  </a:cubicBezTo>
                  <a:cubicBezTo>
                    <a:pt x="124" y="884"/>
                    <a:pt x="124" y="885"/>
                    <a:pt x="122" y="887"/>
                  </a:cubicBezTo>
                  <a:cubicBezTo>
                    <a:pt x="119" y="890"/>
                    <a:pt x="112" y="890"/>
                    <a:pt x="109" y="893"/>
                  </a:cubicBezTo>
                  <a:cubicBezTo>
                    <a:pt x="105" y="898"/>
                    <a:pt x="109" y="905"/>
                    <a:pt x="111" y="910"/>
                  </a:cubicBezTo>
                  <a:cubicBezTo>
                    <a:pt x="116" y="919"/>
                    <a:pt x="105" y="929"/>
                    <a:pt x="96" y="932"/>
                  </a:cubicBezTo>
                  <a:cubicBezTo>
                    <a:pt x="93" y="930"/>
                    <a:pt x="89" y="931"/>
                    <a:pt x="86" y="931"/>
                  </a:cubicBezTo>
                  <a:cubicBezTo>
                    <a:pt x="82" y="931"/>
                    <a:pt x="78" y="929"/>
                    <a:pt x="75" y="929"/>
                  </a:cubicBezTo>
                  <a:cubicBezTo>
                    <a:pt x="65" y="928"/>
                    <a:pt x="66" y="935"/>
                    <a:pt x="66" y="943"/>
                  </a:cubicBezTo>
                  <a:cubicBezTo>
                    <a:pt x="66" y="949"/>
                    <a:pt x="67" y="964"/>
                    <a:pt x="62" y="967"/>
                  </a:cubicBezTo>
                  <a:cubicBezTo>
                    <a:pt x="58" y="970"/>
                    <a:pt x="54" y="967"/>
                    <a:pt x="50" y="969"/>
                  </a:cubicBezTo>
                  <a:cubicBezTo>
                    <a:pt x="43" y="972"/>
                    <a:pt x="42" y="986"/>
                    <a:pt x="43" y="994"/>
                  </a:cubicBezTo>
                  <a:cubicBezTo>
                    <a:pt x="43" y="994"/>
                    <a:pt x="43" y="994"/>
                    <a:pt x="43" y="995"/>
                  </a:cubicBezTo>
                  <a:cubicBezTo>
                    <a:pt x="43" y="994"/>
                    <a:pt x="43" y="994"/>
                    <a:pt x="43" y="994"/>
                  </a:cubicBezTo>
                  <a:cubicBezTo>
                    <a:pt x="43" y="993"/>
                    <a:pt x="42" y="993"/>
                    <a:pt x="42" y="993"/>
                  </a:cubicBezTo>
                  <a:cubicBezTo>
                    <a:pt x="39" y="997"/>
                    <a:pt x="41" y="1008"/>
                    <a:pt x="43" y="1013"/>
                  </a:cubicBezTo>
                  <a:cubicBezTo>
                    <a:pt x="46" y="1025"/>
                    <a:pt x="59" y="1035"/>
                    <a:pt x="55" y="1049"/>
                  </a:cubicBezTo>
                  <a:cubicBezTo>
                    <a:pt x="53" y="1054"/>
                    <a:pt x="51" y="1056"/>
                    <a:pt x="52" y="1061"/>
                  </a:cubicBezTo>
                  <a:cubicBezTo>
                    <a:pt x="53" y="1066"/>
                    <a:pt x="54" y="1070"/>
                    <a:pt x="54" y="1075"/>
                  </a:cubicBezTo>
                  <a:cubicBezTo>
                    <a:pt x="54" y="1082"/>
                    <a:pt x="52" y="1095"/>
                    <a:pt x="56" y="1101"/>
                  </a:cubicBezTo>
                  <a:cubicBezTo>
                    <a:pt x="58" y="1101"/>
                    <a:pt x="60" y="1099"/>
                    <a:pt x="60" y="1098"/>
                  </a:cubicBezTo>
                  <a:cubicBezTo>
                    <a:pt x="58" y="1105"/>
                    <a:pt x="54" y="1112"/>
                    <a:pt x="55" y="1120"/>
                  </a:cubicBezTo>
                  <a:cubicBezTo>
                    <a:pt x="56" y="1127"/>
                    <a:pt x="61" y="1131"/>
                    <a:pt x="64" y="1137"/>
                  </a:cubicBezTo>
                  <a:cubicBezTo>
                    <a:pt x="68" y="1142"/>
                    <a:pt x="70" y="1145"/>
                    <a:pt x="68" y="1152"/>
                  </a:cubicBezTo>
                  <a:cubicBezTo>
                    <a:pt x="67" y="1156"/>
                    <a:pt x="64" y="1158"/>
                    <a:pt x="62" y="1162"/>
                  </a:cubicBezTo>
                  <a:cubicBezTo>
                    <a:pt x="60" y="1166"/>
                    <a:pt x="61" y="1173"/>
                    <a:pt x="61" y="1178"/>
                  </a:cubicBezTo>
                  <a:cubicBezTo>
                    <a:pt x="61" y="1180"/>
                    <a:pt x="62" y="1183"/>
                    <a:pt x="61" y="1185"/>
                  </a:cubicBezTo>
                  <a:cubicBezTo>
                    <a:pt x="60" y="1192"/>
                    <a:pt x="55" y="1197"/>
                    <a:pt x="55" y="1204"/>
                  </a:cubicBezTo>
                  <a:cubicBezTo>
                    <a:pt x="55" y="1210"/>
                    <a:pt x="57" y="1216"/>
                    <a:pt x="56" y="1221"/>
                  </a:cubicBezTo>
                  <a:cubicBezTo>
                    <a:pt x="55" y="1228"/>
                    <a:pt x="49" y="1232"/>
                    <a:pt x="47" y="1238"/>
                  </a:cubicBezTo>
                  <a:cubicBezTo>
                    <a:pt x="46" y="1243"/>
                    <a:pt x="47" y="1247"/>
                    <a:pt x="50" y="1251"/>
                  </a:cubicBezTo>
                  <a:cubicBezTo>
                    <a:pt x="53" y="1257"/>
                    <a:pt x="54" y="1254"/>
                    <a:pt x="59" y="1251"/>
                  </a:cubicBezTo>
                  <a:cubicBezTo>
                    <a:pt x="64" y="1249"/>
                    <a:pt x="68" y="1248"/>
                    <a:pt x="70" y="1253"/>
                  </a:cubicBezTo>
                  <a:cubicBezTo>
                    <a:pt x="73" y="1260"/>
                    <a:pt x="66" y="1266"/>
                    <a:pt x="65" y="1272"/>
                  </a:cubicBezTo>
                  <a:cubicBezTo>
                    <a:pt x="71" y="1275"/>
                    <a:pt x="76" y="1277"/>
                    <a:pt x="80" y="1282"/>
                  </a:cubicBezTo>
                  <a:cubicBezTo>
                    <a:pt x="84" y="1285"/>
                    <a:pt x="84" y="1292"/>
                    <a:pt x="87" y="1294"/>
                  </a:cubicBezTo>
                  <a:cubicBezTo>
                    <a:pt x="92" y="1288"/>
                    <a:pt x="97" y="1281"/>
                    <a:pt x="106" y="1280"/>
                  </a:cubicBezTo>
                  <a:cubicBezTo>
                    <a:pt x="113" y="1279"/>
                    <a:pt x="112" y="1282"/>
                    <a:pt x="114" y="1288"/>
                  </a:cubicBezTo>
                  <a:cubicBezTo>
                    <a:pt x="114" y="1291"/>
                    <a:pt x="117" y="1310"/>
                    <a:pt x="122" y="1309"/>
                  </a:cubicBezTo>
                  <a:cubicBezTo>
                    <a:pt x="125" y="1308"/>
                    <a:pt x="126" y="1302"/>
                    <a:pt x="129" y="1303"/>
                  </a:cubicBezTo>
                  <a:cubicBezTo>
                    <a:pt x="130" y="1306"/>
                    <a:pt x="129" y="1309"/>
                    <a:pt x="130" y="1311"/>
                  </a:cubicBezTo>
                  <a:cubicBezTo>
                    <a:pt x="134" y="1308"/>
                    <a:pt x="141" y="1303"/>
                    <a:pt x="146" y="1303"/>
                  </a:cubicBezTo>
                  <a:cubicBezTo>
                    <a:pt x="144" y="1307"/>
                    <a:pt x="134" y="1311"/>
                    <a:pt x="134" y="1316"/>
                  </a:cubicBezTo>
                  <a:cubicBezTo>
                    <a:pt x="135" y="1318"/>
                    <a:pt x="139" y="1322"/>
                    <a:pt x="140" y="1325"/>
                  </a:cubicBezTo>
                  <a:cubicBezTo>
                    <a:pt x="145" y="1336"/>
                    <a:pt x="151" y="1324"/>
                    <a:pt x="157" y="1319"/>
                  </a:cubicBezTo>
                  <a:cubicBezTo>
                    <a:pt x="161" y="1323"/>
                    <a:pt x="162" y="1327"/>
                    <a:pt x="167" y="1328"/>
                  </a:cubicBezTo>
                  <a:cubicBezTo>
                    <a:pt x="173" y="1328"/>
                    <a:pt x="175" y="1322"/>
                    <a:pt x="180" y="1319"/>
                  </a:cubicBezTo>
                  <a:cubicBezTo>
                    <a:pt x="186" y="1314"/>
                    <a:pt x="191" y="1311"/>
                    <a:pt x="199" y="1310"/>
                  </a:cubicBezTo>
                  <a:cubicBezTo>
                    <a:pt x="203" y="1309"/>
                    <a:pt x="209" y="1306"/>
                    <a:pt x="210" y="1302"/>
                  </a:cubicBezTo>
                  <a:cubicBezTo>
                    <a:pt x="210" y="1301"/>
                    <a:pt x="210" y="1301"/>
                    <a:pt x="211" y="1301"/>
                  </a:cubicBezTo>
                  <a:cubicBezTo>
                    <a:pt x="211" y="1301"/>
                    <a:pt x="210" y="1301"/>
                    <a:pt x="210" y="1302"/>
                  </a:cubicBezTo>
                  <a:cubicBezTo>
                    <a:pt x="213" y="1303"/>
                    <a:pt x="233" y="1303"/>
                    <a:pt x="240" y="1295"/>
                  </a:cubicBezTo>
                  <a:cubicBezTo>
                    <a:pt x="244" y="1296"/>
                    <a:pt x="249" y="1299"/>
                    <a:pt x="253" y="1297"/>
                  </a:cubicBezTo>
                  <a:cubicBezTo>
                    <a:pt x="257" y="1296"/>
                    <a:pt x="259" y="1289"/>
                    <a:pt x="263" y="1288"/>
                  </a:cubicBezTo>
                  <a:cubicBezTo>
                    <a:pt x="265" y="1287"/>
                    <a:pt x="266" y="1289"/>
                    <a:pt x="268" y="1290"/>
                  </a:cubicBezTo>
                  <a:cubicBezTo>
                    <a:pt x="272" y="1291"/>
                    <a:pt x="277" y="1291"/>
                    <a:pt x="282" y="1292"/>
                  </a:cubicBezTo>
                  <a:cubicBezTo>
                    <a:pt x="284" y="1293"/>
                    <a:pt x="291" y="1294"/>
                    <a:pt x="293" y="1291"/>
                  </a:cubicBezTo>
                  <a:cubicBezTo>
                    <a:pt x="295" y="1288"/>
                    <a:pt x="293" y="1275"/>
                    <a:pt x="293" y="1272"/>
                  </a:cubicBezTo>
                  <a:cubicBezTo>
                    <a:pt x="293" y="1267"/>
                    <a:pt x="292" y="1265"/>
                    <a:pt x="297" y="1263"/>
                  </a:cubicBezTo>
                  <a:cubicBezTo>
                    <a:pt x="303" y="1261"/>
                    <a:pt x="309" y="1266"/>
                    <a:pt x="314" y="1268"/>
                  </a:cubicBezTo>
                  <a:cubicBezTo>
                    <a:pt x="323" y="1270"/>
                    <a:pt x="338" y="1269"/>
                    <a:pt x="347" y="1265"/>
                  </a:cubicBezTo>
                  <a:cubicBezTo>
                    <a:pt x="352" y="1264"/>
                    <a:pt x="355" y="1259"/>
                    <a:pt x="359" y="1257"/>
                  </a:cubicBezTo>
                  <a:cubicBezTo>
                    <a:pt x="363" y="1256"/>
                    <a:pt x="370" y="1257"/>
                    <a:pt x="374" y="1257"/>
                  </a:cubicBezTo>
                  <a:cubicBezTo>
                    <a:pt x="382" y="1256"/>
                    <a:pt x="390" y="1255"/>
                    <a:pt x="398" y="1253"/>
                  </a:cubicBezTo>
                  <a:cubicBezTo>
                    <a:pt x="397" y="1251"/>
                    <a:pt x="399" y="1250"/>
                    <a:pt x="400" y="1248"/>
                  </a:cubicBezTo>
                  <a:cubicBezTo>
                    <a:pt x="401" y="1247"/>
                    <a:pt x="400" y="1246"/>
                    <a:pt x="401" y="1244"/>
                  </a:cubicBezTo>
                  <a:cubicBezTo>
                    <a:pt x="404" y="1242"/>
                    <a:pt x="409" y="1240"/>
                    <a:pt x="412" y="1239"/>
                  </a:cubicBezTo>
                  <a:cubicBezTo>
                    <a:pt x="423" y="1233"/>
                    <a:pt x="430" y="1223"/>
                    <a:pt x="439" y="1216"/>
                  </a:cubicBezTo>
                  <a:cubicBezTo>
                    <a:pt x="445" y="1211"/>
                    <a:pt x="451" y="1207"/>
                    <a:pt x="456" y="1201"/>
                  </a:cubicBezTo>
                  <a:cubicBezTo>
                    <a:pt x="462" y="1196"/>
                    <a:pt x="467" y="1190"/>
                    <a:pt x="472" y="1184"/>
                  </a:cubicBezTo>
                  <a:cubicBezTo>
                    <a:pt x="480" y="1177"/>
                    <a:pt x="488" y="1170"/>
                    <a:pt x="494" y="1162"/>
                  </a:cubicBezTo>
                  <a:cubicBezTo>
                    <a:pt x="498" y="1156"/>
                    <a:pt x="501" y="1149"/>
                    <a:pt x="505" y="1143"/>
                  </a:cubicBezTo>
                  <a:cubicBezTo>
                    <a:pt x="520" y="1121"/>
                    <a:pt x="533" y="1097"/>
                    <a:pt x="546" y="1073"/>
                  </a:cubicBezTo>
                  <a:cubicBezTo>
                    <a:pt x="555" y="1054"/>
                    <a:pt x="569" y="1034"/>
                    <a:pt x="586" y="1019"/>
                  </a:cubicBezTo>
                  <a:cubicBezTo>
                    <a:pt x="594" y="1012"/>
                    <a:pt x="605" y="1004"/>
                    <a:pt x="603" y="99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2" name="Freeform 63">
              <a:extLst>
                <a:ext uri="{FF2B5EF4-FFF2-40B4-BE49-F238E27FC236}">
                  <a16:creationId xmlns:a16="http://schemas.microsoft.com/office/drawing/2014/main" id="{E7E91D45-D89C-4AD0-B87B-06BA499775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3097213"/>
              <a:ext cx="850900" cy="1528763"/>
            </a:xfrm>
            <a:custGeom>
              <a:avLst/>
              <a:gdLst/>
              <a:ahLst/>
              <a:cxnLst>
                <a:cxn ang="0">
                  <a:pos x="416" y="555"/>
                </a:cxn>
                <a:cxn ang="0">
                  <a:pos x="363" y="502"/>
                </a:cxn>
                <a:cxn ang="0">
                  <a:pos x="302" y="396"/>
                </a:cxn>
                <a:cxn ang="0">
                  <a:pos x="260" y="298"/>
                </a:cxn>
                <a:cxn ang="0">
                  <a:pos x="170" y="270"/>
                </a:cxn>
                <a:cxn ang="0">
                  <a:pos x="230" y="236"/>
                </a:cxn>
                <a:cxn ang="0">
                  <a:pos x="246" y="155"/>
                </a:cxn>
                <a:cxn ang="0">
                  <a:pos x="184" y="99"/>
                </a:cxn>
                <a:cxn ang="0">
                  <a:pos x="139" y="117"/>
                </a:cxn>
                <a:cxn ang="0">
                  <a:pos x="157" y="88"/>
                </a:cxn>
                <a:cxn ang="0">
                  <a:pos x="158" y="69"/>
                </a:cxn>
                <a:cxn ang="0">
                  <a:pos x="198" y="27"/>
                </a:cxn>
                <a:cxn ang="0">
                  <a:pos x="183" y="3"/>
                </a:cxn>
                <a:cxn ang="0">
                  <a:pos x="136" y="16"/>
                </a:cxn>
                <a:cxn ang="0">
                  <a:pos x="109" y="24"/>
                </a:cxn>
                <a:cxn ang="0">
                  <a:pos x="89" y="25"/>
                </a:cxn>
                <a:cxn ang="0">
                  <a:pos x="78" y="63"/>
                </a:cxn>
                <a:cxn ang="0">
                  <a:pos x="72" y="84"/>
                </a:cxn>
                <a:cxn ang="0">
                  <a:pos x="50" y="91"/>
                </a:cxn>
                <a:cxn ang="0">
                  <a:pos x="59" y="121"/>
                </a:cxn>
                <a:cxn ang="0">
                  <a:pos x="66" y="137"/>
                </a:cxn>
                <a:cxn ang="0">
                  <a:pos x="46" y="148"/>
                </a:cxn>
                <a:cxn ang="0">
                  <a:pos x="33" y="129"/>
                </a:cxn>
                <a:cxn ang="0">
                  <a:pos x="9" y="116"/>
                </a:cxn>
                <a:cxn ang="0">
                  <a:pos x="12" y="136"/>
                </a:cxn>
                <a:cxn ang="0">
                  <a:pos x="42" y="159"/>
                </a:cxn>
                <a:cxn ang="0">
                  <a:pos x="64" y="164"/>
                </a:cxn>
                <a:cxn ang="0">
                  <a:pos x="48" y="183"/>
                </a:cxn>
                <a:cxn ang="0">
                  <a:pos x="32" y="205"/>
                </a:cxn>
                <a:cxn ang="0">
                  <a:pos x="50" y="220"/>
                </a:cxn>
                <a:cxn ang="0">
                  <a:pos x="26" y="221"/>
                </a:cxn>
                <a:cxn ang="0">
                  <a:pos x="18" y="239"/>
                </a:cxn>
                <a:cxn ang="0">
                  <a:pos x="67" y="218"/>
                </a:cxn>
                <a:cxn ang="0">
                  <a:pos x="79" y="206"/>
                </a:cxn>
                <a:cxn ang="0">
                  <a:pos x="64" y="258"/>
                </a:cxn>
                <a:cxn ang="0">
                  <a:pos x="73" y="277"/>
                </a:cxn>
                <a:cxn ang="0">
                  <a:pos x="98" y="290"/>
                </a:cxn>
                <a:cxn ang="0">
                  <a:pos x="84" y="377"/>
                </a:cxn>
                <a:cxn ang="0">
                  <a:pos x="156" y="388"/>
                </a:cxn>
                <a:cxn ang="0">
                  <a:pos x="180" y="380"/>
                </a:cxn>
                <a:cxn ang="0">
                  <a:pos x="195" y="451"/>
                </a:cxn>
                <a:cxn ang="0">
                  <a:pos x="194" y="504"/>
                </a:cxn>
                <a:cxn ang="0">
                  <a:pos x="136" y="525"/>
                </a:cxn>
                <a:cxn ang="0">
                  <a:pos x="107" y="574"/>
                </a:cxn>
                <a:cxn ang="0">
                  <a:pos x="137" y="614"/>
                </a:cxn>
                <a:cxn ang="0">
                  <a:pos x="85" y="655"/>
                </a:cxn>
                <a:cxn ang="0">
                  <a:pos x="134" y="682"/>
                </a:cxn>
                <a:cxn ang="0">
                  <a:pos x="205" y="682"/>
                </a:cxn>
                <a:cxn ang="0">
                  <a:pos x="165" y="708"/>
                </a:cxn>
                <a:cxn ang="0">
                  <a:pos x="91" y="770"/>
                </a:cxn>
                <a:cxn ang="0">
                  <a:pos x="67" y="795"/>
                </a:cxn>
                <a:cxn ang="0">
                  <a:pos x="57" y="810"/>
                </a:cxn>
                <a:cxn ang="0">
                  <a:pos x="86" y="815"/>
                </a:cxn>
                <a:cxn ang="0">
                  <a:pos x="107" y="784"/>
                </a:cxn>
                <a:cxn ang="0">
                  <a:pos x="141" y="787"/>
                </a:cxn>
                <a:cxn ang="0">
                  <a:pos x="172" y="789"/>
                </a:cxn>
                <a:cxn ang="0">
                  <a:pos x="187" y="755"/>
                </a:cxn>
                <a:cxn ang="0">
                  <a:pos x="259" y="751"/>
                </a:cxn>
                <a:cxn ang="0">
                  <a:pos x="341" y="743"/>
                </a:cxn>
                <a:cxn ang="0">
                  <a:pos x="415" y="731"/>
                </a:cxn>
                <a:cxn ang="0">
                  <a:pos x="370" y="685"/>
                </a:cxn>
                <a:cxn ang="0">
                  <a:pos x="444" y="635"/>
                </a:cxn>
              </a:cxnLst>
              <a:rect l="0" t="0" r="r" b="b"/>
              <a:pathLst>
                <a:path w="455" h="818">
                  <a:moveTo>
                    <a:pt x="126" y="139"/>
                  </a:moveTo>
                  <a:cubicBezTo>
                    <a:pt x="126" y="141"/>
                    <a:pt x="126" y="142"/>
                    <a:pt x="125" y="144"/>
                  </a:cubicBezTo>
                  <a:cubicBezTo>
                    <a:pt x="124" y="145"/>
                    <a:pt x="117" y="155"/>
                    <a:pt x="116" y="157"/>
                  </a:cubicBezTo>
                  <a:cubicBezTo>
                    <a:pt x="114" y="159"/>
                    <a:pt x="111" y="160"/>
                    <a:pt x="110" y="163"/>
                  </a:cubicBezTo>
                  <a:cubicBezTo>
                    <a:pt x="106" y="164"/>
                    <a:pt x="109" y="162"/>
                    <a:pt x="109" y="161"/>
                  </a:cubicBezTo>
                  <a:cubicBezTo>
                    <a:pt x="110" y="160"/>
                    <a:pt x="112" y="159"/>
                    <a:pt x="112" y="157"/>
                  </a:cubicBezTo>
                  <a:cubicBezTo>
                    <a:pt x="113" y="154"/>
                    <a:pt x="117" y="148"/>
                    <a:pt x="118" y="147"/>
                  </a:cubicBezTo>
                  <a:cubicBezTo>
                    <a:pt x="119" y="146"/>
                    <a:pt x="119" y="145"/>
                    <a:pt x="120" y="144"/>
                  </a:cubicBezTo>
                  <a:cubicBezTo>
                    <a:pt x="120" y="144"/>
                    <a:pt x="122" y="142"/>
                    <a:pt x="122" y="141"/>
                  </a:cubicBezTo>
                  <a:cubicBezTo>
                    <a:pt x="123" y="140"/>
                    <a:pt x="124" y="139"/>
                    <a:pt x="124" y="138"/>
                  </a:cubicBezTo>
                  <a:cubicBezTo>
                    <a:pt x="126" y="137"/>
                    <a:pt x="126" y="138"/>
                    <a:pt x="126" y="139"/>
                  </a:cubicBezTo>
                  <a:moveTo>
                    <a:pt x="452" y="569"/>
                  </a:moveTo>
                  <a:cubicBezTo>
                    <a:pt x="450" y="566"/>
                    <a:pt x="446" y="568"/>
                    <a:pt x="443" y="567"/>
                  </a:cubicBezTo>
                  <a:cubicBezTo>
                    <a:pt x="441" y="566"/>
                    <a:pt x="441" y="564"/>
                    <a:pt x="440" y="563"/>
                  </a:cubicBezTo>
                  <a:cubicBezTo>
                    <a:pt x="439" y="562"/>
                    <a:pt x="436" y="561"/>
                    <a:pt x="434" y="560"/>
                  </a:cubicBezTo>
                  <a:cubicBezTo>
                    <a:pt x="432" y="559"/>
                    <a:pt x="431" y="559"/>
                    <a:pt x="429" y="558"/>
                  </a:cubicBezTo>
                  <a:cubicBezTo>
                    <a:pt x="427" y="558"/>
                    <a:pt x="425" y="555"/>
                    <a:pt x="422" y="555"/>
                  </a:cubicBezTo>
                  <a:cubicBezTo>
                    <a:pt x="420" y="554"/>
                    <a:pt x="418" y="555"/>
                    <a:pt x="416" y="555"/>
                  </a:cubicBezTo>
                  <a:cubicBezTo>
                    <a:pt x="413" y="556"/>
                    <a:pt x="410" y="555"/>
                    <a:pt x="407" y="555"/>
                  </a:cubicBezTo>
                  <a:cubicBezTo>
                    <a:pt x="402" y="555"/>
                    <a:pt x="398" y="554"/>
                    <a:pt x="393" y="554"/>
                  </a:cubicBezTo>
                  <a:cubicBezTo>
                    <a:pt x="388" y="554"/>
                    <a:pt x="387" y="555"/>
                    <a:pt x="385" y="559"/>
                  </a:cubicBezTo>
                  <a:cubicBezTo>
                    <a:pt x="384" y="561"/>
                    <a:pt x="383" y="562"/>
                    <a:pt x="382" y="563"/>
                  </a:cubicBezTo>
                  <a:cubicBezTo>
                    <a:pt x="380" y="565"/>
                    <a:pt x="380" y="567"/>
                    <a:pt x="378" y="568"/>
                  </a:cubicBezTo>
                  <a:cubicBezTo>
                    <a:pt x="376" y="570"/>
                    <a:pt x="375" y="570"/>
                    <a:pt x="373" y="569"/>
                  </a:cubicBezTo>
                  <a:cubicBezTo>
                    <a:pt x="370" y="568"/>
                    <a:pt x="371" y="565"/>
                    <a:pt x="368" y="563"/>
                  </a:cubicBezTo>
                  <a:cubicBezTo>
                    <a:pt x="366" y="561"/>
                    <a:pt x="364" y="562"/>
                    <a:pt x="364" y="558"/>
                  </a:cubicBezTo>
                  <a:cubicBezTo>
                    <a:pt x="364" y="556"/>
                    <a:pt x="364" y="555"/>
                    <a:pt x="365" y="553"/>
                  </a:cubicBezTo>
                  <a:cubicBezTo>
                    <a:pt x="367" y="550"/>
                    <a:pt x="372" y="551"/>
                    <a:pt x="375" y="549"/>
                  </a:cubicBezTo>
                  <a:cubicBezTo>
                    <a:pt x="377" y="547"/>
                    <a:pt x="377" y="545"/>
                    <a:pt x="378" y="543"/>
                  </a:cubicBezTo>
                  <a:cubicBezTo>
                    <a:pt x="378" y="540"/>
                    <a:pt x="380" y="538"/>
                    <a:pt x="380" y="536"/>
                  </a:cubicBezTo>
                  <a:cubicBezTo>
                    <a:pt x="382" y="532"/>
                    <a:pt x="381" y="528"/>
                    <a:pt x="380" y="524"/>
                  </a:cubicBezTo>
                  <a:cubicBezTo>
                    <a:pt x="379" y="522"/>
                    <a:pt x="379" y="519"/>
                    <a:pt x="378" y="518"/>
                  </a:cubicBezTo>
                  <a:cubicBezTo>
                    <a:pt x="377" y="517"/>
                    <a:pt x="376" y="518"/>
                    <a:pt x="375" y="517"/>
                  </a:cubicBezTo>
                  <a:cubicBezTo>
                    <a:pt x="373" y="517"/>
                    <a:pt x="372" y="514"/>
                    <a:pt x="370" y="513"/>
                  </a:cubicBezTo>
                  <a:cubicBezTo>
                    <a:pt x="368" y="511"/>
                    <a:pt x="368" y="508"/>
                    <a:pt x="367" y="506"/>
                  </a:cubicBezTo>
                  <a:cubicBezTo>
                    <a:pt x="366" y="505"/>
                    <a:pt x="365" y="502"/>
                    <a:pt x="363" y="502"/>
                  </a:cubicBezTo>
                  <a:cubicBezTo>
                    <a:pt x="362" y="501"/>
                    <a:pt x="358" y="501"/>
                    <a:pt x="358" y="499"/>
                  </a:cubicBezTo>
                  <a:cubicBezTo>
                    <a:pt x="360" y="498"/>
                    <a:pt x="365" y="498"/>
                    <a:pt x="367" y="499"/>
                  </a:cubicBezTo>
                  <a:cubicBezTo>
                    <a:pt x="370" y="499"/>
                    <a:pt x="371" y="501"/>
                    <a:pt x="375" y="501"/>
                  </a:cubicBezTo>
                  <a:cubicBezTo>
                    <a:pt x="376" y="498"/>
                    <a:pt x="374" y="498"/>
                    <a:pt x="372" y="497"/>
                  </a:cubicBezTo>
                  <a:cubicBezTo>
                    <a:pt x="371" y="496"/>
                    <a:pt x="370" y="495"/>
                    <a:pt x="369" y="495"/>
                  </a:cubicBezTo>
                  <a:cubicBezTo>
                    <a:pt x="368" y="489"/>
                    <a:pt x="364" y="485"/>
                    <a:pt x="361" y="481"/>
                  </a:cubicBezTo>
                  <a:cubicBezTo>
                    <a:pt x="359" y="476"/>
                    <a:pt x="358" y="470"/>
                    <a:pt x="354" y="466"/>
                  </a:cubicBezTo>
                  <a:cubicBezTo>
                    <a:pt x="352" y="464"/>
                    <a:pt x="350" y="459"/>
                    <a:pt x="349" y="456"/>
                  </a:cubicBezTo>
                  <a:cubicBezTo>
                    <a:pt x="348" y="452"/>
                    <a:pt x="354" y="451"/>
                    <a:pt x="354" y="447"/>
                  </a:cubicBezTo>
                  <a:cubicBezTo>
                    <a:pt x="350" y="445"/>
                    <a:pt x="347" y="443"/>
                    <a:pt x="345" y="439"/>
                  </a:cubicBezTo>
                  <a:cubicBezTo>
                    <a:pt x="344" y="437"/>
                    <a:pt x="343" y="434"/>
                    <a:pt x="341" y="432"/>
                  </a:cubicBezTo>
                  <a:cubicBezTo>
                    <a:pt x="340" y="430"/>
                    <a:pt x="338" y="429"/>
                    <a:pt x="337" y="427"/>
                  </a:cubicBezTo>
                  <a:cubicBezTo>
                    <a:pt x="335" y="424"/>
                    <a:pt x="333" y="419"/>
                    <a:pt x="330" y="417"/>
                  </a:cubicBezTo>
                  <a:cubicBezTo>
                    <a:pt x="327" y="414"/>
                    <a:pt x="323" y="414"/>
                    <a:pt x="319" y="412"/>
                  </a:cubicBezTo>
                  <a:cubicBezTo>
                    <a:pt x="317" y="410"/>
                    <a:pt x="315" y="408"/>
                    <a:pt x="313" y="407"/>
                  </a:cubicBezTo>
                  <a:cubicBezTo>
                    <a:pt x="312" y="406"/>
                    <a:pt x="310" y="406"/>
                    <a:pt x="308" y="405"/>
                  </a:cubicBezTo>
                  <a:cubicBezTo>
                    <a:pt x="306" y="403"/>
                    <a:pt x="304" y="403"/>
                    <a:pt x="304" y="400"/>
                  </a:cubicBezTo>
                  <a:cubicBezTo>
                    <a:pt x="304" y="397"/>
                    <a:pt x="305" y="397"/>
                    <a:pt x="302" y="396"/>
                  </a:cubicBezTo>
                  <a:cubicBezTo>
                    <a:pt x="299" y="396"/>
                    <a:pt x="292" y="397"/>
                    <a:pt x="292" y="392"/>
                  </a:cubicBezTo>
                  <a:cubicBezTo>
                    <a:pt x="291" y="388"/>
                    <a:pt x="293" y="391"/>
                    <a:pt x="295" y="390"/>
                  </a:cubicBezTo>
                  <a:cubicBezTo>
                    <a:pt x="296" y="389"/>
                    <a:pt x="297" y="386"/>
                    <a:pt x="295" y="385"/>
                  </a:cubicBezTo>
                  <a:cubicBezTo>
                    <a:pt x="297" y="385"/>
                    <a:pt x="299" y="382"/>
                    <a:pt x="299" y="380"/>
                  </a:cubicBezTo>
                  <a:cubicBezTo>
                    <a:pt x="299" y="378"/>
                    <a:pt x="297" y="377"/>
                    <a:pt x="295" y="376"/>
                  </a:cubicBezTo>
                  <a:cubicBezTo>
                    <a:pt x="292" y="374"/>
                    <a:pt x="290" y="373"/>
                    <a:pt x="290" y="368"/>
                  </a:cubicBezTo>
                  <a:cubicBezTo>
                    <a:pt x="290" y="364"/>
                    <a:pt x="292" y="360"/>
                    <a:pt x="288" y="357"/>
                  </a:cubicBezTo>
                  <a:cubicBezTo>
                    <a:pt x="286" y="356"/>
                    <a:pt x="284" y="356"/>
                    <a:pt x="282" y="358"/>
                  </a:cubicBezTo>
                  <a:cubicBezTo>
                    <a:pt x="282" y="359"/>
                    <a:pt x="282" y="359"/>
                    <a:pt x="280" y="360"/>
                  </a:cubicBezTo>
                  <a:cubicBezTo>
                    <a:pt x="281" y="359"/>
                    <a:pt x="282" y="358"/>
                    <a:pt x="282" y="358"/>
                  </a:cubicBezTo>
                  <a:cubicBezTo>
                    <a:pt x="284" y="353"/>
                    <a:pt x="279" y="343"/>
                    <a:pt x="278" y="341"/>
                  </a:cubicBezTo>
                  <a:cubicBezTo>
                    <a:pt x="277" y="338"/>
                    <a:pt x="276" y="336"/>
                    <a:pt x="276" y="332"/>
                  </a:cubicBezTo>
                  <a:cubicBezTo>
                    <a:pt x="276" y="327"/>
                    <a:pt x="277" y="324"/>
                    <a:pt x="283" y="328"/>
                  </a:cubicBezTo>
                  <a:cubicBezTo>
                    <a:pt x="279" y="323"/>
                    <a:pt x="277" y="318"/>
                    <a:pt x="274" y="312"/>
                  </a:cubicBezTo>
                  <a:cubicBezTo>
                    <a:pt x="272" y="310"/>
                    <a:pt x="272" y="310"/>
                    <a:pt x="270" y="309"/>
                  </a:cubicBezTo>
                  <a:cubicBezTo>
                    <a:pt x="268" y="308"/>
                    <a:pt x="267" y="308"/>
                    <a:pt x="267" y="306"/>
                  </a:cubicBezTo>
                  <a:cubicBezTo>
                    <a:pt x="266" y="303"/>
                    <a:pt x="269" y="302"/>
                    <a:pt x="266" y="300"/>
                  </a:cubicBezTo>
                  <a:cubicBezTo>
                    <a:pt x="265" y="299"/>
                    <a:pt x="262" y="298"/>
                    <a:pt x="260" y="298"/>
                  </a:cubicBezTo>
                  <a:cubicBezTo>
                    <a:pt x="256" y="297"/>
                    <a:pt x="251" y="294"/>
                    <a:pt x="250" y="290"/>
                  </a:cubicBezTo>
                  <a:cubicBezTo>
                    <a:pt x="249" y="286"/>
                    <a:pt x="252" y="283"/>
                    <a:pt x="252" y="279"/>
                  </a:cubicBezTo>
                  <a:cubicBezTo>
                    <a:pt x="251" y="277"/>
                    <a:pt x="250" y="275"/>
                    <a:pt x="249" y="273"/>
                  </a:cubicBezTo>
                  <a:cubicBezTo>
                    <a:pt x="248" y="273"/>
                    <a:pt x="245" y="271"/>
                    <a:pt x="243" y="271"/>
                  </a:cubicBezTo>
                  <a:cubicBezTo>
                    <a:pt x="239" y="271"/>
                    <a:pt x="239" y="277"/>
                    <a:pt x="233" y="273"/>
                  </a:cubicBezTo>
                  <a:cubicBezTo>
                    <a:pt x="233" y="273"/>
                    <a:pt x="233" y="272"/>
                    <a:pt x="232" y="272"/>
                  </a:cubicBezTo>
                  <a:cubicBezTo>
                    <a:pt x="231" y="271"/>
                    <a:pt x="229" y="271"/>
                    <a:pt x="229" y="271"/>
                  </a:cubicBezTo>
                  <a:cubicBezTo>
                    <a:pt x="227" y="270"/>
                    <a:pt x="227" y="267"/>
                    <a:pt x="224" y="268"/>
                  </a:cubicBezTo>
                  <a:cubicBezTo>
                    <a:pt x="225" y="272"/>
                    <a:pt x="222" y="269"/>
                    <a:pt x="221" y="268"/>
                  </a:cubicBezTo>
                  <a:cubicBezTo>
                    <a:pt x="220" y="266"/>
                    <a:pt x="220" y="266"/>
                    <a:pt x="217" y="266"/>
                  </a:cubicBezTo>
                  <a:cubicBezTo>
                    <a:pt x="214" y="266"/>
                    <a:pt x="209" y="265"/>
                    <a:pt x="207" y="268"/>
                  </a:cubicBezTo>
                  <a:cubicBezTo>
                    <a:pt x="207" y="269"/>
                    <a:pt x="208" y="271"/>
                    <a:pt x="206" y="272"/>
                  </a:cubicBezTo>
                  <a:cubicBezTo>
                    <a:pt x="204" y="273"/>
                    <a:pt x="203" y="271"/>
                    <a:pt x="202" y="270"/>
                  </a:cubicBezTo>
                  <a:cubicBezTo>
                    <a:pt x="198" y="270"/>
                    <a:pt x="195" y="274"/>
                    <a:pt x="192" y="275"/>
                  </a:cubicBezTo>
                  <a:cubicBezTo>
                    <a:pt x="190" y="276"/>
                    <a:pt x="187" y="275"/>
                    <a:pt x="185" y="274"/>
                  </a:cubicBezTo>
                  <a:cubicBezTo>
                    <a:pt x="184" y="274"/>
                    <a:pt x="183" y="274"/>
                    <a:pt x="183" y="274"/>
                  </a:cubicBezTo>
                  <a:cubicBezTo>
                    <a:pt x="182" y="274"/>
                    <a:pt x="181" y="273"/>
                    <a:pt x="180" y="272"/>
                  </a:cubicBezTo>
                  <a:cubicBezTo>
                    <a:pt x="177" y="270"/>
                    <a:pt x="174" y="271"/>
                    <a:pt x="170" y="270"/>
                  </a:cubicBezTo>
                  <a:cubicBezTo>
                    <a:pt x="167" y="270"/>
                    <a:pt x="163" y="270"/>
                    <a:pt x="160" y="269"/>
                  </a:cubicBezTo>
                  <a:cubicBezTo>
                    <a:pt x="158" y="269"/>
                    <a:pt x="156" y="268"/>
                    <a:pt x="154" y="268"/>
                  </a:cubicBezTo>
                  <a:cubicBezTo>
                    <a:pt x="152" y="268"/>
                    <a:pt x="152" y="269"/>
                    <a:pt x="150" y="269"/>
                  </a:cubicBezTo>
                  <a:cubicBezTo>
                    <a:pt x="149" y="268"/>
                    <a:pt x="149" y="268"/>
                    <a:pt x="150" y="267"/>
                  </a:cubicBezTo>
                  <a:cubicBezTo>
                    <a:pt x="156" y="266"/>
                    <a:pt x="163" y="267"/>
                    <a:pt x="170" y="267"/>
                  </a:cubicBezTo>
                  <a:cubicBezTo>
                    <a:pt x="173" y="267"/>
                    <a:pt x="176" y="267"/>
                    <a:pt x="179" y="267"/>
                  </a:cubicBezTo>
                  <a:cubicBezTo>
                    <a:pt x="182" y="267"/>
                    <a:pt x="185" y="268"/>
                    <a:pt x="188" y="268"/>
                  </a:cubicBezTo>
                  <a:cubicBezTo>
                    <a:pt x="188" y="264"/>
                    <a:pt x="191" y="266"/>
                    <a:pt x="193" y="265"/>
                  </a:cubicBezTo>
                  <a:cubicBezTo>
                    <a:pt x="196" y="264"/>
                    <a:pt x="194" y="261"/>
                    <a:pt x="195" y="258"/>
                  </a:cubicBezTo>
                  <a:cubicBezTo>
                    <a:pt x="196" y="256"/>
                    <a:pt x="200" y="256"/>
                    <a:pt x="202" y="255"/>
                  </a:cubicBezTo>
                  <a:cubicBezTo>
                    <a:pt x="204" y="254"/>
                    <a:pt x="205" y="254"/>
                    <a:pt x="206" y="253"/>
                  </a:cubicBezTo>
                  <a:cubicBezTo>
                    <a:pt x="207" y="252"/>
                    <a:pt x="208" y="251"/>
                    <a:pt x="210" y="251"/>
                  </a:cubicBezTo>
                  <a:cubicBezTo>
                    <a:pt x="210" y="252"/>
                    <a:pt x="210" y="253"/>
                    <a:pt x="210" y="254"/>
                  </a:cubicBezTo>
                  <a:cubicBezTo>
                    <a:pt x="212" y="255"/>
                    <a:pt x="214" y="254"/>
                    <a:pt x="216" y="254"/>
                  </a:cubicBezTo>
                  <a:cubicBezTo>
                    <a:pt x="216" y="252"/>
                    <a:pt x="216" y="249"/>
                    <a:pt x="217" y="247"/>
                  </a:cubicBezTo>
                  <a:cubicBezTo>
                    <a:pt x="218" y="243"/>
                    <a:pt x="222" y="243"/>
                    <a:pt x="225" y="243"/>
                  </a:cubicBezTo>
                  <a:cubicBezTo>
                    <a:pt x="228" y="243"/>
                    <a:pt x="230" y="243"/>
                    <a:pt x="232" y="241"/>
                  </a:cubicBezTo>
                  <a:cubicBezTo>
                    <a:pt x="234" y="239"/>
                    <a:pt x="233" y="237"/>
                    <a:pt x="230" y="236"/>
                  </a:cubicBezTo>
                  <a:cubicBezTo>
                    <a:pt x="227" y="236"/>
                    <a:pt x="226" y="237"/>
                    <a:pt x="224" y="237"/>
                  </a:cubicBezTo>
                  <a:cubicBezTo>
                    <a:pt x="221" y="237"/>
                    <a:pt x="219" y="234"/>
                    <a:pt x="217" y="233"/>
                  </a:cubicBezTo>
                  <a:cubicBezTo>
                    <a:pt x="215" y="232"/>
                    <a:pt x="213" y="231"/>
                    <a:pt x="212" y="230"/>
                  </a:cubicBezTo>
                  <a:cubicBezTo>
                    <a:pt x="210" y="228"/>
                    <a:pt x="212" y="225"/>
                    <a:pt x="209" y="224"/>
                  </a:cubicBezTo>
                  <a:cubicBezTo>
                    <a:pt x="213" y="223"/>
                    <a:pt x="215" y="219"/>
                    <a:pt x="220" y="219"/>
                  </a:cubicBezTo>
                  <a:cubicBezTo>
                    <a:pt x="221" y="219"/>
                    <a:pt x="222" y="219"/>
                    <a:pt x="223" y="219"/>
                  </a:cubicBezTo>
                  <a:cubicBezTo>
                    <a:pt x="224" y="219"/>
                    <a:pt x="224" y="217"/>
                    <a:pt x="225" y="217"/>
                  </a:cubicBezTo>
                  <a:cubicBezTo>
                    <a:pt x="225" y="216"/>
                    <a:pt x="226" y="216"/>
                    <a:pt x="227" y="216"/>
                  </a:cubicBezTo>
                  <a:cubicBezTo>
                    <a:pt x="228" y="215"/>
                    <a:pt x="230" y="210"/>
                    <a:pt x="230" y="209"/>
                  </a:cubicBezTo>
                  <a:cubicBezTo>
                    <a:pt x="231" y="205"/>
                    <a:pt x="230" y="202"/>
                    <a:pt x="227" y="201"/>
                  </a:cubicBezTo>
                  <a:cubicBezTo>
                    <a:pt x="227" y="198"/>
                    <a:pt x="228" y="196"/>
                    <a:pt x="230" y="195"/>
                  </a:cubicBezTo>
                  <a:cubicBezTo>
                    <a:pt x="231" y="194"/>
                    <a:pt x="232" y="194"/>
                    <a:pt x="233" y="194"/>
                  </a:cubicBezTo>
                  <a:cubicBezTo>
                    <a:pt x="235" y="193"/>
                    <a:pt x="235" y="192"/>
                    <a:pt x="237" y="191"/>
                  </a:cubicBezTo>
                  <a:cubicBezTo>
                    <a:pt x="239" y="190"/>
                    <a:pt x="240" y="188"/>
                    <a:pt x="242" y="186"/>
                  </a:cubicBezTo>
                  <a:cubicBezTo>
                    <a:pt x="245" y="183"/>
                    <a:pt x="247" y="183"/>
                    <a:pt x="246" y="179"/>
                  </a:cubicBezTo>
                  <a:cubicBezTo>
                    <a:pt x="246" y="177"/>
                    <a:pt x="245" y="174"/>
                    <a:pt x="245" y="172"/>
                  </a:cubicBezTo>
                  <a:cubicBezTo>
                    <a:pt x="246" y="169"/>
                    <a:pt x="248" y="169"/>
                    <a:pt x="250" y="167"/>
                  </a:cubicBezTo>
                  <a:cubicBezTo>
                    <a:pt x="251" y="164"/>
                    <a:pt x="250" y="151"/>
                    <a:pt x="246" y="155"/>
                  </a:cubicBezTo>
                  <a:cubicBezTo>
                    <a:pt x="249" y="154"/>
                    <a:pt x="251" y="151"/>
                    <a:pt x="252" y="149"/>
                  </a:cubicBezTo>
                  <a:cubicBezTo>
                    <a:pt x="253" y="145"/>
                    <a:pt x="255" y="145"/>
                    <a:pt x="258" y="142"/>
                  </a:cubicBezTo>
                  <a:cubicBezTo>
                    <a:pt x="261" y="140"/>
                    <a:pt x="265" y="138"/>
                    <a:pt x="266" y="134"/>
                  </a:cubicBezTo>
                  <a:cubicBezTo>
                    <a:pt x="266" y="130"/>
                    <a:pt x="266" y="126"/>
                    <a:pt x="266" y="123"/>
                  </a:cubicBezTo>
                  <a:cubicBezTo>
                    <a:pt x="266" y="120"/>
                    <a:pt x="267" y="115"/>
                    <a:pt x="266" y="112"/>
                  </a:cubicBezTo>
                  <a:cubicBezTo>
                    <a:pt x="264" y="109"/>
                    <a:pt x="261" y="107"/>
                    <a:pt x="258" y="106"/>
                  </a:cubicBezTo>
                  <a:cubicBezTo>
                    <a:pt x="257" y="106"/>
                    <a:pt x="254" y="104"/>
                    <a:pt x="253" y="104"/>
                  </a:cubicBezTo>
                  <a:cubicBezTo>
                    <a:pt x="252" y="102"/>
                    <a:pt x="252" y="100"/>
                    <a:pt x="250" y="100"/>
                  </a:cubicBezTo>
                  <a:cubicBezTo>
                    <a:pt x="247" y="99"/>
                    <a:pt x="243" y="103"/>
                    <a:pt x="242" y="105"/>
                  </a:cubicBezTo>
                  <a:cubicBezTo>
                    <a:pt x="238" y="106"/>
                    <a:pt x="236" y="104"/>
                    <a:pt x="232" y="106"/>
                  </a:cubicBezTo>
                  <a:cubicBezTo>
                    <a:pt x="231" y="107"/>
                    <a:pt x="230" y="108"/>
                    <a:pt x="228" y="108"/>
                  </a:cubicBezTo>
                  <a:cubicBezTo>
                    <a:pt x="228" y="107"/>
                    <a:pt x="227" y="106"/>
                    <a:pt x="226" y="105"/>
                  </a:cubicBezTo>
                  <a:cubicBezTo>
                    <a:pt x="225" y="105"/>
                    <a:pt x="225" y="105"/>
                    <a:pt x="224" y="105"/>
                  </a:cubicBezTo>
                  <a:cubicBezTo>
                    <a:pt x="222" y="104"/>
                    <a:pt x="222" y="102"/>
                    <a:pt x="220" y="102"/>
                  </a:cubicBezTo>
                  <a:cubicBezTo>
                    <a:pt x="219" y="101"/>
                    <a:pt x="215" y="102"/>
                    <a:pt x="213" y="102"/>
                  </a:cubicBezTo>
                  <a:cubicBezTo>
                    <a:pt x="210" y="102"/>
                    <a:pt x="206" y="101"/>
                    <a:pt x="203" y="102"/>
                  </a:cubicBezTo>
                  <a:cubicBezTo>
                    <a:pt x="202" y="107"/>
                    <a:pt x="197" y="105"/>
                    <a:pt x="194" y="104"/>
                  </a:cubicBezTo>
                  <a:cubicBezTo>
                    <a:pt x="191" y="101"/>
                    <a:pt x="188" y="99"/>
                    <a:pt x="184" y="99"/>
                  </a:cubicBezTo>
                  <a:cubicBezTo>
                    <a:pt x="182" y="99"/>
                    <a:pt x="177" y="99"/>
                    <a:pt x="176" y="101"/>
                  </a:cubicBezTo>
                  <a:cubicBezTo>
                    <a:pt x="174" y="103"/>
                    <a:pt x="175" y="105"/>
                    <a:pt x="174" y="106"/>
                  </a:cubicBezTo>
                  <a:cubicBezTo>
                    <a:pt x="173" y="107"/>
                    <a:pt x="171" y="106"/>
                    <a:pt x="169" y="106"/>
                  </a:cubicBezTo>
                  <a:cubicBezTo>
                    <a:pt x="167" y="107"/>
                    <a:pt x="165" y="108"/>
                    <a:pt x="162" y="109"/>
                  </a:cubicBezTo>
                  <a:cubicBezTo>
                    <a:pt x="161" y="110"/>
                    <a:pt x="159" y="111"/>
                    <a:pt x="157" y="112"/>
                  </a:cubicBezTo>
                  <a:cubicBezTo>
                    <a:pt x="157" y="113"/>
                    <a:pt x="157" y="113"/>
                    <a:pt x="157" y="114"/>
                  </a:cubicBezTo>
                  <a:cubicBezTo>
                    <a:pt x="157" y="114"/>
                    <a:pt x="157" y="115"/>
                    <a:pt x="156" y="115"/>
                  </a:cubicBezTo>
                  <a:cubicBezTo>
                    <a:pt x="156" y="115"/>
                    <a:pt x="153" y="117"/>
                    <a:pt x="153" y="117"/>
                  </a:cubicBezTo>
                  <a:cubicBezTo>
                    <a:pt x="150" y="117"/>
                    <a:pt x="147" y="116"/>
                    <a:pt x="144" y="117"/>
                  </a:cubicBezTo>
                  <a:cubicBezTo>
                    <a:pt x="142" y="118"/>
                    <a:pt x="143" y="118"/>
                    <a:pt x="141" y="120"/>
                  </a:cubicBezTo>
                  <a:cubicBezTo>
                    <a:pt x="140" y="122"/>
                    <a:pt x="139" y="122"/>
                    <a:pt x="136" y="123"/>
                  </a:cubicBezTo>
                  <a:cubicBezTo>
                    <a:pt x="134" y="125"/>
                    <a:pt x="134" y="126"/>
                    <a:pt x="132" y="128"/>
                  </a:cubicBezTo>
                  <a:cubicBezTo>
                    <a:pt x="130" y="129"/>
                    <a:pt x="129" y="132"/>
                    <a:pt x="130" y="128"/>
                  </a:cubicBezTo>
                  <a:cubicBezTo>
                    <a:pt x="131" y="127"/>
                    <a:pt x="132" y="125"/>
                    <a:pt x="131" y="126"/>
                  </a:cubicBezTo>
                  <a:cubicBezTo>
                    <a:pt x="132" y="125"/>
                    <a:pt x="132" y="125"/>
                    <a:pt x="132" y="124"/>
                  </a:cubicBezTo>
                  <a:cubicBezTo>
                    <a:pt x="133" y="123"/>
                    <a:pt x="134" y="122"/>
                    <a:pt x="135" y="121"/>
                  </a:cubicBezTo>
                  <a:cubicBezTo>
                    <a:pt x="136" y="120"/>
                    <a:pt x="136" y="120"/>
                    <a:pt x="137" y="119"/>
                  </a:cubicBezTo>
                  <a:cubicBezTo>
                    <a:pt x="137" y="118"/>
                    <a:pt x="138" y="118"/>
                    <a:pt x="139" y="117"/>
                  </a:cubicBezTo>
                  <a:cubicBezTo>
                    <a:pt x="141" y="115"/>
                    <a:pt x="143" y="111"/>
                    <a:pt x="145" y="109"/>
                  </a:cubicBezTo>
                  <a:cubicBezTo>
                    <a:pt x="145" y="108"/>
                    <a:pt x="146" y="108"/>
                    <a:pt x="146" y="107"/>
                  </a:cubicBezTo>
                  <a:cubicBezTo>
                    <a:pt x="146" y="106"/>
                    <a:pt x="143" y="105"/>
                    <a:pt x="142" y="105"/>
                  </a:cubicBezTo>
                  <a:cubicBezTo>
                    <a:pt x="139" y="104"/>
                    <a:pt x="136" y="107"/>
                    <a:pt x="134" y="108"/>
                  </a:cubicBezTo>
                  <a:cubicBezTo>
                    <a:pt x="132" y="109"/>
                    <a:pt x="130" y="111"/>
                    <a:pt x="128" y="112"/>
                  </a:cubicBezTo>
                  <a:cubicBezTo>
                    <a:pt x="128" y="113"/>
                    <a:pt x="127" y="113"/>
                    <a:pt x="127" y="114"/>
                  </a:cubicBezTo>
                  <a:cubicBezTo>
                    <a:pt x="125" y="114"/>
                    <a:pt x="124" y="114"/>
                    <a:pt x="125" y="112"/>
                  </a:cubicBezTo>
                  <a:cubicBezTo>
                    <a:pt x="126" y="111"/>
                    <a:pt x="127" y="110"/>
                    <a:pt x="128" y="108"/>
                  </a:cubicBezTo>
                  <a:cubicBezTo>
                    <a:pt x="129" y="107"/>
                    <a:pt x="130" y="106"/>
                    <a:pt x="132" y="105"/>
                  </a:cubicBezTo>
                  <a:cubicBezTo>
                    <a:pt x="135" y="103"/>
                    <a:pt x="138" y="102"/>
                    <a:pt x="141" y="101"/>
                  </a:cubicBezTo>
                  <a:cubicBezTo>
                    <a:pt x="142" y="100"/>
                    <a:pt x="143" y="100"/>
                    <a:pt x="144" y="100"/>
                  </a:cubicBezTo>
                  <a:cubicBezTo>
                    <a:pt x="146" y="100"/>
                    <a:pt x="145" y="102"/>
                    <a:pt x="146" y="102"/>
                  </a:cubicBezTo>
                  <a:cubicBezTo>
                    <a:pt x="147" y="103"/>
                    <a:pt x="147" y="103"/>
                    <a:pt x="148" y="103"/>
                  </a:cubicBezTo>
                  <a:cubicBezTo>
                    <a:pt x="149" y="102"/>
                    <a:pt x="150" y="102"/>
                    <a:pt x="150" y="101"/>
                  </a:cubicBezTo>
                  <a:cubicBezTo>
                    <a:pt x="151" y="98"/>
                    <a:pt x="152" y="96"/>
                    <a:pt x="154" y="94"/>
                  </a:cubicBezTo>
                  <a:cubicBezTo>
                    <a:pt x="155" y="92"/>
                    <a:pt x="157" y="90"/>
                    <a:pt x="159" y="88"/>
                  </a:cubicBezTo>
                  <a:cubicBezTo>
                    <a:pt x="160" y="87"/>
                    <a:pt x="161" y="86"/>
                    <a:pt x="161" y="85"/>
                  </a:cubicBezTo>
                  <a:cubicBezTo>
                    <a:pt x="159" y="85"/>
                    <a:pt x="158" y="87"/>
                    <a:pt x="157" y="88"/>
                  </a:cubicBezTo>
                  <a:cubicBezTo>
                    <a:pt x="157" y="89"/>
                    <a:pt x="156" y="89"/>
                    <a:pt x="155" y="89"/>
                  </a:cubicBezTo>
                  <a:cubicBezTo>
                    <a:pt x="154" y="90"/>
                    <a:pt x="153" y="89"/>
                    <a:pt x="152" y="89"/>
                  </a:cubicBezTo>
                  <a:cubicBezTo>
                    <a:pt x="150" y="89"/>
                    <a:pt x="148" y="87"/>
                    <a:pt x="147" y="88"/>
                  </a:cubicBezTo>
                  <a:cubicBezTo>
                    <a:pt x="145" y="88"/>
                    <a:pt x="143" y="90"/>
                    <a:pt x="141" y="89"/>
                  </a:cubicBezTo>
                  <a:cubicBezTo>
                    <a:pt x="139" y="89"/>
                    <a:pt x="138" y="88"/>
                    <a:pt x="136" y="87"/>
                  </a:cubicBezTo>
                  <a:cubicBezTo>
                    <a:pt x="134" y="85"/>
                    <a:pt x="131" y="85"/>
                    <a:pt x="129" y="85"/>
                  </a:cubicBezTo>
                  <a:cubicBezTo>
                    <a:pt x="128" y="85"/>
                    <a:pt x="123" y="86"/>
                    <a:pt x="123" y="84"/>
                  </a:cubicBezTo>
                  <a:cubicBezTo>
                    <a:pt x="124" y="83"/>
                    <a:pt x="128" y="83"/>
                    <a:pt x="130" y="83"/>
                  </a:cubicBezTo>
                  <a:cubicBezTo>
                    <a:pt x="131" y="83"/>
                    <a:pt x="132" y="84"/>
                    <a:pt x="133" y="84"/>
                  </a:cubicBezTo>
                  <a:cubicBezTo>
                    <a:pt x="135" y="84"/>
                    <a:pt x="139" y="83"/>
                    <a:pt x="141" y="84"/>
                  </a:cubicBezTo>
                  <a:cubicBezTo>
                    <a:pt x="143" y="84"/>
                    <a:pt x="144" y="85"/>
                    <a:pt x="146" y="84"/>
                  </a:cubicBezTo>
                  <a:cubicBezTo>
                    <a:pt x="147" y="84"/>
                    <a:pt x="147" y="83"/>
                    <a:pt x="147" y="81"/>
                  </a:cubicBezTo>
                  <a:cubicBezTo>
                    <a:pt x="147" y="80"/>
                    <a:pt x="147" y="79"/>
                    <a:pt x="148" y="78"/>
                  </a:cubicBezTo>
                  <a:cubicBezTo>
                    <a:pt x="148" y="77"/>
                    <a:pt x="149" y="76"/>
                    <a:pt x="150" y="76"/>
                  </a:cubicBezTo>
                  <a:cubicBezTo>
                    <a:pt x="152" y="75"/>
                    <a:pt x="154" y="74"/>
                    <a:pt x="155" y="73"/>
                  </a:cubicBezTo>
                  <a:cubicBezTo>
                    <a:pt x="156" y="72"/>
                    <a:pt x="156" y="73"/>
                    <a:pt x="156" y="72"/>
                  </a:cubicBezTo>
                  <a:cubicBezTo>
                    <a:pt x="157" y="72"/>
                    <a:pt x="157" y="71"/>
                    <a:pt x="157" y="71"/>
                  </a:cubicBezTo>
                  <a:cubicBezTo>
                    <a:pt x="157" y="70"/>
                    <a:pt x="157" y="70"/>
                    <a:pt x="158" y="69"/>
                  </a:cubicBezTo>
                  <a:cubicBezTo>
                    <a:pt x="158" y="68"/>
                    <a:pt x="159" y="68"/>
                    <a:pt x="159" y="68"/>
                  </a:cubicBezTo>
                  <a:cubicBezTo>
                    <a:pt x="160" y="67"/>
                    <a:pt x="161" y="66"/>
                    <a:pt x="161" y="65"/>
                  </a:cubicBezTo>
                  <a:cubicBezTo>
                    <a:pt x="162" y="64"/>
                    <a:pt x="164" y="63"/>
                    <a:pt x="164" y="62"/>
                  </a:cubicBezTo>
                  <a:cubicBezTo>
                    <a:pt x="166" y="61"/>
                    <a:pt x="166" y="59"/>
                    <a:pt x="168" y="58"/>
                  </a:cubicBezTo>
                  <a:cubicBezTo>
                    <a:pt x="168" y="58"/>
                    <a:pt x="169" y="58"/>
                    <a:pt x="169" y="58"/>
                  </a:cubicBezTo>
                  <a:cubicBezTo>
                    <a:pt x="170" y="57"/>
                    <a:pt x="169" y="57"/>
                    <a:pt x="170" y="57"/>
                  </a:cubicBezTo>
                  <a:cubicBezTo>
                    <a:pt x="170" y="56"/>
                    <a:pt x="171" y="56"/>
                    <a:pt x="172" y="56"/>
                  </a:cubicBezTo>
                  <a:cubicBezTo>
                    <a:pt x="175" y="54"/>
                    <a:pt x="177" y="53"/>
                    <a:pt x="179" y="50"/>
                  </a:cubicBezTo>
                  <a:cubicBezTo>
                    <a:pt x="180" y="48"/>
                    <a:pt x="180" y="47"/>
                    <a:pt x="181" y="45"/>
                  </a:cubicBezTo>
                  <a:cubicBezTo>
                    <a:pt x="182" y="45"/>
                    <a:pt x="182" y="44"/>
                    <a:pt x="182" y="43"/>
                  </a:cubicBezTo>
                  <a:cubicBezTo>
                    <a:pt x="183" y="43"/>
                    <a:pt x="186" y="44"/>
                    <a:pt x="187" y="43"/>
                  </a:cubicBezTo>
                  <a:cubicBezTo>
                    <a:pt x="187" y="42"/>
                    <a:pt x="187" y="42"/>
                    <a:pt x="188" y="41"/>
                  </a:cubicBezTo>
                  <a:cubicBezTo>
                    <a:pt x="188" y="40"/>
                    <a:pt x="190" y="40"/>
                    <a:pt x="190" y="39"/>
                  </a:cubicBezTo>
                  <a:cubicBezTo>
                    <a:pt x="191" y="38"/>
                    <a:pt x="191" y="37"/>
                    <a:pt x="192" y="36"/>
                  </a:cubicBezTo>
                  <a:cubicBezTo>
                    <a:pt x="192" y="35"/>
                    <a:pt x="193" y="35"/>
                    <a:pt x="194" y="34"/>
                  </a:cubicBezTo>
                  <a:cubicBezTo>
                    <a:pt x="194" y="33"/>
                    <a:pt x="195" y="32"/>
                    <a:pt x="195" y="31"/>
                  </a:cubicBezTo>
                  <a:cubicBezTo>
                    <a:pt x="196" y="30"/>
                    <a:pt x="197" y="30"/>
                    <a:pt x="197" y="29"/>
                  </a:cubicBezTo>
                  <a:cubicBezTo>
                    <a:pt x="197" y="28"/>
                    <a:pt x="197" y="28"/>
                    <a:pt x="198" y="27"/>
                  </a:cubicBezTo>
                  <a:cubicBezTo>
                    <a:pt x="198" y="26"/>
                    <a:pt x="198" y="26"/>
                    <a:pt x="199" y="25"/>
                  </a:cubicBezTo>
                  <a:cubicBezTo>
                    <a:pt x="199" y="24"/>
                    <a:pt x="199" y="24"/>
                    <a:pt x="199" y="24"/>
                  </a:cubicBezTo>
                  <a:cubicBezTo>
                    <a:pt x="198" y="23"/>
                    <a:pt x="195" y="23"/>
                    <a:pt x="194" y="22"/>
                  </a:cubicBezTo>
                  <a:cubicBezTo>
                    <a:pt x="194" y="22"/>
                    <a:pt x="194" y="21"/>
                    <a:pt x="193" y="21"/>
                  </a:cubicBezTo>
                  <a:cubicBezTo>
                    <a:pt x="193" y="20"/>
                    <a:pt x="193" y="20"/>
                    <a:pt x="192" y="19"/>
                  </a:cubicBezTo>
                  <a:cubicBezTo>
                    <a:pt x="192" y="18"/>
                    <a:pt x="193" y="17"/>
                    <a:pt x="194" y="15"/>
                  </a:cubicBezTo>
                  <a:cubicBezTo>
                    <a:pt x="195" y="15"/>
                    <a:pt x="195" y="14"/>
                    <a:pt x="196" y="13"/>
                  </a:cubicBezTo>
                  <a:cubicBezTo>
                    <a:pt x="196" y="13"/>
                    <a:pt x="197" y="13"/>
                    <a:pt x="198" y="12"/>
                  </a:cubicBezTo>
                  <a:cubicBezTo>
                    <a:pt x="198" y="12"/>
                    <a:pt x="198" y="11"/>
                    <a:pt x="199" y="11"/>
                  </a:cubicBezTo>
                  <a:cubicBezTo>
                    <a:pt x="200" y="9"/>
                    <a:pt x="202" y="8"/>
                    <a:pt x="201" y="6"/>
                  </a:cubicBezTo>
                  <a:cubicBezTo>
                    <a:pt x="201" y="6"/>
                    <a:pt x="199" y="5"/>
                    <a:pt x="199" y="4"/>
                  </a:cubicBezTo>
                  <a:cubicBezTo>
                    <a:pt x="198" y="4"/>
                    <a:pt x="197" y="4"/>
                    <a:pt x="196" y="4"/>
                  </a:cubicBezTo>
                  <a:cubicBezTo>
                    <a:pt x="195" y="4"/>
                    <a:pt x="194" y="3"/>
                    <a:pt x="193" y="4"/>
                  </a:cubicBezTo>
                  <a:cubicBezTo>
                    <a:pt x="193" y="4"/>
                    <a:pt x="192" y="5"/>
                    <a:pt x="191" y="5"/>
                  </a:cubicBezTo>
                  <a:cubicBezTo>
                    <a:pt x="191" y="5"/>
                    <a:pt x="190" y="4"/>
                    <a:pt x="189" y="4"/>
                  </a:cubicBezTo>
                  <a:cubicBezTo>
                    <a:pt x="188" y="4"/>
                    <a:pt x="188" y="4"/>
                    <a:pt x="187" y="4"/>
                  </a:cubicBezTo>
                  <a:cubicBezTo>
                    <a:pt x="186" y="4"/>
                    <a:pt x="186" y="4"/>
                    <a:pt x="185" y="4"/>
                  </a:cubicBezTo>
                  <a:cubicBezTo>
                    <a:pt x="184" y="4"/>
                    <a:pt x="184" y="3"/>
                    <a:pt x="183" y="3"/>
                  </a:cubicBezTo>
                  <a:cubicBezTo>
                    <a:pt x="183" y="3"/>
                    <a:pt x="182" y="3"/>
                    <a:pt x="182" y="3"/>
                  </a:cubicBezTo>
                  <a:cubicBezTo>
                    <a:pt x="182" y="2"/>
                    <a:pt x="181" y="2"/>
                    <a:pt x="181" y="2"/>
                  </a:cubicBezTo>
                  <a:cubicBezTo>
                    <a:pt x="181" y="1"/>
                    <a:pt x="181" y="0"/>
                    <a:pt x="180" y="1"/>
                  </a:cubicBezTo>
                  <a:cubicBezTo>
                    <a:pt x="179" y="1"/>
                    <a:pt x="179" y="4"/>
                    <a:pt x="179" y="5"/>
                  </a:cubicBezTo>
                  <a:cubicBezTo>
                    <a:pt x="180" y="7"/>
                    <a:pt x="182" y="5"/>
                    <a:pt x="183" y="7"/>
                  </a:cubicBezTo>
                  <a:cubicBezTo>
                    <a:pt x="184" y="8"/>
                    <a:pt x="180" y="10"/>
                    <a:pt x="179" y="11"/>
                  </a:cubicBezTo>
                  <a:cubicBezTo>
                    <a:pt x="178" y="11"/>
                    <a:pt x="176" y="11"/>
                    <a:pt x="175" y="11"/>
                  </a:cubicBezTo>
                  <a:cubicBezTo>
                    <a:pt x="173" y="10"/>
                    <a:pt x="169" y="6"/>
                    <a:pt x="167" y="9"/>
                  </a:cubicBezTo>
                  <a:cubicBezTo>
                    <a:pt x="166" y="9"/>
                    <a:pt x="164" y="9"/>
                    <a:pt x="163" y="10"/>
                  </a:cubicBezTo>
                  <a:cubicBezTo>
                    <a:pt x="162" y="11"/>
                    <a:pt x="162" y="12"/>
                    <a:pt x="162" y="12"/>
                  </a:cubicBezTo>
                  <a:cubicBezTo>
                    <a:pt x="160" y="13"/>
                    <a:pt x="157" y="12"/>
                    <a:pt x="156" y="12"/>
                  </a:cubicBezTo>
                  <a:cubicBezTo>
                    <a:pt x="154" y="13"/>
                    <a:pt x="152" y="13"/>
                    <a:pt x="151" y="13"/>
                  </a:cubicBezTo>
                  <a:cubicBezTo>
                    <a:pt x="149" y="13"/>
                    <a:pt x="149" y="11"/>
                    <a:pt x="147" y="11"/>
                  </a:cubicBezTo>
                  <a:cubicBezTo>
                    <a:pt x="146" y="11"/>
                    <a:pt x="146" y="11"/>
                    <a:pt x="145" y="12"/>
                  </a:cubicBezTo>
                  <a:cubicBezTo>
                    <a:pt x="143" y="13"/>
                    <a:pt x="142" y="12"/>
                    <a:pt x="141" y="13"/>
                  </a:cubicBezTo>
                  <a:cubicBezTo>
                    <a:pt x="140" y="13"/>
                    <a:pt x="139" y="13"/>
                    <a:pt x="139" y="13"/>
                  </a:cubicBezTo>
                  <a:cubicBezTo>
                    <a:pt x="139" y="14"/>
                    <a:pt x="139" y="14"/>
                    <a:pt x="139" y="15"/>
                  </a:cubicBezTo>
                  <a:cubicBezTo>
                    <a:pt x="138" y="15"/>
                    <a:pt x="137" y="16"/>
                    <a:pt x="136" y="16"/>
                  </a:cubicBezTo>
                  <a:cubicBezTo>
                    <a:pt x="136" y="17"/>
                    <a:pt x="135" y="17"/>
                    <a:pt x="134" y="17"/>
                  </a:cubicBezTo>
                  <a:cubicBezTo>
                    <a:pt x="134" y="17"/>
                    <a:pt x="133" y="17"/>
                    <a:pt x="132" y="17"/>
                  </a:cubicBezTo>
                  <a:cubicBezTo>
                    <a:pt x="131" y="17"/>
                    <a:pt x="131" y="18"/>
                    <a:pt x="131" y="18"/>
                  </a:cubicBezTo>
                  <a:cubicBezTo>
                    <a:pt x="130" y="19"/>
                    <a:pt x="129" y="18"/>
                    <a:pt x="129" y="18"/>
                  </a:cubicBezTo>
                  <a:cubicBezTo>
                    <a:pt x="129" y="20"/>
                    <a:pt x="127" y="22"/>
                    <a:pt x="126" y="23"/>
                  </a:cubicBezTo>
                  <a:cubicBezTo>
                    <a:pt x="125" y="25"/>
                    <a:pt x="124" y="27"/>
                    <a:pt x="122" y="28"/>
                  </a:cubicBezTo>
                  <a:cubicBezTo>
                    <a:pt x="121" y="27"/>
                    <a:pt x="122" y="25"/>
                    <a:pt x="122" y="24"/>
                  </a:cubicBezTo>
                  <a:cubicBezTo>
                    <a:pt x="122" y="24"/>
                    <a:pt x="122" y="23"/>
                    <a:pt x="122" y="22"/>
                  </a:cubicBezTo>
                  <a:cubicBezTo>
                    <a:pt x="122" y="21"/>
                    <a:pt x="122" y="20"/>
                    <a:pt x="123" y="19"/>
                  </a:cubicBezTo>
                  <a:cubicBezTo>
                    <a:pt x="123" y="18"/>
                    <a:pt x="123" y="17"/>
                    <a:pt x="123" y="16"/>
                  </a:cubicBezTo>
                  <a:cubicBezTo>
                    <a:pt x="123" y="15"/>
                    <a:pt x="123" y="15"/>
                    <a:pt x="123" y="14"/>
                  </a:cubicBezTo>
                  <a:cubicBezTo>
                    <a:pt x="122" y="14"/>
                    <a:pt x="123" y="14"/>
                    <a:pt x="122" y="13"/>
                  </a:cubicBezTo>
                  <a:cubicBezTo>
                    <a:pt x="121" y="12"/>
                    <a:pt x="117" y="13"/>
                    <a:pt x="116" y="14"/>
                  </a:cubicBezTo>
                  <a:cubicBezTo>
                    <a:pt x="115" y="15"/>
                    <a:pt x="115" y="17"/>
                    <a:pt x="115" y="18"/>
                  </a:cubicBezTo>
                  <a:cubicBezTo>
                    <a:pt x="114" y="19"/>
                    <a:pt x="114" y="20"/>
                    <a:pt x="113" y="20"/>
                  </a:cubicBezTo>
                  <a:cubicBezTo>
                    <a:pt x="112" y="21"/>
                    <a:pt x="112" y="21"/>
                    <a:pt x="112" y="21"/>
                  </a:cubicBezTo>
                  <a:cubicBezTo>
                    <a:pt x="111" y="21"/>
                    <a:pt x="111" y="22"/>
                    <a:pt x="111" y="23"/>
                  </a:cubicBezTo>
                  <a:cubicBezTo>
                    <a:pt x="110" y="23"/>
                    <a:pt x="110" y="23"/>
                    <a:pt x="109" y="24"/>
                  </a:cubicBezTo>
                  <a:cubicBezTo>
                    <a:pt x="109" y="24"/>
                    <a:pt x="108" y="25"/>
                    <a:pt x="107" y="25"/>
                  </a:cubicBezTo>
                  <a:cubicBezTo>
                    <a:pt x="105" y="25"/>
                    <a:pt x="107" y="23"/>
                    <a:pt x="108" y="22"/>
                  </a:cubicBezTo>
                  <a:cubicBezTo>
                    <a:pt x="109" y="20"/>
                    <a:pt x="111" y="20"/>
                    <a:pt x="111" y="18"/>
                  </a:cubicBezTo>
                  <a:cubicBezTo>
                    <a:pt x="111" y="16"/>
                    <a:pt x="109" y="14"/>
                    <a:pt x="107" y="13"/>
                  </a:cubicBezTo>
                  <a:cubicBezTo>
                    <a:pt x="106" y="13"/>
                    <a:pt x="106" y="14"/>
                    <a:pt x="106" y="15"/>
                  </a:cubicBezTo>
                  <a:cubicBezTo>
                    <a:pt x="106" y="15"/>
                    <a:pt x="105" y="15"/>
                    <a:pt x="105" y="15"/>
                  </a:cubicBezTo>
                  <a:cubicBezTo>
                    <a:pt x="105" y="15"/>
                    <a:pt x="105" y="16"/>
                    <a:pt x="105" y="16"/>
                  </a:cubicBezTo>
                  <a:cubicBezTo>
                    <a:pt x="105" y="16"/>
                    <a:pt x="105" y="17"/>
                    <a:pt x="105" y="17"/>
                  </a:cubicBezTo>
                  <a:cubicBezTo>
                    <a:pt x="104" y="17"/>
                    <a:pt x="103" y="14"/>
                    <a:pt x="103" y="13"/>
                  </a:cubicBezTo>
                  <a:cubicBezTo>
                    <a:pt x="103" y="11"/>
                    <a:pt x="104" y="10"/>
                    <a:pt x="102" y="9"/>
                  </a:cubicBezTo>
                  <a:cubicBezTo>
                    <a:pt x="101" y="8"/>
                    <a:pt x="100" y="7"/>
                    <a:pt x="98" y="8"/>
                  </a:cubicBezTo>
                  <a:cubicBezTo>
                    <a:pt x="98" y="8"/>
                    <a:pt x="96" y="8"/>
                    <a:pt x="96" y="9"/>
                  </a:cubicBezTo>
                  <a:cubicBezTo>
                    <a:pt x="95" y="10"/>
                    <a:pt x="95" y="12"/>
                    <a:pt x="94" y="13"/>
                  </a:cubicBezTo>
                  <a:cubicBezTo>
                    <a:pt x="94" y="14"/>
                    <a:pt x="93" y="15"/>
                    <a:pt x="92" y="16"/>
                  </a:cubicBezTo>
                  <a:cubicBezTo>
                    <a:pt x="90" y="18"/>
                    <a:pt x="88" y="20"/>
                    <a:pt x="88" y="22"/>
                  </a:cubicBezTo>
                  <a:cubicBezTo>
                    <a:pt x="89" y="22"/>
                    <a:pt x="89" y="23"/>
                    <a:pt x="89" y="23"/>
                  </a:cubicBezTo>
                  <a:cubicBezTo>
                    <a:pt x="90" y="23"/>
                    <a:pt x="90" y="24"/>
                    <a:pt x="90" y="24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7" y="28"/>
                    <a:pt x="92" y="28"/>
                    <a:pt x="89" y="30"/>
                  </a:cubicBezTo>
                  <a:cubicBezTo>
                    <a:pt x="87" y="31"/>
                    <a:pt x="85" y="34"/>
                    <a:pt x="84" y="37"/>
                  </a:cubicBezTo>
                  <a:cubicBezTo>
                    <a:pt x="84" y="38"/>
                    <a:pt x="85" y="38"/>
                    <a:pt x="86" y="39"/>
                  </a:cubicBezTo>
                  <a:cubicBezTo>
                    <a:pt x="87" y="40"/>
                    <a:pt x="87" y="40"/>
                    <a:pt x="87" y="42"/>
                  </a:cubicBezTo>
                  <a:cubicBezTo>
                    <a:pt x="87" y="43"/>
                    <a:pt x="87" y="43"/>
                    <a:pt x="89" y="43"/>
                  </a:cubicBezTo>
                  <a:cubicBezTo>
                    <a:pt x="89" y="43"/>
                    <a:pt x="90" y="43"/>
                    <a:pt x="90" y="44"/>
                  </a:cubicBezTo>
                  <a:cubicBezTo>
                    <a:pt x="91" y="45"/>
                    <a:pt x="89" y="45"/>
                    <a:pt x="89" y="45"/>
                  </a:cubicBezTo>
                  <a:cubicBezTo>
                    <a:pt x="86" y="46"/>
                    <a:pt x="84" y="45"/>
                    <a:pt x="81" y="45"/>
                  </a:cubicBezTo>
                  <a:cubicBezTo>
                    <a:pt x="80" y="45"/>
                    <a:pt x="79" y="45"/>
                    <a:pt x="77" y="46"/>
                  </a:cubicBezTo>
                  <a:cubicBezTo>
                    <a:pt x="76" y="46"/>
                    <a:pt x="75" y="45"/>
                    <a:pt x="74" y="46"/>
                  </a:cubicBezTo>
                  <a:cubicBezTo>
                    <a:pt x="74" y="47"/>
                    <a:pt x="73" y="50"/>
                    <a:pt x="74" y="50"/>
                  </a:cubicBezTo>
                  <a:cubicBezTo>
                    <a:pt x="74" y="51"/>
                    <a:pt x="75" y="52"/>
                    <a:pt x="76" y="52"/>
                  </a:cubicBezTo>
                  <a:cubicBezTo>
                    <a:pt x="76" y="53"/>
                    <a:pt x="76" y="54"/>
                    <a:pt x="76" y="55"/>
                  </a:cubicBezTo>
                  <a:cubicBezTo>
                    <a:pt x="76" y="56"/>
                    <a:pt x="76" y="57"/>
                    <a:pt x="76" y="58"/>
                  </a:cubicBezTo>
                  <a:cubicBezTo>
                    <a:pt x="76" y="60"/>
                    <a:pt x="77" y="61"/>
                    <a:pt x="77" y="62"/>
                  </a:cubicBezTo>
                  <a:cubicBezTo>
                    <a:pt x="78" y="62"/>
                    <a:pt x="77" y="59"/>
                    <a:pt x="78" y="59"/>
                  </a:cubicBezTo>
                  <a:cubicBezTo>
                    <a:pt x="79" y="59"/>
                    <a:pt x="79" y="61"/>
                    <a:pt x="79" y="61"/>
                  </a:cubicBezTo>
                  <a:cubicBezTo>
                    <a:pt x="78" y="62"/>
                    <a:pt x="78" y="62"/>
                    <a:pt x="78" y="63"/>
                  </a:cubicBezTo>
                  <a:cubicBezTo>
                    <a:pt x="77" y="64"/>
                    <a:pt x="77" y="67"/>
                    <a:pt x="78" y="67"/>
                  </a:cubicBezTo>
                  <a:cubicBezTo>
                    <a:pt x="76" y="68"/>
                    <a:pt x="75" y="66"/>
                    <a:pt x="73" y="65"/>
                  </a:cubicBezTo>
                  <a:cubicBezTo>
                    <a:pt x="73" y="65"/>
                    <a:pt x="70" y="63"/>
                    <a:pt x="69" y="64"/>
                  </a:cubicBezTo>
                  <a:cubicBezTo>
                    <a:pt x="67" y="67"/>
                    <a:pt x="72" y="70"/>
                    <a:pt x="73" y="71"/>
                  </a:cubicBezTo>
                  <a:cubicBezTo>
                    <a:pt x="74" y="72"/>
                    <a:pt x="75" y="73"/>
                    <a:pt x="76" y="74"/>
                  </a:cubicBezTo>
                  <a:cubicBezTo>
                    <a:pt x="77" y="74"/>
                    <a:pt x="78" y="74"/>
                    <a:pt x="78" y="75"/>
                  </a:cubicBezTo>
                  <a:cubicBezTo>
                    <a:pt x="79" y="75"/>
                    <a:pt x="79" y="76"/>
                    <a:pt x="80" y="76"/>
                  </a:cubicBezTo>
                  <a:cubicBezTo>
                    <a:pt x="81" y="78"/>
                    <a:pt x="83" y="77"/>
                    <a:pt x="84" y="79"/>
                  </a:cubicBezTo>
                  <a:cubicBezTo>
                    <a:pt x="86" y="80"/>
                    <a:pt x="84" y="82"/>
                    <a:pt x="84" y="84"/>
                  </a:cubicBezTo>
                  <a:cubicBezTo>
                    <a:pt x="84" y="86"/>
                    <a:pt x="86" y="86"/>
                    <a:pt x="87" y="88"/>
                  </a:cubicBezTo>
                  <a:cubicBezTo>
                    <a:pt x="86" y="86"/>
                    <a:pt x="84" y="85"/>
                    <a:pt x="82" y="84"/>
                  </a:cubicBezTo>
                  <a:cubicBezTo>
                    <a:pt x="81" y="84"/>
                    <a:pt x="79" y="83"/>
                    <a:pt x="77" y="82"/>
                  </a:cubicBezTo>
                  <a:cubicBezTo>
                    <a:pt x="76" y="81"/>
                    <a:pt x="75" y="81"/>
                    <a:pt x="75" y="81"/>
                  </a:cubicBezTo>
                  <a:cubicBezTo>
                    <a:pt x="74" y="83"/>
                    <a:pt x="76" y="84"/>
                    <a:pt x="77" y="85"/>
                  </a:cubicBezTo>
                  <a:cubicBezTo>
                    <a:pt x="78" y="86"/>
                    <a:pt x="79" y="87"/>
                    <a:pt x="80" y="89"/>
                  </a:cubicBezTo>
                  <a:cubicBezTo>
                    <a:pt x="78" y="88"/>
                    <a:pt x="77" y="87"/>
                    <a:pt x="75" y="86"/>
                  </a:cubicBezTo>
                  <a:cubicBezTo>
                    <a:pt x="75" y="85"/>
                    <a:pt x="74" y="85"/>
                    <a:pt x="74" y="84"/>
                  </a:cubicBezTo>
                  <a:cubicBezTo>
                    <a:pt x="73" y="84"/>
                    <a:pt x="73" y="84"/>
                    <a:pt x="72" y="84"/>
                  </a:cubicBezTo>
                  <a:cubicBezTo>
                    <a:pt x="72" y="83"/>
                    <a:pt x="71" y="82"/>
                    <a:pt x="70" y="83"/>
                  </a:cubicBezTo>
                  <a:cubicBezTo>
                    <a:pt x="70" y="83"/>
                    <a:pt x="69" y="85"/>
                    <a:pt x="69" y="86"/>
                  </a:cubicBezTo>
                  <a:cubicBezTo>
                    <a:pt x="69" y="86"/>
                    <a:pt x="68" y="88"/>
                    <a:pt x="67" y="87"/>
                  </a:cubicBezTo>
                  <a:cubicBezTo>
                    <a:pt x="66" y="87"/>
                    <a:pt x="66" y="86"/>
                    <a:pt x="66" y="85"/>
                  </a:cubicBezTo>
                  <a:cubicBezTo>
                    <a:pt x="65" y="84"/>
                    <a:pt x="66" y="84"/>
                    <a:pt x="65" y="83"/>
                  </a:cubicBezTo>
                  <a:cubicBezTo>
                    <a:pt x="65" y="83"/>
                    <a:pt x="64" y="83"/>
                    <a:pt x="64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2" y="82"/>
                    <a:pt x="62" y="82"/>
                  </a:cubicBezTo>
                  <a:cubicBezTo>
                    <a:pt x="61" y="82"/>
                    <a:pt x="60" y="82"/>
                    <a:pt x="60" y="83"/>
                  </a:cubicBezTo>
                  <a:cubicBezTo>
                    <a:pt x="60" y="84"/>
                    <a:pt x="60" y="86"/>
                    <a:pt x="60" y="86"/>
                  </a:cubicBezTo>
                  <a:cubicBezTo>
                    <a:pt x="60" y="89"/>
                    <a:pt x="60" y="91"/>
                    <a:pt x="60" y="93"/>
                  </a:cubicBezTo>
                  <a:cubicBezTo>
                    <a:pt x="60" y="94"/>
                    <a:pt x="60" y="96"/>
                    <a:pt x="59" y="96"/>
                  </a:cubicBezTo>
                  <a:cubicBezTo>
                    <a:pt x="58" y="96"/>
                    <a:pt x="57" y="92"/>
                    <a:pt x="57" y="91"/>
                  </a:cubicBezTo>
                  <a:cubicBezTo>
                    <a:pt x="57" y="90"/>
                    <a:pt x="57" y="88"/>
                    <a:pt x="56" y="87"/>
                  </a:cubicBezTo>
                  <a:cubicBezTo>
                    <a:pt x="54" y="85"/>
                    <a:pt x="52" y="87"/>
                    <a:pt x="51" y="88"/>
                  </a:cubicBezTo>
                  <a:cubicBezTo>
                    <a:pt x="50" y="88"/>
                    <a:pt x="49" y="89"/>
                    <a:pt x="49" y="90"/>
                  </a:cubicBezTo>
                  <a:cubicBezTo>
                    <a:pt x="49" y="90"/>
                    <a:pt x="50" y="90"/>
                    <a:pt x="50" y="90"/>
                  </a:cubicBezTo>
                  <a:cubicBezTo>
                    <a:pt x="50" y="90"/>
                    <a:pt x="50" y="91"/>
                    <a:pt x="50" y="91"/>
                  </a:cubicBezTo>
                  <a:cubicBezTo>
                    <a:pt x="50" y="92"/>
                    <a:pt x="50" y="92"/>
                    <a:pt x="50" y="93"/>
                  </a:cubicBezTo>
                  <a:cubicBezTo>
                    <a:pt x="50" y="95"/>
                    <a:pt x="50" y="97"/>
                    <a:pt x="51" y="100"/>
                  </a:cubicBezTo>
                  <a:cubicBezTo>
                    <a:pt x="51" y="101"/>
                    <a:pt x="52" y="101"/>
                    <a:pt x="52" y="101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54" y="102"/>
                    <a:pt x="56" y="103"/>
                    <a:pt x="55" y="104"/>
                  </a:cubicBezTo>
                  <a:cubicBezTo>
                    <a:pt x="54" y="104"/>
                    <a:pt x="52" y="104"/>
                    <a:pt x="51" y="105"/>
                  </a:cubicBezTo>
                  <a:cubicBezTo>
                    <a:pt x="52" y="105"/>
                    <a:pt x="53" y="106"/>
                    <a:pt x="53" y="106"/>
                  </a:cubicBezTo>
                  <a:cubicBezTo>
                    <a:pt x="53" y="106"/>
                    <a:pt x="53" y="107"/>
                    <a:pt x="52" y="107"/>
                  </a:cubicBezTo>
                  <a:cubicBezTo>
                    <a:pt x="52" y="108"/>
                    <a:pt x="51" y="107"/>
                    <a:pt x="51" y="108"/>
                  </a:cubicBezTo>
                  <a:cubicBezTo>
                    <a:pt x="51" y="109"/>
                    <a:pt x="50" y="109"/>
                    <a:pt x="50" y="110"/>
                  </a:cubicBezTo>
                  <a:cubicBezTo>
                    <a:pt x="51" y="111"/>
                    <a:pt x="51" y="110"/>
                    <a:pt x="52" y="111"/>
                  </a:cubicBezTo>
                  <a:cubicBezTo>
                    <a:pt x="52" y="111"/>
                    <a:pt x="53" y="112"/>
                    <a:pt x="54" y="112"/>
                  </a:cubicBezTo>
                  <a:cubicBezTo>
                    <a:pt x="54" y="113"/>
                    <a:pt x="54" y="114"/>
                    <a:pt x="55" y="114"/>
                  </a:cubicBezTo>
                  <a:cubicBezTo>
                    <a:pt x="55" y="115"/>
                    <a:pt x="56" y="116"/>
                    <a:pt x="57" y="117"/>
                  </a:cubicBezTo>
                  <a:cubicBezTo>
                    <a:pt x="57" y="117"/>
                    <a:pt x="57" y="118"/>
                    <a:pt x="57" y="119"/>
                  </a:cubicBezTo>
                  <a:cubicBezTo>
                    <a:pt x="59" y="120"/>
                    <a:pt x="61" y="117"/>
                    <a:pt x="62" y="118"/>
                  </a:cubicBezTo>
                  <a:cubicBezTo>
                    <a:pt x="63" y="118"/>
                    <a:pt x="64" y="119"/>
                    <a:pt x="64" y="120"/>
                  </a:cubicBezTo>
                  <a:cubicBezTo>
                    <a:pt x="63" y="121"/>
                    <a:pt x="60" y="121"/>
                    <a:pt x="59" y="121"/>
                  </a:cubicBezTo>
                  <a:cubicBezTo>
                    <a:pt x="58" y="121"/>
                    <a:pt x="58" y="121"/>
                    <a:pt x="58" y="122"/>
                  </a:cubicBezTo>
                  <a:cubicBezTo>
                    <a:pt x="55" y="121"/>
                    <a:pt x="53" y="118"/>
                    <a:pt x="50" y="117"/>
                  </a:cubicBezTo>
                  <a:cubicBezTo>
                    <a:pt x="50" y="117"/>
                    <a:pt x="48" y="117"/>
                    <a:pt x="48" y="117"/>
                  </a:cubicBezTo>
                  <a:cubicBezTo>
                    <a:pt x="47" y="118"/>
                    <a:pt x="47" y="121"/>
                    <a:pt x="47" y="122"/>
                  </a:cubicBezTo>
                  <a:cubicBezTo>
                    <a:pt x="47" y="123"/>
                    <a:pt x="47" y="124"/>
                    <a:pt x="47" y="125"/>
                  </a:cubicBezTo>
                  <a:cubicBezTo>
                    <a:pt x="48" y="126"/>
                    <a:pt x="48" y="127"/>
                    <a:pt x="49" y="129"/>
                  </a:cubicBezTo>
                  <a:cubicBezTo>
                    <a:pt x="49" y="130"/>
                    <a:pt x="49" y="131"/>
                    <a:pt x="49" y="132"/>
                  </a:cubicBezTo>
                  <a:cubicBezTo>
                    <a:pt x="49" y="133"/>
                    <a:pt x="49" y="133"/>
                    <a:pt x="49" y="134"/>
                  </a:cubicBezTo>
                  <a:cubicBezTo>
                    <a:pt x="49" y="135"/>
                    <a:pt x="49" y="136"/>
                    <a:pt x="49" y="137"/>
                  </a:cubicBezTo>
                  <a:cubicBezTo>
                    <a:pt x="49" y="139"/>
                    <a:pt x="50" y="140"/>
                    <a:pt x="51" y="140"/>
                  </a:cubicBezTo>
                  <a:cubicBezTo>
                    <a:pt x="51" y="140"/>
                    <a:pt x="52" y="140"/>
                    <a:pt x="52" y="140"/>
                  </a:cubicBezTo>
                  <a:cubicBezTo>
                    <a:pt x="53" y="139"/>
                    <a:pt x="53" y="139"/>
                    <a:pt x="53" y="138"/>
                  </a:cubicBezTo>
                  <a:cubicBezTo>
                    <a:pt x="54" y="137"/>
                    <a:pt x="55" y="137"/>
                    <a:pt x="56" y="136"/>
                  </a:cubicBezTo>
                  <a:cubicBezTo>
                    <a:pt x="57" y="136"/>
                    <a:pt x="59" y="135"/>
                    <a:pt x="60" y="135"/>
                  </a:cubicBezTo>
                  <a:cubicBezTo>
                    <a:pt x="61" y="135"/>
                    <a:pt x="61" y="135"/>
                    <a:pt x="61" y="136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8"/>
                    <a:pt x="63" y="138"/>
                    <a:pt x="63" y="138"/>
                  </a:cubicBezTo>
                  <a:cubicBezTo>
                    <a:pt x="65" y="138"/>
                    <a:pt x="65" y="138"/>
                    <a:pt x="66" y="137"/>
                  </a:cubicBezTo>
                  <a:cubicBezTo>
                    <a:pt x="67" y="136"/>
                    <a:pt x="66" y="135"/>
                    <a:pt x="67" y="134"/>
                  </a:cubicBezTo>
                  <a:cubicBezTo>
                    <a:pt x="68" y="134"/>
                    <a:pt x="70" y="134"/>
                    <a:pt x="71" y="134"/>
                  </a:cubicBezTo>
                  <a:cubicBezTo>
                    <a:pt x="72" y="136"/>
                    <a:pt x="70" y="137"/>
                    <a:pt x="69" y="138"/>
                  </a:cubicBezTo>
                  <a:cubicBezTo>
                    <a:pt x="68" y="139"/>
                    <a:pt x="67" y="140"/>
                    <a:pt x="66" y="140"/>
                  </a:cubicBezTo>
                  <a:cubicBezTo>
                    <a:pt x="64" y="141"/>
                    <a:pt x="62" y="141"/>
                    <a:pt x="61" y="142"/>
                  </a:cubicBezTo>
                  <a:cubicBezTo>
                    <a:pt x="60" y="142"/>
                    <a:pt x="58" y="141"/>
                    <a:pt x="57" y="142"/>
                  </a:cubicBezTo>
                  <a:cubicBezTo>
                    <a:pt x="56" y="142"/>
                    <a:pt x="56" y="144"/>
                    <a:pt x="55" y="144"/>
                  </a:cubicBezTo>
                  <a:cubicBezTo>
                    <a:pt x="56" y="144"/>
                    <a:pt x="58" y="145"/>
                    <a:pt x="59" y="145"/>
                  </a:cubicBezTo>
                  <a:cubicBezTo>
                    <a:pt x="59" y="146"/>
                    <a:pt x="61" y="146"/>
                    <a:pt x="62" y="146"/>
                  </a:cubicBezTo>
                  <a:cubicBezTo>
                    <a:pt x="63" y="146"/>
                    <a:pt x="65" y="146"/>
                    <a:pt x="64" y="147"/>
                  </a:cubicBezTo>
                  <a:cubicBezTo>
                    <a:pt x="64" y="148"/>
                    <a:pt x="62" y="148"/>
                    <a:pt x="61" y="149"/>
                  </a:cubicBezTo>
                  <a:cubicBezTo>
                    <a:pt x="60" y="149"/>
                    <a:pt x="60" y="150"/>
                    <a:pt x="60" y="151"/>
                  </a:cubicBezTo>
                  <a:cubicBezTo>
                    <a:pt x="59" y="152"/>
                    <a:pt x="59" y="151"/>
                    <a:pt x="59" y="150"/>
                  </a:cubicBezTo>
                  <a:cubicBezTo>
                    <a:pt x="58" y="150"/>
                    <a:pt x="58" y="149"/>
                    <a:pt x="58" y="148"/>
                  </a:cubicBezTo>
                  <a:cubicBezTo>
                    <a:pt x="58" y="147"/>
                    <a:pt x="55" y="147"/>
                    <a:pt x="55" y="148"/>
                  </a:cubicBezTo>
                  <a:cubicBezTo>
                    <a:pt x="54" y="148"/>
                    <a:pt x="54" y="149"/>
                    <a:pt x="54" y="149"/>
                  </a:cubicBezTo>
                  <a:cubicBezTo>
                    <a:pt x="53" y="149"/>
                    <a:pt x="52" y="149"/>
                    <a:pt x="51" y="149"/>
                  </a:cubicBezTo>
                  <a:cubicBezTo>
                    <a:pt x="49" y="149"/>
                    <a:pt x="48" y="149"/>
                    <a:pt x="46" y="148"/>
                  </a:cubicBezTo>
                  <a:cubicBezTo>
                    <a:pt x="46" y="148"/>
                    <a:pt x="46" y="147"/>
                    <a:pt x="45" y="146"/>
                  </a:cubicBezTo>
                  <a:cubicBezTo>
                    <a:pt x="45" y="146"/>
                    <a:pt x="45" y="144"/>
                    <a:pt x="45" y="143"/>
                  </a:cubicBezTo>
                  <a:cubicBezTo>
                    <a:pt x="44" y="142"/>
                    <a:pt x="42" y="141"/>
                    <a:pt x="41" y="141"/>
                  </a:cubicBezTo>
                  <a:cubicBezTo>
                    <a:pt x="41" y="141"/>
                    <a:pt x="40" y="141"/>
                    <a:pt x="40" y="141"/>
                  </a:cubicBezTo>
                  <a:cubicBezTo>
                    <a:pt x="39" y="140"/>
                    <a:pt x="39" y="139"/>
                    <a:pt x="39" y="138"/>
                  </a:cubicBezTo>
                  <a:cubicBezTo>
                    <a:pt x="39" y="137"/>
                    <a:pt x="39" y="136"/>
                    <a:pt x="39" y="134"/>
                  </a:cubicBezTo>
                  <a:cubicBezTo>
                    <a:pt x="40" y="133"/>
                    <a:pt x="40" y="131"/>
                    <a:pt x="41" y="130"/>
                  </a:cubicBezTo>
                  <a:cubicBezTo>
                    <a:pt x="41" y="129"/>
                    <a:pt x="41" y="128"/>
                    <a:pt x="42" y="126"/>
                  </a:cubicBezTo>
                  <a:cubicBezTo>
                    <a:pt x="43" y="124"/>
                    <a:pt x="43" y="122"/>
                    <a:pt x="43" y="119"/>
                  </a:cubicBezTo>
                  <a:cubicBezTo>
                    <a:pt x="43" y="119"/>
                    <a:pt x="43" y="118"/>
                    <a:pt x="43" y="117"/>
                  </a:cubicBezTo>
                  <a:cubicBezTo>
                    <a:pt x="42" y="115"/>
                    <a:pt x="40" y="116"/>
                    <a:pt x="40" y="117"/>
                  </a:cubicBezTo>
                  <a:cubicBezTo>
                    <a:pt x="39" y="119"/>
                    <a:pt x="39" y="121"/>
                    <a:pt x="39" y="122"/>
                  </a:cubicBezTo>
                  <a:cubicBezTo>
                    <a:pt x="40" y="124"/>
                    <a:pt x="39" y="124"/>
                    <a:pt x="38" y="125"/>
                  </a:cubicBezTo>
                  <a:cubicBezTo>
                    <a:pt x="37" y="127"/>
                    <a:pt x="37" y="130"/>
                    <a:pt x="36" y="132"/>
                  </a:cubicBezTo>
                  <a:cubicBezTo>
                    <a:pt x="36" y="134"/>
                    <a:pt x="36" y="134"/>
                    <a:pt x="36" y="136"/>
                  </a:cubicBezTo>
                  <a:cubicBezTo>
                    <a:pt x="36" y="136"/>
                    <a:pt x="37" y="138"/>
                    <a:pt x="36" y="139"/>
                  </a:cubicBezTo>
                  <a:cubicBezTo>
                    <a:pt x="35" y="138"/>
                    <a:pt x="34" y="135"/>
                    <a:pt x="33" y="133"/>
                  </a:cubicBezTo>
                  <a:cubicBezTo>
                    <a:pt x="33" y="132"/>
                    <a:pt x="33" y="130"/>
                    <a:pt x="33" y="129"/>
                  </a:cubicBezTo>
                  <a:cubicBezTo>
                    <a:pt x="33" y="126"/>
                    <a:pt x="33" y="124"/>
                    <a:pt x="33" y="121"/>
                  </a:cubicBezTo>
                  <a:cubicBezTo>
                    <a:pt x="33" y="118"/>
                    <a:pt x="31" y="114"/>
                    <a:pt x="30" y="112"/>
                  </a:cubicBezTo>
                  <a:cubicBezTo>
                    <a:pt x="29" y="111"/>
                    <a:pt x="28" y="110"/>
                    <a:pt x="28" y="109"/>
                  </a:cubicBezTo>
                  <a:cubicBezTo>
                    <a:pt x="27" y="108"/>
                    <a:pt x="26" y="107"/>
                    <a:pt x="26" y="106"/>
                  </a:cubicBezTo>
                  <a:cubicBezTo>
                    <a:pt x="24" y="104"/>
                    <a:pt x="22" y="103"/>
                    <a:pt x="20" y="105"/>
                  </a:cubicBezTo>
                  <a:cubicBezTo>
                    <a:pt x="19" y="107"/>
                    <a:pt x="18" y="109"/>
                    <a:pt x="17" y="110"/>
                  </a:cubicBezTo>
                  <a:cubicBezTo>
                    <a:pt x="17" y="112"/>
                    <a:pt x="18" y="114"/>
                    <a:pt x="18" y="115"/>
                  </a:cubicBezTo>
                  <a:cubicBezTo>
                    <a:pt x="18" y="117"/>
                    <a:pt x="18" y="118"/>
                    <a:pt x="20" y="119"/>
                  </a:cubicBezTo>
                  <a:cubicBezTo>
                    <a:pt x="20" y="119"/>
                    <a:pt x="21" y="120"/>
                    <a:pt x="21" y="121"/>
                  </a:cubicBezTo>
                  <a:cubicBezTo>
                    <a:pt x="21" y="121"/>
                    <a:pt x="21" y="122"/>
                    <a:pt x="21" y="123"/>
                  </a:cubicBezTo>
                  <a:cubicBezTo>
                    <a:pt x="21" y="123"/>
                    <a:pt x="23" y="124"/>
                    <a:pt x="22" y="125"/>
                  </a:cubicBezTo>
                  <a:cubicBezTo>
                    <a:pt x="22" y="125"/>
                    <a:pt x="21" y="124"/>
                    <a:pt x="20" y="123"/>
                  </a:cubicBezTo>
                  <a:cubicBezTo>
                    <a:pt x="20" y="123"/>
                    <a:pt x="20" y="123"/>
                    <a:pt x="19" y="123"/>
                  </a:cubicBezTo>
                  <a:cubicBezTo>
                    <a:pt x="18" y="123"/>
                    <a:pt x="17" y="124"/>
                    <a:pt x="16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3" y="120"/>
                    <a:pt x="12" y="120"/>
                    <a:pt x="11" y="119"/>
                  </a:cubicBezTo>
                  <a:cubicBezTo>
                    <a:pt x="11" y="119"/>
                    <a:pt x="10" y="118"/>
                    <a:pt x="10" y="118"/>
                  </a:cubicBezTo>
                  <a:cubicBezTo>
                    <a:pt x="9" y="117"/>
                    <a:pt x="9" y="117"/>
                    <a:pt x="9" y="116"/>
                  </a:cubicBezTo>
                  <a:cubicBezTo>
                    <a:pt x="8" y="115"/>
                    <a:pt x="8" y="113"/>
                    <a:pt x="7" y="113"/>
                  </a:cubicBezTo>
                  <a:cubicBezTo>
                    <a:pt x="6" y="114"/>
                    <a:pt x="6" y="116"/>
                    <a:pt x="6" y="117"/>
                  </a:cubicBezTo>
                  <a:cubicBezTo>
                    <a:pt x="7" y="118"/>
                    <a:pt x="7" y="119"/>
                    <a:pt x="8" y="120"/>
                  </a:cubicBezTo>
                  <a:cubicBezTo>
                    <a:pt x="8" y="121"/>
                    <a:pt x="7" y="123"/>
                    <a:pt x="8" y="123"/>
                  </a:cubicBezTo>
                  <a:cubicBezTo>
                    <a:pt x="8" y="123"/>
                    <a:pt x="8" y="123"/>
                    <a:pt x="8" y="123"/>
                  </a:cubicBezTo>
                  <a:cubicBezTo>
                    <a:pt x="7" y="124"/>
                    <a:pt x="8" y="126"/>
                    <a:pt x="8" y="127"/>
                  </a:cubicBezTo>
                  <a:cubicBezTo>
                    <a:pt x="8" y="127"/>
                    <a:pt x="8" y="128"/>
                    <a:pt x="8" y="129"/>
                  </a:cubicBezTo>
                  <a:cubicBezTo>
                    <a:pt x="8" y="129"/>
                    <a:pt x="9" y="130"/>
                    <a:pt x="8" y="131"/>
                  </a:cubicBezTo>
                  <a:cubicBezTo>
                    <a:pt x="7" y="132"/>
                    <a:pt x="5" y="128"/>
                    <a:pt x="4" y="127"/>
                  </a:cubicBezTo>
                  <a:cubicBezTo>
                    <a:pt x="4" y="126"/>
                    <a:pt x="3" y="123"/>
                    <a:pt x="1" y="123"/>
                  </a:cubicBezTo>
                  <a:cubicBezTo>
                    <a:pt x="1" y="124"/>
                    <a:pt x="1" y="124"/>
                    <a:pt x="1" y="125"/>
                  </a:cubicBezTo>
                  <a:cubicBezTo>
                    <a:pt x="1" y="125"/>
                    <a:pt x="0" y="126"/>
                    <a:pt x="0" y="126"/>
                  </a:cubicBezTo>
                  <a:cubicBezTo>
                    <a:pt x="0" y="129"/>
                    <a:pt x="0" y="131"/>
                    <a:pt x="0" y="133"/>
                  </a:cubicBezTo>
                  <a:cubicBezTo>
                    <a:pt x="0" y="135"/>
                    <a:pt x="0" y="136"/>
                    <a:pt x="2" y="137"/>
                  </a:cubicBezTo>
                  <a:cubicBezTo>
                    <a:pt x="2" y="138"/>
                    <a:pt x="3" y="139"/>
                    <a:pt x="4" y="139"/>
                  </a:cubicBezTo>
                  <a:cubicBezTo>
                    <a:pt x="5" y="140"/>
                    <a:pt x="6" y="140"/>
                    <a:pt x="7" y="140"/>
                  </a:cubicBezTo>
                  <a:cubicBezTo>
                    <a:pt x="8" y="140"/>
                    <a:pt x="8" y="140"/>
                    <a:pt x="9" y="139"/>
                  </a:cubicBezTo>
                  <a:cubicBezTo>
                    <a:pt x="9" y="138"/>
                    <a:pt x="10" y="136"/>
                    <a:pt x="12" y="136"/>
                  </a:cubicBezTo>
                  <a:cubicBezTo>
                    <a:pt x="13" y="136"/>
                    <a:pt x="15" y="137"/>
                    <a:pt x="16" y="138"/>
                  </a:cubicBezTo>
                  <a:cubicBezTo>
                    <a:pt x="16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8" y="140"/>
                  </a:cubicBezTo>
                  <a:cubicBezTo>
                    <a:pt x="19" y="141"/>
                    <a:pt x="21" y="142"/>
                    <a:pt x="22" y="144"/>
                  </a:cubicBezTo>
                  <a:cubicBezTo>
                    <a:pt x="20" y="144"/>
                    <a:pt x="19" y="143"/>
                    <a:pt x="17" y="143"/>
                  </a:cubicBezTo>
                  <a:cubicBezTo>
                    <a:pt x="17" y="143"/>
                    <a:pt x="14" y="141"/>
                    <a:pt x="13" y="141"/>
                  </a:cubicBezTo>
                  <a:cubicBezTo>
                    <a:pt x="12" y="141"/>
                    <a:pt x="12" y="143"/>
                    <a:pt x="12" y="144"/>
                  </a:cubicBezTo>
                  <a:cubicBezTo>
                    <a:pt x="11" y="148"/>
                    <a:pt x="14" y="150"/>
                    <a:pt x="17" y="153"/>
                  </a:cubicBezTo>
                  <a:cubicBezTo>
                    <a:pt x="18" y="154"/>
                    <a:pt x="19" y="155"/>
                    <a:pt x="20" y="156"/>
                  </a:cubicBezTo>
                  <a:cubicBezTo>
                    <a:pt x="20" y="157"/>
                    <a:pt x="21" y="157"/>
                    <a:pt x="21" y="158"/>
                  </a:cubicBezTo>
                  <a:cubicBezTo>
                    <a:pt x="22" y="159"/>
                    <a:pt x="23" y="160"/>
                    <a:pt x="26" y="160"/>
                  </a:cubicBezTo>
                  <a:cubicBezTo>
                    <a:pt x="27" y="160"/>
                    <a:pt x="27" y="160"/>
                    <a:pt x="28" y="159"/>
                  </a:cubicBezTo>
                  <a:cubicBezTo>
                    <a:pt x="28" y="159"/>
                    <a:pt x="29" y="159"/>
                    <a:pt x="30" y="159"/>
                  </a:cubicBezTo>
                  <a:cubicBezTo>
                    <a:pt x="30" y="159"/>
                    <a:pt x="30" y="158"/>
                    <a:pt x="31" y="158"/>
                  </a:cubicBezTo>
                  <a:cubicBezTo>
                    <a:pt x="32" y="158"/>
                    <a:pt x="32" y="158"/>
                    <a:pt x="33" y="159"/>
                  </a:cubicBezTo>
                  <a:cubicBezTo>
                    <a:pt x="33" y="159"/>
                    <a:pt x="33" y="160"/>
                    <a:pt x="33" y="160"/>
                  </a:cubicBezTo>
                  <a:cubicBezTo>
                    <a:pt x="34" y="160"/>
                    <a:pt x="35" y="160"/>
                    <a:pt x="36" y="160"/>
                  </a:cubicBezTo>
                  <a:cubicBezTo>
                    <a:pt x="37" y="159"/>
                    <a:pt x="40" y="158"/>
                    <a:pt x="42" y="159"/>
                  </a:cubicBezTo>
                  <a:cubicBezTo>
                    <a:pt x="44" y="160"/>
                    <a:pt x="38" y="165"/>
                    <a:pt x="38" y="167"/>
                  </a:cubicBezTo>
                  <a:cubicBezTo>
                    <a:pt x="38" y="168"/>
                    <a:pt x="38" y="169"/>
                    <a:pt x="39" y="170"/>
                  </a:cubicBezTo>
                  <a:cubicBezTo>
                    <a:pt x="40" y="170"/>
                    <a:pt x="40" y="171"/>
                    <a:pt x="41" y="171"/>
                  </a:cubicBezTo>
                  <a:cubicBezTo>
                    <a:pt x="42" y="172"/>
                    <a:pt x="43" y="171"/>
                    <a:pt x="44" y="171"/>
                  </a:cubicBezTo>
                  <a:cubicBezTo>
                    <a:pt x="46" y="170"/>
                    <a:pt x="47" y="169"/>
                    <a:pt x="48" y="168"/>
                  </a:cubicBezTo>
                  <a:cubicBezTo>
                    <a:pt x="50" y="167"/>
                    <a:pt x="49" y="166"/>
                    <a:pt x="50" y="164"/>
                  </a:cubicBezTo>
                  <a:cubicBezTo>
                    <a:pt x="50" y="163"/>
                    <a:pt x="51" y="161"/>
                    <a:pt x="52" y="160"/>
                  </a:cubicBezTo>
                  <a:cubicBezTo>
                    <a:pt x="53" y="159"/>
                    <a:pt x="53" y="159"/>
                    <a:pt x="54" y="158"/>
                  </a:cubicBezTo>
                  <a:cubicBezTo>
                    <a:pt x="54" y="158"/>
                    <a:pt x="55" y="157"/>
                    <a:pt x="55" y="156"/>
                  </a:cubicBezTo>
                  <a:cubicBezTo>
                    <a:pt x="56" y="155"/>
                    <a:pt x="58" y="154"/>
                    <a:pt x="59" y="154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60" y="156"/>
                    <a:pt x="56" y="157"/>
                    <a:pt x="58" y="159"/>
                  </a:cubicBezTo>
                  <a:cubicBezTo>
                    <a:pt x="59" y="159"/>
                    <a:pt x="60" y="159"/>
                    <a:pt x="60" y="160"/>
                  </a:cubicBezTo>
                  <a:cubicBezTo>
                    <a:pt x="61" y="160"/>
                    <a:pt x="61" y="161"/>
                    <a:pt x="62" y="162"/>
                  </a:cubicBezTo>
                  <a:cubicBezTo>
                    <a:pt x="63" y="163"/>
                    <a:pt x="64" y="163"/>
                    <a:pt x="66" y="163"/>
                  </a:cubicBezTo>
                  <a:cubicBezTo>
                    <a:pt x="67" y="163"/>
                    <a:pt x="67" y="163"/>
                    <a:pt x="68" y="164"/>
                  </a:cubicBezTo>
                  <a:cubicBezTo>
                    <a:pt x="69" y="166"/>
                    <a:pt x="66" y="165"/>
                    <a:pt x="65" y="165"/>
                  </a:cubicBezTo>
                  <a:cubicBezTo>
                    <a:pt x="64" y="165"/>
                    <a:pt x="64" y="165"/>
                    <a:pt x="64" y="164"/>
                  </a:cubicBezTo>
                  <a:cubicBezTo>
                    <a:pt x="62" y="164"/>
                    <a:pt x="62" y="163"/>
                    <a:pt x="60" y="163"/>
                  </a:cubicBezTo>
                  <a:cubicBezTo>
                    <a:pt x="60" y="163"/>
                    <a:pt x="59" y="163"/>
                    <a:pt x="59" y="163"/>
                  </a:cubicBezTo>
                  <a:cubicBezTo>
                    <a:pt x="58" y="163"/>
                    <a:pt x="57" y="162"/>
                    <a:pt x="56" y="162"/>
                  </a:cubicBezTo>
                  <a:cubicBezTo>
                    <a:pt x="56" y="163"/>
                    <a:pt x="55" y="164"/>
                    <a:pt x="55" y="165"/>
                  </a:cubicBezTo>
                  <a:cubicBezTo>
                    <a:pt x="54" y="166"/>
                    <a:pt x="54" y="167"/>
                    <a:pt x="54" y="168"/>
                  </a:cubicBezTo>
                  <a:cubicBezTo>
                    <a:pt x="54" y="171"/>
                    <a:pt x="57" y="171"/>
                    <a:pt x="59" y="172"/>
                  </a:cubicBezTo>
                  <a:cubicBezTo>
                    <a:pt x="59" y="173"/>
                    <a:pt x="60" y="173"/>
                    <a:pt x="60" y="174"/>
                  </a:cubicBezTo>
                  <a:cubicBezTo>
                    <a:pt x="61" y="174"/>
                    <a:pt x="61" y="175"/>
                    <a:pt x="61" y="175"/>
                  </a:cubicBezTo>
                  <a:cubicBezTo>
                    <a:pt x="60" y="175"/>
                    <a:pt x="59" y="175"/>
                    <a:pt x="58" y="175"/>
                  </a:cubicBezTo>
                  <a:cubicBezTo>
                    <a:pt x="57" y="174"/>
                    <a:pt x="57" y="173"/>
                    <a:pt x="55" y="173"/>
                  </a:cubicBezTo>
                  <a:cubicBezTo>
                    <a:pt x="53" y="173"/>
                    <a:pt x="51" y="174"/>
                    <a:pt x="49" y="174"/>
                  </a:cubicBezTo>
                  <a:cubicBezTo>
                    <a:pt x="49" y="175"/>
                    <a:pt x="48" y="175"/>
                    <a:pt x="48" y="176"/>
                  </a:cubicBezTo>
                  <a:cubicBezTo>
                    <a:pt x="47" y="177"/>
                    <a:pt x="48" y="177"/>
                    <a:pt x="49" y="178"/>
                  </a:cubicBezTo>
                  <a:cubicBezTo>
                    <a:pt x="50" y="178"/>
                    <a:pt x="52" y="179"/>
                    <a:pt x="50" y="180"/>
                  </a:cubicBezTo>
                  <a:cubicBezTo>
                    <a:pt x="50" y="180"/>
                    <a:pt x="49" y="179"/>
                    <a:pt x="49" y="180"/>
                  </a:cubicBezTo>
                  <a:cubicBezTo>
                    <a:pt x="49" y="180"/>
                    <a:pt x="49" y="180"/>
                    <a:pt x="49" y="181"/>
                  </a:cubicBezTo>
                  <a:cubicBezTo>
                    <a:pt x="48" y="181"/>
                    <a:pt x="48" y="181"/>
                    <a:pt x="48" y="182"/>
                  </a:cubicBezTo>
                  <a:cubicBezTo>
                    <a:pt x="48" y="182"/>
                    <a:pt x="48" y="182"/>
                    <a:pt x="48" y="183"/>
                  </a:cubicBezTo>
                  <a:cubicBezTo>
                    <a:pt x="48" y="184"/>
                    <a:pt x="47" y="183"/>
                    <a:pt x="46" y="183"/>
                  </a:cubicBezTo>
                  <a:cubicBezTo>
                    <a:pt x="45" y="184"/>
                    <a:pt x="43" y="186"/>
                    <a:pt x="44" y="187"/>
                  </a:cubicBezTo>
                  <a:cubicBezTo>
                    <a:pt x="45" y="188"/>
                    <a:pt x="47" y="186"/>
                    <a:pt x="47" y="186"/>
                  </a:cubicBezTo>
                  <a:cubicBezTo>
                    <a:pt x="48" y="186"/>
                    <a:pt x="50" y="185"/>
                    <a:pt x="51" y="185"/>
                  </a:cubicBezTo>
                  <a:cubicBezTo>
                    <a:pt x="53" y="186"/>
                    <a:pt x="54" y="188"/>
                    <a:pt x="54" y="189"/>
                  </a:cubicBezTo>
                  <a:cubicBezTo>
                    <a:pt x="52" y="190"/>
                    <a:pt x="49" y="189"/>
                    <a:pt x="48" y="190"/>
                  </a:cubicBezTo>
                  <a:cubicBezTo>
                    <a:pt x="47" y="191"/>
                    <a:pt x="47" y="192"/>
                    <a:pt x="47" y="192"/>
                  </a:cubicBezTo>
                  <a:cubicBezTo>
                    <a:pt x="46" y="194"/>
                    <a:pt x="47" y="195"/>
                    <a:pt x="46" y="196"/>
                  </a:cubicBezTo>
                  <a:cubicBezTo>
                    <a:pt x="45" y="196"/>
                    <a:pt x="44" y="197"/>
                    <a:pt x="44" y="198"/>
                  </a:cubicBezTo>
                  <a:cubicBezTo>
                    <a:pt x="44" y="198"/>
                    <a:pt x="44" y="196"/>
                    <a:pt x="43" y="196"/>
                  </a:cubicBezTo>
                  <a:cubicBezTo>
                    <a:pt x="42" y="196"/>
                    <a:pt x="42" y="197"/>
                    <a:pt x="41" y="197"/>
                  </a:cubicBezTo>
                  <a:cubicBezTo>
                    <a:pt x="40" y="197"/>
                    <a:pt x="39" y="197"/>
                    <a:pt x="39" y="197"/>
                  </a:cubicBezTo>
                  <a:cubicBezTo>
                    <a:pt x="38" y="198"/>
                    <a:pt x="38" y="198"/>
                    <a:pt x="38" y="198"/>
                  </a:cubicBezTo>
                  <a:cubicBezTo>
                    <a:pt x="37" y="198"/>
                    <a:pt x="35" y="198"/>
                    <a:pt x="34" y="198"/>
                  </a:cubicBezTo>
                  <a:cubicBezTo>
                    <a:pt x="33" y="198"/>
                    <a:pt x="33" y="198"/>
                    <a:pt x="32" y="198"/>
                  </a:cubicBezTo>
                  <a:cubicBezTo>
                    <a:pt x="30" y="197"/>
                    <a:pt x="28" y="200"/>
                    <a:pt x="26" y="201"/>
                  </a:cubicBezTo>
                  <a:cubicBezTo>
                    <a:pt x="24" y="203"/>
                    <a:pt x="24" y="203"/>
                    <a:pt x="26" y="204"/>
                  </a:cubicBezTo>
                  <a:cubicBezTo>
                    <a:pt x="28" y="204"/>
                    <a:pt x="30" y="204"/>
                    <a:pt x="32" y="205"/>
                  </a:cubicBezTo>
                  <a:cubicBezTo>
                    <a:pt x="32" y="207"/>
                    <a:pt x="35" y="205"/>
                    <a:pt x="36" y="205"/>
                  </a:cubicBezTo>
                  <a:cubicBezTo>
                    <a:pt x="36" y="207"/>
                    <a:pt x="39" y="207"/>
                    <a:pt x="40" y="207"/>
                  </a:cubicBezTo>
                  <a:cubicBezTo>
                    <a:pt x="42" y="207"/>
                    <a:pt x="44" y="207"/>
                    <a:pt x="45" y="207"/>
                  </a:cubicBezTo>
                  <a:cubicBezTo>
                    <a:pt x="46" y="206"/>
                    <a:pt x="46" y="206"/>
                    <a:pt x="47" y="206"/>
                  </a:cubicBezTo>
                  <a:cubicBezTo>
                    <a:pt x="49" y="207"/>
                    <a:pt x="51" y="206"/>
                    <a:pt x="52" y="206"/>
                  </a:cubicBezTo>
                  <a:cubicBezTo>
                    <a:pt x="55" y="206"/>
                    <a:pt x="57" y="207"/>
                    <a:pt x="59" y="207"/>
                  </a:cubicBezTo>
                  <a:cubicBezTo>
                    <a:pt x="58" y="209"/>
                    <a:pt x="52" y="208"/>
                    <a:pt x="50" y="208"/>
                  </a:cubicBezTo>
                  <a:cubicBezTo>
                    <a:pt x="49" y="208"/>
                    <a:pt x="48" y="207"/>
                    <a:pt x="46" y="207"/>
                  </a:cubicBezTo>
                  <a:cubicBezTo>
                    <a:pt x="45" y="208"/>
                    <a:pt x="44" y="209"/>
                    <a:pt x="43" y="209"/>
                  </a:cubicBezTo>
                  <a:cubicBezTo>
                    <a:pt x="43" y="210"/>
                    <a:pt x="42" y="210"/>
                    <a:pt x="42" y="210"/>
                  </a:cubicBezTo>
                  <a:cubicBezTo>
                    <a:pt x="41" y="211"/>
                    <a:pt x="40" y="210"/>
                    <a:pt x="39" y="210"/>
                  </a:cubicBezTo>
                  <a:cubicBezTo>
                    <a:pt x="38" y="211"/>
                    <a:pt x="38" y="213"/>
                    <a:pt x="39" y="213"/>
                  </a:cubicBezTo>
                  <a:cubicBezTo>
                    <a:pt x="40" y="214"/>
                    <a:pt x="40" y="214"/>
                    <a:pt x="41" y="214"/>
                  </a:cubicBezTo>
                  <a:cubicBezTo>
                    <a:pt x="42" y="215"/>
                    <a:pt x="42" y="214"/>
                    <a:pt x="42" y="216"/>
                  </a:cubicBezTo>
                  <a:cubicBezTo>
                    <a:pt x="42" y="216"/>
                    <a:pt x="42" y="217"/>
                    <a:pt x="43" y="217"/>
                  </a:cubicBezTo>
                  <a:cubicBezTo>
                    <a:pt x="44" y="218"/>
                    <a:pt x="44" y="218"/>
                    <a:pt x="45" y="218"/>
                  </a:cubicBezTo>
                  <a:cubicBezTo>
                    <a:pt x="46" y="218"/>
                    <a:pt x="47" y="219"/>
                    <a:pt x="48" y="219"/>
                  </a:cubicBezTo>
                  <a:cubicBezTo>
                    <a:pt x="49" y="220"/>
                    <a:pt x="50" y="220"/>
                    <a:pt x="50" y="220"/>
                  </a:cubicBezTo>
                  <a:cubicBezTo>
                    <a:pt x="51" y="220"/>
                    <a:pt x="52" y="221"/>
                    <a:pt x="52" y="220"/>
                  </a:cubicBezTo>
                  <a:cubicBezTo>
                    <a:pt x="54" y="221"/>
                    <a:pt x="54" y="222"/>
                    <a:pt x="56" y="222"/>
                  </a:cubicBezTo>
                  <a:cubicBezTo>
                    <a:pt x="57" y="222"/>
                    <a:pt x="58" y="222"/>
                    <a:pt x="58" y="223"/>
                  </a:cubicBezTo>
                  <a:cubicBezTo>
                    <a:pt x="59" y="224"/>
                    <a:pt x="59" y="225"/>
                    <a:pt x="57" y="225"/>
                  </a:cubicBezTo>
                  <a:cubicBezTo>
                    <a:pt x="57" y="225"/>
                    <a:pt x="56" y="225"/>
                    <a:pt x="55" y="224"/>
                  </a:cubicBezTo>
                  <a:cubicBezTo>
                    <a:pt x="54" y="224"/>
                    <a:pt x="54" y="224"/>
                    <a:pt x="53" y="223"/>
                  </a:cubicBezTo>
                  <a:cubicBezTo>
                    <a:pt x="52" y="222"/>
                    <a:pt x="50" y="222"/>
                    <a:pt x="49" y="221"/>
                  </a:cubicBezTo>
                  <a:cubicBezTo>
                    <a:pt x="47" y="220"/>
                    <a:pt x="46" y="220"/>
                    <a:pt x="44" y="219"/>
                  </a:cubicBezTo>
                  <a:cubicBezTo>
                    <a:pt x="43" y="218"/>
                    <a:pt x="43" y="218"/>
                    <a:pt x="42" y="218"/>
                  </a:cubicBezTo>
                  <a:cubicBezTo>
                    <a:pt x="41" y="217"/>
                    <a:pt x="41" y="217"/>
                    <a:pt x="41" y="217"/>
                  </a:cubicBezTo>
                  <a:cubicBezTo>
                    <a:pt x="41" y="217"/>
                    <a:pt x="41" y="216"/>
                    <a:pt x="40" y="215"/>
                  </a:cubicBezTo>
                  <a:cubicBezTo>
                    <a:pt x="39" y="214"/>
                    <a:pt x="38" y="214"/>
                    <a:pt x="38" y="213"/>
                  </a:cubicBezTo>
                  <a:cubicBezTo>
                    <a:pt x="37" y="212"/>
                    <a:pt x="37" y="211"/>
                    <a:pt x="36" y="211"/>
                  </a:cubicBezTo>
                  <a:cubicBezTo>
                    <a:pt x="35" y="210"/>
                    <a:pt x="34" y="210"/>
                    <a:pt x="33" y="210"/>
                  </a:cubicBezTo>
                  <a:cubicBezTo>
                    <a:pt x="30" y="209"/>
                    <a:pt x="28" y="212"/>
                    <a:pt x="26" y="213"/>
                  </a:cubicBezTo>
                  <a:cubicBezTo>
                    <a:pt x="25" y="214"/>
                    <a:pt x="24" y="215"/>
                    <a:pt x="23" y="216"/>
                  </a:cubicBezTo>
                  <a:cubicBezTo>
                    <a:pt x="23" y="216"/>
                    <a:pt x="22" y="218"/>
                    <a:pt x="23" y="219"/>
                  </a:cubicBezTo>
                  <a:cubicBezTo>
                    <a:pt x="23" y="220"/>
                    <a:pt x="25" y="221"/>
                    <a:pt x="26" y="221"/>
                  </a:cubicBezTo>
                  <a:cubicBezTo>
                    <a:pt x="27" y="222"/>
                    <a:pt x="29" y="221"/>
                    <a:pt x="30" y="222"/>
                  </a:cubicBezTo>
                  <a:cubicBezTo>
                    <a:pt x="31" y="222"/>
                    <a:pt x="30" y="223"/>
                    <a:pt x="31" y="222"/>
                  </a:cubicBezTo>
                  <a:cubicBezTo>
                    <a:pt x="31" y="223"/>
                    <a:pt x="31" y="225"/>
                    <a:pt x="30" y="225"/>
                  </a:cubicBezTo>
                  <a:cubicBezTo>
                    <a:pt x="30" y="225"/>
                    <a:pt x="28" y="225"/>
                    <a:pt x="27" y="225"/>
                  </a:cubicBezTo>
                  <a:cubicBezTo>
                    <a:pt x="25" y="225"/>
                    <a:pt x="22" y="225"/>
                    <a:pt x="22" y="228"/>
                  </a:cubicBezTo>
                  <a:cubicBezTo>
                    <a:pt x="23" y="228"/>
                    <a:pt x="25" y="228"/>
                    <a:pt x="26" y="228"/>
                  </a:cubicBezTo>
                  <a:cubicBezTo>
                    <a:pt x="26" y="228"/>
                    <a:pt x="26" y="228"/>
                    <a:pt x="27" y="229"/>
                  </a:cubicBezTo>
                  <a:cubicBezTo>
                    <a:pt x="27" y="229"/>
                    <a:pt x="28" y="229"/>
                    <a:pt x="28" y="229"/>
                  </a:cubicBezTo>
                  <a:cubicBezTo>
                    <a:pt x="29" y="229"/>
                    <a:pt x="30" y="229"/>
                    <a:pt x="31" y="229"/>
                  </a:cubicBezTo>
                  <a:cubicBezTo>
                    <a:pt x="33" y="228"/>
                    <a:pt x="34" y="227"/>
                    <a:pt x="35" y="226"/>
                  </a:cubicBezTo>
                  <a:cubicBezTo>
                    <a:pt x="36" y="226"/>
                    <a:pt x="39" y="225"/>
                    <a:pt x="39" y="226"/>
                  </a:cubicBezTo>
                  <a:cubicBezTo>
                    <a:pt x="40" y="229"/>
                    <a:pt x="35" y="231"/>
                    <a:pt x="33" y="232"/>
                  </a:cubicBezTo>
                  <a:cubicBezTo>
                    <a:pt x="32" y="233"/>
                    <a:pt x="26" y="237"/>
                    <a:pt x="30" y="238"/>
                  </a:cubicBezTo>
                  <a:cubicBezTo>
                    <a:pt x="31" y="238"/>
                    <a:pt x="34" y="238"/>
                    <a:pt x="36" y="238"/>
                  </a:cubicBezTo>
                  <a:cubicBezTo>
                    <a:pt x="38" y="238"/>
                    <a:pt x="39" y="236"/>
                    <a:pt x="41" y="236"/>
                  </a:cubicBezTo>
                  <a:cubicBezTo>
                    <a:pt x="42" y="240"/>
                    <a:pt x="35" y="240"/>
                    <a:pt x="33" y="240"/>
                  </a:cubicBezTo>
                  <a:cubicBezTo>
                    <a:pt x="30" y="240"/>
                    <a:pt x="26" y="240"/>
                    <a:pt x="23" y="239"/>
                  </a:cubicBezTo>
                  <a:cubicBezTo>
                    <a:pt x="22" y="239"/>
                    <a:pt x="20" y="239"/>
                    <a:pt x="18" y="239"/>
                  </a:cubicBezTo>
                  <a:cubicBezTo>
                    <a:pt x="17" y="240"/>
                    <a:pt x="17" y="242"/>
                    <a:pt x="18" y="243"/>
                  </a:cubicBezTo>
                  <a:cubicBezTo>
                    <a:pt x="22" y="245"/>
                    <a:pt x="25" y="247"/>
                    <a:pt x="29" y="247"/>
                  </a:cubicBezTo>
                  <a:cubicBezTo>
                    <a:pt x="30" y="247"/>
                    <a:pt x="32" y="247"/>
                    <a:pt x="34" y="247"/>
                  </a:cubicBezTo>
                  <a:cubicBezTo>
                    <a:pt x="34" y="247"/>
                    <a:pt x="35" y="246"/>
                    <a:pt x="35" y="246"/>
                  </a:cubicBezTo>
                  <a:cubicBezTo>
                    <a:pt x="37" y="245"/>
                    <a:pt x="39" y="245"/>
                    <a:pt x="40" y="244"/>
                  </a:cubicBezTo>
                  <a:cubicBezTo>
                    <a:pt x="43" y="243"/>
                    <a:pt x="47" y="244"/>
                    <a:pt x="50" y="243"/>
                  </a:cubicBezTo>
                  <a:cubicBezTo>
                    <a:pt x="51" y="242"/>
                    <a:pt x="53" y="241"/>
                    <a:pt x="54" y="241"/>
                  </a:cubicBezTo>
                  <a:cubicBezTo>
                    <a:pt x="56" y="240"/>
                    <a:pt x="58" y="239"/>
                    <a:pt x="59" y="236"/>
                  </a:cubicBezTo>
                  <a:cubicBezTo>
                    <a:pt x="59" y="234"/>
                    <a:pt x="58" y="233"/>
                    <a:pt x="58" y="231"/>
                  </a:cubicBezTo>
                  <a:cubicBezTo>
                    <a:pt x="58" y="230"/>
                    <a:pt x="58" y="228"/>
                    <a:pt x="57" y="228"/>
                  </a:cubicBezTo>
                  <a:cubicBezTo>
                    <a:pt x="57" y="228"/>
                    <a:pt x="56" y="227"/>
                    <a:pt x="56" y="227"/>
                  </a:cubicBezTo>
                  <a:cubicBezTo>
                    <a:pt x="57" y="227"/>
                    <a:pt x="57" y="227"/>
                    <a:pt x="58" y="226"/>
                  </a:cubicBezTo>
                  <a:cubicBezTo>
                    <a:pt x="58" y="226"/>
                    <a:pt x="60" y="226"/>
                    <a:pt x="60" y="226"/>
                  </a:cubicBezTo>
                  <a:cubicBezTo>
                    <a:pt x="60" y="226"/>
                    <a:pt x="61" y="225"/>
                    <a:pt x="61" y="225"/>
                  </a:cubicBezTo>
                  <a:cubicBezTo>
                    <a:pt x="62" y="224"/>
                    <a:pt x="62" y="223"/>
                    <a:pt x="62" y="223"/>
                  </a:cubicBezTo>
                  <a:cubicBezTo>
                    <a:pt x="62" y="222"/>
                    <a:pt x="62" y="222"/>
                    <a:pt x="63" y="221"/>
                  </a:cubicBezTo>
                  <a:cubicBezTo>
                    <a:pt x="64" y="221"/>
                    <a:pt x="64" y="220"/>
                    <a:pt x="64" y="220"/>
                  </a:cubicBezTo>
                  <a:cubicBezTo>
                    <a:pt x="65" y="219"/>
                    <a:pt x="66" y="219"/>
                    <a:pt x="67" y="218"/>
                  </a:cubicBezTo>
                  <a:cubicBezTo>
                    <a:pt x="67" y="217"/>
                    <a:pt x="67" y="215"/>
                    <a:pt x="68" y="214"/>
                  </a:cubicBezTo>
                  <a:cubicBezTo>
                    <a:pt x="69" y="213"/>
                    <a:pt x="70" y="213"/>
                    <a:pt x="71" y="212"/>
                  </a:cubicBezTo>
                  <a:cubicBezTo>
                    <a:pt x="71" y="211"/>
                    <a:pt x="72" y="211"/>
                    <a:pt x="72" y="210"/>
                  </a:cubicBezTo>
                  <a:cubicBezTo>
                    <a:pt x="72" y="210"/>
                    <a:pt x="73" y="209"/>
                    <a:pt x="73" y="209"/>
                  </a:cubicBezTo>
                  <a:cubicBezTo>
                    <a:pt x="73" y="209"/>
                    <a:pt x="73" y="209"/>
                    <a:pt x="74" y="208"/>
                  </a:cubicBezTo>
                  <a:cubicBezTo>
                    <a:pt x="74" y="208"/>
                    <a:pt x="74" y="208"/>
                    <a:pt x="74" y="208"/>
                  </a:cubicBezTo>
                  <a:cubicBezTo>
                    <a:pt x="75" y="207"/>
                    <a:pt x="76" y="207"/>
                    <a:pt x="76" y="206"/>
                  </a:cubicBezTo>
                  <a:cubicBezTo>
                    <a:pt x="78" y="204"/>
                    <a:pt x="84" y="196"/>
                    <a:pt x="85" y="195"/>
                  </a:cubicBezTo>
                  <a:cubicBezTo>
                    <a:pt x="85" y="194"/>
                    <a:pt x="86" y="193"/>
                    <a:pt x="86" y="193"/>
                  </a:cubicBezTo>
                  <a:cubicBezTo>
                    <a:pt x="86" y="193"/>
                    <a:pt x="87" y="193"/>
                    <a:pt x="87" y="192"/>
                  </a:cubicBezTo>
                  <a:cubicBezTo>
                    <a:pt x="87" y="192"/>
                    <a:pt x="87" y="191"/>
                    <a:pt x="87" y="191"/>
                  </a:cubicBezTo>
                  <a:cubicBezTo>
                    <a:pt x="88" y="189"/>
                    <a:pt x="98" y="179"/>
                    <a:pt x="99" y="177"/>
                  </a:cubicBezTo>
                  <a:cubicBezTo>
                    <a:pt x="99" y="176"/>
                    <a:pt x="100" y="176"/>
                    <a:pt x="100" y="175"/>
                  </a:cubicBezTo>
                  <a:cubicBezTo>
                    <a:pt x="101" y="174"/>
                    <a:pt x="102" y="172"/>
                    <a:pt x="101" y="175"/>
                  </a:cubicBezTo>
                  <a:cubicBezTo>
                    <a:pt x="100" y="177"/>
                    <a:pt x="92" y="189"/>
                    <a:pt x="92" y="189"/>
                  </a:cubicBezTo>
                  <a:cubicBezTo>
                    <a:pt x="90" y="190"/>
                    <a:pt x="90" y="191"/>
                    <a:pt x="89" y="192"/>
                  </a:cubicBezTo>
                  <a:cubicBezTo>
                    <a:pt x="86" y="195"/>
                    <a:pt x="85" y="198"/>
                    <a:pt x="82" y="202"/>
                  </a:cubicBezTo>
                  <a:cubicBezTo>
                    <a:pt x="81" y="203"/>
                    <a:pt x="81" y="204"/>
                    <a:pt x="79" y="206"/>
                  </a:cubicBezTo>
                  <a:cubicBezTo>
                    <a:pt x="78" y="208"/>
                    <a:pt x="76" y="209"/>
                    <a:pt x="75" y="211"/>
                  </a:cubicBezTo>
                  <a:cubicBezTo>
                    <a:pt x="72" y="214"/>
                    <a:pt x="72" y="218"/>
                    <a:pt x="70" y="222"/>
                  </a:cubicBezTo>
                  <a:cubicBezTo>
                    <a:pt x="70" y="223"/>
                    <a:pt x="69" y="222"/>
                    <a:pt x="69" y="223"/>
                  </a:cubicBezTo>
                  <a:cubicBezTo>
                    <a:pt x="68" y="224"/>
                    <a:pt x="69" y="226"/>
                    <a:pt x="68" y="226"/>
                  </a:cubicBezTo>
                  <a:cubicBezTo>
                    <a:pt x="68" y="227"/>
                    <a:pt x="68" y="229"/>
                    <a:pt x="68" y="230"/>
                  </a:cubicBezTo>
                  <a:cubicBezTo>
                    <a:pt x="70" y="229"/>
                    <a:pt x="73" y="229"/>
                    <a:pt x="75" y="229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2"/>
                    <a:pt x="68" y="232"/>
                  </a:cubicBezTo>
                  <a:cubicBezTo>
                    <a:pt x="67" y="232"/>
                    <a:pt x="67" y="232"/>
                    <a:pt x="66" y="232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0"/>
                    <a:pt x="68" y="230"/>
                  </a:cubicBezTo>
                  <a:cubicBezTo>
                    <a:pt x="68" y="230"/>
                    <a:pt x="67" y="230"/>
                    <a:pt x="67" y="231"/>
                  </a:cubicBezTo>
                  <a:cubicBezTo>
                    <a:pt x="65" y="232"/>
                    <a:pt x="66" y="233"/>
                    <a:pt x="66" y="236"/>
                  </a:cubicBezTo>
                  <a:cubicBezTo>
                    <a:pt x="62" y="237"/>
                    <a:pt x="63" y="239"/>
                    <a:pt x="61" y="243"/>
                  </a:cubicBezTo>
                  <a:cubicBezTo>
                    <a:pt x="60" y="245"/>
                    <a:pt x="59" y="245"/>
                    <a:pt x="59" y="248"/>
                  </a:cubicBezTo>
                  <a:cubicBezTo>
                    <a:pt x="59" y="250"/>
                    <a:pt x="59" y="252"/>
                    <a:pt x="59" y="254"/>
                  </a:cubicBezTo>
                  <a:cubicBezTo>
                    <a:pt x="60" y="254"/>
                    <a:pt x="64" y="244"/>
                    <a:pt x="67" y="250"/>
                  </a:cubicBezTo>
                  <a:cubicBezTo>
                    <a:pt x="63" y="252"/>
                    <a:pt x="65" y="255"/>
                    <a:pt x="64" y="258"/>
                  </a:cubicBezTo>
                  <a:cubicBezTo>
                    <a:pt x="64" y="258"/>
                    <a:pt x="63" y="258"/>
                    <a:pt x="63" y="258"/>
                  </a:cubicBezTo>
                  <a:cubicBezTo>
                    <a:pt x="62" y="259"/>
                    <a:pt x="62" y="260"/>
                    <a:pt x="63" y="261"/>
                  </a:cubicBezTo>
                  <a:cubicBezTo>
                    <a:pt x="63" y="262"/>
                    <a:pt x="64" y="262"/>
                    <a:pt x="64" y="262"/>
                  </a:cubicBezTo>
                  <a:cubicBezTo>
                    <a:pt x="64" y="262"/>
                    <a:pt x="64" y="263"/>
                    <a:pt x="64" y="264"/>
                  </a:cubicBezTo>
                  <a:cubicBezTo>
                    <a:pt x="61" y="263"/>
                    <a:pt x="62" y="270"/>
                    <a:pt x="62" y="272"/>
                  </a:cubicBezTo>
                  <a:cubicBezTo>
                    <a:pt x="62" y="275"/>
                    <a:pt x="60" y="277"/>
                    <a:pt x="60" y="280"/>
                  </a:cubicBezTo>
                  <a:cubicBezTo>
                    <a:pt x="60" y="283"/>
                    <a:pt x="60" y="286"/>
                    <a:pt x="60" y="288"/>
                  </a:cubicBezTo>
                  <a:cubicBezTo>
                    <a:pt x="59" y="289"/>
                    <a:pt x="60" y="291"/>
                    <a:pt x="60" y="291"/>
                  </a:cubicBezTo>
                  <a:cubicBezTo>
                    <a:pt x="59" y="292"/>
                    <a:pt x="58" y="292"/>
                    <a:pt x="58" y="293"/>
                  </a:cubicBezTo>
                  <a:cubicBezTo>
                    <a:pt x="57" y="294"/>
                    <a:pt x="57" y="294"/>
                    <a:pt x="57" y="296"/>
                  </a:cubicBezTo>
                  <a:cubicBezTo>
                    <a:pt x="62" y="297"/>
                    <a:pt x="63" y="295"/>
                    <a:pt x="65" y="291"/>
                  </a:cubicBezTo>
                  <a:cubicBezTo>
                    <a:pt x="68" y="287"/>
                    <a:pt x="71" y="285"/>
                    <a:pt x="71" y="280"/>
                  </a:cubicBezTo>
                  <a:cubicBezTo>
                    <a:pt x="71" y="277"/>
                    <a:pt x="70" y="271"/>
                    <a:pt x="71" y="268"/>
                  </a:cubicBezTo>
                  <a:cubicBezTo>
                    <a:pt x="73" y="267"/>
                    <a:pt x="75" y="268"/>
                    <a:pt x="77" y="267"/>
                  </a:cubicBezTo>
                  <a:cubicBezTo>
                    <a:pt x="78" y="267"/>
                    <a:pt x="80" y="266"/>
                    <a:pt x="81" y="265"/>
                  </a:cubicBezTo>
                  <a:cubicBezTo>
                    <a:pt x="83" y="269"/>
                    <a:pt x="78" y="270"/>
                    <a:pt x="76" y="273"/>
                  </a:cubicBezTo>
                  <a:cubicBezTo>
                    <a:pt x="75" y="274"/>
                    <a:pt x="76" y="275"/>
                    <a:pt x="75" y="275"/>
                  </a:cubicBezTo>
                  <a:cubicBezTo>
                    <a:pt x="75" y="276"/>
                    <a:pt x="73" y="276"/>
                    <a:pt x="73" y="277"/>
                  </a:cubicBezTo>
                  <a:cubicBezTo>
                    <a:pt x="72" y="278"/>
                    <a:pt x="72" y="281"/>
                    <a:pt x="72" y="282"/>
                  </a:cubicBezTo>
                  <a:cubicBezTo>
                    <a:pt x="73" y="286"/>
                    <a:pt x="75" y="291"/>
                    <a:pt x="79" y="290"/>
                  </a:cubicBezTo>
                  <a:cubicBezTo>
                    <a:pt x="82" y="289"/>
                    <a:pt x="81" y="290"/>
                    <a:pt x="81" y="286"/>
                  </a:cubicBezTo>
                  <a:cubicBezTo>
                    <a:pt x="82" y="284"/>
                    <a:pt x="83" y="283"/>
                    <a:pt x="86" y="284"/>
                  </a:cubicBezTo>
                  <a:cubicBezTo>
                    <a:pt x="86" y="287"/>
                    <a:pt x="86" y="288"/>
                    <a:pt x="88" y="290"/>
                  </a:cubicBezTo>
                  <a:cubicBezTo>
                    <a:pt x="90" y="292"/>
                    <a:pt x="91" y="294"/>
                    <a:pt x="92" y="296"/>
                  </a:cubicBezTo>
                  <a:cubicBezTo>
                    <a:pt x="93" y="298"/>
                    <a:pt x="94" y="301"/>
                    <a:pt x="95" y="298"/>
                  </a:cubicBezTo>
                  <a:cubicBezTo>
                    <a:pt x="95" y="297"/>
                    <a:pt x="95" y="294"/>
                    <a:pt x="95" y="293"/>
                  </a:cubicBezTo>
                  <a:cubicBezTo>
                    <a:pt x="95" y="291"/>
                    <a:pt x="93" y="290"/>
                    <a:pt x="94" y="288"/>
                  </a:cubicBezTo>
                  <a:cubicBezTo>
                    <a:pt x="95" y="288"/>
                    <a:pt x="96" y="288"/>
                    <a:pt x="98" y="288"/>
                  </a:cubicBezTo>
                  <a:cubicBezTo>
                    <a:pt x="98" y="287"/>
                    <a:pt x="98" y="285"/>
                    <a:pt x="98" y="283"/>
                  </a:cubicBezTo>
                  <a:cubicBezTo>
                    <a:pt x="98" y="280"/>
                    <a:pt x="98" y="279"/>
                    <a:pt x="99" y="277"/>
                  </a:cubicBezTo>
                  <a:cubicBezTo>
                    <a:pt x="100" y="276"/>
                    <a:pt x="100" y="273"/>
                    <a:pt x="101" y="272"/>
                  </a:cubicBezTo>
                  <a:cubicBezTo>
                    <a:pt x="104" y="272"/>
                    <a:pt x="103" y="275"/>
                    <a:pt x="103" y="277"/>
                  </a:cubicBezTo>
                  <a:cubicBezTo>
                    <a:pt x="106" y="277"/>
                    <a:pt x="112" y="275"/>
                    <a:pt x="110" y="279"/>
                  </a:cubicBezTo>
                  <a:cubicBezTo>
                    <a:pt x="108" y="280"/>
                    <a:pt x="105" y="279"/>
                    <a:pt x="103" y="280"/>
                  </a:cubicBezTo>
                  <a:cubicBezTo>
                    <a:pt x="101" y="281"/>
                    <a:pt x="102" y="283"/>
                    <a:pt x="102" y="285"/>
                  </a:cubicBezTo>
                  <a:cubicBezTo>
                    <a:pt x="101" y="288"/>
                    <a:pt x="99" y="288"/>
                    <a:pt x="98" y="290"/>
                  </a:cubicBezTo>
                  <a:cubicBezTo>
                    <a:pt x="97" y="292"/>
                    <a:pt x="97" y="294"/>
                    <a:pt x="97" y="296"/>
                  </a:cubicBezTo>
                  <a:cubicBezTo>
                    <a:pt x="98" y="297"/>
                    <a:pt x="98" y="298"/>
                    <a:pt x="99" y="299"/>
                  </a:cubicBezTo>
                  <a:cubicBezTo>
                    <a:pt x="99" y="300"/>
                    <a:pt x="98" y="301"/>
                    <a:pt x="99" y="301"/>
                  </a:cubicBezTo>
                  <a:cubicBezTo>
                    <a:pt x="99" y="302"/>
                    <a:pt x="100" y="302"/>
                    <a:pt x="100" y="302"/>
                  </a:cubicBezTo>
                  <a:cubicBezTo>
                    <a:pt x="101" y="303"/>
                    <a:pt x="102" y="305"/>
                    <a:pt x="103" y="306"/>
                  </a:cubicBezTo>
                  <a:cubicBezTo>
                    <a:pt x="103" y="307"/>
                    <a:pt x="105" y="307"/>
                    <a:pt x="106" y="308"/>
                  </a:cubicBezTo>
                  <a:cubicBezTo>
                    <a:pt x="107" y="308"/>
                    <a:pt x="108" y="310"/>
                    <a:pt x="110" y="310"/>
                  </a:cubicBezTo>
                  <a:cubicBezTo>
                    <a:pt x="111" y="310"/>
                    <a:pt x="112" y="310"/>
                    <a:pt x="113" y="311"/>
                  </a:cubicBezTo>
                  <a:cubicBezTo>
                    <a:pt x="114" y="312"/>
                    <a:pt x="114" y="319"/>
                    <a:pt x="113" y="320"/>
                  </a:cubicBezTo>
                  <a:cubicBezTo>
                    <a:pt x="110" y="320"/>
                    <a:pt x="109" y="324"/>
                    <a:pt x="108" y="327"/>
                  </a:cubicBezTo>
                  <a:cubicBezTo>
                    <a:pt x="107" y="330"/>
                    <a:pt x="107" y="332"/>
                    <a:pt x="106" y="336"/>
                  </a:cubicBezTo>
                  <a:cubicBezTo>
                    <a:pt x="105" y="341"/>
                    <a:pt x="102" y="347"/>
                    <a:pt x="98" y="351"/>
                  </a:cubicBezTo>
                  <a:cubicBezTo>
                    <a:pt x="97" y="353"/>
                    <a:pt x="95" y="355"/>
                    <a:pt x="93" y="356"/>
                  </a:cubicBezTo>
                  <a:cubicBezTo>
                    <a:pt x="91" y="359"/>
                    <a:pt x="91" y="362"/>
                    <a:pt x="91" y="365"/>
                  </a:cubicBezTo>
                  <a:cubicBezTo>
                    <a:pt x="91" y="369"/>
                    <a:pt x="92" y="377"/>
                    <a:pt x="96" y="379"/>
                  </a:cubicBezTo>
                  <a:cubicBezTo>
                    <a:pt x="93" y="380"/>
                    <a:pt x="92" y="373"/>
                    <a:pt x="91" y="372"/>
                  </a:cubicBezTo>
                  <a:cubicBezTo>
                    <a:pt x="90" y="368"/>
                    <a:pt x="88" y="367"/>
                    <a:pt x="84" y="368"/>
                  </a:cubicBezTo>
                  <a:cubicBezTo>
                    <a:pt x="83" y="371"/>
                    <a:pt x="83" y="374"/>
                    <a:pt x="84" y="377"/>
                  </a:cubicBezTo>
                  <a:cubicBezTo>
                    <a:pt x="85" y="380"/>
                    <a:pt x="87" y="383"/>
                    <a:pt x="89" y="385"/>
                  </a:cubicBezTo>
                  <a:cubicBezTo>
                    <a:pt x="90" y="386"/>
                    <a:pt x="92" y="387"/>
                    <a:pt x="93" y="388"/>
                  </a:cubicBezTo>
                  <a:cubicBezTo>
                    <a:pt x="94" y="390"/>
                    <a:pt x="97" y="405"/>
                    <a:pt x="101" y="403"/>
                  </a:cubicBezTo>
                  <a:cubicBezTo>
                    <a:pt x="102" y="398"/>
                    <a:pt x="99" y="392"/>
                    <a:pt x="99" y="387"/>
                  </a:cubicBezTo>
                  <a:cubicBezTo>
                    <a:pt x="99" y="383"/>
                    <a:pt x="98" y="380"/>
                    <a:pt x="102" y="378"/>
                  </a:cubicBezTo>
                  <a:cubicBezTo>
                    <a:pt x="105" y="377"/>
                    <a:pt x="105" y="378"/>
                    <a:pt x="107" y="381"/>
                  </a:cubicBezTo>
                  <a:cubicBezTo>
                    <a:pt x="107" y="382"/>
                    <a:pt x="109" y="382"/>
                    <a:pt x="109" y="382"/>
                  </a:cubicBezTo>
                  <a:cubicBezTo>
                    <a:pt x="110" y="384"/>
                    <a:pt x="111" y="385"/>
                    <a:pt x="112" y="386"/>
                  </a:cubicBezTo>
                  <a:cubicBezTo>
                    <a:pt x="113" y="388"/>
                    <a:pt x="115" y="389"/>
                    <a:pt x="117" y="390"/>
                  </a:cubicBezTo>
                  <a:cubicBezTo>
                    <a:pt x="121" y="394"/>
                    <a:pt x="123" y="399"/>
                    <a:pt x="130" y="399"/>
                  </a:cubicBezTo>
                  <a:cubicBezTo>
                    <a:pt x="131" y="395"/>
                    <a:pt x="130" y="395"/>
                    <a:pt x="128" y="391"/>
                  </a:cubicBezTo>
                  <a:cubicBezTo>
                    <a:pt x="127" y="388"/>
                    <a:pt x="127" y="385"/>
                    <a:pt x="127" y="381"/>
                  </a:cubicBezTo>
                  <a:cubicBezTo>
                    <a:pt x="127" y="376"/>
                    <a:pt x="130" y="380"/>
                    <a:pt x="133" y="382"/>
                  </a:cubicBezTo>
                  <a:cubicBezTo>
                    <a:pt x="137" y="384"/>
                    <a:pt x="136" y="385"/>
                    <a:pt x="137" y="390"/>
                  </a:cubicBezTo>
                  <a:cubicBezTo>
                    <a:pt x="139" y="390"/>
                    <a:pt x="142" y="391"/>
                    <a:pt x="145" y="391"/>
                  </a:cubicBezTo>
                  <a:cubicBezTo>
                    <a:pt x="145" y="391"/>
                    <a:pt x="147" y="392"/>
                    <a:pt x="147" y="392"/>
                  </a:cubicBezTo>
                  <a:cubicBezTo>
                    <a:pt x="148" y="392"/>
                    <a:pt x="149" y="390"/>
                    <a:pt x="150" y="390"/>
                  </a:cubicBezTo>
                  <a:cubicBezTo>
                    <a:pt x="153" y="389"/>
                    <a:pt x="154" y="390"/>
                    <a:pt x="156" y="388"/>
                  </a:cubicBezTo>
                  <a:cubicBezTo>
                    <a:pt x="158" y="386"/>
                    <a:pt x="158" y="385"/>
                    <a:pt x="160" y="383"/>
                  </a:cubicBezTo>
                  <a:cubicBezTo>
                    <a:pt x="162" y="381"/>
                    <a:pt x="162" y="380"/>
                    <a:pt x="165" y="381"/>
                  </a:cubicBezTo>
                  <a:cubicBezTo>
                    <a:pt x="166" y="381"/>
                    <a:pt x="166" y="382"/>
                    <a:pt x="166" y="383"/>
                  </a:cubicBezTo>
                  <a:cubicBezTo>
                    <a:pt x="167" y="383"/>
                    <a:pt x="168" y="382"/>
                    <a:pt x="168" y="383"/>
                  </a:cubicBezTo>
                  <a:cubicBezTo>
                    <a:pt x="169" y="383"/>
                    <a:pt x="170" y="383"/>
                    <a:pt x="171" y="383"/>
                  </a:cubicBezTo>
                  <a:cubicBezTo>
                    <a:pt x="174" y="382"/>
                    <a:pt x="175" y="381"/>
                    <a:pt x="174" y="378"/>
                  </a:cubicBezTo>
                  <a:cubicBezTo>
                    <a:pt x="174" y="377"/>
                    <a:pt x="172" y="376"/>
                    <a:pt x="171" y="375"/>
                  </a:cubicBezTo>
                  <a:cubicBezTo>
                    <a:pt x="171" y="374"/>
                    <a:pt x="171" y="373"/>
                    <a:pt x="172" y="372"/>
                  </a:cubicBezTo>
                  <a:cubicBezTo>
                    <a:pt x="175" y="371"/>
                    <a:pt x="177" y="372"/>
                    <a:pt x="180" y="372"/>
                  </a:cubicBezTo>
                  <a:cubicBezTo>
                    <a:pt x="183" y="372"/>
                    <a:pt x="185" y="372"/>
                    <a:pt x="187" y="372"/>
                  </a:cubicBezTo>
                  <a:cubicBezTo>
                    <a:pt x="189" y="371"/>
                    <a:pt x="191" y="370"/>
                    <a:pt x="193" y="369"/>
                  </a:cubicBezTo>
                  <a:cubicBezTo>
                    <a:pt x="196" y="368"/>
                    <a:pt x="197" y="366"/>
                    <a:pt x="201" y="367"/>
                  </a:cubicBezTo>
                  <a:cubicBezTo>
                    <a:pt x="201" y="368"/>
                    <a:pt x="201" y="369"/>
                    <a:pt x="201" y="371"/>
                  </a:cubicBezTo>
                  <a:cubicBezTo>
                    <a:pt x="197" y="370"/>
                    <a:pt x="195" y="375"/>
                    <a:pt x="192" y="375"/>
                  </a:cubicBezTo>
                  <a:cubicBezTo>
                    <a:pt x="190" y="376"/>
                    <a:pt x="189" y="373"/>
                    <a:pt x="187" y="374"/>
                  </a:cubicBezTo>
                  <a:cubicBezTo>
                    <a:pt x="186" y="375"/>
                    <a:pt x="186" y="377"/>
                    <a:pt x="186" y="378"/>
                  </a:cubicBezTo>
                  <a:cubicBezTo>
                    <a:pt x="185" y="378"/>
                    <a:pt x="183" y="378"/>
                    <a:pt x="182" y="378"/>
                  </a:cubicBezTo>
                  <a:cubicBezTo>
                    <a:pt x="180" y="379"/>
                    <a:pt x="182" y="378"/>
                    <a:pt x="180" y="380"/>
                  </a:cubicBezTo>
                  <a:cubicBezTo>
                    <a:pt x="179" y="382"/>
                    <a:pt x="178" y="385"/>
                    <a:pt x="176" y="388"/>
                  </a:cubicBezTo>
                  <a:cubicBezTo>
                    <a:pt x="175" y="389"/>
                    <a:pt x="175" y="390"/>
                    <a:pt x="174" y="391"/>
                  </a:cubicBezTo>
                  <a:cubicBezTo>
                    <a:pt x="174" y="391"/>
                    <a:pt x="174" y="392"/>
                    <a:pt x="173" y="392"/>
                  </a:cubicBezTo>
                  <a:cubicBezTo>
                    <a:pt x="173" y="392"/>
                    <a:pt x="172" y="392"/>
                    <a:pt x="171" y="392"/>
                  </a:cubicBezTo>
                  <a:cubicBezTo>
                    <a:pt x="170" y="393"/>
                    <a:pt x="170" y="394"/>
                    <a:pt x="169" y="395"/>
                  </a:cubicBezTo>
                  <a:cubicBezTo>
                    <a:pt x="169" y="396"/>
                    <a:pt x="169" y="397"/>
                    <a:pt x="169" y="397"/>
                  </a:cubicBezTo>
                  <a:cubicBezTo>
                    <a:pt x="169" y="398"/>
                    <a:pt x="168" y="398"/>
                    <a:pt x="168" y="399"/>
                  </a:cubicBezTo>
                  <a:cubicBezTo>
                    <a:pt x="165" y="402"/>
                    <a:pt x="164" y="409"/>
                    <a:pt x="165" y="414"/>
                  </a:cubicBezTo>
                  <a:cubicBezTo>
                    <a:pt x="166" y="418"/>
                    <a:pt x="171" y="422"/>
                    <a:pt x="172" y="425"/>
                  </a:cubicBezTo>
                  <a:cubicBezTo>
                    <a:pt x="173" y="427"/>
                    <a:pt x="173" y="429"/>
                    <a:pt x="174" y="430"/>
                  </a:cubicBezTo>
                  <a:cubicBezTo>
                    <a:pt x="174" y="431"/>
                    <a:pt x="175" y="432"/>
                    <a:pt x="176" y="433"/>
                  </a:cubicBezTo>
                  <a:cubicBezTo>
                    <a:pt x="176" y="434"/>
                    <a:pt x="177" y="434"/>
                    <a:pt x="177" y="435"/>
                  </a:cubicBezTo>
                  <a:cubicBezTo>
                    <a:pt x="178" y="435"/>
                    <a:pt x="177" y="436"/>
                    <a:pt x="177" y="437"/>
                  </a:cubicBezTo>
                  <a:cubicBezTo>
                    <a:pt x="180" y="441"/>
                    <a:pt x="186" y="442"/>
                    <a:pt x="185" y="448"/>
                  </a:cubicBezTo>
                  <a:cubicBezTo>
                    <a:pt x="184" y="450"/>
                    <a:pt x="182" y="452"/>
                    <a:pt x="185" y="454"/>
                  </a:cubicBezTo>
                  <a:cubicBezTo>
                    <a:pt x="185" y="455"/>
                    <a:pt x="187" y="456"/>
                    <a:pt x="188" y="456"/>
                  </a:cubicBezTo>
                  <a:cubicBezTo>
                    <a:pt x="190" y="455"/>
                    <a:pt x="189" y="454"/>
                    <a:pt x="190" y="453"/>
                  </a:cubicBezTo>
                  <a:cubicBezTo>
                    <a:pt x="192" y="452"/>
                    <a:pt x="193" y="453"/>
                    <a:pt x="195" y="451"/>
                  </a:cubicBezTo>
                  <a:cubicBezTo>
                    <a:pt x="196" y="449"/>
                    <a:pt x="196" y="447"/>
                    <a:pt x="199" y="448"/>
                  </a:cubicBezTo>
                  <a:cubicBezTo>
                    <a:pt x="202" y="449"/>
                    <a:pt x="203" y="452"/>
                    <a:pt x="205" y="448"/>
                  </a:cubicBezTo>
                  <a:cubicBezTo>
                    <a:pt x="206" y="446"/>
                    <a:pt x="206" y="442"/>
                    <a:pt x="209" y="443"/>
                  </a:cubicBezTo>
                  <a:cubicBezTo>
                    <a:pt x="212" y="443"/>
                    <a:pt x="213" y="447"/>
                    <a:pt x="212" y="449"/>
                  </a:cubicBezTo>
                  <a:cubicBezTo>
                    <a:pt x="212" y="452"/>
                    <a:pt x="209" y="452"/>
                    <a:pt x="208" y="455"/>
                  </a:cubicBezTo>
                  <a:cubicBezTo>
                    <a:pt x="206" y="455"/>
                    <a:pt x="205" y="459"/>
                    <a:pt x="205" y="461"/>
                  </a:cubicBezTo>
                  <a:cubicBezTo>
                    <a:pt x="205" y="461"/>
                    <a:pt x="206" y="462"/>
                    <a:pt x="206" y="462"/>
                  </a:cubicBezTo>
                  <a:cubicBezTo>
                    <a:pt x="206" y="463"/>
                    <a:pt x="206" y="464"/>
                    <a:pt x="206" y="465"/>
                  </a:cubicBezTo>
                  <a:cubicBezTo>
                    <a:pt x="205" y="466"/>
                    <a:pt x="205" y="466"/>
                    <a:pt x="204" y="468"/>
                  </a:cubicBezTo>
                  <a:cubicBezTo>
                    <a:pt x="204" y="468"/>
                    <a:pt x="203" y="467"/>
                    <a:pt x="203" y="467"/>
                  </a:cubicBezTo>
                  <a:cubicBezTo>
                    <a:pt x="202" y="468"/>
                    <a:pt x="202" y="468"/>
                    <a:pt x="202" y="469"/>
                  </a:cubicBezTo>
                  <a:cubicBezTo>
                    <a:pt x="201" y="469"/>
                    <a:pt x="200" y="470"/>
                    <a:pt x="200" y="471"/>
                  </a:cubicBezTo>
                  <a:cubicBezTo>
                    <a:pt x="198" y="473"/>
                    <a:pt x="197" y="474"/>
                    <a:pt x="199" y="476"/>
                  </a:cubicBezTo>
                  <a:cubicBezTo>
                    <a:pt x="198" y="478"/>
                    <a:pt x="196" y="478"/>
                    <a:pt x="195" y="480"/>
                  </a:cubicBezTo>
                  <a:cubicBezTo>
                    <a:pt x="193" y="483"/>
                    <a:pt x="195" y="483"/>
                    <a:pt x="196" y="485"/>
                  </a:cubicBezTo>
                  <a:cubicBezTo>
                    <a:pt x="197" y="487"/>
                    <a:pt x="198" y="490"/>
                    <a:pt x="197" y="492"/>
                  </a:cubicBezTo>
                  <a:cubicBezTo>
                    <a:pt x="196" y="494"/>
                    <a:pt x="194" y="494"/>
                    <a:pt x="194" y="498"/>
                  </a:cubicBezTo>
                  <a:cubicBezTo>
                    <a:pt x="194" y="500"/>
                    <a:pt x="195" y="502"/>
                    <a:pt x="194" y="504"/>
                  </a:cubicBezTo>
                  <a:cubicBezTo>
                    <a:pt x="194" y="506"/>
                    <a:pt x="195" y="510"/>
                    <a:pt x="194" y="511"/>
                  </a:cubicBezTo>
                  <a:cubicBezTo>
                    <a:pt x="193" y="515"/>
                    <a:pt x="187" y="512"/>
                    <a:pt x="188" y="516"/>
                  </a:cubicBezTo>
                  <a:cubicBezTo>
                    <a:pt x="188" y="517"/>
                    <a:pt x="190" y="518"/>
                    <a:pt x="190" y="519"/>
                  </a:cubicBezTo>
                  <a:cubicBezTo>
                    <a:pt x="190" y="520"/>
                    <a:pt x="189" y="521"/>
                    <a:pt x="189" y="522"/>
                  </a:cubicBezTo>
                  <a:cubicBezTo>
                    <a:pt x="187" y="523"/>
                    <a:pt x="186" y="521"/>
                    <a:pt x="185" y="519"/>
                  </a:cubicBezTo>
                  <a:cubicBezTo>
                    <a:pt x="184" y="518"/>
                    <a:pt x="182" y="518"/>
                    <a:pt x="181" y="517"/>
                  </a:cubicBezTo>
                  <a:cubicBezTo>
                    <a:pt x="180" y="516"/>
                    <a:pt x="179" y="514"/>
                    <a:pt x="178" y="514"/>
                  </a:cubicBezTo>
                  <a:cubicBezTo>
                    <a:pt x="176" y="513"/>
                    <a:pt x="173" y="515"/>
                    <a:pt x="174" y="517"/>
                  </a:cubicBezTo>
                  <a:cubicBezTo>
                    <a:pt x="169" y="518"/>
                    <a:pt x="161" y="511"/>
                    <a:pt x="157" y="514"/>
                  </a:cubicBezTo>
                  <a:cubicBezTo>
                    <a:pt x="163" y="515"/>
                    <a:pt x="160" y="523"/>
                    <a:pt x="163" y="525"/>
                  </a:cubicBezTo>
                  <a:cubicBezTo>
                    <a:pt x="160" y="525"/>
                    <a:pt x="155" y="524"/>
                    <a:pt x="152" y="525"/>
                  </a:cubicBezTo>
                  <a:cubicBezTo>
                    <a:pt x="150" y="526"/>
                    <a:pt x="151" y="530"/>
                    <a:pt x="148" y="531"/>
                  </a:cubicBezTo>
                  <a:cubicBezTo>
                    <a:pt x="148" y="531"/>
                    <a:pt x="146" y="532"/>
                    <a:pt x="146" y="532"/>
                  </a:cubicBezTo>
                  <a:cubicBezTo>
                    <a:pt x="144" y="533"/>
                    <a:pt x="143" y="533"/>
                    <a:pt x="142" y="531"/>
                  </a:cubicBezTo>
                  <a:cubicBezTo>
                    <a:pt x="141" y="529"/>
                    <a:pt x="143" y="529"/>
                    <a:pt x="143" y="528"/>
                  </a:cubicBezTo>
                  <a:cubicBezTo>
                    <a:pt x="144" y="526"/>
                    <a:pt x="144" y="526"/>
                    <a:pt x="144" y="523"/>
                  </a:cubicBezTo>
                  <a:cubicBezTo>
                    <a:pt x="142" y="522"/>
                    <a:pt x="142" y="524"/>
                    <a:pt x="141" y="525"/>
                  </a:cubicBezTo>
                  <a:cubicBezTo>
                    <a:pt x="139" y="525"/>
                    <a:pt x="138" y="525"/>
                    <a:pt x="136" y="525"/>
                  </a:cubicBezTo>
                  <a:cubicBezTo>
                    <a:pt x="136" y="523"/>
                    <a:pt x="136" y="522"/>
                    <a:pt x="135" y="520"/>
                  </a:cubicBezTo>
                  <a:cubicBezTo>
                    <a:pt x="134" y="518"/>
                    <a:pt x="132" y="515"/>
                    <a:pt x="130" y="514"/>
                  </a:cubicBezTo>
                  <a:cubicBezTo>
                    <a:pt x="128" y="512"/>
                    <a:pt x="123" y="513"/>
                    <a:pt x="120" y="513"/>
                  </a:cubicBezTo>
                  <a:cubicBezTo>
                    <a:pt x="116" y="513"/>
                    <a:pt x="112" y="516"/>
                    <a:pt x="114" y="521"/>
                  </a:cubicBezTo>
                  <a:cubicBezTo>
                    <a:pt x="115" y="523"/>
                    <a:pt x="119" y="525"/>
                    <a:pt x="118" y="526"/>
                  </a:cubicBezTo>
                  <a:cubicBezTo>
                    <a:pt x="116" y="529"/>
                    <a:pt x="109" y="520"/>
                    <a:pt x="107" y="521"/>
                  </a:cubicBezTo>
                  <a:cubicBezTo>
                    <a:pt x="109" y="525"/>
                    <a:pt x="112" y="529"/>
                    <a:pt x="115" y="531"/>
                  </a:cubicBezTo>
                  <a:cubicBezTo>
                    <a:pt x="118" y="534"/>
                    <a:pt x="121" y="532"/>
                    <a:pt x="122" y="537"/>
                  </a:cubicBezTo>
                  <a:cubicBezTo>
                    <a:pt x="125" y="537"/>
                    <a:pt x="124" y="539"/>
                    <a:pt x="126" y="541"/>
                  </a:cubicBezTo>
                  <a:cubicBezTo>
                    <a:pt x="127" y="543"/>
                    <a:pt x="129" y="543"/>
                    <a:pt x="130" y="545"/>
                  </a:cubicBezTo>
                  <a:cubicBezTo>
                    <a:pt x="129" y="545"/>
                    <a:pt x="128" y="548"/>
                    <a:pt x="127" y="549"/>
                  </a:cubicBezTo>
                  <a:cubicBezTo>
                    <a:pt x="125" y="552"/>
                    <a:pt x="124" y="556"/>
                    <a:pt x="123" y="560"/>
                  </a:cubicBezTo>
                  <a:cubicBezTo>
                    <a:pt x="123" y="559"/>
                    <a:pt x="123" y="559"/>
                    <a:pt x="123" y="558"/>
                  </a:cubicBezTo>
                  <a:cubicBezTo>
                    <a:pt x="122" y="560"/>
                    <a:pt x="120" y="562"/>
                    <a:pt x="118" y="563"/>
                  </a:cubicBezTo>
                  <a:cubicBezTo>
                    <a:pt x="117" y="564"/>
                    <a:pt x="114" y="563"/>
                    <a:pt x="112" y="564"/>
                  </a:cubicBezTo>
                  <a:cubicBezTo>
                    <a:pt x="112" y="564"/>
                    <a:pt x="111" y="565"/>
                    <a:pt x="110" y="566"/>
                  </a:cubicBezTo>
                  <a:cubicBezTo>
                    <a:pt x="109" y="567"/>
                    <a:pt x="109" y="566"/>
                    <a:pt x="108" y="568"/>
                  </a:cubicBezTo>
                  <a:cubicBezTo>
                    <a:pt x="106" y="570"/>
                    <a:pt x="106" y="572"/>
                    <a:pt x="107" y="574"/>
                  </a:cubicBezTo>
                  <a:cubicBezTo>
                    <a:pt x="108" y="574"/>
                    <a:pt x="110" y="574"/>
                    <a:pt x="112" y="574"/>
                  </a:cubicBezTo>
                  <a:cubicBezTo>
                    <a:pt x="113" y="574"/>
                    <a:pt x="112" y="575"/>
                    <a:pt x="113" y="576"/>
                  </a:cubicBezTo>
                  <a:cubicBezTo>
                    <a:pt x="114" y="576"/>
                    <a:pt x="116" y="576"/>
                    <a:pt x="117" y="576"/>
                  </a:cubicBezTo>
                  <a:cubicBezTo>
                    <a:pt x="122" y="577"/>
                    <a:pt x="121" y="570"/>
                    <a:pt x="124" y="567"/>
                  </a:cubicBezTo>
                  <a:cubicBezTo>
                    <a:pt x="126" y="564"/>
                    <a:pt x="129" y="563"/>
                    <a:pt x="132" y="561"/>
                  </a:cubicBezTo>
                  <a:cubicBezTo>
                    <a:pt x="135" y="559"/>
                    <a:pt x="141" y="558"/>
                    <a:pt x="144" y="559"/>
                  </a:cubicBezTo>
                  <a:cubicBezTo>
                    <a:pt x="144" y="561"/>
                    <a:pt x="143" y="562"/>
                    <a:pt x="143" y="563"/>
                  </a:cubicBezTo>
                  <a:cubicBezTo>
                    <a:pt x="142" y="565"/>
                    <a:pt x="142" y="565"/>
                    <a:pt x="142" y="567"/>
                  </a:cubicBezTo>
                  <a:cubicBezTo>
                    <a:pt x="142" y="570"/>
                    <a:pt x="146" y="574"/>
                    <a:pt x="142" y="574"/>
                  </a:cubicBezTo>
                  <a:cubicBezTo>
                    <a:pt x="142" y="576"/>
                    <a:pt x="141" y="577"/>
                    <a:pt x="141" y="578"/>
                  </a:cubicBezTo>
                  <a:cubicBezTo>
                    <a:pt x="141" y="580"/>
                    <a:pt x="143" y="582"/>
                    <a:pt x="143" y="584"/>
                  </a:cubicBezTo>
                  <a:cubicBezTo>
                    <a:pt x="143" y="585"/>
                    <a:pt x="139" y="589"/>
                    <a:pt x="143" y="590"/>
                  </a:cubicBezTo>
                  <a:cubicBezTo>
                    <a:pt x="143" y="592"/>
                    <a:pt x="145" y="595"/>
                    <a:pt x="144" y="597"/>
                  </a:cubicBezTo>
                  <a:cubicBezTo>
                    <a:pt x="144" y="598"/>
                    <a:pt x="143" y="598"/>
                    <a:pt x="142" y="600"/>
                  </a:cubicBezTo>
                  <a:cubicBezTo>
                    <a:pt x="141" y="601"/>
                    <a:pt x="141" y="602"/>
                    <a:pt x="141" y="603"/>
                  </a:cubicBezTo>
                  <a:cubicBezTo>
                    <a:pt x="141" y="605"/>
                    <a:pt x="140" y="606"/>
                    <a:pt x="139" y="608"/>
                  </a:cubicBezTo>
                  <a:cubicBezTo>
                    <a:pt x="139" y="609"/>
                    <a:pt x="140" y="611"/>
                    <a:pt x="139" y="612"/>
                  </a:cubicBezTo>
                  <a:cubicBezTo>
                    <a:pt x="139" y="613"/>
                    <a:pt x="137" y="613"/>
                    <a:pt x="137" y="614"/>
                  </a:cubicBezTo>
                  <a:cubicBezTo>
                    <a:pt x="136" y="615"/>
                    <a:pt x="136" y="616"/>
                    <a:pt x="136" y="617"/>
                  </a:cubicBezTo>
                  <a:cubicBezTo>
                    <a:pt x="134" y="621"/>
                    <a:pt x="134" y="619"/>
                    <a:pt x="132" y="620"/>
                  </a:cubicBezTo>
                  <a:cubicBezTo>
                    <a:pt x="130" y="621"/>
                    <a:pt x="129" y="623"/>
                    <a:pt x="128" y="624"/>
                  </a:cubicBezTo>
                  <a:cubicBezTo>
                    <a:pt x="127" y="624"/>
                    <a:pt x="126" y="625"/>
                    <a:pt x="125" y="625"/>
                  </a:cubicBezTo>
                  <a:cubicBezTo>
                    <a:pt x="125" y="626"/>
                    <a:pt x="124" y="625"/>
                    <a:pt x="123" y="626"/>
                  </a:cubicBezTo>
                  <a:cubicBezTo>
                    <a:pt x="122" y="626"/>
                    <a:pt x="121" y="629"/>
                    <a:pt x="120" y="630"/>
                  </a:cubicBezTo>
                  <a:cubicBezTo>
                    <a:pt x="118" y="631"/>
                    <a:pt x="115" y="629"/>
                    <a:pt x="113" y="630"/>
                  </a:cubicBezTo>
                  <a:cubicBezTo>
                    <a:pt x="113" y="630"/>
                    <a:pt x="112" y="631"/>
                    <a:pt x="112" y="631"/>
                  </a:cubicBezTo>
                  <a:cubicBezTo>
                    <a:pt x="111" y="631"/>
                    <a:pt x="109" y="631"/>
                    <a:pt x="109" y="631"/>
                  </a:cubicBezTo>
                  <a:cubicBezTo>
                    <a:pt x="108" y="632"/>
                    <a:pt x="106" y="633"/>
                    <a:pt x="105" y="634"/>
                  </a:cubicBezTo>
                  <a:cubicBezTo>
                    <a:pt x="104" y="635"/>
                    <a:pt x="104" y="637"/>
                    <a:pt x="103" y="638"/>
                  </a:cubicBezTo>
                  <a:cubicBezTo>
                    <a:pt x="101" y="640"/>
                    <a:pt x="95" y="639"/>
                    <a:pt x="93" y="637"/>
                  </a:cubicBezTo>
                  <a:cubicBezTo>
                    <a:pt x="91" y="636"/>
                    <a:pt x="92" y="635"/>
                    <a:pt x="89" y="636"/>
                  </a:cubicBezTo>
                  <a:cubicBezTo>
                    <a:pt x="87" y="638"/>
                    <a:pt x="88" y="639"/>
                    <a:pt x="87" y="642"/>
                  </a:cubicBezTo>
                  <a:cubicBezTo>
                    <a:pt x="86" y="643"/>
                    <a:pt x="82" y="642"/>
                    <a:pt x="82" y="643"/>
                  </a:cubicBezTo>
                  <a:cubicBezTo>
                    <a:pt x="81" y="644"/>
                    <a:pt x="82" y="648"/>
                    <a:pt x="81" y="650"/>
                  </a:cubicBezTo>
                  <a:cubicBezTo>
                    <a:pt x="79" y="653"/>
                    <a:pt x="76" y="651"/>
                    <a:pt x="75" y="655"/>
                  </a:cubicBezTo>
                  <a:cubicBezTo>
                    <a:pt x="77" y="655"/>
                    <a:pt x="82" y="654"/>
                    <a:pt x="85" y="655"/>
                  </a:cubicBezTo>
                  <a:cubicBezTo>
                    <a:pt x="88" y="656"/>
                    <a:pt x="86" y="658"/>
                    <a:pt x="85" y="660"/>
                  </a:cubicBezTo>
                  <a:cubicBezTo>
                    <a:pt x="83" y="662"/>
                    <a:pt x="82" y="663"/>
                    <a:pt x="79" y="664"/>
                  </a:cubicBezTo>
                  <a:cubicBezTo>
                    <a:pt x="78" y="665"/>
                    <a:pt x="77" y="664"/>
                    <a:pt x="76" y="666"/>
                  </a:cubicBezTo>
                  <a:cubicBezTo>
                    <a:pt x="76" y="669"/>
                    <a:pt x="77" y="669"/>
                    <a:pt x="79" y="670"/>
                  </a:cubicBezTo>
                  <a:cubicBezTo>
                    <a:pt x="82" y="672"/>
                    <a:pt x="84" y="672"/>
                    <a:pt x="87" y="672"/>
                  </a:cubicBezTo>
                  <a:cubicBezTo>
                    <a:pt x="88" y="672"/>
                    <a:pt x="89" y="672"/>
                    <a:pt x="89" y="672"/>
                  </a:cubicBezTo>
                  <a:cubicBezTo>
                    <a:pt x="90" y="673"/>
                    <a:pt x="90" y="674"/>
                    <a:pt x="90" y="674"/>
                  </a:cubicBezTo>
                  <a:cubicBezTo>
                    <a:pt x="92" y="675"/>
                    <a:pt x="93" y="675"/>
                    <a:pt x="95" y="675"/>
                  </a:cubicBezTo>
                  <a:cubicBezTo>
                    <a:pt x="97" y="675"/>
                    <a:pt x="100" y="675"/>
                    <a:pt x="102" y="675"/>
                  </a:cubicBezTo>
                  <a:cubicBezTo>
                    <a:pt x="104" y="676"/>
                    <a:pt x="103" y="676"/>
                    <a:pt x="105" y="677"/>
                  </a:cubicBezTo>
                  <a:cubicBezTo>
                    <a:pt x="105" y="678"/>
                    <a:pt x="105" y="679"/>
                    <a:pt x="107" y="678"/>
                  </a:cubicBezTo>
                  <a:cubicBezTo>
                    <a:pt x="110" y="677"/>
                    <a:pt x="107" y="674"/>
                    <a:pt x="108" y="672"/>
                  </a:cubicBezTo>
                  <a:cubicBezTo>
                    <a:pt x="111" y="671"/>
                    <a:pt x="113" y="671"/>
                    <a:pt x="116" y="671"/>
                  </a:cubicBezTo>
                  <a:cubicBezTo>
                    <a:pt x="119" y="671"/>
                    <a:pt x="119" y="669"/>
                    <a:pt x="122" y="669"/>
                  </a:cubicBezTo>
                  <a:cubicBezTo>
                    <a:pt x="125" y="668"/>
                    <a:pt x="127" y="668"/>
                    <a:pt x="128" y="671"/>
                  </a:cubicBezTo>
                  <a:cubicBezTo>
                    <a:pt x="128" y="673"/>
                    <a:pt x="127" y="677"/>
                    <a:pt x="128" y="678"/>
                  </a:cubicBezTo>
                  <a:cubicBezTo>
                    <a:pt x="129" y="679"/>
                    <a:pt x="131" y="679"/>
                    <a:pt x="131" y="679"/>
                  </a:cubicBezTo>
                  <a:cubicBezTo>
                    <a:pt x="133" y="680"/>
                    <a:pt x="133" y="682"/>
                    <a:pt x="134" y="682"/>
                  </a:cubicBezTo>
                  <a:cubicBezTo>
                    <a:pt x="135" y="683"/>
                    <a:pt x="139" y="682"/>
                    <a:pt x="140" y="682"/>
                  </a:cubicBezTo>
                  <a:cubicBezTo>
                    <a:pt x="143" y="682"/>
                    <a:pt x="143" y="682"/>
                    <a:pt x="145" y="680"/>
                  </a:cubicBezTo>
                  <a:cubicBezTo>
                    <a:pt x="148" y="678"/>
                    <a:pt x="147" y="678"/>
                    <a:pt x="147" y="675"/>
                  </a:cubicBezTo>
                  <a:cubicBezTo>
                    <a:pt x="148" y="672"/>
                    <a:pt x="148" y="671"/>
                    <a:pt x="151" y="672"/>
                  </a:cubicBezTo>
                  <a:cubicBezTo>
                    <a:pt x="153" y="672"/>
                    <a:pt x="154" y="672"/>
                    <a:pt x="155" y="675"/>
                  </a:cubicBezTo>
                  <a:cubicBezTo>
                    <a:pt x="155" y="676"/>
                    <a:pt x="154" y="678"/>
                    <a:pt x="155" y="678"/>
                  </a:cubicBezTo>
                  <a:cubicBezTo>
                    <a:pt x="156" y="680"/>
                    <a:pt x="158" y="680"/>
                    <a:pt x="160" y="681"/>
                  </a:cubicBezTo>
                  <a:cubicBezTo>
                    <a:pt x="162" y="682"/>
                    <a:pt x="163" y="684"/>
                    <a:pt x="165" y="686"/>
                  </a:cubicBezTo>
                  <a:cubicBezTo>
                    <a:pt x="166" y="689"/>
                    <a:pt x="167" y="691"/>
                    <a:pt x="169" y="691"/>
                  </a:cubicBezTo>
                  <a:cubicBezTo>
                    <a:pt x="171" y="692"/>
                    <a:pt x="172" y="691"/>
                    <a:pt x="173" y="692"/>
                  </a:cubicBezTo>
                  <a:cubicBezTo>
                    <a:pt x="176" y="693"/>
                    <a:pt x="176" y="694"/>
                    <a:pt x="179" y="695"/>
                  </a:cubicBezTo>
                  <a:cubicBezTo>
                    <a:pt x="182" y="696"/>
                    <a:pt x="185" y="697"/>
                    <a:pt x="189" y="697"/>
                  </a:cubicBezTo>
                  <a:cubicBezTo>
                    <a:pt x="191" y="697"/>
                    <a:pt x="193" y="696"/>
                    <a:pt x="194" y="694"/>
                  </a:cubicBezTo>
                  <a:cubicBezTo>
                    <a:pt x="195" y="691"/>
                    <a:pt x="192" y="689"/>
                    <a:pt x="194" y="687"/>
                  </a:cubicBezTo>
                  <a:cubicBezTo>
                    <a:pt x="196" y="685"/>
                    <a:pt x="196" y="685"/>
                    <a:pt x="198" y="685"/>
                  </a:cubicBezTo>
                  <a:cubicBezTo>
                    <a:pt x="198" y="685"/>
                    <a:pt x="199" y="685"/>
                    <a:pt x="200" y="685"/>
                  </a:cubicBezTo>
                  <a:cubicBezTo>
                    <a:pt x="201" y="685"/>
                    <a:pt x="201" y="684"/>
                    <a:pt x="202" y="683"/>
                  </a:cubicBezTo>
                  <a:cubicBezTo>
                    <a:pt x="203" y="683"/>
                    <a:pt x="204" y="683"/>
                    <a:pt x="205" y="682"/>
                  </a:cubicBezTo>
                  <a:cubicBezTo>
                    <a:pt x="206" y="682"/>
                    <a:pt x="208" y="680"/>
                    <a:pt x="209" y="679"/>
                  </a:cubicBezTo>
                  <a:cubicBezTo>
                    <a:pt x="211" y="678"/>
                    <a:pt x="214" y="680"/>
                    <a:pt x="216" y="678"/>
                  </a:cubicBezTo>
                  <a:cubicBezTo>
                    <a:pt x="218" y="677"/>
                    <a:pt x="218" y="676"/>
                    <a:pt x="219" y="675"/>
                  </a:cubicBezTo>
                  <a:cubicBezTo>
                    <a:pt x="220" y="674"/>
                    <a:pt x="221" y="675"/>
                    <a:pt x="222" y="675"/>
                  </a:cubicBezTo>
                  <a:cubicBezTo>
                    <a:pt x="223" y="674"/>
                    <a:pt x="223" y="673"/>
                    <a:pt x="224" y="673"/>
                  </a:cubicBezTo>
                  <a:cubicBezTo>
                    <a:pt x="225" y="674"/>
                    <a:pt x="218" y="677"/>
                    <a:pt x="217" y="679"/>
                  </a:cubicBezTo>
                  <a:cubicBezTo>
                    <a:pt x="215" y="680"/>
                    <a:pt x="216" y="682"/>
                    <a:pt x="215" y="683"/>
                  </a:cubicBezTo>
                  <a:cubicBezTo>
                    <a:pt x="214" y="686"/>
                    <a:pt x="212" y="686"/>
                    <a:pt x="210" y="687"/>
                  </a:cubicBezTo>
                  <a:cubicBezTo>
                    <a:pt x="208" y="689"/>
                    <a:pt x="206" y="690"/>
                    <a:pt x="204" y="692"/>
                  </a:cubicBezTo>
                  <a:cubicBezTo>
                    <a:pt x="204" y="693"/>
                    <a:pt x="203" y="695"/>
                    <a:pt x="202" y="696"/>
                  </a:cubicBezTo>
                  <a:cubicBezTo>
                    <a:pt x="202" y="696"/>
                    <a:pt x="202" y="697"/>
                    <a:pt x="202" y="698"/>
                  </a:cubicBezTo>
                  <a:cubicBezTo>
                    <a:pt x="201" y="698"/>
                    <a:pt x="200" y="700"/>
                    <a:pt x="200" y="700"/>
                  </a:cubicBezTo>
                  <a:cubicBezTo>
                    <a:pt x="199" y="704"/>
                    <a:pt x="200" y="708"/>
                    <a:pt x="195" y="709"/>
                  </a:cubicBezTo>
                  <a:cubicBezTo>
                    <a:pt x="193" y="709"/>
                    <a:pt x="192" y="709"/>
                    <a:pt x="190" y="709"/>
                  </a:cubicBezTo>
                  <a:cubicBezTo>
                    <a:pt x="190" y="709"/>
                    <a:pt x="188" y="708"/>
                    <a:pt x="187" y="709"/>
                  </a:cubicBezTo>
                  <a:cubicBezTo>
                    <a:pt x="186" y="709"/>
                    <a:pt x="186" y="710"/>
                    <a:pt x="185" y="711"/>
                  </a:cubicBezTo>
                  <a:cubicBezTo>
                    <a:pt x="182" y="713"/>
                    <a:pt x="179" y="711"/>
                    <a:pt x="177" y="709"/>
                  </a:cubicBezTo>
                  <a:cubicBezTo>
                    <a:pt x="174" y="707"/>
                    <a:pt x="169" y="708"/>
                    <a:pt x="165" y="708"/>
                  </a:cubicBezTo>
                  <a:cubicBezTo>
                    <a:pt x="161" y="708"/>
                    <a:pt x="157" y="707"/>
                    <a:pt x="152" y="707"/>
                  </a:cubicBezTo>
                  <a:cubicBezTo>
                    <a:pt x="149" y="707"/>
                    <a:pt x="145" y="708"/>
                    <a:pt x="141" y="708"/>
                  </a:cubicBezTo>
                  <a:cubicBezTo>
                    <a:pt x="137" y="708"/>
                    <a:pt x="134" y="707"/>
                    <a:pt x="134" y="712"/>
                  </a:cubicBezTo>
                  <a:cubicBezTo>
                    <a:pt x="134" y="714"/>
                    <a:pt x="134" y="715"/>
                    <a:pt x="133" y="717"/>
                  </a:cubicBezTo>
                  <a:cubicBezTo>
                    <a:pt x="133" y="717"/>
                    <a:pt x="132" y="718"/>
                    <a:pt x="132" y="719"/>
                  </a:cubicBezTo>
                  <a:cubicBezTo>
                    <a:pt x="132" y="720"/>
                    <a:pt x="132" y="722"/>
                    <a:pt x="132" y="724"/>
                  </a:cubicBezTo>
                  <a:cubicBezTo>
                    <a:pt x="132" y="726"/>
                    <a:pt x="132" y="727"/>
                    <a:pt x="130" y="728"/>
                  </a:cubicBezTo>
                  <a:cubicBezTo>
                    <a:pt x="129" y="729"/>
                    <a:pt x="125" y="729"/>
                    <a:pt x="124" y="728"/>
                  </a:cubicBezTo>
                  <a:cubicBezTo>
                    <a:pt x="123" y="727"/>
                    <a:pt x="122" y="721"/>
                    <a:pt x="118" y="724"/>
                  </a:cubicBezTo>
                  <a:cubicBezTo>
                    <a:pt x="116" y="727"/>
                    <a:pt x="117" y="733"/>
                    <a:pt x="117" y="736"/>
                  </a:cubicBezTo>
                  <a:cubicBezTo>
                    <a:pt x="117" y="738"/>
                    <a:pt x="117" y="740"/>
                    <a:pt x="116" y="742"/>
                  </a:cubicBezTo>
                  <a:cubicBezTo>
                    <a:pt x="115" y="744"/>
                    <a:pt x="114" y="746"/>
                    <a:pt x="114" y="748"/>
                  </a:cubicBezTo>
                  <a:cubicBezTo>
                    <a:pt x="113" y="749"/>
                    <a:pt x="110" y="750"/>
                    <a:pt x="109" y="751"/>
                  </a:cubicBezTo>
                  <a:cubicBezTo>
                    <a:pt x="108" y="753"/>
                    <a:pt x="107" y="755"/>
                    <a:pt x="106" y="756"/>
                  </a:cubicBezTo>
                  <a:cubicBezTo>
                    <a:pt x="105" y="758"/>
                    <a:pt x="105" y="760"/>
                    <a:pt x="104" y="761"/>
                  </a:cubicBezTo>
                  <a:cubicBezTo>
                    <a:pt x="103" y="763"/>
                    <a:pt x="101" y="762"/>
                    <a:pt x="100" y="762"/>
                  </a:cubicBezTo>
                  <a:cubicBezTo>
                    <a:pt x="96" y="763"/>
                    <a:pt x="96" y="763"/>
                    <a:pt x="94" y="766"/>
                  </a:cubicBezTo>
                  <a:cubicBezTo>
                    <a:pt x="94" y="767"/>
                    <a:pt x="92" y="769"/>
                    <a:pt x="91" y="770"/>
                  </a:cubicBezTo>
                  <a:cubicBezTo>
                    <a:pt x="91" y="771"/>
                    <a:pt x="91" y="771"/>
                    <a:pt x="92" y="772"/>
                  </a:cubicBezTo>
                  <a:cubicBezTo>
                    <a:pt x="91" y="773"/>
                    <a:pt x="91" y="774"/>
                    <a:pt x="90" y="775"/>
                  </a:cubicBezTo>
                  <a:cubicBezTo>
                    <a:pt x="83" y="781"/>
                    <a:pt x="83" y="781"/>
                    <a:pt x="83" y="781"/>
                  </a:cubicBezTo>
                  <a:cubicBezTo>
                    <a:pt x="83" y="782"/>
                    <a:pt x="82" y="782"/>
                    <a:pt x="82" y="783"/>
                  </a:cubicBezTo>
                  <a:cubicBezTo>
                    <a:pt x="82" y="783"/>
                    <a:pt x="82" y="783"/>
                    <a:pt x="81" y="784"/>
                  </a:cubicBezTo>
                  <a:cubicBezTo>
                    <a:pt x="81" y="784"/>
                    <a:pt x="81" y="784"/>
                    <a:pt x="81" y="784"/>
                  </a:cubicBezTo>
                  <a:cubicBezTo>
                    <a:pt x="80" y="784"/>
                    <a:pt x="81" y="785"/>
                    <a:pt x="81" y="785"/>
                  </a:cubicBezTo>
                  <a:cubicBezTo>
                    <a:pt x="81" y="786"/>
                    <a:pt x="81" y="786"/>
                    <a:pt x="81" y="787"/>
                  </a:cubicBezTo>
                  <a:cubicBezTo>
                    <a:pt x="81" y="787"/>
                    <a:pt x="81" y="787"/>
                    <a:pt x="80" y="787"/>
                  </a:cubicBezTo>
                  <a:cubicBezTo>
                    <a:pt x="80" y="787"/>
                    <a:pt x="80" y="788"/>
                    <a:pt x="79" y="788"/>
                  </a:cubicBezTo>
                  <a:cubicBezTo>
                    <a:pt x="79" y="788"/>
                    <a:pt x="78" y="788"/>
                    <a:pt x="78" y="788"/>
                  </a:cubicBezTo>
                  <a:cubicBezTo>
                    <a:pt x="77" y="789"/>
                    <a:pt x="77" y="790"/>
                    <a:pt x="76" y="791"/>
                  </a:cubicBezTo>
                  <a:cubicBezTo>
                    <a:pt x="75" y="792"/>
                    <a:pt x="74" y="793"/>
                    <a:pt x="73" y="793"/>
                  </a:cubicBezTo>
                  <a:cubicBezTo>
                    <a:pt x="73" y="793"/>
                    <a:pt x="73" y="793"/>
                    <a:pt x="73" y="793"/>
                  </a:cubicBezTo>
                  <a:cubicBezTo>
                    <a:pt x="72" y="794"/>
                    <a:pt x="72" y="794"/>
                    <a:pt x="72" y="794"/>
                  </a:cubicBezTo>
                  <a:cubicBezTo>
                    <a:pt x="71" y="795"/>
                    <a:pt x="71" y="795"/>
                    <a:pt x="70" y="796"/>
                  </a:cubicBezTo>
                  <a:cubicBezTo>
                    <a:pt x="70" y="796"/>
                    <a:pt x="70" y="796"/>
                    <a:pt x="70" y="796"/>
                  </a:cubicBezTo>
                  <a:cubicBezTo>
                    <a:pt x="69" y="796"/>
                    <a:pt x="67" y="795"/>
                    <a:pt x="67" y="795"/>
                  </a:cubicBezTo>
                  <a:cubicBezTo>
                    <a:pt x="67" y="795"/>
                    <a:pt x="66" y="794"/>
                    <a:pt x="66" y="794"/>
                  </a:cubicBezTo>
                  <a:cubicBezTo>
                    <a:pt x="66" y="794"/>
                    <a:pt x="66" y="793"/>
                    <a:pt x="65" y="793"/>
                  </a:cubicBezTo>
                  <a:cubicBezTo>
                    <a:pt x="65" y="793"/>
                    <a:pt x="64" y="794"/>
                    <a:pt x="64" y="794"/>
                  </a:cubicBezTo>
                  <a:cubicBezTo>
                    <a:pt x="63" y="794"/>
                    <a:pt x="63" y="794"/>
                    <a:pt x="63" y="795"/>
                  </a:cubicBezTo>
                  <a:cubicBezTo>
                    <a:pt x="62" y="795"/>
                    <a:pt x="62" y="795"/>
                    <a:pt x="62" y="796"/>
                  </a:cubicBezTo>
                  <a:cubicBezTo>
                    <a:pt x="62" y="796"/>
                    <a:pt x="62" y="796"/>
                    <a:pt x="62" y="796"/>
                  </a:cubicBezTo>
                  <a:cubicBezTo>
                    <a:pt x="62" y="796"/>
                    <a:pt x="61" y="796"/>
                    <a:pt x="61" y="796"/>
                  </a:cubicBezTo>
                  <a:cubicBezTo>
                    <a:pt x="60" y="796"/>
                    <a:pt x="59" y="796"/>
                    <a:pt x="59" y="796"/>
                  </a:cubicBezTo>
                  <a:cubicBezTo>
                    <a:pt x="58" y="797"/>
                    <a:pt x="57" y="797"/>
                    <a:pt x="57" y="798"/>
                  </a:cubicBezTo>
                  <a:cubicBezTo>
                    <a:pt x="56" y="799"/>
                    <a:pt x="56" y="800"/>
                    <a:pt x="55" y="801"/>
                  </a:cubicBezTo>
                  <a:cubicBezTo>
                    <a:pt x="55" y="802"/>
                    <a:pt x="54" y="802"/>
                    <a:pt x="54" y="803"/>
                  </a:cubicBezTo>
                  <a:cubicBezTo>
                    <a:pt x="54" y="804"/>
                    <a:pt x="54" y="804"/>
                    <a:pt x="54" y="805"/>
                  </a:cubicBezTo>
                  <a:cubicBezTo>
                    <a:pt x="54" y="805"/>
                    <a:pt x="53" y="806"/>
                    <a:pt x="54" y="806"/>
                  </a:cubicBezTo>
                  <a:cubicBezTo>
                    <a:pt x="54" y="807"/>
                    <a:pt x="54" y="808"/>
                    <a:pt x="55" y="808"/>
                  </a:cubicBezTo>
                  <a:cubicBezTo>
                    <a:pt x="55" y="808"/>
                    <a:pt x="55" y="809"/>
                    <a:pt x="55" y="809"/>
                  </a:cubicBezTo>
                  <a:cubicBezTo>
                    <a:pt x="56" y="809"/>
                    <a:pt x="56" y="809"/>
                    <a:pt x="56" y="809"/>
                  </a:cubicBezTo>
                  <a:cubicBezTo>
                    <a:pt x="56" y="809"/>
                    <a:pt x="56" y="809"/>
                    <a:pt x="57" y="810"/>
                  </a:cubicBezTo>
                  <a:cubicBezTo>
                    <a:pt x="57" y="810"/>
                    <a:pt x="57" y="810"/>
                    <a:pt x="57" y="810"/>
                  </a:cubicBezTo>
                  <a:cubicBezTo>
                    <a:pt x="58" y="810"/>
                    <a:pt x="58" y="810"/>
                    <a:pt x="59" y="811"/>
                  </a:cubicBezTo>
                  <a:cubicBezTo>
                    <a:pt x="60" y="811"/>
                    <a:pt x="60" y="811"/>
                    <a:pt x="61" y="810"/>
                  </a:cubicBezTo>
                  <a:cubicBezTo>
                    <a:pt x="62" y="810"/>
                    <a:pt x="62" y="810"/>
                    <a:pt x="63" y="809"/>
                  </a:cubicBezTo>
                  <a:cubicBezTo>
                    <a:pt x="63" y="809"/>
                    <a:pt x="64" y="809"/>
                    <a:pt x="64" y="808"/>
                  </a:cubicBezTo>
                  <a:cubicBezTo>
                    <a:pt x="65" y="808"/>
                    <a:pt x="65" y="807"/>
                    <a:pt x="65" y="806"/>
                  </a:cubicBezTo>
                  <a:cubicBezTo>
                    <a:pt x="65" y="806"/>
                    <a:pt x="66" y="805"/>
                    <a:pt x="66" y="804"/>
                  </a:cubicBezTo>
                  <a:cubicBezTo>
                    <a:pt x="67" y="804"/>
                    <a:pt x="67" y="804"/>
                    <a:pt x="68" y="804"/>
                  </a:cubicBezTo>
                  <a:cubicBezTo>
                    <a:pt x="69" y="804"/>
                    <a:pt x="70" y="805"/>
                    <a:pt x="70" y="805"/>
                  </a:cubicBezTo>
                  <a:cubicBezTo>
                    <a:pt x="71" y="805"/>
                    <a:pt x="72" y="806"/>
                    <a:pt x="73" y="806"/>
                  </a:cubicBezTo>
                  <a:cubicBezTo>
                    <a:pt x="73" y="806"/>
                    <a:pt x="74" y="807"/>
                    <a:pt x="74" y="807"/>
                  </a:cubicBezTo>
                  <a:cubicBezTo>
                    <a:pt x="74" y="807"/>
                    <a:pt x="74" y="808"/>
                    <a:pt x="74" y="808"/>
                  </a:cubicBezTo>
                  <a:cubicBezTo>
                    <a:pt x="74" y="808"/>
                    <a:pt x="75" y="809"/>
                    <a:pt x="75" y="810"/>
                  </a:cubicBezTo>
                  <a:cubicBezTo>
                    <a:pt x="76" y="811"/>
                    <a:pt x="77" y="811"/>
                    <a:pt x="77" y="812"/>
                  </a:cubicBezTo>
                  <a:cubicBezTo>
                    <a:pt x="78" y="813"/>
                    <a:pt x="78" y="814"/>
                    <a:pt x="78" y="815"/>
                  </a:cubicBezTo>
                  <a:cubicBezTo>
                    <a:pt x="79" y="817"/>
                    <a:pt x="81" y="818"/>
                    <a:pt x="83" y="818"/>
                  </a:cubicBezTo>
                  <a:cubicBezTo>
                    <a:pt x="83" y="818"/>
                    <a:pt x="84" y="818"/>
                    <a:pt x="85" y="817"/>
                  </a:cubicBezTo>
                  <a:cubicBezTo>
                    <a:pt x="85" y="817"/>
                    <a:pt x="85" y="817"/>
                    <a:pt x="85" y="817"/>
                  </a:cubicBezTo>
                  <a:cubicBezTo>
                    <a:pt x="85" y="816"/>
                    <a:pt x="85" y="816"/>
                    <a:pt x="86" y="815"/>
                  </a:cubicBezTo>
                  <a:cubicBezTo>
                    <a:pt x="87" y="814"/>
                    <a:pt x="88" y="813"/>
                    <a:pt x="88" y="811"/>
                  </a:cubicBezTo>
                  <a:cubicBezTo>
                    <a:pt x="89" y="811"/>
                    <a:pt x="89" y="811"/>
                    <a:pt x="89" y="810"/>
                  </a:cubicBezTo>
                  <a:cubicBezTo>
                    <a:pt x="90" y="810"/>
                    <a:pt x="90" y="809"/>
                    <a:pt x="90" y="809"/>
                  </a:cubicBezTo>
                  <a:cubicBezTo>
                    <a:pt x="91" y="807"/>
                    <a:pt x="90" y="806"/>
                    <a:pt x="89" y="805"/>
                  </a:cubicBezTo>
                  <a:cubicBezTo>
                    <a:pt x="89" y="804"/>
                    <a:pt x="89" y="804"/>
                    <a:pt x="89" y="803"/>
                  </a:cubicBezTo>
                  <a:cubicBezTo>
                    <a:pt x="89" y="802"/>
                    <a:pt x="89" y="802"/>
                    <a:pt x="90" y="802"/>
                  </a:cubicBezTo>
                  <a:cubicBezTo>
                    <a:pt x="91" y="802"/>
                    <a:pt x="91" y="802"/>
                    <a:pt x="91" y="802"/>
                  </a:cubicBezTo>
                  <a:cubicBezTo>
                    <a:pt x="91" y="801"/>
                    <a:pt x="92" y="801"/>
                    <a:pt x="92" y="801"/>
                  </a:cubicBezTo>
                  <a:cubicBezTo>
                    <a:pt x="93" y="800"/>
                    <a:pt x="93" y="800"/>
                    <a:pt x="94" y="800"/>
                  </a:cubicBezTo>
                  <a:cubicBezTo>
                    <a:pt x="94" y="799"/>
                    <a:pt x="95" y="799"/>
                    <a:pt x="96" y="799"/>
                  </a:cubicBezTo>
                  <a:cubicBezTo>
                    <a:pt x="97" y="798"/>
                    <a:pt x="98" y="798"/>
                    <a:pt x="99" y="797"/>
                  </a:cubicBezTo>
                  <a:cubicBezTo>
                    <a:pt x="100" y="797"/>
                    <a:pt x="101" y="796"/>
                    <a:pt x="103" y="795"/>
                  </a:cubicBezTo>
                  <a:cubicBezTo>
                    <a:pt x="104" y="794"/>
                    <a:pt x="105" y="793"/>
                    <a:pt x="105" y="792"/>
                  </a:cubicBezTo>
                  <a:cubicBezTo>
                    <a:pt x="105" y="791"/>
                    <a:pt x="105" y="791"/>
                    <a:pt x="105" y="791"/>
                  </a:cubicBezTo>
                  <a:cubicBezTo>
                    <a:pt x="105" y="790"/>
                    <a:pt x="106" y="789"/>
                    <a:pt x="106" y="788"/>
                  </a:cubicBezTo>
                  <a:cubicBezTo>
                    <a:pt x="106" y="788"/>
                    <a:pt x="106" y="787"/>
                    <a:pt x="106" y="786"/>
                  </a:cubicBezTo>
                  <a:cubicBezTo>
                    <a:pt x="106" y="786"/>
                    <a:pt x="106" y="786"/>
                    <a:pt x="106" y="785"/>
                  </a:cubicBezTo>
                  <a:cubicBezTo>
                    <a:pt x="107" y="785"/>
                    <a:pt x="106" y="784"/>
                    <a:pt x="107" y="784"/>
                  </a:cubicBezTo>
                  <a:cubicBezTo>
                    <a:pt x="107" y="783"/>
                    <a:pt x="107" y="783"/>
                    <a:pt x="108" y="783"/>
                  </a:cubicBezTo>
                  <a:cubicBezTo>
                    <a:pt x="108" y="783"/>
                    <a:pt x="108" y="783"/>
                    <a:pt x="109" y="783"/>
                  </a:cubicBezTo>
                  <a:cubicBezTo>
                    <a:pt x="109" y="784"/>
                    <a:pt x="109" y="785"/>
                    <a:pt x="109" y="785"/>
                  </a:cubicBezTo>
                  <a:cubicBezTo>
                    <a:pt x="111" y="787"/>
                    <a:pt x="112" y="787"/>
                    <a:pt x="114" y="786"/>
                  </a:cubicBezTo>
                  <a:cubicBezTo>
                    <a:pt x="115" y="786"/>
                    <a:pt x="116" y="786"/>
                    <a:pt x="117" y="786"/>
                  </a:cubicBezTo>
                  <a:cubicBezTo>
                    <a:pt x="118" y="785"/>
                    <a:pt x="119" y="786"/>
                    <a:pt x="120" y="786"/>
                  </a:cubicBezTo>
                  <a:cubicBezTo>
                    <a:pt x="121" y="785"/>
                    <a:pt x="122" y="785"/>
                    <a:pt x="124" y="784"/>
                  </a:cubicBezTo>
                  <a:cubicBezTo>
                    <a:pt x="124" y="783"/>
                    <a:pt x="124" y="783"/>
                    <a:pt x="125" y="783"/>
                  </a:cubicBezTo>
                  <a:cubicBezTo>
                    <a:pt x="125" y="783"/>
                    <a:pt x="126" y="783"/>
                    <a:pt x="127" y="783"/>
                  </a:cubicBezTo>
                  <a:cubicBezTo>
                    <a:pt x="128" y="782"/>
                    <a:pt x="128" y="782"/>
                    <a:pt x="129" y="781"/>
                  </a:cubicBezTo>
                  <a:cubicBezTo>
                    <a:pt x="129" y="781"/>
                    <a:pt x="130" y="780"/>
                    <a:pt x="130" y="780"/>
                  </a:cubicBezTo>
                  <a:cubicBezTo>
                    <a:pt x="131" y="779"/>
                    <a:pt x="131" y="780"/>
                    <a:pt x="132" y="780"/>
                  </a:cubicBezTo>
                  <a:cubicBezTo>
                    <a:pt x="133" y="780"/>
                    <a:pt x="133" y="780"/>
                    <a:pt x="134" y="781"/>
                  </a:cubicBezTo>
                  <a:cubicBezTo>
                    <a:pt x="134" y="781"/>
                    <a:pt x="134" y="781"/>
                    <a:pt x="134" y="781"/>
                  </a:cubicBezTo>
                  <a:cubicBezTo>
                    <a:pt x="134" y="782"/>
                    <a:pt x="134" y="782"/>
                    <a:pt x="135" y="783"/>
                  </a:cubicBezTo>
                  <a:cubicBezTo>
                    <a:pt x="135" y="784"/>
                    <a:pt x="135" y="785"/>
                    <a:pt x="136" y="786"/>
                  </a:cubicBezTo>
                  <a:cubicBezTo>
                    <a:pt x="136" y="786"/>
                    <a:pt x="138" y="786"/>
                    <a:pt x="138" y="786"/>
                  </a:cubicBezTo>
                  <a:cubicBezTo>
                    <a:pt x="139" y="786"/>
                    <a:pt x="140" y="787"/>
                    <a:pt x="141" y="787"/>
                  </a:cubicBezTo>
                  <a:cubicBezTo>
                    <a:pt x="141" y="788"/>
                    <a:pt x="141" y="787"/>
                    <a:pt x="142" y="788"/>
                  </a:cubicBezTo>
                  <a:cubicBezTo>
                    <a:pt x="142" y="788"/>
                    <a:pt x="143" y="788"/>
                    <a:pt x="144" y="788"/>
                  </a:cubicBezTo>
                  <a:cubicBezTo>
                    <a:pt x="145" y="788"/>
                    <a:pt x="146" y="789"/>
                    <a:pt x="147" y="788"/>
                  </a:cubicBezTo>
                  <a:cubicBezTo>
                    <a:pt x="147" y="787"/>
                    <a:pt x="147" y="787"/>
                    <a:pt x="148" y="787"/>
                  </a:cubicBezTo>
                  <a:cubicBezTo>
                    <a:pt x="148" y="788"/>
                    <a:pt x="149" y="788"/>
                    <a:pt x="149" y="788"/>
                  </a:cubicBezTo>
                  <a:cubicBezTo>
                    <a:pt x="150" y="788"/>
                    <a:pt x="151" y="789"/>
                    <a:pt x="151" y="790"/>
                  </a:cubicBezTo>
                  <a:cubicBezTo>
                    <a:pt x="151" y="791"/>
                    <a:pt x="151" y="791"/>
                    <a:pt x="151" y="792"/>
                  </a:cubicBezTo>
                  <a:cubicBezTo>
                    <a:pt x="152" y="793"/>
                    <a:pt x="152" y="793"/>
                    <a:pt x="153" y="793"/>
                  </a:cubicBezTo>
                  <a:cubicBezTo>
                    <a:pt x="153" y="794"/>
                    <a:pt x="154" y="794"/>
                    <a:pt x="154" y="795"/>
                  </a:cubicBezTo>
                  <a:cubicBezTo>
                    <a:pt x="156" y="795"/>
                    <a:pt x="157" y="796"/>
                    <a:pt x="158" y="796"/>
                  </a:cubicBezTo>
                  <a:cubicBezTo>
                    <a:pt x="159" y="796"/>
                    <a:pt x="160" y="796"/>
                    <a:pt x="160" y="796"/>
                  </a:cubicBezTo>
                  <a:cubicBezTo>
                    <a:pt x="161" y="796"/>
                    <a:pt x="163" y="797"/>
                    <a:pt x="163" y="796"/>
                  </a:cubicBezTo>
                  <a:cubicBezTo>
                    <a:pt x="165" y="796"/>
                    <a:pt x="164" y="795"/>
                    <a:pt x="165" y="794"/>
                  </a:cubicBezTo>
                  <a:cubicBezTo>
                    <a:pt x="165" y="793"/>
                    <a:pt x="165" y="793"/>
                    <a:pt x="165" y="792"/>
                  </a:cubicBezTo>
                  <a:cubicBezTo>
                    <a:pt x="165" y="791"/>
                    <a:pt x="165" y="790"/>
                    <a:pt x="165" y="789"/>
                  </a:cubicBezTo>
                  <a:cubicBezTo>
                    <a:pt x="166" y="789"/>
                    <a:pt x="166" y="789"/>
                    <a:pt x="166" y="789"/>
                  </a:cubicBezTo>
                  <a:cubicBezTo>
                    <a:pt x="167" y="789"/>
                    <a:pt x="168" y="789"/>
                    <a:pt x="169" y="789"/>
                  </a:cubicBezTo>
                  <a:cubicBezTo>
                    <a:pt x="170" y="789"/>
                    <a:pt x="171" y="789"/>
                    <a:pt x="172" y="789"/>
                  </a:cubicBezTo>
                  <a:cubicBezTo>
                    <a:pt x="173" y="789"/>
                    <a:pt x="174" y="789"/>
                    <a:pt x="176" y="789"/>
                  </a:cubicBezTo>
                  <a:cubicBezTo>
                    <a:pt x="176" y="789"/>
                    <a:pt x="177" y="789"/>
                    <a:pt x="178" y="789"/>
                  </a:cubicBezTo>
                  <a:cubicBezTo>
                    <a:pt x="180" y="789"/>
                    <a:pt x="181" y="788"/>
                    <a:pt x="183" y="788"/>
                  </a:cubicBezTo>
                  <a:cubicBezTo>
                    <a:pt x="187" y="787"/>
                    <a:pt x="193" y="788"/>
                    <a:pt x="193" y="786"/>
                  </a:cubicBezTo>
                  <a:cubicBezTo>
                    <a:pt x="195" y="780"/>
                    <a:pt x="191" y="779"/>
                    <a:pt x="191" y="778"/>
                  </a:cubicBezTo>
                  <a:cubicBezTo>
                    <a:pt x="189" y="777"/>
                    <a:pt x="182" y="777"/>
                    <a:pt x="180" y="777"/>
                  </a:cubicBezTo>
                  <a:cubicBezTo>
                    <a:pt x="177" y="777"/>
                    <a:pt x="174" y="777"/>
                    <a:pt x="172" y="777"/>
                  </a:cubicBezTo>
                  <a:cubicBezTo>
                    <a:pt x="171" y="777"/>
                    <a:pt x="169" y="777"/>
                    <a:pt x="169" y="776"/>
                  </a:cubicBezTo>
                  <a:cubicBezTo>
                    <a:pt x="169" y="775"/>
                    <a:pt x="170" y="773"/>
                    <a:pt x="171" y="773"/>
                  </a:cubicBezTo>
                  <a:cubicBezTo>
                    <a:pt x="172" y="771"/>
                    <a:pt x="174" y="769"/>
                    <a:pt x="175" y="767"/>
                  </a:cubicBezTo>
                  <a:cubicBezTo>
                    <a:pt x="176" y="766"/>
                    <a:pt x="176" y="764"/>
                    <a:pt x="177" y="763"/>
                  </a:cubicBezTo>
                  <a:cubicBezTo>
                    <a:pt x="178" y="762"/>
                    <a:pt x="178" y="761"/>
                    <a:pt x="178" y="760"/>
                  </a:cubicBezTo>
                  <a:cubicBezTo>
                    <a:pt x="179" y="760"/>
                    <a:pt x="179" y="760"/>
                    <a:pt x="180" y="759"/>
                  </a:cubicBezTo>
                  <a:cubicBezTo>
                    <a:pt x="181" y="759"/>
                    <a:pt x="181" y="759"/>
                    <a:pt x="181" y="759"/>
                  </a:cubicBezTo>
                  <a:cubicBezTo>
                    <a:pt x="182" y="759"/>
                    <a:pt x="182" y="759"/>
                    <a:pt x="183" y="759"/>
                  </a:cubicBezTo>
                  <a:cubicBezTo>
                    <a:pt x="183" y="759"/>
                    <a:pt x="183" y="759"/>
                    <a:pt x="183" y="759"/>
                  </a:cubicBezTo>
                  <a:cubicBezTo>
                    <a:pt x="184" y="758"/>
                    <a:pt x="184" y="758"/>
                    <a:pt x="185" y="757"/>
                  </a:cubicBezTo>
                  <a:cubicBezTo>
                    <a:pt x="185" y="756"/>
                    <a:pt x="186" y="755"/>
                    <a:pt x="187" y="755"/>
                  </a:cubicBezTo>
                  <a:cubicBezTo>
                    <a:pt x="188" y="755"/>
                    <a:pt x="189" y="754"/>
                    <a:pt x="190" y="754"/>
                  </a:cubicBezTo>
                  <a:cubicBezTo>
                    <a:pt x="191" y="754"/>
                    <a:pt x="192" y="754"/>
                    <a:pt x="192" y="754"/>
                  </a:cubicBezTo>
                  <a:cubicBezTo>
                    <a:pt x="194" y="754"/>
                    <a:pt x="195" y="755"/>
                    <a:pt x="196" y="755"/>
                  </a:cubicBezTo>
                  <a:cubicBezTo>
                    <a:pt x="196" y="755"/>
                    <a:pt x="196" y="755"/>
                    <a:pt x="196" y="755"/>
                  </a:cubicBezTo>
                  <a:cubicBezTo>
                    <a:pt x="198" y="754"/>
                    <a:pt x="199" y="755"/>
                    <a:pt x="200" y="754"/>
                  </a:cubicBezTo>
                  <a:cubicBezTo>
                    <a:pt x="201" y="754"/>
                    <a:pt x="200" y="753"/>
                    <a:pt x="201" y="752"/>
                  </a:cubicBezTo>
                  <a:cubicBezTo>
                    <a:pt x="201" y="752"/>
                    <a:pt x="202" y="751"/>
                    <a:pt x="202" y="751"/>
                  </a:cubicBezTo>
                  <a:cubicBezTo>
                    <a:pt x="203" y="749"/>
                    <a:pt x="202" y="748"/>
                    <a:pt x="204" y="747"/>
                  </a:cubicBezTo>
                  <a:cubicBezTo>
                    <a:pt x="205" y="747"/>
                    <a:pt x="209" y="748"/>
                    <a:pt x="210" y="749"/>
                  </a:cubicBezTo>
                  <a:cubicBezTo>
                    <a:pt x="211" y="750"/>
                    <a:pt x="211" y="752"/>
                    <a:pt x="211" y="754"/>
                  </a:cubicBezTo>
                  <a:cubicBezTo>
                    <a:pt x="213" y="755"/>
                    <a:pt x="216" y="754"/>
                    <a:pt x="218" y="755"/>
                  </a:cubicBezTo>
                  <a:cubicBezTo>
                    <a:pt x="220" y="756"/>
                    <a:pt x="222" y="757"/>
                    <a:pt x="225" y="759"/>
                  </a:cubicBezTo>
                  <a:cubicBezTo>
                    <a:pt x="228" y="760"/>
                    <a:pt x="231" y="763"/>
                    <a:pt x="235" y="763"/>
                  </a:cubicBezTo>
                  <a:cubicBezTo>
                    <a:pt x="238" y="763"/>
                    <a:pt x="240" y="762"/>
                    <a:pt x="243" y="762"/>
                  </a:cubicBezTo>
                  <a:cubicBezTo>
                    <a:pt x="246" y="762"/>
                    <a:pt x="250" y="762"/>
                    <a:pt x="254" y="762"/>
                  </a:cubicBezTo>
                  <a:cubicBezTo>
                    <a:pt x="256" y="762"/>
                    <a:pt x="257" y="763"/>
                    <a:pt x="258" y="760"/>
                  </a:cubicBezTo>
                  <a:cubicBezTo>
                    <a:pt x="258" y="759"/>
                    <a:pt x="255" y="755"/>
                    <a:pt x="253" y="755"/>
                  </a:cubicBezTo>
                  <a:cubicBezTo>
                    <a:pt x="252" y="750"/>
                    <a:pt x="257" y="751"/>
                    <a:pt x="259" y="751"/>
                  </a:cubicBezTo>
                  <a:cubicBezTo>
                    <a:pt x="261" y="752"/>
                    <a:pt x="264" y="752"/>
                    <a:pt x="266" y="753"/>
                  </a:cubicBezTo>
                  <a:cubicBezTo>
                    <a:pt x="268" y="753"/>
                    <a:pt x="268" y="753"/>
                    <a:pt x="269" y="754"/>
                  </a:cubicBezTo>
                  <a:cubicBezTo>
                    <a:pt x="269" y="754"/>
                    <a:pt x="270" y="754"/>
                    <a:pt x="270" y="754"/>
                  </a:cubicBezTo>
                  <a:cubicBezTo>
                    <a:pt x="271" y="753"/>
                    <a:pt x="272" y="752"/>
                    <a:pt x="273" y="752"/>
                  </a:cubicBezTo>
                  <a:cubicBezTo>
                    <a:pt x="274" y="751"/>
                    <a:pt x="274" y="751"/>
                    <a:pt x="275" y="751"/>
                  </a:cubicBezTo>
                  <a:cubicBezTo>
                    <a:pt x="276" y="750"/>
                    <a:pt x="276" y="750"/>
                    <a:pt x="277" y="750"/>
                  </a:cubicBezTo>
                  <a:cubicBezTo>
                    <a:pt x="279" y="750"/>
                    <a:pt x="280" y="750"/>
                    <a:pt x="281" y="749"/>
                  </a:cubicBezTo>
                  <a:cubicBezTo>
                    <a:pt x="282" y="749"/>
                    <a:pt x="282" y="749"/>
                    <a:pt x="282" y="749"/>
                  </a:cubicBezTo>
                  <a:cubicBezTo>
                    <a:pt x="282" y="748"/>
                    <a:pt x="282" y="746"/>
                    <a:pt x="283" y="746"/>
                  </a:cubicBezTo>
                  <a:cubicBezTo>
                    <a:pt x="285" y="742"/>
                    <a:pt x="287" y="744"/>
                    <a:pt x="289" y="745"/>
                  </a:cubicBezTo>
                  <a:cubicBezTo>
                    <a:pt x="290" y="746"/>
                    <a:pt x="292" y="745"/>
                    <a:pt x="293" y="745"/>
                  </a:cubicBezTo>
                  <a:cubicBezTo>
                    <a:pt x="296" y="745"/>
                    <a:pt x="297" y="746"/>
                    <a:pt x="299" y="747"/>
                  </a:cubicBezTo>
                  <a:cubicBezTo>
                    <a:pt x="303" y="749"/>
                    <a:pt x="307" y="746"/>
                    <a:pt x="310" y="748"/>
                  </a:cubicBezTo>
                  <a:cubicBezTo>
                    <a:pt x="312" y="749"/>
                    <a:pt x="312" y="750"/>
                    <a:pt x="314" y="751"/>
                  </a:cubicBezTo>
                  <a:cubicBezTo>
                    <a:pt x="316" y="751"/>
                    <a:pt x="318" y="751"/>
                    <a:pt x="319" y="751"/>
                  </a:cubicBezTo>
                  <a:cubicBezTo>
                    <a:pt x="324" y="751"/>
                    <a:pt x="325" y="748"/>
                    <a:pt x="329" y="748"/>
                  </a:cubicBezTo>
                  <a:cubicBezTo>
                    <a:pt x="332" y="748"/>
                    <a:pt x="334" y="748"/>
                    <a:pt x="336" y="747"/>
                  </a:cubicBezTo>
                  <a:cubicBezTo>
                    <a:pt x="338" y="746"/>
                    <a:pt x="340" y="745"/>
                    <a:pt x="341" y="743"/>
                  </a:cubicBezTo>
                  <a:cubicBezTo>
                    <a:pt x="342" y="743"/>
                    <a:pt x="343" y="743"/>
                    <a:pt x="344" y="743"/>
                  </a:cubicBezTo>
                  <a:cubicBezTo>
                    <a:pt x="344" y="742"/>
                    <a:pt x="344" y="742"/>
                    <a:pt x="345" y="741"/>
                  </a:cubicBezTo>
                  <a:cubicBezTo>
                    <a:pt x="346" y="740"/>
                    <a:pt x="347" y="739"/>
                    <a:pt x="349" y="740"/>
                  </a:cubicBezTo>
                  <a:cubicBezTo>
                    <a:pt x="350" y="740"/>
                    <a:pt x="352" y="742"/>
                    <a:pt x="353" y="743"/>
                  </a:cubicBezTo>
                  <a:cubicBezTo>
                    <a:pt x="355" y="744"/>
                    <a:pt x="356" y="745"/>
                    <a:pt x="358" y="745"/>
                  </a:cubicBezTo>
                  <a:cubicBezTo>
                    <a:pt x="360" y="746"/>
                    <a:pt x="361" y="745"/>
                    <a:pt x="364" y="748"/>
                  </a:cubicBezTo>
                  <a:cubicBezTo>
                    <a:pt x="366" y="750"/>
                    <a:pt x="366" y="751"/>
                    <a:pt x="369" y="750"/>
                  </a:cubicBezTo>
                  <a:cubicBezTo>
                    <a:pt x="371" y="750"/>
                    <a:pt x="372" y="749"/>
                    <a:pt x="374" y="748"/>
                  </a:cubicBezTo>
                  <a:cubicBezTo>
                    <a:pt x="374" y="748"/>
                    <a:pt x="377" y="747"/>
                    <a:pt x="377" y="747"/>
                  </a:cubicBezTo>
                  <a:cubicBezTo>
                    <a:pt x="378" y="746"/>
                    <a:pt x="378" y="744"/>
                    <a:pt x="378" y="743"/>
                  </a:cubicBezTo>
                  <a:cubicBezTo>
                    <a:pt x="380" y="743"/>
                    <a:pt x="383" y="743"/>
                    <a:pt x="385" y="743"/>
                  </a:cubicBezTo>
                  <a:cubicBezTo>
                    <a:pt x="386" y="742"/>
                    <a:pt x="387" y="741"/>
                    <a:pt x="388" y="740"/>
                  </a:cubicBezTo>
                  <a:cubicBezTo>
                    <a:pt x="390" y="738"/>
                    <a:pt x="394" y="738"/>
                    <a:pt x="397" y="737"/>
                  </a:cubicBezTo>
                  <a:cubicBezTo>
                    <a:pt x="400" y="737"/>
                    <a:pt x="403" y="738"/>
                    <a:pt x="406" y="737"/>
                  </a:cubicBezTo>
                  <a:cubicBezTo>
                    <a:pt x="407" y="737"/>
                    <a:pt x="408" y="736"/>
                    <a:pt x="410" y="736"/>
                  </a:cubicBezTo>
                  <a:cubicBezTo>
                    <a:pt x="411" y="736"/>
                    <a:pt x="413" y="736"/>
                    <a:pt x="414" y="736"/>
                  </a:cubicBezTo>
                  <a:cubicBezTo>
                    <a:pt x="415" y="736"/>
                    <a:pt x="417" y="735"/>
                    <a:pt x="417" y="735"/>
                  </a:cubicBezTo>
                  <a:cubicBezTo>
                    <a:pt x="419" y="732"/>
                    <a:pt x="417" y="733"/>
                    <a:pt x="415" y="731"/>
                  </a:cubicBezTo>
                  <a:cubicBezTo>
                    <a:pt x="413" y="728"/>
                    <a:pt x="416" y="726"/>
                    <a:pt x="418" y="724"/>
                  </a:cubicBezTo>
                  <a:cubicBezTo>
                    <a:pt x="420" y="722"/>
                    <a:pt x="423" y="722"/>
                    <a:pt x="426" y="722"/>
                  </a:cubicBezTo>
                  <a:cubicBezTo>
                    <a:pt x="430" y="722"/>
                    <a:pt x="431" y="722"/>
                    <a:pt x="432" y="718"/>
                  </a:cubicBezTo>
                  <a:cubicBezTo>
                    <a:pt x="435" y="717"/>
                    <a:pt x="440" y="719"/>
                    <a:pt x="443" y="717"/>
                  </a:cubicBezTo>
                  <a:cubicBezTo>
                    <a:pt x="445" y="716"/>
                    <a:pt x="446" y="713"/>
                    <a:pt x="447" y="712"/>
                  </a:cubicBezTo>
                  <a:cubicBezTo>
                    <a:pt x="448" y="711"/>
                    <a:pt x="451" y="709"/>
                    <a:pt x="451" y="708"/>
                  </a:cubicBezTo>
                  <a:cubicBezTo>
                    <a:pt x="450" y="707"/>
                    <a:pt x="448" y="707"/>
                    <a:pt x="448" y="706"/>
                  </a:cubicBezTo>
                  <a:cubicBezTo>
                    <a:pt x="446" y="705"/>
                    <a:pt x="444" y="704"/>
                    <a:pt x="442" y="703"/>
                  </a:cubicBezTo>
                  <a:cubicBezTo>
                    <a:pt x="439" y="702"/>
                    <a:pt x="433" y="703"/>
                    <a:pt x="433" y="700"/>
                  </a:cubicBezTo>
                  <a:cubicBezTo>
                    <a:pt x="433" y="698"/>
                    <a:pt x="437" y="697"/>
                    <a:pt x="436" y="694"/>
                  </a:cubicBezTo>
                  <a:cubicBezTo>
                    <a:pt x="434" y="692"/>
                    <a:pt x="424" y="694"/>
                    <a:pt x="422" y="694"/>
                  </a:cubicBezTo>
                  <a:cubicBezTo>
                    <a:pt x="418" y="695"/>
                    <a:pt x="417" y="695"/>
                    <a:pt x="413" y="694"/>
                  </a:cubicBezTo>
                  <a:cubicBezTo>
                    <a:pt x="412" y="693"/>
                    <a:pt x="410" y="692"/>
                    <a:pt x="408" y="691"/>
                  </a:cubicBezTo>
                  <a:cubicBezTo>
                    <a:pt x="405" y="690"/>
                    <a:pt x="403" y="693"/>
                    <a:pt x="401" y="693"/>
                  </a:cubicBezTo>
                  <a:cubicBezTo>
                    <a:pt x="399" y="693"/>
                    <a:pt x="397" y="690"/>
                    <a:pt x="395" y="690"/>
                  </a:cubicBezTo>
                  <a:cubicBezTo>
                    <a:pt x="391" y="689"/>
                    <a:pt x="387" y="690"/>
                    <a:pt x="383" y="690"/>
                  </a:cubicBezTo>
                  <a:cubicBezTo>
                    <a:pt x="381" y="689"/>
                    <a:pt x="378" y="689"/>
                    <a:pt x="375" y="688"/>
                  </a:cubicBezTo>
                  <a:cubicBezTo>
                    <a:pt x="373" y="688"/>
                    <a:pt x="371" y="687"/>
                    <a:pt x="370" y="685"/>
                  </a:cubicBezTo>
                  <a:cubicBezTo>
                    <a:pt x="375" y="684"/>
                    <a:pt x="381" y="685"/>
                    <a:pt x="385" y="685"/>
                  </a:cubicBezTo>
                  <a:cubicBezTo>
                    <a:pt x="391" y="685"/>
                    <a:pt x="399" y="687"/>
                    <a:pt x="403" y="682"/>
                  </a:cubicBezTo>
                  <a:cubicBezTo>
                    <a:pt x="404" y="681"/>
                    <a:pt x="405" y="679"/>
                    <a:pt x="406" y="677"/>
                  </a:cubicBezTo>
                  <a:cubicBezTo>
                    <a:pt x="406" y="676"/>
                    <a:pt x="406" y="675"/>
                    <a:pt x="407" y="674"/>
                  </a:cubicBezTo>
                  <a:cubicBezTo>
                    <a:pt x="409" y="672"/>
                    <a:pt x="412" y="674"/>
                    <a:pt x="413" y="672"/>
                  </a:cubicBezTo>
                  <a:cubicBezTo>
                    <a:pt x="414" y="669"/>
                    <a:pt x="412" y="665"/>
                    <a:pt x="410" y="664"/>
                  </a:cubicBezTo>
                  <a:cubicBezTo>
                    <a:pt x="408" y="663"/>
                    <a:pt x="405" y="663"/>
                    <a:pt x="403" y="664"/>
                  </a:cubicBezTo>
                  <a:cubicBezTo>
                    <a:pt x="403" y="660"/>
                    <a:pt x="407" y="661"/>
                    <a:pt x="410" y="661"/>
                  </a:cubicBezTo>
                  <a:cubicBezTo>
                    <a:pt x="411" y="660"/>
                    <a:pt x="413" y="660"/>
                    <a:pt x="414" y="660"/>
                  </a:cubicBezTo>
                  <a:cubicBezTo>
                    <a:pt x="417" y="660"/>
                    <a:pt x="415" y="661"/>
                    <a:pt x="417" y="661"/>
                  </a:cubicBezTo>
                  <a:cubicBezTo>
                    <a:pt x="419" y="662"/>
                    <a:pt x="420" y="662"/>
                    <a:pt x="422" y="661"/>
                  </a:cubicBezTo>
                  <a:cubicBezTo>
                    <a:pt x="423" y="661"/>
                    <a:pt x="424" y="659"/>
                    <a:pt x="425" y="658"/>
                  </a:cubicBezTo>
                  <a:cubicBezTo>
                    <a:pt x="426" y="657"/>
                    <a:pt x="426" y="657"/>
                    <a:pt x="427" y="656"/>
                  </a:cubicBezTo>
                  <a:cubicBezTo>
                    <a:pt x="427" y="655"/>
                    <a:pt x="429" y="655"/>
                    <a:pt x="429" y="655"/>
                  </a:cubicBezTo>
                  <a:cubicBezTo>
                    <a:pt x="431" y="654"/>
                    <a:pt x="433" y="651"/>
                    <a:pt x="434" y="649"/>
                  </a:cubicBezTo>
                  <a:cubicBezTo>
                    <a:pt x="434" y="648"/>
                    <a:pt x="433" y="644"/>
                    <a:pt x="432" y="644"/>
                  </a:cubicBezTo>
                  <a:cubicBezTo>
                    <a:pt x="433" y="640"/>
                    <a:pt x="435" y="640"/>
                    <a:pt x="439" y="639"/>
                  </a:cubicBezTo>
                  <a:cubicBezTo>
                    <a:pt x="442" y="639"/>
                    <a:pt x="443" y="638"/>
                    <a:pt x="444" y="635"/>
                  </a:cubicBezTo>
                  <a:cubicBezTo>
                    <a:pt x="445" y="631"/>
                    <a:pt x="447" y="627"/>
                    <a:pt x="447" y="622"/>
                  </a:cubicBezTo>
                  <a:cubicBezTo>
                    <a:pt x="448" y="620"/>
                    <a:pt x="448" y="619"/>
                    <a:pt x="449" y="617"/>
                  </a:cubicBezTo>
                  <a:cubicBezTo>
                    <a:pt x="450" y="614"/>
                    <a:pt x="451" y="613"/>
                    <a:pt x="451" y="611"/>
                  </a:cubicBezTo>
                  <a:cubicBezTo>
                    <a:pt x="451" y="609"/>
                    <a:pt x="452" y="607"/>
                    <a:pt x="452" y="604"/>
                  </a:cubicBezTo>
                  <a:cubicBezTo>
                    <a:pt x="452" y="601"/>
                    <a:pt x="453" y="599"/>
                    <a:pt x="453" y="596"/>
                  </a:cubicBezTo>
                  <a:cubicBezTo>
                    <a:pt x="454" y="592"/>
                    <a:pt x="453" y="587"/>
                    <a:pt x="453" y="583"/>
                  </a:cubicBezTo>
                  <a:cubicBezTo>
                    <a:pt x="453" y="579"/>
                    <a:pt x="455" y="572"/>
                    <a:pt x="452" y="569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3" name="Freeform 64">
              <a:extLst>
                <a:ext uri="{FF2B5EF4-FFF2-40B4-BE49-F238E27FC236}">
                  <a16:creationId xmlns:a16="http://schemas.microsoft.com/office/drawing/2014/main" id="{9FF989EE-F2AD-48C8-AB59-5B7D7921B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3584575"/>
              <a:ext cx="41275" cy="63500"/>
            </a:xfrm>
            <a:custGeom>
              <a:avLst/>
              <a:gdLst/>
              <a:ahLst/>
              <a:cxnLst>
                <a:cxn ang="0">
                  <a:pos x="18" y="2"/>
                </a:cxn>
                <a:cxn ang="0">
                  <a:pos x="22" y="1"/>
                </a:cxn>
                <a:cxn ang="0">
                  <a:pos x="17" y="10"/>
                </a:cxn>
                <a:cxn ang="0">
                  <a:pos x="12" y="15"/>
                </a:cxn>
                <a:cxn ang="0">
                  <a:pos x="10" y="19"/>
                </a:cxn>
                <a:cxn ang="0">
                  <a:pos x="10" y="23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2" y="32"/>
                </a:cxn>
                <a:cxn ang="0">
                  <a:pos x="1" y="25"/>
                </a:cxn>
                <a:cxn ang="0">
                  <a:pos x="1" y="21"/>
                </a:cxn>
                <a:cxn ang="0">
                  <a:pos x="3" y="19"/>
                </a:cxn>
                <a:cxn ang="0">
                  <a:pos x="9" y="15"/>
                </a:cxn>
                <a:cxn ang="0">
                  <a:pos x="3" y="14"/>
                </a:cxn>
                <a:cxn ang="0">
                  <a:pos x="5" y="13"/>
                </a:cxn>
                <a:cxn ang="0">
                  <a:pos x="6" y="9"/>
                </a:cxn>
                <a:cxn ang="0">
                  <a:pos x="10" y="5"/>
                </a:cxn>
                <a:cxn ang="0">
                  <a:pos x="18" y="0"/>
                </a:cxn>
                <a:cxn ang="0">
                  <a:pos x="18" y="2"/>
                </a:cxn>
              </a:cxnLst>
              <a:rect l="0" t="0" r="r" b="b"/>
              <a:pathLst>
                <a:path w="22" h="34">
                  <a:moveTo>
                    <a:pt x="18" y="2"/>
                  </a:moveTo>
                  <a:cubicBezTo>
                    <a:pt x="19" y="1"/>
                    <a:pt x="21" y="1"/>
                    <a:pt x="22" y="1"/>
                  </a:cubicBezTo>
                  <a:cubicBezTo>
                    <a:pt x="22" y="4"/>
                    <a:pt x="19" y="7"/>
                    <a:pt x="17" y="10"/>
                  </a:cubicBezTo>
                  <a:cubicBezTo>
                    <a:pt x="16" y="11"/>
                    <a:pt x="14" y="13"/>
                    <a:pt x="12" y="15"/>
                  </a:cubicBezTo>
                  <a:cubicBezTo>
                    <a:pt x="12" y="16"/>
                    <a:pt x="11" y="17"/>
                    <a:pt x="10" y="19"/>
                  </a:cubicBezTo>
                  <a:cubicBezTo>
                    <a:pt x="10" y="20"/>
                    <a:pt x="10" y="21"/>
                    <a:pt x="10" y="23"/>
                  </a:cubicBezTo>
                  <a:cubicBezTo>
                    <a:pt x="10" y="26"/>
                    <a:pt x="8" y="29"/>
                    <a:pt x="6" y="32"/>
                  </a:cubicBezTo>
                  <a:cubicBezTo>
                    <a:pt x="6" y="32"/>
                    <a:pt x="6" y="33"/>
                    <a:pt x="5" y="34"/>
                  </a:cubicBezTo>
                  <a:cubicBezTo>
                    <a:pt x="4" y="34"/>
                    <a:pt x="3" y="32"/>
                    <a:pt x="2" y="32"/>
                  </a:cubicBezTo>
                  <a:cubicBezTo>
                    <a:pt x="1" y="29"/>
                    <a:pt x="2" y="27"/>
                    <a:pt x="1" y="25"/>
                  </a:cubicBezTo>
                  <a:cubicBezTo>
                    <a:pt x="1" y="23"/>
                    <a:pt x="0" y="23"/>
                    <a:pt x="1" y="21"/>
                  </a:cubicBezTo>
                  <a:cubicBezTo>
                    <a:pt x="1" y="20"/>
                    <a:pt x="2" y="19"/>
                    <a:pt x="3" y="19"/>
                  </a:cubicBezTo>
                  <a:cubicBezTo>
                    <a:pt x="5" y="17"/>
                    <a:pt x="8" y="17"/>
                    <a:pt x="9" y="15"/>
                  </a:cubicBezTo>
                  <a:cubicBezTo>
                    <a:pt x="8" y="13"/>
                    <a:pt x="2" y="18"/>
                    <a:pt x="3" y="14"/>
                  </a:cubicBezTo>
                  <a:cubicBezTo>
                    <a:pt x="3" y="14"/>
                    <a:pt x="4" y="13"/>
                    <a:pt x="5" y="13"/>
                  </a:cubicBezTo>
                  <a:cubicBezTo>
                    <a:pt x="5" y="12"/>
                    <a:pt x="5" y="10"/>
                    <a:pt x="6" y="9"/>
                  </a:cubicBezTo>
                  <a:cubicBezTo>
                    <a:pt x="7" y="7"/>
                    <a:pt x="8" y="7"/>
                    <a:pt x="10" y="5"/>
                  </a:cubicBezTo>
                  <a:cubicBezTo>
                    <a:pt x="13" y="4"/>
                    <a:pt x="15" y="0"/>
                    <a:pt x="18" y="0"/>
                  </a:cubicBezTo>
                  <a:lnTo>
                    <a:pt x="18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4" name="Freeform 65">
              <a:extLst>
                <a:ext uri="{FF2B5EF4-FFF2-40B4-BE49-F238E27FC236}">
                  <a16:creationId xmlns:a16="http://schemas.microsoft.com/office/drawing/2014/main" id="{1B87D246-6CB8-45B0-9D4F-19435012F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2100" y="3638550"/>
              <a:ext cx="44450" cy="92075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9" y="11"/>
                </a:cxn>
                <a:cxn ang="0">
                  <a:pos x="6" y="13"/>
                </a:cxn>
                <a:cxn ang="0">
                  <a:pos x="5" y="13"/>
                </a:cxn>
                <a:cxn ang="0">
                  <a:pos x="3" y="16"/>
                </a:cxn>
                <a:cxn ang="0">
                  <a:pos x="3" y="23"/>
                </a:cxn>
                <a:cxn ang="0">
                  <a:pos x="4" y="28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6" y="38"/>
                </a:cxn>
                <a:cxn ang="0">
                  <a:pos x="7" y="38"/>
                </a:cxn>
                <a:cxn ang="0">
                  <a:pos x="8" y="40"/>
                </a:cxn>
                <a:cxn ang="0">
                  <a:pos x="1" y="40"/>
                </a:cxn>
                <a:cxn ang="0">
                  <a:pos x="0" y="44"/>
                </a:cxn>
                <a:cxn ang="0">
                  <a:pos x="2" y="48"/>
                </a:cxn>
                <a:cxn ang="0">
                  <a:pos x="7" y="47"/>
                </a:cxn>
                <a:cxn ang="0">
                  <a:pos x="11" y="44"/>
                </a:cxn>
                <a:cxn ang="0">
                  <a:pos x="12" y="41"/>
                </a:cxn>
                <a:cxn ang="0">
                  <a:pos x="10" y="37"/>
                </a:cxn>
                <a:cxn ang="0">
                  <a:pos x="11" y="34"/>
                </a:cxn>
                <a:cxn ang="0">
                  <a:pos x="12" y="31"/>
                </a:cxn>
                <a:cxn ang="0">
                  <a:pos x="14" y="29"/>
                </a:cxn>
                <a:cxn ang="0">
                  <a:pos x="13" y="25"/>
                </a:cxn>
                <a:cxn ang="0">
                  <a:pos x="13" y="19"/>
                </a:cxn>
                <a:cxn ang="0">
                  <a:pos x="14" y="13"/>
                </a:cxn>
                <a:cxn ang="0">
                  <a:pos x="17" y="9"/>
                </a:cxn>
                <a:cxn ang="0">
                  <a:pos x="22" y="6"/>
                </a:cxn>
                <a:cxn ang="0">
                  <a:pos x="19" y="2"/>
                </a:cxn>
                <a:cxn ang="0">
                  <a:pos x="19" y="0"/>
                </a:cxn>
              </a:cxnLst>
              <a:rect l="0" t="0" r="r" b="b"/>
              <a:pathLst>
                <a:path w="24" h="49">
                  <a:moveTo>
                    <a:pt x="19" y="0"/>
                  </a:moveTo>
                  <a:cubicBezTo>
                    <a:pt x="15" y="3"/>
                    <a:pt x="12" y="7"/>
                    <a:pt x="9" y="11"/>
                  </a:cubicBezTo>
                  <a:cubicBezTo>
                    <a:pt x="8" y="12"/>
                    <a:pt x="7" y="12"/>
                    <a:pt x="6" y="13"/>
                  </a:cubicBezTo>
                  <a:cubicBezTo>
                    <a:pt x="6" y="13"/>
                    <a:pt x="5" y="13"/>
                    <a:pt x="5" y="13"/>
                  </a:cubicBezTo>
                  <a:cubicBezTo>
                    <a:pt x="4" y="13"/>
                    <a:pt x="3" y="15"/>
                    <a:pt x="3" y="16"/>
                  </a:cubicBezTo>
                  <a:cubicBezTo>
                    <a:pt x="3" y="18"/>
                    <a:pt x="3" y="20"/>
                    <a:pt x="3" y="23"/>
                  </a:cubicBezTo>
                  <a:cubicBezTo>
                    <a:pt x="3" y="25"/>
                    <a:pt x="3" y="26"/>
                    <a:pt x="4" y="28"/>
                  </a:cubicBezTo>
                  <a:cubicBezTo>
                    <a:pt x="4" y="29"/>
                    <a:pt x="6" y="30"/>
                    <a:pt x="6" y="32"/>
                  </a:cubicBezTo>
                  <a:cubicBezTo>
                    <a:pt x="6" y="32"/>
                    <a:pt x="5" y="33"/>
                    <a:pt x="5" y="34"/>
                  </a:cubicBezTo>
                  <a:cubicBezTo>
                    <a:pt x="4" y="35"/>
                    <a:pt x="4" y="36"/>
                    <a:pt x="6" y="38"/>
                  </a:cubicBezTo>
                  <a:cubicBezTo>
                    <a:pt x="6" y="38"/>
                    <a:pt x="7" y="38"/>
                    <a:pt x="7" y="38"/>
                  </a:cubicBezTo>
                  <a:cubicBezTo>
                    <a:pt x="8" y="39"/>
                    <a:pt x="8" y="40"/>
                    <a:pt x="8" y="40"/>
                  </a:cubicBezTo>
                  <a:cubicBezTo>
                    <a:pt x="6" y="40"/>
                    <a:pt x="3" y="39"/>
                    <a:pt x="1" y="40"/>
                  </a:cubicBezTo>
                  <a:cubicBezTo>
                    <a:pt x="1" y="41"/>
                    <a:pt x="0" y="42"/>
                    <a:pt x="0" y="44"/>
                  </a:cubicBezTo>
                  <a:cubicBezTo>
                    <a:pt x="0" y="45"/>
                    <a:pt x="1" y="47"/>
                    <a:pt x="2" y="48"/>
                  </a:cubicBezTo>
                  <a:cubicBezTo>
                    <a:pt x="4" y="49"/>
                    <a:pt x="5" y="48"/>
                    <a:pt x="7" y="47"/>
                  </a:cubicBezTo>
                  <a:cubicBezTo>
                    <a:pt x="8" y="46"/>
                    <a:pt x="9" y="45"/>
                    <a:pt x="11" y="44"/>
                  </a:cubicBezTo>
                  <a:cubicBezTo>
                    <a:pt x="11" y="43"/>
                    <a:pt x="12" y="42"/>
                    <a:pt x="12" y="41"/>
                  </a:cubicBezTo>
                  <a:cubicBezTo>
                    <a:pt x="10" y="41"/>
                    <a:pt x="10" y="38"/>
                    <a:pt x="10" y="37"/>
                  </a:cubicBezTo>
                  <a:cubicBezTo>
                    <a:pt x="10" y="35"/>
                    <a:pt x="11" y="35"/>
                    <a:pt x="11" y="34"/>
                  </a:cubicBezTo>
                  <a:cubicBezTo>
                    <a:pt x="12" y="33"/>
                    <a:pt x="12" y="32"/>
                    <a:pt x="12" y="31"/>
                  </a:cubicBezTo>
                  <a:cubicBezTo>
                    <a:pt x="12" y="30"/>
                    <a:pt x="13" y="29"/>
                    <a:pt x="14" y="29"/>
                  </a:cubicBezTo>
                  <a:cubicBezTo>
                    <a:pt x="14" y="28"/>
                    <a:pt x="13" y="26"/>
                    <a:pt x="13" y="25"/>
                  </a:cubicBezTo>
                  <a:cubicBezTo>
                    <a:pt x="13" y="23"/>
                    <a:pt x="13" y="21"/>
                    <a:pt x="13" y="19"/>
                  </a:cubicBezTo>
                  <a:cubicBezTo>
                    <a:pt x="14" y="17"/>
                    <a:pt x="14" y="15"/>
                    <a:pt x="14" y="13"/>
                  </a:cubicBezTo>
                  <a:cubicBezTo>
                    <a:pt x="14" y="10"/>
                    <a:pt x="14" y="10"/>
                    <a:pt x="17" y="9"/>
                  </a:cubicBezTo>
                  <a:cubicBezTo>
                    <a:pt x="19" y="8"/>
                    <a:pt x="21" y="8"/>
                    <a:pt x="22" y="6"/>
                  </a:cubicBezTo>
                  <a:cubicBezTo>
                    <a:pt x="24" y="2"/>
                    <a:pt x="20" y="4"/>
                    <a:pt x="19" y="2"/>
                  </a:cubicBezTo>
                  <a:lnTo>
                    <a:pt x="19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5" name="Freeform 66">
              <a:extLst>
                <a:ext uri="{FF2B5EF4-FFF2-40B4-BE49-F238E27FC236}">
                  <a16:creationId xmlns:a16="http://schemas.microsoft.com/office/drawing/2014/main" id="{F84CBE4D-EE6C-45DC-8D79-DA6872EB3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3850" y="3654425"/>
              <a:ext cx="36513" cy="60325"/>
            </a:xfrm>
            <a:custGeom>
              <a:avLst/>
              <a:gdLst/>
              <a:ahLst/>
              <a:cxnLst>
                <a:cxn ang="0">
                  <a:pos x="13" y="5"/>
                </a:cxn>
                <a:cxn ang="0">
                  <a:pos x="0" y="5"/>
                </a:cxn>
                <a:cxn ang="0">
                  <a:pos x="2" y="14"/>
                </a:cxn>
                <a:cxn ang="0">
                  <a:pos x="4" y="17"/>
                </a:cxn>
                <a:cxn ang="0">
                  <a:pos x="4" y="20"/>
                </a:cxn>
                <a:cxn ang="0">
                  <a:pos x="6" y="26"/>
                </a:cxn>
                <a:cxn ang="0">
                  <a:pos x="13" y="30"/>
                </a:cxn>
                <a:cxn ang="0">
                  <a:pos x="16" y="31"/>
                </a:cxn>
                <a:cxn ang="0">
                  <a:pos x="19" y="25"/>
                </a:cxn>
                <a:cxn ang="0">
                  <a:pos x="13" y="19"/>
                </a:cxn>
                <a:cxn ang="0">
                  <a:pos x="15" y="16"/>
                </a:cxn>
                <a:cxn ang="0">
                  <a:pos x="16" y="13"/>
                </a:cxn>
                <a:cxn ang="0">
                  <a:pos x="16" y="11"/>
                </a:cxn>
                <a:cxn ang="0">
                  <a:pos x="16" y="9"/>
                </a:cxn>
                <a:cxn ang="0">
                  <a:pos x="13" y="7"/>
                </a:cxn>
                <a:cxn ang="0">
                  <a:pos x="13" y="5"/>
                </a:cxn>
              </a:cxnLst>
              <a:rect l="0" t="0" r="r" b="b"/>
              <a:pathLst>
                <a:path w="20" h="32">
                  <a:moveTo>
                    <a:pt x="13" y="5"/>
                  </a:moveTo>
                  <a:cubicBezTo>
                    <a:pt x="11" y="1"/>
                    <a:pt x="2" y="0"/>
                    <a:pt x="0" y="5"/>
                  </a:cubicBezTo>
                  <a:cubicBezTo>
                    <a:pt x="0" y="8"/>
                    <a:pt x="1" y="11"/>
                    <a:pt x="2" y="14"/>
                  </a:cubicBezTo>
                  <a:cubicBezTo>
                    <a:pt x="3" y="15"/>
                    <a:pt x="4" y="16"/>
                    <a:pt x="4" y="17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2"/>
                    <a:pt x="4" y="24"/>
                    <a:pt x="6" y="26"/>
                  </a:cubicBezTo>
                  <a:cubicBezTo>
                    <a:pt x="8" y="28"/>
                    <a:pt x="10" y="29"/>
                    <a:pt x="13" y="30"/>
                  </a:cubicBezTo>
                  <a:cubicBezTo>
                    <a:pt x="14" y="30"/>
                    <a:pt x="15" y="31"/>
                    <a:pt x="16" y="31"/>
                  </a:cubicBezTo>
                  <a:cubicBezTo>
                    <a:pt x="20" y="32"/>
                    <a:pt x="19" y="27"/>
                    <a:pt x="19" y="25"/>
                  </a:cubicBezTo>
                  <a:cubicBezTo>
                    <a:pt x="19" y="21"/>
                    <a:pt x="16" y="19"/>
                    <a:pt x="13" y="19"/>
                  </a:cubicBezTo>
                  <a:cubicBezTo>
                    <a:pt x="15" y="20"/>
                    <a:pt x="15" y="18"/>
                    <a:pt x="15" y="16"/>
                  </a:cubicBezTo>
                  <a:cubicBezTo>
                    <a:pt x="16" y="15"/>
                    <a:pt x="16" y="14"/>
                    <a:pt x="16" y="13"/>
                  </a:cubicBezTo>
                  <a:cubicBezTo>
                    <a:pt x="16" y="13"/>
                    <a:pt x="16" y="12"/>
                    <a:pt x="16" y="11"/>
                  </a:cubicBezTo>
                  <a:cubicBezTo>
                    <a:pt x="16" y="11"/>
                    <a:pt x="16" y="10"/>
                    <a:pt x="16" y="9"/>
                  </a:cubicBezTo>
                  <a:cubicBezTo>
                    <a:pt x="15" y="7"/>
                    <a:pt x="14" y="8"/>
                    <a:pt x="13" y="7"/>
                  </a:cubicBezTo>
                  <a:lnTo>
                    <a:pt x="13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6" name="Freeform 67">
              <a:extLst>
                <a:ext uri="{FF2B5EF4-FFF2-40B4-BE49-F238E27FC236}">
                  <a16:creationId xmlns:a16="http://schemas.microsoft.com/office/drawing/2014/main" id="{ECE410E7-B205-4ECA-9CE6-24252EC84C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7488" y="3619500"/>
              <a:ext cx="46038" cy="6508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7" y="1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6"/>
                </a:cxn>
                <a:cxn ang="0">
                  <a:pos x="4" y="11"/>
                </a:cxn>
                <a:cxn ang="0">
                  <a:pos x="3" y="12"/>
                </a:cxn>
                <a:cxn ang="0">
                  <a:pos x="1" y="13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3" y="24"/>
                </a:cxn>
                <a:cxn ang="0">
                  <a:pos x="4" y="21"/>
                </a:cxn>
                <a:cxn ang="0">
                  <a:pos x="6" y="19"/>
                </a:cxn>
                <a:cxn ang="0">
                  <a:pos x="7" y="18"/>
                </a:cxn>
                <a:cxn ang="0">
                  <a:pos x="10" y="17"/>
                </a:cxn>
                <a:cxn ang="0">
                  <a:pos x="15" y="14"/>
                </a:cxn>
                <a:cxn ang="0">
                  <a:pos x="11" y="19"/>
                </a:cxn>
                <a:cxn ang="0">
                  <a:pos x="8" y="21"/>
                </a:cxn>
                <a:cxn ang="0">
                  <a:pos x="11" y="24"/>
                </a:cxn>
                <a:cxn ang="0">
                  <a:pos x="9" y="27"/>
                </a:cxn>
                <a:cxn ang="0">
                  <a:pos x="11" y="31"/>
                </a:cxn>
                <a:cxn ang="0">
                  <a:pos x="10" y="34"/>
                </a:cxn>
                <a:cxn ang="0">
                  <a:pos x="15" y="30"/>
                </a:cxn>
                <a:cxn ang="0">
                  <a:pos x="22" y="30"/>
                </a:cxn>
                <a:cxn ang="0">
                  <a:pos x="24" y="26"/>
                </a:cxn>
                <a:cxn ang="0">
                  <a:pos x="21" y="16"/>
                </a:cxn>
                <a:cxn ang="0">
                  <a:pos x="19" y="16"/>
                </a:cxn>
                <a:cxn ang="0">
                  <a:pos x="19" y="14"/>
                </a:cxn>
                <a:cxn ang="0">
                  <a:pos x="19" y="9"/>
                </a:cxn>
                <a:cxn ang="0">
                  <a:pos x="18" y="2"/>
                </a:cxn>
                <a:cxn ang="0">
                  <a:pos x="18" y="0"/>
                </a:cxn>
              </a:cxnLst>
              <a:rect l="0" t="0" r="r" b="b"/>
              <a:pathLst>
                <a:path w="25" h="35">
                  <a:moveTo>
                    <a:pt x="18" y="0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5" y="2"/>
                    <a:pt x="13" y="1"/>
                    <a:pt x="12" y="4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2" y="6"/>
                    <a:pt x="11" y="6"/>
                    <a:pt x="11" y="7"/>
                  </a:cubicBezTo>
                  <a:cubicBezTo>
                    <a:pt x="10" y="8"/>
                    <a:pt x="10" y="9"/>
                    <a:pt x="10" y="10"/>
                  </a:cubicBezTo>
                  <a:cubicBezTo>
                    <a:pt x="9" y="9"/>
                    <a:pt x="8" y="5"/>
                    <a:pt x="6" y="6"/>
                  </a:cubicBezTo>
                  <a:cubicBezTo>
                    <a:pt x="5" y="6"/>
                    <a:pt x="5" y="10"/>
                    <a:pt x="4" y="11"/>
                  </a:cubicBezTo>
                  <a:cubicBezTo>
                    <a:pt x="3" y="12"/>
                    <a:pt x="4" y="12"/>
                    <a:pt x="3" y="12"/>
                  </a:cubicBezTo>
                  <a:cubicBezTo>
                    <a:pt x="2" y="13"/>
                    <a:pt x="1" y="12"/>
                    <a:pt x="1" y="13"/>
                  </a:cubicBezTo>
                  <a:cubicBezTo>
                    <a:pt x="0" y="15"/>
                    <a:pt x="1" y="17"/>
                    <a:pt x="1" y="19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0" y="24"/>
                    <a:pt x="2" y="25"/>
                    <a:pt x="3" y="24"/>
                  </a:cubicBezTo>
                  <a:cubicBezTo>
                    <a:pt x="5" y="23"/>
                    <a:pt x="4" y="23"/>
                    <a:pt x="4" y="21"/>
                  </a:cubicBezTo>
                  <a:cubicBezTo>
                    <a:pt x="5" y="20"/>
                    <a:pt x="5" y="20"/>
                    <a:pt x="6" y="19"/>
                  </a:cubicBezTo>
                  <a:cubicBezTo>
                    <a:pt x="6" y="19"/>
                    <a:pt x="6" y="18"/>
                    <a:pt x="7" y="18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1" y="16"/>
                    <a:pt x="13" y="15"/>
                    <a:pt x="15" y="14"/>
                  </a:cubicBezTo>
                  <a:cubicBezTo>
                    <a:pt x="15" y="17"/>
                    <a:pt x="12" y="18"/>
                    <a:pt x="11" y="19"/>
                  </a:cubicBezTo>
                  <a:cubicBezTo>
                    <a:pt x="10" y="20"/>
                    <a:pt x="9" y="21"/>
                    <a:pt x="8" y="21"/>
                  </a:cubicBezTo>
                  <a:cubicBezTo>
                    <a:pt x="9" y="22"/>
                    <a:pt x="10" y="23"/>
                    <a:pt x="11" y="24"/>
                  </a:cubicBezTo>
                  <a:cubicBezTo>
                    <a:pt x="11" y="25"/>
                    <a:pt x="9" y="26"/>
                    <a:pt x="9" y="27"/>
                  </a:cubicBezTo>
                  <a:cubicBezTo>
                    <a:pt x="8" y="29"/>
                    <a:pt x="11" y="29"/>
                    <a:pt x="11" y="31"/>
                  </a:cubicBezTo>
                  <a:cubicBezTo>
                    <a:pt x="10" y="32"/>
                    <a:pt x="10" y="33"/>
                    <a:pt x="10" y="34"/>
                  </a:cubicBezTo>
                  <a:cubicBezTo>
                    <a:pt x="14" y="35"/>
                    <a:pt x="15" y="33"/>
                    <a:pt x="15" y="30"/>
                  </a:cubicBezTo>
                  <a:cubicBezTo>
                    <a:pt x="16" y="32"/>
                    <a:pt x="20" y="31"/>
                    <a:pt x="22" y="30"/>
                  </a:cubicBezTo>
                  <a:cubicBezTo>
                    <a:pt x="23" y="29"/>
                    <a:pt x="24" y="27"/>
                    <a:pt x="24" y="26"/>
                  </a:cubicBezTo>
                  <a:cubicBezTo>
                    <a:pt x="25" y="23"/>
                    <a:pt x="23" y="18"/>
                    <a:pt x="21" y="16"/>
                  </a:cubicBezTo>
                  <a:cubicBezTo>
                    <a:pt x="20" y="16"/>
                    <a:pt x="20" y="16"/>
                    <a:pt x="19" y="16"/>
                  </a:cubicBezTo>
                  <a:cubicBezTo>
                    <a:pt x="19" y="15"/>
                    <a:pt x="19" y="14"/>
                    <a:pt x="19" y="14"/>
                  </a:cubicBezTo>
                  <a:cubicBezTo>
                    <a:pt x="19" y="12"/>
                    <a:pt x="19" y="11"/>
                    <a:pt x="19" y="9"/>
                  </a:cubicBezTo>
                  <a:cubicBezTo>
                    <a:pt x="19" y="7"/>
                    <a:pt x="20" y="2"/>
                    <a:pt x="18" y="2"/>
                  </a:cubicBezTo>
                  <a:lnTo>
                    <a:pt x="18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7" name="Freeform 68">
              <a:extLst>
                <a:ext uri="{FF2B5EF4-FFF2-40B4-BE49-F238E27FC236}">
                  <a16:creationId xmlns:a16="http://schemas.microsoft.com/office/drawing/2014/main" id="{500CF630-6125-4D30-8E93-D3083832B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6538" y="3581400"/>
              <a:ext cx="14288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" y="4"/>
                </a:cxn>
                <a:cxn ang="0">
                  <a:pos x="0" y="10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6" y="6"/>
                </a:cxn>
                <a:cxn ang="0">
                  <a:pos x="8" y="3"/>
                </a:cxn>
                <a:cxn ang="0">
                  <a:pos x="8" y="0"/>
                </a:cxn>
              </a:cxnLst>
              <a:rect l="0" t="0" r="r" b="b"/>
              <a:pathLst>
                <a:path w="8" h="13">
                  <a:moveTo>
                    <a:pt x="8" y="0"/>
                  </a:moveTo>
                  <a:cubicBezTo>
                    <a:pt x="5" y="0"/>
                    <a:pt x="3" y="3"/>
                    <a:pt x="2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1" y="11"/>
                    <a:pt x="0" y="12"/>
                    <a:pt x="1" y="12"/>
                  </a:cubicBezTo>
                  <a:cubicBezTo>
                    <a:pt x="1" y="13"/>
                    <a:pt x="3" y="12"/>
                    <a:pt x="3" y="12"/>
                  </a:cubicBezTo>
                  <a:cubicBezTo>
                    <a:pt x="5" y="11"/>
                    <a:pt x="5" y="8"/>
                    <a:pt x="6" y="6"/>
                  </a:cubicBezTo>
                  <a:cubicBezTo>
                    <a:pt x="7" y="5"/>
                    <a:pt x="8" y="4"/>
                    <a:pt x="8" y="3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8" name="Freeform 69">
              <a:extLst>
                <a:ext uri="{FF2B5EF4-FFF2-40B4-BE49-F238E27FC236}">
                  <a16:creationId xmlns:a16="http://schemas.microsoft.com/office/drawing/2014/main" id="{EEC6DEE7-05EE-4B84-9322-E8004C8B4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8275" y="3482975"/>
              <a:ext cx="58738" cy="39688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0" y="7"/>
                </a:cxn>
                <a:cxn ang="0">
                  <a:pos x="19" y="9"/>
                </a:cxn>
                <a:cxn ang="0">
                  <a:pos x="16" y="10"/>
                </a:cxn>
                <a:cxn ang="0">
                  <a:pos x="15" y="12"/>
                </a:cxn>
                <a:cxn ang="0">
                  <a:pos x="13" y="13"/>
                </a:cxn>
                <a:cxn ang="0">
                  <a:pos x="9" y="15"/>
                </a:cxn>
                <a:cxn ang="0">
                  <a:pos x="4" y="15"/>
                </a:cxn>
                <a:cxn ang="0">
                  <a:pos x="0" y="19"/>
                </a:cxn>
                <a:cxn ang="0">
                  <a:pos x="3" y="22"/>
                </a:cxn>
                <a:cxn ang="0">
                  <a:pos x="5" y="18"/>
                </a:cxn>
                <a:cxn ang="0">
                  <a:pos x="10" y="18"/>
                </a:cxn>
                <a:cxn ang="0">
                  <a:pos x="14" y="15"/>
                </a:cxn>
                <a:cxn ang="0">
                  <a:pos x="15" y="12"/>
                </a:cxn>
                <a:cxn ang="0">
                  <a:pos x="21" y="11"/>
                </a:cxn>
                <a:cxn ang="0">
                  <a:pos x="23" y="10"/>
                </a:cxn>
                <a:cxn ang="0">
                  <a:pos x="28" y="6"/>
                </a:cxn>
                <a:cxn ang="0">
                  <a:pos x="31" y="1"/>
                </a:cxn>
                <a:cxn ang="0">
                  <a:pos x="27" y="0"/>
                </a:cxn>
              </a:cxnLst>
              <a:rect l="0" t="0" r="r" b="b"/>
              <a:pathLst>
                <a:path w="31" h="22">
                  <a:moveTo>
                    <a:pt x="27" y="0"/>
                  </a:moveTo>
                  <a:cubicBezTo>
                    <a:pt x="24" y="2"/>
                    <a:pt x="21" y="4"/>
                    <a:pt x="20" y="7"/>
                  </a:cubicBezTo>
                  <a:cubicBezTo>
                    <a:pt x="19" y="8"/>
                    <a:pt x="19" y="9"/>
                    <a:pt x="19" y="9"/>
                  </a:cubicBezTo>
                  <a:cubicBezTo>
                    <a:pt x="18" y="11"/>
                    <a:pt x="17" y="9"/>
                    <a:pt x="16" y="10"/>
                  </a:cubicBezTo>
                  <a:cubicBezTo>
                    <a:pt x="14" y="11"/>
                    <a:pt x="15" y="11"/>
                    <a:pt x="15" y="12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2" y="13"/>
                    <a:pt x="8" y="14"/>
                    <a:pt x="9" y="15"/>
                  </a:cubicBezTo>
                  <a:cubicBezTo>
                    <a:pt x="7" y="16"/>
                    <a:pt x="6" y="15"/>
                    <a:pt x="4" y="15"/>
                  </a:cubicBezTo>
                  <a:cubicBezTo>
                    <a:pt x="2" y="15"/>
                    <a:pt x="1" y="16"/>
                    <a:pt x="0" y="19"/>
                  </a:cubicBezTo>
                  <a:cubicBezTo>
                    <a:pt x="0" y="21"/>
                    <a:pt x="1" y="21"/>
                    <a:pt x="3" y="22"/>
                  </a:cubicBezTo>
                  <a:cubicBezTo>
                    <a:pt x="6" y="22"/>
                    <a:pt x="4" y="20"/>
                    <a:pt x="5" y="18"/>
                  </a:cubicBezTo>
                  <a:cubicBezTo>
                    <a:pt x="8" y="20"/>
                    <a:pt x="7" y="19"/>
                    <a:pt x="10" y="18"/>
                  </a:cubicBezTo>
                  <a:cubicBezTo>
                    <a:pt x="12" y="18"/>
                    <a:pt x="14" y="18"/>
                    <a:pt x="14" y="15"/>
                  </a:cubicBezTo>
                  <a:cubicBezTo>
                    <a:pt x="14" y="13"/>
                    <a:pt x="15" y="13"/>
                    <a:pt x="15" y="12"/>
                  </a:cubicBezTo>
                  <a:cubicBezTo>
                    <a:pt x="17" y="11"/>
                    <a:pt x="19" y="11"/>
                    <a:pt x="21" y="11"/>
                  </a:cubicBezTo>
                  <a:cubicBezTo>
                    <a:pt x="22" y="11"/>
                    <a:pt x="22" y="11"/>
                    <a:pt x="23" y="10"/>
                  </a:cubicBezTo>
                  <a:cubicBezTo>
                    <a:pt x="25" y="9"/>
                    <a:pt x="27" y="8"/>
                    <a:pt x="28" y="6"/>
                  </a:cubicBezTo>
                  <a:cubicBezTo>
                    <a:pt x="29" y="5"/>
                    <a:pt x="30" y="2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9" name="Freeform 70">
              <a:extLst>
                <a:ext uri="{FF2B5EF4-FFF2-40B4-BE49-F238E27FC236}">
                  <a16:creationId xmlns:a16="http://schemas.microsoft.com/office/drawing/2014/main" id="{21CEDA61-609C-4115-B6F4-6592D5B37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9238" y="3435350"/>
              <a:ext cx="7938" cy="952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0" y="5"/>
                </a:cxn>
                <a:cxn ang="0">
                  <a:pos x="2" y="1"/>
                </a:cxn>
                <a:cxn ang="0">
                  <a:pos x="3" y="2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4" y="4"/>
                    <a:pt x="2" y="5"/>
                    <a:pt x="0" y="5"/>
                  </a:cubicBezTo>
                  <a:cubicBezTo>
                    <a:pt x="0" y="4"/>
                    <a:pt x="0" y="0"/>
                    <a:pt x="2" y="1"/>
                  </a:cubicBezTo>
                  <a:cubicBezTo>
                    <a:pt x="2" y="1"/>
                    <a:pt x="2" y="2"/>
                    <a:pt x="3" y="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0" name="Freeform 71">
              <a:extLst>
                <a:ext uri="{FF2B5EF4-FFF2-40B4-BE49-F238E27FC236}">
                  <a16:creationId xmlns:a16="http://schemas.microsoft.com/office/drawing/2014/main" id="{CE86B126-FB80-445B-9550-59D5C281E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538" y="3416300"/>
              <a:ext cx="22225" cy="26988"/>
            </a:xfrm>
            <a:custGeom>
              <a:avLst/>
              <a:gdLst/>
              <a:ahLst/>
              <a:cxnLst>
                <a:cxn ang="0">
                  <a:pos x="12" y="5"/>
                </a:cxn>
                <a:cxn ang="0">
                  <a:pos x="10" y="0"/>
                </a:cxn>
                <a:cxn ang="0">
                  <a:pos x="7" y="3"/>
                </a:cxn>
                <a:cxn ang="0">
                  <a:pos x="1" y="9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9"/>
                </a:cxn>
                <a:cxn ang="0">
                  <a:pos x="8" y="7"/>
                </a:cxn>
                <a:cxn ang="0">
                  <a:pos x="11" y="4"/>
                </a:cxn>
                <a:cxn ang="0">
                  <a:pos x="12" y="5"/>
                </a:cxn>
              </a:cxnLst>
              <a:rect l="0" t="0" r="r" b="b"/>
              <a:pathLst>
                <a:path w="12" h="14">
                  <a:moveTo>
                    <a:pt x="12" y="5"/>
                  </a:moveTo>
                  <a:cubicBezTo>
                    <a:pt x="12" y="3"/>
                    <a:pt x="12" y="1"/>
                    <a:pt x="10" y="0"/>
                  </a:cubicBezTo>
                  <a:cubicBezTo>
                    <a:pt x="7" y="0"/>
                    <a:pt x="8" y="2"/>
                    <a:pt x="7" y="3"/>
                  </a:cubicBezTo>
                  <a:cubicBezTo>
                    <a:pt x="6" y="6"/>
                    <a:pt x="2" y="6"/>
                    <a:pt x="1" y="9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1" y="14"/>
                    <a:pt x="4" y="14"/>
                    <a:pt x="4" y="12"/>
                  </a:cubicBezTo>
                  <a:cubicBezTo>
                    <a:pt x="4" y="11"/>
                    <a:pt x="3" y="10"/>
                    <a:pt x="4" y="9"/>
                  </a:cubicBezTo>
                  <a:cubicBezTo>
                    <a:pt x="4" y="8"/>
                    <a:pt x="7" y="7"/>
                    <a:pt x="8" y="7"/>
                  </a:cubicBezTo>
                  <a:cubicBezTo>
                    <a:pt x="9" y="6"/>
                    <a:pt x="11" y="6"/>
                    <a:pt x="11" y="4"/>
                  </a:cubicBezTo>
                  <a:lnTo>
                    <a:pt x="12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1" name="Freeform 72">
              <a:extLst>
                <a:ext uri="{FF2B5EF4-FFF2-40B4-BE49-F238E27FC236}">
                  <a16:creationId xmlns:a16="http://schemas.microsoft.com/office/drawing/2014/main" id="{FEA6A500-6B94-4722-814F-6FB98AB6D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3455988"/>
              <a:ext cx="6350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2" y="3"/>
                    <a:pt x="3" y="2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2" name="Freeform 73">
              <a:extLst>
                <a:ext uri="{FF2B5EF4-FFF2-40B4-BE49-F238E27FC236}">
                  <a16:creationId xmlns:a16="http://schemas.microsoft.com/office/drawing/2014/main" id="{D5D9E731-77FE-454A-96C8-629E95CB0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300" y="3294063"/>
              <a:ext cx="42863" cy="120650"/>
            </a:xfrm>
            <a:custGeom>
              <a:avLst/>
              <a:gdLst/>
              <a:ahLst/>
              <a:cxnLst>
                <a:cxn ang="0">
                  <a:pos x="7" y="61"/>
                </a:cxn>
                <a:cxn ang="0">
                  <a:pos x="12" y="62"/>
                </a:cxn>
                <a:cxn ang="0">
                  <a:pos x="12" y="65"/>
                </a:cxn>
                <a:cxn ang="0">
                  <a:pos x="14" y="61"/>
                </a:cxn>
                <a:cxn ang="0">
                  <a:pos x="15" y="58"/>
                </a:cxn>
                <a:cxn ang="0">
                  <a:pos x="17" y="58"/>
                </a:cxn>
                <a:cxn ang="0">
                  <a:pos x="14" y="57"/>
                </a:cxn>
                <a:cxn ang="0">
                  <a:pos x="14" y="55"/>
                </a:cxn>
                <a:cxn ang="0">
                  <a:pos x="13" y="50"/>
                </a:cxn>
                <a:cxn ang="0">
                  <a:pos x="16" y="47"/>
                </a:cxn>
                <a:cxn ang="0">
                  <a:pos x="13" y="41"/>
                </a:cxn>
                <a:cxn ang="0">
                  <a:pos x="14" y="38"/>
                </a:cxn>
                <a:cxn ang="0">
                  <a:pos x="12" y="37"/>
                </a:cxn>
                <a:cxn ang="0">
                  <a:pos x="13" y="33"/>
                </a:cxn>
                <a:cxn ang="0">
                  <a:pos x="12" y="31"/>
                </a:cxn>
                <a:cxn ang="0">
                  <a:pos x="16" y="30"/>
                </a:cxn>
                <a:cxn ang="0">
                  <a:pos x="13" y="25"/>
                </a:cxn>
                <a:cxn ang="0">
                  <a:pos x="20" y="22"/>
                </a:cxn>
                <a:cxn ang="0">
                  <a:pos x="20" y="18"/>
                </a:cxn>
                <a:cxn ang="0">
                  <a:pos x="20" y="17"/>
                </a:cxn>
                <a:cxn ang="0">
                  <a:pos x="19" y="13"/>
                </a:cxn>
                <a:cxn ang="0">
                  <a:pos x="22" y="12"/>
                </a:cxn>
                <a:cxn ang="0">
                  <a:pos x="23" y="6"/>
                </a:cxn>
                <a:cxn ang="0">
                  <a:pos x="20" y="4"/>
                </a:cxn>
                <a:cxn ang="0">
                  <a:pos x="20" y="5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7" y="5"/>
                </a:cxn>
                <a:cxn ang="0">
                  <a:pos x="2" y="2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6" y="14"/>
                </a:cxn>
                <a:cxn ang="0">
                  <a:pos x="6" y="17"/>
                </a:cxn>
                <a:cxn ang="0">
                  <a:pos x="8" y="17"/>
                </a:cxn>
                <a:cxn ang="0">
                  <a:pos x="8" y="20"/>
                </a:cxn>
                <a:cxn ang="0">
                  <a:pos x="9" y="20"/>
                </a:cxn>
                <a:cxn ang="0">
                  <a:pos x="4" y="23"/>
                </a:cxn>
                <a:cxn ang="0">
                  <a:pos x="8" y="27"/>
                </a:cxn>
                <a:cxn ang="0">
                  <a:pos x="2" y="32"/>
                </a:cxn>
                <a:cxn ang="0">
                  <a:pos x="3" y="33"/>
                </a:cxn>
                <a:cxn ang="0">
                  <a:pos x="4" y="34"/>
                </a:cxn>
                <a:cxn ang="0">
                  <a:pos x="5" y="39"/>
                </a:cxn>
                <a:cxn ang="0">
                  <a:pos x="6" y="41"/>
                </a:cxn>
                <a:cxn ang="0">
                  <a:pos x="5" y="41"/>
                </a:cxn>
                <a:cxn ang="0">
                  <a:pos x="4" y="44"/>
                </a:cxn>
                <a:cxn ang="0">
                  <a:pos x="6" y="55"/>
                </a:cxn>
                <a:cxn ang="0">
                  <a:pos x="6" y="58"/>
                </a:cxn>
                <a:cxn ang="0">
                  <a:pos x="9" y="61"/>
                </a:cxn>
                <a:cxn ang="0">
                  <a:pos x="10" y="61"/>
                </a:cxn>
                <a:cxn ang="0">
                  <a:pos x="7" y="61"/>
                </a:cxn>
              </a:cxnLst>
              <a:rect l="0" t="0" r="r" b="b"/>
              <a:pathLst>
                <a:path w="23" h="65">
                  <a:moveTo>
                    <a:pt x="7" y="61"/>
                  </a:moveTo>
                  <a:cubicBezTo>
                    <a:pt x="9" y="62"/>
                    <a:pt x="10" y="62"/>
                    <a:pt x="12" y="62"/>
                  </a:cubicBezTo>
                  <a:cubicBezTo>
                    <a:pt x="13" y="63"/>
                    <a:pt x="12" y="64"/>
                    <a:pt x="12" y="65"/>
                  </a:cubicBezTo>
                  <a:cubicBezTo>
                    <a:pt x="13" y="64"/>
                    <a:pt x="14" y="63"/>
                    <a:pt x="14" y="61"/>
                  </a:cubicBezTo>
                  <a:cubicBezTo>
                    <a:pt x="15" y="60"/>
                    <a:pt x="14" y="59"/>
                    <a:pt x="15" y="58"/>
                  </a:cubicBezTo>
                  <a:cubicBezTo>
                    <a:pt x="15" y="58"/>
                    <a:pt x="16" y="58"/>
                    <a:pt x="17" y="58"/>
                  </a:cubicBezTo>
                  <a:cubicBezTo>
                    <a:pt x="17" y="57"/>
                    <a:pt x="15" y="57"/>
                    <a:pt x="14" y="57"/>
                  </a:cubicBezTo>
                  <a:cubicBezTo>
                    <a:pt x="13" y="56"/>
                    <a:pt x="14" y="56"/>
                    <a:pt x="14" y="55"/>
                  </a:cubicBezTo>
                  <a:cubicBezTo>
                    <a:pt x="13" y="53"/>
                    <a:pt x="15" y="52"/>
                    <a:pt x="13" y="50"/>
                  </a:cubicBezTo>
                  <a:cubicBezTo>
                    <a:pt x="14" y="49"/>
                    <a:pt x="15" y="47"/>
                    <a:pt x="16" y="47"/>
                  </a:cubicBezTo>
                  <a:cubicBezTo>
                    <a:pt x="17" y="44"/>
                    <a:pt x="14" y="43"/>
                    <a:pt x="13" y="41"/>
                  </a:cubicBezTo>
                  <a:cubicBezTo>
                    <a:pt x="13" y="40"/>
                    <a:pt x="15" y="39"/>
                    <a:pt x="14" y="38"/>
                  </a:cubicBezTo>
                  <a:cubicBezTo>
                    <a:pt x="14" y="37"/>
                    <a:pt x="13" y="38"/>
                    <a:pt x="12" y="37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32"/>
                    <a:pt x="12" y="32"/>
                    <a:pt x="12" y="31"/>
                  </a:cubicBezTo>
                  <a:cubicBezTo>
                    <a:pt x="13" y="30"/>
                    <a:pt x="16" y="32"/>
                    <a:pt x="16" y="30"/>
                  </a:cubicBezTo>
                  <a:cubicBezTo>
                    <a:pt x="17" y="28"/>
                    <a:pt x="11" y="28"/>
                    <a:pt x="13" y="25"/>
                  </a:cubicBezTo>
                  <a:cubicBezTo>
                    <a:pt x="15" y="25"/>
                    <a:pt x="17" y="22"/>
                    <a:pt x="20" y="22"/>
                  </a:cubicBezTo>
                  <a:cubicBezTo>
                    <a:pt x="20" y="20"/>
                    <a:pt x="20" y="20"/>
                    <a:pt x="20" y="18"/>
                  </a:cubicBezTo>
                  <a:cubicBezTo>
                    <a:pt x="21" y="19"/>
                    <a:pt x="21" y="17"/>
                    <a:pt x="20" y="17"/>
                  </a:cubicBezTo>
                  <a:cubicBezTo>
                    <a:pt x="19" y="15"/>
                    <a:pt x="18" y="14"/>
                    <a:pt x="19" y="13"/>
                  </a:cubicBezTo>
                  <a:cubicBezTo>
                    <a:pt x="20" y="12"/>
                    <a:pt x="22" y="14"/>
                    <a:pt x="22" y="12"/>
                  </a:cubicBezTo>
                  <a:cubicBezTo>
                    <a:pt x="23" y="10"/>
                    <a:pt x="23" y="8"/>
                    <a:pt x="23" y="6"/>
                  </a:cubicBezTo>
                  <a:cubicBezTo>
                    <a:pt x="23" y="5"/>
                    <a:pt x="22" y="3"/>
                    <a:pt x="20" y="4"/>
                  </a:cubicBezTo>
                  <a:cubicBezTo>
                    <a:pt x="20" y="4"/>
                    <a:pt x="21" y="5"/>
                    <a:pt x="20" y="5"/>
                  </a:cubicBezTo>
                  <a:cubicBezTo>
                    <a:pt x="19" y="6"/>
                    <a:pt x="17" y="2"/>
                    <a:pt x="16" y="2"/>
                  </a:cubicBezTo>
                  <a:cubicBezTo>
                    <a:pt x="15" y="0"/>
                    <a:pt x="14" y="1"/>
                    <a:pt x="13" y="2"/>
                  </a:cubicBezTo>
                  <a:cubicBezTo>
                    <a:pt x="11" y="4"/>
                    <a:pt x="10" y="6"/>
                    <a:pt x="7" y="5"/>
                  </a:cubicBezTo>
                  <a:cubicBezTo>
                    <a:pt x="5" y="4"/>
                    <a:pt x="4" y="2"/>
                    <a:pt x="2" y="2"/>
                  </a:cubicBezTo>
                  <a:cubicBezTo>
                    <a:pt x="0" y="3"/>
                    <a:pt x="0" y="10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4"/>
                    <a:pt x="7" y="15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8" y="18"/>
                    <a:pt x="8" y="19"/>
                    <a:pt x="8" y="20"/>
                  </a:cubicBezTo>
                  <a:cubicBezTo>
                    <a:pt x="8" y="20"/>
                    <a:pt x="8" y="20"/>
                    <a:pt x="9" y="20"/>
                  </a:cubicBezTo>
                  <a:cubicBezTo>
                    <a:pt x="7" y="21"/>
                    <a:pt x="5" y="22"/>
                    <a:pt x="4" y="23"/>
                  </a:cubicBezTo>
                  <a:cubicBezTo>
                    <a:pt x="3" y="27"/>
                    <a:pt x="6" y="25"/>
                    <a:pt x="8" y="27"/>
                  </a:cubicBezTo>
                  <a:cubicBezTo>
                    <a:pt x="7" y="29"/>
                    <a:pt x="2" y="29"/>
                    <a:pt x="2" y="32"/>
                  </a:cubicBezTo>
                  <a:cubicBezTo>
                    <a:pt x="2" y="32"/>
                    <a:pt x="3" y="32"/>
                    <a:pt x="3" y="33"/>
                  </a:cubicBezTo>
                  <a:cubicBezTo>
                    <a:pt x="4" y="33"/>
                    <a:pt x="4" y="34"/>
                    <a:pt x="4" y="34"/>
                  </a:cubicBezTo>
                  <a:cubicBezTo>
                    <a:pt x="5" y="36"/>
                    <a:pt x="5" y="37"/>
                    <a:pt x="5" y="39"/>
                  </a:cubicBezTo>
                  <a:cubicBezTo>
                    <a:pt x="6" y="39"/>
                    <a:pt x="6" y="40"/>
                    <a:pt x="6" y="41"/>
                  </a:cubicBezTo>
                  <a:cubicBezTo>
                    <a:pt x="6" y="41"/>
                    <a:pt x="6" y="41"/>
                    <a:pt x="5" y="41"/>
                  </a:cubicBezTo>
                  <a:cubicBezTo>
                    <a:pt x="5" y="42"/>
                    <a:pt x="4" y="43"/>
                    <a:pt x="4" y="44"/>
                  </a:cubicBezTo>
                  <a:cubicBezTo>
                    <a:pt x="3" y="48"/>
                    <a:pt x="5" y="51"/>
                    <a:pt x="6" y="55"/>
                  </a:cubicBezTo>
                  <a:cubicBezTo>
                    <a:pt x="6" y="55"/>
                    <a:pt x="6" y="57"/>
                    <a:pt x="6" y="58"/>
                  </a:cubicBezTo>
                  <a:cubicBezTo>
                    <a:pt x="7" y="59"/>
                    <a:pt x="9" y="59"/>
                    <a:pt x="9" y="61"/>
                  </a:cubicBezTo>
                  <a:cubicBezTo>
                    <a:pt x="10" y="61"/>
                    <a:pt x="10" y="61"/>
                    <a:pt x="10" y="61"/>
                  </a:cubicBezTo>
                  <a:lnTo>
                    <a:pt x="7" y="6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3" name="Freeform 74">
              <a:extLst>
                <a:ext uri="{FF2B5EF4-FFF2-40B4-BE49-F238E27FC236}">
                  <a16:creationId xmlns:a16="http://schemas.microsoft.com/office/drawing/2014/main" id="{CAEB18EE-3E31-4635-924D-41FD53D8D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713" y="3184525"/>
              <a:ext cx="17463" cy="1746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7" y="6"/>
                </a:cxn>
                <a:cxn ang="0">
                  <a:pos x="8" y="2"/>
                </a:cxn>
                <a:cxn ang="0">
                  <a:pos x="3" y="3"/>
                </a:cxn>
                <a:cxn ang="0">
                  <a:pos x="0" y="7"/>
                </a:cxn>
              </a:cxnLst>
              <a:rect l="0" t="0" r="r" b="b"/>
              <a:pathLst>
                <a:path w="9" h="9">
                  <a:moveTo>
                    <a:pt x="0" y="7"/>
                  </a:moveTo>
                  <a:cubicBezTo>
                    <a:pt x="0" y="9"/>
                    <a:pt x="6" y="7"/>
                    <a:pt x="7" y="6"/>
                  </a:cubicBezTo>
                  <a:cubicBezTo>
                    <a:pt x="8" y="5"/>
                    <a:pt x="9" y="3"/>
                    <a:pt x="8" y="2"/>
                  </a:cubicBezTo>
                  <a:cubicBezTo>
                    <a:pt x="7" y="0"/>
                    <a:pt x="4" y="2"/>
                    <a:pt x="3" y="3"/>
                  </a:cubicBezTo>
                  <a:cubicBezTo>
                    <a:pt x="1" y="5"/>
                    <a:pt x="0" y="7"/>
                    <a:pt x="0" y="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4" name="Freeform 75">
              <a:extLst>
                <a:ext uri="{FF2B5EF4-FFF2-40B4-BE49-F238E27FC236}">
                  <a16:creationId xmlns:a16="http://schemas.microsoft.com/office/drawing/2014/main" id="{65FB11CE-D1EB-48FA-A30E-FC3E3862D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136900"/>
              <a:ext cx="100013" cy="147638"/>
            </a:xfrm>
            <a:custGeom>
              <a:avLst/>
              <a:gdLst/>
              <a:ahLst/>
              <a:cxnLst>
                <a:cxn ang="0">
                  <a:pos x="51" y="15"/>
                </a:cxn>
                <a:cxn ang="0">
                  <a:pos x="52" y="10"/>
                </a:cxn>
                <a:cxn ang="0">
                  <a:pos x="52" y="6"/>
                </a:cxn>
                <a:cxn ang="0">
                  <a:pos x="51" y="2"/>
                </a:cxn>
                <a:cxn ang="0">
                  <a:pos x="44" y="7"/>
                </a:cxn>
                <a:cxn ang="0">
                  <a:pos x="41" y="8"/>
                </a:cxn>
                <a:cxn ang="0">
                  <a:pos x="38" y="10"/>
                </a:cxn>
                <a:cxn ang="0">
                  <a:pos x="38" y="11"/>
                </a:cxn>
                <a:cxn ang="0">
                  <a:pos x="34" y="11"/>
                </a:cxn>
                <a:cxn ang="0">
                  <a:pos x="32" y="15"/>
                </a:cxn>
                <a:cxn ang="0">
                  <a:pos x="21" y="19"/>
                </a:cxn>
                <a:cxn ang="0">
                  <a:pos x="18" y="24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14" y="29"/>
                </a:cxn>
                <a:cxn ang="0">
                  <a:pos x="12" y="30"/>
                </a:cxn>
                <a:cxn ang="0">
                  <a:pos x="13" y="32"/>
                </a:cxn>
                <a:cxn ang="0">
                  <a:pos x="8" y="29"/>
                </a:cxn>
                <a:cxn ang="0">
                  <a:pos x="5" y="32"/>
                </a:cxn>
                <a:cxn ang="0">
                  <a:pos x="4" y="36"/>
                </a:cxn>
                <a:cxn ang="0">
                  <a:pos x="5" y="39"/>
                </a:cxn>
                <a:cxn ang="0">
                  <a:pos x="3" y="42"/>
                </a:cxn>
                <a:cxn ang="0">
                  <a:pos x="9" y="50"/>
                </a:cxn>
                <a:cxn ang="0">
                  <a:pos x="1" y="52"/>
                </a:cxn>
                <a:cxn ang="0">
                  <a:pos x="3" y="58"/>
                </a:cxn>
                <a:cxn ang="0">
                  <a:pos x="14" y="63"/>
                </a:cxn>
                <a:cxn ang="0">
                  <a:pos x="8" y="65"/>
                </a:cxn>
                <a:cxn ang="0">
                  <a:pos x="9" y="67"/>
                </a:cxn>
                <a:cxn ang="0">
                  <a:pos x="8" y="68"/>
                </a:cxn>
                <a:cxn ang="0">
                  <a:pos x="7" y="70"/>
                </a:cxn>
                <a:cxn ang="0">
                  <a:pos x="4" y="72"/>
                </a:cxn>
                <a:cxn ang="0">
                  <a:pos x="5" y="75"/>
                </a:cxn>
                <a:cxn ang="0">
                  <a:pos x="6" y="77"/>
                </a:cxn>
                <a:cxn ang="0">
                  <a:pos x="10" y="79"/>
                </a:cxn>
                <a:cxn ang="0">
                  <a:pos x="13" y="75"/>
                </a:cxn>
                <a:cxn ang="0">
                  <a:pos x="23" y="75"/>
                </a:cxn>
                <a:cxn ang="0">
                  <a:pos x="20" y="66"/>
                </a:cxn>
                <a:cxn ang="0">
                  <a:pos x="23" y="67"/>
                </a:cxn>
                <a:cxn ang="0">
                  <a:pos x="28" y="68"/>
                </a:cxn>
                <a:cxn ang="0">
                  <a:pos x="26" y="61"/>
                </a:cxn>
                <a:cxn ang="0">
                  <a:pos x="31" y="61"/>
                </a:cxn>
                <a:cxn ang="0">
                  <a:pos x="34" y="59"/>
                </a:cxn>
                <a:cxn ang="0">
                  <a:pos x="37" y="57"/>
                </a:cxn>
                <a:cxn ang="0">
                  <a:pos x="31" y="54"/>
                </a:cxn>
                <a:cxn ang="0">
                  <a:pos x="42" y="49"/>
                </a:cxn>
                <a:cxn ang="0">
                  <a:pos x="38" y="41"/>
                </a:cxn>
                <a:cxn ang="0">
                  <a:pos x="42" y="39"/>
                </a:cxn>
                <a:cxn ang="0">
                  <a:pos x="41" y="37"/>
                </a:cxn>
                <a:cxn ang="0">
                  <a:pos x="41" y="34"/>
                </a:cxn>
                <a:cxn ang="0">
                  <a:pos x="42" y="32"/>
                </a:cxn>
                <a:cxn ang="0">
                  <a:pos x="41" y="30"/>
                </a:cxn>
                <a:cxn ang="0">
                  <a:pos x="45" y="25"/>
                </a:cxn>
                <a:cxn ang="0">
                  <a:pos x="49" y="21"/>
                </a:cxn>
                <a:cxn ang="0">
                  <a:pos x="51" y="15"/>
                </a:cxn>
              </a:cxnLst>
              <a:rect l="0" t="0" r="r" b="b"/>
              <a:pathLst>
                <a:path w="54" h="79">
                  <a:moveTo>
                    <a:pt x="51" y="15"/>
                  </a:moveTo>
                  <a:cubicBezTo>
                    <a:pt x="54" y="11"/>
                    <a:pt x="53" y="15"/>
                    <a:pt x="52" y="10"/>
                  </a:cubicBezTo>
                  <a:cubicBezTo>
                    <a:pt x="52" y="8"/>
                    <a:pt x="52" y="7"/>
                    <a:pt x="52" y="6"/>
                  </a:cubicBezTo>
                  <a:cubicBezTo>
                    <a:pt x="52" y="4"/>
                    <a:pt x="52" y="3"/>
                    <a:pt x="51" y="2"/>
                  </a:cubicBezTo>
                  <a:cubicBezTo>
                    <a:pt x="47" y="0"/>
                    <a:pt x="46" y="4"/>
                    <a:pt x="44" y="7"/>
                  </a:cubicBezTo>
                  <a:cubicBezTo>
                    <a:pt x="43" y="7"/>
                    <a:pt x="42" y="8"/>
                    <a:pt x="41" y="8"/>
                  </a:cubicBezTo>
                  <a:cubicBezTo>
                    <a:pt x="40" y="9"/>
                    <a:pt x="39" y="9"/>
                    <a:pt x="38" y="10"/>
                  </a:cubicBezTo>
                  <a:cubicBezTo>
                    <a:pt x="38" y="10"/>
                    <a:pt x="38" y="10"/>
                    <a:pt x="38" y="11"/>
                  </a:cubicBezTo>
                  <a:cubicBezTo>
                    <a:pt x="37" y="11"/>
                    <a:pt x="35" y="10"/>
                    <a:pt x="34" y="11"/>
                  </a:cubicBezTo>
                  <a:cubicBezTo>
                    <a:pt x="33" y="11"/>
                    <a:pt x="32" y="14"/>
                    <a:pt x="32" y="15"/>
                  </a:cubicBezTo>
                  <a:cubicBezTo>
                    <a:pt x="29" y="19"/>
                    <a:pt x="25" y="19"/>
                    <a:pt x="21" y="19"/>
                  </a:cubicBezTo>
                  <a:cubicBezTo>
                    <a:pt x="19" y="19"/>
                    <a:pt x="19" y="22"/>
                    <a:pt x="18" y="24"/>
                  </a:cubicBezTo>
                  <a:cubicBezTo>
                    <a:pt x="18" y="26"/>
                    <a:pt x="17" y="29"/>
                    <a:pt x="17" y="30"/>
                  </a:cubicBezTo>
                  <a:cubicBezTo>
                    <a:pt x="17" y="32"/>
                    <a:pt x="19" y="31"/>
                    <a:pt x="19" y="32"/>
                  </a:cubicBezTo>
                  <a:cubicBezTo>
                    <a:pt x="18" y="31"/>
                    <a:pt x="16" y="30"/>
                    <a:pt x="14" y="29"/>
                  </a:cubicBezTo>
                  <a:cubicBezTo>
                    <a:pt x="13" y="29"/>
                    <a:pt x="13" y="28"/>
                    <a:pt x="12" y="30"/>
                  </a:cubicBezTo>
                  <a:cubicBezTo>
                    <a:pt x="12" y="30"/>
                    <a:pt x="12" y="31"/>
                    <a:pt x="13" y="32"/>
                  </a:cubicBezTo>
                  <a:cubicBezTo>
                    <a:pt x="10" y="32"/>
                    <a:pt x="8" y="31"/>
                    <a:pt x="8" y="29"/>
                  </a:cubicBezTo>
                  <a:cubicBezTo>
                    <a:pt x="7" y="29"/>
                    <a:pt x="6" y="31"/>
                    <a:pt x="5" y="32"/>
                  </a:cubicBezTo>
                  <a:cubicBezTo>
                    <a:pt x="4" y="33"/>
                    <a:pt x="4" y="35"/>
                    <a:pt x="4" y="36"/>
                  </a:cubicBezTo>
                  <a:cubicBezTo>
                    <a:pt x="5" y="37"/>
                    <a:pt x="5" y="38"/>
                    <a:pt x="5" y="39"/>
                  </a:cubicBezTo>
                  <a:cubicBezTo>
                    <a:pt x="5" y="40"/>
                    <a:pt x="3" y="41"/>
                    <a:pt x="3" y="42"/>
                  </a:cubicBezTo>
                  <a:cubicBezTo>
                    <a:pt x="3" y="45"/>
                    <a:pt x="9" y="46"/>
                    <a:pt x="9" y="50"/>
                  </a:cubicBezTo>
                  <a:cubicBezTo>
                    <a:pt x="7" y="50"/>
                    <a:pt x="2" y="50"/>
                    <a:pt x="1" y="52"/>
                  </a:cubicBezTo>
                  <a:cubicBezTo>
                    <a:pt x="0" y="53"/>
                    <a:pt x="2" y="57"/>
                    <a:pt x="3" y="58"/>
                  </a:cubicBezTo>
                  <a:cubicBezTo>
                    <a:pt x="5" y="59"/>
                    <a:pt x="15" y="60"/>
                    <a:pt x="14" y="63"/>
                  </a:cubicBezTo>
                  <a:cubicBezTo>
                    <a:pt x="13" y="63"/>
                    <a:pt x="9" y="62"/>
                    <a:pt x="8" y="65"/>
                  </a:cubicBezTo>
                  <a:cubicBezTo>
                    <a:pt x="8" y="65"/>
                    <a:pt x="9" y="66"/>
                    <a:pt x="9" y="67"/>
                  </a:cubicBezTo>
                  <a:cubicBezTo>
                    <a:pt x="9" y="67"/>
                    <a:pt x="8" y="67"/>
                    <a:pt x="8" y="68"/>
                  </a:cubicBezTo>
                  <a:cubicBezTo>
                    <a:pt x="7" y="69"/>
                    <a:pt x="7" y="69"/>
                    <a:pt x="7" y="70"/>
                  </a:cubicBezTo>
                  <a:cubicBezTo>
                    <a:pt x="5" y="71"/>
                    <a:pt x="5" y="71"/>
                    <a:pt x="4" y="72"/>
                  </a:cubicBezTo>
                  <a:cubicBezTo>
                    <a:pt x="4" y="73"/>
                    <a:pt x="4" y="74"/>
                    <a:pt x="5" y="75"/>
                  </a:cubicBezTo>
                  <a:cubicBezTo>
                    <a:pt x="5" y="76"/>
                    <a:pt x="6" y="76"/>
                    <a:pt x="6" y="77"/>
                  </a:cubicBezTo>
                  <a:cubicBezTo>
                    <a:pt x="7" y="77"/>
                    <a:pt x="8" y="79"/>
                    <a:pt x="10" y="79"/>
                  </a:cubicBezTo>
                  <a:cubicBezTo>
                    <a:pt x="12" y="79"/>
                    <a:pt x="13" y="77"/>
                    <a:pt x="13" y="75"/>
                  </a:cubicBezTo>
                  <a:cubicBezTo>
                    <a:pt x="16" y="74"/>
                    <a:pt x="20" y="75"/>
                    <a:pt x="23" y="75"/>
                  </a:cubicBezTo>
                  <a:cubicBezTo>
                    <a:pt x="24" y="71"/>
                    <a:pt x="22" y="69"/>
                    <a:pt x="20" y="66"/>
                  </a:cubicBezTo>
                  <a:cubicBezTo>
                    <a:pt x="21" y="65"/>
                    <a:pt x="22" y="66"/>
                    <a:pt x="23" y="67"/>
                  </a:cubicBezTo>
                  <a:cubicBezTo>
                    <a:pt x="25" y="69"/>
                    <a:pt x="26" y="69"/>
                    <a:pt x="28" y="68"/>
                  </a:cubicBezTo>
                  <a:cubicBezTo>
                    <a:pt x="31" y="65"/>
                    <a:pt x="29" y="63"/>
                    <a:pt x="26" y="61"/>
                  </a:cubicBezTo>
                  <a:cubicBezTo>
                    <a:pt x="27" y="60"/>
                    <a:pt x="29" y="61"/>
                    <a:pt x="31" y="61"/>
                  </a:cubicBezTo>
                  <a:cubicBezTo>
                    <a:pt x="33" y="61"/>
                    <a:pt x="33" y="60"/>
                    <a:pt x="34" y="59"/>
                  </a:cubicBezTo>
                  <a:cubicBezTo>
                    <a:pt x="35" y="59"/>
                    <a:pt x="37" y="58"/>
                    <a:pt x="37" y="57"/>
                  </a:cubicBezTo>
                  <a:cubicBezTo>
                    <a:pt x="37" y="56"/>
                    <a:pt x="33" y="54"/>
                    <a:pt x="31" y="54"/>
                  </a:cubicBezTo>
                  <a:cubicBezTo>
                    <a:pt x="34" y="54"/>
                    <a:pt x="42" y="52"/>
                    <a:pt x="42" y="49"/>
                  </a:cubicBezTo>
                  <a:cubicBezTo>
                    <a:pt x="42" y="46"/>
                    <a:pt x="35" y="43"/>
                    <a:pt x="38" y="41"/>
                  </a:cubicBezTo>
                  <a:cubicBezTo>
                    <a:pt x="39" y="40"/>
                    <a:pt x="41" y="41"/>
                    <a:pt x="42" y="39"/>
                  </a:cubicBezTo>
                  <a:cubicBezTo>
                    <a:pt x="44" y="38"/>
                    <a:pt x="42" y="38"/>
                    <a:pt x="41" y="37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1" y="33"/>
                    <a:pt x="42" y="33"/>
                    <a:pt x="42" y="32"/>
                  </a:cubicBezTo>
                  <a:cubicBezTo>
                    <a:pt x="42" y="32"/>
                    <a:pt x="41" y="31"/>
                    <a:pt x="41" y="30"/>
                  </a:cubicBezTo>
                  <a:cubicBezTo>
                    <a:pt x="41" y="28"/>
                    <a:pt x="43" y="26"/>
                    <a:pt x="45" y="25"/>
                  </a:cubicBezTo>
                  <a:cubicBezTo>
                    <a:pt x="47" y="24"/>
                    <a:pt x="49" y="24"/>
                    <a:pt x="49" y="21"/>
                  </a:cubicBezTo>
                  <a:lnTo>
                    <a:pt x="51" y="1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5" name="Freeform 76">
              <a:extLst>
                <a:ext uri="{FF2B5EF4-FFF2-40B4-BE49-F238E27FC236}">
                  <a16:creationId xmlns:a16="http://schemas.microsoft.com/office/drawing/2014/main" id="{245D4A3C-D613-4570-AB74-446A462D7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463" y="3005138"/>
              <a:ext cx="69850" cy="53975"/>
            </a:xfrm>
            <a:custGeom>
              <a:avLst/>
              <a:gdLst/>
              <a:ahLst/>
              <a:cxnLst>
                <a:cxn ang="0">
                  <a:pos x="20" y="7"/>
                </a:cxn>
                <a:cxn ang="0">
                  <a:pos x="13" y="2"/>
                </a:cxn>
                <a:cxn ang="0">
                  <a:pos x="9" y="1"/>
                </a:cxn>
                <a:cxn ang="0">
                  <a:pos x="5" y="11"/>
                </a:cxn>
                <a:cxn ang="0">
                  <a:pos x="3" y="21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0" y="13"/>
                </a:cxn>
                <a:cxn ang="0">
                  <a:pos x="12" y="19"/>
                </a:cxn>
                <a:cxn ang="0">
                  <a:pos x="11" y="24"/>
                </a:cxn>
                <a:cxn ang="0">
                  <a:pos x="19" y="22"/>
                </a:cxn>
                <a:cxn ang="0">
                  <a:pos x="23" y="25"/>
                </a:cxn>
                <a:cxn ang="0">
                  <a:pos x="26" y="26"/>
                </a:cxn>
                <a:cxn ang="0">
                  <a:pos x="28" y="27"/>
                </a:cxn>
                <a:cxn ang="0">
                  <a:pos x="33" y="28"/>
                </a:cxn>
                <a:cxn ang="0">
                  <a:pos x="37" y="23"/>
                </a:cxn>
                <a:cxn ang="0">
                  <a:pos x="31" y="22"/>
                </a:cxn>
                <a:cxn ang="0">
                  <a:pos x="31" y="19"/>
                </a:cxn>
                <a:cxn ang="0">
                  <a:pos x="23" y="15"/>
                </a:cxn>
                <a:cxn ang="0">
                  <a:pos x="20" y="15"/>
                </a:cxn>
                <a:cxn ang="0">
                  <a:pos x="19" y="7"/>
                </a:cxn>
                <a:cxn ang="0">
                  <a:pos x="20" y="7"/>
                </a:cxn>
              </a:cxnLst>
              <a:rect l="0" t="0" r="r" b="b"/>
              <a:pathLst>
                <a:path w="37" h="29">
                  <a:moveTo>
                    <a:pt x="20" y="7"/>
                  </a:moveTo>
                  <a:cubicBezTo>
                    <a:pt x="20" y="5"/>
                    <a:pt x="15" y="3"/>
                    <a:pt x="13" y="2"/>
                  </a:cubicBezTo>
                  <a:cubicBezTo>
                    <a:pt x="12" y="1"/>
                    <a:pt x="10" y="0"/>
                    <a:pt x="9" y="1"/>
                  </a:cubicBezTo>
                  <a:cubicBezTo>
                    <a:pt x="8" y="5"/>
                    <a:pt x="6" y="7"/>
                    <a:pt x="5" y="11"/>
                  </a:cubicBezTo>
                  <a:cubicBezTo>
                    <a:pt x="3" y="14"/>
                    <a:pt x="0" y="17"/>
                    <a:pt x="3" y="21"/>
                  </a:cubicBezTo>
                  <a:cubicBezTo>
                    <a:pt x="5" y="24"/>
                    <a:pt x="8" y="23"/>
                    <a:pt x="8" y="20"/>
                  </a:cubicBezTo>
                  <a:cubicBezTo>
                    <a:pt x="9" y="19"/>
                    <a:pt x="8" y="17"/>
                    <a:pt x="8" y="16"/>
                  </a:cubicBezTo>
                  <a:cubicBezTo>
                    <a:pt x="9" y="15"/>
                    <a:pt x="10" y="14"/>
                    <a:pt x="10" y="13"/>
                  </a:cubicBezTo>
                  <a:cubicBezTo>
                    <a:pt x="12" y="13"/>
                    <a:pt x="13" y="17"/>
                    <a:pt x="12" y="19"/>
                  </a:cubicBezTo>
                  <a:cubicBezTo>
                    <a:pt x="12" y="20"/>
                    <a:pt x="10" y="22"/>
                    <a:pt x="11" y="24"/>
                  </a:cubicBezTo>
                  <a:cubicBezTo>
                    <a:pt x="12" y="26"/>
                    <a:pt x="17" y="23"/>
                    <a:pt x="19" y="22"/>
                  </a:cubicBezTo>
                  <a:cubicBezTo>
                    <a:pt x="21" y="22"/>
                    <a:pt x="22" y="24"/>
                    <a:pt x="23" y="25"/>
                  </a:cubicBezTo>
                  <a:cubicBezTo>
                    <a:pt x="24" y="25"/>
                    <a:pt x="25" y="25"/>
                    <a:pt x="26" y="26"/>
                  </a:cubicBezTo>
                  <a:cubicBezTo>
                    <a:pt x="28" y="26"/>
                    <a:pt x="27" y="26"/>
                    <a:pt x="28" y="27"/>
                  </a:cubicBezTo>
                  <a:cubicBezTo>
                    <a:pt x="30" y="28"/>
                    <a:pt x="31" y="29"/>
                    <a:pt x="33" y="28"/>
                  </a:cubicBezTo>
                  <a:cubicBezTo>
                    <a:pt x="34" y="28"/>
                    <a:pt x="37" y="24"/>
                    <a:pt x="37" y="23"/>
                  </a:cubicBezTo>
                  <a:cubicBezTo>
                    <a:pt x="36" y="22"/>
                    <a:pt x="33" y="23"/>
                    <a:pt x="31" y="22"/>
                  </a:cubicBezTo>
                  <a:cubicBezTo>
                    <a:pt x="31" y="22"/>
                    <a:pt x="31" y="20"/>
                    <a:pt x="31" y="19"/>
                  </a:cubicBezTo>
                  <a:cubicBezTo>
                    <a:pt x="29" y="18"/>
                    <a:pt x="22" y="18"/>
                    <a:pt x="23" y="15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20" y="14"/>
                    <a:pt x="25" y="6"/>
                    <a:pt x="19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6" name="Freeform 77">
              <a:extLst>
                <a:ext uri="{FF2B5EF4-FFF2-40B4-BE49-F238E27FC236}">
                  <a16:creationId xmlns:a16="http://schemas.microsoft.com/office/drawing/2014/main" id="{700FA172-B472-48A5-AB5A-2753ABD1B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2994025"/>
              <a:ext cx="25400" cy="26988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2"/>
                </a:cxn>
                <a:cxn ang="0">
                  <a:pos x="8" y="9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4" y="11"/>
                </a:cxn>
                <a:cxn ang="0">
                  <a:pos x="10" y="6"/>
                </a:cxn>
                <a:cxn ang="0">
                  <a:pos x="10" y="3"/>
                </a:cxn>
              </a:cxnLst>
              <a:rect l="0" t="0" r="r" b="b"/>
              <a:pathLst>
                <a:path w="14" h="14">
                  <a:moveTo>
                    <a:pt x="10" y="3"/>
                  </a:moveTo>
                  <a:cubicBezTo>
                    <a:pt x="8" y="3"/>
                    <a:pt x="3" y="0"/>
                    <a:pt x="1" y="2"/>
                  </a:cubicBezTo>
                  <a:cubicBezTo>
                    <a:pt x="0" y="5"/>
                    <a:pt x="6" y="7"/>
                    <a:pt x="8" y="9"/>
                  </a:cubicBezTo>
                  <a:cubicBezTo>
                    <a:pt x="9" y="10"/>
                    <a:pt x="10" y="11"/>
                    <a:pt x="11" y="12"/>
                  </a:cubicBezTo>
                  <a:cubicBezTo>
                    <a:pt x="11" y="13"/>
                    <a:pt x="11" y="14"/>
                    <a:pt x="12" y="14"/>
                  </a:cubicBezTo>
                  <a:cubicBezTo>
                    <a:pt x="14" y="14"/>
                    <a:pt x="14" y="12"/>
                    <a:pt x="14" y="11"/>
                  </a:cubicBezTo>
                  <a:cubicBezTo>
                    <a:pt x="14" y="8"/>
                    <a:pt x="13" y="7"/>
                    <a:pt x="10" y="6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7" name="Freeform 78">
              <a:extLst>
                <a:ext uri="{FF2B5EF4-FFF2-40B4-BE49-F238E27FC236}">
                  <a16:creationId xmlns:a16="http://schemas.microsoft.com/office/drawing/2014/main" id="{94296FF5-35BB-48DC-8E13-B8CEAB601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150" y="2962275"/>
              <a:ext cx="23813" cy="285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7"/>
                </a:cxn>
                <a:cxn ang="0">
                  <a:pos x="4" y="9"/>
                </a:cxn>
                <a:cxn ang="0">
                  <a:pos x="4" y="12"/>
                </a:cxn>
                <a:cxn ang="0">
                  <a:pos x="11" y="14"/>
                </a:cxn>
                <a:cxn ang="0">
                  <a:pos x="5" y="8"/>
                </a:cxn>
                <a:cxn ang="0">
                  <a:pos x="11" y="5"/>
                </a:cxn>
                <a:cxn ang="0">
                  <a:pos x="7" y="0"/>
                </a:cxn>
              </a:cxnLst>
              <a:rect l="0" t="0" r="r" b="b"/>
              <a:pathLst>
                <a:path w="13" h="15">
                  <a:moveTo>
                    <a:pt x="7" y="0"/>
                  </a:moveTo>
                  <a:cubicBezTo>
                    <a:pt x="4" y="0"/>
                    <a:pt x="0" y="3"/>
                    <a:pt x="0" y="7"/>
                  </a:cubicBezTo>
                  <a:cubicBezTo>
                    <a:pt x="0" y="9"/>
                    <a:pt x="2" y="8"/>
                    <a:pt x="4" y="9"/>
                  </a:cubicBezTo>
                  <a:cubicBezTo>
                    <a:pt x="4" y="10"/>
                    <a:pt x="4" y="11"/>
                    <a:pt x="4" y="12"/>
                  </a:cubicBezTo>
                  <a:cubicBezTo>
                    <a:pt x="5" y="14"/>
                    <a:pt x="9" y="15"/>
                    <a:pt x="11" y="14"/>
                  </a:cubicBezTo>
                  <a:cubicBezTo>
                    <a:pt x="11" y="11"/>
                    <a:pt x="8" y="8"/>
                    <a:pt x="5" y="8"/>
                  </a:cubicBezTo>
                  <a:cubicBezTo>
                    <a:pt x="6" y="6"/>
                    <a:pt x="10" y="6"/>
                    <a:pt x="11" y="5"/>
                  </a:cubicBezTo>
                  <a:cubicBezTo>
                    <a:pt x="13" y="2"/>
                    <a:pt x="9" y="0"/>
                    <a:pt x="7" y="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8" name="Freeform 79">
              <a:extLst>
                <a:ext uri="{FF2B5EF4-FFF2-40B4-BE49-F238E27FC236}">
                  <a16:creationId xmlns:a16="http://schemas.microsoft.com/office/drawing/2014/main" id="{8CAFCFFD-DAC2-4993-9413-74574477D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138" y="2974975"/>
              <a:ext cx="36513" cy="26988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1" y="11"/>
                </a:cxn>
                <a:cxn ang="0">
                  <a:pos x="8" y="13"/>
                </a:cxn>
                <a:cxn ang="0">
                  <a:pos x="10" y="10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5" y="7"/>
                </a:cxn>
                <a:cxn ang="0">
                  <a:pos x="19" y="1"/>
                </a:cxn>
                <a:cxn ang="0">
                  <a:pos x="11" y="3"/>
                </a:cxn>
                <a:cxn ang="0">
                  <a:pos x="10" y="1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10"/>
                </a:cxn>
                <a:cxn ang="0">
                  <a:pos x="0" y="8"/>
                </a:cxn>
                <a:cxn ang="0">
                  <a:pos x="2" y="9"/>
                </a:cxn>
              </a:cxnLst>
              <a:rect l="0" t="0" r="r" b="b"/>
              <a:pathLst>
                <a:path w="19" h="14">
                  <a:moveTo>
                    <a:pt x="2" y="9"/>
                  </a:moveTo>
                  <a:cubicBezTo>
                    <a:pt x="1" y="8"/>
                    <a:pt x="0" y="10"/>
                    <a:pt x="1" y="11"/>
                  </a:cubicBezTo>
                  <a:cubicBezTo>
                    <a:pt x="2" y="13"/>
                    <a:pt x="6" y="14"/>
                    <a:pt x="8" y="13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9"/>
                    <a:pt x="9" y="7"/>
                    <a:pt x="10" y="7"/>
                  </a:cubicBezTo>
                  <a:cubicBezTo>
                    <a:pt x="11" y="6"/>
                    <a:pt x="13" y="7"/>
                    <a:pt x="13" y="7"/>
                  </a:cubicBezTo>
                  <a:cubicBezTo>
                    <a:pt x="15" y="7"/>
                    <a:pt x="14" y="8"/>
                    <a:pt x="15" y="7"/>
                  </a:cubicBezTo>
                  <a:cubicBezTo>
                    <a:pt x="17" y="5"/>
                    <a:pt x="17" y="3"/>
                    <a:pt x="19" y="1"/>
                  </a:cubicBezTo>
                  <a:cubicBezTo>
                    <a:pt x="17" y="1"/>
                    <a:pt x="10" y="0"/>
                    <a:pt x="11" y="3"/>
                  </a:cubicBezTo>
                  <a:cubicBezTo>
                    <a:pt x="11" y="3"/>
                    <a:pt x="11" y="1"/>
                    <a:pt x="10" y="1"/>
                  </a:cubicBezTo>
                  <a:cubicBezTo>
                    <a:pt x="8" y="0"/>
                    <a:pt x="8" y="3"/>
                    <a:pt x="8" y="4"/>
                  </a:cubicBezTo>
                  <a:cubicBezTo>
                    <a:pt x="8" y="6"/>
                    <a:pt x="7" y="5"/>
                    <a:pt x="6" y="6"/>
                  </a:cubicBezTo>
                  <a:cubicBezTo>
                    <a:pt x="5" y="7"/>
                    <a:pt x="5" y="9"/>
                    <a:pt x="4" y="10"/>
                  </a:cubicBezTo>
                  <a:cubicBezTo>
                    <a:pt x="3" y="9"/>
                    <a:pt x="2" y="8"/>
                    <a:pt x="0" y="8"/>
                  </a:cubicBezTo>
                  <a:lnTo>
                    <a:pt x="2" y="9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9" name="Freeform 80">
              <a:extLst>
                <a:ext uri="{FF2B5EF4-FFF2-40B4-BE49-F238E27FC236}">
                  <a16:creationId xmlns:a16="http://schemas.microsoft.com/office/drawing/2014/main" id="{0B66EEE4-CB5E-43A8-83D6-10C0E6BCF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663" y="3013075"/>
              <a:ext cx="17463" cy="11113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5" y="6"/>
                </a:cxn>
                <a:cxn ang="0">
                  <a:pos x="1" y="1"/>
                </a:cxn>
                <a:cxn ang="0">
                  <a:pos x="3" y="1"/>
                </a:cxn>
              </a:cxnLst>
              <a:rect l="0" t="0" r="r" b="b"/>
              <a:pathLst>
                <a:path w="9" h="6">
                  <a:moveTo>
                    <a:pt x="3" y="1"/>
                  </a:moveTo>
                  <a:cubicBezTo>
                    <a:pt x="3" y="1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4" y="6"/>
                    <a:pt x="5" y="6"/>
                  </a:cubicBezTo>
                  <a:cubicBezTo>
                    <a:pt x="9" y="5"/>
                    <a:pt x="4" y="0"/>
                    <a:pt x="1" y="1"/>
                  </a:cubicBezTo>
                  <a:lnTo>
                    <a:pt x="3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0" name="Freeform 81">
              <a:extLst>
                <a:ext uri="{FF2B5EF4-FFF2-40B4-BE49-F238E27FC236}">
                  <a16:creationId xmlns:a16="http://schemas.microsoft.com/office/drawing/2014/main" id="{471ED290-C18D-427C-A2F7-C37E31F83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463" y="3054350"/>
              <a:ext cx="30163" cy="31750"/>
            </a:xfrm>
            <a:custGeom>
              <a:avLst/>
              <a:gdLst/>
              <a:ahLst/>
              <a:cxnLst>
                <a:cxn ang="0">
                  <a:pos x="11" y="6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9" y="15"/>
                </a:cxn>
                <a:cxn ang="0">
                  <a:pos x="13" y="16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8" y="5"/>
                </a:cxn>
                <a:cxn ang="0">
                  <a:pos x="11" y="6"/>
                </a:cxn>
              </a:cxnLst>
              <a:rect l="0" t="0" r="r" b="b"/>
              <a:pathLst>
                <a:path w="16" h="17">
                  <a:moveTo>
                    <a:pt x="11" y="6"/>
                  </a:moveTo>
                  <a:cubicBezTo>
                    <a:pt x="12" y="3"/>
                    <a:pt x="7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0" y="0"/>
                    <a:pt x="0" y="3"/>
                  </a:cubicBezTo>
                  <a:cubicBezTo>
                    <a:pt x="0" y="8"/>
                    <a:pt x="4" y="13"/>
                    <a:pt x="9" y="15"/>
                  </a:cubicBezTo>
                  <a:cubicBezTo>
                    <a:pt x="10" y="16"/>
                    <a:pt x="12" y="17"/>
                    <a:pt x="13" y="16"/>
                  </a:cubicBezTo>
                  <a:cubicBezTo>
                    <a:pt x="14" y="15"/>
                    <a:pt x="12" y="12"/>
                    <a:pt x="13" y="11"/>
                  </a:cubicBezTo>
                  <a:cubicBezTo>
                    <a:pt x="13" y="11"/>
                    <a:pt x="14" y="11"/>
                    <a:pt x="15" y="11"/>
                  </a:cubicBezTo>
                  <a:cubicBezTo>
                    <a:pt x="16" y="9"/>
                    <a:pt x="9" y="6"/>
                    <a:pt x="8" y="5"/>
                  </a:cubicBezTo>
                  <a:lnTo>
                    <a:pt x="11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1" name="Freeform 82">
              <a:extLst>
                <a:ext uri="{FF2B5EF4-FFF2-40B4-BE49-F238E27FC236}">
                  <a16:creationId xmlns:a16="http://schemas.microsoft.com/office/drawing/2014/main" id="{20B59C51-5551-49EE-AAC5-49CB6EA5F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6738" y="3063875"/>
              <a:ext cx="14288" cy="26988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3" y="2"/>
                </a:cxn>
                <a:cxn ang="0">
                  <a:pos x="1" y="6"/>
                </a:cxn>
                <a:cxn ang="0">
                  <a:pos x="0" y="11"/>
                </a:cxn>
                <a:cxn ang="0">
                  <a:pos x="5" y="12"/>
                </a:cxn>
                <a:cxn ang="0">
                  <a:pos x="4" y="5"/>
                </a:cxn>
                <a:cxn ang="0">
                  <a:pos x="5" y="0"/>
                </a:cxn>
                <a:cxn ang="0">
                  <a:pos x="6" y="3"/>
                </a:cxn>
              </a:cxnLst>
              <a:rect l="0" t="0" r="r" b="b"/>
              <a:pathLst>
                <a:path w="8" h="15">
                  <a:moveTo>
                    <a:pt x="6" y="3"/>
                  </a:moveTo>
                  <a:cubicBezTo>
                    <a:pt x="6" y="2"/>
                    <a:pt x="4" y="2"/>
                    <a:pt x="3" y="2"/>
                  </a:cubicBezTo>
                  <a:cubicBezTo>
                    <a:pt x="2" y="3"/>
                    <a:pt x="1" y="4"/>
                    <a:pt x="1" y="6"/>
                  </a:cubicBezTo>
                  <a:cubicBezTo>
                    <a:pt x="1" y="7"/>
                    <a:pt x="0" y="9"/>
                    <a:pt x="0" y="11"/>
                  </a:cubicBezTo>
                  <a:cubicBezTo>
                    <a:pt x="0" y="14"/>
                    <a:pt x="4" y="15"/>
                    <a:pt x="5" y="12"/>
                  </a:cubicBezTo>
                  <a:cubicBezTo>
                    <a:pt x="6" y="9"/>
                    <a:pt x="3" y="7"/>
                    <a:pt x="4" y="5"/>
                  </a:cubicBezTo>
                  <a:cubicBezTo>
                    <a:pt x="8" y="4"/>
                    <a:pt x="7" y="3"/>
                    <a:pt x="5" y="0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2" name="Freeform 83">
              <a:extLst>
                <a:ext uri="{FF2B5EF4-FFF2-40B4-BE49-F238E27FC236}">
                  <a16:creationId xmlns:a16="http://schemas.microsoft.com/office/drawing/2014/main" id="{2A2AD94E-033C-44A5-B721-24587DF62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8825" y="2697163"/>
              <a:ext cx="28575" cy="60325"/>
            </a:xfrm>
            <a:custGeom>
              <a:avLst/>
              <a:gdLst/>
              <a:ahLst/>
              <a:cxnLst>
                <a:cxn ang="0">
                  <a:pos x="11" y="5"/>
                </a:cxn>
                <a:cxn ang="0">
                  <a:pos x="10" y="1"/>
                </a:cxn>
                <a:cxn ang="0">
                  <a:pos x="1" y="8"/>
                </a:cxn>
                <a:cxn ang="0">
                  <a:pos x="3" y="11"/>
                </a:cxn>
                <a:cxn ang="0">
                  <a:pos x="1" y="14"/>
                </a:cxn>
                <a:cxn ang="0">
                  <a:pos x="2" y="21"/>
                </a:cxn>
                <a:cxn ang="0">
                  <a:pos x="3" y="27"/>
                </a:cxn>
                <a:cxn ang="0">
                  <a:pos x="4" y="29"/>
                </a:cxn>
                <a:cxn ang="0">
                  <a:pos x="8" y="32"/>
                </a:cxn>
                <a:cxn ang="0">
                  <a:pos x="11" y="29"/>
                </a:cxn>
                <a:cxn ang="0">
                  <a:pos x="11" y="24"/>
                </a:cxn>
                <a:cxn ang="0">
                  <a:pos x="12" y="20"/>
                </a:cxn>
                <a:cxn ang="0">
                  <a:pos x="11" y="16"/>
                </a:cxn>
                <a:cxn ang="0">
                  <a:pos x="10" y="12"/>
                </a:cxn>
                <a:cxn ang="0">
                  <a:pos x="14" y="6"/>
                </a:cxn>
                <a:cxn ang="0">
                  <a:pos x="9" y="1"/>
                </a:cxn>
                <a:cxn ang="0">
                  <a:pos x="11" y="5"/>
                </a:cxn>
              </a:cxnLst>
              <a:rect l="0" t="0" r="r" b="b"/>
              <a:pathLst>
                <a:path w="15" h="32">
                  <a:moveTo>
                    <a:pt x="11" y="5"/>
                  </a:moveTo>
                  <a:cubicBezTo>
                    <a:pt x="13" y="4"/>
                    <a:pt x="12" y="2"/>
                    <a:pt x="10" y="1"/>
                  </a:cubicBezTo>
                  <a:cubicBezTo>
                    <a:pt x="6" y="0"/>
                    <a:pt x="1" y="4"/>
                    <a:pt x="1" y="8"/>
                  </a:cubicBezTo>
                  <a:cubicBezTo>
                    <a:pt x="0" y="10"/>
                    <a:pt x="2" y="9"/>
                    <a:pt x="3" y="11"/>
                  </a:cubicBezTo>
                  <a:cubicBezTo>
                    <a:pt x="3" y="12"/>
                    <a:pt x="2" y="14"/>
                    <a:pt x="1" y="14"/>
                  </a:cubicBezTo>
                  <a:cubicBezTo>
                    <a:pt x="0" y="16"/>
                    <a:pt x="1" y="19"/>
                    <a:pt x="2" y="21"/>
                  </a:cubicBezTo>
                  <a:cubicBezTo>
                    <a:pt x="2" y="23"/>
                    <a:pt x="3" y="25"/>
                    <a:pt x="3" y="27"/>
                  </a:cubicBezTo>
                  <a:cubicBezTo>
                    <a:pt x="4" y="29"/>
                    <a:pt x="3" y="28"/>
                    <a:pt x="4" y="29"/>
                  </a:cubicBezTo>
                  <a:cubicBezTo>
                    <a:pt x="5" y="30"/>
                    <a:pt x="7" y="31"/>
                    <a:pt x="8" y="32"/>
                  </a:cubicBezTo>
                  <a:cubicBezTo>
                    <a:pt x="10" y="32"/>
                    <a:pt x="10" y="31"/>
                    <a:pt x="11" y="29"/>
                  </a:cubicBezTo>
                  <a:cubicBezTo>
                    <a:pt x="11" y="27"/>
                    <a:pt x="11" y="25"/>
                    <a:pt x="11" y="24"/>
                  </a:cubicBezTo>
                  <a:cubicBezTo>
                    <a:pt x="11" y="23"/>
                    <a:pt x="12" y="22"/>
                    <a:pt x="12" y="20"/>
                  </a:cubicBezTo>
                  <a:cubicBezTo>
                    <a:pt x="12" y="18"/>
                    <a:pt x="12" y="17"/>
                    <a:pt x="11" y="16"/>
                  </a:cubicBezTo>
                  <a:cubicBezTo>
                    <a:pt x="11" y="15"/>
                    <a:pt x="10" y="13"/>
                    <a:pt x="10" y="12"/>
                  </a:cubicBezTo>
                  <a:cubicBezTo>
                    <a:pt x="10" y="10"/>
                    <a:pt x="13" y="8"/>
                    <a:pt x="14" y="6"/>
                  </a:cubicBezTo>
                  <a:cubicBezTo>
                    <a:pt x="15" y="3"/>
                    <a:pt x="10" y="3"/>
                    <a:pt x="9" y="1"/>
                  </a:cubicBezTo>
                  <a:lnTo>
                    <a:pt x="11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3" name="Freeform 84">
              <a:extLst>
                <a:ext uri="{FF2B5EF4-FFF2-40B4-BE49-F238E27FC236}">
                  <a16:creationId xmlns:a16="http://schemas.microsoft.com/office/drawing/2014/main" id="{8F10DDF7-55DE-4E62-BA2B-76E1B98D7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575" y="2724150"/>
              <a:ext cx="11113" cy="1270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5" y="6"/>
                </a:cxn>
                <a:cxn ang="0">
                  <a:pos x="3" y="7"/>
                </a:cxn>
                <a:cxn ang="0">
                  <a:pos x="1" y="5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6" y="0"/>
                    <a:pt x="6" y="4"/>
                    <a:pt x="5" y="6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2" y="7"/>
                    <a:pt x="1" y="6"/>
                    <a:pt x="1" y="5"/>
                  </a:cubicBezTo>
                  <a:cubicBezTo>
                    <a:pt x="0" y="3"/>
                    <a:pt x="2" y="0"/>
                    <a:pt x="5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4" name="Freeform 85">
              <a:extLst>
                <a:ext uri="{FF2B5EF4-FFF2-40B4-BE49-F238E27FC236}">
                  <a16:creationId xmlns:a16="http://schemas.microsoft.com/office/drawing/2014/main" id="{6E9755D6-8A3E-4C93-B27C-C2869A385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8025" y="2706688"/>
              <a:ext cx="82550" cy="173038"/>
            </a:xfrm>
            <a:custGeom>
              <a:avLst/>
              <a:gdLst/>
              <a:ahLst/>
              <a:cxnLst>
                <a:cxn ang="0">
                  <a:pos x="36" y="35"/>
                </a:cxn>
                <a:cxn ang="0">
                  <a:pos x="44" y="37"/>
                </a:cxn>
                <a:cxn ang="0">
                  <a:pos x="41" y="34"/>
                </a:cxn>
                <a:cxn ang="0">
                  <a:pos x="33" y="33"/>
                </a:cxn>
                <a:cxn ang="0">
                  <a:pos x="30" y="32"/>
                </a:cxn>
                <a:cxn ang="0">
                  <a:pos x="28" y="26"/>
                </a:cxn>
                <a:cxn ang="0">
                  <a:pos x="20" y="26"/>
                </a:cxn>
                <a:cxn ang="0">
                  <a:pos x="20" y="16"/>
                </a:cxn>
                <a:cxn ang="0">
                  <a:pos x="21" y="12"/>
                </a:cxn>
                <a:cxn ang="0">
                  <a:pos x="6" y="20"/>
                </a:cxn>
                <a:cxn ang="0">
                  <a:pos x="9" y="25"/>
                </a:cxn>
                <a:cxn ang="0">
                  <a:pos x="12" y="28"/>
                </a:cxn>
                <a:cxn ang="0">
                  <a:pos x="13" y="32"/>
                </a:cxn>
                <a:cxn ang="0">
                  <a:pos x="16" y="36"/>
                </a:cxn>
                <a:cxn ang="0">
                  <a:pos x="13" y="41"/>
                </a:cxn>
                <a:cxn ang="0">
                  <a:pos x="11" y="44"/>
                </a:cxn>
                <a:cxn ang="0">
                  <a:pos x="4" y="41"/>
                </a:cxn>
                <a:cxn ang="0">
                  <a:pos x="0" y="44"/>
                </a:cxn>
                <a:cxn ang="0">
                  <a:pos x="3" y="48"/>
                </a:cxn>
                <a:cxn ang="0">
                  <a:pos x="6" y="54"/>
                </a:cxn>
                <a:cxn ang="0">
                  <a:pos x="21" y="54"/>
                </a:cxn>
                <a:cxn ang="0">
                  <a:pos x="21" y="67"/>
                </a:cxn>
                <a:cxn ang="0">
                  <a:pos x="20" y="80"/>
                </a:cxn>
                <a:cxn ang="0">
                  <a:pos x="20" y="92"/>
                </a:cxn>
                <a:cxn ang="0">
                  <a:pos x="25" y="82"/>
                </a:cxn>
                <a:cxn ang="0">
                  <a:pos x="28" y="68"/>
                </a:cxn>
                <a:cxn ang="0">
                  <a:pos x="30" y="61"/>
                </a:cxn>
                <a:cxn ang="0">
                  <a:pos x="36" y="62"/>
                </a:cxn>
                <a:cxn ang="0">
                  <a:pos x="33" y="58"/>
                </a:cxn>
                <a:cxn ang="0">
                  <a:pos x="29" y="52"/>
                </a:cxn>
                <a:cxn ang="0">
                  <a:pos x="34" y="44"/>
                </a:cxn>
                <a:cxn ang="0">
                  <a:pos x="33" y="38"/>
                </a:cxn>
                <a:cxn ang="0">
                  <a:pos x="37" y="34"/>
                </a:cxn>
              </a:cxnLst>
              <a:rect l="0" t="0" r="r" b="b"/>
              <a:pathLst>
                <a:path w="44" h="93">
                  <a:moveTo>
                    <a:pt x="37" y="34"/>
                  </a:moveTo>
                  <a:cubicBezTo>
                    <a:pt x="37" y="35"/>
                    <a:pt x="37" y="35"/>
                    <a:pt x="36" y="35"/>
                  </a:cubicBezTo>
                  <a:cubicBezTo>
                    <a:pt x="36" y="35"/>
                    <a:pt x="36" y="37"/>
                    <a:pt x="36" y="38"/>
                  </a:cubicBezTo>
                  <a:cubicBezTo>
                    <a:pt x="38" y="38"/>
                    <a:pt x="43" y="39"/>
                    <a:pt x="44" y="37"/>
                  </a:cubicBezTo>
                  <a:cubicBezTo>
                    <a:pt x="43" y="37"/>
                    <a:pt x="42" y="37"/>
                    <a:pt x="42" y="36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0" y="33"/>
                    <a:pt x="35" y="32"/>
                    <a:pt x="35" y="35"/>
                  </a:cubicBezTo>
                  <a:cubicBezTo>
                    <a:pt x="34" y="35"/>
                    <a:pt x="33" y="34"/>
                    <a:pt x="33" y="33"/>
                  </a:cubicBezTo>
                  <a:cubicBezTo>
                    <a:pt x="32" y="32"/>
                    <a:pt x="33" y="32"/>
                    <a:pt x="33" y="31"/>
                  </a:cubicBezTo>
                  <a:cubicBezTo>
                    <a:pt x="32" y="31"/>
                    <a:pt x="29" y="30"/>
                    <a:pt x="30" y="32"/>
                  </a:cubicBezTo>
                  <a:cubicBezTo>
                    <a:pt x="30" y="31"/>
                    <a:pt x="30" y="30"/>
                    <a:pt x="30" y="29"/>
                  </a:cubicBezTo>
                  <a:cubicBezTo>
                    <a:pt x="30" y="27"/>
                    <a:pt x="30" y="27"/>
                    <a:pt x="28" y="26"/>
                  </a:cubicBezTo>
                  <a:cubicBezTo>
                    <a:pt x="24" y="25"/>
                    <a:pt x="22" y="25"/>
                    <a:pt x="22" y="30"/>
                  </a:cubicBezTo>
                  <a:cubicBezTo>
                    <a:pt x="22" y="28"/>
                    <a:pt x="20" y="27"/>
                    <a:pt x="20" y="26"/>
                  </a:cubicBezTo>
                  <a:cubicBezTo>
                    <a:pt x="19" y="25"/>
                    <a:pt x="20" y="22"/>
                    <a:pt x="20" y="21"/>
                  </a:cubicBezTo>
                  <a:cubicBezTo>
                    <a:pt x="20" y="19"/>
                    <a:pt x="19" y="18"/>
                    <a:pt x="20" y="16"/>
                  </a:cubicBezTo>
                  <a:cubicBezTo>
                    <a:pt x="20" y="16"/>
                    <a:pt x="20" y="16"/>
                    <a:pt x="21" y="15"/>
                  </a:cubicBezTo>
                  <a:cubicBezTo>
                    <a:pt x="21" y="14"/>
                    <a:pt x="21" y="13"/>
                    <a:pt x="21" y="12"/>
                  </a:cubicBezTo>
                  <a:cubicBezTo>
                    <a:pt x="21" y="0"/>
                    <a:pt x="8" y="20"/>
                    <a:pt x="10" y="21"/>
                  </a:cubicBezTo>
                  <a:cubicBezTo>
                    <a:pt x="9" y="21"/>
                    <a:pt x="7" y="20"/>
                    <a:pt x="6" y="20"/>
                  </a:cubicBezTo>
                  <a:cubicBezTo>
                    <a:pt x="6" y="21"/>
                    <a:pt x="6" y="22"/>
                    <a:pt x="6" y="22"/>
                  </a:cubicBezTo>
                  <a:cubicBezTo>
                    <a:pt x="6" y="24"/>
                    <a:pt x="8" y="24"/>
                    <a:pt x="9" y="25"/>
                  </a:cubicBezTo>
                  <a:cubicBezTo>
                    <a:pt x="9" y="25"/>
                    <a:pt x="8" y="26"/>
                    <a:pt x="9" y="26"/>
                  </a:cubicBezTo>
                  <a:cubicBezTo>
                    <a:pt x="10" y="28"/>
                    <a:pt x="10" y="27"/>
                    <a:pt x="12" y="28"/>
                  </a:cubicBezTo>
                  <a:cubicBezTo>
                    <a:pt x="14" y="28"/>
                    <a:pt x="13" y="28"/>
                    <a:pt x="14" y="29"/>
                  </a:cubicBezTo>
                  <a:cubicBezTo>
                    <a:pt x="14" y="30"/>
                    <a:pt x="13" y="31"/>
                    <a:pt x="13" y="32"/>
                  </a:cubicBezTo>
                  <a:cubicBezTo>
                    <a:pt x="14" y="33"/>
                    <a:pt x="14" y="33"/>
                    <a:pt x="15" y="35"/>
                  </a:cubicBezTo>
                  <a:cubicBezTo>
                    <a:pt x="16" y="35"/>
                    <a:pt x="16" y="35"/>
                    <a:pt x="16" y="36"/>
                  </a:cubicBezTo>
                  <a:cubicBezTo>
                    <a:pt x="15" y="36"/>
                    <a:pt x="12" y="35"/>
                    <a:pt x="11" y="36"/>
                  </a:cubicBezTo>
                  <a:cubicBezTo>
                    <a:pt x="11" y="37"/>
                    <a:pt x="12" y="40"/>
                    <a:pt x="13" y="41"/>
                  </a:cubicBezTo>
                  <a:cubicBezTo>
                    <a:pt x="12" y="42"/>
                    <a:pt x="11" y="41"/>
                    <a:pt x="11" y="42"/>
                  </a:cubicBezTo>
                  <a:cubicBezTo>
                    <a:pt x="10" y="42"/>
                    <a:pt x="11" y="43"/>
                    <a:pt x="11" y="44"/>
                  </a:cubicBezTo>
                  <a:cubicBezTo>
                    <a:pt x="9" y="44"/>
                    <a:pt x="6" y="45"/>
                    <a:pt x="5" y="44"/>
                  </a:cubicBezTo>
                  <a:cubicBezTo>
                    <a:pt x="3" y="44"/>
                    <a:pt x="4" y="43"/>
                    <a:pt x="4" y="41"/>
                  </a:cubicBezTo>
                  <a:cubicBezTo>
                    <a:pt x="4" y="40"/>
                    <a:pt x="2" y="38"/>
                    <a:pt x="0" y="40"/>
                  </a:cubicBezTo>
                  <a:cubicBezTo>
                    <a:pt x="0" y="40"/>
                    <a:pt x="0" y="43"/>
                    <a:pt x="0" y="44"/>
                  </a:cubicBezTo>
                  <a:cubicBezTo>
                    <a:pt x="0" y="45"/>
                    <a:pt x="0" y="47"/>
                    <a:pt x="0" y="47"/>
                  </a:cubicBezTo>
                  <a:cubicBezTo>
                    <a:pt x="1" y="48"/>
                    <a:pt x="2" y="47"/>
                    <a:pt x="3" y="48"/>
                  </a:cubicBezTo>
                  <a:cubicBezTo>
                    <a:pt x="5" y="49"/>
                    <a:pt x="4" y="50"/>
                    <a:pt x="4" y="51"/>
                  </a:cubicBezTo>
                  <a:cubicBezTo>
                    <a:pt x="4" y="52"/>
                    <a:pt x="5" y="53"/>
                    <a:pt x="6" y="54"/>
                  </a:cubicBezTo>
                  <a:cubicBezTo>
                    <a:pt x="9" y="56"/>
                    <a:pt x="11" y="54"/>
                    <a:pt x="14" y="55"/>
                  </a:cubicBezTo>
                  <a:cubicBezTo>
                    <a:pt x="14" y="60"/>
                    <a:pt x="20" y="57"/>
                    <a:pt x="21" y="54"/>
                  </a:cubicBezTo>
                  <a:cubicBezTo>
                    <a:pt x="21" y="57"/>
                    <a:pt x="20" y="60"/>
                    <a:pt x="20" y="63"/>
                  </a:cubicBezTo>
                  <a:cubicBezTo>
                    <a:pt x="20" y="64"/>
                    <a:pt x="21" y="66"/>
                    <a:pt x="21" y="67"/>
                  </a:cubicBezTo>
                  <a:cubicBezTo>
                    <a:pt x="20" y="69"/>
                    <a:pt x="18" y="70"/>
                    <a:pt x="17" y="72"/>
                  </a:cubicBezTo>
                  <a:cubicBezTo>
                    <a:pt x="17" y="76"/>
                    <a:pt x="20" y="77"/>
                    <a:pt x="20" y="80"/>
                  </a:cubicBezTo>
                  <a:cubicBezTo>
                    <a:pt x="19" y="83"/>
                    <a:pt x="19" y="86"/>
                    <a:pt x="19" y="89"/>
                  </a:cubicBezTo>
                  <a:cubicBezTo>
                    <a:pt x="19" y="90"/>
                    <a:pt x="19" y="91"/>
                    <a:pt x="20" y="92"/>
                  </a:cubicBezTo>
                  <a:cubicBezTo>
                    <a:pt x="21" y="93"/>
                    <a:pt x="22" y="92"/>
                    <a:pt x="23" y="91"/>
                  </a:cubicBezTo>
                  <a:cubicBezTo>
                    <a:pt x="25" y="88"/>
                    <a:pt x="26" y="86"/>
                    <a:pt x="25" y="82"/>
                  </a:cubicBezTo>
                  <a:cubicBezTo>
                    <a:pt x="24" y="80"/>
                    <a:pt x="25" y="78"/>
                    <a:pt x="25" y="76"/>
                  </a:cubicBezTo>
                  <a:cubicBezTo>
                    <a:pt x="25" y="73"/>
                    <a:pt x="25" y="70"/>
                    <a:pt x="28" y="68"/>
                  </a:cubicBezTo>
                  <a:cubicBezTo>
                    <a:pt x="29" y="68"/>
                    <a:pt x="31" y="67"/>
                    <a:pt x="31" y="65"/>
                  </a:cubicBezTo>
                  <a:cubicBezTo>
                    <a:pt x="30" y="64"/>
                    <a:pt x="29" y="63"/>
                    <a:pt x="30" y="61"/>
                  </a:cubicBezTo>
                  <a:cubicBezTo>
                    <a:pt x="32" y="61"/>
                    <a:pt x="31" y="63"/>
                    <a:pt x="32" y="64"/>
                  </a:cubicBezTo>
                  <a:cubicBezTo>
                    <a:pt x="33" y="65"/>
                    <a:pt x="35" y="63"/>
                    <a:pt x="36" y="62"/>
                  </a:cubicBezTo>
                  <a:cubicBezTo>
                    <a:pt x="37" y="60"/>
                    <a:pt x="39" y="58"/>
                    <a:pt x="37" y="57"/>
                  </a:cubicBezTo>
                  <a:cubicBezTo>
                    <a:pt x="36" y="56"/>
                    <a:pt x="33" y="56"/>
                    <a:pt x="33" y="58"/>
                  </a:cubicBezTo>
                  <a:cubicBezTo>
                    <a:pt x="32" y="58"/>
                    <a:pt x="32" y="57"/>
                    <a:pt x="31" y="56"/>
                  </a:cubicBezTo>
                  <a:cubicBezTo>
                    <a:pt x="31" y="55"/>
                    <a:pt x="28" y="53"/>
                    <a:pt x="29" y="52"/>
                  </a:cubicBezTo>
                  <a:cubicBezTo>
                    <a:pt x="31" y="51"/>
                    <a:pt x="34" y="52"/>
                    <a:pt x="36" y="50"/>
                  </a:cubicBezTo>
                  <a:cubicBezTo>
                    <a:pt x="37" y="48"/>
                    <a:pt x="33" y="46"/>
                    <a:pt x="34" y="44"/>
                  </a:cubicBezTo>
                  <a:cubicBezTo>
                    <a:pt x="34" y="43"/>
                    <a:pt x="34" y="43"/>
                    <a:pt x="34" y="42"/>
                  </a:cubicBezTo>
                  <a:cubicBezTo>
                    <a:pt x="35" y="40"/>
                    <a:pt x="34" y="39"/>
                    <a:pt x="33" y="38"/>
                  </a:cubicBezTo>
                  <a:cubicBezTo>
                    <a:pt x="33" y="38"/>
                    <a:pt x="34" y="37"/>
                    <a:pt x="35" y="37"/>
                  </a:cubicBezTo>
                  <a:lnTo>
                    <a:pt x="37" y="34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5" name="Freeform 86">
              <a:extLst>
                <a:ext uri="{FF2B5EF4-FFF2-40B4-BE49-F238E27FC236}">
                  <a16:creationId xmlns:a16="http://schemas.microsoft.com/office/drawing/2014/main" id="{951ECAF9-BBF3-44C5-A443-04E6A1186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813" y="2676525"/>
              <a:ext cx="20638" cy="39688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1" y="11"/>
                </a:cxn>
                <a:cxn ang="0">
                  <a:pos x="1" y="18"/>
                </a:cxn>
                <a:cxn ang="0">
                  <a:pos x="8" y="15"/>
                </a:cxn>
                <a:cxn ang="0">
                  <a:pos x="9" y="0"/>
                </a:cxn>
                <a:cxn ang="0">
                  <a:pos x="9" y="2"/>
                </a:cxn>
              </a:cxnLst>
              <a:rect l="0" t="0" r="r" b="b"/>
              <a:pathLst>
                <a:path w="11" h="21">
                  <a:moveTo>
                    <a:pt x="9" y="2"/>
                  </a:moveTo>
                  <a:cubicBezTo>
                    <a:pt x="4" y="2"/>
                    <a:pt x="1" y="7"/>
                    <a:pt x="1" y="11"/>
                  </a:cubicBezTo>
                  <a:cubicBezTo>
                    <a:pt x="1" y="13"/>
                    <a:pt x="0" y="17"/>
                    <a:pt x="1" y="18"/>
                  </a:cubicBezTo>
                  <a:cubicBezTo>
                    <a:pt x="3" y="21"/>
                    <a:pt x="7" y="17"/>
                    <a:pt x="8" y="15"/>
                  </a:cubicBezTo>
                  <a:cubicBezTo>
                    <a:pt x="10" y="11"/>
                    <a:pt x="11" y="6"/>
                    <a:pt x="9" y="0"/>
                  </a:cubicBezTo>
                  <a:lnTo>
                    <a:pt x="9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6" name="Line 87">
              <a:extLst>
                <a:ext uri="{FF2B5EF4-FFF2-40B4-BE49-F238E27FC236}">
                  <a16:creationId xmlns:a16="http://schemas.microsoft.com/office/drawing/2014/main" id="{AEC775E2-5B7C-4748-8F5A-831B9B8B70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7" name="Line 88">
              <a:extLst>
                <a:ext uri="{FF2B5EF4-FFF2-40B4-BE49-F238E27FC236}">
                  <a16:creationId xmlns:a16="http://schemas.microsoft.com/office/drawing/2014/main" id="{5A1BD9FD-38C8-4746-BB4A-2CCF3A024E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8" name="Freeform 89">
              <a:extLst>
                <a:ext uri="{FF2B5EF4-FFF2-40B4-BE49-F238E27FC236}">
                  <a16:creationId xmlns:a16="http://schemas.microsoft.com/office/drawing/2014/main" id="{D18DA515-59DB-4D0B-831D-FE7272BDD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8738" y="3735388"/>
              <a:ext cx="263525" cy="222250"/>
            </a:xfrm>
            <a:custGeom>
              <a:avLst/>
              <a:gdLst/>
              <a:ahLst/>
              <a:cxnLst>
                <a:cxn ang="0">
                  <a:pos x="140" y="68"/>
                </a:cxn>
                <a:cxn ang="0">
                  <a:pos x="135" y="48"/>
                </a:cxn>
                <a:cxn ang="0">
                  <a:pos x="127" y="45"/>
                </a:cxn>
                <a:cxn ang="0">
                  <a:pos x="118" y="42"/>
                </a:cxn>
                <a:cxn ang="0">
                  <a:pos x="107" y="16"/>
                </a:cxn>
                <a:cxn ang="0">
                  <a:pos x="90" y="6"/>
                </a:cxn>
                <a:cxn ang="0">
                  <a:pos x="78" y="1"/>
                </a:cxn>
                <a:cxn ang="0">
                  <a:pos x="73" y="0"/>
                </a:cxn>
                <a:cxn ang="0">
                  <a:pos x="61" y="6"/>
                </a:cxn>
                <a:cxn ang="0">
                  <a:pos x="58" y="13"/>
                </a:cxn>
                <a:cxn ang="0">
                  <a:pos x="55" y="16"/>
                </a:cxn>
                <a:cxn ang="0">
                  <a:pos x="50" y="21"/>
                </a:cxn>
                <a:cxn ang="0">
                  <a:pos x="41" y="26"/>
                </a:cxn>
                <a:cxn ang="0">
                  <a:pos x="35" y="36"/>
                </a:cxn>
                <a:cxn ang="0">
                  <a:pos x="31" y="44"/>
                </a:cxn>
                <a:cxn ang="0">
                  <a:pos x="24" y="53"/>
                </a:cxn>
                <a:cxn ang="0">
                  <a:pos x="11" y="55"/>
                </a:cxn>
                <a:cxn ang="0">
                  <a:pos x="11" y="61"/>
                </a:cxn>
                <a:cxn ang="0">
                  <a:pos x="19" y="63"/>
                </a:cxn>
                <a:cxn ang="0">
                  <a:pos x="14" y="68"/>
                </a:cxn>
                <a:cxn ang="0">
                  <a:pos x="3" y="76"/>
                </a:cxn>
                <a:cxn ang="0">
                  <a:pos x="1" y="86"/>
                </a:cxn>
                <a:cxn ang="0">
                  <a:pos x="6" y="90"/>
                </a:cxn>
                <a:cxn ang="0">
                  <a:pos x="7" y="94"/>
                </a:cxn>
                <a:cxn ang="0">
                  <a:pos x="11" y="100"/>
                </a:cxn>
                <a:cxn ang="0">
                  <a:pos x="22" y="103"/>
                </a:cxn>
                <a:cxn ang="0">
                  <a:pos x="25" y="106"/>
                </a:cxn>
                <a:cxn ang="0">
                  <a:pos x="35" y="109"/>
                </a:cxn>
                <a:cxn ang="0">
                  <a:pos x="42" y="104"/>
                </a:cxn>
                <a:cxn ang="0">
                  <a:pos x="49" y="97"/>
                </a:cxn>
                <a:cxn ang="0">
                  <a:pos x="50" y="89"/>
                </a:cxn>
                <a:cxn ang="0">
                  <a:pos x="58" y="84"/>
                </a:cxn>
                <a:cxn ang="0">
                  <a:pos x="66" y="95"/>
                </a:cxn>
                <a:cxn ang="0">
                  <a:pos x="71" y="102"/>
                </a:cxn>
                <a:cxn ang="0">
                  <a:pos x="76" y="113"/>
                </a:cxn>
                <a:cxn ang="0">
                  <a:pos x="85" y="116"/>
                </a:cxn>
                <a:cxn ang="0">
                  <a:pos x="89" y="113"/>
                </a:cxn>
                <a:cxn ang="0">
                  <a:pos x="95" y="112"/>
                </a:cxn>
                <a:cxn ang="0">
                  <a:pos x="104" y="116"/>
                </a:cxn>
                <a:cxn ang="0">
                  <a:pos x="110" y="117"/>
                </a:cxn>
                <a:cxn ang="0">
                  <a:pos x="117" y="99"/>
                </a:cxn>
                <a:cxn ang="0">
                  <a:pos x="132" y="94"/>
                </a:cxn>
                <a:cxn ang="0">
                  <a:pos x="140" y="77"/>
                </a:cxn>
              </a:cxnLst>
              <a:rect l="0" t="0" r="r" b="b"/>
              <a:pathLst>
                <a:path w="141" h="119">
                  <a:moveTo>
                    <a:pt x="140" y="77"/>
                  </a:moveTo>
                  <a:cubicBezTo>
                    <a:pt x="140" y="74"/>
                    <a:pt x="141" y="71"/>
                    <a:pt x="140" y="68"/>
                  </a:cubicBezTo>
                  <a:cubicBezTo>
                    <a:pt x="139" y="65"/>
                    <a:pt x="135" y="62"/>
                    <a:pt x="133" y="62"/>
                  </a:cubicBezTo>
                  <a:cubicBezTo>
                    <a:pt x="132" y="57"/>
                    <a:pt x="137" y="53"/>
                    <a:pt x="135" y="48"/>
                  </a:cubicBezTo>
                  <a:cubicBezTo>
                    <a:pt x="134" y="48"/>
                    <a:pt x="132" y="48"/>
                    <a:pt x="131" y="47"/>
                  </a:cubicBezTo>
                  <a:cubicBezTo>
                    <a:pt x="128" y="46"/>
                    <a:pt x="129" y="47"/>
                    <a:pt x="127" y="45"/>
                  </a:cubicBezTo>
                  <a:cubicBezTo>
                    <a:pt x="126" y="43"/>
                    <a:pt x="125" y="41"/>
                    <a:pt x="122" y="41"/>
                  </a:cubicBezTo>
                  <a:cubicBezTo>
                    <a:pt x="120" y="41"/>
                    <a:pt x="120" y="43"/>
                    <a:pt x="118" y="42"/>
                  </a:cubicBezTo>
                  <a:cubicBezTo>
                    <a:pt x="118" y="38"/>
                    <a:pt x="114" y="34"/>
                    <a:pt x="112" y="30"/>
                  </a:cubicBezTo>
                  <a:cubicBezTo>
                    <a:pt x="109" y="25"/>
                    <a:pt x="107" y="22"/>
                    <a:pt x="107" y="16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06" y="6"/>
                    <a:pt x="97" y="5"/>
                    <a:pt x="90" y="6"/>
                  </a:cubicBezTo>
                  <a:cubicBezTo>
                    <a:pt x="86" y="6"/>
                    <a:pt x="85" y="8"/>
                    <a:pt x="82" y="8"/>
                  </a:cubicBezTo>
                  <a:cubicBezTo>
                    <a:pt x="77" y="9"/>
                    <a:pt x="78" y="4"/>
                    <a:pt x="78" y="1"/>
                  </a:cubicBezTo>
                  <a:cubicBezTo>
                    <a:pt x="76" y="0"/>
                    <a:pt x="75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2"/>
                    <a:pt x="68" y="2"/>
                    <a:pt x="66" y="3"/>
                  </a:cubicBezTo>
                  <a:cubicBezTo>
                    <a:pt x="64" y="3"/>
                    <a:pt x="63" y="5"/>
                    <a:pt x="61" y="6"/>
                  </a:cubicBezTo>
                  <a:cubicBezTo>
                    <a:pt x="60" y="7"/>
                    <a:pt x="58" y="9"/>
                    <a:pt x="58" y="10"/>
                  </a:cubicBezTo>
                  <a:cubicBezTo>
                    <a:pt x="58" y="11"/>
                    <a:pt x="58" y="12"/>
                    <a:pt x="58" y="13"/>
                  </a:cubicBezTo>
                  <a:cubicBezTo>
                    <a:pt x="57" y="13"/>
                    <a:pt x="57" y="13"/>
                    <a:pt x="56" y="13"/>
                  </a:cubicBezTo>
                  <a:cubicBezTo>
                    <a:pt x="56" y="14"/>
                    <a:pt x="56" y="15"/>
                    <a:pt x="55" y="16"/>
                  </a:cubicBezTo>
                  <a:cubicBezTo>
                    <a:pt x="55" y="16"/>
                    <a:pt x="54" y="18"/>
                    <a:pt x="54" y="18"/>
                  </a:cubicBezTo>
                  <a:cubicBezTo>
                    <a:pt x="53" y="19"/>
                    <a:pt x="51" y="20"/>
                    <a:pt x="50" y="21"/>
                  </a:cubicBezTo>
                  <a:cubicBezTo>
                    <a:pt x="48" y="22"/>
                    <a:pt x="48" y="23"/>
                    <a:pt x="46" y="23"/>
                  </a:cubicBezTo>
                  <a:cubicBezTo>
                    <a:pt x="43" y="24"/>
                    <a:pt x="42" y="22"/>
                    <a:pt x="41" y="26"/>
                  </a:cubicBezTo>
                  <a:cubicBezTo>
                    <a:pt x="41" y="29"/>
                    <a:pt x="40" y="29"/>
                    <a:pt x="38" y="31"/>
                  </a:cubicBezTo>
                  <a:cubicBezTo>
                    <a:pt x="37" y="33"/>
                    <a:pt x="36" y="34"/>
                    <a:pt x="35" y="36"/>
                  </a:cubicBezTo>
                  <a:cubicBezTo>
                    <a:pt x="34" y="38"/>
                    <a:pt x="34" y="40"/>
                    <a:pt x="33" y="41"/>
                  </a:cubicBezTo>
                  <a:cubicBezTo>
                    <a:pt x="33" y="43"/>
                    <a:pt x="32" y="43"/>
                    <a:pt x="31" y="44"/>
                  </a:cubicBezTo>
                  <a:cubicBezTo>
                    <a:pt x="29" y="46"/>
                    <a:pt x="28" y="49"/>
                    <a:pt x="28" y="51"/>
                  </a:cubicBezTo>
                  <a:cubicBezTo>
                    <a:pt x="27" y="53"/>
                    <a:pt x="27" y="53"/>
                    <a:pt x="24" y="53"/>
                  </a:cubicBezTo>
                  <a:cubicBezTo>
                    <a:pt x="22" y="53"/>
                    <a:pt x="20" y="53"/>
                    <a:pt x="17" y="53"/>
                  </a:cubicBezTo>
                  <a:cubicBezTo>
                    <a:pt x="15" y="53"/>
                    <a:pt x="12" y="53"/>
                    <a:pt x="11" y="55"/>
                  </a:cubicBezTo>
                  <a:cubicBezTo>
                    <a:pt x="11" y="56"/>
                    <a:pt x="10" y="58"/>
                    <a:pt x="10" y="59"/>
                  </a:cubicBezTo>
                  <a:cubicBezTo>
                    <a:pt x="10" y="60"/>
                    <a:pt x="10" y="60"/>
                    <a:pt x="11" y="61"/>
                  </a:cubicBezTo>
                  <a:cubicBezTo>
                    <a:pt x="13" y="62"/>
                    <a:pt x="14" y="62"/>
                    <a:pt x="16" y="62"/>
                  </a:cubicBezTo>
                  <a:cubicBezTo>
                    <a:pt x="17" y="62"/>
                    <a:pt x="18" y="63"/>
                    <a:pt x="19" y="63"/>
                  </a:cubicBezTo>
                  <a:cubicBezTo>
                    <a:pt x="18" y="63"/>
                    <a:pt x="17" y="64"/>
                    <a:pt x="16" y="65"/>
                  </a:cubicBezTo>
                  <a:cubicBezTo>
                    <a:pt x="16" y="66"/>
                    <a:pt x="15" y="67"/>
                    <a:pt x="14" y="68"/>
                  </a:cubicBezTo>
                  <a:cubicBezTo>
                    <a:pt x="13" y="69"/>
                    <a:pt x="10" y="71"/>
                    <a:pt x="8" y="72"/>
                  </a:cubicBezTo>
                  <a:cubicBezTo>
                    <a:pt x="6" y="73"/>
                    <a:pt x="5" y="74"/>
                    <a:pt x="3" y="76"/>
                  </a:cubicBezTo>
                  <a:cubicBezTo>
                    <a:pt x="2" y="78"/>
                    <a:pt x="0" y="78"/>
                    <a:pt x="0" y="80"/>
                  </a:cubicBezTo>
                  <a:cubicBezTo>
                    <a:pt x="0" y="82"/>
                    <a:pt x="0" y="84"/>
                    <a:pt x="1" y="86"/>
                  </a:cubicBezTo>
                  <a:cubicBezTo>
                    <a:pt x="2" y="87"/>
                    <a:pt x="3" y="88"/>
                    <a:pt x="5" y="89"/>
                  </a:cubicBezTo>
                  <a:cubicBezTo>
                    <a:pt x="5" y="89"/>
                    <a:pt x="6" y="90"/>
                    <a:pt x="6" y="90"/>
                  </a:cubicBezTo>
                  <a:cubicBezTo>
                    <a:pt x="7" y="91"/>
                    <a:pt x="6" y="91"/>
                    <a:pt x="6" y="92"/>
                  </a:cubicBezTo>
                  <a:cubicBezTo>
                    <a:pt x="7" y="92"/>
                    <a:pt x="7" y="93"/>
                    <a:pt x="7" y="94"/>
                  </a:cubicBezTo>
                  <a:cubicBezTo>
                    <a:pt x="8" y="95"/>
                    <a:pt x="9" y="95"/>
                    <a:pt x="10" y="97"/>
                  </a:cubicBezTo>
                  <a:cubicBezTo>
                    <a:pt x="10" y="98"/>
                    <a:pt x="10" y="99"/>
                    <a:pt x="11" y="100"/>
                  </a:cubicBezTo>
                  <a:cubicBezTo>
                    <a:pt x="12" y="101"/>
                    <a:pt x="15" y="102"/>
                    <a:pt x="17" y="102"/>
                  </a:cubicBezTo>
                  <a:cubicBezTo>
                    <a:pt x="18" y="102"/>
                    <a:pt x="21" y="102"/>
                    <a:pt x="22" y="103"/>
                  </a:cubicBezTo>
                  <a:cubicBezTo>
                    <a:pt x="23" y="104"/>
                    <a:pt x="22" y="104"/>
                    <a:pt x="23" y="104"/>
                  </a:cubicBezTo>
                  <a:cubicBezTo>
                    <a:pt x="24" y="105"/>
                    <a:pt x="24" y="105"/>
                    <a:pt x="25" y="106"/>
                  </a:cubicBezTo>
                  <a:cubicBezTo>
                    <a:pt x="26" y="106"/>
                    <a:pt x="27" y="107"/>
                    <a:pt x="28" y="108"/>
                  </a:cubicBezTo>
                  <a:cubicBezTo>
                    <a:pt x="30" y="109"/>
                    <a:pt x="33" y="108"/>
                    <a:pt x="35" y="109"/>
                  </a:cubicBezTo>
                  <a:cubicBezTo>
                    <a:pt x="36" y="109"/>
                    <a:pt x="39" y="110"/>
                    <a:pt x="41" y="110"/>
                  </a:cubicBezTo>
                  <a:cubicBezTo>
                    <a:pt x="43" y="109"/>
                    <a:pt x="41" y="106"/>
                    <a:pt x="42" y="104"/>
                  </a:cubicBezTo>
                  <a:cubicBezTo>
                    <a:pt x="43" y="102"/>
                    <a:pt x="47" y="104"/>
                    <a:pt x="48" y="103"/>
                  </a:cubicBezTo>
                  <a:cubicBezTo>
                    <a:pt x="50" y="102"/>
                    <a:pt x="50" y="99"/>
                    <a:pt x="49" y="97"/>
                  </a:cubicBezTo>
                  <a:cubicBezTo>
                    <a:pt x="48" y="96"/>
                    <a:pt x="48" y="95"/>
                    <a:pt x="48" y="94"/>
                  </a:cubicBezTo>
                  <a:cubicBezTo>
                    <a:pt x="48" y="92"/>
                    <a:pt x="49" y="91"/>
                    <a:pt x="50" y="89"/>
                  </a:cubicBezTo>
                  <a:cubicBezTo>
                    <a:pt x="51" y="88"/>
                    <a:pt x="52" y="85"/>
                    <a:pt x="54" y="85"/>
                  </a:cubicBezTo>
                  <a:cubicBezTo>
                    <a:pt x="55" y="84"/>
                    <a:pt x="57" y="85"/>
                    <a:pt x="58" y="84"/>
                  </a:cubicBezTo>
                  <a:cubicBezTo>
                    <a:pt x="60" y="86"/>
                    <a:pt x="61" y="88"/>
                    <a:pt x="62" y="90"/>
                  </a:cubicBezTo>
                  <a:cubicBezTo>
                    <a:pt x="64" y="92"/>
                    <a:pt x="65" y="93"/>
                    <a:pt x="66" y="95"/>
                  </a:cubicBezTo>
                  <a:cubicBezTo>
                    <a:pt x="67" y="97"/>
                    <a:pt x="66" y="98"/>
                    <a:pt x="66" y="100"/>
                  </a:cubicBezTo>
                  <a:cubicBezTo>
                    <a:pt x="66" y="102"/>
                    <a:pt x="69" y="102"/>
                    <a:pt x="71" y="102"/>
                  </a:cubicBezTo>
                  <a:cubicBezTo>
                    <a:pt x="73" y="103"/>
                    <a:pt x="74" y="104"/>
                    <a:pt x="74" y="105"/>
                  </a:cubicBezTo>
                  <a:cubicBezTo>
                    <a:pt x="75" y="108"/>
                    <a:pt x="76" y="110"/>
                    <a:pt x="76" y="113"/>
                  </a:cubicBezTo>
                  <a:cubicBezTo>
                    <a:pt x="76" y="115"/>
                    <a:pt x="76" y="117"/>
                    <a:pt x="79" y="117"/>
                  </a:cubicBezTo>
                  <a:cubicBezTo>
                    <a:pt x="81" y="117"/>
                    <a:pt x="83" y="117"/>
                    <a:pt x="85" y="116"/>
                  </a:cubicBezTo>
                  <a:cubicBezTo>
                    <a:pt x="86" y="115"/>
                    <a:pt x="87" y="115"/>
                    <a:pt x="88" y="113"/>
                  </a:cubicBezTo>
                  <a:cubicBezTo>
                    <a:pt x="88" y="113"/>
                    <a:pt x="88" y="113"/>
                    <a:pt x="89" y="113"/>
                  </a:cubicBezTo>
                  <a:cubicBezTo>
                    <a:pt x="89" y="112"/>
                    <a:pt x="89" y="111"/>
                    <a:pt x="90" y="110"/>
                  </a:cubicBezTo>
                  <a:cubicBezTo>
                    <a:pt x="92" y="111"/>
                    <a:pt x="93" y="111"/>
                    <a:pt x="95" y="112"/>
                  </a:cubicBezTo>
                  <a:cubicBezTo>
                    <a:pt x="97" y="113"/>
                    <a:pt x="98" y="115"/>
                    <a:pt x="100" y="115"/>
                  </a:cubicBezTo>
                  <a:cubicBezTo>
                    <a:pt x="102" y="115"/>
                    <a:pt x="102" y="115"/>
                    <a:pt x="104" y="116"/>
                  </a:cubicBezTo>
                  <a:cubicBezTo>
                    <a:pt x="106" y="117"/>
                    <a:pt x="108" y="118"/>
                    <a:pt x="109" y="119"/>
                  </a:cubicBezTo>
                  <a:cubicBezTo>
                    <a:pt x="110" y="118"/>
                    <a:pt x="110" y="118"/>
                    <a:pt x="110" y="117"/>
                  </a:cubicBezTo>
                  <a:cubicBezTo>
                    <a:pt x="113" y="114"/>
                    <a:pt x="114" y="111"/>
                    <a:pt x="114" y="107"/>
                  </a:cubicBezTo>
                  <a:cubicBezTo>
                    <a:pt x="114" y="103"/>
                    <a:pt x="113" y="100"/>
                    <a:pt x="117" y="99"/>
                  </a:cubicBezTo>
                  <a:cubicBezTo>
                    <a:pt x="120" y="99"/>
                    <a:pt x="123" y="99"/>
                    <a:pt x="125" y="99"/>
                  </a:cubicBezTo>
                  <a:cubicBezTo>
                    <a:pt x="130" y="99"/>
                    <a:pt x="130" y="98"/>
                    <a:pt x="132" y="94"/>
                  </a:cubicBezTo>
                  <a:cubicBezTo>
                    <a:pt x="134" y="92"/>
                    <a:pt x="136" y="90"/>
                    <a:pt x="138" y="87"/>
                  </a:cubicBezTo>
                  <a:cubicBezTo>
                    <a:pt x="139" y="84"/>
                    <a:pt x="139" y="80"/>
                    <a:pt x="140" y="7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9" name="Freeform 90">
              <a:extLst>
                <a:ext uri="{FF2B5EF4-FFF2-40B4-BE49-F238E27FC236}">
                  <a16:creationId xmlns:a16="http://schemas.microsoft.com/office/drawing/2014/main" id="{DED43296-D0F8-4705-A079-7E65584F2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0525" y="3887788"/>
              <a:ext cx="46038" cy="53975"/>
            </a:xfrm>
            <a:custGeom>
              <a:avLst/>
              <a:gdLst/>
              <a:ahLst/>
              <a:cxnLst>
                <a:cxn ang="0">
                  <a:pos x="21" y="1"/>
                </a:cxn>
                <a:cxn ang="0">
                  <a:pos x="21" y="1"/>
                </a:cxn>
                <a:cxn ang="0">
                  <a:pos x="19" y="0"/>
                </a:cxn>
                <a:cxn ang="0">
                  <a:pos x="11" y="3"/>
                </a:cxn>
                <a:cxn ang="0">
                  <a:pos x="8" y="7"/>
                </a:cxn>
                <a:cxn ang="0">
                  <a:pos x="6" y="10"/>
                </a:cxn>
                <a:cxn ang="0">
                  <a:pos x="1" y="19"/>
                </a:cxn>
                <a:cxn ang="0">
                  <a:pos x="1" y="25"/>
                </a:cxn>
                <a:cxn ang="0">
                  <a:pos x="2" y="27"/>
                </a:cxn>
                <a:cxn ang="0">
                  <a:pos x="4" y="28"/>
                </a:cxn>
                <a:cxn ang="0">
                  <a:pos x="10" y="28"/>
                </a:cxn>
                <a:cxn ang="0">
                  <a:pos x="15" y="27"/>
                </a:cxn>
                <a:cxn ang="0">
                  <a:pos x="18" y="24"/>
                </a:cxn>
                <a:cxn ang="0">
                  <a:pos x="21" y="21"/>
                </a:cxn>
                <a:cxn ang="0">
                  <a:pos x="24" y="14"/>
                </a:cxn>
                <a:cxn ang="0">
                  <a:pos x="22" y="6"/>
                </a:cxn>
                <a:cxn ang="0">
                  <a:pos x="20" y="4"/>
                </a:cxn>
                <a:cxn ang="0">
                  <a:pos x="18" y="2"/>
                </a:cxn>
                <a:cxn ang="0">
                  <a:pos x="21" y="1"/>
                </a:cxn>
              </a:cxnLst>
              <a:rect l="0" t="0" r="r" b="b"/>
              <a:pathLst>
                <a:path w="24" h="29">
                  <a:moveTo>
                    <a:pt x="21" y="1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6" y="0"/>
                    <a:pt x="13" y="0"/>
                    <a:pt x="11" y="3"/>
                  </a:cubicBezTo>
                  <a:cubicBezTo>
                    <a:pt x="10" y="4"/>
                    <a:pt x="9" y="6"/>
                    <a:pt x="8" y="7"/>
                  </a:cubicBezTo>
                  <a:cubicBezTo>
                    <a:pt x="8" y="8"/>
                    <a:pt x="7" y="9"/>
                    <a:pt x="6" y="10"/>
                  </a:cubicBezTo>
                  <a:cubicBezTo>
                    <a:pt x="4" y="13"/>
                    <a:pt x="2" y="16"/>
                    <a:pt x="1" y="19"/>
                  </a:cubicBezTo>
                  <a:cubicBezTo>
                    <a:pt x="0" y="21"/>
                    <a:pt x="0" y="23"/>
                    <a:pt x="1" y="25"/>
                  </a:cubicBezTo>
                  <a:cubicBezTo>
                    <a:pt x="1" y="26"/>
                    <a:pt x="1" y="27"/>
                    <a:pt x="2" y="27"/>
                  </a:cubicBezTo>
                  <a:cubicBezTo>
                    <a:pt x="2" y="28"/>
                    <a:pt x="3" y="28"/>
                    <a:pt x="4" y="28"/>
                  </a:cubicBezTo>
                  <a:cubicBezTo>
                    <a:pt x="6" y="28"/>
                    <a:pt x="8" y="29"/>
                    <a:pt x="10" y="28"/>
                  </a:cubicBezTo>
                  <a:cubicBezTo>
                    <a:pt x="12" y="28"/>
                    <a:pt x="13" y="28"/>
                    <a:pt x="15" y="27"/>
                  </a:cubicBezTo>
                  <a:cubicBezTo>
                    <a:pt x="16" y="26"/>
                    <a:pt x="17" y="25"/>
                    <a:pt x="18" y="24"/>
                  </a:cubicBezTo>
                  <a:cubicBezTo>
                    <a:pt x="19" y="23"/>
                    <a:pt x="20" y="22"/>
                    <a:pt x="21" y="21"/>
                  </a:cubicBezTo>
                  <a:cubicBezTo>
                    <a:pt x="23" y="19"/>
                    <a:pt x="23" y="16"/>
                    <a:pt x="24" y="14"/>
                  </a:cubicBezTo>
                  <a:cubicBezTo>
                    <a:pt x="24" y="11"/>
                    <a:pt x="24" y="9"/>
                    <a:pt x="22" y="6"/>
                  </a:cubicBezTo>
                  <a:cubicBezTo>
                    <a:pt x="21" y="6"/>
                    <a:pt x="20" y="5"/>
                    <a:pt x="20" y="4"/>
                  </a:cubicBezTo>
                  <a:cubicBezTo>
                    <a:pt x="19" y="4"/>
                    <a:pt x="18" y="3"/>
                    <a:pt x="18" y="2"/>
                  </a:cubicBezTo>
                  <a:lnTo>
                    <a:pt x="21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0" name="Freeform 91">
              <a:extLst>
                <a:ext uri="{FF2B5EF4-FFF2-40B4-BE49-F238E27FC236}">
                  <a16:creationId xmlns:a16="http://schemas.microsoft.com/office/drawing/2014/main" id="{CA47BA7B-A273-4E91-B7A4-5251A232D1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3263" y="4511675"/>
              <a:ext cx="71438" cy="30163"/>
            </a:xfrm>
            <a:custGeom>
              <a:avLst/>
              <a:gdLst/>
              <a:ahLst/>
              <a:cxnLst>
                <a:cxn ang="0">
                  <a:pos x="29" y="3"/>
                </a:cxn>
                <a:cxn ang="0">
                  <a:pos x="29" y="3"/>
                </a:cxn>
                <a:cxn ang="0">
                  <a:pos x="24" y="1"/>
                </a:cxn>
                <a:cxn ang="0">
                  <a:pos x="13" y="1"/>
                </a:cxn>
                <a:cxn ang="0">
                  <a:pos x="9" y="3"/>
                </a:cxn>
                <a:cxn ang="0">
                  <a:pos x="4" y="4"/>
                </a:cxn>
                <a:cxn ang="0">
                  <a:pos x="1" y="6"/>
                </a:cxn>
                <a:cxn ang="0">
                  <a:pos x="0" y="9"/>
                </a:cxn>
                <a:cxn ang="0">
                  <a:pos x="2" y="12"/>
                </a:cxn>
                <a:cxn ang="0">
                  <a:pos x="6" y="14"/>
                </a:cxn>
                <a:cxn ang="0">
                  <a:pos x="13" y="16"/>
                </a:cxn>
                <a:cxn ang="0">
                  <a:pos x="21" y="16"/>
                </a:cxn>
                <a:cxn ang="0">
                  <a:pos x="29" y="15"/>
                </a:cxn>
                <a:cxn ang="0">
                  <a:pos x="34" y="13"/>
                </a:cxn>
                <a:cxn ang="0">
                  <a:pos x="38" y="10"/>
                </a:cxn>
                <a:cxn ang="0">
                  <a:pos x="36" y="5"/>
                </a:cxn>
                <a:cxn ang="0">
                  <a:pos x="29" y="3"/>
                </a:cxn>
              </a:cxnLst>
              <a:rect l="0" t="0" r="r" b="b"/>
              <a:pathLst>
                <a:path w="38" h="16">
                  <a:moveTo>
                    <a:pt x="29" y="3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8" y="2"/>
                    <a:pt x="26" y="1"/>
                    <a:pt x="24" y="1"/>
                  </a:cubicBezTo>
                  <a:cubicBezTo>
                    <a:pt x="21" y="0"/>
                    <a:pt x="17" y="0"/>
                    <a:pt x="13" y="1"/>
                  </a:cubicBezTo>
                  <a:cubicBezTo>
                    <a:pt x="12" y="1"/>
                    <a:pt x="10" y="2"/>
                    <a:pt x="9" y="3"/>
                  </a:cubicBezTo>
                  <a:cubicBezTo>
                    <a:pt x="7" y="3"/>
                    <a:pt x="6" y="4"/>
                    <a:pt x="4" y="4"/>
                  </a:cubicBezTo>
                  <a:cubicBezTo>
                    <a:pt x="3" y="5"/>
                    <a:pt x="2" y="6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cubicBezTo>
                    <a:pt x="3" y="13"/>
                    <a:pt x="4" y="14"/>
                    <a:pt x="6" y="14"/>
                  </a:cubicBezTo>
                  <a:cubicBezTo>
                    <a:pt x="8" y="15"/>
                    <a:pt x="10" y="16"/>
                    <a:pt x="13" y="16"/>
                  </a:cubicBezTo>
                  <a:cubicBezTo>
                    <a:pt x="16" y="16"/>
                    <a:pt x="19" y="16"/>
                    <a:pt x="21" y="16"/>
                  </a:cubicBezTo>
                  <a:cubicBezTo>
                    <a:pt x="24" y="16"/>
                    <a:pt x="27" y="16"/>
                    <a:pt x="29" y="15"/>
                  </a:cubicBezTo>
                  <a:cubicBezTo>
                    <a:pt x="31" y="15"/>
                    <a:pt x="33" y="14"/>
                    <a:pt x="34" y="13"/>
                  </a:cubicBezTo>
                  <a:cubicBezTo>
                    <a:pt x="36" y="12"/>
                    <a:pt x="37" y="11"/>
                    <a:pt x="38" y="10"/>
                  </a:cubicBezTo>
                  <a:cubicBezTo>
                    <a:pt x="38" y="8"/>
                    <a:pt x="37" y="6"/>
                    <a:pt x="36" y="5"/>
                  </a:cubicBezTo>
                  <a:lnTo>
                    <a:pt x="29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1" name="Freeform 92">
              <a:extLst>
                <a:ext uri="{FF2B5EF4-FFF2-40B4-BE49-F238E27FC236}">
                  <a16:creationId xmlns:a16="http://schemas.microsoft.com/office/drawing/2014/main" id="{E02DC7FA-7AA3-42F5-A21C-78EFC861C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2838" y="5722938"/>
              <a:ext cx="365125" cy="711200"/>
            </a:xfrm>
            <a:custGeom>
              <a:avLst/>
              <a:gdLst/>
              <a:ahLst/>
              <a:cxnLst>
                <a:cxn ang="0">
                  <a:pos x="9" y="214"/>
                </a:cxn>
                <a:cxn ang="0">
                  <a:pos x="1" y="233"/>
                </a:cxn>
                <a:cxn ang="0">
                  <a:pos x="0" y="251"/>
                </a:cxn>
                <a:cxn ang="0">
                  <a:pos x="9" y="267"/>
                </a:cxn>
                <a:cxn ang="0">
                  <a:pos x="25" y="280"/>
                </a:cxn>
                <a:cxn ang="0">
                  <a:pos x="36" y="293"/>
                </a:cxn>
                <a:cxn ang="0">
                  <a:pos x="30" y="317"/>
                </a:cxn>
                <a:cxn ang="0">
                  <a:pos x="35" y="341"/>
                </a:cxn>
                <a:cxn ang="0">
                  <a:pos x="34" y="354"/>
                </a:cxn>
                <a:cxn ang="0">
                  <a:pos x="29" y="365"/>
                </a:cxn>
                <a:cxn ang="0">
                  <a:pos x="54" y="374"/>
                </a:cxn>
                <a:cxn ang="0">
                  <a:pos x="67" y="374"/>
                </a:cxn>
                <a:cxn ang="0">
                  <a:pos x="81" y="378"/>
                </a:cxn>
                <a:cxn ang="0">
                  <a:pos x="98" y="375"/>
                </a:cxn>
                <a:cxn ang="0">
                  <a:pos x="105" y="374"/>
                </a:cxn>
                <a:cxn ang="0">
                  <a:pos x="109" y="356"/>
                </a:cxn>
                <a:cxn ang="0">
                  <a:pos x="108" y="349"/>
                </a:cxn>
                <a:cxn ang="0">
                  <a:pos x="110" y="331"/>
                </a:cxn>
                <a:cxn ang="0">
                  <a:pos x="116" y="322"/>
                </a:cxn>
                <a:cxn ang="0">
                  <a:pos x="118" y="315"/>
                </a:cxn>
                <a:cxn ang="0">
                  <a:pos x="129" y="309"/>
                </a:cxn>
                <a:cxn ang="0">
                  <a:pos x="135" y="298"/>
                </a:cxn>
                <a:cxn ang="0">
                  <a:pos x="125" y="290"/>
                </a:cxn>
                <a:cxn ang="0">
                  <a:pos x="122" y="283"/>
                </a:cxn>
                <a:cxn ang="0">
                  <a:pos x="128" y="254"/>
                </a:cxn>
                <a:cxn ang="0">
                  <a:pos x="133" y="234"/>
                </a:cxn>
                <a:cxn ang="0">
                  <a:pos x="123" y="229"/>
                </a:cxn>
                <a:cxn ang="0">
                  <a:pos x="119" y="209"/>
                </a:cxn>
                <a:cxn ang="0">
                  <a:pos x="115" y="206"/>
                </a:cxn>
                <a:cxn ang="0">
                  <a:pos x="117" y="196"/>
                </a:cxn>
                <a:cxn ang="0">
                  <a:pos x="137" y="180"/>
                </a:cxn>
                <a:cxn ang="0">
                  <a:pos x="139" y="156"/>
                </a:cxn>
                <a:cxn ang="0">
                  <a:pos x="145" y="131"/>
                </a:cxn>
                <a:cxn ang="0">
                  <a:pos x="144" y="102"/>
                </a:cxn>
                <a:cxn ang="0">
                  <a:pos x="149" y="85"/>
                </a:cxn>
                <a:cxn ang="0">
                  <a:pos x="166" y="75"/>
                </a:cxn>
                <a:cxn ang="0">
                  <a:pos x="180" y="65"/>
                </a:cxn>
                <a:cxn ang="0">
                  <a:pos x="194" y="46"/>
                </a:cxn>
                <a:cxn ang="0">
                  <a:pos x="177" y="38"/>
                </a:cxn>
                <a:cxn ang="0">
                  <a:pos x="172" y="29"/>
                </a:cxn>
                <a:cxn ang="0">
                  <a:pos x="169" y="18"/>
                </a:cxn>
                <a:cxn ang="0">
                  <a:pos x="155" y="16"/>
                </a:cxn>
                <a:cxn ang="0">
                  <a:pos x="142" y="19"/>
                </a:cxn>
                <a:cxn ang="0">
                  <a:pos x="122" y="29"/>
                </a:cxn>
                <a:cxn ang="0">
                  <a:pos x="112" y="25"/>
                </a:cxn>
                <a:cxn ang="0">
                  <a:pos x="98" y="22"/>
                </a:cxn>
                <a:cxn ang="0">
                  <a:pos x="84" y="30"/>
                </a:cxn>
                <a:cxn ang="0">
                  <a:pos x="86" y="12"/>
                </a:cxn>
                <a:cxn ang="0">
                  <a:pos x="82" y="1"/>
                </a:cxn>
                <a:cxn ang="0">
                  <a:pos x="73" y="7"/>
                </a:cxn>
                <a:cxn ang="0">
                  <a:pos x="47" y="19"/>
                </a:cxn>
                <a:cxn ang="0">
                  <a:pos x="42" y="29"/>
                </a:cxn>
                <a:cxn ang="0">
                  <a:pos x="44" y="42"/>
                </a:cxn>
                <a:cxn ang="0">
                  <a:pos x="44" y="61"/>
                </a:cxn>
                <a:cxn ang="0">
                  <a:pos x="39" y="72"/>
                </a:cxn>
                <a:cxn ang="0">
                  <a:pos x="44" y="90"/>
                </a:cxn>
                <a:cxn ang="0">
                  <a:pos x="44" y="127"/>
                </a:cxn>
                <a:cxn ang="0">
                  <a:pos x="39" y="139"/>
                </a:cxn>
                <a:cxn ang="0">
                  <a:pos x="37" y="147"/>
                </a:cxn>
                <a:cxn ang="0">
                  <a:pos x="38" y="159"/>
                </a:cxn>
                <a:cxn ang="0">
                  <a:pos x="28" y="171"/>
                </a:cxn>
                <a:cxn ang="0">
                  <a:pos x="26" y="186"/>
                </a:cxn>
              </a:cxnLst>
              <a:rect l="0" t="0" r="r" b="b"/>
              <a:pathLst>
                <a:path w="195" h="380">
                  <a:moveTo>
                    <a:pt x="26" y="188"/>
                  </a:moveTo>
                  <a:cubicBezTo>
                    <a:pt x="25" y="192"/>
                    <a:pt x="23" y="197"/>
                    <a:pt x="20" y="200"/>
                  </a:cubicBezTo>
                  <a:cubicBezTo>
                    <a:pt x="17" y="205"/>
                    <a:pt x="13" y="210"/>
                    <a:pt x="9" y="214"/>
                  </a:cubicBezTo>
                  <a:cubicBezTo>
                    <a:pt x="7" y="216"/>
                    <a:pt x="6" y="218"/>
                    <a:pt x="5" y="220"/>
                  </a:cubicBezTo>
                  <a:cubicBezTo>
                    <a:pt x="4" y="222"/>
                    <a:pt x="5" y="224"/>
                    <a:pt x="4" y="226"/>
                  </a:cubicBezTo>
                  <a:cubicBezTo>
                    <a:pt x="4" y="228"/>
                    <a:pt x="2" y="231"/>
                    <a:pt x="1" y="233"/>
                  </a:cubicBezTo>
                  <a:cubicBezTo>
                    <a:pt x="1" y="237"/>
                    <a:pt x="0" y="241"/>
                    <a:pt x="0" y="245"/>
                  </a:cubicBezTo>
                  <a:cubicBezTo>
                    <a:pt x="0" y="246"/>
                    <a:pt x="0" y="247"/>
                    <a:pt x="0" y="249"/>
                  </a:cubicBezTo>
                  <a:cubicBezTo>
                    <a:pt x="0" y="249"/>
                    <a:pt x="0" y="250"/>
                    <a:pt x="0" y="251"/>
                  </a:cubicBezTo>
                  <a:cubicBezTo>
                    <a:pt x="0" y="252"/>
                    <a:pt x="0" y="253"/>
                    <a:pt x="1" y="254"/>
                  </a:cubicBezTo>
                  <a:cubicBezTo>
                    <a:pt x="3" y="255"/>
                    <a:pt x="7" y="253"/>
                    <a:pt x="9" y="256"/>
                  </a:cubicBezTo>
                  <a:cubicBezTo>
                    <a:pt x="10" y="259"/>
                    <a:pt x="8" y="264"/>
                    <a:pt x="9" y="267"/>
                  </a:cubicBezTo>
                  <a:cubicBezTo>
                    <a:pt x="11" y="272"/>
                    <a:pt x="17" y="271"/>
                    <a:pt x="16" y="277"/>
                  </a:cubicBezTo>
                  <a:cubicBezTo>
                    <a:pt x="16" y="280"/>
                    <a:pt x="15" y="278"/>
                    <a:pt x="14" y="281"/>
                  </a:cubicBezTo>
                  <a:cubicBezTo>
                    <a:pt x="12" y="285"/>
                    <a:pt x="22" y="282"/>
                    <a:pt x="25" y="280"/>
                  </a:cubicBezTo>
                  <a:cubicBezTo>
                    <a:pt x="26" y="279"/>
                    <a:pt x="30" y="277"/>
                    <a:pt x="32" y="279"/>
                  </a:cubicBezTo>
                  <a:cubicBezTo>
                    <a:pt x="33" y="279"/>
                    <a:pt x="37" y="284"/>
                    <a:pt x="37" y="285"/>
                  </a:cubicBezTo>
                  <a:cubicBezTo>
                    <a:pt x="38" y="287"/>
                    <a:pt x="36" y="290"/>
                    <a:pt x="36" y="293"/>
                  </a:cubicBezTo>
                  <a:cubicBezTo>
                    <a:pt x="35" y="296"/>
                    <a:pt x="35" y="300"/>
                    <a:pt x="35" y="303"/>
                  </a:cubicBezTo>
                  <a:cubicBezTo>
                    <a:pt x="35" y="306"/>
                    <a:pt x="35" y="307"/>
                    <a:pt x="34" y="310"/>
                  </a:cubicBezTo>
                  <a:cubicBezTo>
                    <a:pt x="33" y="312"/>
                    <a:pt x="30" y="315"/>
                    <a:pt x="30" y="317"/>
                  </a:cubicBezTo>
                  <a:cubicBezTo>
                    <a:pt x="30" y="321"/>
                    <a:pt x="36" y="322"/>
                    <a:pt x="38" y="325"/>
                  </a:cubicBezTo>
                  <a:cubicBezTo>
                    <a:pt x="39" y="327"/>
                    <a:pt x="40" y="330"/>
                    <a:pt x="39" y="332"/>
                  </a:cubicBezTo>
                  <a:cubicBezTo>
                    <a:pt x="38" y="335"/>
                    <a:pt x="36" y="338"/>
                    <a:pt x="35" y="341"/>
                  </a:cubicBezTo>
                  <a:cubicBezTo>
                    <a:pt x="34" y="343"/>
                    <a:pt x="34" y="345"/>
                    <a:pt x="34" y="347"/>
                  </a:cubicBezTo>
                  <a:cubicBezTo>
                    <a:pt x="34" y="348"/>
                    <a:pt x="34" y="348"/>
                    <a:pt x="34" y="349"/>
                  </a:cubicBezTo>
                  <a:cubicBezTo>
                    <a:pt x="34" y="351"/>
                    <a:pt x="34" y="353"/>
                    <a:pt x="34" y="354"/>
                  </a:cubicBezTo>
                  <a:cubicBezTo>
                    <a:pt x="34" y="355"/>
                    <a:pt x="33" y="356"/>
                    <a:pt x="33" y="357"/>
                  </a:cubicBezTo>
                  <a:cubicBezTo>
                    <a:pt x="33" y="358"/>
                    <a:pt x="32" y="360"/>
                    <a:pt x="31" y="361"/>
                  </a:cubicBezTo>
                  <a:cubicBezTo>
                    <a:pt x="30" y="362"/>
                    <a:pt x="30" y="364"/>
                    <a:pt x="29" y="365"/>
                  </a:cubicBezTo>
                  <a:cubicBezTo>
                    <a:pt x="28" y="370"/>
                    <a:pt x="29" y="375"/>
                    <a:pt x="26" y="379"/>
                  </a:cubicBezTo>
                  <a:cubicBezTo>
                    <a:pt x="31" y="380"/>
                    <a:pt x="37" y="375"/>
                    <a:pt x="41" y="374"/>
                  </a:cubicBezTo>
                  <a:cubicBezTo>
                    <a:pt x="45" y="373"/>
                    <a:pt x="50" y="373"/>
                    <a:pt x="54" y="374"/>
                  </a:cubicBezTo>
                  <a:cubicBezTo>
                    <a:pt x="56" y="374"/>
                    <a:pt x="57" y="374"/>
                    <a:pt x="59" y="374"/>
                  </a:cubicBezTo>
                  <a:cubicBezTo>
                    <a:pt x="60" y="374"/>
                    <a:pt x="62" y="374"/>
                    <a:pt x="63" y="374"/>
                  </a:cubicBezTo>
                  <a:cubicBezTo>
                    <a:pt x="65" y="374"/>
                    <a:pt x="66" y="374"/>
                    <a:pt x="67" y="374"/>
                  </a:cubicBezTo>
                  <a:cubicBezTo>
                    <a:pt x="69" y="375"/>
                    <a:pt x="70" y="376"/>
                    <a:pt x="72" y="376"/>
                  </a:cubicBezTo>
                  <a:cubicBezTo>
                    <a:pt x="74" y="377"/>
                    <a:pt x="76" y="378"/>
                    <a:pt x="78" y="379"/>
                  </a:cubicBezTo>
                  <a:cubicBezTo>
                    <a:pt x="80" y="379"/>
                    <a:pt x="80" y="379"/>
                    <a:pt x="81" y="378"/>
                  </a:cubicBezTo>
                  <a:cubicBezTo>
                    <a:pt x="84" y="378"/>
                    <a:pt x="84" y="377"/>
                    <a:pt x="85" y="377"/>
                  </a:cubicBezTo>
                  <a:cubicBezTo>
                    <a:pt x="89" y="375"/>
                    <a:pt x="92" y="375"/>
                    <a:pt x="95" y="375"/>
                  </a:cubicBezTo>
                  <a:cubicBezTo>
                    <a:pt x="96" y="375"/>
                    <a:pt x="97" y="375"/>
                    <a:pt x="98" y="375"/>
                  </a:cubicBezTo>
                  <a:cubicBezTo>
                    <a:pt x="98" y="375"/>
                    <a:pt x="99" y="375"/>
                    <a:pt x="99" y="375"/>
                  </a:cubicBezTo>
                  <a:cubicBezTo>
                    <a:pt x="101" y="375"/>
                    <a:pt x="103" y="374"/>
                    <a:pt x="105" y="374"/>
                  </a:cubicBezTo>
                  <a:cubicBezTo>
                    <a:pt x="105" y="374"/>
                    <a:pt x="105" y="374"/>
                    <a:pt x="105" y="374"/>
                  </a:cubicBezTo>
                  <a:cubicBezTo>
                    <a:pt x="106" y="374"/>
                    <a:pt x="107" y="373"/>
                    <a:pt x="108" y="373"/>
                  </a:cubicBezTo>
                  <a:cubicBezTo>
                    <a:pt x="108" y="371"/>
                    <a:pt x="108" y="369"/>
                    <a:pt x="108" y="367"/>
                  </a:cubicBezTo>
                  <a:cubicBezTo>
                    <a:pt x="109" y="363"/>
                    <a:pt x="109" y="360"/>
                    <a:pt x="109" y="356"/>
                  </a:cubicBezTo>
                  <a:cubicBezTo>
                    <a:pt x="109" y="355"/>
                    <a:pt x="109" y="353"/>
                    <a:pt x="109" y="351"/>
                  </a:cubicBezTo>
                  <a:cubicBezTo>
                    <a:pt x="109" y="351"/>
                    <a:pt x="109" y="351"/>
                    <a:pt x="108" y="351"/>
                  </a:cubicBezTo>
                  <a:cubicBezTo>
                    <a:pt x="108" y="350"/>
                    <a:pt x="108" y="350"/>
                    <a:pt x="108" y="349"/>
                  </a:cubicBezTo>
                  <a:cubicBezTo>
                    <a:pt x="107" y="348"/>
                    <a:pt x="107" y="346"/>
                    <a:pt x="107" y="345"/>
                  </a:cubicBezTo>
                  <a:cubicBezTo>
                    <a:pt x="107" y="344"/>
                    <a:pt x="106" y="343"/>
                    <a:pt x="106" y="341"/>
                  </a:cubicBezTo>
                  <a:cubicBezTo>
                    <a:pt x="106" y="338"/>
                    <a:pt x="108" y="334"/>
                    <a:pt x="110" y="331"/>
                  </a:cubicBezTo>
                  <a:cubicBezTo>
                    <a:pt x="110" y="331"/>
                    <a:pt x="111" y="330"/>
                    <a:pt x="111" y="329"/>
                  </a:cubicBezTo>
                  <a:cubicBezTo>
                    <a:pt x="112" y="328"/>
                    <a:pt x="113" y="326"/>
                    <a:pt x="114" y="325"/>
                  </a:cubicBezTo>
                  <a:cubicBezTo>
                    <a:pt x="115" y="324"/>
                    <a:pt x="116" y="323"/>
                    <a:pt x="116" y="322"/>
                  </a:cubicBezTo>
                  <a:cubicBezTo>
                    <a:pt x="117" y="321"/>
                    <a:pt x="117" y="321"/>
                    <a:pt x="117" y="321"/>
                  </a:cubicBezTo>
                  <a:cubicBezTo>
                    <a:pt x="117" y="320"/>
                    <a:pt x="118" y="319"/>
                    <a:pt x="118" y="318"/>
                  </a:cubicBezTo>
                  <a:cubicBezTo>
                    <a:pt x="119" y="317"/>
                    <a:pt x="118" y="316"/>
                    <a:pt x="118" y="315"/>
                  </a:cubicBezTo>
                  <a:cubicBezTo>
                    <a:pt x="118" y="311"/>
                    <a:pt x="121" y="313"/>
                    <a:pt x="124" y="312"/>
                  </a:cubicBezTo>
                  <a:cubicBezTo>
                    <a:pt x="125" y="312"/>
                    <a:pt x="127" y="312"/>
                    <a:pt x="128" y="311"/>
                  </a:cubicBezTo>
                  <a:cubicBezTo>
                    <a:pt x="128" y="311"/>
                    <a:pt x="129" y="310"/>
                    <a:pt x="129" y="309"/>
                  </a:cubicBezTo>
                  <a:cubicBezTo>
                    <a:pt x="130" y="309"/>
                    <a:pt x="130" y="309"/>
                    <a:pt x="131" y="309"/>
                  </a:cubicBezTo>
                  <a:cubicBezTo>
                    <a:pt x="134" y="308"/>
                    <a:pt x="136" y="307"/>
                    <a:pt x="136" y="304"/>
                  </a:cubicBezTo>
                  <a:cubicBezTo>
                    <a:pt x="136" y="302"/>
                    <a:pt x="137" y="299"/>
                    <a:pt x="135" y="298"/>
                  </a:cubicBezTo>
                  <a:cubicBezTo>
                    <a:pt x="134" y="299"/>
                    <a:pt x="132" y="300"/>
                    <a:pt x="130" y="299"/>
                  </a:cubicBezTo>
                  <a:cubicBezTo>
                    <a:pt x="128" y="298"/>
                    <a:pt x="129" y="297"/>
                    <a:pt x="128" y="295"/>
                  </a:cubicBezTo>
                  <a:cubicBezTo>
                    <a:pt x="128" y="293"/>
                    <a:pt x="126" y="291"/>
                    <a:pt x="125" y="290"/>
                  </a:cubicBezTo>
                  <a:cubicBezTo>
                    <a:pt x="125" y="289"/>
                    <a:pt x="124" y="288"/>
                    <a:pt x="124" y="287"/>
                  </a:cubicBezTo>
                  <a:cubicBezTo>
                    <a:pt x="123" y="286"/>
                    <a:pt x="123" y="285"/>
                    <a:pt x="123" y="284"/>
                  </a:cubicBezTo>
                  <a:cubicBezTo>
                    <a:pt x="123" y="284"/>
                    <a:pt x="122" y="283"/>
                    <a:pt x="122" y="283"/>
                  </a:cubicBezTo>
                  <a:cubicBezTo>
                    <a:pt x="120" y="279"/>
                    <a:pt x="118" y="275"/>
                    <a:pt x="118" y="271"/>
                  </a:cubicBezTo>
                  <a:cubicBezTo>
                    <a:pt x="119" y="267"/>
                    <a:pt x="122" y="264"/>
                    <a:pt x="123" y="261"/>
                  </a:cubicBezTo>
                  <a:cubicBezTo>
                    <a:pt x="124" y="257"/>
                    <a:pt x="125" y="256"/>
                    <a:pt x="128" y="254"/>
                  </a:cubicBezTo>
                  <a:cubicBezTo>
                    <a:pt x="130" y="253"/>
                    <a:pt x="132" y="253"/>
                    <a:pt x="134" y="252"/>
                  </a:cubicBezTo>
                  <a:cubicBezTo>
                    <a:pt x="138" y="248"/>
                    <a:pt x="136" y="241"/>
                    <a:pt x="134" y="237"/>
                  </a:cubicBezTo>
                  <a:cubicBezTo>
                    <a:pt x="134" y="236"/>
                    <a:pt x="134" y="235"/>
                    <a:pt x="133" y="234"/>
                  </a:cubicBezTo>
                  <a:cubicBezTo>
                    <a:pt x="133" y="234"/>
                    <a:pt x="132" y="233"/>
                    <a:pt x="131" y="233"/>
                  </a:cubicBezTo>
                  <a:cubicBezTo>
                    <a:pt x="130" y="232"/>
                    <a:pt x="129" y="232"/>
                    <a:pt x="127" y="231"/>
                  </a:cubicBezTo>
                  <a:cubicBezTo>
                    <a:pt x="126" y="231"/>
                    <a:pt x="124" y="231"/>
                    <a:pt x="123" y="229"/>
                  </a:cubicBezTo>
                  <a:cubicBezTo>
                    <a:pt x="123" y="227"/>
                    <a:pt x="124" y="226"/>
                    <a:pt x="123" y="224"/>
                  </a:cubicBezTo>
                  <a:cubicBezTo>
                    <a:pt x="122" y="223"/>
                    <a:pt x="120" y="222"/>
                    <a:pt x="119" y="223"/>
                  </a:cubicBezTo>
                  <a:cubicBezTo>
                    <a:pt x="119" y="219"/>
                    <a:pt x="120" y="213"/>
                    <a:pt x="119" y="209"/>
                  </a:cubicBezTo>
                  <a:cubicBezTo>
                    <a:pt x="119" y="209"/>
                    <a:pt x="118" y="208"/>
                    <a:pt x="118" y="207"/>
                  </a:cubicBezTo>
                  <a:cubicBezTo>
                    <a:pt x="118" y="207"/>
                    <a:pt x="117" y="207"/>
                    <a:pt x="117" y="207"/>
                  </a:cubicBezTo>
                  <a:cubicBezTo>
                    <a:pt x="116" y="208"/>
                    <a:pt x="115" y="207"/>
                    <a:pt x="115" y="206"/>
                  </a:cubicBezTo>
                  <a:cubicBezTo>
                    <a:pt x="114" y="206"/>
                    <a:pt x="113" y="203"/>
                    <a:pt x="112" y="202"/>
                  </a:cubicBezTo>
                  <a:cubicBezTo>
                    <a:pt x="111" y="201"/>
                    <a:pt x="109" y="199"/>
                    <a:pt x="110" y="197"/>
                  </a:cubicBezTo>
                  <a:cubicBezTo>
                    <a:pt x="110" y="195"/>
                    <a:pt x="115" y="196"/>
                    <a:pt x="117" y="196"/>
                  </a:cubicBezTo>
                  <a:cubicBezTo>
                    <a:pt x="122" y="196"/>
                    <a:pt x="132" y="197"/>
                    <a:pt x="133" y="191"/>
                  </a:cubicBezTo>
                  <a:cubicBezTo>
                    <a:pt x="133" y="189"/>
                    <a:pt x="132" y="186"/>
                    <a:pt x="133" y="184"/>
                  </a:cubicBezTo>
                  <a:cubicBezTo>
                    <a:pt x="133" y="183"/>
                    <a:pt x="136" y="180"/>
                    <a:pt x="137" y="180"/>
                  </a:cubicBezTo>
                  <a:cubicBezTo>
                    <a:pt x="139" y="177"/>
                    <a:pt x="141" y="174"/>
                    <a:pt x="141" y="171"/>
                  </a:cubicBezTo>
                  <a:cubicBezTo>
                    <a:pt x="140" y="166"/>
                    <a:pt x="135" y="164"/>
                    <a:pt x="134" y="159"/>
                  </a:cubicBezTo>
                  <a:cubicBezTo>
                    <a:pt x="136" y="159"/>
                    <a:pt x="137" y="157"/>
                    <a:pt x="139" y="156"/>
                  </a:cubicBezTo>
                  <a:cubicBezTo>
                    <a:pt x="141" y="155"/>
                    <a:pt x="143" y="154"/>
                    <a:pt x="144" y="152"/>
                  </a:cubicBezTo>
                  <a:cubicBezTo>
                    <a:pt x="145" y="149"/>
                    <a:pt x="144" y="143"/>
                    <a:pt x="144" y="140"/>
                  </a:cubicBezTo>
                  <a:cubicBezTo>
                    <a:pt x="144" y="137"/>
                    <a:pt x="145" y="134"/>
                    <a:pt x="145" y="131"/>
                  </a:cubicBezTo>
                  <a:cubicBezTo>
                    <a:pt x="146" y="125"/>
                    <a:pt x="144" y="119"/>
                    <a:pt x="144" y="113"/>
                  </a:cubicBezTo>
                  <a:cubicBezTo>
                    <a:pt x="144" y="110"/>
                    <a:pt x="144" y="107"/>
                    <a:pt x="144" y="105"/>
                  </a:cubicBezTo>
                  <a:cubicBezTo>
                    <a:pt x="144" y="104"/>
                    <a:pt x="144" y="103"/>
                    <a:pt x="144" y="102"/>
                  </a:cubicBezTo>
                  <a:cubicBezTo>
                    <a:pt x="143" y="102"/>
                    <a:pt x="141" y="101"/>
                    <a:pt x="141" y="101"/>
                  </a:cubicBezTo>
                  <a:cubicBezTo>
                    <a:pt x="139" y="98"/>
                    <a:pt x="141" y="97"/>
                    <a:pt x="144" y="96"/>
                  </a:cubicBezTo>
                  <a:cubicBezTo>
                    <a:pt x="144" y="92"/>
                    <a:pt x="147" y="88"/>
                    <a:pt x="149" y="85"/>
                  </a:cubicBezTo>
                  <a:cubicBezTo>
                    <a:pt x="151" y="82"/>
                    <a:pt x="152" y="83"/>
                    <a:pt x="155" y="82"/>
                  </a:cubicBezTo>
                  <a:cubicBezTo>
                    <a:pt x="158" y="82"/>
                    <a:pt x="161" y="81"/>
                    <a:pt x="163" y="79"/>
                  </a:cubicBezTo>
                  <a:cubicBezTo>
                    <a:pt x="164" y="78"/>
                    <a:pt x="165" y="76"/>
                    <a:pt x="166" y="75"/>
                  </a:cubicBezTo>
                  <a:cubicBezTo>
                    <a:pt x="168" y="74"/>
                    <a:pt x="169" y="72"/>
                    <a:pt x="170" y="72"/>
                  </a:cubicBezTo>
                  <a:cubicBezTo>
                    <a:pt x="172" y="70"/>
                    <a:pt x="174" y="69"/>
                    <a:pt x="176" y="67"/>
                  </a:cubicBezTo>
                  <a:cubicBezTo>
                    <a:pt x="177" y="66"/>
                    <a:pt x="178" y="66"/>
                    <a:pt x="180" y="65"/>
                  </a:cubicBezTo>
                  <a:cubicBezTo>
                    <a:pt x="182" y="64"/>
                    <a:pt x="183" y="64"/>
                    <a:pt x="184" y="62"/>
                  </a:cubicBezTo>
                  <a:cubicBezTo>
                    <a:pt x="186" y="60"/>
                    <a:pt x="186" y="58"/>
                    <a:pt x="188" y="56"/>
                  </a:cubicBezTo>
                  <a:cubicBezTo>
                    <a:pt x="191" y="53"/>
                    <a:pt x="194" y="50"/>
                    <a:pt x="194" y="46"/>
                  </a:cubicBezTo>
                  <a:cubicBezTo>
                    <a:pt x="195" y="44"/>
                    <a:pt x="194" y="44"/>
                    <a:pt x="192" y="43"/>
                  </a:cubicBezTo>
                  <a:cubicBezTo>
                    <a:pt x="189" y="42"/>
                    <a:pt x="186" y="40"/>
                    <a:pt x="183" y="39"/>
                  </a:cubicBezTo>
                  <a:cubicBezTo>
                    <a:pt x="181" y="38"/>
                    <a:pt x="179" y="38"/>
                    <a:pt x="177" y="38"/>
                  </a:cubicBezTo>
                  <a:cubicBezTo>
                    <a:pt x="176" y="38"/>
                    <a:pt x="177" y="39"/>
                    <a:pt x="175" y="38"/>
                  </a:cubicBezTo>
                  <a:cubicBezTo>
                    <a:pt x="174" y="38"/>
                    <a:pt x="173" y="35"/>
                    <a:pt x="172" y="34"/>
                  </a:cubicBezTo>
                  <a:cubicBezTo>
                    <a:pt x="171" y="32"/>
                    <a:pt x="171" y="30"/>
                    <a:pt x="172" y="29"/>
                  </a:cubicBezTo>
                  <a:cubicBezTo>
                    <a:pt x="173" y="27"/>
                    <a:pt x="176" y="25"/>
                    <a:pt x="175" y="23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4" y="17"/>
                    <a:pt x="172" y="18"/>
                    <a:pt x="169" y="18"/>
                  </a:cubicBezTo>
                  <a:cubicBezTo>
                    <a:pt x="167" y="18"/>
                    <a:pt x="163" y="19"/>
                    <a:pt x="161" y="17"/>
                  </a:cubicBezTo>
                  <a:cubicBezTo>
                    <a:pt x="160" y="15"/>
                    <a:pt x="162" y="14"/>
                    <a:pt x="160" y="14"/>
                  </a:cubicBezTo>
                  <a:cubicBezTo>
                    <a:pt x="159" y="14"/>
                    <a:pt x="157" y="16"/>
                    <a:pt x="155" y="16"/>
                  </a:cubicBezTo>
                  <a:cubicBezTo>
                    <a:pt x="153" y="16"/>
                    <a:pt x="145" y="15"/>
                    <a:pt x="145" y="17"/>
                  </a:cubicBezTo>
                  <a:cubicBezTo>
                    <a:pt x="145" y="17"/>
                    <a:pt x="144" y="16"/>
                    <a:pt x="143" y="16"/>
                  </a:cubicBezTo>
                  <a:cubicBezTo>
                    <a:pt x="142" y="17"/>
                    <a:pt x="143" y="18"/>
                    <a:pt x="142" y="19"/>
                  </a:cubicBezTo>
                  <a:cubicBezTo>
                    <a:pt x="141" y="20"/>
                    <a:pt x="140" y="21"/>
                    <a:pt x="139" y="22"/>
                  </a:cubicBezTo>
                  <a:cubicBezTo>
                    <a:pt x="137" y="24"/>
                    <a:pt x="137" y="25"/>
                    <a:pt x="134" y="26"/>
                  </a:cubicBezTo>
                  <a:cubicBezTo>
                    <a:pt x="130" y="28"/>
                    <a:pt x="122" y="23"/>
                    <a:pt x="122" y="29"/>
                  </a:cubicBezTo>
                  <a:cubicBezTo>
                    <a:pt x="119" y="30"/>
                    <a:pt x="117" y="28"/>
                    <a:pt x="115" y="27"/>
                  </a:cubicBezTo>
                  <a:cubicBezTo>
                    <a:pt x="114" y="27"/>
                    <a:pt x="114" y="29"/>
                    <a:pt x="112" y="28"/>
                  </a:cubicBezTo>
                  <a:cubicBezTo>
                    <a:pt x="112" y="27"/>
                    <a:pt x="112" y="25"/>
                    <a:pt x="112" y="25"/>
                  </a:cubicBezTo>
                  <a:cubicBezTo>
                    <a:pt x="110" y="24"/>
                    <a:pt x="107" y="23"/>
                    <a:pt x="105" y="24"/>
                  </a:cubicBezTo>
                  <a:cubicBezTo>
                    <a:pt x="104" y="25"/>
                    <a:pt x="103" y="27"/>
                    <a:pt x="101" y="26"/>
                  </a:cubicBezTo>
                  <a:cubicBezTo>
                    <a:pt x="99" y="25"/>
                    <a:pt x="99" y="23"/>
                    <a:pt x="98" y="22"/>
                  </a:cubicBezTo>
                  <a:cubicBezTo>
                    <a:pt x="94" y="18"/>
                    <a:pt x="94" y="24"/>
                    <a:pt x="93" y="26"/>
                  </a:cubicBezTo>
                  <a:cubicBezTo>
                    <a:pt x="91" y="28"/>
                    <a:pt x="90" y="27"/>
                    <a:pt x="88" y="28"/>
                  </a:cubicBezTo>
                  <a:cubicBezTo>
                    <a:pt x="87" y="28"/>
                    <a:pt x="85" y="30"/>
                    <a:pt x="84" y="30"/>
                  </a:cubicBezTo>
                  <a:cubicBezTo>
                    <a:pt x="82" y="30"/>
                    <a:pt x="81" y="22"/>
                    <a:pt x="81" y="21"/>
                  </a:cubicBezTo>
                  <a:cubicBezTo>
                    <a:pt x="82" y="19"/>
                    <a:pt x="84" y="19"/>
                    <a:pt x="85" y="17"/>
                  </a:cubicBezTo>
                  <a:cubicBezTo>
                    <a:pt x="86" y="16"/>
                    <a:pt x="86" y="14"/>
                    <a:pt x="86" y="12"/>
                  </a:cubicBezTo>
                  <a:cubicBezTo>
                    <a:pt x="85" y="11"/>
                    <a:pt x="83" y="12"/>
                    <a:pt x="82" y="11"/>
                  </a:cubicBezTo>
                  <a:cubicBezTo>
                    <a:pt x="81" y="10"/>
                    <a:pt x="81" y="7"/>
                    <a:pt x="81" y="6"/>
                  </a:cubicBezTo>
                  <a:cubicBezTo>
                    <a:pt x="82" y="4"/>
                    <a:pt x="84" y="2"/>
                    <a:pt x="82" y="1"/>
                  </a:cubicBezTo>
                  <a:cubicBezTo>
                    <a:pt x="80" y="0"/>
                    <a:pt x="79" y="2"/>
                    <a:pt x="78" y="3"/>
                  </a:cubicBezTo>
                  <a:cubicBezTo>
                    <a:pt x="78" y="4"/>
                    <a:pt x="77" y="6"/>
                    <a:pt x="77" y="6"/>
                  </a:cubicBezTo>
                  <a:cubicBezTo>
                    <a:pt x="76" y="7"/>
                    <a:pt x="74" y="7"/>
                    <a:pt x="73" y="7"/>
                  </a:cubicBezTo>
                  <a:cubicBezTo>
                    <a:pt x="69" y="8"/>
                    <a:pt x="66" y="10"/>
                    <a:pt x="63" y="11"/>
                  </a:cubicBezTo>
                  <a:cubicBezTo>
                    <a:pt x="60" y="13"/>
                    <a:pt x="56" y="15"/>
                    <a:pt x="53" y="16"/>
                  </a:cubicBezTo>
                  <a:cubicBezTo>
                    <a:pt x="51" y="17"/>
                    <a:pt x="48" y="18"/>
                    <a:pt x="47" y="19"/>
                  </a:cubicBezTo>
                  <a:cubicBezTo>
                    <a:pt x="46" y="20"/>
                    <a:pt x="46" y="23"/>
                    <a:pt x="45" y="24"/>
                  </a:cubicBezTo>
                  <a:cubicBezTo>
                    <a:pt x="45" y="24"/>
                    <a:pt x="43" y="26"/>
                    <a:pt x="42" y="26"/>
                  </a:cubicBezTo>
                  <a:cubicBezTo>
                    <a:pt x="42" y="27"/>
                    <a:pt x="42" y="28"/>
                    <a:pt x="42" y="29"/>
                  </a:cubicBezTo>
                  <a:cubicBezTo>
                    <a:pt x="42" y="30"/>
                    <a:pt x="42" y="31"/>
                    <a:pt x="41" y="31"/>
                  </a:cubicBezTo>
                  <a:cubicBezTo>
                    <a:pt x="41" y="33"/>
                    <a:pt x="41" y="35"/>
                    <a:pt x="41" y="36"/>
                  </a:cubicBezTo>
                  <a:cubicBezTo>
                    <a:pt x="42" y="39"/>
                    <a:pt x="43" y="40"/>
                    <a:pt x="44" y="42"/>
                  </a:cubicBezTo>
                  <a:cubicBezTo>
                    <a:pt x="46" y="45"/>
                    <a:pt x="46" y="51"/>
                    <a:pt x="45" y="54"/>
                  </a:cubicBezTo>
                  <a:cubicBezTo>
                    <a:pt x="44" y="55"/>
                    <a:pt x="43" y="56"/>
                    <a:pt x="43" y="57"/>
                  </a:cubicBezTo>
                  <a:cubicBezTo>
                    <a:pt x="42" y="59"/>
                    <a:pt x="44" y="60"/>
                    <a:pt x="44" y="61"/>
                  </a:cubicBezTo>
                  <a:cubicBezTo>
                    <a:pt x="45" y="62"/>
                    <a:pt x="46" y="65"/>
                    <a:pt x="46" y="66"/>
                  </a:cubicBezTo>
                  <a:cubicBezTo>
                    <a:pt x="46" y="69"/>
                    <a:pt x="45" y="68"/>
                    <a:pt x="43" y="69"/>
                  </a:cubicBezTo>
                  <a:cubicBezTo>
                    <a:pt x="42" y="70"/>
                    <a:pt x="39" y="71"/>
                    <a:pt x="39" y="72"/>
                  </a:cubicBezTo>
                  <a:cubicBezTo>
                    <a:pt x="38" y="73"/>
                    <a:pt x="38" y="75"/>
                    <a:pt x="38" y="76"/>
                  </a:cubicBezTo>
                  <a:cubicBezTo>
                    <a:pt x="38" y="81"/>
                    <a:pt x="40" y="83"/>
                    <a:pt x="42" y="87"/>
                  </a:cubicBezTo>
                  <a:cubicBezTo>
                    <a:pt x="43" y="88"/>
                    <a:pt x="44" y="88"/>
                    <a:pt x="44" y="90"/>
                  </a:cubicBezTo>
                  <a:cubicBezTo>
                    <a:pt x="44" y="95"/>
                    <a:pt x="46" y="99"/>
                    <a:pt x="47" y="103"/>
                  </a:cubicBezTo>
                  <a:cubicBezTo>
                    <a:pt x="47" y="108"/>
                    <a:pt x="47" y="113"/>
                    <a:pt x="47" y="118"/>
                  </a:cubicBezTo>
                  <a:cubicBezTo>
                    <a:pt x="47" y="121"/>
                    <a:pt x="46" y="124"/>
                    <a:pt x="44" y="127"/>
                  </a:cubicBezTo>
                  <a:cubicBezTo>
                    <a:pt x="43" y="129"/>
                    <a:pt x="42" y="132"/>
                    <a:pt x="41" y="134"/>
                  </a:cubicBezTo>
                  <a:cubicBezTo>
                    <a:pt x="41" y="134"/>
                    <a:pt x="40" y="135"/>
                    <a:pt x="40" y="136"/>
                  </a:cubicBezTo>
                  <a:cubicBezTo>
                    <a:pt x="40" y="137"/>
                    <a:pt x="39" y="138"/>
                    <a:pt x="39" y="139"/>
                  </a:cubicBezTo>
                  <a:cubicBezTo>
                    <a:pt x="38" y="140"/>
                    <a:pt x="38" y="140"/>
                    <a:pt x="38" y="141"/>
                  </a:cubicBezTo>
                  <a:cubicBezTo>
                    <a:pt x="38" y="142"/>
                    <a:pt x="37" y="143"/>
                    <a:pt x="37" y="145"/>
                  </a:cubicBezTo>
                  <a:cubicBezTo>
                    <a:pt x="37" y="145"/>
                    <a:pt x="37" y="146"/>
                    <a:pt x="37" y="147"/>
                  </a:cubicBezTo>
                  <a:cubicBezTo>
                    <a:pt x="37" y="149"/>
                    <a:pt x="37" y="151"/>
                    <a:pt x="38" y="153"/>
                  </a:cubicBezTo>
                  <a:cubicBezTo>
                    <a:pt x="38" y="154"/>
                    <a:pt x="39" y="156"/>
                    <a:pt x="38" y="157"/>
                  </a:cubicBezTo>
                  <a:cubicBezTo>
                    <a:pt x="38" y="158"/>
                    <a:pt x="38" y="158"/>
                    <a:pt x="38" y="159"/>
                  </a:cubicBezTo>
                  <a:cubicBezTo>
                    <a:pt x="38" y="159"/>
                    <a:pt x="37" y="160"/>
                    <a:pt x="37" y="161"/>
                  </a:cubicBezTo>
                  <a:cubicBezTo>
                    <a:pt x="36" y="162"/>
                    <a:pt x="34" y="163"/>
                    <a:pt x="33" y="164"/>
                  </a:cubicBezTo>
                  <a:cubicBezTo>
                    <a:pt x="32" y="166"/>
                    <a:pt x="30" y="168"/>
                    <a:pt x="28" y="171"/>
                  </a:cubicBezTo>
                  <a:cubicBezTo>
                    <a:pt x="26" y="174"/>
                    <a:pt x="26" y="177"/>
                    <a:pt x="26" y="181"/>
                  </a:cubicBezTo>
                  <a:cubicBezTo>
                    <a:pt x="26" y="182"/>
                    <a:pt x="26" y="183"/>
                    <a:pt x="26" y="184"/>
                  </a:cubicBezTo>
                  <a:cubicBezTo>
                    <a:pt x="26" y="185"/>
                    <a:pt x="26" y="186"/>
                    <a:pt x="26" y="186"/>
                  </a:cubicBezTo>
                  <a:cubicBezTo>
                    <a:pt x="26" y="187"/>
                    <a:pt x="26" y="188"/>
                    <a:pt x="26" y="188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2" name="Freeform 93">
              <a:extLst>
                <a:ext uri="{FF2B5EF4-FFF2-40B4-BE49-F238E27FC236}">
                  <a16:creationId xmlns:a16="http://schemas.microsoft.com/office/drawing/2014/main" id="{166AFC12-826E-48BD-99D3-14A442AF9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2838" y="5495925"/>
              <a:ext cx="1368425" cy="1063625"/>
            </a:xfrm>
            <a:custGeom>
              <a:avLst/>
              <a:gdLst/>
              <a:ahLst/>
              <a:cxnLst>
                <a:cxn ang="0">
                  <a:pos x="99" y="497"/>
                </a:cxn>
                <a:cxn ang="0">
                  <a:pos x="34" y="469"/>
                </a:cxn>
                <a:cxn ang="0">
                  <a:pos x="34" y="466"/>
                </a:cxn>
                <a:cxn ang="0">
                  <a:pos x="33" y="479"/>
                </a:cxn>
                <a:cxn ang="0">
                  <a:pos x="35" y="465"/>
                </a:cxn>
                <a:cxn ang="0">
                  <a:pos x="37" y="282"/>
                </a:cxn>
                <a:cxn ang="0">
                  <a:pos x="38" y="276"/>
                </a:cxn>
                <a:cxn ang="0">
                  <a:pos x="38" y="457"/>
                </a:cxn>
                <a:cxn ang="0">
                  <a:pos x="26" y="306"/>
                </a:cxn>
                <a:cxn ang="0">
                  <a:pos x="34" y="285"/>
                </a:cxn>
                <a:cxn ang="0">
                  <a:pos x="40" y="258"/>
                </a:cxn>
                <a:cxn ang="0">
                  <a:pos x="45" y="246"/>
                </a:cxn>
                <a:cxn ang="0">
                  <a:pos x="48" y="495"/>
                </a:cxn>
                <a:cxn ang="0">
                  <a:pos x="52" y="496"/>
                </a:cxn>
                <a:cxn ang="0">
                  <a:pos x="0" y="373"/>
                </a:cxn>
                <a:cxn ang="0">
                  <a:pos x="0" y="375"/>
                </a:cxn>
                <a:cxn ang="0">
                  <a:pos x="1" y="359"/>
                </a:cxn>
                <a:cxn ang="0">
                  <a:pos x="499" y="314"/>
                </a:cxn>
                <a:cxn ang="0">
                  <a:pos x="672" y="99"/>
                </a:cxn>
                <a:cxn ang="0">
                  <a:pos x="648" y="101"/>
                </a:cxn>
                <a:cxn ang="0">
                  <a:pos x="621" y="96"/>
                </a:cxn>
                <a:cxn ang="0">
                  <a:pos x="617" y="77"/>
                </a:cxn>
                <a:cxn ang="0">
                  <a:pos x="577" y="77"/>
                </a:cxn>
                <a:cxn ang="0">
                  <a:pos x="490" y="58"/>
                </a:cxn>
                <a:cxn ang="0">
                  <a:pos x="456" y="31"/>
                </a:cxn>
                <a:cxn ang="0">
                  <a:pos x="373" y="28"/>
                </a:cxn>
                <a:cxn ang="0">
                  <a:pos x="285" y="25"/>
                </a:cxn>
                <a:cxn ang="0">
                  <a:pos x="205" y="15"/>
                </a:cxn>
                <a:cxn ang="0">
                  <a:pos x="83" y="15"/>
                </a:cxn>
                <a:cxn ang="0">
                  <a:pos x="63" y="39"/>
                </a:cxn>
                <a:cxn ang="0">
                  <a:pos x="27" y="69"/>
                </a:cxn>
                <a:cxn ang="0">
                  <a:pos x="53" y="92"/>
                </a:cxn>
                <a:cxn ang="0">
                  <a:pos x="24" y="129"/>
                </a:cxn>
                <a:cxn ang="0">
                  <a:pos x="47" y="141"/>
                </a:cxn>
                <a:cxn ang="0">
                  <a:pos x="82" y="133"/>
                </a:cxn>
                <a:cxn ang="0">
                  <a:pos x="101" y="148"/>
                </a:cxn>
                <a:cxn ang="0">
                  <a:pos x="142" y="141"/>
                </a:cxn>
                <a:cxn ang="0">
                  <a:pos x="175" y="145"/>
                </a:cxn>
                <a:cxn ang="0">
                  <a:pos x="188" y="178"/>
                </a:cxn>
                <a:cxn ang="0">
                  <a:pos x="149" y="207"/>
                </a:cxn>
                <a:cxn ang="0">
                  <a:pos x="144" y="274"/>
                </a:cxn>
                <a:cxn ang="0">
                  <a:pos x="110" y="319"/>
                </a:cxn>
                <a:cxn ang="0">
                  <a:pos x="123" y="351"/>
                </a:cxn>
                <a:cxn ang="0">
                  <a:pos x="118" y="393"/>
                </a:cxn>
                <a:cxn ang="0">
                  <a:pos x="136" y="426"/>
                </a:cxn>
                <a:cxn ang="0">
                  <a:pos x="116" y="444"/>
                </a:cxn>
                <a:cxn ang="0">
                  <a:pos x="109" y="473"/>
                </a:cxn>
                <a:cxn ang="0">
                  <a:pos x="159" y="506"/>
                </a:cxn>
                <a:cxn ang="0">
                  <a:pos x="205" y="564"/>
                </a:cxn>
                <a:cxn ang="0">
                  <a:pos x="263" y="534"/>
                </a:cxn>
                <a:cxn ang="0">
                  <a:pos x="351" y="521"/>
                </a:cxn>
                <a:cxn ang="0">
                  <a:pos x="399" y="517"/>
                </a:cxn>
                <a:cxn ang="0">
                  <a:pos x="438" y="466"/>
                </a:cxn>
                <a:cxn ang="0">
                  <a:pos x="472" y="442"/>
                </a:cxn>
                <a:cxn ang="0">
                  <a:pos x="513" y="394"/>
                </a:cxn>
                <a:cxn ang="0">
                  <a:pos x="493" y="328"/>
                </a:cxn>
                <a:cxn ang="0">
                  <a:pos x="547" y="255"/>
                </a:cxn>
                <a:cxn ang="0">
                  <a:pos x="619" y="203"/>
                </a:cxn>
                <a:cxn ang="0">
                  <a:pos x="671" y="178"/>
                </a:cxn>
                <a:cxn ang="0">
                  <a:pos x="731" y="134"/>
                </a:cxn>
              </a:cxnLst>
              <a:rect l="0" t="0" r="r" b="b"/>
              <a:pathLst>
                <a:path w="732" h="569">
                  <a:moveTo>
                    <a:pt x="108" y="495"/>
                  </a:moveTo>
                  <a:cubicBezTo>
                    <a:pt x="107" y="495"/>
                    <a:pt x="106" y="496"/>
                    <a:pt x="105" y="496"/>
                  </a:cubicBezTo>
                  <a:cubicBezTo>
                    <a:pt x="106" y="496"/>
                    <a:pt x="107" y="495"/>
                    <a:pt x="108" y="495"/>
                  </a:cubicBezTo>
                  <a:moveTo>
                    <a:pt x="98" y="497"/>
                  </a:moveTo>
                  <a:cubicBezTo>
                    <a:pt x="97" y="497"/>
                    <a:pt x="96" y="497"/>
                    <a:pt x="95" y="497"/>
                  </a:cubicBezTo>
                  <a:cubicBezTo>
                    <a:pt x="99" y="497"/>
                    <a:pt x="102" y="497"/>
                    <a:pt x="105" y="496"/>
                  </a:cubicBezTo>
                  <a:cubicBezTo>
                    <a:pt x="105" y="496"/>
                    <a:pt x="105" y="496"/>
                    <a:pt x="105" y="496"/>
                  </a:cubicBezTo>
                  <a:cubicBezTo>
                    <a:pt x="103" y="496"/>
                    <a:pt x="101" y="497"/>
                    <a:pt x="99" y="497"/>
                  </a:cubicBezTo>
                  <a:cubicBezTo>
                    <a:pt x="99" y="497"/>
                    <a:pt x="98" y="497"/>
                    <a:pt x="98" y="497"/>
                  </a:cubicBezTo>
                  <a:moveTo>
                    <a:pt x="59" y="496"/>
                  </a:moveTo>
                  <a:cubicBezTo>
                    <a:pt x="57" y="496"/>
                    <a:pt x="56" y="496"/>
                    <a:pt x="54" y="496"/>
                  </a:cubicBezTo>
                  <a:cubicBezTo>
                    <a:pt x="56" y="496"/>
                    <a:pt x="57" y="496"/>
                    <a:pt x="59" y="496"/>
                  </a:cubicBezTo>
                  <a:cubicBezTo>
                    <a:pt x="60" y="496"/>
                    <a:pt x="60" y="496"/>
                    <a:pt x="61" y="496"/>
                  </a:cubicBezTo>
                  <a:cubicBezTo>
                    <a:pt x="60" y="496"/>
                    <a:pt x="60" y="496"/>
                    <a:pt x="59" y="496"/>
                  </a:cubicBezTo>
                  <a:moveTo>
                    <a:pt x="34" y="471"/>
                  </a:moveTo>
                  <a:cubicBezTo>
                    <a:pt x="34" y="470"/>
                    <a:pt x="34" y="470"/>
                    <a:pt x="34" y="469"/>
                  </a:cubicBezTo>
                  <a:cubicBezTo>
                    <a:pt x="34" y="470"/>
                    <a:pt x="34" y="470"/>
                    <a:pt x="34" y="471"/>
                  </a:cubicBezTo>
                  <a:moveTo>
                    <a:pt x="34" y="472"/>
                  </a:moveTo>
                  <a:cubicBezTo>
                    <a:pt x="34" y="472"/>
                    <a:pt x="34" y="471"/>
                    <a:pt x="34" y="471"/>
                  </a:cubicBezTo>
                  <a:cubicBezTo>
                    <a:pt x="34" y="471"/>
                    <a:pt x="34" y="472"/>
                    <a:pt x="34" y="472"/>
                  </a:cubicBezTo>
                  <a:moveTo>
                    <a:pt x="34" y="473"/>
                  </a:moveTo>
                  <a:cubicBezTo>
                    <a:pt x="34" y="473"/>
                    <a:pt x="34" y="474"/>
                    <a:pt x="34" y="474"/>
                  </a:cubicBezTo>
                  <a:cubicBezTo>
                    <a:pt x="34" y="474"/>
                    <a:pt x="34" y="473"/>
                    <a:pt x="34" y="473"/>
                  </a:cubicBezTo>
                  <a:moveTo>
                    <a:pt x="34" y="466"/>
                  </a:moveTo>
                  <a:cubicBezTo>
                    <a:pt x="34" y="467"/>
                    <a:pt x="34" y="467"/>
                    <a:pt x="34" y="467"/>
                  </a:cubicBezTo>
                  <a:cubicBezTo>
                    <a:pt x="34" y="467"/>
                    <a:pt x="34" y="467"/>
                    <a:pt x="34" y="466"/>
                  </a:cubicBezTo>
                  <a:moveTo>
                    <a:pt x="34" y="476"/>
                  </a:moveTo>
                  <a:cubicBezTo>
                    <a:pt x="34" y="476"/>
                    <a:pt x="34" y="475"/>
                    <a:pt x="34" y="475"/>
                  </a:cubicBezTo>
                  <a:cubicBezTo>
                    <a:pt x="34" y="475"/>
                    <a:pt x="34" y="476"/>
                    <a:pt x="34" y="476"/>
                  </a:cubicBezTo>
                  <a:moveTo>
                    <a:pt x="33" y="479"/>
                  </a:moveTo>
                  <a:cubicBezTo>
                    <a:pt x="33" y="478"/>
                    <a:pt x="34" y="477"/>
                    <a:pt x="34" y="476"/>
                  </a:cubicBezTo>
                  <a:cubicBezTo>
                    <a:pt x="34" y="477"/>
                    <a:pt x="33" y="478"/>
                    <a:pt x="33" y="479"/>
                  </a:cubicBezTo>
                  <a:moveTo>
                    <a:pt x="30" y="485"/>
                  </a:moveTo>
                  <a:cubicBezTo>
                    <a:pt x="31" y="484"/>
                    <a:pt x="31" y="484"/>
                    <a:pt x="31" y="483"/>
                  </a:cubicBezTo>
                  <a:cubicBezTo>
                    <a:pt x="31" y="484"/>
                    <a:pt x="31" y="484"/>
                    <a:pt x="30" y="485"/>
                  </a:cubicBezTo>
                  <a:moveTo>
                    <a:pt x="32" y="481"/>
                  </a:moveTo>
                  <a:cubicBezTo>
                    <a:pt x="32" y="481"/>
                    <a:pt x="32" y="481"/>
                    <a:pt x="32" y="481"/>
                  </a:cubicBezTo>
                  <a:cubicBezTo>
                    <a:pt x="32" y="481"/>
                    <a:pt x="32" y="481"/>
                    <a:pt x="32" y="481"/>
                  </a:cubicBezTo>
                  <a:moveTo>
                    <a:pt x="34" y="465"/>
                  </a:moveTo>
                  <a:cubicBezTo>
                    <a:pt x="34" y="465"/>
                    <a:pt x="35" y="465"/>
                    <a:pt x="35" y="465"/>
                  </a:cubicBezTo>
                  <a:cubicBezTo>
                    <a:pt x="35" y="465"/>
                    <a:pt x="34" y="465"/>
                    <a:pt x="34" y="465"/>
                  </a:cubicBezTo>
                  <a:moveTo>
                    <a:pt x="35" y="463"/>
                  </a:moveTo>
                  <a:cubicBezTo>
                    <a:pt x="35" y="462"/>
                    <a:pt x="36" y="461"/>
                    <a:pt x="36" y="461"/>
                  </a:cubicBezTo>
                  <a:cubicBezTo>
                    <a:pt x="36" y="461"/>
                    <a:pt x="35" y="462"/>
                    <a:pt x="35" y="463"/>
                  </a:cubicBezTo>
                  <a:moveTo>
                    <a:pt x="37" y="460"/>
                  </a:moveTo>
                  <a:cubicBezTo>
                    <a:pt x="37" y="459"/>
                    <a:pt x="37" y="459"/>
                    <a:pt x="37" y="458"/>
                  </a:cubicBezTo>
                  <a:cubicBezTo>
                    <a:pt x="37" y="459"/>
                    <a:pt x="37" y="459"/>
                    <a:pt x="37" y="460"/>
                  </a:cubicBezTo>
                  <a:moveTo>
                    <a:pt x="37" y="282"/>
                  </a:moveTo>
                  <a:cubicBezTo>
                    <a:pt x="38" y="282"/>
                    <a:pt x="38" y="282"/>
                    <a:pt x="38" y="282"/>
                  </a:cubicBezTo>
                  <a:cubicBezTo>
                    <a:pt x="38" y="282"/>
                    <a:pt x="38" y="282"/>
                    <a:pt x="37" y="282"/>
                  </a:cubicBezTo>
                  <a:moveTo>
                    <a:pt x="38" y="281"/>
                  </a:moveTo>
                  <a:cubicBezTo>
                    <a:pt x="38" y="281"/>
                    <a:pt x="38" y="281"/>
                    <a:pt x="38" y="281"/>
                  </a:cubicBezTo>
                  <a:cubicBezTo>
                    <a:pt x="38" y="281"/>
                    <a:pt x="38" y="281"/>
                    <a:pt x="38" y="281"/>
                  </a:cubicBezTo>
                  <a:moveTo>
                    <a:pt x="38" y="275"/>
                  </a:moveTo>
                  <a:cubicBezTo>
                    <a:pt x="38" y="274"/>
                    <a:pt x="38" y="274"/>
                    <a:pt x="37" y="273"/>
                  </a:cubicBezTo>
                  <a:cubicBezTo>
                    <a:pt x="38" y="274"/>
                    <a:pt x="38" y="275"/>
                    <a:pt x="38" y="276"/>
                  </a:cubicBezTo>
                  <a:cubicBezTo>
                    <a:pt x="38" y="276"/>
                    <a:pt x="38" y="275"/>
                    <a:pt x="38" y="275"/>
                  </a:cubicBezTo>
                  <a:moveTo>
                    <a:pt x="38" y="278"/>
                  </a:moveTo>
                  <a:cubicBezTo>
                    <a:pt x="39" y="278"/>
                    <a:pt x="39" y="279"/>
                    <a:pt x="38" y="279"/>
                  </a:cubicBezTo>
                  <a:cubicBezTo>
                    <a:pt x="39" y="279"/>
                    <a:pt x="39" y="278"/>
                    <a:pt x="38" y="278"/>
                  </a:cubicBezTo>
                  <a:moveTo>
                    <a:pt x="38" y="278"/>
                  </a:moveTo>
                  <a:cubicBezTo>
                    <a:pt x="38" y="277"/>
                    <a:pt x="38" y="277"/>
                    <a:pt x="38" y="277"/>
                  </a:cubicBezTo>
                  <a:cubicBezTo>
                    <a:pt x="38" y="277"/>
                    <a:pt x="38" y="277"/>
                    <a:pt x="38" y="278"/>
                  </a:cubicBezTo>
                  <a:moveTo>
                    <a:pt x="38" y="457"/>
                  </a:moveTo>
                  <a:cubicBezTo>
                    <a:pt x="38" y="456"/>
                    <a:pt x="38" y="456"/>
                    <a:pt x="38" y="456"/>
                  </a:cubicBezTo>
                  <a:cubicBezTo>
                    <a:pt x="38" y="456"/>
                    <a:pt x="38" y="456"/>
                    <a:pt x="38" y="457"/>
                  </a:cubicBezTo>
                  <a:moveTo>
                    <a:pt x="30" y="485"/>
                  </a:moveTo>
                  <a:cubicBezTo>
                    <a:pt x="30" y="486"/>
                    <a:pt x="29" y="486"/>
                    <a:pt x="29" y="487"/>
                  </a:cubicBezTo>
                  <a:cubicBezTo>
                    <a:pt x="29" y="486"/>
                    <a:pt x="30" y="486"/>
                    <a:pt x="30" y="485"/>
                  </a:cubicBezTo>
                  <a:moveTo>
                    <a:pt x="26" y="306"/>
                  </a:moveTo>
                  <a:cubicBezTo>
                    <a:pt x="26" y="307"/>
                    <a:pt x="26" y="308"/>
                    <a:pt x="26" y="308"/>
                  </a:cubicBezTo>
                  <a:cubicBezTo>
                    <a:pt x="26" y="308"/>
                    <a:pt x="26" y="307"/>
                    <a:pt x="26" y="306"/>
                  </a:cubicBezTo>
                  <a:moveTo>
                    <a:pt x="26" y="303"/>
                  </a:moveTo>
                  <a:cubicBezTo>
                    <a:pt x="26" y="304"/>
                    <a:pt x="26" y="305"/>
                    <a:pt x="26" y="306"/>
                  </a:cubicBezTo>
                  <a:cubicBezTo>
                    <a:pt x="26" y="305"/>
                    <a:pt x="26" y="304"/>
                    <a:pt x="26" y="303"/>
                  </a:cubicBezTo>
                  <a:moveTo>
                    <a:pt x="36" y="284"/>
                  </a:moveTo>
                  <a:cubicBezTo>
                    <a:pt x="36" y="284"/>
                    <a:pt x="36" y="284"/>
                    <a:pt x="35" y="284"/>
                  </a:cubicBezTo>
                  <a:cubicBezTo>
                    <a:pt x="36" y="284"/>
                    <a:pt x="36" y="284"/>
                    <a:pt x="36" y="284"/>
                  </a:cubicBezTo>
                  <a:moveTo>
                    <a:pt x="35" y="285"/>
                  </a:moveTo>
                  <a:cubicBezTo>
                    <a:pt x="35" y="285"/>
                    <a:pt x="34" y="285"/>
                    <a:pt x="34" y="285"/>
                  </a:cubicBezTo>
                  <a:cubicBezTo>
                    <a:pt x="34" y="285"/>
                    <a:pt x="35" y="285"/>
                    <a:pt x="35" y="285"/>
                  </a:cubicBezTo>
                  <a:moveTo>
                    <a:pt x="33" y="286"/>
                  </a:moveTo>
                  <a:cubicBezTo>
                    <a:pt x="33" y="286"/>
                    <a:pt x="34" y="286"/>
                    <a:pt x="34" y="286"/>
                  </a:cubicBezTo>
                  <a:cubicBezTo>
                    <a:pt x="34" y="286"/>
                    <a:pt x="33" y="286"/>
                    <a:pt x="33" y="286"/>
                  </a:cubicBezTo>
                  <a:moveTo>
                    <a:pt x="37" y="282"/>
                  </a:moveTo>
                  <a:cubicBezTo>
                    <a:pt x="37" y="282"/>
                    <a:pt x="37" y="283"/>
                    <a:pt x="37" y="283"/>
                  </a:cubicBezTo>
                  <a:cubicBezTo>
                    <a:pt x="37" y="283"/>
                    <a:pt x="37" y="282"/>
                    <a:pt x="37" y="282"/>
                  </a:cubicBezTo>
                  <a:moveTo>
                    <a:pt x="40" y="258"/>
                  </a:moveTo>
                  <a:cubicBezTo>
                    <a:pt x="40" y="259"/>
                    <a:pt x="39" y="260"/>
                    <a:pt x="39" y="261"/>
                  </a:cubicBezTo>
                  <a:cubicBezTo>
                    <a:pt x="39" y="260"/>
                    <a:pt x="40" y="259"/>
                    <a:pt x="40" y="258"/>
                  </a:cubicBezTo>
                  <a:moveTo>
                    <a:pt x="41" y="153"/>
                  </a:moveTo>
                  <a:cubicBezTo>
                    <a:pt x="42" y="153"/>
                    <a:pt x="42" y="152"/>
                    <a:pt x="42" y="151"/>
                  </a:cubicBezTo>
                  <a:cubicBezTo>
                    <a:pt x="42" y="151"/>
                    <a:pt x="42" y="151"/>
                    <a:pt x="42" y="151"/>
                  </a:cubicBezTo>
                  <a:cubicBezTo>
                    <a:pt x="42" y="152"/>
                    <a:pt x="42" y="153"/>
                    <a:pt x="41" y="153"/>
                  </a:cubicBezTo>
                  <a:moveTo>
                    <a:pt x="45" y="247"/>
                  </a:moveTo>
                  <a:cubicBezTo>
                    <a:pt x="45" y="247"/>
                    <a:pt x="45" y="247"/>
                    <a:pt x="45" y="246"/>
                  </a:cubicBezTo>
                  <a:cubicBezTo>
                    <a:pt x="45" y="247"/>
                    <a:pt x="45" y="247"/>
                    <a:pt x="45" y="247"/>
                  </a:cubicBezTo>
                  <a:moveTo>
                    <a:pt x="46" y="245"/>
                  </a:moveTo>
                  <a:cubicBezTo>
                    <a:pt x="46" y="245"/>
                    <a:pt x="46" y="244"/>
                    <a:pt x="46" y="244"/>
                  </a:cubicBezTo>
                  <a:cubicBezTo>
                    <a:pt x="46" y="244"/>
                    <a:pt x="46" y="245"/>
                    <a:pt x="46" y="245"/>
                  </a:cubicBezTo>
                  <a:moveTo>
                    <a:pt x="46" y="243"/>
                  </a:moveTo>
                  <a:cubicBezTo>
                    <a:pt x="46" y="243"/>
                    <a:pt x="46" y="242"/>
                    <a:pt x="46" y="242"/>
                  </a:cubicBezTo>
                  <a:cubicBezTo>
                    <a:pt x="46" y="242"/>
                    <a:pt x="46" y="243"/>
                    <a:pt x="46" y="243"/>
                  </a:cubicBezTo>
                  <a:moveTo>
                    <a:pt x="48" y="495"/>
                  </a:moveTo>
                  <a:cubicBezTo>
                    <a:pt x="47" y="495"/>
                    <a:pt x="46" y="495"/>
                    <a:pt x="45" y="495"/>
                  </a:cubicBezTo>
                  <a:cubicBezTo>
                    <a:pt x="46" y="495"/>
                    <a:pt x="47" y="495"/>
                    <a:pt x="48" y="495"/>
                  </a:cubicBezTo>
                  <a:moveTo>
                    <a:pt x="43" y="496"/>
                  </a:moveTo>
                  <a:cubicBezTo>
                    <a:pt x="42" y="496"/>
                    <a:pt x="41" y="496"/>
                    <a:pt x="41" y="496"/>
                  </a:cubicBezTo>
                  <a:cubicBezTo>
                    <a:pt x="41" y="496"/>
                    <a:pt x="42" y="496"/>
                    <a:pt x="43" y="496"/>
                  </a:cubicBezTo>
                  <a:moveTo>
                    <a:pt x="52" y="496"/>
                  </a:moveTo>
                  <a:cubicBezTo>
                    <a:pt x="51" y="496"/>
                    <a:pt x="51" y="496"/>
                    <a:pt x="50" y="495"/>
                  </a:cubicBezTo>
                  <a:cubicBezTo>
                    <a:pt x="51" y="496"/>
                    <a:pt x="51" y="496"/>
                    <a:pt x="52" y="496"/>
                  </a:cubicBezTo>
                  <a:moveTo>
                    <a:pt x="50" y="495"/>
                  </a:moveTo>
                  <a:cubicBezTo>
                    <a:pt x="49" y="495"/>
                    <a:pt x="48" y="495"/>
                    <a:pt x="48" y="495"/>
                  </a:cubicBezTo>
                  <a:cubicBezTo>
                    <a:pt x="48" y="495"/>
                    <a:pt x="49" y="495"/>
                    <a:pt x="50" y="495"/>
                  </a:cubicBezTo>
                  <a:moveTo>
                    <a:pt x="45" y="495"/>
                  </a:moveTo>
                  <a:cubicBezTo>
                    <a:pt x="44" y="495"/>
                    <a:pt x="44" y="495"/>
                    <a:pt x="43" y="495"/>
                  </a:cubicBezTo>
                  <a:cubicBezTo>
                    <a:pt x="44" y="495"/>
                    <a:pt x="44" y="495"/>
                    <a:pt x="45" y="495"/>
                  </a:cubicBezTo>
                  <a:moveTo>
                    <a:pt x="0" y="373"/>
                  </a:moveTo>
                  <a:cubicBezTo>
                    <a:pt x="0" y="373"/>
                    <a:pt x="0" y="373"/>
                    <a:pt x="0" y="373"/>
                  </a:cubicBezTo>
                  <a:cubicBezTo>
                    <a:pt x="0" y="373"/>
                    <a:pt x="0" y="373"/>
                    <a:pt x="0" y="373"/>
                  </a:cubicBezTo>
                  <a:moveTo>
                    <a:pt x="0" y="372"/>
                  </a:moveTo>
                  <a:cubicBezTo>
                    <a:pt x="0" y="372"/>
                    <a:pt x="0" y="372"/>
                    <a:pt x="0" y="373"/>
                  </a:cubicBezTo>
                  <a:cubicBezTo>
                    <a:pt x="0" y="372"/>
                    <a:pt x="0" y="372"/>
                    <a:pt x="0" y="372"/>
                  </a:cubicBezTo>
                  <a:moveTo>
                    <a:pt x="1" y="376"/>
                  </a:moveTo>
                  <a:cubicBezTo>
                    <a:pt x="1" y="375"/>
                    <a:pt x="0" y="375"/>
                    <a:pt x="0" y="375"/>
                  </a:cubicBezTo>
                  <a:cubicBezTo>
                    <a:pt x="0" y="375"/>
                    <a:pt x="1" y="375"/>
                    <a:pt x="1" y="376"/>
                  </a:cubicBezTo>
                  <a:moveTo>
                    <a:pt x="0" y="375"/>
                  </a:moveTo>
                  <a:cubicBezTo>
                    <a:pt x="0" y="375"/>
                    <a:pt x="0" y="375"/>
                    <a:pt x="0" y="374"/>
                  </a:cubicBezTo>
                  <a:cubicBezTo>
                    <a:pt x="0" y="375"/>
                    <a:pt x="0" y="375"/>
                    <a:pt x="0" y="375"/>
                  </a:cubicBezTo>
                  <a:moveTo>
                    <a:pt x="0" y="374"/>
                  </a:moveTo>
                  <a:cubicBezTo>
                    <a:pt x="0" y="374"/>
                    <a:pt x="0" y="374"/>
                    <a:pt x="0" y="374"/>
                  </a:cubicBezTo>
                  <a:cubicBezTo>
                    <a:pt x="0" y="374"/>
                    <a:pt x="0" y="374"/>
                    <a:pt x="0" y="374"/>
                  </a:cubicBezTo>
                  <a:moveTo>
                    <a:pt x="1" y="359"/>
                  </a:moveTo>
                  <a:cubicBezTo>
                    <a:pt x="1" y="359"/>
                    <a:pt x="1" y="360"/>
                    <a:pt x="1" y="360"/>
                  </a:cubicBezTo>
                  <a:cubicBezTo>
                    <a:pt x="1" y="360"/>
                    <a:pt x="1" y="359"/>
                    <a:pt x="1" y="359"/>
                  </a:cubicBezTo>
                  <a:moveTo>
                    <a:pt x="0" y="362"/>
                  </a:moveTo>
                  <a:cubicBezTo>
                    <a:pt x="0" y="363"/>
                    <a:pt x="0" y="363"/>
                    <a:pt x="0" y="363"/>
                  </a:cubicBezTo>
                  <a:cubicBezTo>
                    <a:pt x="0" y="363"/>
                    <a:pt x="0" y="363"/>
                    <a:pt x="0" y="362"/>
                  </a:cubicBezTo>
                  <a:moveTo>
                    <a:pt x="447" y="26"/>
                  </a:moveTo>
                  <a:cubicBezTo>
                    <a:pt x="447" y="26"/>
                    <a:pt x="448" y="26"/>
                    <a:pt x="448" y="26"/>
                  </a:cubicBezTo>
                  <a:cubicBezTo>
                    <a:pt x="448" y="26"/>
                    <a:pt x="448" y="26"/>
                    <a:pt x="448" y="26"/>
                  </a:cubicBezTo>
                  <a:cubicBezTo>
                    <a:pt x="451" y="24"/>
                    <a:pt x="447" y="26"/>
                    <a:pt x="447" y="26"/>
                  </a:cubicBezTo>
                  <a:moveTo>
                    <a:pt x="499" y="314"/>
                  </a:moveTo>
                  <a:cubicBezTo>
                    <a:pt x="499" y="313"/>
                    <a:pt x="500" y="313"/>
                    <a:pt x="500" y="313"/>
                  </a:cubicBezTo>
                  <a:cubicBezTo>
                    <a:pt x="500" y="313"/>
                    <a:pt x="499" y="313"/>
                    <a:pt x="499" y="314"/>
                  </a:cubicBezTo>
                  <a:moveTo>
                    <a:pt x="731" y="104"/>
                  </a:moveTo>
                  <a:cubicBezTo>
                    <a:pt x="732" y="100"/>
                    <a:pt x="727" y="98"/>
                    <a:pt x="724" y="97"/>
                  </a:cubicBezTo>
                  <a:cubicBezTo>
                    <a:pt x="719" y="96"/>
                    <a:pt x="714" y="96"/>
                    <a:pt x="709" y="96"/>
                  </a:cubicBezTo>
                  <a:cubicBezTo>
                    <a:pt x="705" y="96"/>
                    <a:pt x="703" y="97"/>
                    <a:pt x="699" y="98"/>
                  </a:cubicBezTo>
                  <a:cubicBezTo>
                    <a:pt x="695" y="100"/>
                    <a:pt x="694" y="103"/>
                    <a:pt x="689" y="102"/>
                  </a:cubicBezTo>
                  <a:cubicBezTo>
                    <a:pt x="684" y="101"/>
                    <a:pt x="677" y="98"/>
                    <a:pt x="672" y="99"/>
                  </a:cubicBezTo>
                  <a:cubicBezTo>
                    <a:pt x="671" y="99"/>
                    <a:pt x="670" y="100"/>
                    <a:pt x="669" y="100"/>
                  </a:cubicBezTo>
                  <a:cubicBezTo>
                    <a:pt x="669" y="101"/>
                    <a:pt x="669" y="101"/>
                    <a:pt x="668" y="102"/>
                  </a:cubicBezTo>
                  <a:cubicBezTo>
                    <a:pt x="668" y="102"/>
                    <a:pt x="667" y="102"/>
                    <a:pt x="667" y="102"/>
                  </a:cubicBezTo>
                  <a:cubicBezTo>
                    <a:pt x="665" y="103"/>
                    <a:pt x="665" y="104"/>
                    <a:pt x="663" y="104"/>
                  </a:cubicBezTo>
                  <a:cubicBezTo>
                    <a:pt x="661" y="105"/>
                    <a:pt x="661" y="104"/>
                    <a:pt x="659" y="103"/>
                  </a:cubicBezTo>
                  <a:cubicBezTo>
                    <a:pt x="659" y="103"/>
                    <a:pt x="659" y="103"/>
                    <a:pt x="659" y="103"/>
                  </a:cubicBezTo>
                  <a:cubicBezTo>
                    <a:pt x="658" y="104"/>
                    <a:pt x="656" y="104"/>
                    <a:pt x="655" y="103"/>
                  </a:cubicBezTo>
                  <a:cubicBezTo>
                    <a:pt x="652" y="103"/>
                    <a:pt x="650" y="102"/>
                    <a:pt x="648" y="101"/>
                  </a:cubicBezTo>
                  <a:cubicBezTo>
                    <a:pt x="647" y="100"/>
                    <a:pt x="646" y="99"/>
                    <a:pt x="645" y="99"/>
                  </a:cubicBezTo>
                  <a:cubicBezTo>
                    <a:pt x="644" y="99"/>
                    <a:pt x="643" y="98"/>
                    <a:pt x="641" y="98"/>
                  </a:cubicBezTo>
                  <a:cubicBezTo>
                    <a:pt x="640" y="98"/>
                    <a:pt x="639" y="98"/>
                    <a:pt x="638" y="98"/>
                  </a:cubicBezTo>
                  <a:cubicBezTo>
                    <a:pt x="637" y="98"/>
                    <a:pt x="636" y="98"/>
                    <a:pt x="636" y="98"/>
                  </a:cubicBezTo>
                  <a:cubicBezTo>
                    <a:pt x="635" y="99"/>
                    <a:pt x="635" y="99"/>
                    <a:pt x="634" y="99"/>
                  </a:cubicBezTo>
                  <a:cubicBezTo>
                    <a:pt x="633" y="100"/>
                    <a:pt x="632" y="100"/>
                    <a:pt x="631" y="99"/>
                  </a:cubicBezTo>
                  <a:cubicBezTo>
                    <a:pt x="629" y="99"/>
                    <a:pt x="627" y="99"/>
                    <a:pt x="625" y="99"/>
                  </a:cubicBezTo>
                  <a:cubicBezTo>
                    <a:pt x="623" y="98"/>
                    <a:pt x="622" y="97"/>
                    <a:pt x="621" y="96"/>
                  </a:cubicBezTo>
                  <a:cubicBezTo>
                    <a:pt x="619" y="94"/>
                    <a:pt x="617" y="93"/>
                    <a:pt x="617" y="91"/>
                  </a:cubicBezTo>
                  <a:cubicBezTo>
                    <a:pt x="616" y="90"/>
                    <a:pt x="616" y="88"/>
                    <a:pt x="617" y="87"/>
                  </a:cubicBezTo>
                  <a:cubicBezTo>
                    <a:pt x="618" y="85"/>
                    <a:pt x="621" y="85"/>
                    <a:pt x="623" y="84"/>
                  </a:cubicBezTo>
                  <a:cubicBezTo>
                    <a:pt x="623" y="83"/>
                    <a:pt x="623" y="83"/>
                    <a:pt x="623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3" y="80"/>
                    <a:pt x="620" y="78"/>
                    <a:pt x="617" y="77"/>
                  </a:cubicBezTo>
                  <a:cubicBezTo>
                    <a:pt x="615" y="76"/>
                    <a:pt x="614" y="75"/>
                    <a:pt x="611" y="74"/>
                  </a:cubicBezTo>
                  <a:cubicBezTo>
                    <a:pt x="609" y="73"/>
                    <a:pt x="607" y="73"/>
                    <a:pt x="605" y="73"/>
                  </a:cubicBezTo>
                  <a:cubicBezTo>
                    <a:pt x="600" y="72"/>
                    <a:pt x="596" y="69"/>
                    <a:pt x="592" y="68"/>
                  </a:cubicBezTo>
                  <a:cubicBezTo>
                    <a:pt x="589" y="68"/>
                    <a:pt x="587" y="66"/>
                    <a:pt x="584" y="65"/>
                  </a:cubicBezTo>
                  <a:cubicBezTo>
                    <a:pt x="584" y="67"/>
                    <a:pt x="584" y="69"/>
                    <a:pt x="583" y="70"/>
                  </a:cubicBezTo>
                  <a:cubicBezTo>
                    <a:pt x="583" y="71"/>
                    <a:pt x="582" y="71"/>
                    <a:pt x="582" y="73"/>
                  </a:cubicBezTo>
                  <a:cubicBezTo>
                    <a:pt x="581" y="74"/>
                    <a:pt x="582" y="75"/>
                    <a:pt x="581" y="76"/>
                  </a:cubicBezTo>
                  <a:cubicBezTo>
                    <a:pt x="580" y="78"/>
                    <a:pt x="579" y="77"/>
                    <a:pt x="577" y="77"/>
                  </a:cubicBezTo>
                  <a:cubicBezTo>
                    <a:pt x="569" y="78"/>
                    <a:pt x="560" y="77"/>
                    <a:pt x="552" y="77"/>
                  </a:cubicBezTo>
                  <a:cubicBezTo>
                    <a:pt x="549" y="77"/>
                    <a:pt x="547" y="78"/>
                    <a:pt x="545" y="78"/>
                  </a:cubicBezTo>
                  <a:cubicBezTo>
                    <a:pt x="543" y="78"/>
                    <a:pt x="541" y="77"/>
                    <a:pt x="540" y="76"/>
                  </a:cubicBezTo>
                  <a:cubicBezTo>
                    <a:pt x="538" y="75"/>
                    <a:pt x="536" y="74"/>
                    <a:pt x="534" y="73"/>
                  </a:cubicBezTo>
                  <a:cubicBezTo>
                    <a:pt x="534" y="72"/>
                    <a:pt x="532" y="70"/>
                    <a:pt x="531" y="70"/>
                  </a:cubicBezTo>
                  <a:cubicBezTo>
                    <a:pt x="529" y="69"/>
                    <a:pt x="525" y="71"/>
                    <a:pt x="522" y="70"/>
                  </a:cubicBezTo>
                  <a:cubicBezTo>
                    <a:pt x="517" y="70"/>
                    <a:pt x="512" y="68"/>
                    <a:pt x="506" y="67"/>
                  </a:cubicBezTo>
                  <a:cubicBezTo>
                    <a:pt x="504" y="58"/>
                    <a:pt x="497" y="61"/>
                    <a:pt x="490" y="58"/>
                  </a:cubicBezTo>
                  <a:cubicBezTo>
                    <a:pt x="488" y="57"/>
                    <a:pt x="486" y="56"/>
                    <a:pt x="484" y="54"/>
                  </a:cubicBezTo>
                  <a:cubicBezTo>
                    <a:pt x="481" y="52"/>
                    <a:pt x="475" y="50"/>
                    <a:pt x="475" y="46"/>
                  </a:cubicBezTo>
                  <a:cubicBezTo>
                    <a:pt x="472" y="45"/>
                    <a:pt x="471" y="48"/>
                    <a:pt x="469" y="49"/>
                  </a:cubicBezTo>
                  <a:cubicBezTo>
                    <a:pt x="467" y="51"/>
                    <a:pt x="465" y="50"/>
                    <a:pt x="464" y="46"/>
                  </a:cubicBezTo>
                  <a:cubicBezTo>
                    <a:pt x="463" y="42"/>
                    <a:pt x="469" y="39"/>
                    <a:pt x="466" y="35"/>
                  </a:cubicBezTo>
                  <a:cubicBezTo>
                    <a:pt x="465" y="33"/>
                    <a:pt x="463" y="34"/>
                    <a:pt x="462" y="33"/>
                  </a:cubicBezTo>
                  <a:cubicBezTo>
                    <a:pt x="461" y="33"/>
                    <a:pt x="460" y="33"/>
                    <a:pt x="459" y="33"/>
                  </a:cubicBezTo>
                  <a:cubicBezTo>
                    <a:pt x="458" y="32"/>
                    <a:pt x="457" y="32"/>
                    <a:pt x="456" y="31"/>
                  </a:cubicBezTo>
                  <a:cubicBezTo>
                    <a:pt x="456" y="31"/>
                    <a:pt x="455" y="30"/>
                    <a:pt x="453" y="30"/>
                  </a:cubicBezTo>
                  <a:cubicBezTo>
                    <a:pt x="453" y="30"/>
                    <a:pt x="452" y="29"/>
                    <a:pt x="451" y="28"/>
                  </a:cubicBezTo>
                  <a:cubicBezTo>
                    <a:pt x="450" y="27"/>
                    <a:pt x="449" y="27"/>
                    <a:pt x="448" y="26"/>
                  </a:cubicBezTo>
                  <a:cubicBezTo>
                    <a:pt x="444" y="29"/>
                    <a:pt x="439" y="31"/>
                    <a:pt x="434" y="31"/>
                  </a:cubicBezTo>
                  <a:cubicBezTo>
                    <a:pt x="429" y="31"/>
                    <a:pt x="424" y="32"/>
                    <a:pt x="419" y="31"/>
                  </a:cubicBezTo>
                  <a:cubicBezTo>
                    <a:pt x="413" y="31"/>
                    <a:pt x="406" y="29"/>
                    <a:pt x="400" y="28"/>
                  </a:cubicBezTo>
                  <a:cubicBezTo>
                    <a:pt x="393" y="28"/>
                    <a:pt x="386" y="27"/>
                    <a:pt x="379" y="27"/>
                  </a:cubicBezTo>
                  <a:cubicBezTo>
                    <a:pt x="377" y="27"/>
                    <a:pt x="375" y="27"/>
                    <a:pt x="373" y="28"/>
                  </a:cubicBezTo>
                  <a:cubicBezTo>
                    <a:pt x="372" y="29"/>
                    <a:pt x="372" y="31"/>
                    <a:pt x="371" y="31"/>
                  </a:cubicBezTo>
                  <a:cubicBezTo>
                    <a:pt x="369" y="32"/>
                    <a:pt x="367" y="29"/>
                    <a:pt x="365" y="28"/>
                  </a:cubicBezTo>
                  <a:cubicBezTo>
                    <a:pt x="363" y="27"/>
                    <a:pt x="362" y="27"/>
                    <a:pt x="360" y="26"/>
                  </a:cubicBezTo>
                  <a:cubicBezTo>
                    <a:pt x="355" y="24"/>
                    <a:pt x="350" y="24"/>
                    <a:pt x="346" y="24"/>
                  </a:cubicBezTo>
                  <a:cubicBezTo>
                    <a:pt x="340" y="23"/>
                    <a:pt x="334" y="24"/>
                    <a:pt x="328" y="24"/>
                  </a:cubicBezTo>
                  <a:cubicBezTo>
                    <a:pt x="319" y="24"/>
                    <a:pt x="311" y="23"/>
                    <a:pt x="303" y="26"/>
                  </a:cubicBezTo>
                  <a:cubicBezTo>
                    <a:pt x="299" y="28"/>
                    <a:pt x="296" y="27"/>
                    <a:pt x="292" y="27"/>
                  </a:cubicBezTo>
                  <a:cubicBezTo>
                    <a:pt x="288" y="27"/>
                    <a:pt x="288" y="27"/>
                    <a:pt x="285" y="25"/>
                  </a:cubicBezTo>
                  <a:cubicBezTo>
                    <a:pt x="279" y="23"/>
                    <a:pt x="272" y="23"/>
                    <a:pt x="266" y="22"/>
                  </a:cubicBezTo>
                  <a:cubicBezTo>
                    <a:pt x="263" y="22"/>
                    <a:pt x="259" y="21"/>
                    <a:pt x="256" y="21"/>
                  </a:cubicBezTo>
                  <a:cubicBezTo>
                    <a:pt x="252" y="20"/>
                    <a:pt x="249" y="20"/>
                    <a:pt x="246" y="20"/>
                  </a:cubicBezTo>
                  <a:cubicBezTo>
                    <a:pt x="244" y="19"/>
                    <a:pt x="242" y="18"/>
                    <a:pt x="240" y="18"/>
                  </a:cubicBezTo>
                  <a:cubicBezTo>
                    <a:pt x="236" y="16"/>
                    <a:pt x="231" y="17"/>
                    <a:pt x="227" y="16"/>
                  </a:cubicBezTo>
                  <a:cubicBezTo>
                    <a:pt x="226" y="11"/>
                    <a:pt x="220" y="12"/>
                    <a:pt x="216" y="12"/>
                  </a:cubicBezTo>
                  <a:cubicBezTo>
                    <a:pt x="214" y="13"/>
                    <a:pt x="212" y="14"/>
                    <a:pt x="209" y="15"/>
                  </a:cubicBezTo>
                  <a:cubicBezTo>
                    <a:pt x="208" y="15"/>
                    <a:pt x="207" y="15"/>
                    <a:pt x="205" y="15"/>
                  </a:cubicBezTo>
                  <a:cubicBezTo>
                    <a:pt x="204" y="16"/>
                    <a:pt x="203" y="16"/>
                    <a:pt x="201" y="16"/>
                  </a:cubicBezTo>
                  <a:cubicBezTo>
                    <a:pt x="194" y="18"/>
                    <a:pt x="185" y="17"/>
                    <a:pt x="178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3" y="17"/>
                    <a:pt x="148" y="18"/>
                    <a:pt x="144" y="15"/>
                  </a:cubicBezTo>
                  <a:cubicBezTo>
                    <a:pt x="139" y="13"/>
                    <a:pt x="135" y="10"/>
                    <a:pt x="130" y="8"/>
                  </a:cubicBezTo>
                  <a:cubicBezTo>
                    <a:pt x="125" y="5"/>
                    <a:pt x="121" y="4"/>
                    <a:pt x="116" y="3"/>
                  </a:cubicBezTo>
                  <a:cubicBezTo>
                    <a:pt x="109" y="2"/>
                    <a:pt x="101" y="0"/>
                    <a:pt x="95" y="2"/>
                  </a:cubicBezTo>
                  <a:cubicBezTo>
                    <a:pt x="88" y="4"/>
                    <a:pt x="87" y="10"/>
                    <a:pt x="83" y="15"/>
                  </a:cubicBezTo>
                  <a:cubicBezTo>
                    <a:pt x="82" y="17"/>
                    <a:pt x="80" y="17"/>
                    <a:pt x="80" y="19"/>
                  </a:cubicBezTo>
                  <a:cubicBezTo>
                    <a:pt x="80" y="20"/>
                    <a:pt x="81" y="22"/>
                    <a:pt x="81" y="23"/>
                  </a:cubicBezTo>
                  <a:cubicBezTo>
                    <a:pt x="82" y="25"/>
                    <a:pt x="83" y="31"/>
                    <a:pt x="81" y="33"/>
                  </a:cubicBezTo>
                  <a:cubicBezTo>
                    <a:pt x="80" y="33"/>
                    <a:pt x="77" y="33"/>
                    <a:pt x="76" y="33"/>
                  </a:cubicBezTo>
                  <a:cubicBezTo>
                    <a:pt x="73" y="33"/>
                    <a:pt x="73" y="33"/>
                    <a:pt x="72" y="35"/>
                  </a:cubicBezTo>
                  <a:cubicBezTo>
                    <a:pt x="71" y="36"/>
                    <a:pt x="70" y="37"/>
                    <a:pt x="68" y="38"/>
                  </a:cubicBezTo>
                  <a:cubicBezTo>
                    <a:pt x="67" y="38"/>
                    <a:pt x="66" y="38"/>
                    <a:pt x="65" y="38"/>
                  </a:cubicBezTo>
                  <a:cubicBezTo>
                    <a:pt x="64" y="38"/>
                    <a:pt x="64" y="39"/>
                    <a:pt x="63" y="39"/>
                  </a:cubicBezTo>
                  <a:cubicBezTo>
                    <a:pt x="59" y="41"/>
                    <a:pt x="54" y="39"/>
                    <a:pt x="49" y="39"/>
                  </a:cubicBezTo>
                  <a:cubicBezTo>
                    <a:pt x="47" y="39"/>
                    <a:pt x="45" y="39"/>
                    <a:pt x="43" y="40"/>
                  </a:cubicBezTo>
                  <a:cubicBezTo>
                    <a:pt x="41" y="40"/>
                    <a:pt x="39" y="42"/>
                    <a:pt x="37" y="43"/>
                  </a:cubicBezTo>
                  <a:cubicBezTo>
                    <a:pt x="33" y="45"/>
                    <a:pt x="30" y="48"/>
                    <a:pt x="27" y="51"/>
                  </a:cubicBezTo>
                  <a:cubicBezTo>
                    <a:pt x="26" y="52"/>
                    <a:pt x="24" y="54"/>
                    <a:pt x="24" y="55"/>
                  </a:cubicBezTo>
                  <a:cubicBezTo>
                    <a:pt x="23" y="56"/>
                    <a:pt x="23" y="58"/>
                    <a:pt x="23" y="60"/>
                  </a:cubicBezTo>
                  <a:cubicBezTo>
                    <a:pt x="23" y="62"/>
                    <a:pt x="23" y="64"/>
                    <a:pt x="23" y="66"/>
                  </a:cubicBezTo>
                  <a:cubicBezTo>
                    <a:pt x="24" y="69"/>
                    <a:pt x="24" y="68"/>
                    <a:pt x="27" y="69"/>
                  </a:cubicBezTo>
                  <a:cubicBezTo>
                    <a:pt x="29" y="70"/>
                    <a:pt x="29" y="70"/>
                    <a:pt x="29" y="73"/>
                  </a:cubicBezTo>
                  <a:cubicBezTo>
                    <a:pt x="29" y="74"/>
                    <a:pt x="29" y="75"/>
                    <a:pt x="30" y="77"/>
                  </a:cubicBezTo>
                  <a:cubicBezTo>
                    <a:pt x="30" y="78"/>
                    <a:pt x="31" y="82"/>
                    <a:pt x="32" y="82"/>
                  </a:cubicBezTo>
                  <a:cubicBezTo>
                    <a:pt x="34" y="84"/>
                    <a:pt x="34" y="81"/>
                    <a:pt x="35" y="80"/>
                  </a:cubicBezTo>
                  <a:cubicBezTo>
                    <a:pt x="40" y="86"/>
                    <a:pt x="32" y="89"/>
                    <a:pt x="34" y="96"/>
                  </a:cubicBezTo>
                  <a:cubicBezTo>
                    <a:pt x="35" y="101"/>
                    <a:pt x="42" y="98"/>
                    <a:pt x="45" y="96"/>
                  </a:cubicBezTo>
                  <a:cubicBezTo>
                    <a:pt x="46" y="94"/>
                    <a:pt x="46" y="90"/>
                    <a:pt x="48" y="89"/>
                  </a:cubicBezTo>
                  <a:cubicBezTo>
                    <a:pt x="49" y="89"/>
                    <a:pt x="52" y="90"/>
                    <a:pt x="53" y="92"/>
                  </a:cubicBezTo>
                  <a:cubicBezTo>
                    <a:pt x="53" y="93"/>
                    <a:pt x="52" y="93"/>
                    <a:pt x="51" y="95"/>
                  </a:cubicBezTo>
                  <a:cubicBezTo>
                    <a:pt x="51" y="96"/>
                    <a:pt x="51" y="99"/>
                    <a:pt x="51" y="101"/>
                  </a:cubicBezTo>
                  <a:cubicBezTo>
                    <a:pt x="51" y="105"/>
                    <a:pt x="49" y="108"/>
                    <a:pt x="48" y="112"/>
                  </a:cubicBezTo>
                  <a:cubicBezTo>
                    <a:pt x="48" y="114"/>
                    <a:pt x="48" y="114"/>
                    <a:pt x="47" y="116"/>
                  </a:cubicBezTo>
                  <a:cubicBezTo>
                    <a:pt x="47" y="117"/>
                    <a:pt x="45" y="118"/>
                    <a:pt x="44" y="119"/>
                  </a:cubicBezTo>
                  <a:cubicBezTo>
                    <a:pt x="43" y="121"/>
                    <a:pt x="45" y="124"/>
                    <a:pt x="44" y="126"/>
                  </a:cubicBezTo>
                  <a:cubicBezTo>
                    <a:pt x="40" y="127"/>
                    <a:pt x="36" y="127"/>
                    <a:pt x="32" y="127"/>
                  </a:cubicBezTo>
                  <a:cubicBezTo>
                    <a:pt x="30" y="127"/>
                    <a:pt x="26" y="128"/>
                    <a:pt x="24" y="129"/>
                  </a:cubicBezTo>
                  <a:cubicBezTo>
                    <a:pt x="23" y="129"/>
                    <a:pt x="23" y="129"/>
                    <a:pt x="22" y="130"/>
                  </a:cubicBezTo>
                  <a:cubicBezTo>
                    <a:pt x="22" y="132"/>
                    <a:pt x="25" y="135"/>
                    <a:pt x="26" y="136"/>
                  </a:cubicBezTo>
                  <a:cubicBezTo>
                    <a:pt x="27" y="138"/>
                    <a:pt x="28" y="139"/>
                    <a:pt x="31" y="139"/>
                  </a:cubicBezTo>
                  <a:cubicBezTo>
                    <a:pt x="34" y="140"/>
                    <a:pt x="36" y="140"/>
                    <a:pt x="38" y="141"/>
                  </a:cubicBezTo>
                  <a:cubicBezTo>
                    <a:pt x="41" y="142"/>
                    <a:pt x="42" y="142"/>
                    <a:pt x="42" y="145"/>
                  </a:cubicBezTo>
                  <a:cubicBezTo>
                    <a:pt x="42" y="146"/>
                    <a:pt x="42" y="147"/>
                    <a:pt x="42" y="148"/>
                  </a:cubicBezTo>
                  <a:cubicBezTo>
                    <a:pt x="43" y="148"/>
                    <a:pt x="45" y="146"/>
                    <a:pt x="45" y="146"/>
                  </a:cubicBezTo>
                  <a:cubicBezTo>
                    <a:pt x="46" y="145"/>
                    <a:pt x="46" y="142"/>
                    <a:pt x="47" y="141"/>
                  </a:cubicBezTo>
                  <a:cubicBezTo>
                    <a:pt x="48" y="140"/>
                    <a:pt x="51" y="139"/>
                    <a:pt x="53" y="138"/>
                  </a:cubicBezTo>
                  <a:cubicBezTo>
                    <a:pt x="56" y="137"/>
                    <a:pt x="60" y="135"/>
                    <a:pt x="63" y="133"/>
                  </a:cubicBezTo>
                  <a:cubicBezTo>
                    <a:pt x="66" y="132"/>
                    <a:pt x="69" y="130"/>
                    <a:pt x="73" y="129"/>
                  </a:cubicBezTo>
                  <a:cubicBezTo>
                    <a:pt x="74" y="129"/>
                    <a:pt x="76" y="129"/>
                    <a:pt x="77" y="128"/>
                  </a:cubicBezTo>
                  <a:cubicBezTo>
                    <a:pt x="77" y="128"/>
                    <a:pt x="78" y="126"/>
                    <a:pt x="78" y="125"/>
                  </a:cubicBezTo>
                  <a:cubicBezTo>
                    <a:pt x="79" y="124"/>
                    <a:pt x="80" y="122"/>
                    <a:pt x="82" y="123"/>
                  </a:cubicBezTo>
                  <a:cubicBezTo>
                    <a:pt x="84" y="124"/>
                    <a:pt x="82" y="126"/>
                    <a:pt x="81" y="128"/>
                  </a:cubicBezTo>
                  <a:cubicBezTo>
                    <a:pt x="81" y="129"/>
                    <a:pt x="81" y="132"/>
                    <a:pt x="82" y="133"/>
                  </a:cubicBezTo>
                  <a:cubicBezTo>
                    <a:pt x="83" y="134"/>
                    <a:pt x="85" y="133"/>
                    <a:pt x="86" y="134"/>
                  </a:cubicBezTo>
                  <a:cubicBezTo>
                    <a:pt x="86" y="136"/>
                    <a:pt x="86" y="138"/>
                    <a:pt x="85" y="139"/>
                  </a:cubicBezTo>
                  <a:cubicBezTo>
                    <a:pt x="84" y="141"/>
                    <a:pt x="82" y="141"/>
                    <a:pt x="81" y="143"/>
                  </a:cubicBezTo>
                  <a:cubicBezTo>
                    <a:pt x="81" y="144"/>
                    <a:pt x="82" y="152"/>
                    <a:pt x="84" y="152"/>
                  </a:cubicBezTo>
                  <a:cubicBezTo>
                    <a:pt x="85" y="152"/>
                    <a:pt x="87" y="150"/>
                    <a:pt x="88" y="150"/>
                  </a:cubicBezTo>
                  <a:cubicBezTo>
                    <a:pt x="90" y="149"/>
                    <a:pt x="91" y="150"/>
                    <a:pt x="93" y="148"/>
                  </a:cubicBezTo>
                  <a:cubicBezTo>
                    <a:pt x="94" y="146"/>
                    <a:pt x="94" y="140"/>
                    <a:pt x="98" y="144"/>
                  </a:cubicBezTo>
                  <a:cubicBezTo>
                    <a:pt x="99" y="145"/>
                    <a:pt x="99" y="147"/>
                    <a:pt x="101" y="148"/>
                  </a:cubicBezTo>
                  <a:cubicBezTo>
                    <a:pt x="103" y="149"/>
                    <a:pt x="104" y="147"/>
                    <a:pt x="105" y="146"/>
                  </a:cubicBezTo>
                  <a:cubicBezTo>
                    <a:pt x="107" y="145"/>
                    <a:pt x="110" y="146"/>
                    <a:pt x="112" y="147"/>
                  </a:cubicBezTo>
                  <a:cubicBezTo>
                    <a:pt x="112" y="147"/>
                    <a:pt x="112" y="149"/>
                    <a:pt x="112" y="150"/>
                  </a:cubicBezTo>
                  <a:cubicBezTo>
                    <a:pt x="114" y="151"/>
                    <a:pt x="114" y="149"/>
                    <a:pt x="115" y="149"/>
                  </a:cubicBezTo>
                  <a:cubicBezTo>
                    <a:pt x="117" y="150"/>
                    <a:pt x="119" y="152"/>
                    <a:pt x="122" y="151"/>
                  </a:cubicBezTo>
                  <a:cubicBezTo>
                    <a:pt x="122" y="145"/>
                    <a:pt x="130" y="150"/>
                    <a:pt x="134" y="148"/>
                  </a:cubicBezTo>
                  <a:cubicBezTo>
                    <a:pt x="137" y="147"/>
                    <a:pt x="137" y="146"/>
                    <a:pt x="139" y="144"/>
                  </a:cubicBezTo>
                  <a:cubicBezTo>
                    <a:pt x="140" y="143"/>
                    <a:pt x="141" y="142"/>
                    <a:pt x="142" y="141"/>
                  </a:cubicBezTo>
                  <a:cubicBezTo>
                    <a:pt x="143" y="140"/>
                    <a:pt x="142" y="139"/>
                    <a:pt x="143" y="138"/>
                  </a:cubicBezTo>
                  <a:cubicBezTo>
                    <a:pt x="144" y="138"/>
                    <a:pt x="144" y="139"/>
                    <a:pt x="145" y="139"/>
                  </a:cubicBezTo>
                  <a:cubicBezTo>
                    <a:pt x="145" y="137"/>
                    <a:pt x="153" y="138"/>
                    <a:pt x="155" y="138"/>
                  </a:cubicBezTo>
                  <a:cubicBezTo>
                    <a:pt x="157" y="138"/>
                    <a:pt x="159" y="136"/>
                    <a:pt x="160" y="136"/>
                  </a:cubicBezTo>
                  <a:cubicBezTo>
                    <a:pt x="162" y="136"/>
                    <a:pt x="160" y="137"/>
                    <a:pt x="161" y="139"/>
                  </a:cubicBezTo>
                  <a:cubicBezTo>
                    <a:pt x="163" y="141"/>
                    <a:pt x="167" y="140"/>
                    <a:pt x="169" y="140"/>
                  </a:cubicBezTo>
                  <a:cubicBezTo>
                    <a:pt x="172" y="140"/>
                    <a:pt x="174" y="139"/>
                    <a:pt x="177" y="139"/>
                  </a:cubicBezTo>
                  <a:cubicBezTo>
                    <a:pt x="175" y="145"/>
                    <a:pt x="175" y="145"/>
                    <a:pt x="175" y="145"/>
                  </a:cubicBezTo>
                  <a:cubicBezTo>
                    <a:pt x="176" y="147"/>
                    <a:pt x="173" y="149"/>
                    <a:pt x="172" y="151"/>
                  </a:cubicBezTo>
                  <a:cubicBezTo>
                    <a:pt x="171" y="152"/>
                    <a:pt x="171" y="154"/>
                    <a:pt x="172" y="156"/>
                  </a:cubicBezTo>
                  <a:cubicBezTo>
                    <a:pt x="173" y="157"/>
                    <a:pt x="174" y="160"/>
                    <a:pt x="175" y="160"/>
                  </a:cubicBezTo>
                  <a:cubicBezTo>
                    <a:pt x="177" y="161"/>
                    <a:pt x="176" y="160"/>
                    <a:pt x="177" y="160"/>
                  </a:cubicBezTo>
                  <a:cubicBezTo>
                    <a:pt x="179" y="160"/>
                    <a:pt x="181" y="160"/>
                    <a:pt x="183" y="161"/>
                  </a:cubicBezTo>
                  <a:cubicBezTo>
                    <a:pt x="186" y="162"/>
                    <a:pt x="189" y="164"/>
                    <a:pt x="192" y="165"/>
                  </a:cubicBezTo>
                  <a:cubicBezTo>
                    <a:pt x="194" y="166"/>
                    <a:pt x="195" y="166"/>
                    <a:pt x="194" y="168"/>
                  </a:cubicBezTo>
                  <a:cubicBezTo>
                    <a:pt x="194" y="172"/>
                    <a:pt x="191" y="175"/>
                    <a:pt x="188" y="178"/>
                  </a:cubicBezTo>
                  <a:cubicBezTo>
                    <a:pt x="186" y="180"/>
                    <a:pt x="186" y="182"/>
                    <a:pt x="184" y="184"/>
                  </a:cubicBezTo>
                  <a:cubicBezTo>
                    <a:pt x="183" y="186"/>
                    <a:pt x="182" y="186"/>
                    <a:pt x="180" y="187"/>
                  </a:cubicBezTo>
                  <a:cubicBezTo>
                    <a:pt x="178" y="188"/>
                    <a:pt x="177" y="188"/>
                    <a:pt x="176" y="189"/>
                  </a:cubicBezTo>
                  <a:cubicBezTo>
                    <a:pt x="174" y="191"/>
                    <a:pt x="172" y="192"/>
                    <a:pt x="170" y="194"/>
                  </a:cubicBezTo>
                  <a:cubicBezTo>
                    <a:pt x="169" y="194"/>
                    <a:pt x="168" y="196"/>
                    <a:pt x="166" y="197"/>
                  </a:cubicBezTo>
                  <a:cubicBezTo>
                    <a:pt x="165" y="198"/>
                    <a:pt x="164" y="200"/>
                    <a:pt x="163" y="201"/>
                  </a:cubicBezTo>
                  <a:cubicBezTo>
                    <a:pt x="161" y="203"/>
                    <a:pt x="158" y="204"/>
                    <a:pt x="155" y="204"/>
                  </a:cubicBezTo>
                  <a:cubicBezTo>
                    <a:pt x="152" y="205"/>
                    <a:pt x="151" y="204"/>
                    <a:pt x="149" y="207"/>
                  </a:cubicBezTo>
                  <a:cubicBezTo>
                    <a:pt x="147" y="210"/>
                    <a:pt x="144" y="214"/>
                    <a:pt x="144" y="218"/>
                  </a:cubicBezTo>
                  <a:cubicBezTo>
                    <a:pt x="141" y="219"/>
                    <a:pt x="139" y="220"/>
                    <a:pt x="141" y="223"/>
                  </a:cubicBezTo>
                  <a:cubicBezTo>
                    <a:pt x="141" y="223"/>
                    <a:pt x="143" y="224"/>
                    <a:pt x="144" y="224"/>
                  </a:cubicBezTo>
                  <a:cubicBezTo>
                    <a:pt x="144" y="225"/>
                    <a:pt x="144" y="226"/>
                    <a:pt x="144" y="227"/>
                  </a:cubicBezTo>
                  <a:cubicBezTo>
                    <a:pt x="144" y="229"/>
                    <a:pt x="144" y="232"/>
                    <a:pt x="144" y="235"/>
                  </a:cubicBezTo>
                  <a:cubicBezTo>
                    <a:pt x="144" y="241"/>
                    <a:pt x="146" y="247"/>
                    <a:pt x="145" y="253"/>
                  </a:cubicBezTo>
                  <a:cubicBezTo>
                    <a:pt x="145" y="256"/>
                    <a:pt x="144" y="259"/>
                    <a:pt x="144" y="262"/>
                  </a:cubicBezTo>
                  <a:cubicBezTo>
                    <a:pt x="144" y="265"/>
                    <a:pt x="145" y="271"/>
                    <a:pt x="144" y="274"/>
                  </a:cubicBezTo>
                  <a:cubicBezTo>
                    <a:pt x="143" y="276"/>
                    <a:pt x="141" y="277"/>
                    <a:pt x="139" y="278"/>
                  </a:cubicBezTo>
                  <a:cubicBezTo>
                    <a:pt x="137" y="279"/>
                    <a:pt x="136" y="281"/>
                    <a:pt x="134" y="281"/>
                  </a:cubicBezTo>
                  <a:cubicBezTo>
                    <a:pt x="135" y="286"/>
                    <a:pt x="140" y="288"/>
                    <a:pt x="141" y="293"/>
                  </a:cubicBezTo>
                  <a:cubicBezTo>
                    <a:pt x="141" y="296"/>
                    <a:pt x="139" y="299"/>
                    <a:pt x="137" y="302"/>
                  </a:cubicBezTo>
                  <a:cubicBezTo>
                    <a:pt x="136" y="302"/>
                    <a:pt x="133" y="305"/>
                    <a:pt x="133" y="306"/>
                  </a:cubicBezTo>
                  <a:cubicBezTo>
                    <a:pt x="132" y="308"/>
                    <a:pt x="133" y="311"/>
                    <a:pt x="133" y="313"/>
                  </a:cubicBezTo>
                  <a:cubicBezTo>
                    <a:pt x="132" y="319"/>
                    <a:pt x="122" y="318"/>
                    <a:pt x="117" y="318"/>
                  </a:cubicBezTo>
                  <a:cubicBezTo>
                    <a:pt x="115" y="318"/>
                    <a:pt x="110" y="317"/>
                    <a:pt x="110" y="319"/>
                  </a:cubicBezTo>
                  <a:cubicBezTo>
                    <a:pt x="109" y="321"/>
                    <a:pt x="111" y="323"/>
                    <a:pt x="112" y="324"/>
                  </a:cubicBezTo>
                  <a:cubicBezTo>
                    <a:pt x="113" y="325"/>
                    <a:pt x="114" y="328"/>
                    <a:pt x="115" y="328"/>
                  </a:cubicBezTo>
                  <a:cubicBezTo>
                    <a:pt x="115" y="329"/>
                    <a:pt x="116" y="330"/>
                    <a:pt x="117" y="329"/>
                  </a:cubicBezTo>
                  <a:cubicBezTo>
                    <a:pt x="117" y="329"/>
                    <a:pt x="118" y="329"/>
                    <a:pt x="118" y="329"/>
                  </a:cubicBezTo>
                  <a:cubicBezTo>
                    <a:pt x="118" y="330"/>
                    <a:pt x="119" y="331"/>
                    <a:pt x="119" y="331"/>
                  </a:cubicBezTo>
                  <a:cubicBezTo>
                    <a:pt x="120" y="335"/>
                    <a:pt x="119" y="341"/>
                    <a:pt x="119" y="345"/>
                  </a:cubicBezTo>
                  <a:cubicBezTo>
                    <a:pt x="120" y="344"/>
                    <a:pt x="122" y="345"/>
                    <a:pt x="123" y="346"/>
                  </a:cubicBezTo>
                  <a:cubicBezTo>
                    <a:pt x="124" y="348"/>
                    <a:pt x="123" y="349"/>
                    <a:pt x="123" y="351"/>
                  </a:cubicBezTo>
                  <a:cubicBezTo>
                    <a:pt x="124" y="353"/>
                    <a:pt x="126" y="353"/>
                    <a:pt x="127" y="353"/>
                  </a:cubicBezTo>
                  <a:cubicBezTo>
                    <a:pt x="129" y="354"/>
                    <a:pt x="130" y="354"/>
                    <a:pt x="131" y="355"/>
                  </a:cubicBezTo>
                  <a:cubicBezTo>
                    <a:pt x="132" y="355"/>
                    <a:pt x="133" y="356"/>
                    <a:pt x="133" y="356"/>
                  </a:cubicBezTo>
                  <a:cubicBezTo>
                    <a:pt x="134" y="357"/>
                    <a:pt x="134" y="358"/>
                    <a:pt x="134" y="359"/>
                  </a:cubicBezTo>
                  <a:cubicBezTo>
                    <a:pt x="136" y="363"/>
                    <a:pt x="138" y="370"/>
                    <a:pt x="134" y="374"/>
                  </a:cubicBezTo>
                  <a:cubicBezTo>
                    <a:pt x="132" y="375"/>
                    <a:pt x="130" y="375"/>
                    <a:pt x="128" y="376"/>
                  </a:cubicBezTo>
                  <a:cubicBezTo>
                    <a:pt x="125" y="378"/>
                    <a:pt x="124" y="379"/>
                    <a:pt x="123" y="383"/>
                  </a:cubicBezTo>
                  <a:cubicBezTo>
                    <a:pt x="122" y="386"/>
                    <a:pt x="119" y="389"/>
                    <a:pt x="118" y="393"/>
                  </a:cubicBezTo>
                  <a:cubicBezTo>
                    <a:pt x="118" y="397"/>
                    <a:pt x="120" y="401"/>
                    <a:pt x="122" y="405"/>
                  </a:cubicBezTo>
                  <a:cubicBezTo>
                    <a:pt x="122" y="405"/>
                    <a:pt x="123" y="406"/>
                    <a:pt x="123" y="406"/>
                  </a:cubicBezTo>
                  <a:cubicBezTo>
                    <a:pt x="123" y="407"/>
                    <a:pt x="123" y="408"/>
                    <a:pt x="124" y="409"/>
                  </a:cubicBezTo>
                  <a:cubicBezTo>
                    <a:pt x="124" y="410"/>
                    <a:pt x="125" y="411"/>
                    <a:pt x="125" y="412"/>
                  </a:cubicBezTo>
                  <a:cubicBezTo>
                    <a:pt x="126" y="413"/>
                    <a:pt x="128" y="415"/>
                    <a:pt x="128" y="417"/>
                  </a:cubicBezTo>
                  <a:cubicBezTo>
                    <a:pt x="129" y="419"/>
                    <a:pt x="128" y="420"/>
                    <a:pt x="130" y="421"/>
                  </a:cubicBezTo>
                  <a:cubicBezTo>
                    <a:pt x="132" y="422"/>
                    <a:pt x="134" y="421"/>
                    <a:pt x="135" y="420"/>
                  </a:cubicBezTo>
                  <a:cubicBezTo>
                    <a:pt x="137" y="421"/>
                    <a:pt x="136" y="424"/>
                    <a:pt x="136" y="426"/>
                  </a:cubicBezTo>
                  <a:cubicBezTo>
                    <a:pt x="136" y="429"/>
                    <a:pt x="134" y="430"/>
                    <a:pt x="131" y="431"/>
                  </a:cubicBezTo>
                  <a:cubicBezTo>
                    <a:pt x="130" y="431"/>
                    <a:pt x="130" y="431"/>
                    <a:pt x="129" y="431"/>
                  </a:cubicBezTo>
                  <a:cubicBezTo>
                    <a:pt x="129" y="432"/>
                    <a:pt x="128" y="433"/>
                    <a:pt x="128" y="433"/>
                  </a:cubicBezTo>
                  <a:cubicBezTo>
                    <a:pt x="127" y="434"/>
                    <a:pt x="125" y="434"/>
                    <a:pt x="124" y="434"/>
                  </a:cubicBezTo>
                  <a:cubicBezTo>
                    <a:pt x="121" y="435"/>
                    <a:pt x="118" y="433"/>
                    <a:pt x="118" y="437"/>
                  </a:cubicBezTo>
                  <a:cubicBezTo>
                    <a:pt x="118" y="438"/>
                    <a:pt x="119" y="439"/>
                    <a:pt x="118" y="440"/>
                  </a:cubicBezTo>
                  <a:cubicBezTo>
                    <a:pt x="118" y="441"/>
                    <a:pt x="117" y="442"/>
                    <a:pt x="117" y="443"/>
                  </a:cubicBezTo>
                  <a:cubicBezTo>
                    <a:pt x="117" y="443"/>
                    <a:pt x="117" y="443"/>
                    <a:pt x="116" y="444"/>
                  </a:cubicBezTo>
                  <a:cubicBezTo>
                    <a:pt x="116" y="445"/>
                    <a:pt x="115" y="446"/>
                    <a:pt x="114" y="447"/>
                  </a:cubicBezTo>
                  <a:cubicBezTo>
                    <a:pt x="113" y="448"/>
                    <a:pt x="112" y="450"/>
                    <a:pt x="111" y="451"/>
                  </a:cubicBezTo>
                  <a:cubicBezTo>
                    <a:pt x="111" y="452"/>
                    <a:pt x="110" y="453"/>
                    <a:pt x="110" y="453"/>
                  </a:cubicBezTo>
                  <a:cubicBezTo>
                    <a:pt x="108" y="456"/>
                    <a:pt x="106" y="460"/>
                    <a:pt x="106" y="463"/>
                  </a:cubicBezTo>
                  <a:cubicBezTo>
                    <a:pt x="106" y="465"/>
                    <a:pt x="107" y="466"/>
                    <a:pt x="107" y="467"/>
                  </a:cubicBezTo>
                  <a:cubicBezTo>
                    <a:pt x="107" y="468"/>
                    <a:pt x="107" y="470"/>
                    <a:pt x="108" y="471"/>
                  </a:cubicBezTo>
                  <a:cubicBezTo>
                    <a:pt x="108" y="472"/>
                    <a:pt x="108" y="472"/>
                    <a:pt x="108" y="473"/>
                  </a:cubicBezTo>
                  <a:cubicBezTo>
                    <a:pt x="109" y="473"/>
                    <a:pt x="109" y="473"/>
                    <a:pt x="109" y="473"/>
                  </a:cubicBezTo>
                  <a:cubicBezTo>
                    <a:pt x="109" y="475"/>
                    <a:pt x="109" y="477"/>
                    <a:pt x="109" y="478"/>
                  </a:cubicBezTo>
                  <a:cubicBezTo>
                    <a:pt x="109" y="482"/>
                    <a:pt x="109" y="485"/>
                    <a:pt x="108" y="489"/>
                  </a:cubicBezTo>
                  <a:cubicBezTo>
                    <a:pt x="108" y="491"/>
                    <a:pt x="108" y="493"/>
                    <a:pt x="108" y="495"/>
                  </a:cubicBezTo>
                  <a:cubicBezTo>
                    <a:pt x="109" y="495"/>
                    <a:pt x="111" y="494"/>
                    <a:pt x="113" y="493"/>
                  </a:cubicBezTo>
                  <a:cubicBezTo>
                    <a:pt x="118" y="490"/>
                    <a:pt x="124" y="492"/>
                    <a:pt x="130" y="492"/>
                  </a:cubicBezTo>
                  <a:cubicBezTo>
                    <a:pt x="137" y="491"/>
                    <a:pt x="145" y="493"/>
                    <a:pt x="150" y="497"/>
                  </a:cubicBezTo>
                  <a:cubicBezTo>
                    <a:pt x="153" y="499"/>
                    <a:pt x="154" y="501"/>
                    <a:pt x="157" y="503"/>
                  </a:cubicBezTo>
                  <a:cubicBezTo>
                    <a:pt x="158" y="504"/>
                    <a:pt x="159" y="504"/>
                    <a:pt x="159" y="506"/>
                  </a:cubicBezTo>
                  <a:cubicBezTo>
                    <a:pt x="161" y="510"/>
                    <a:pt x="162" y="512"/>
                    <a:pt x="163" y="516"/>
                  </a:cubicBezTo>
                  <a:cubicBezTo>
                    <a:pt x="164" y="519"/>
                    <a:pt x="165" y="523"/>
                    <a:pt x="165" y="526"/>
                  </a:cubicBezTo>
                  <a:cubicBezTo>
                    <a:pt x="165" y="530"/>
                    <a:pt x="165" y="531"/>
                    <a:pt x="169" y="533"/>
                  </a:cubicBezTo>
                  <a:cubicBezTo>
                    <a:pt x="173" y="535"/>
                    <a:pt x="175" y="534"/>
                    <a:pt x="176" y="538"/>
                  </a:cubicBezTo>
                  <a:cubicBezTo>
                    <a:pt x="177" y="541"/>
                    <a:pt x="176" y="540"/>
                    <a:pt x="178" y="542"/>
                  </a:cubicBezTo>
                  <a:cubicBezTo>
                    <a:pt x="179" y="544"/>
                    <a:pt x="181" y="546"/>
                    <a:pt x="182" y="548"/>
                  </a:cubicBezTo>
                  <a:cubicBezTo>
                    <a:pt x="184" y="552"/>
                    <a:pt x="186" y="555"/>
                    <a:pt x="190" y="557"/>
                  </a:cubicBezTo>
                  <a:cubicBezTo>
                    <a:pt x="196" y="560"/>
                    <a:pt x="202" y="559"/>
                    <a:pt x="205" y="564"/>
                  </a:cubicBezTo>
                  <a:cubicBezTo>
                    <a:pt x="208" y="567"/>
                    <a:pt x="208" y="568"/>
                    <a:pt x="212" y="568"/>
                  </a:cubicBezTo>
                  <a:cubicBezTo>
                    <a:pt x="216" y="568"/>
                    <a:pt x="219" y="569"/>
                    <a:pt x="221" y="566"/>
                  </a:cubicBezTo>
                  <a:cubicBezTo>
                    <a:pt x="222" y="564"/>
                    <a:pt x="222" y="563"/>
                    <a:pt x="224" y="562"/>
                  </a:cubicBezTo>
                  <a:cubicBezTo>
                    <a:pt x="225" y="561"/>
                    <a:pt x="226" y="560"/>
                    <a:pt x="227" y="559"/>
                  </a:cubicBezTo>
                  <a:cubicBezTo>
                    <a:pt x="229" y="557"/>
                    <a:pt x="230" y="554"/>
                    <a:pt x="232" y="552"/>
                  </a:cubicBezTo>
                  <a:cubicBezTo>
                    <a:pt x="236" y="548"/>
                    <a:pt x="242" y="546"/>
                    <a:pt x="247" y="543"/>
                  </a:cubicBezTo>
                  <a:cubicBezTo>
                    <a:pt x="249" y="542"/>
                    <a:pt x="250" y="541"/>
                    <a:pt x="252" y="540"/>
                  </a:cubicBezTo>
                  <a:cubicBezTo>
                    <a:pt x="256" y="538"/>
                    <a:pt x="260" y="536"/>
                    <a:pt x="263" y="534"/>
                  </a:cubicBezTo>
                  <a:cubicBezTo>
                    <a:pt x="265" y="532"/>
                    <a:pt x="266" y="531"/>
                    <a:pt x="268" y="530"/>
                  </a:cubicBezTo>
                  <a:cubicBezTo>
                    <a:pt x="272" y="529"/>
                    <a:pt x="275" y="527"/>
                    <a:pt x="279" y="526"/>
                  </a:cubicBezTo>
                  <a:cubicBezTo>
                    <a:pt x="282" y="525"/>
                    <a:pt x="285" y="525"/>
                    <a:pt x="288" y="524"/>
                  </a:cubicBezTo>
                  <a:cubicBezTo>
                    <a:pt x="290" y="523"/>
                    <a:pt x="292" y="522"/>
                    <a:pt x="295" y="522"/>
                  </a:cubicBezTo>
                  <a:cubicBezTo>
                    <a:pt x="298" y="521"/>
                    <a:pt x="302" y="522"/>
                    <a:pt x="305" y="522"/>
                  </a:cubicBezTo>
                  <a:cubicBezTo>
                    <a:pt x="313" y="522"/>
                    <a:pt x="322" y="523"/>
                    <a:pt x="330" y="522"/>
                  </a:cubicBezTo>
                  <a:cubicBezTo>
                    <a:pt x="333" y="521"/>
                    <a:pt x="336" y="521"/>
                    <a:pt x="339" y="521"/>
                  </a:cubicBezTo>
                  <a:cubicBezTo>
                    <a:pt x="341" y="521"/>
                    <a:pt x="348" y="522"/>
                    <a:pt x="351" y="521"/>
                  </a:cubicBezTo>
                  <a:cubicBezTo>
                    <a:pt x="352" y="523"/>
                    <a:pt x="356" y="522"/>
                    <a:pt x="359" y="522"/>
                  </a:cubicBezTo>
                  <a:cubicBezTo>
                    <a:pt x="362" y="522"/>
                    <a:pt x="363" y="523"/>
                    <a:pt x="366" y="524"/>
                  </a:cubicBezTo>
                  <a:cubicBezTo>
                    <a:pt x="367" y="524"/>
                    <a:pt x="368" y="524"/>
                    <a:pt x="369" y="524"/>
                  </a:cubicBezTo>
                  <a:cubicBezTo>
                    <a:pt x="369" y="524"/>
                    <a:pt x="369" y="525"/>
                    <a:pt x="370" y="526"/>
                  </a:cubicBezTo>
                  <a:cubicBezTo>
                    <a:pt x="372" y="526"/>
                    <a:pt x="373" y="525"/>
                    <a:pt x="374" y="523"/>
                  </a:cubicBezTo>
                  <a:cubicBezTo>
                    <a:pt x="376" y="520"/>
                    <a:pt x="373" y="518"/>
                    <a:pt x="378" y="517"/>
                  </a:cubicBezTo>
                  <a:cubicBezTo>
                    <a:pt x="381" y="516"/>
                    <a:pt x="385" y="516"/>
                    <a:pt x="389" y="517"/>
                  </a:cubicBezTo>
                  <a:cubicBezTo>
                    <a:pt x="392" y="517"/>
                    <a:pt x="396" y="518"/>
                    <a:pt x="399" y="517"/>
                  </a:cubicBezTo>
                  <a:cubicBezTo>
                    <a:pt x="401" y="517"/>
                    <a:pt x="405" y="517"/>
                    <a:pt x="406" y="516"/>
                  </a:cubicBezTo>
                  <a:cubicBezTo>
                    <a:pt x="409" y="513"/>
                    <a:pt x="410" y="508"/>
                    <a:pt x="411" y="505"/>
                  </a:cubicBezTo>
                  <a:cubicBezTo>
                    <a:pt x="413" y="499"/>
                    <a:pt x="415" y="494"/>
                    <a:pt x="416" y="488"/>
                  </a:cubicBezTo>
                  <a:cubicBezTo>
                    <a:pt x="416" y="484"/>
                    <a:pt x="418" y="481"/>
                    <a:pt x="421" y="479"/>
                  </a:cubicBezTo>
                  <a:cubicBezTo>
                    <a:pt x="423" y="477"/>
                    <a:pt x="424" y="477"/>
                    <a:pt x="426" y="477"/>
                  </a:cubicBezTo>
                  <a:cubicBezTo>
                    <a:pt x="428" y="477"/>
                    <a:pt x="432" y="477"/>
                    <a:pt x="433" y="476"/>
                  </a:cubicBezTo>
                  <a:cubicBezTo>
                    <a:pt x="434" y="476"/>
                    <a:pt x="437" y="473"/>
                    <a:pt x="437" y="473"/>
                  </a:cubicBezTo>
                  <a:cubicBezTo>
                    <a:pt x="438" y="471"/>
                    <a:pt x="436" y="467"/>
                    <a:pt x="438" y="466"/>
                  </a:cubicBezTo>
                  <a:cubicBezTo>
                    <a:pt x="440" y="463"/>
                    <a:pt x="447" y="463"/>
                    <a:pt x="451" y="463"/>
                  </a:cubicBezTo>
                  <a:cubicBezTo>
                    <a:pt x="453" y="462"/>
                    <a:pt x="455" y="462"/>
                    <a:pt x="458" y="462"/>
                  </a:cubicBezTo>
                  <a:cubicBezTo>
                    <a:pt x="461" y="462"/>
                    <a:pt x="464" y="461"/>
                    <a:pt x="467" y="460"/>
                  </a:cubicBezTo>
                  <a:cubicBezTo>
                    <a:pt x="470" y="458"/>
                    <a:pt x="474" y="457"/>
                    <a:pt x="476" y="455"/>
                  </a:cubicBezTo>
                  <a:cubicBezTo>
                    <a:pt x="479" y="453"/>
                    <a:pt x="477" y="453"/>
                    <a:pt x="475" y="452"/>
                  </a:cubicBezTo>
                  <a:cubicBezTo>
                    <a:pt x="474" y="451"/>
                    <a:pt x="472" y="449"/>
                    <a:pt x="472" y="448"/>
                  </a:cubicBezTo>
                  <a:cubicBezTo>
                    <a:pt x="471" y="446"/>
                    <a:pt x="471" y="446"/>
                    <a:pt x="471" y="445"/>
                  </a:cubicBezTo>
                  <a:cubicBezTo>
                    <a:pt x="471" y="444"/>
                    <a:pt x="471" y="443"/>
                    <a:pt x="472" y="442"/>
                  </a:cubicBezTo>
                  <a:cubicBezTo>
                    <a:pt x="472" y="439"/>
                    <a:pt x="472" y="439"/>
                    <a:pt x="475" y="437"/>
                  </a:cubicBezTo>
                  <a:cubicBezTo>
                    <a:pt x="477" y="435"/>
                    <a:pt x="478" y="432"/>
                    <a:pt x="480" y="429"/>
                  </a:cubicBezTo>
                  <a:cubicBezTo>
                    <a:pt x="481" y="427"/>
                    <a:pt x="483" y="426"/>
                    <a:pt x="484" y="424"/>
                  </a:cubicBezTo>
                  <a:cubicBezTo>
                    <a:pt x="486" y="421"/>
                    <a:pt x="487" y="420"/>
                    <a:pt x="487" y="417"/>
                  </a:cubicBezTo>
                  <a:cubicBezTo>
                    <a:pt x="487" y="414"/>
                    <a:pt x="486" y="412"/>
                    <a:pt x="489" y="409"/>
                  </a:cubicBezTo>
                  <a:cubicBezTo>
                    <a:pt x="493" y="407"/>
                    <a:pt x="497" y="404"/>
                    <a:pt x="502" y="403"/>
                  </a:cubicBezTo>
                  <a:cubicBezTo>
                    <a:pt x="506" y="402"/>
                    <a:pt x="511" y="404"/>
                    <a:pt x="515" y="403"/>
                  </a:cubicBezTo>
                  <a:cubicBezTo>
                    <a:pt x="516" y="400"/>
                    <a:pt x="513" y="397"/>
                    <a:pt x="513" y="394"/>
                  </a:cubicBezTo>
                  <a:cubicBezTo>
                    <a:pt x="513" y="389"/>
                    <a:pt x="518" y="390"/>
                    <a:pt x="521" y="387"/>
                  </a:cubicBezTo>
                  <a:cubicBezTo>
                    <a:pt x="525" y="385"/>
                    <a:pt x="524" y="381"/>
                    <a:pt x="522" y="378"/>
                  </a:cubicBezTo>
                  <a:cubicBezTo>
                    <a:pt x="519" y="373"/>
                    <a:pt x="511" y="373"/>
                    <a:pt x="507" y="369"/>
                  </a:cubicBezTo>
                  <a:cubicBezTo>
                    <a:pt x="506" y="368"/>
                    <a:pt x="506" y="367"/>
                    <a:pt x="505" y="366"/>
                  </a:cubicBezTo>
                  <a:cubicBezTo>
                    <a:pt x="503" y="364"/>
                    <a:pt x="500" y="363"/>
                    <a:pt x="499" y="360"/>
                  </a:cubicBezTo>
                  <a:cubicBezTo>
                    <a:pt x="496" y="356"/>
                    <a:pt x="496" y="351"/>
                    <a:pt x="496" y="346"/>
                  </a:cubicBezTo>
                  <a:cubicBezTo>
                    <a:pt x="497" y="344"/>
                    <a:pt x="496" y="342"/>
                    <a:pt x="496" y="341"/>
                  </a:cubicBezTo>
                  <a:cubicBezTo>
                    <a:pt x="494" y="337"/>
                    <a:pt x="494" y="333"/>
                    <a:pt x="493" y="328"/>
                  </a:cubicBezTo>
                  <a:cubicBezTo>
                    <a:pt x="493" y="326"/>
                    <a:pt x="494" y="323"/>
                    <a:pt x="494" y="321"/>
                  </a:cubicBezTo>
                  <a:cubicBezTo>
                    <a:pt x="495" y="318"/>
                    <a:pt x="498" y="311"/>
                    <a:pt x="500" y="309"/>
                  </a:cubicBezTo>
                  <a:cubicBezTo>
                    <a:pt x="500" y="311"/>
                    <a:pt x="501" y="312"/>
                    <a:pt x="500" y="313"/>
                  </a:cubicBezTo>
                  <a:cubicBezTo>
                    <a:pt x="504" y="310"/>
                    <a:pt x="507" y="306"/>
                    <a:pt x="509" y="301"/>
                  </a:cubicBezTo>
                  <a:cubicBezTo>
                    <a:pt x="510" y="298"/>
                    <a:pt x="512" y="293"/>
                    <a:pt x="514" y="290"/>
                  </a:cubicBezTo>
                  <a:cubicBezTo>
                    <a:pt x="518" y="285"/>
                    <a:pt x="524" y="279"/>
                    <a:pt x="529" y="275"/>
                  </a:cubicBezTo>
                  <a:cubicBezTo>
                    <a:pt x="533" y="272"/>
                    <a:pt x="535" y="269"/>
                    <a:pt x="538" y="265"/>
                  </a:cubicBezTo>
                  <a:cubicBezTo>
                    <a:pt x="541" y="262"/>
                    <a:pt x="545" y="259"/>
                    <a:pt x="547" y="255"/>
                  </a:cubicBezTo>
                  <a:cubicBezTo>
                    <a:pt x="551" y="251"/>
                    <a:pt x="555" y="246"/>
                    <a:pt x="557" y="241"/>
                  </a:cubicBezTo>
                  <a:cubicBezTo>
                    <a:pt x="557" y="240"/>
                    <a:pt x="558" y="240"/>
                    <a:pt x="558" y="238"/>
                  </a:cubicBezTo>
                  <a:cubicBezTo>
                    <a:pt x="558" y="236"/>
                    <a:pt x="556" y="237"/>
                    <a:pt x="555" y="235"/>
                  </a:cubicBezTo>
                  <a:cubicBezTo>
                    <a:pt x="555" y="232"/>
                    <a:pt x="561" y="230"/>
                    <a:pt x="563" y="228"/>
                  </a:cubicBezTo>
                  <a:cubicBezTo>
                    <a:pt x="568" y="226"/>
                    <a:pt x="573" y="223"/>
                    <a:pt x="578" y="221"/>
                  </a:cubicBezTo>
                  <a:cubicBezTo>
                    <a:pt x="583" y="218"/>
                    <a:pt x="588" y="215"/>
                    <a:pt x="593" y="213"/>
                  </a:cubicBezTo>
                  <a:cubicBezTo>
                    <a:pt x="598" y="211"/>
                    <a:pt x="602" y="209"/>
                    <a:pt x="606" y="206"/>
                  </a:cubicBezTo>
                  <a:cubicBezTo>
                    <a:pt x="610" y="204"/>
                    <a:pt x="615" y="204"/>
                    <a:pt x="619" y="203"/>
                  </a:cubicBezTo>
                  <a:cubicBezTo>
                    <a:pt x="623" y="202"/>
                    <a:pt x="627" y="200"/>
                    <a:pt x="631" y="200"/>
                  </a:cubicBezTo>
                  <a:cubicBezTo>
                    <a:pt x="635" y="199"/>
                    <a:pt x="638" y="196"/>
                    <a:pt x="639" y="192"/>
                  </a:cubicBezTo>
                  <a:cubicBezTo>
                    <a:pt x="639" y="191"/>
                    <a:pt x="639" y="187"/>
                    <a:pt x="637" y="187"/>
                  </a:cubicBezTo>
                  <a:cubicBezTo>
                    <a:pt x="640" y="187"/>
                    <a:pt x="643" y="187"/>
                    <a:pt x="646" y="187"/>
                  </a:cubicBezTo>
                  <a:cubicBezTo>
                    <a:pt x="647" y="187"/>
                    <a:pt x="649" y="187"/>
                    <a:pt x="650" y="187"/>
                  </a:cubicBezTo>
                  <a:cubicBezTo>
                    <a:pt x="652" y="187"/>
                    <a:pt x="652" y="186"/>
                    <a:pt x="654" y="186"/>
                  </a:cubicBezTo>
                  <a:cubicBezTo>
                    <a:pt x="657" y="185"/>
                    <a:pt x="661" y="184"/>
                    <a:pt x="664" y="183"/>
                  </a:cubicBezTo>
                  <a:cubicBezTo>
                    <a:pt x="666" y="181"/>
                    <a:pt x="670" y="180"/>
                    <a:pt x="671" y="178"/>
                  </a:cubicBezTo>
                  <a:cubicBezTo>
                    <a:pt x="673" y="175"/>
                    <a:pt x="670" y="172"/>
                    <a:pt x="674" y="171"/>
                  </a:cubicBezTo>
                  <a:cubicBezTo>
                    <a:pt x="677" y="170"/>
                    <a:pt x="681" y="172"/>
                    <a:pt x="684" y="172"/>
                  </a:cubicBezTo>
                  <a:cubicBezTo>
                    <a:pt x="688" y="172"/>
                    <a:pt x="692" y="170"/>
                    <a:pt x="696" y="169"/>
                  </a:cubicBezTo>
                  <a:cubicBezTo>
                    <a:pt x="698" y="169"/>
                    <a:pt x="701" y="169"/>
                    <a:pt x="703" y="169"/>
                  </a:cubicBezTo>
                  <a:cubicBezTo>
                    <a:pt x="704" y="166"/>
                    <a:pt x="703" y="164"/>
                    <a:pt x="703" y="161"/>
                  </a:cubicBezTo>
                  <a:cubicBezTo>
                    <a:pt x="703" y="156"/>
                    <a:pt x="710" y="154"/>
                    <a:pt x="715" y="152"/>
                  </a:cubicBezTo>
                  <a:cubicBezTo>
                    <a:pt x="720" y="149"/>
                    <a:pt x="728" y="146"/>
                    <a:pt x="731" y="142"/>
                  </a:cubicBezTo>
                  <a:cubicBezTo>
                    <a:pt x="732" y="139"/>
                    <a:pt x="731" y="136"/>
                    <a:pt x="731" y="134"/>
                  </a:cubicBezTo>
                  <a:cubicBezTo>
                    <a:pt x="730" y="132"/>
                    <a:pt x="730" y="129"/>
                    <a:pt x="729" y="126"/>
                  </a:cubicBezTo>
                  <a:cubicBezTo>
                    <a:pt x="729" y="125"/>
                    <a:pt x="728" y="123"/>
                    <a:pt x="728" y="122"/>
                  </a:cubicBezTo>
                  <a:cubicBezTo>
                    <a:pt x="727" y="120"/>
                    <a:pt x="726" y="120"/>
                    <a:pt x="725" y="119"/>
                  </a:cubicBezTo>
                  <a:cubicBezTo>
                    <a:pt x="722" y="116"/>
                    <a:pt x="727" y="100"/>
                    <a:pt x="731" y="10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3" name="Freeform 94">
              <a:extLst>
                <a:ext uri="{FF2B5EF4-FFF2-40B4-BE49-F238E27FC236}">
                  <a16:creationId xmlns:a16="http://schemas.microsoft.com/office/drawing/2014/main" id="{76848540-E8E2-4946-B38A-6247996DA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050" y="6048375"/>
              <a:ext cx="119063" cy="93663"/>
            </a:xfrm>
            <a:custGeom>
              <a:avLst/>
              <a:gdLst/>
              <a:ahLst/>
              <a:cxnLst>
                <a:cxn ang="0">
                  <a:pos x="45" y="13"/>
                </a:cxn>
                <a:cxn ang="0">
                  <a:pos x="41" y="6"/>
                </a:cxn>
                <a:cxn ang="0">
                  <a:pos x="40" y="5"/>
                </a:cxn>
                <a:cxn ang="0">
                  <a:pos x="43" y="2"/>
                </a:cxn>
                <a:cxn ang="0">
                  <a:pos x="43" y="1"/>
                </a:cxn>
                <a:cxn ang="0">
                  <a:pos x="32" y="5"/>
                </a:cxn>
                <a:cxn ang="0">
                  <a:pos x="27" y="8"/>
                </a:cxn>
                <a:cxn ang="0">
                  <a:pos x="22" y="10"/>
                </a:cxn>
                <a:cxn ang="0">
                  <a:pos x="17" y="14"/>
                </a:cxn>
                <a:cxn ang="0">
                  <a:pos x="8" y="19"/>
                </a:cxn>
                <a:cxn ang="0">
                  <a:pos x="4" y="22"/>
                </a:cxn>
                <a:cxn ang="0">
                  <a:pos x="1" y="25"/>
                </a:cxn>
                <a:cxn ang="0">
                  <a:pos x="0" y="27"/>
                </a:cxn>
                <a:cxn ang="0">
                  <a:pos x="1" y="30"/>
                </a:cxn>
                <a:cxn ang="0">
                  <a:pos x="5" y="32"/>
                </a:cxn>
                <a:cxn ang="0">
                  <a:pos x="9" y="33"/>
                </a:cxn>
                <a:cxn ang="0">
                  <a:pos x="12" y="29"/>
                </a:cxn>
                <a:cxn ang="0">
                  <a:pos x="13" y="27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20" y="34"/>
                </a:cxn>
                <a:cxn ang="0">
                  <a:pos x="21" y="35"/>
                </a:cxn>
                <a:cxn ang="0">
                  <a:pos x="21" y="38"/>
                </a:cxn>
                <a:cxn ang="0">
                  <a:pos x="23" y="40"/>
                </a:cxn>
                <a:cxn ang="0">
                  <a:pos x="24" y="41"/>
                </a:cxn>
                <a:cxn ang="0">
                  <a:pos x="24" y="41"/>
                </a:cxn>
                <a:cxn ang="0">
                  <a:pos x="27" y="44"/>
                </a:cxn>
                <a:cxn ang="0">
                  <a:pos x="31" y="43"/>
                </a:cxn>
                <a:cxn ang="0">
                  <a:pos x="34" y="44"/>
                </a:cxn>
                <a:cxn ang="0">
                  <a:pos x="35" y="45"/>
                </a:cxn>
                <a:cxn ang="0">
                  <a:pos x="37" y="47"/>
                </a:cxn>
                <a:cxn ang="0">
                  <a:pos x="38" y="49"/>
                </a:cxn>
                <a:cxn ang="0">
                  <a:pos x="39" y="50"/>
                </a:cxn>
                <a:cxn ang="0">
                  <a:pos x="40" y="50"/>
                </a:cxn>
                <a:cxn ang="0">
                  <a:pos x="41" y="47"/>
                </a:cxn>
                <a:cxn ang="0">
                  <a:pos x="45" y="44"/>
                </a:cxn>
                <a:cxn ang="0">
                  <a:pos x="48" y="44"/>
                </a:cxn>
                <a:cxn ang="0">
                  <a:pos x="51" y="42"/>
                </a:cxn>
                <a:cxn ang="0">
                  <a:pos x="51" y="37"/>
                </a:cxn>
                <a:cxn ang="0">
                  <a:pos x="52" y="34"/>
                </a:cxn>
                <a:cxn ang="0">
                  <a:pos x="54" y="30"/>
                </a:cxn>
                <a:cxn ang="0">
                  <a:pos x="58" y="28"/>
                </a:cxn>
                <a:cxn ang="0">
                  <a:pos x="60" y="24"/>
                </a:cxn>
                <a:cxn ang="0">
                  <a:pos x="62" y="18"/>
                </a:cxn>
                <a:cxn ang="0">
                  <a:pos x="53" y="14"/>
                </a:cxn>
                <a:cxn ang="0">
                  <a:pos x="52" y="15"/>
                </a:cxn>
                <a:cxn ang="0">
                  <a:pos x="50" y="16"/>
                </a:cxn>
                <a:cxn ang="0">
                  <a:pos x="49" y="17"/>
                </a:cxn>
                <a:cxn ang="0">
                  <a:pos x="47" y="15"/>
                </a:cxn>
                <a:cxn ang="0">
                  <a:pos x="46" y="13"/>
                </a:cxn>
                <a:cxn ang="0">
                  <a:pos x="45" y="13"/>
                </a:cxn>
              </a:cxnLst>
              <a:rect l="0" t="0" r="r" b="b"/>
              <a:pathLst>
                <a:path w="63" h="50">
                  <a:moveTo>
                    <a:pt x="45" y="13"/>
                  </a:moveTo>
                  <a:cubicBezTo>
                    <a:pt x="45" y="11"/>
                    <a:pt x="45" y="6"/>
                    <a:pt x="41" y="6"/>
                  </a:cubicBezTo>
                  <a:cubicBezTo>
                    <a:pt x="41" y="6"/>
                    <a:pt x="40" y="6"/>
                    <a:pt x="40" y="5"/>
                  </a:cubicBezTo>
                  <a:cubicBezTo>
                    <a:pt x="41" y="3"/>
                    <a:pt x="42" y="3"/>
                    <a:pt x="43" y="2"/>
                  </a:cubicBezTo>
                  <a:cubicBezTo>
                    <a:pt x="43" y="2"/>
                    <a:pt x="44" y="2"/>
                    <a:pt x="43" y="1"/>
                  </a:cubicBezTo>
                  <a:cubicBezTo>
                    <a:pt x="39" y="0"/>
                    <a:pt x="36" y="2"/>
                    <a:pt x="32" y="5"/>
                  </a:cubicBezTo>
                  <a:cubicBezTo>
                    <a:pt x="31" y="6"/>
                    <a:pt x="29" y="7"/>
                    <a:pt x="27" y="8"/>
                  </a:cubicBezTo>
                  <a:cubicBezTo>
                    <a:pt x="25" y="9"/>
                    <a:pt x="23" y="9"/>
                    <a:pt x="22" y="10"/>
                  </a:cubicBezTo>
                  <a:cubicBezTo>
                    <a:pt x="20" y="11"/>
                    <a:pt x="19" y="13"/>
                    <a:pt x="17" y="14"/>
                  </a:cubicBezTo>
                  <a:cubicBezTo>
                    <a:pt x="14" y="15"/>
                    <a:pt x="11" y="17"/>
                    <a:pt x="8" y="19"/>
                  </a:cubicBezTo>
                  <a:cubicBezTo>
                    <a:pt x="6" y="20"/>
                    <a:pt x="5" y="20"/>
                    <a:pt x="4" y="22"/>
                  </a:cubicBezTo>
                  <a:cubicBezTo>
                    <a:pt x="3" y="23"/>
                    <a:pt x="2" y="23"/>
                    <a:pt x="1" y="25"/>
                  </a:cubicBezTo>
                  <a:cubicBezTo>
                    <a:pt x="1" y="26"/>
                    <a:pt x="0" y="26"/>
                    <a:pt x="0" y="27"/>
                  </a:cubicBezTo>
                  <a:cubicBezTo>
                    <a:pt x="0" y="28"/>
                    <a:pt x="1" y="29"/>
                    <a:pt x="1" y="30"/>
                  </a:cubicBezTo>
                  <a:cubicBezTo>
                    <a:pt x="2" y="31"/>
                    <a:pt x="3" y="31"/>
                    <a:pt x="5" y="32"/>
                  </a:cubicBezTo>
                  <a:cubicBezTo>
                    <a:pt x="6" y="32"/>
                    <a:pt x="7" y="34"/>
                    <a:pt x="9" y="33"/>
                  </a:cubicBezTo>
                  <a:cubicBezTo>
                    <a:pt x="10" y="32"/>
                    <a:pt x="11" y="31"/>
                    <a:pt x="12" y="29"/>
                  </a:cubicBezTo>
                  <a:cubicBezTo>
                    <a:pt x="12" y="29"/>
                    <a:pt x="13" y="28"/>
                    <a:pt x="13" y="27"/>
                  </a:cubicBezTo>
                  <a:cubicBezTo>
                    <a:pt x="16" y="26"/>
                    <a:pt x="16" y="28"/>
                    <a:pt x="17" y="30"/>
                  </a:cubicBezTo>
                  <a:cubicBezTo>
                    <a:pt x="18" y="30"/>
                    <a:pt x="18" y="31"/>
                    <a:pt x="19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1" y="34"/>
                    <a:pt x="21" y="35"/>
                    <a:pt x="21" y="35"/>
                  </a:cubicBezTo>
                  <a:cubicBezTo>
                    <a:pt x="21" y="36"/>
                    <a:pt x="21" y="37"/>
                    <a:pt x="21" y="38"/>
                  </a:cubicBezTo>
                  <a:cubicBezTo>
                    <a:pt x="21" y="39"/>
                    <a:pt x="22" y="39"/>
                    <a:pt x="23" y="40"/>
                  </a:cubicBezTo>
                  <a:cubicBezTo>
                    <a:pt x="23" y="40"/>
                    <a:pt x="24" y="40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2"/>
                    <a:pt x="26" y="43"/>
                    <a:pt x="27" y="44"/>
                  </a:cubicBezTo>
                  <a:cubicBezTo>
                    <a:pt x="28" y="44"/>
                    <a:pt x="29" y="43"/>
                    <a:pt x="31" y="43"/>
                  </a:cubicBezTo>
                  <a:cubicBezTo>
                    <a:pt x="32" y="43"/>
                    <a:pt x="33" y="43"/>
                    <a:pt x="34" y="44"/>
                  </a:cubicBezTo>
                  <a:cubicBezTo>
                    <a:pt x="34" y="44"/>
                    <a:pt x="34" y="45"/>
                    <a:pt x="35" y="45"/>
                  </a:cubicBezTo>
                  <a:cubicBezTo>
                    <a:pt x="36" y="46"/>
                    <a:pt x="36" y="46"/>
                    <a:pt x="37" y="47"/>
                  </a:cubicBezTo>
                  <a:cubicBezTo>
                    <a:pt x="37" y="48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39" y="50"/>
                    <a:pt x="40" y="50"/>
                    <a:pt x="40" y="50"/>
                  </a:cubicBezTo>
                  <a:cubicBezTo>
                    <a:pt x="40" y="49"/>
                    <a:pt x="41" y="48"/>
                    <a:pt x="41" y="47"/>
                  </a:cubicBezTo>
                  <a:cubicBezTo>
                    <a:pt x="42" y="46"/>
                    <a:pt x="44" y="45"/>
                    <a:pt x="45" y="44"/>
                  </a:cubicBezTo>
                  <a:cubicBezTo>
                    <a:pt x="46" y="44"/>
                    <a:pt x="47" y="44"/>
                    <a:pt x="48" y="44"/>
                  </a:cubicBezTo>
                  <a:cubicBezTo>
                    <a:pt x="49" y="44"/>
                    <a:pt x="50" y="43"/>
                    <a:pt x="51" y="42"/>
                  </a:cubicBezTo>
                  <a:cubicBezTo>
                    <a:pt x="53" y="41"/>
                    <a:pt x="52" y="39"/>
                    <a:pt x="51" y="37"/>
                  </a:cubicBezTo>
                  <a:cubicBezTo>
                    <a:pt x="50" y="36"/>
                    <a:pt x="51" y="35"/>
                    <a:pt x="52" y="34"/>
                  </a:cubicBezTo>
                  <a:cubicBezTo>
                    <a:pt x="53" y="33"/>
                    <a:pt x="53" y="31"/>
                    <a:pt x="54" y="30"/>
                  </a:cubicBezTo>
                  <a:cubicBezTo>
                    <a:pt x="55" y="29"/>
                    <a:pt x="57" y="29"/>
                    <a:pt x="58" y="28"/>
                  </a:cubicBezTo>
                  <a:cubicBezTo>
                    <a:pt x="59" y="27"/>
                    <a:pt x="59" y="25"/>
                    <a:pt x="60" y="24"/>
                  </a:cubicBezTo>
                  <a:cubicBezTo>
                    <a:pt x="61" y="22"/>
                    <a:pt x="63" y="20"/>
                    <a:pt x="62" y="18"/>
                  </a:cubicBezTo>
                  <a:cubicBezTo>
                    <a:pt x="61" y="14"/>
                    <a:pt x="56" y="12"/>
                    <a:pt x="53" y="14"/>
                  </a:cubicBezTo>
                  <a:cubicBezTo>
                    <a:pt x="53" y="14"/>
                    <a:pt x="53" y="15"/>
                    <a:pt x="52" y="15"/>
                  </a:cubicBezTo>
                  <a:cubicBezTo>
                    <a:pt x="51" y="15"/>
                    <a:pt x="51" y="16"/>
                    <a:pt x="50" y="16"/>
                  </a:cubicBezTo>
                  <a:cubicBezTo>
                    <a:pt x="50" y="17"/>
                    <a:pt x="50" y="17"/>
                    <a:pt x="49" y="17"/>
                  </a:cubicBezTo>
                  <a:cubicBezTo>
                    <a:pt x="48" y="17"/>
                    <a:pt x="48" y="16"/>
                    <a:pt x="47" y="15"/>
                  </a:cubicBezTo>
                  <a:cubicBezTo>
                    <a:pt x="47" y="14"/>
                    <a:pt x="46" y="13"/>
                    <a:pt x="46" y="13"/>
                  </a:cubicBezTo>
                  <a:lnTo>
                    <a:pt x="45" y="1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4" name="Freeform 95">
              <a:extLst>
                <a:ext uri="{FF2B5EF4-FFF2-40B4-BE49-F238E27FC236}">
                  <a16:creationId xmlns:a16="http://schemas.microsoft.com/office/drawing/2014/main" id="{321351D8-1EB9-4A25-9166-3735D6FAD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1100" y="6029325"/>
              <a:ext cx="57150" cy="41275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1" y="13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9" y="12"/>
                </a:cxn>
                <a:cxn ang="0">
                  <a:pos x="12" y="14"/>
                </a:cxn>
                <a:cxn ang="0">
                  <a:pos x="24" y="20"/>
                </a:cxn>
                <a:cxn ang="0">
                  <a:pos x="27" y="21"/>
                </a:cxn>
                <a:cxn ang="0">
                  <a:pos x="28" y="21"/>
                </a:cxn>
                <a:cxn ang="0">
                  <a:pos x="29" y="16"/>
                </a:cxn>
                <a:cxn ang="0">
                  <a:pos x="27" y="12"/>
                </a:cxn>
                <a:cxn ang="0">
                  <a:pos x="25" y="9"/>
                </a:cxn>
                <a:cxn ang="0">
                  <a:pos x="24" y="5"/>
                </a:cxn>
                <a:cxn ang="0">
                  <a:pos x="21" y="3"/>
                </a:cxn>
                <a:cxn ang="0">
                  <a:pos x="16" y="0"/>
                </a:cxn>
                <a:cxn ang="0">
                  <a:pos x="4" y="3"/>
                </a:cxn>
              </a:cxnLst>
              <a:rect l="0" t="0" r="r" b="b"/>
              <a:pathLst>
                <a:path w="30" h="22">
                  <a:moveTo>
                    <a:pt x="4" y="3"/>
                  </a:moveTo>
                  <a:cubicBezTo>
                    <a:pt x="3" y="3"/>
                    <a:pt x="0" y="3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7"/>
                    <a:pt x="1" y="9"/>
                    <a:pt x="1" y="11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2" y="14"/>
                    <a:pt x="3" y="13"/>
                    <a:pt x="4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3"/>
                    <a:pt x="11" y="13"/>
                    <a:pt x="12" y="14"/>
                  </a:cubicBezTo>
                  <a:cubicBezTo>
                    <a:pt x="15" y="18"/>
                    <a:pt x="20" y="18"/>
                    <a:pt x="24" y="20"/>
                  </a:cubicBezTo>
                  <a:cubicBezTo>
                    <a:pt x="25" y="20"/>
                    <a:pt x="26" y="21"/>
                    <a:pt x="27" y="21"/>
                  </a:cubicBezTo>
                  <a:cubicBezTo>
                    <a:pt x="27" y="21"/>
                    <a:pt x="28" y="22"/>
                    <a:pt x="28" y="21"/>
                  </a:cubicBezTo>
                  <a:cubicBezTo>
                    <a:pt x="30" y="21"/>
                    <a:pt x="30" y="17"/>
                    <a:pt x="29" y="16"/>
                  </a:cubicBezTo>
                  <a:cubicBezTo>
                    <a:pt x="29" y="14"/>
                    <a:pt x="28" y="13"/>
                    <a:pt x="27" y="12"/>
                  </a:cubicBezTo>
                  <a:cubicBezTo>
                    <a:pt x="26" y="11"/>
                    <a:pt x="26" y="10"/>
                    <a:pt x="25" y="9"/>
                  </a:cubicBezTo>
                  <a:cubicBezTo>
                    <a:pt x="25" y="8"/>
                    <a:pt x="24" y="7"/>
                    <a:pt x="24" y="5"/>
                  </a:cubicBezTo>
                  <a:cubicBezTo>
                    <a:pt x="23" y="4"/>
                    <a:pt x="22" y="4"/>
                    <a:pt x="21" y="3"/>
                  </a:cubicBezTo>
                  <a:cubicBezTo>
                    <a:pt x="19" y="1"/>
                    <a:pt x="18" y="0"/>
                    <a:pt x="16" y="0"/>
                  </a:cubicBezTo>
                  <a:lnTo>
                    <a:pt x="4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5" name="Freeform 96">
              <a:extLst>
                <a:ext uri="{FF2B5EF4-FFF2-40B4-BE49-F238E27FC236}">
                  <a16:creationId xmlns:a16="http://schemas.microsoft.com/office/drawing/2014/main" id="{0727D7BF-2E5E-4D17-9DF6-C823D42BF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988" y="6162675"/>
              <a:ext cx="47625" cy="38100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4" y="1"/>
                </a:cxn>
                <a:cxn ang="0">
                  <a:pos x="18" y="1"/>
                </a:cxn>
                <a:cxn ang="0">
                  <a:pos x="16" y="2"/>
                </a:cxn>
                <a:cxn ang="0">
                  <a:pos x="13" y="4"/>
                </a:cxn>
                <a:cxn ang="0">
                  <a:pos x="8" y="7"/>
                </a:cxn>
                <a:cxn ang="0">
                  <a:pos x="4" y="10"/>
                </a:cxn>
                <a:cxn ang="0">
                  <a:pos x="1" y="17"/>
                </a:cxn>
                <a:cxn ang="0">
                  <a:pos x="12" y="18"/>
                </a:cxn>
                <a:cxn ang="0">
                  <a:pos x="21" y="13"/>
                </a:cxn>
                <a:cxn ang="0">
                  <a:pos x="24" y="8"/>
                </a:cxn>
                <a:cxn ang="0">
                  <a:pos x="23" y="5"/>
                </a:cxn>
                <a:cxn ang="0">
                  <a:pos x="22" y="2"/>
                </a:cxn>
                <a:cxn ang="0">
                  <a:pos x="25" y="2"/>
                </a:cxn>
              </a:cxnLst>
              <a:rect l="0" t="0" r="r" b="b"/>
              <a:pathLst>
                <a:path w="25" h="20">
                  <a:moveTo>
                    <a:pt x="25" y="2"/>
                  </a:moveTo>
                  <a:cubicBezTo>
                    <a:pt x="25" y="1"/>
                    <a:pt x="25" y="1"/>
                    <a:pt x="24" y="1"/>
                  </a:cubicBezTo>
                  <a:cubicBezTo>
                    <a:pt x="22" y="0"/>
                    <a:pt x="20" y="1"/>
                    <a:pt x="18" y="1"/>
                  </a:cubicBezTo>
                  <a:cubicBezTo>
                    <a:pt x="17" y="1"/>
                    <a:pt x="17" y="1"/>
                    <a:pt x="16" y="2"/>
                  </a:cubicBezTo>
                  <a:cubicBezTo>
                    <a:pt x="15" y="3"/>
                    <a:pt x="14" y="4"/>
                    <a:pt x="13" y="4"/>
                  </a:cubicBezTo>
                  <a:cubicBezTo>
                    <a:pt x="12" y="5"/>
                    <a:pt x="10" y="6"/>
                    <a:pt x="8" y="7"/>
                  </a:cubicBezTo>
                  <a:cubicBezTo>
                    <a:pt x="7" y="8"/>
                    <a:pt x="5" y="9"/>
                    <a:pt x="4" y="10"/>
                  </a:cubicBezTo>
                  <a:cubicBezTo>
                    <a:pt x="2" y="11"/>
                    <a:pt x="0" y="15"/>
                    <a:pt x="1" y="17"/>
                  </a:cubicBezTo>
                  <a:cubicBezTo>
                    <a:pt x="4" y="20"/>
                    <a:pt x="9" y="19"/>
                    <a:pt x="12" y="18"/>
                  </a:cubicBezTo>
                  <a:cubicBezTo>
                    <a:pt x="15" y="16"/>
                    <a:pt x="18" y="16"/>
                    <a:pt x="21" y="13"/>
                  </a:cubicBezTo>
                  <a:cubicBezTo>
                    <a:pt x="22" y="11"/>
                    <a:pt x="24" y="10"/>
                    <a:pt x="24" y="8"/>
                  </a:cubicBezTo>
                  <a:cubicBezTo>
                    <a:pt x="24" y="7"/>
                    <a:pt x="23" y="6"/>
                    <a:pt x="23" y="5"/>
                  </a:cubicBezTo>
                  <a:cubicBezTo>
                    <a:pt x="23" y="4"/>
                    <a:pt x="23" y="3"/>
                    <a:pt x="22" y="2"/>
                  </a:cubicBezTo>
                  <a:lnTo>
                    <a:pt x="25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6" name="Freeform 97">
              <a:extLst>
                <a:ext uri="{FF2B5EF4-FFF2-40B4-BE49-F238E27FC236}">
                  <a16:creationId xmlns:a16="http://schemas.microsoft.com/office/drawing/2014/main" id="{1272EB03-424F-46A6-82CD-51AB3F254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3973513"/>
              <a:ext cx="403225" cy="454025"/>
            </a:xfrm>
            <a:custGeom>
              <a:avLst/>
              <a:gdLst/>
              <a:ahLst/>
              <a:cxnLst>
                <a:cxn ang="0">
                  <a:pos x="180" y="6"/>
                </a:cxn>
                <a:cxn ang="0">
                  <a:pos x="144" y="10"/>
                </a:cxn>
                <a:cxn ang="0">
                  <a:pos x="119" y="23"/>
                </a:cxn>
                <a:cxn ang="0">
                  <a:pos x="116" y="34"/>
                </a:cxn>
                <a:cxn ang="0">
                  <a:pos x="109" y="42"/>
                </a:cxn>
                <a:cxn ang="0">
                  <a:pos x="121" y="55"/>
                </a:cxn>
                <a:cxn ang="0">
                  <a:pos x="126" y="74"/>
                </a:cxn>
                <a:cxn ang="0">
                  <a:pos x="117" y="83"/>
                </a:cxn>
                <a:cxn ang="0">
                  <a:pos x="109" y="93"/>
                </a:cxn>
                <a:cxn ang="0">
                  <a:pos x="114" y="112"/>
                </a:cxn>
                <a:cxn ang="0">
                  <a:pos x="98" y="105"/>
                </a:cxn>
                <a:cxn ang="0">
                  <a:pos x="96" y="89"/>
                </a:cxn>
                <a:cxn ang="0">
                  <a:pos x="97" y="78"/>
                </a:cxn>
                <a:cxn ang="0">
                  <a:pos x="113" y="75"/>
                </a:cxn>
                <a:cxn ang="0">
                  <a:pos x="102" y="58"/>
                </a:cxn>
                <a:cxn ang="0">
                  <a:pos x="100" y="46"/>
                </a:cxn>
                <a:cxn ang="0">
                  <a:pos x="82" y="47"/>
                </a:cxn>
                <a:cxn ang="0">
                  <a:pos x="69" y="71"/>
                </a:cxn>
                <a:cxn ang="0">
                  <a:pos x="70" y="90"/>
                </a:cxn>
                <a:cxn ang="0">
                  <a:pos x="65" y="96"/>
                </a:cxn>
                <a:cxn ang="0">
                  <a:pos x="54" y="122"/>
                </a:cxn>
                <a:cxn ang="0">
                  <a:pos x="39" y="133"/>
                </a:cxn>
                <a:cxn ang="0">
                  <a:pos x="34" y="147"/>
                </a:cxn>
                <a:cxn ang="0">
                  <a:pos x="22" y="158"/>
                </a:cxn>
                <a:cxn ang="0">
                  <a:pos x="29" y="164"/>
                </a:cxn>
                <a:cxn ang="0">
                  <a:pos x="40" y="176"/>
                </a:cxn>
                <a:cxn ang="0">
                  <a:pos x="25" y="167"/>
                </a:cxn>
                <a:cxn ang="0">
                  <a:pos x="6" y="179"/>
                </a:cxn>
                <a:cxn ang="0">
                  <a:pos x="35" y="182"/>
                </a:cxn>
                <a:cxn ang="0">
                  <a:pos x="44" y="190"/>
                </a:cxn>
                <a:cxn ang="0">
                  <a:pos x="11" y="186"/>
                </a:cxn>
                <a:cxn ang="0">
                  <a:pos x="6" y="197"/>
                </a:cxn>
                <a:cxn ang="0">
                  <a:pos x="38" y="203"/>
                </a:cxn>
                <a:cxn ang="0">
                  <a:pos x="49" y="193"/>
                </a:cxn>
                <a:cxn ang="0">
                  <a:pos x="61" y="183"/>
                </a:cxn>
                <a:cxn ang="0">
                  <a:pos x="92" y="184"/>
                </a:cxn>
                <a:cxn ang="0">
                  <a:pos x="97" y="192"/>
                </a:cxn>
                <a:cxn ang="0">
                  <a:pos x="113" y="199"/>
                </a:cxn>
                <a:cxn ang="0">
                  <a:pos x="132" y="204"/>
                </a:cxn>
                <a:cxn ang="0">
                  <a:pos x="132" y="216"/>
                </a:cxn>
                <a:cxn ang="0">
                  <a:pos x="126" y="239"/>
                </a:cxn>
                <a:cxn ang="0">
                  <a:pos x="149" y="239"/>
                </a:cxn>
                <a:cxn ang="0">
                  <a:pos x="151" y="226"/>
                </a:cxn>
                <a:cxn ang="0">
                  <a:pos x="146" y="219"/>
                </a:cxn>
                <a:cxn ang="0">
                  <a:pos x="152" y="205"/>
                </a:cxn>
                <a:cxn ang="0">
                  <a:pos x="158" y="188"/>
                </a:cxn>
                <a:cxn ang="0">
                  <a:pos x="155" y="168"/>
                </a:cxn>
                <a:cxn ang="0">
                  <a:pos x="148" y="146"/>
                </a:cxn>
                <a:cxn ang="0">
                  <a:pos x="171" y="145"/>
                </a:cxn>
                <a:cxn ang="0">
                  <a:pos x="188" y="133"/>
                </a:cxn>
                <a:cxn ang="0">
                  <a:pos x="197" y="117"/>
                </a:cxn>
                <a:cxn ang="0">
                  <a:pos x="204" y="97"/>
                </a:cxn>
                <a:cxn ang="0">
                  <a:pos x="182" y="80"/>
                </a:cxn>
                <a:cxn ang="0">
                  <a:pos x="195" y="72"/>
                </a:cxn>
                <a:cxn ang="0">
                  <a:pos x="209" y="57"/>
                </a:cxn>
                <a:cxn ang="0">
                  <a:pos x="215" y="31"/>
                </a:cxn>
                <a:cxn ang="0">
                  <a:pos x="207" y="10"/>
                </a:cxn>
              </a:cxnLst>
              <a:rect l="0" t="0" r="r" b="b"/>
              <a:pathLst>
                <a:path w="216" h="243">
                  <a:moveTo>
                    <a:pt x="206" y="9"/>
                  </a:moveTo>
                  <a:cubicBezTo>
                    <a:pt x="204" y="9"/>
                    <a:pt x="202" y="9"/>
                    <a:pt x="201" y="9"/>
                  </a:cubicBezTo>
                  <a:cubicBezTo>
                    <a:pt x="199" y="9"/>
                    <a:pt x="199" y="9"/>
                    <a:pt x="198" y="8"/>
                  </a:cubicBezTo>
                  <a:cubicBezTo>
                    <a:pt x="198" y="5"/>
                    <a:pt x="200" y="2"/>
                    <a:pt x="197" y="1"/>
                  </a:cubicBezTo>
                  <a:cubicBezTo>
                    <a:pt x="194" y="0"/>
                    <a:pt x="192" y="2"/>
                    <a:pt x="190" y="2"/>
                  </a:cubicBezTo>
                  <a:cubicBezTo>
                    <a:pt x="187" y="4"/>
                    <a:pt x="183" y="4"/>
                    <a:pt x="180" y="6"/>
                  </a:cubicBezTo>
                  <a:cubicBezTo>
                    <a:pt x="180" y="6"/>
                    <a:pt x="179" y="6"/>
                    <a:pt x="179" y="6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7" y="9"/>
                    <a:pt x="173" y="8"/>
                    <a:pt x="170" y="8"/>
                  </a:cubicBezTo>
                  <a:cubicBezTo>
                    <a:pt x="166" y="8"/>
                    <a:pt x="162" y="5"/>
                    <a:pt x="158" y="5"/>
                  </a:cubicBezTo>
                  <a:cubicBezTo>
                    <a:pt x="154" y="5"/>
                    <a:pt x="153" y="6"/>
                    <a:pt x="150" y="8"/>
                  </a:cubicBezTo>
                  <a:cubicBezTo>
                    <a:pt x="148" y="8"/>
                    <a:pt x="146" y="9"/>
                    <a:pt x="144" y="10"/>
                  </a:cubicBezTo>
                  <a:cubicBezTo>
                    <a:pt x="140" y="10"/>
                    <a:pt x="137" y="10"/>
                    <a:pt x="135" y="12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3" y="14"/>
                    <a:pt x="132" y="14"/>
                    <a:pt x="131" y="15"/>
                  </a:cubicBezTo>
                  <a:cubicBezTo>
                    <a:pt x="129" y="16"/>
                    <a:pt x="127" y="16"/>
                    <a:pt x="125" y="18"/>
                  </a:cubicBezTo>
                  <a:cubicBezTo>
                    <a:pt x="124" y="18"/>
                    <a:pt x="123" y="20"/>
                    <a:pt x="122" y="21"/>
                  </a:cubicBezTo>
                  <a:cubicBezTo>
                    <a:pt x="121" y="21"/>
                    <a:pt x="119" y="22"/>
                    <a:pt x="119" y="23"/>
                  </a:cubicBezTo>
                  <a:cubicBezTo>
                    <a:pt x="119" y="24"/>
                    <a:pt x="119" y="25"/>
                    <a:pt x="119" y="25"/>
                  </a:cubicBezTo>
                  <a:cubicBezTo>
                    <a:pt x="119" y="26"/>
                    <a:pt x="118" y="27"/>
                    <a:pt x="118" y="27"/>
                  </a:cubicBezTo>
                  <a:cubicBezTo>
                    <a:pt x="118" y="27"/>
                    <a:pt x="117" y="28"/>
                    <a:pt x="117" y="29"/>
                  </a:cubicBezTo>
                  <a:cubicBezTo>
                    <a:pt x="117" y="30"/>
                    <a:pt x="117" y="31"/>
                    <a:pt x="117" y="31"/>
                  </a:cubicBezTo>
                  <a:cubicBezTo>
                    <a:pt x="117" y="32"/>
                    <a:pt x="116" y="32"/>
                    <a:pt x="116" y="32"/>
                  </a:cubicBezTo>
                  <a:cubicBezTo>
                    <a:pt x="116" y="33"/>
                    <a:pt x="117" y="33"/>
                    <a:pt x="116" y="34"/>
                  </a:cubicBezTo>
                  <a:cubicBezTo>
                    <a:pt x="116" y="34"/>
                    <a:pt x="114" y="35"/>
                    <a:pt x="113" y="35"/>
                  </a:cubicBezTo>
                  <a:cubicBezTo>
                    <a:pt x="111" y="36"/>
                    <a:pt x="109" y="36"/>
                    <a:pt x="109" y="33"/>
                  </a:cubicBezTo>
                  <a:cubicBezTo>
                    <a:pt x="108" y="32"/>
                    <a:pt x="108" y="31"/>
                    <a:pt x="107" y="30"/>
                  </a:cubicBezTo>
                  <a:cubicBezTo>
                    <a:pt x="105" y="29"/>
                    <a:pt x="103" y="36"/>
                    <a:pt x="103" y="38"/>
                  </a:cubicBezTo>
                  <a:cubicBezTo>
                    <a:pt x="104" y="39"/>
                    <a:pt x="104" y="40"/>
                    <a:pt x="104" y="41"/>
                  </a:cubicBezTo>
                  <a:cubicBezTo>
                    <a:pt x="105" y="43"/>
                    <a:pt x="107" y="43"/>
                    <a:pt x="109" y="42"/>
                  </a:cubicBezTo>
                  <a:cubicBezTo>
                    <a:pt x="110" y="41"/>
                    <a:pt x="110" y="39"/>
                    <a:pt x="112" y="41"/>
                  </a:cubicBezTo>
                  <a:cubicBezTo>
                    <a:pt x="112" y="41"/>
                    <a:pt x="113" y="42"/>
                    <a:pt x="113" y="42"/>
                  </a:cubicBezTo>
                  <a:cubicBezTo>
                    <a:pt x="113" y="43"/>
                    <a:pt x="114" y="43"/>
                    <a:pt x="114" y="43"/>
                  </a:cubicBezTo>
                  <a:cubicBezTo>
                    <a:pt x="116" y="46"/>
                    <a:pt x="115" y="51"/>
                    <a:pt x="115" y="54"/>
                  </a:cubicBezTo>
                  <a:cubicBezTo>
                    <a:pt x="115" y="56"/>
                    <a:pt x="115" y="56"/>
                    <a:pt x="118" y="56"/>
                  </a:cubicBezTo>
                  <a:cubicBezTo>
                    <a:pt x="119" y="56"/>
                    <a:pt x="120" y="55"/>
                    <a:pt x="121" y="55"/>
                  </a:cubicBezTo>
                  <a:cubicBezTo>
                    <a:pt x="123" y="56"/>
                    <a:pt x="124" y="57"/>
                    <a:pt x="125" y="57"/>
                  </a:cubicBezTo>
                  <a:cubicBezTo>
                    <a:pt x="126" y="60"/>
                    <a:pt x="130" y="56"/>
                    <a:pt x="131" y="57"/>
                  </a:cubicBezTo>
                  <a:cubicBezTo>
                    <a:pt x="132" y="58"/>
                    <a:pt x="132" y="59"/>
                    <a:pt x="131" y="60"/>
                  </a:cubicBezTo>
                  <a:cubicBezTo>
                    <a:pt x="129" y="62"/>
                    <a:pt x="126" y="61"/>
                    <a:pt x="125" y="63"/>
                  </a:cubicBezTo>
                  <a:cubicBezTo>
                    <a:pt x="124" y="65"/>
                    <a:pt x="125" y="68"/>
                    <a:pt x="125" y="70"/>
                  </a:cubicBezTo>
                  <a:cubicBezTo>
                    <a:pt x="125" y="72"/>
                    <a:pt x="125" y="72"/>
                    <a:pt x="126" y="74"/>
                  </a:cubicBezTo>
                  <a:cubicBezTo>
                    <a:pt x="126" y="74"/>
                    <a:pt x="127" y="75"/>
                    <a:pt x="127" y="75"/>
                  </a:cubicBezTo>
                  <a:cubicBezTo>
                    <a:pt x="127" y="76"/>
                    <a:pt x="127" y="77"/>
                    <a:pt x="127" y="78"/>
                  </a:cubicBezTo>
                  <a:cubicBezTo>
                    <a:pt x="129" y="78"/>
                    <a:pt x="130" y="77"/>
                    <a:pt x="129" y="80"/>
                  </a:cubicBezTo>
                  <a:cubicBezTo>
                    <a:pt x="129" y="81"/>
                    <a:pt x="129" y="81"/>
                    <a:pt x="127" y="81"/>
                  </a:cubicBezTo>
                  <a:cubicBezTo>
                    <a:pt x="124" y="82"/>
                    <a:pt x="122" y="81"/>
                    <a:pt x="119" y="82"/>
                  </a:cubicBezTo>
                  <a:cubicBezTo>
                    <a:pt x="118" y="82"/>
                    <a:pt x="118" y="83"/>
                    <a:pt x="117" y="83"/>
                  </a:cubicBezTo>
                  <a:cubicBezTo>
                    <a:pt x="116" y="83"/>
                    <a:pt x="116" y="83"/>
                    <a:pt x="115" y="83"/>
                  </a:cubicBezTo>
                  <a:cubicBezTo>
                    <a:pt x="113" y="83"/>
                    <a:pt x="113" y="83"/>
                    <a:pt x="112" y="84"/>
                  </a:cubicBezTo>
                  <a:cubicBezTo>
                    <a:pt x="110" y="85"/>
                    <a:pt x="110" y="85"/>
                    <a:pt x="110" y="87"/>
                  </a:cubicBezTo>
                  <a:cubicBezTo>
                    <a:pt x="110" y="87"/>
                    <a:pt x="109" y="88"/>
                    <a:pt x="109" y="88"/>
                  </a:cubicBezTo>
                  <a:cubicBezTo>
                    <a:pt x="109" y="89"/>
                    <a:pt x="109" y="90"/>
                    <a:pt x="109" y="91"/>
                  </a:cubicBezTo>
                  <a:cubicBezTo>
                    <a:pt x="109" y="92"/>
                    <a:pt x="109" y="92"/>
                    <a:pt x="109" y="93"/>
                  </a:cubicBezTo>
                  <a:cubicBezTo>
                    <a:pt x="110" y="94"/>
                    <a:pt x="110" y="94"/>
                    <a:pt x="110" y="95"/>
                  </a:cubicBezTo>
                  <a:cubicBezTo>
                    <a:pt x="110" y="96"/>
                    <a:pt x="109" y="97"/>
                    <a:pt x="108" y="98"/>
                  </a:cubicBezTo>
                  <a:cubicBezTo>
                    <a:pt x="107" y="101"/>
                    <a:pt x="109" y="101"/>
                    <a:pt x="110" y="104"/>
                  </a:cubicBezTo>
                  <a:cubicBezTo>
                    <a:pt x="110" y="105"/>
                    <a:pt x="110" y="106"/>
                    <a:pt x="111" y="107"/>
                  </a:cubicBezTo>
                  <a:cubicBezTo>
                    <a:pt x="111" y="108"/>
                    <a:pt x="112" y="109"/>
                    <a:pt x="113" y="109"/>
                  </a:cubicBezTo>
                  <a:cubicBezTo>
                    <a:pt x="114" y="110"/>
                    <a:pt x="115" y="111"/>
                    <a:pt x="114" y="112"/>
                  </a:cubicBezTo>
                  <a:cubicBezTo>
                    <a:pt x="114" y="112"/>
                    <a:pt x="114" y="112"/>
                    <a:pt x="113" y="112"/>
                  </a:cubicBezTo>
                  <a:cubicBezTo>
                    <a:pt x="113" y="112"/>
                    <a:pt x="112" y="111"/>
                    <a:pt x="112" y="111"/>
                  </a:cubicBezTo>
                  <a:cubicBezTo>
                    <a:pt x="111" y="110"/>
                    <a:pt x="110" y="109"/>
                    <a:pt x="109" y="108"/>
                  </a:cubicBezTo>
                  <a:cubicBezTo>
                    <a:pt x="108" y="107"/>
                    <a:pt x="108" y="107"/>
                    <a:pt x="107" y="106"/>
                  </a:cubicBezTo>
                  <a:cubicBezTo>
                    <a:pt x="105" y="105"/>
                    <a:pt x="104" y="106"/>
                    <a:pt x="103" y="106"/>
                  </a:cubicBezTo>
                  <a:cubicBezTo>
                    <a:pt x="101" y="106"/>
                    <a:pt x="99" y="105"/>
                    <a:pt x="98" y="105"/>
                  </a:cubicBezTo>
                  <a:cubicBezTo>
                    <a:pt x="96" y="104"/>
                    <a:pt x="95" y="104"/>
                    <a:pt x="94" y="104"/>
                  </a:cubicBezTo>
                  <a:cubicBezTo>
                    <a:pt x="92" y="103"/>
                    <a:pt x="91" y="100"/>
                    <a:pt x="93" y="99"/>
                  </a:cubicBezTo>
                  <a:cubicBezTo>
                    <a:pt x="94" y="98"/>
                    <a:pt x="100" y="100"/>
                    <a:pt x="99" y="97"/>
                  </a:cubicBezTo>
                  <a:cubicBezTo>
                    <a:pt x="98" y="95"/>
                    <a:pt x="97" y="96"/>
                    <a:pt x="97" y="95"/>
                  </a:cubicBezTo>
                  <a:cubicBezTo>
                    <a:pt x="97" y="94"/>
                    <a:pt x="97" y="92"/>
                    <a:pt x="97" y="91"/>
                  </a:cubicBezTo>
                  <a:cubicBezTo>
                    <a:pt x="97" y="90"/>
                    <a:pt x="96" y="90"/>
                    <a:pt x="96" y="89"/>
                  </a:cubicBezTo>
                  <a:cubicBezTo>
                    <a:pt x="96" y="89"/>
                    <a:pt x="97" y="88"/>
                    <a:pt x="97" y="88"/>
                  </a:cubicBezTo>
                  <a:cubicBezTo>
                    <a:pt x="97" y="88"/>
                    <a:pt x="97" y="87"/>
                    <a:pt x="97" y="86"/>
                  </a:cubicBezTo>
                  <a:cubicBezTo>
                    <a:pt x="96" y="84"/>
                    <a:pt x="95" y="83"/>
                    <a:pt x="94" y="82"/>
                  </a:cubicBezTo>
                  <a:cubicBezTo>
                    <a:pt x="94" y="81"/>
                    <a:pt x="94" y="81"/>
                    <a:pt x="94" y="80"/>
                  </a:cubicBezTo>
                  <a:cubicBezTo>
                    <a:pt x="93" y="80"/>
                    <a:pt x="93" y="80"/>
                    <a:pt x="93" y="79"/>
                  </a:cubicBezTo>
                  <a:cubicBezTo>
                    <a:pt x="93" y="77"/>
                    <a:pt x="95" y="78"/>
                    <a:pt x="97" y="78"/>
                  </a:cubicBezTo>
                  <a:cubicBezTo>
                    <a:pt x="98" y="78"/>
                    <a:pt x="98" y="78"/>
                    <a:pt x="100" y="78"/>
                  </a:cubicBezTo>
                  <a:cubicBezTo>
                    <a:pt x="101" y="78"/>
                    <a:pt x="102" y="77"/>
                    <a:pt x="102" y="77"/>
                  </a:cubicBezTo>
                  <a:cubicBezTo>
                    <a:pt x="103" y="77"/>
                    <a:pt x="104" y="77"/>
                    <a:pt x="105" y="77"/>
                  </a:cubicBezTo>
                  <a:cubicBezTo>
                    <a:pt x="107" y="76"/>
                    <a:pt x="106" y="76"/>
                    <a:pt x="107" y="75"/>
                  </a:cubicBezTo>
                  <a:cubicBezTo>
                    <a:pt x="108" y="72"/>
                    <a:pt x="109" y="75"/>
                    <a:pt x="111" y="75"/>
                  </a:cubicBezTo>
                  <a:cubicBezTo>
                    <a:pt x="111" y="75"/>
                    <a:pt x="112" y="75"/>
                    <a:pt x="113" y="75"/>
                  </a:cubicBezTo>
                  <a:cubicBezTo>
                    <a:pt x="113" y="74"/>
                    <a:pt x="113" y="72"/>
                    <a:pt x="112" y="72"/>
                  </a:cubicBezTo>
                  <a:cubicBezTo>
                    <a:pt x="112" y="71"/>
                    <a:pt x="111" y="71"/>
                    <a:pt x="110" y="71"/>
                  </a:cubicBezTo>
                  <a:cubicBezTo>
                    <a:pt x="110" y="70"/>
                    <a:pt x="108" y="69"/>
                    <a:pt x="108" y="68"/>
                  </a:cubicBezTo>
                  <a:cubicBezTo>
                    <a:pt x="107" y="68"/>
                    <a:pt x="108" y="67"/>
                    <a:pt x="108" y="66"/>
                  </a:cubicBezTo>
                  <a:cubicBezTo>
                    <a:pt x="108" y="64"/>
                    <a:pt x="107" y="64"/>
                    <a:pt x="105" y="63"/>
                  </a:cubicBezTo>
                  <a:cubicBezTo>
                    <a:pt x="103" y="62"/>
                    <a:pt x="103" y="60"/>
                    <a:pt x="102" y="58"/>
                  </a:cubicBezTo>
                  <a:cubicBezTo>
                    <a:pt x="101" y="57"/>
                    <a:pt x="99" y="56"/>
                    <a:pt x="98" y="55"/>
                  </a:cubicBezTo>
                  <a:cubicBezTo>
                    <a:pt x="97" y="54"/>
                    <a:pt x="97" y="55"/>
                    <a:pt x="97" y="53"/>
                  </a:cubicBezTo>
                  <a:cubicBezTo>
                    <a:pt x="97" y="52"/>
                    <a:pt x="98" y="51"/>
                    <a:pt x="99" y="50"/>
                  </a:cubicBezTo>
                  <a:cubicBezTo>
                    <a:pt x="100" y="49"/>
                    <a:pt x="101" y="48"/>
                    <a:pt x="102" y="47"/>
                  </a:cubicBezTo>
                  <a:cubicBezTo>
                    <a:pt x="104" y="47"/>
                    <a:pt x="105" y="46"/>
                    <a:pt x="106" y="45"/>
                  </a:cubicBezTo>
                  <a:cubicBezTo>
                    <a:pt x="104" y="45"/>
                    <a:pt x="102" y="45"/>
                    <a:pt x="100" y="46"/>
                  </a:cubicBezTo>
                  <a:cubicBezTo>
                    <a:pt x="99" y="47"/>
                    <a:pt x="98" y="48"/>
                    <a:pt x="97" y="49"/>
                  </a:cubicBezTo>
                  <a:cubicBezTo>
                    <a:pt x="95" y="51"/>
                    <a:pt x="93" y="53"/>
                    <a:pt x="92" y="53"/>
                  </a:cubicBezTo>
                  <a:cubicBezTo>
                    <a:pt x="90" y="53"/>
                    <a:pt x="86" y="53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4" y="50"/>
                    <a:pt x="84" y="49"/>
                  </a:cubicBezTo>
                  <a:cubicBezTo>
                    <a:pt x="84" y="48"/>
                    <a:pt x="83" y="47"/>
                    <a:pt x="82" y="47"/>
                  </a:cubicBezTo>
                  <a:cubicBezTo>
                    <a:pt x="78" y="47"/>
                    <a:pt x="77" y="50"/>
                    <a:pt x="77" y="53"/>
                  </a:cubicBezTo>
                  <a:cubicBezTo>
                    <a:pt x="77" y="56"/>
                    <a:pt x="77" y="57"/>
                    <a:pt x="75" y="60"/>
                  </a:cubicBezTo>
                  <a:cubicBezTo>
                    <a:pt x="75" y="60"/>
                    <a:pt x="74" y="62"/>
                    <a:pt x="73" y="62"/>
                  </a:cubicBezTo>
                  <a:cubicBezTo>
                    <a:pt x="72" y="63"/>
                    <a:pt x="69" y="61"/>
                    <a:pt x="67" y="60"/>
                  </a:cubicBezTo>
                  <a:cubicBezTo>
                    <a:pt x="67" y="61"/>
                    <a:pt x="67" y="62"/>
                    <a:pt x="67" y="63"/>
                  </a:cubicBezTo>
                  <a:cubicBezTo>
                    <a:pt x="66" y="66"/>
                    <a:pt x="68" y="68"/>
                    <a:pt x="69" y="71"/>
                  </a:cubicBezTo>
                  <a:cubicBezTo>
                    <a:pt x="69" y="72"/>
                    <a:pt x="68" y="73"/>
                    <a:pt x="69" y="74"/>
                  </a:cubicBezTo>
                  <a:cubicBezTo>
                    <a:pt x="69" y="75"/>
                    <a:pt x="72" y="75"/>
                    <a:pt x="73" y="77"/>
                  </a:cubicBezTo>
                  <a:cubicBezTo>
                    <a:pt x="73" y="79"/>
                    <a:pt x="72" y="80"/>
                    <a:pt x="72" y="81"/>
                  </a:cubicBezTo>
                  <a:cubicBezTo>
                    <a:pt x="72" y="83"/>
                    <a:pt x="72" y="84"/>
                    <a:pt x="72" y="85"/>
                  </a:cubicBezTo>
                  <a:cubicBezTo>
                    <a:pt x="72" y="86"/>
                    <a:pt x="71" y="87"/>
                    <a:pt x="71" y="88"/>
                  </a:cubicBezTo>
                  <a:cubicBezTo>
                    <a:pt x="71" y="89"/>
                    <a:pt x="70" y="90"/>
                    <a:pt x="70" y="90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92"/>
                    <a:pt x="69" y="93"/>
                    <a:pt x="69" y="93"/>
                  </a:cubicBezTo>
                  <a:cubicBezTo>
                    <a:pt x="69" y="94"/>
                    <a:pt x="68" y="93"/>
                    <a:pt x="68" y="94"/>
                  </a:cubicBezTo>
                  <a:cubicBezTo>
                    <a:pt x="67" y="94"/>
                    <a:pt x="66" y="95"/>
                    <a:pt x="66" y="95"/>
                  </a:cubicBezTo>
                  <a:cubicBezTo>
                    <a:pt x="65" y="95"/>
                    <a:pt x="65" y="95"/>
                    <a:pt x="65" y="96"/>
                  </a:cubicBezTo>
                  <a:cubicBezTo>
                    <a:pt x="64" y="97"/>
                    <a:pt x="65" y="97"/>
                    <a:pt x="65" y="98"/>
                  </a:cubicBezTo>
                  <a:cubicBezTo>
                    <a:pt x="65" y="98"/>
                    <a:pt x="64" y="99"/>
                    <a:pt x="64" y="99"/>
                  </a:cubicBezTo>
                  <a:cubicBezTo>
                    <a:pt x="63" y="100"/>
                    <a:pt x="63" y="102"/>
                    <a:pt x="63" y="103"/>
                  </a:cubicBezTo>
                  <a:cubicBezTo>
                    <a:pt x="63" y="104"/>
                    <a:pt x="63" y="106"/>
                    <a:pt x="62" y="107"/>
                  </a:cubicBezTo>
                  <a:cubicBezTo>
                    <a:pt x="62" y="109"/>
                    <a:pt x="60" y="110"/>
                    <a:pt x="60" y="111"/>
                  </a:cubicBezTo>
                  <a:cubicBezTo>
                    <a:pt x="58" y="114"/>
                    <a:pt x="55" y="117"/>
                    <a:pt x="54" y="122"/>
                  </a:cubicBezTo>
                  <a:cubicBezTo>
                    <a:pt x="53" y="121"/>
                    <a:pt x="51" y="123"/>
                    <a:pt x="50" y="124"/>
                  </a:cubicBezTo>
                  <a:cubicBezTo>
                    <a:pt x="49" y="125"/>
                    <a:pt x="49" y="126"/>
                    <a:pt x="49" y="127"/>
                  </a:cubicBezTo>
                  <a:cubicBezTo>
                    <a:pt x="49" y="127"/>
                    <a:pt x="49" y="128"/>
                    <a:pt x="48" y="128"/>
                  </a:cubicBezTo>
                  <a:cubicBezTo>
                    <a:pt x="48" y="126"/>
                    <a:pt x="43" y="126"/>
                    <a:pt x="42" y="127"/>
                  </a:cubicBezTo>
                  <a:cubicBezTo>
                    <a:pt x="41" y="128"/>
                    <a:pt x="41" y="128"/>
                    <a:pt x="41" y="129"/>
                  </a:cubicBezTo>
                  <a:cubicBezTo>
                    <a:pt x="40" y="130"/>
                    <a:pt x="40" y="131"/>
                    <a:pt x="39" y="133"/>
                  </a:cubicBezTo>
                  <a:cubicBezTo>
                    <a:pt x="39" y="134"/>
                    <a:pt x="38" y="134"/>
                    <a:pt x="38" y="135"/>
                  </a:cubicBezTo>
                  <a:cubicBezTo>
                    <a:pt x="38" y="136"/>
                    <a:pt x="38" y="137"/>
                    <a:pt x="38" y="138"/>
                  </a:cubicBezTo>
                  <a:cubicBezTo>
                    <a:pt x="38" y="140"/>
                    <a:pt x="39" y="140"/>
                    <a:pt x="39" y="141"/>
                  </a:cubicBezTo>
                  <a:cubicBezTo>
                    <a:pt x="40" y="143"/>
                    <a:pt x="39" y="144"/>
                    <a:pt x="40" y="145"/>
                  </a:cubicBezTo>
                  <a:cubicBezTo>
                    <a:pt x="39" y="145"/>
                    <a:pt x="39" y="145"/>
                    <a:pt x="38" y="146"/>
                  </a:cubicBezTo>
                  <a:cubicBezTo>
                    <a:pt x="36" y="146"/>
                    <a:pt x="36" y="146"/>
                    <a:pt x="34" y="147"/>
                  </a:cubicBezTo>
                  <a:cubicBezTo>
                    <a:pt x="34" y="147"/>
                    <a:pt x="33" y="147"/>
                    <a:pt x="32" y="147"/>
                  </a:cubicBezTo>
                  <a:cubicBezTo>
                    <a:pt x="32" y="148"/>
                    <a:pt x="32" y="148"/>
                    <a:pt x="32" y="149"/>
                  </a:cubicBezTo>
                  <a:cubicBezTo>
                    <a:pt x="30" y="150"/>
                    <a:pt x="30" y="149"/>
                    <a:pt x="29" y="151"/>
                  </a:cubicBezTo>
                  <a:cubicBezTo>
                    <a:pt x="29" y="152"/>
                    <a:pt x="29" y="154"/>
                    <a:pt x="29" y="156"/>
                  </a:cubicBezTo>
                  <a:cubicBezTo>
                    <a:pt x="29" y="158"/>
                    <a:pt x="28" y="157"/>
                    <a:pt x="26" y="157"/>
                  </a:cubicBezTo>
                  <a:cubicBezTo>
                    <a:pt x="25" y="157"/>
                    <a:pt x="23" y="158"/>
                    <a:pt x="22" y="158"/>
                  </a:cubicBezTo>
                  <a:cubicBezTo>
                    <a:pt x="20" y="159"/>
                    <a:pt x="15" y="162"/>
                    <a:pt x="16" y="164"/>
                  </a:cubicBezTo>
                  <a:cubicBezTo>
                    <a:pt x="17" y="165"/>
                    <a:pt x="19" y="165"/>
                    <a:pt x="20" y="164"/>
                  </a:cubicBezTo>
                  <a:cubicBezTo>
                    <a:pt x="20" y="164"/>
                    <a:pt x="21" y="163"/>
                    <a:pt x="21" y="163"/>
                  </a:cubicBezTo>
                  <a:cubicBezTo>
                    <a:pt x="22" y="162"/>
                    <a:pt x="24" y="162"/>
                    <a:pt x="24" y="162"/>
                  </a:cubicBezTo>
                  <a:cubicBezTo>
                    <a:pt x="26" y="161"/>
                    <a:pt x="26" y="161"/>
                    <a:pt x="28" y="162"/>
                  </a:cubicBezTo>
                  <a:cubicBezTo>
                    <a:pt x="28" y="162"/>
                    <a:pt x="29" y="163"/>
                    <a:pt x="29" y="164"/>
                  </a:cubicBezTo>
                  <a:cubicBezTo>
                    <a:pt x="30" y="164"/>
                    <a:pt x="32" y="164"/>
                    <a:pt x="33" y="164"/>
                  </a:cubicBezTo>
                  <a:cubicBezTo>
                    <a:pt x="34" y="164"/>
                    <a:pt x="40" y="161"/>
                    <a:pt x="40" y="163"/>
                  </a:cubicBezTo>
                  <a:cubicBezTo>
                    <a:pt x="41" y="164"/>
                    <a:pt x="37" y="167"/>
                    <a:pt x="36" y="167"/>
                  </a:cubicBezTo>
                  <a:cubicBezTo>
                    <a:pt x="35" y="168"/>
                    <a:pt x="35" y="169"/>
                    <a:pt x="35" y="170"/>
                  </a:cubicBezTo>
                  <a:cubicBezTo>
                    <a:pt x="37" y="170"/>
                    <a:pt x="39" y="171"/>
                    <a:pt x="40" y="172"/>
                  </a:cubicBezTo>
                  <a:cubicBezTo>
                    <a:pt x="40" y="173"/>
                    <a:pt x="40" y="175"/>
                    <a:pt x="40" y="176"/>
                  </a:cubicBezTo>
                  <a:cubicBezTo>
                    <a:pt x="41" y="177"/>
                    <a:pt x="44" y="177"/>
                    <a:pt x="44" y="178"/>
                  </a:cubicBezTo>
                  <a:cubicBezTo>
                    <a:pt x="45" y="179"/>
                    <a:pt x="44" y="180"/>
                    <a:pt x="44" y="181"/>
                  </a:cubicBezTo>
                  <a:cubicBezTo>
                    <a:pt x="39" y="181"/>
                    <a:pt x="36" y="176"/>
                    <a:pt x="34" y="172"/>
                  </a:cubicBezTo>
                  <a:cubicBezTo>
                    <a:pt x="33" y="171"/>
                    <a:pt x="31" y="170"/>
                    <a:pt x="30" y="169"/>
                  </a:cubicBezTo>
                  <a:cubicBezTo>
                    <a:pt x="29" y="169"/>
                    <a:pt x="28" y="169"/>
                    <a:pt x="28" y="168"/>
                  </a:cubicBezTo>
                  <a:cubicBezTo>
                    <a:pt x="27" y="167"/>
                    <a:pt x="27" y="167"/>
                    <a:pt x="25" y="167"/>
                  </a:cubicBezTo>
                  <a:cubicBezTo>
                    <a:pt x="23" y="167"/>
                    <a:pt x="23" y="168"/>
                    <a:pt x="22" y="169"/>
                  </a:cubicBezTo>
                  <a:cubicBezTo>
                    <a:pt x="20" y="170"/>
                    <a:pt x="17" y="169"/>
                    <a:pt x="15" y="169"/>
                  </a:cubicBezTo>
                  <a:cubicBezTo>
                    <a:pt x="13" y="169"/>
                    <a:pt x="13" y="169"/>
                    <a:pt x="12" y="169"/>
                  </a:cubicBezTo>
                  <a:cubicBezTo>
                    <a:pt x="12" y="170"/>
                    <a:pt x="11" y="170"/>
                    <a:pt x="11" y="171"/>
                  </a:cubicBezTo>
                  <a:cubicBezTo>
                    <a:pt x="10" y="171"/>
                    <a:pt x="10" y="171"/>
                    <a:pt x="9" y="172"/>
                  </a:cubicBezTo>
                  <a:cubicBezTo>
                    <a:pt x="8" y="173"/>
                    <a:pt x="5" y="177"/>
                    <a:pt x="6" y="179"/>
                  </a:cubicBezTo>
                  <a:cubicBezTo>
                    <a:pt x="8" y="179"/>
                    <a:pt x="12" y="178"/>
                    <a:pt x="13" y="180"/>
                  </a:cubicBezTo>
                  <a:cubicBezTo>
                    <a:pt x="14" y="180"/>
                    <a:pt x="14" y="181"/>
                    <a:pt x="14" y="182"/>
                  </a:cubicBezTo>
                  <a:cubicBezTo>
                    <a:pt x="15" y="183"/>
                    <a:pt x="16" y="183"/>
                    <a:pt x="18" y="184"/>
                  </a:cubicBezTo>
                  <a:cubicBezTo>
                    <a:pt x="22" y="184"/>
                    <a:pt x="23" y="187"/>
                    <a:pt x="27" y="185"/>
                  </a:cubicBezTo>
                  <a:cubicBezTo>
                    <a:pt x="29" y="184"/>
                    <a:pt x="31" y="183"/>
                    <a:pt x="33" y="182"/>
                  </a:cubicBezTo>
                  <a:cubicBezTo>
                    <a:pt x="34" y="182"/>
                    <a:pt x="34" y="182"/>
                    <a:pt x="35" y="182"/>
                  </a:cubicBezTo>
                  <a:cubicBezTo>
                    <a:pt x="36" y="182"/>
                    <a:pt x="37" y="181"/>
                    <a:pt x="37" y="181"/>
                  </a:cubicBezTo>
                  <a:cubicBezTo>
                    <a:pt x="38" y="181"/>
                    <a:pt x="39" y="182"/>
                    <a:pt x="40" y="183"/>
                  </a:cubicBezTo>
                  <a:cubicBezTo>
                    <a:pt x="40" y="185"/>
                    <a:pt x="39" y="186"/>
                    <a:pt x="41" y="186"/>
                  </a:cubicBezTo>
                  <a:cubicBezTo>
                    <a:pt x="42" y="187"/>
                    <a:pt x="46" y="184"/>
                    <a:pt x="47" y="186"/>
                  </a:cubicBezTo>
                  <a:cubicBezTo>
                    <a:pt x="48" y="186"/>
                    <a:pt x="48" y="190"/>
                    <a:pt x="48" y="190"/>
                  </a:cubicBezTo>
                  <a:cubicBezTo>
                    <a:pt x="47" y="191"/>
                    <a:pt x="45" y="190"/>
                    <a:pt x="44" y="190"/>
                  </a:cubicBezTo>
                  <a:cubicBezTo>
                    <a:pt x="41" y="189"/>
                    <a:pt x="39" y="189"/>
                    <a:pt x="36" y="188"/>
                  </a:cubicBezTo>
                  <a:cubicBezTo>
                    <a:pt x="35" y="188"/>
                    <a:pt x="34" y="187"/>
                    <a:pt x="33" y="188"/>
                  </a:cubicBezTo>
                  <a:cubicBezTo>
                    <a:pt x="32" y="188"/>
                    <a:pt x="31" y="188"/>
                    <a:pt x="30" y="188"/>
                  </a:cubicBezTo>
                  <a:cubicBezTo>
                    <a:pt x="27" y="189"/>
                    <a:pt x="24" y="188"/>
                    <a:pt x="21" y="188"/>
                  </a:cubicBezTo>
                  <a:cubicBezTo>
                    <a:pt x="18" y="188"/>
                    <a:pt x="16" y="188"/>
                    <a:pt x="13" y="187"/>
                  </a:cubicBezTo>
                  <a:cubicBezTo>
                    <a:pt x="12" y="187"/>
                    <a:pt x="11" y="186"/>
                    <a:pt x="11" y="186"/>
                  </a:cubicBezTo>
                  <a:cubicBezTo>
                    <a:pt x="9" y="185"/>
                    <a:pt x="8" y="183"/>
                    <a:pt x="6" y="183"/>
                  </a:cubicBezTo>
                  <a:cubicBezTo>
                    <a:pt x="3" y="182"/>
                    <a:pt x="1" y="184"/>
                    <a:pt x="1" y="187"/>
                  </a:cubicBezTo>
                  <a:cubicBezTo>
                    <a:pt x="1" y="188"/>
                    <a:pt x="1" y="189"/>
                    <a:pt x="0" y="190"/>
                  </a:cubicBezTo>
                  <a:cubicBezTo>
                    <a:pt x="0" y="192"/>
                    <a:pt x="1" y="192"/>
                    <a:pt x="1" y="193"/>
                  </a:cubicBezTo>
                  <a:cubicBezTo>
                    <a:pt x="2" y="194"/>
                    <a:pt x="2" y="195"/>
                    <a:pt x="3" y="196"/>
                  </a:cubicBezTo>
                  <a:cubicBezTo>
                    <a:pt x="4" y="197"/>
                    <a:pt x="5" y="197"/>
                    <a:pt x="6" y="197"/>
                  </a:cubicBezTo>
                  <a:cubicBezTo>
                    <a:pt x="7" y="198"/>
                    <a:pt x="9" y="199"/>
                    <a:pt x="11" y="198"/>
                  </a:cubicBezTo>
                  <a:cubicBezTo>
                    <a:pt x="12" y="197"/>
                    <a:pt x="12" y="196"/>
                    <a:pt x="12" y="196"/>
                  </a:cubicBezTo>
                  <a:cubicBezTo>
                    <a:pt x="13" y="195"/>
                    <a:pt x="17" y="194"/>
                    <a:pt x="18" y="194"/>
                  </a:cubicBezTo>
                  <a:cubicBezTo>
                    <a:pt x="21" y="194"/>
                    <a:pt x="22" y="196"/>
                    <a:pt x="23" y="198"/>
                  </a:cubicBezTo>
                  <a:cubicBezTo>
                    <a:pt x="25" y="200"/>
                    <a:pt x="30" y="201"/>
                    <a:pt x="33" y="202"/>
                  </a:cubicBezTo>
                  <a:cubicBezTo>
                    <a:pt x="35" y="203"/>
                    <a:pt x="36" y="204"/>
                    <a:pt x="38" y="203"/>
                  </a:cubicBezTo>
                  <a:cubicBezTo>
                    <a:pt x="39" y="203"/>
                    <a:pt x="40" y="202"/>
                    <a:pt x="41" y="201"/>
                  </a:cubicBezTo>
                  <a:cubicBezTo>
                    <a:pt x="41" y="200"/>
                    <a:pt x="42" y="199"/>
                    <a:pt x="42" y="199"/>
                  </a:cubicBezTo>
                  <a:cubicBezTo>
                    <a:pt x="42" y="198"/>
                    <a:pt x="43" y="197"/>
                    <a:pt x="44" y="196"/>
                  </a:cubicBezTo>
                  <a:cubicBezTo>
                    <a:pt x="44" y="195"/>
                    <a:pt x="44" y="195"/>
                    <a:pt x="46" y="194"/>
                  </a:cubicBezTo>
                  <a:cubicBezTo>
                    <a:pt x="47" y="194"/>
                    <a:pt x="48" y="194"/>
                    <a:pt x="49" y="193"/>
                  </a:cubicBezTo>
                  <a:cubicBezTo>
                    <a:pt x="49" y="193"/>
                    <a:pt x="49" y="193"/>
                    <a:pt x="49" y="193"/>
                  </a:cubicBezTo>
                  <a:cubicBezTo>
                    <a:pt x="49" y="192"/>
                    <a:pt x="49" y="192"/>
                    <a:pt x="50" y="192"/>
                  </a:cubicBezTo>
                  <a:cubicBezTo>
                    <a:pt x="51" y="191"/>
                    <a:pt x="51" y="191"/>
                    <a:pt x="51" y="190"/>
                  </a:cubicBezTo>
                  <a:cubicBezTo>
                    <a:pt x="52" y="189"/>
                    <a:pt x="53" y="188"/>
                    <a:pt x="54" y="188"/>
                  </a:cubicBezTo>
                  <a:cubicBezTo>
                    <a:pt x="55" y="187"/>
                    <a:pt x="55" y="187"/>
                    <a:pt x="56" y="187"/>
                  </a:cubicBezTo>
                  <a:cubicBezTo>
                    <a:pt x="57" y="186"/>
                    <a:pt x="58" y="186"/>
                    <a:pt x="59" y="185"/>
                  </a:cubicBezTo>
                  <a:cubicBezTo>
                    <a:pt x="60" y="185"/>
                    <a:pt x="60" y="184"/>
                    <a:pt x="61" y="183"/>
                  </a:cubicBezTo>
                  <a:cubicBezTo>
                    <a:pt x="62" y="183"/>
                    <a:pt x="63" y="183"/>
                    <a:pt x="64" y="183"/>
                  </a:cubicBezTo>
                  <a:cubicBezTo>
                    <a:pt x="65" y="183"/>
                    <a:pt x="66" y="182"/>
                    <a:pt x="67" y="182"/>
                  </a:cubicBezTo>
                  <a:cubicBezTo>
                    <a:pt x="70" y="182"/>
                    <a:pt x="73" y="182"/>
                    <a:pt x="76" y="182"/>
                  </a:cubicBezTo>
                  <a:cubicBezTo>
                    <a:pt x="79" y="182"/>
                    <a:pt x="80" y="184"/>
                    <a:pt x="82" y="184"/>
                  </a:cubicBezTo>
                  <a:cubicBezTo>
                    <a:pt x="84" y="185"/>
                    <a:pt x="86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3" y="184"/>
                    <a:pt x="94" y="183"/>
                    <a:pt x="96" y="182"/>
                  </a:cubicBezTo>
                  <a:cubicBezTo>
                    <a:pt x="96" y="182"/>
                    <a:pt x="97" y="182"/>
                    <a:pt x="98" y="182"/>
                  </a:cubicBezTo>
                  <a:cubicBezTo>
                    <a:pt x="99" y="182"/>
                    <a:pt x="100" y="182"/>
                    <a:pt x="100" y="182"/>
                  </a:cubicBezTo>
                  <a:cubicBezTo>
                    <a:pt x="103" y="182"/>
                    <a:pt x="104" y="185"/>
                    <a:pt x="103" y="187"/>
                  </a:cubicBezTo>
                  <a:cubicBezTo>
                    <a:pt x="103" y="188"/>
                    <a:pt x="100" y="190"/>
                    <a:pt x="98" y="191"/>
                  </a:cubicBezTo>
                  <a:cubicBezTo>
                    <a:pt x="98" y="191"/>
                    <a:pt x="97" y="191"/>
                    <a:pt x="97" y="192"/>
                  </a:cubicBezTo>
                  <a:cubicBezTo>
                    <a:pt x="97" y="193"/>
                    <a:pt x="98" y="193"/>
                    <a:pt x="99" y="193"/>
                  </a:cubicBezTo>
                  <a:cubicBezTo>
                    <a:pt x="101" y="194"/>
                    <a:pt x="102" y="194"/>
                    <a:pt x="104" y="195"/>
                  </a:cubicBezTo>
                  <a:cubicBezTo>
                    <a:pt x="106" y="196"/>
                    <a:pt x="106" y="196"/>
                    <a:pt x="107" y="197"/>
                  </a:cubicBezTo>
                  <a:cubicBezTo>
                    <a:pt x="107" y="197"/>
                    <a:pt x="108" y="198"/>
                    <a:pt x="108" y="198"/>
                  </a:cubicBezTo>
                  <a:cubicBezTo>
                    <a:pt x="109" y="198"/>
                    <a:pt x="109" y="199"/>
                    <a:pt x="109" y="199"/>
                  </a:cubicBezTo>
                  <a:cubicBezTo>
                    <a:pt x="111" y="200"/>
                    <a:pt x="112" y="200"/>
                    <a:pt x="113" y="199"/>
                  </a:cubicBezTo>
                  <a:cubicBezTo>
                    <a:pt x="116" y="198"/>
                    <a:pt x="118" y="197"/>
                    <a:pt x="121" y="197"/>
                  </a:cubicBezTo>
                  <a:cubicBezTo>
                    <a:pt x="123" y="197"/>
                    <a:pt x="123" y="197"/>
                    <a:pt x="124" y="199"/>
                  </a:cubicBezTo>
                  <a:cubicBezTo>
                    <a:pt x="124" y="199"/>
                    <a:pt x="125" y="200"/>
                    <a:pt x="125" y="200"/>
                  </a:cubicBezTo>
                  <a:cubicBezTo>
                    <a:pt x="126" y="201"/>
                    <a:pt x="126" y="201"/>
                    <a:pt x="127" y="202"/>
                  </a:cubicBezTo>
                  <a:cubicBezTo>
                    <a:pt x="127" y="202"/>
                    <a:pt x="128" y="203"/>
                    <a:pt x="129" y="203"/>
                  </a:cubicBezTo>
                  <a:cubicBezTo>
                    <a:pt x="130" y="204"/>
                    <a:pt x="131" y="204"/>
                    <a:pt x="132" y="204"/>
                  </a:cubicBezTo>
                  <a:cubicBezTo>
                    <a:pt x="133" y="205"/>
                    <a:pt x="135" y="205"/>
                    <a:pt x="136" y="205"/>
                  </a:cubicBezTo>
                  <a:cubicBezTo>
                    <a:pt x="136" y="206"/>
                    <a:pt x="137" y="207"/>
                    <a:pt x="137" y="208"/>
                  </a:cubicBezTo>
                  <a:cubicBezTo>
                    <a:pt x="136" y="209"/>
                    <a:pt x="136" y="209"/>
                    <a:pt x="135" y="210"/>
                  </a:cubicBezTo>
                  <a:cubicBezTo>
                    <a:pt x="135" y="211"/>
                    <a:pt x="134" y="212"/>
                    <a:pt x="134" y="213"/>
                  </a:cubicBezTo>
                  <a:cubicBezTo>
                    <a:pt x="133" y="214"/>
                    <a:pt x="133" y="214"/>
                    <a:pt x="132" y="214"/>
                  </a:cubicBezTo>
                  <a:cubicBezTo>
                    <a:pt x="132" y="215"/>
                    <a:pt x="132" y="215"/>
                    <a:pt x="132" y="216"/>
                  </a:cubicBezTo>
                  <a:cubicBezTo>
                    <a:pt x="131" y="218"/>
                    <a:pt x="130" y="219"/>
                    <a:pt x="129" y="221"/>
                  </a:cubicBezTo>
                  <a:cubicBezTo>
                    <a:pt x="129" y="222"/>
                    <a:pt x="129" y="223"/>
                    <a:pt x="128" y="224"/>
                  </a:cubicBezTo>
                  <a:cubicBezTo>
                    <a:pt x="128" y="226"/>
                    <a:pt x="128" y="227"/>
                    <a:pt x="127" y="228"/>
                  </a:cubicBezTo>
                  <a:cubicBezTo>
                    <a:pt x="126" y="229"/>
                    <a:pt x="126" y="229"/>
                    <a:pt x="126" y="231"/>
                  </a:cubicBezTo>
                  <a:cubicBezTo>
                    <a:pt x="126" y="231"/>
                    <a:pt x="126" y="232"/>
                    <a:pt x="126" y="233"/>
                  </a:cubicBezTo>
                  <a:cubicBezTo>
                    <a:pt x="126" y="234"/>
                    <a:pt x="125" y="238"/>
                    <a:pt x="126" y="239"/>
                  </a:cubicBezTo>
                  <a:cubicBezTo>
                    <a:pt x="127" y="241"/>
                    <a:pt x="131" y="240"/>
                    <a:pt x="133" y="240"/>
                  </a:cubicBezTo>
                  <a:cubicBezTo>
                    <a:pt x="134" y="240"/>
                    <a:pt x="135" y="241"/>
                    <a:pt x="137" y="241"/>
                  </a:cubicBezTo>
                  <a:cubicBezTo>
                    <a:pt x="139" y="243"/>
                    <a:pt x="142" y="243"/>
                    <a:pt x="145" y="243"/>
                  </a:cubicBezTo>
                  <a:cubicBezTo>
                    <a:pt x="145" y="243"/>
                    <a:pt x="145" y="243"/>
                    <a:pt x="145" y="243"/>
                  </a:cubicBezTo>
                  <a:cubicBezTo>
                    <a:pt x="146" y="242"/>
                    <a:pt x="146" y="241"/>
                    <a:pt x="146" y="241"/>
                  </a:cubicBezTo>
                  <a:cubicBezTo>
                    <a:pt x="147" y="240"/>
                    <a:pt x="148" y="240"/>
                    <a:pt x="149" y="239"/>
                  </a:cubicBezTo>
                  <a:cubicBezTo>
                    <a:pt x="149" y="239"/>
                    <a:pt x="148" y="239"/>
                    <a:pt x="148" y="238"/>
                  </a:cubicBezTo>
                  <a:cubicBezTo>
                    <a:pt x="148" y="238"/>
                    <a:pt x="148" y="237"/>
                    <a:pt x="149" y="236"/>
                  </a:cubicBezTo>
                  <a:cubicBezTo>
                    <a:pt x="149" y="235"/>
                    <a:pt x="149" y="235"/>
                    <a:pt x="149" y="233"/>
                  </a:cubicBezTo>
                  <a:cubicBezTo>
                    <a:pt x="149" y="233"/>
                    <a:pt x="149" y="233"/>
                    <a:pt x="149" y="232"/>
                  </a:cubicBezTo>
                  <a:cubicBezTo>
                    <a:pt x="149" y="232"/>
                    <a:pt x="149" y="231"/>
                    <a:pt x="149" y="230"/>
                  </a:cubicBezTo>
                  <a:cubicBezTo>
                    <a:pt x="150" y="229"/>
                    <a:pt x="150" y="227"/>
                    <a:pt x="151" y="226"/>
                  </a:cubicBezTo>
                  <a:cubicBezTo>
                    <a:pt x="151" y="224"/>
                    <a:pt x="151" y="222"/>
                    <a:pt x="151" y="221"/>
                  </a:cubicBezTo>
                  <a:cubicBezTo>
                    <a:pt x="151" y="220"/>
                    <a:pt x="150" y="219"/>
                    <a:pt x="150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8" y="219"/>
                    <a:pt x="147" y="219"/>
                  </a:cubicBezTo>
                  <a:cubicBezTo>
                    <a:pt x="146" y="219"/>
                    <a:pt x="146" y="219"/>
                    <a:pt x="146" y="219"/>
                  </a:cubicBezTo>
                  <a:cubicBezTo>
                    <a:pt x="145" y="217"/>
                    <a:pt x="146" y="215"/>
                    <a:pt x="146" y="213"/>
                  </a:cubicBezTo>
                  <a:cubicBezTo>
                    <a:pt x="147" y="212"/>
                    <a:pt x="146" y="212"/>
                    <a:pt x="148" y="212"/>
                  </a:cubicBezTo>
                  <a:cubicBezTo>
                    <a:pt x="149" y="211"/>
                    <a:pt x="149" y="211"/>
                    <a:pt x="150" y="210"/>
                  </a:cubicBezTo>
                  <a:cubicBezTo>
                    <a:pt x="150" y="209"/>
                    <a:pt x="152" y="209"/>
                    <a:pt x="153" y="208"/>
                  </a:cubicBezTo>
                  <a:cubicBezTo>
                    <a:pt x="152" y="207"/>
                    <a:pt x="152" y="207"/>
                    <a:pt x="152" y="206"/>
                  </a:cubicBezTo>
                  <a:cubicBezTo>
                    <a:pt x="152" y="206"/>
                    <a:pt x="152" y="205"/>
                    <a:pt x="152" y="205"/>
                  </a:cubicBezTo>
                  <a:cubicBezTo>
                    <a:pt x="152" y="204"/>
                    <a:pt x="152" y="204"/>
                    <a:pt x="151" y="204"/>
                  </a:cubicBezTo>
                  <a:cubicBezTo>
                    <a:pt x="151" y="203"/>
                    <a:pt x="152" y="203"/>
                    <a:pt x="153" y="202"/>
                  </a:cubicBezTo>
                  <a:cubicBezTo>
                    <a:pt x="154" y="199"/>
                    <a:pt x="152" y="196"/>
                    <a:pt x="154" y="194"/>
                  </a:cubicBezTo>
                  <a:cubicBezTo>
                    <a:pt x="154" y="193"/>
                    <a:pt x="155" y="193"/>
                    <a:pt x="155" y="192"/>
                  </a:cubicBezTo>
                  <a:cubicBezTo>
                    <a:pt x="156" y="191"/>
                    <a:pt x="157" y="191"/>
                    <a:pt x="157" y="190"/>
                  </a:cubicBezTo>
                  <a:cubicBezTo>
                    <a:pt x="158" y="189"/>
                    <a:pt x="158" y="190"/>
                    <a:pt x="158" y="188"/>
                  </a:cubicBezTo>
                  <a:cubicBezTo>
                    <a:pt x="158" y="187"/>
                    <a:pt x="158" y="185"/>
                    <a:pt x="158" y="184"/>
                  </a:cubicBezTo>
                  <a:cubicBezTo>
                    <a:pt x="157" y="182"/>
                    <a:pt x="157" y="179"/>
                    <a:pt x="157" y="177"/>
                  </a:cubicBezTo>
                  <a:cubicBezTo>
                    <a:pt x="156" y="176"/>
                    <a:pt x="156" y="176"/>
                    <a:pt x="156" y="175"/>
                  </a:cubicBezTo>
                  <a:cubicBezTo>
                    <a:pt x="156" y="174"/>
                    <a:pt x="156" y="173"/>
                    <a:pt x="156" y="172"/>
                  </a:cubicBezTo>
                  <a:cubicBezTo>
                    <a:pt x="156" y="171"/>
                    <a:pt x="155" y="170"/>
                    <a:pt x="155" y="169"/>
                  </a:cubicBezTo>
                  <a:cubicBezTo>
                    <a:pt x="155" y="169"/>
                    <a:pt x="155" y="169"/>
                    <a:pt x="155" y="168"/>
                  </a:cubicBezTo>
                  <a:cubicBezTo>
                    <a:pt x="154" y="167"/>
                    <a:pt x="152" y="167"/>
                    <a:pt x="151" y="165"/>
                  </a:cubicBezTo>
                  <a:cubicBezTo>
                    <a:pt x="150" y="164"/>
                    <a:pt x="151" y="162"/>
                    <a:pt x="150" y="160"/>
                  </a:cubicBezTo>
                  <a:cubicBezTo>
                    <a:pt x="150" y="158"/>
                    <a:pt x="147" y="157"/>
                    <a:pt x="146" y="156"/>
                  </a:cubicBezTo>
                  <a:cubicBezTo>
                    <a:pt x="145" y="155"/>
                    <a:pt x="145" y="155"/>
                    <a:pt x="145" y="153"/>
                  </a:cubicBezTo>
                  <a:cubicBezTo>
                    <a:pt x="145" y="153"/>
                    <a:pt x="145" y="152"/>
                    <a:pt x="145" y="151"/>
                  </a:cubicBezTo>
                  <a:cubicBezTo>
                    <a:pt x="145" y="149"/>
                    <a:pt x="146" y="146"/>
                    <a:pt x="148" y="146"/>
                  </a:cubicBezTo>
                  <a:cubicBezTo>
                    <a:pt x="150" y="146"/>
                    <a:pt x="151" y="146"/>
                    <a:pt x="153" y="146"/>
                  </a:cubicBezTo>
                  <a:cubicBezTo>
                    <a:pt x="153" y="146"/>
                    <a:pt x="153" y="145"/>
                    <a:pt x="153" y="144"/>
                  </a:cubicBezTo>
                  <a:cubicBezTo>
                    <a:pt x="153" y="141"/>
                    <a:pt x="156" y="141"/>
                    <a:pt x="158" y="141"/>
                  </a:cubicBezTo>
                  <a:cubicBezTo>
                    <a:pt x="160" y="142"/>
                    <a:pt x="162" y="143"/>
                    <a:pt x="164" y="144"/>
                  </a:cubicBezTo>
                  <a:cubicBezTo>
                    <a:pt x="165" y="145"/>
                    <a:pt x="166" y="145"/>
                    <a:pt x="167" y="145"/>
                  </a:cubicBezTo>
                  <a:cubicBezTo>
                    <a:pt x="168" y="145"/>
                    <a:pt x="170" y="145"/>
                    <a:pt x="171" y="145"/>
                  </a:cubicBezTo>
                  <a:cubicBezTo>
                    <a:pt x="172" y="145"/>
                    <a:pt x="173" y="144"/>
                    <a:pt x="174" y="144"/>
                  </a:cubicBezTo>
                  <a:cubicBezTo>
                    <a:pt x="176" y="144"/>
                    <a:pt x="175" y="144"/>
                    <a:pt x="176" y="143"/>
                  </a:cubicBezTo>
                  <a:cubicBezTo>
                    <a:pt x="177" y="142"/>
                    <a:pt x="179" y="142"/>
                    <a:pt x="180" y="142"/>
                  </a:cubicBezTo>
                  <a:cubicBezTo>
                    <a:pt x="182" y="141"/>
                    <a:pt x="185" y="139"/>
                    <a:pt x="187" y="138"/>
                  </a:cubicBezTo>
                  <a:cubicBezTo>
                    <a:pt x="188" y="138"/>
                    <a:pt x="189" y="137"/>
                    <a:pt x="189" y="136"/>
                  </a:cubicBezTo>
                  <a:cubicBezTo>
                    <a:pt x="190" y="134"/>
                    <a:pt x="189" y="134"/>
                    <a:pt x="188" y="133"/>
                  </a:cubicBezTo>
                  <a:cubicBezTo>
                    <a:pt x="188" y="132"/>
                    <a:pt x="188" y="130"/>
                    <a:pt x="188" y="129"/>
                  </a:cubicBezTo>
                  <a:cubicBezTo>
                    <a:pt x="188" y="128"/>
                    <a:pt x="188" y="127"/>
                    <a:pt x="188" y="126"/>
                  </a:cubicBezTo>
                  <a:cubicBezTo>
                    <a:pt x="188" y="126"/>
                    <a:pt x="188" y="125"/>
                    <a:pt x="189" y="124"/>
                  </a:cubicBezTo>
                  <a:cubicBezTo>
                    <a:pt x="189" y="124"/>
                    <a:pt x="189" y="124"/>
                    <a:pt x="190" y="124"/>
                  </a:cubicBezTo>
                  <a:cubicBezTo>
                    <a:pt x="190" y="123"/>
                    <a:pt x="191" y="123"/>
                    <a:pt x="191" y="122"/>
                  </a:cubicBezTo>
                  <a:cubicBezTo>
                    <a:pt x="193" y="120"/>
                    <a:pt x="195" y="119"/>
                    <a:pt x="197" y="117"/>
                  </a:cubicBezTo>
                  <a:cubicBezTo>
                    <a:pt x="198" y="116"/>
                    <a:pt x="198" y="115"/>
                    <a:pt x="199" y="114"/>
                  </a:cubicBezTo>
                  <a:cubicBezTo>
                    <a:pt x="201" y="114"/>
                    <a:pt x="202" y="113"/>
                    <a:pt x="203" y="112"/>
                  </a:cubicBezTo>
                  <a:cubicBezTo>
                    <a:pt x="205" y="110"/>
                    <a:pt x="203" y="107"/>
                    <a:pt x="204" y="105"/>
                  </a:cubicBezTo>
                  <a:cubicBezTo>
                    <a:pt x="204" y="104"/>
                    <a:pt x="205" y="104"/>
                    <a:pt x="205" y="103"/>
                  </a:cubicBezTo>
                  <a:cubicBezTo>
                    <a:pt x="206" y="102"/>
                    <a:pt x="206" y="100"/>
                    <a:pt x="206" y="99"/>
                  </a:cubicBezTo>
                  <a:cubicBezTo>
                    <a:pt x="205" y="98"/>
                    <a:pt x="205" y="98"/>
                    <a:pt x="204" y="97"/>
                  </a:cubicBezTo>
                  <a:cubicBezTo>
                    <a:pt x="204" y="97"/>
                    <a:pt x="204" y="96"/>
                    <a:pt x="204" y="96"/>
                  </a:cubicBezTo>
                  <a:cubicBezTo>
                    <a:pt x="204" y="96"/>
                    <a:pt x="204" y="95"/>
                    <a:pt x="203" y="95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199" y="93"/>
                    <a:pt x="182" y="94"/>
                    <a:pt x="185" y="85"/>
                  </a:cubicBezTo>
                  <a:cubicBezTo>
                    <a:pt x="186" y="83"/>
                    <a:pt x="185" y="83"/>
                    <a:pt x="183" y="81"/>
                  </a:cubicBezTo>
                  <a:cubicBezTo>
                    <a:pt x="183" y="81"/>
                    <a:pt x="182" y="80"/>
                    <a:pt x="182" y="80"/>
                  </a:cubicBezTo>
                  <a:cubicBezTo>
                    <a:pt x="181" y="80"/>
                    <a:pt x="180" y="78"/>
                    <a:pt x="180" y="78"/>
                  </a:cubicBezTo>
                  <a:cubicBezTo>
                    <a:pt x="179" y="77"/>
                    <a:pt x="179" y="76"/>
                    <a:pt x="180" y="76"/>
                  </a:cubicBezTo>
                  <a:cubicBezTo>
                    <a:pt x="181" y="76"/>
                    <a:pt x="182" y="74"/>
                    <a:pt x="183" y="74"/>
                  </a:cubicBezTo>
                  <a:cubicBezTo>
                    <a:pt x="184" y="74"/>
                    <a:pt x="186" y="74"/>
                    <a:pt x="187" y="74"/>
                  </a:cubicBezTo>
                  <a:cubicBezTo>
                    <a:pt x="189" y="74"/>
                    <a:pt x="191" y="74"/>
                    <a:pt x="193" y="74"/>
                  </a:cubicBezTo>
                  <a:cubicBezTo>
                    <a:pt x="194" y="73"/>
                    <a:pt x="194" y="73"/>
                    <a:pt x="195" y="72"/>
                  </a:cubicBezTo>
                  <a:cubicBezTo>
                    <a:pt x="195" y="71"/>
                    <a:pt x="195" y="71"/>
                    <a:pt x="197" y="71"/>
                  </a:cubicBezTo>
                  <a:cubicBezTo>
                    <a:pt x="198" y="71"/>
                    <a:pt x="200" y="72"/>
                    <a:pt x="201" y="71"/>
                  </a:cubicBezTo>
                  <a:cubicBezTo>
                    <a:pt x="202" y="71"/>
                    <a:pt x="203" y="69"/>
                    <a:pt x="204" y="68"/>
                  </a:cubicBezTo>
                  <a:cubicBezTo>
                    <a:pt x="205" y="67"/>
                    <a:pt x="208" y="67"/>
                    <a:pt x="209" y="65"/>
                  </a:cubicBezTo>
                  <a:cubicBezTo>
                    <a:pt x="209" y="64"/>
                    <a:pt x="208" y="64"/>
                    <a:pt x="208" y="63"/>
                  </a:cubicBezTo>
                  <a:cubicBezTo>
                    <a:pt x="206" y="60"/>
                    <a:pt x="207" y="59"/>
                    <a:pt x="209" y="57"/>
                  </a:cubicBezTo>
                  <a:cubicBezTo>
                    <a:pt x="209" y="56"/>
                    <a:pt x="210" y="56"/>
                    <a:pt x="210" y="55"/>
                  </a:cubicBezTo>
                  <a:cubicBezTo>
                    <a:pt x="212" y="54"/>
                    <a:pt x="212" y="53"/>
                    <a:pt x="213" y="51"/>
                  </a:cubicBezTo>
                  <a:cubicBezTo>
                    <a:pt x="214" y="49"/>
                    <a:pt x="214" y="47"/>
                    <a:pt x="214" y="44"/>
                  </a:cubicBezTo>
                  <a:cubicBezTo>
                    <a:pt x="214" y="42"/>
                    <a:pt x="213" y="39"/>
                    <a:pt x="214" y="37"/>
                  </a:cubicBezTo>
                  <a:cubicBezTo>
                    <a:pt x="214" y="36"/>
                    <a:pt x="214" y="36"/>
                    <a:pt x="214" y="35"/>
                  </a:cubicBezTo>
                  <a:cubicBezTo>
                    <a:pt x="215" y="33"/>
                    <a:pt x="215" y="32"/>
                    <a:pt x="215" y="31"/>
                  </a:cubicBezTo>
                  <a:cubicBezTo>
                    <a:pt x="215" y="28"/>
                    <a:pt x="215" y="25"/>
                    <a:pt x="215" y="22"/>
                  </a:cubicBezTo>
                  <a:cubicBezTo>
                    <a:pt x="215" y="20"/>
                    <a:pt x="216" y="18"/>
                    <a:pt x="216" y="16"/>
                  </a:cubicBezTo>
                  <a:cubicBezTo>
                    <a:pt x="213" y="14"/>
                    <a:pt x="213" y="14"/>
                    <a:pt x="213" y="14"/>
                  </a:cubicBezTo>
                  <a:cubicBezTo>
                    <a:pt x="212" y="14"/>
                    <a:pt x="212" y="14"/>
                    <a:pt x="211" y="14"/>
                  </a:cubicBezTo>
                  <a:cubicBezTo>
                    <a:pt x="210" y="14"/>
                    <a:pt x="209" y="14"/>
                    <a:pt x="209" y="14"/>
                  </a:cubicBezTo>
                  <a:cubicBezTo>
                    <a:pt x="208" y="13"/>
                    <a:pt x="208" y="11"/>
                    <a:pt x="207" y="10"/>
                  </a:cubicBezTo>
                  <a:lnTo>
                    <a:pt x="206" y="9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7" name="Freeform 98">
              <a:extLst>
                <a:ext uri="{FF2B5EF4-FFF2-40B4-BE49-F238E27FC236}">
                  <a16:creationId xmlns:a16="http://schemas.microsoft.com/office/drawing/2014/main" id="{3D61174F-9E1A-451B-97D9-7D0886609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5" y="4025900"/>
              <a:ext cx="22225" cy="30163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6"/>
                </a:cxn>
                <a:cxn ang="0">
                  <a:pos x="12" y="6"/>
                </a:cxn>
                <a:cxn ang="0">
                  <a:pos x="10" y="1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4" y="5"/>
                </a:cxn>
              </a:cxnLst>
              <a:rect l="0" t="0" r="r" b="b"/>
              <a:pathLst>
                <a:path w="12" h="16">
                  <a:moveTo>
                    <a:pt x="4" y="5"/>
                  </a:moveTo>
                  <a:cubicBezTo>
                    <a:pt x="3" y="6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2" y="15"/>
                    <a:pt x="4" y="16"/>
                    <a:pt x="5" y="16"/>
                  </a:cubicBezTo>
                  <a:cubicBezTo>
                    <a:pt x="9" y="16"/>
                    <a:pt x="12" y="10"/>
                    <a:pt x="12" y="6"/>
                  </a:cubicBezTo>
                  <a:cubicBezTo>
                    <a:pt x="12" y="4"/>
                    <a:pt x="11" y="2"/>
                    <a:pt x="10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5" y="4"/>
                    <a:pt x="4" y="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8" name="Freeform 99">
              <a:extLst>
                <a:ext uri="{FF2B5EF4-FFF2-40B4-BE49-F238E27FC236}">
                  <a16:creationId xmlns:a16="http://schemas.microsoft.com/office/drawing/2014/main" id="{AA2A9DFC-6A90-4589-AB40-5DEC1A930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338" y="4002088"/>
              <a:ext cx="14288" cy="127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4" y="6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8" y="1"/>
                </a:cxn>
                <a:cxn ang="0">
                  <a:pos x="7" y="0"/>
                </a:cxn>
              </a:cxnLst>
              <a:rect l="0" t="0" r="r" b="b"/>
              <a:pathLst>
                <a:path w="8" h="7">
                  <a:moveTo>
                    <a:pt x="7" y="0"/>
                  </a:moveTo>
                  <a:cubicBezTo>
                    <a:pt x="6" y="1"/>
                    <a:pt x="4" y="1"/>
                    <a:pt x="3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1" y="5"/>
                    <a:pt x="0" y="7"/>
                    <a:pt x="2" y="7"/>
                  </a:cubicBezTo>
                  <a:cubicBezTo>
                    <a:pt x="2" y="7"/>
                    <a:pt x="3" y="6"/>
                    <a:pt x="4" y="6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6" y="4"/>
                    <a:pt x="7" y="4"/>
                    <a:pt x="7" y="3"/>
                  </a:cubicBezTo>
                  <a:cubicBezTo>
                    <a:pt x="7" y="3"/>
                    <a:pt x="7" y="3"/>
                    <a:pt x="8" y="2"/>
                  </a:cubicBezTo>
                  <a:cubicBezTo>
                    <a:pt x="8" y="2"/>
                    <a:pt x="8" y="2"/>
                    <a:pt x="8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9" name="Freeform 100">
              <a:extLst>
                <a:ext uri="{FF2B5EF4-FFF2-40B4-BE49-F238E27FC236}">
                  <a16:creationId xmlns:a16="http://schemas.microsoft.com/office/drawing/2014/main" id="{5ED3D786-CAC4-490B-B68C-2B30DF2EC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150" y="3984625"/>
              <a:ext cx="26988" cy="14288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9" y="1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1" y="6"/>
                </a:cxn>
                <a:cxn ang="0">
                  <a:pos x="6" y="6"/>
                </a:cxn>
                <a:cxn ang="0">
                  <a:pos x="12" y="3"/>
                </a:cxn>
                <a:cxn ang="0">
                  <a:pos x="13" y="1"/>
                </a:cxn>
                <a:cxn ang="0">
                  <a:pos x="11" y="1"/>
                </a:cxn>
                <a:cxn ang="0">
                  <a:pos x="10" y="1"/>
                </a:cxn>
              </a:cxnLst>
              <a:rect l="0" t="0" r="r" b="b"/>
              <a:pathLst>
                <a:path w="14" h="7">
                  <a:moveTo>
                    <a:pt x="10" y="1"/>
                  </a:moveTo>
                  <a:cubicBezTo>
                    <a:pt x="10" y="1"/>
                    <a:pt x="9" y="1"/>
                    <a:pt x="9" y="1"/>
                  </a:cubicBezTo>
                  <a:cubicBezTo>
                    <a:pt x="8" y="2"/>
                    <a:pt x="6" y="2"/>
                    <a:pt x="5" y="2"/>
                  </a:cubicBezTo>
                  <a:cubicBezTo>
                    <a:pt x="4" y="3"/>
                    <a:pt x="3" y="3"/>
                    <a:pt x="2" y="4"/>
                  </a:cubicBezTo>
                  <a:cubicBezTo>
                    <a:pt x="1" y="5"/>
                    <a:pt x="0" y="6"/>
                    <a:pt x="1" y="6"/>
                  </a:cubicBezTo>
                  <a:cubicBezTo>
                    <a:pt x="3" y="7"/>
                    <a:pt x="4" y="7"/>
                    <a:pt x="6" y="6"/>
                  </a:cubicBezTo>
                  <a:cubicBezTo>
                    <a:pt x="8" y="6"/>
                    <a:pt x="10" y="5"/>
                    <a:pt x="12" y="3"/>
                  </a:cubicBezTo>
                  <a:cubicBezTo>
                    <a:pt x="12" y="3"/>
                    <a:pt x="14" y="2"/>
                    <a:pt x="13" y="1"/>
                  </a:cubicBezTo>
                  <a:cubicBezTo>
                    <a:pt x="13" y="0"/>
                    <a:pt x="12" y="1"/>
                    <a:pt x="11" y="1"/>
                  </a:cubicBezTo>
                  <a:lnTo>
                    <a:pt x="10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0" name="Freeform 101">
              <a:extLst>
                <a:ext uri="{FF2B5EF4-FFF2-40B4-BE49-F238E27FC236}">
                  <a16:creationId xmlns:a16="http://schemas.microsoft.com/office/drawing/2014/main" id="{D2BF750C-6673-413F-A592-9C3272F42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6538" y="3973513"/>
              <a:ext cx="28575" cy="7938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4" y="4"/>
                </a:cxn>
                <a:cxn ang="0">
                  <a:pos x="11" y="3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5" y="1"/>
                </a:cxn>
                <a:cxn ang="0">
                  <a:pos x="9" y="1"/>
                </a:cxn>
              </a:cxnLst>
              <a:rect l="0" t="0" r="r" b="b"/>
              <a:pathLst>
                <a:path w="15" h="4">
                  <a:moveTo>
                    <a:pt x="9" y="1"/>
                  </a:moveTo>
                  <a:cubicBezTo>
                    <a:pt x="6" y="1"/>
                    <a:pt x="3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7" y="4"/>
                    <a:pt x="9" y="4"/>
                    <a:pt x="11" y="3"/>
                  </a:cubicBezTo>
                  <a:cubicBezTo>
                    <a:pt x="12" y="3"/>
                    <a:pt x="15" y="2"/>
                    <a:pt x="14" y="1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1"/>
                    <a:pt x="6" y="1"/>
                    <a:pt x="5" y="1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1" name="Freeform 102">
              <a:extLst>
                <a:ext uri="{FF2B5EF4-FFF2-40B4-BE49-F238E27FC236}">
                  <a16:creationId xmlns:a16="http://schemas.microsoft.com/office/drawing/2014/main" id="{93F25408-16BD-4957-B78A-2313D59DA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750" y="3968750"/>
              <a:ext cx="20638" cy="4763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9" y="0"/>
                </a:cxn>
                <a:cxn ang="0">
                  <a:pos x="5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9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9" y="1"/>
                </a:cxn>
              </a:cxnLst>
              <a:rect l="0" t="0" r="r" b="b"/>
              <a:pathLst>
                <a:path w="11" h="3">
                  <a:moveTo>
                    <a:pt x="9" y="1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2"/>
                    <a:pt x="4" y="3"/>
                    <a:pt x="5" y="3"/>
                  </a:cubicBezTo>
                  <a:cubicBezTo>
                    <a:pt x="6" y="3"/>
                    <a:pt x="7" y="3"/>
                    <a:pt x="9" y="3"/>
                  </a:cubicBezTo>
                  <a:cubicBezTo>
                    <a:pt x="9" y="3"/>
                    <a:pt x="10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2" name="Freeform 103">
              <a:extLst>
                <a:ext uri="{FF2B5EF4-FFF2-40B4-BE49-F238E27FC236}">
                  <a16:creationId xmlns:a16="http://schemas.microsoft.com/office/drawing/2014/main" id="{EFFC05E2-9502-47B0-AAED-60F1519A5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5" y="2338388"/>
              <a:ext cx="114300" cy="109538"/>
            </a:xfrm>
            <a:custGeom>
              <a:avLst/>
              <a:gdLst/>
              <a:ahLst/>
              <a:cxnLst>
                <a:cxn ang="0">
                  <a:pos x="50" y="10"/>
                </a:cxn>
                <a:cxn ang="0">
                  <a:pos x="48" y="3"/>
                </a:cxn>
                <a:cxn ang="0">
                  <a:pos x="43" y="2"/>
                </a:cxn>
                <a:cxn ang="0">
                  <a:pos x="42" y="6"/>
                </a:cxn>
                <a:cxn ang="0">
                  <a:pos x="39" y="13"/>
                </a:cxn>
                <a:cxn ang="0">
                  <a:pos x="38" y="17"/>
                </a:cxn>
                <a:cxn ang="0">
                  <a:pos x="35" y="14"/>
                </a:cxn>
                <a:cxn ang="0">
                  <a:pos x="31" y="8"/>
                </a:cxn>
                <a:cxn ang="0">
                  <a:pos x="32" y="19"/>
                </a:cxn>
                <a:cxn ang="0">
                  <a:pos x="24" y="14"/>
                </a:cxn>
                <a:cxn ang="0">
                  <a:pos x="20" y="18"/>
                </a:cxn>
                <a:cxn ang="0">
                  <a:pos x="13" y="18"/>
                </a:cxn>
                <a:cxn ang="0">
                  <a:pos x="10" y="24"/>
                </a:cxn>
                <a:cxn ang="0">
                  <a:pos x="6" y="19"/>
                </a:cxn>
                <a:cxn ang="0">
                  <a:pos x="7" y="31"/>
                </a:cxn>
                <a:cxn ang="0">
                  <a:pos x="4" y="33"/>
                </a:cxn>
                <a:cxn ang="0">
                  <a:pos x="0" y="38"/>
                </a:cxn>
                <a:cxn ang="0">
                  <a:pos x="2" y="43"/>
                </a:cxn>
                <a:cxn ang="0">
                  <a:pos x="4" y="47"/>
                </a:cxn>
                <a:cxn ang="0">
                  <a:pos x="7" y="47"/>
                </a:cxn>
                <a:cxn ang="0">
                  <a:pos x="12" y="50"/>
                </a:cxn>
                <a:cxn ang="0">
                  <a:pos x="21" y="50"/>
                </a:cxn>
                <a:cxn ang="0">
                  <a:pos x="23" y="52"/>
                </a:cxn>
                <a:cxn ang="0">
                  <a:pos x="31" y="54"/>
                </a:cxn>
                <a:cxn ang="0">
                  <a:pos x="33" y="58"/>
                </a:cxn>
                <a:cxn ang="0">
                  <a:pos x="42" y="54"/>
                </a:cxn>
                <a:cxn ang="0">
                  <a:pos x="34" y="50"/>
                </a:cxn>
                <a:cxn ang="0">
                  <a:pos x="40" y="45"/>
                </a:cxn>
                <a:cxn ang="0">
                  <a:pos x="39" y="37"/>
                </a:cxn>
                <a:cxn ang="0">
                  <a:pos x="40" y="34"/>
                </a:cxn>
                <a:cxn ang="0">
                  <a:pos x="44" y="34"/>
                </a:cxn>
                <a:cxn ang="0">
                  <a:pos x="45" y="33"/>
                </a:cxn>
                <a:cxn ang="0">
                  <a:pos x="49" y="33"/>
                </a:cxn>
                <a:cxn ang="0">
                  <a:pos x="61" y="30"/>
                </a:cxn>
                <a:cxn ang="0">
                  <a:pos x="55" y="18"/>
                </a:cxn>
                <a:cxn ang="0">
                  <a:pos x="57" y="11"/>
                </a:cxn>
                <a:cxn ang="0">
                  <a:pos x="52" y="10"/>
                </a:cxn>
                <a:cxn ang="0">
                  <a:pos x="52" y="9"/>
                </a:cxn>
                <a:cxn ang="0">
                  <a:pos x="50" y="10"/>
                </a:cxn>
              </a:cxnLst>
              <a:rect l="0" t="0" r="r" b="b"/>
              <a:pathLst>
                <a:path w="61" h="59">
                  <a:moveTo>
                    <a:pt x="50" y="10"/>
                  </a:moveTo>
                  <a:cubicBezTo>
                    <a:pt x="50" y="7"/>
                    <a:pt x="50" y="5"/>
                    <a:pt x="48" y="3"/>
                  </a:cubicBezTo>
                  <a:cubicBezTo>
                    <a:pt x="47" y="2"/>
                    <a:pt x="45" y="0"/>
                    <a:pt x="43" y="2"/>
                  </a:cubicBezTo>
                  <a:cubicBezTo>
                    <a:pt x="43" y="2"/>
                    <a:pt x="43" y="5"/>
                    <a:pt x="42" y="6"/>
                  </a:cubicBezTo>
                  <a:cubicBezTo>
                    <a:pt x="41" y="8"/>
                    <a:pt x="39" y="10"/>
                    <a:pt x="39" y="13"/>
                  </a:cubicBezTo>
                  <a:cubicBezTo>
                    <a:pt x="37" y="13"/>
                    <a:pt x="36" y="16"/>
                    <a:pt x="38" y="17"/>
                  </a:cubicBezTo>
                  <a:cubicBezTo>
                    <a:pt x="41" y="15"/>
                    <a:pt x="35" y="9"/>
                    <a:pt x="35" y="14"/>
                  </a:cubicBezTo>
                  <a:cubicBezTo>
                    <a:pt x="35" y="11"/>
                    <a:pt x="33" y="9"/>
                    <a:pt x="31" y="8"/>
                  </a:cubicBezTo>
                  <a:cubicBezTo>
                    <a:pt x="29" y="11"/>
                    <a:pt x="33" y="16"/>
                    <a:pt x="32" y="19"/>
                  </a:cubicBezTo>
                  <a:cubicBezTo>
                    <a:pt x="29" y="19"/>
                    <a:pt x="27" y="14"/>
                    <a:pt x="24" y="14"/>
                  </a:cubicBezTo>
                  <a:cubicBezTo>
                    <a:pt x="21" y="14"/>
                    <a:pt x="20" y="15"/>
                    <a:pt x="20" y="18"/>
                  </a:cubicBezTo>
                  <a:cubicBezTo>
                    <a:pt x="18" y="19"/>
                    <a:pt x="15" y="18"/>
                    <a:pt x="13" y="18"/>
                  </a:cubicBezTo>
                  <a:cubicBezTo>
                    <a:pt x="13" y="19"/>
                    <a:pt x="12" y="24"/>
                    <a:pt x="10" y="24"/>
                  </a:cubicBezTo>
                  <a:cubicBezTo>
                    <a:pt x="9" y="22"/>
                    <a:pt x="8" y="19"/>
                    <a:pt x="6" y="19"/>
                  </a:cubicBezTo>
                  <a:cubicBezTo>
                    <a:pt x="5" y="23"/>
                    <a:pt x="8" y="27"/>
                    <a:pt x="7" y="31"/>
                  </a:cubicBezTo>
                  <a:cubicBezTo>
                    <a:pt x="5" y="31"/>
                    <a:pt x="5" y="32"/>
                    <a:pt x="4" y="33"/>
                  </a:cubicBezTo>
                  <a:cubicBezTo>
                    <a:pt x="2" y="35"/>
                    <a:pt x="0" y="36"/>
                    <a:pt x="0" y="38"/>
                  </a:cubicBezTo>
                  <a:cubicBezTo>
                    <a:pt x="0" y="41"/>
                    <a:pt x="1" y="41"/>
                    <a:pt x="2" y="43"/>
                  </a:cubicBezTo>
                  <a:cubicBezTo>
                    <a:pt x="3" y="44"/>
                    <a:pt x="3" y="46"/>
                    <a:pt x="4" y="47"/>
                  </a:cubicBezTo>
                  <a:cubicBezTo>
                    <a:pt x="5" y="48"/>
                    <a:pt x="6" y="47"/>
                    <a:pt x="7" y="47"/>
                  </a:cubicBezTo>
                  <a:cubicBezTo>
                    <a:pt x="10" y="48"/>
                    <a:pt x="8" y="50"/>
                    <a:pt x="12" y="50"/>
                  </a:cubicBezTo>
                  <a:cubicBezTo>
                    <a:pt x="14" y="50"/>
                    <a:pt x="19" y="49"/>
                    <a:pt x="21" y="50"/>
                  </a:cubicBezTo>
                  <a:cubicBezTo>
                    <a:pt x="22" y="50"/>
                    <a:pt x="22" y="52"/>
                    <a:pt x="23" y="52"/>
                  </a:cubicBezTo>
                  <a:cubicBezTo>
                    <a:pt x="25" y="53"/>
                    <a:pt x="29" y="52"/>
                    <a:pt x="31" y="54"/>
                  </a:cubicBezTo>
                  <a:cubicBezTo>
                    <a:pt x="32" y="54"/>
                    <a:pt x="33" y="56"/>
                    <a:pt x="33" y="58"/>
                  </a:cubicBezTo>
                  <a:cubicBezTo>
                    <a:pt x="36" y="59"/>
                    <a:pt x="40" y="56"/>
                    <a:pt x="42" y="54"/>
                  </a:cubicBezTo>
                  <a:cubicBezTo>
                    <a:pt x="39" y="54"/>
                    <a:pt x="36" y="51"/>
                    <a:pt x="34" y="50"/>
                  </a:cubicBezTo>
                  <a:cubicBezTo>
                    <a:pt x="36" y="49"/>
                    <a:pt x="39" y="48"/>
                    <a:pt x="40" y="45"/>
                  </a:cubicBezTo>
                  <a:cubicBezTo>
                    <a:pt x="47" y="45"/>
                    <a:pt x="39" y="40"/>
                    <a:pt x="39" y="37"/>
                  </a:cubicBezTo>
                  <a:cubicBezTo>
                    <a:pt x="39" y="36"/>
                    <a:pt x="40" y="34"/>
                    <a:pt x="40" y="34"/>
                  </a:cubicBezTo>
                  <a:cubicBezTo>
                    <a:pt x="42" y="33"/>
                    <a:pt x="42" y="34"/>
                    <a:pt x="44" y="34"/>
                  </a:cubicBezTo>
                  <a:cubicBezTo>
                    <a:pt x="45" y="34"/>
                    <a:pt x="45" y="33"/>
                    <a:pt x="45" y="33"/>
                  </a:cubicBezTo>
                  <a:cubicBezTo>
                    <a:pt x="46" y="32"/>
                    <a:pt x="47" y="33"/>
                    <a:pt x="49" y="33"/>
                  </a:cubicBezTo>
                  <a:cubicBezTo>
                    <a:pt x="52" y="33"/>
                    <a:pt x="61" y="35"/>
                    <a:pt x="61" y="30"/>
                  </a:cubicBezTo>
                  <a:cubicBezTo>
                    <a:pt x="60" y="25"/>
                    <a:pt x="55" y="23"/>
                    <a:pt x="55" y="18"/>
                  </a:cubicBezTo>
                  <a:cubicBezTo>
                    <a:pt x="55" y="15"/>
                    <a:pt x="57" y="13"/>
                    <a:pt x="57" y="11"/>
                  </a:cubicBezTo>
                  <a:cubicBezTo>
                    <a:pt x="55" y="10"/>
                    <a:pt x="54" y="11"/>
                    <a:pt x="52" y="10"/>
                  </a:cubicBezTo>
                  <a:cubicBezTo>
                    <a:pt x="52" y="10"/>
                    <a:pt x="52" y="9"/>
                    <a:pt x="52" y="9"/>
                  </a:cubicBezTo>
                  <a:lnTo>
                    <a:pt x="50" y="1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3" name="Freeform 104">
              <a:extLst>
                <a:ext uri="{FF2B5EF4-FFF2-40B4-BE49-F238E27FC236}">
                  <a16:creationId xmlns:a16="http://schemas.microsoft.com/office/drawing/2014/main" id="{9DF90399-189E-46EE-9908-5678794DA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9388" y="2454275"/>
              <a:ext cx="31750" cy="31750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6" y="2"/>
                </a:cxn>
                <a:cxn ang="0">
                  <a:pos x="1" y="5"/>
                </a:cxn>
                <a:cxn ang="0">
                  <a:pos x="4" y="10"/>
                </a:cxn>
                <a:cxn ang="0">
                  <a:pos x="6" y="13"/>
                </a:cxn>
                <a:cxn ang="0">
                  <a:pos x="16" y="17"/>
                </a:cxn>
                <a:cxn ang="0">
                  <a:pos x="16" y="10"/>
                </a:cxn>
                <a:cxn ang="0">
                  <a:pos x="13" y="6"/>
                </a:cxn>
              </a:cxnLst>
              <a:rect l="0" t="0" r="r" b="b"/>
              <a:pathLst>
                <a:path w="17" h="17">
                  <a:moveTo>
                    <a:pt x="13" y="6"/>
                  </a:moveTo>
                  <a:cubicBezTo>
                    <a:pt x="10" y="6"/>
                    <a:pt x="8" y="3"/>
                    <a:pt x="6" y="2"/>
                  </a:cubicBezTo>
                  <a:cubicBezTo>
                    <a:pt x="3" y="0"/>
                    <a:pt x="0" y="0"/>
                    <a:pt x="1" y="5"/>
                  </a:cubicBezTo>
                  <a:cubicBezTo>
                    <a:pt x="1" y="8"/>
                    <a:pt x="2" y="7"/>
                    <a:pt x="4" y="10"/>
                  </a:cubicBezTo>
                  <a:cubicBezTo>
                    <a:pt x="5" y="11"/>
                    <a:pt x="5" y="12"/>
                    <a:pt x="6" y="13"/>
                  </a:cubicBezTo>
                  <a:cubicBezTo>
                    <a:pt x="7" y="15"/>
                    <a:pt x="14" y="17"/>
                    <a:pt x="16" y="17"/>
                  </a:cubicBezTo>
                  <a:cubicBezTo>
                    <a:pt x="16" y="15"/>
                    <a:pt x="17" y="12"/>
                    <a:pt x="16" y="10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4" name="Freeform 105">
              <a:extLst>
                <a:ext uri="{FF2B5EF4-FFF2-40B4-BE49-F238E27FC236}">
                  <a16:creationId xmlns:a16="http://schemas.microsoft.com/office/drawing/2014/main" id="{F3D7B313-09F1-4DF2-9550-EEF45ACD7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8575" cy="50800"/>
            </a:xfrm>
            <a:custGeom>
              <a:avLst/>
              <a:gdLst/>
              <a:ahLst/>
              <a:cxnLst>
                <a:cxn ang="0">
                  <a:pos x="11" y="4"/>
                </a:cxn>
                <a:cxn ang="0">
                  <a:pos x="2" y="2"/>
                </a:cxn>
                <a:cxn ang="0">
                  <a:pos x="2" y="9"/>
                </a:cxn>
                <a:cxn ang="0">
                  <a:pos x="9" y="16"/>
                </a:cxn>
                <a:cxn ang="0">
                  <a:pos x="7" y="21"/>
                </a:cxn>
                <a:cxn ang="0">
                  <a:pos x="9" y="26"/>
                </a:cxn>
                <a:cxn ang="0">
                  <a:pos x="12" y="27"/>
                </a:cxn>
                <a:cxn ang="0">
                  <a:pos x="12" y="16"/>
                </a:cxn>
                <a:cxn ang="0">
                  <a:pos x="13" y="10"/>
                </a:cxn>
                <a:cxn ang="0">
                  <a:pos x="11" y="4"/>
                </a:cxn>
              </a:cxnLst>
              <a:rect l="0" t="0" r="r" b="b"/>
              <a:pathLst>
                <a:path w="15" h="27">
                  <a:moveTo>
                    <a:pt x="11" y="4"/>
                  </a:moveTo>
                  <a:cubicBezTo>
                    <a:pt x="9" y="3"/>
                    <a:pt x="3" y="0"/>
                    <a:pt x="2" y="2"/>
                  </a:cubicBezTo>
                  <a:cubicBezTo>
                    <a:pt x="0" y="3"/>
                    <a:pt x="1" y="7"/>
                    <a:pt x="2" y="9"/>
                  </a:cubicBezTo>
                  <a:cubicBezTo>
                    <a:pt x="3" y="12"/>
                    <a:pt x="8" y="13"/>
                    <a:pt x="9" y="16"/>
                  </a:cubicBezTo>
                  <a:cubicBezTo>
                    <a:pt x="9" y="18"/>
                    <a:pt x="8" y="19"/>
                    <a:pt x="7" y="21"/>
                  </a:cubicBezTo>
                  <a:cubicBezTo>
                    <a:pt x="7" y="22"/>
                    <a:pt x="7" y="25"/>
                    <a:pt x="9" y="26"/>
                  </a:cubicBezTo>
                  <a:cubicBezTo>
                    <a:pt x="9" y="26"/>
                    <a:pt x="12" y="27"/>
                    <a:pt x="12" y="27"/>
                  </a:cubicBezTo>
                  <a:cubicBezTo>
                    <a:pt x="15" y="26"/>
                    <a:pt x="13" y="18"/>
                    <a:pt x="12" y="16"/>
                  </a:cubicBezTo>
                  <a:cubicBezTo>
                    <a:pt x="12" y="15"/>
                    <a:pt x="12" y="12"/>
                    <a:pt x="13" y="10"/>
                  </a:cubicBezTo>
                  <a:lnTo>
                    <a:pt x="11" y="4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5" name="Freeform 106">
              <a:extLst>
                <a:ext uri="{FF2B5EF4-FFF2-40B4-BE49-F238E27FC236}">
                  <a16:creationId xmlns:a16="http://schemas.microsoft.com/office/drawing/2014/main" id="{264CD794-F9F4-469F-8A3D-41FBDDF057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4188" y="3221038"/>
              <a:ext cx="300038" cy="554038"/>
            </a:xfrm>
            <a:custGeom>
              <a:avLst/>
              <a:gdLst/>
              <a:ahLst/>
              <a:cxnLst>
                <a:cxn ang="0">
                  <a:pos x="92" y="72"/>
                </a:cxn>
                <a:cxn ang="0">
                  <a:pos x="75" y="76"/>
                </a:cxn>
                <a:cxn ang="0">
                  <a:pos x="65" y="79"/>
                </a:cxn>
                <a:cxn ang="0">
                  <a:pos x="62" y="97"/>
                </a:cxn>
                <a:cxn ang="0">
                  <a:pos x="69" y="109"/>
                </a:cxn>
                <a:cxn ang="0">
                  <a:pos x="60" y="103"/>
                </a:cxn>
                <a:cxn ang="0">
                  <a:pos x="45" y="81"/>
                </a:cxn>
                <a:cxn ang="0">
                  <a:pos x="58" y="74"/>
                </a:cxn>
                <a:cxn ang="0">
                  <a:pos x="80" y="70"/>
                </a:cxn>
                <a:cxn ang="0">
                  <a:pos x="99" y="67"/>
                </a:cxn>
                <a:cxn ang="0">
                  <a:pos x="152" y="264"/>
                </a:cxn>
                <a:cxn ang="0">
                  <a:pos x="145" y="261"/>
                </a:cxn>
                <a:cxn ang="0">
                  <a:pos x="151" y="239"/>
                </a:cxn>
                <a:cxn ang="0">
                  <a:pos x="142" y="225"/>
                </a:cxn>
                <a:cxn ang="0">
                  <a:pos x="148" y="222"/>
                </a:cxn>
                <a:cxn ang="0">
                  <a:pos x="128" y="207"/>
                </a:cxn>
                <a:cxn ang="0">
                  <a:pos x="96" y="204"/>
                </a:cxn>
                <a:cxn ang="0">
                  <a:pos x="100" y="187"/>
                </a:cxn>
                <a:cxn ang="0">
                  <a:pos x="118" y="185"/>
                </a:cxn>
                <a:cxn ang="0">
                  <a:pos x="120" y="164"/>
                </a:cxn>
                <a:cxn ang="0">
                  <a:pos x="136" y="155"/>
                </a:cxn>
                <a:cxn ang="0">
                  <a:pos x="149" y="152"/>
                </a:cxn>
                <a:cxn ang="0">
                  <a:pos x="158" y="131"/>
                </a:cxn>
                <a:cxn ang="0">
                  <a:pos x="125" y="109"/>
                </a:cxn>
                <a:cxn ang="0">
                  <a:pos x="122" y="92"/>
                </a:cxn>
                <a:cxn ang="0">
                  <a:pos x="129" y="66"/>
                </a:cxn>
                <a:cxn ang="0">
                  <a:pos x="139" y="50"/>
                </a:cxn>
                <a:cxn ang="0">
                  <a:pos x="136" y="26"/>
                </a:cxn>
                <a:cxn ang="0">
                  <a:pos x="140" y="2"/>
                </a:cxn>
                <a:cxn ang="0">
                  <a:pos x="108" y="16"/>
                </a:cxn>
                <a:cxn ang="0">
                  <a:pos x="87" y="45"/>
                </a:cxn>
                <a:cxn ang="0">
                  <a:pos x="55" y="58"/>
                </a:cxn>
                <a:cxn ang="0">
                  <a:pos x="24" y="72"/>
                </a:cxn>
                <a:cxn ang="0">
                  <a:pos x="19" y="105"/>
                </a:cxn>
                <a:cxn ang="0">
                  <a:pos x="31" y="104"/>
                </a:cxn>
                <a:cxn ang="0">
                  <a:pos x="39" y="106"/>
                </a:cxn>
                <a:cxn ang="0">
                  <a:pos x="38" y="124"/>
                </a:cxn>
                <a:cxn ang="0">
                  <a:pos x="21" y="118"/>
                </a:cxn>
                <a:cxn ang="0">
                  <a:pos x="5" y="120"/>
                </a:cxn>
                <a:cxn ang="0">
                  <a:pos x="6" y="160"/>
                </a:cxn>
                <a:cxn ang="0">
                  <a:pos x="15" y="167"/>
                </a:cxn>
                <a:cxn ang="0">
                  <a:pos x="12" y="177"/>
                </a:cxn>
                <a:cxn ang="0">
                  <a:pos x="5" y="207"/>
                </a:cxn>
                <a:cxn ang="0">
                  <a:pos x="13" y="227"/>
                </a:cxn>
                <a:cxn ang="0">
                  <a:pos x="22" y="223"/>
                </a:cxn>
                <a:cxn ang="0">
                  <a:pos x="28" y="224"/>
                </a:cxn>
                <a:cxn ang="0">
                  <a:pos x="34" y="240"/>
                </a:cxn>
                <a:cxn ang="0">
                  <a:pos x="32" y="261"/>
                </a:cxn>
                <a:cxn ang="0">
                  <a:pos x="49" y="272"/>
                </a:cxn>
                <a:cxn ang="0">
                  <a:pos x="63" y="274"/>
                </a:cxn>
                <a:cxn ang="0">
                  <a:pos x="72" y="279"/>
                </a:cxn>
                <a:cxn ang="0">
                  <a:pos x="86" y="277"/>
                </a:cxn>
                <a:cxn ang="0">
                  <a:pos x="105" y="281"/>
                </a:cxn>
                <a:cxn ang="0">
                  <a:pos x="102" y="259"/>
                </a:cxn>
                <a:cxn ang="0">
                  <a:pos x="88" y="264"/>
                </a:cxn>
                <a:cxn ang="0">
                  <a:pos x="90" y="246"/>
                </a:cxn>
                <a:cxn ang="0">
                  <a:pos x="104" y="244"/>
                </a:cxn>
                <a:cxn ang="0">
                  <a:pos x="120" y="257"/>
                </a:cxn>
                <a:cxn ang="0">
                  <a:pos x="138" y="275"/>
                </a:cxn>
                <a:cxn ang="0">
                  <a:pos x="149" y="288"/>
                </a:cxn>
                <a:cxn ang="0">
                  <a:pos x="155" y="271"/>
                </a:cxn>
              </a:cxnLst>
              <a:rect l="0" t="0" r="r" b="b"/>
              <a:pathLst>
                <a:path w="161" h="297">
                  <a:moveTo>
                    <a:pt x="35" y="281"/>
                  </a:moveTo>
                  <a:cubicBezTo>
                    <a:pt x="35" y="281"/>
                    <a:pt x="35" y="281"/>
                    <a:pt x="36" y="281"/>
                  </a:cubicBezTo>
                  <a:cubicBezTo>
                    <a:pt x="36" y="281"/>
                    <a:pt x="36" y="281"/>
                    <a:pt x="36" y="280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80"/>
                    <a:pt x="35" y="281"/>
                    <a:pt x="35" y="281"/>
                  </a:cubicBezTo>
                  <a:moveTo>
                    <a:pt x="92" y="72"/>
                  </a:moveTo>
                  <a:cubicBezTo>
                    <a:pt x="90" y="72"/>
                    <a:pt x="90" y="72"/>
                    <a:pt x="89" y="74"/>
                  </a:cubicBezTo>
                  <a:cubicBezTo>
                    <a:pt x="88" y="75"/>
                    <a:pt x="88" y="76"/>
                    <a:pt x="87" y="77"/>
                  </a:cubicBezTo>
                  <a:cubicBezTo>
                    <a:pt x="86" y="77"/>
                    <a:pt x="85" y="77"/>
                    <a:pt x="85" y="77"/>
                  </a:cubicBezTo>
                  <a:cubicBezTo>
                    <a:pt x="84" y="77"/>
                    <a:pt x="84" y="78"/>
                    <a:pt x="83" y="78"/>
                  </a:cubicBezTo>
                  <a:cubicBezTo>
                    <a:pt x="81" y="78"/>
                    <a:pt x="80" y="78"/>
                    <a:pt x="79" y="77"/>
                  </a:cubicBezTo>
                  <a:cubicBezTo>
                    <a:pt x="77" y="76"/>
                    <a:pt x="77" y="76"/>
                    <a:pt x="75" y="76"/>
                  </a:cubicBezTo>
                  <a:cubicBezTo>
                    <a:pt x="73" y="76"/>
                    <a:pt x="72" y="78"/>
                    <a:pt x="71" y="78"/>
                  </a:cubicBezTo>
                  <a:cubicBezTo>
                    <a:pt x="69" y="78"/>
                    <a:pt x="69" y="78"/>
                    <a:pt x="68" y="79"/>
                  </a:cubicBezTo>
                  <a:cubicBezTo>
                    <a:pt x="67" y="79"/>
                    <a:pt x="67" y="79"/>
                    <a:pt x="66" y="79"/>
                  </a:cubicBezTo>
                  <a:cubicBezTo>
                    <a:pt x="66" y="80"/>
                    <a:pt x="67" y="81"/>
                    <a:pt x="65" y="80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6" y="77"/>
                    <a:pt x="66" y="78"/>
                    <a:pt x="65" y="79"/>
                  </a:cubicBezTo>
                  <a:cubicBezTo>
                    <a:pt x="64" y="80"/>
                    <a:pt x="62" y="81"/>
                    <a:pt x="61" y="82"/>
                  </a:cubicBezTo>
                  <a:cubicBezTo>
                    <a:pt x="61" y="83"/>
                    <a:pt x="61" y="84"/>
                    <a:pt x="61" y="84"/>
                  </a:cubicBezTo>
                  <a:cubicBezTo>
                    <a:pt x="61" y="85"/>
                    <a:pt x="60" y="85"/>
                    <a:pt x="60" y="85"/>
                  </a:cubicBezTo>
                  <a:cubicBezTo>
                    <a:pt x="60" y="88"/>
                    <a:pt x="64" y="88"/>
                    <a:pt x="63" y="91"/>
                  </a:cubicBezTo>
                  <a:cubicBezTo>
                    <a:pt x="62" y="92"/>
                    <a:pt x="62" y="93"/>
                    <a:pt x="62" y="94"/>
                  </a:cubicBezTo>
                  <a:cubicBezTo>
                    <a:pt x="61" y="95"/>
                    <a:pt x="62" y="96"/>
                    <a:pt x="62" y="97"/>
                  </a:cubicBezTo>
                  <a:cubicBezTo>
                    <a:pt x="62" y="98"/>
                    <a:pt x="62" y="99"/>
                    <a:pt x="62" y="100"/>
                  </a:cubicBezTo>
                  <a:cubicBezTo>
                    <a:pt x="62" y="101"/>
                    <a:pt x="63" y="101"/>
                    <a:pt x="63" y="102"/>
                  </a:cubicBezTo>
                  <a:cubicBezTo>
                    <a:pt x="63" y="102"/>
                    <a:pt x="63" y="103"/>
                    <a:pt x="63" y="104"/>
                  </a:cubicBezTo>
                  <a:cubicBezTo>
                    <a:pt x="64" y="104"/>
                    <a:pt x="65" y="104"/>
                    <a:pt x="66" y="104"/>
                  </a:cubicBezTo>
                  <a:cubicBezTo>
                    <a:pt x="67" y="104"/>
                    <a:pt x="67" y="104"/>
                    <a:pt x="68" y="104"/>
                  </a:cubicBezTo>
                  <a:cubicBezTo>
                    <a:pt x="69" y="105"/>
                    <a:pt x="70" y="108"/>
                    <a:pt x="69" y="109"/>
                  </a:cubicBezTo>
                  <a:cubicBezTo>
                    <a:pt x="69" y="110"/>
                    <a:pt x="66" y="111"/>
                    <a:pt x="65" y="111"/>
                  </a:cubicBezTo>
                  <a:cubicBezTo>
                    <a:pt x="62" y="111"/>
                    <a:pt x="60" y="110"/>
                    <a:pt x="57" y="110"/>
                  </a:cubicBezTo>
                  <a:cubicBezTo>
                    <a:pt x="54" y="109"/>
                    <a:pt x="55" y="112"/>
                    <a:pt x="54" y="115"/>
                  </a:cubicBezTo>
                  <a:cubicBezTo>
                    <a:pt x="53" y="113"/>
                    <a:pt x="54" y="110"/>
                    <a:pt x="55" y="108"/>
                  </a:cubicBezTo>
                  <a:cubicBezTo>
                    <a:pt x="55" y="107"/>
                    <a:pt x="58" y="107"/>
                    <a:pt x="58" y="107"/>
                  </a:cubicBezTo>
                  <a:cubicBezTo>
                    <a:pt x="58" y="106"/>
                    <a:pt x="60" y="103"/>
                    <a:pt x="60" y="103"/>
                  </a:cubicBezTo>
                  <a:cubicBezTo>
                    <a:pt x="60" y="99"/>
                    <a:pt x="56" y="98"/>
                    <a:pt x="56" y="94"/>
                  </a:cubicBezTo>
                  <a:cubicBezTo>
                    <a:pt x="55" y="92"/>
                    <a:pt x="51" y="91"/>
                    <a:pt x="51" y="88"/>
                  </a:cubicBezTo>
                  <a:cubicBezTo>
                    <a:pt x="50" y="88"/>
                    <a:pt x="49" y="89"/>
                    <a:pt x="48" y="90"/>
                  </a:cubicBezTo>
                  <a:cubicBezTo>
                    <a:pt x="47" y="92"/>
                    <a:pt x="47" y="92"/>
                    <a:pt x="46" y="91"/>
                  </a:cubicBezTo>
                  <a:cubicBezTo>
                    <a:pt x="43" y="90"/>
                    <a:pt x="41" y="85"/>
                    <a:pt x="45" y="84"/>
                  </a:cubicBezTo>
                  <a:cubicBezTo>
                    <a:pt x="45" y="83"/>
                    <a:pt x="45" y="82"/>
                    <a:pt x="45" y="81"/>
                  </a:cubicBezTo>
                  <a:cubicBezTo>
                    <a:pt x="44" y="81"/>
                    <a:pt x="44" y="82"/>
                    <a:pt x="43" y="82"/>
                  </a:cubicBezTo>
                  <a:cubicBezTo>
                    <a:pt x="42" y="83"/>
                    <a:pt x="41" y="84"/>
                    <a:pt x="40" y="84"/>
                  </a:cubicBezTo>
                  <a:cubicBezTo>
                    <a:pt x="36" y="85"/>
                    <a:pt x="37" y="81"/>
                    <a:pt x="36" y="79"/>
                  </a:cubicBezTo>
                  <a:cubicBezTo>
                    <a:pt x="39" y="77"/>
                    <a:pt x="43" y="79"/>
                    <a:pt x="46" y="78"/>
                  </a:cubicBezTo>
                  <a:cubicBezTo>
                    <a:pt x="49" y="78"/>
                    <a:pt x="50" y="76"/>
                    <a:pt x="52" y="75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59" y="74"/>
                    <a:pt x="61" y="74"/>
                    <a:pt x="62" y="73"/>
                  </a:cubicBezTo>
                  <a:cubicBezTo>
                    <a:pt x="63" y="73"/>
                    <a:pt x="64" y="74"/>
                    <a:pt x="64" y="76"/>
                  </a:cubicBezTo>
                  <a:cubicBezTo>
                    <a:pt x="66" y="76"/>
                    <a:pt x="67" y="75"/>
                    <a:pt x="68" y="74"/>
                  </a:cubicBezTo>
                  <a:cubicBezTo>
                    <a:pt x="69" y="74"/>
                    <a:pt x="70" y="73"/>
                    <a:pt x="71" y="73"/>
                  </a:cubicBezTo>
                  <a:cubicBezTo>
                    <a:pt x="73" y="73"/>
                    <a:pt x="74" y="73"/>
                    <a:pt x="75" y="72"/>
                  </a:cubicBezTo>
                  <a:cubicBezTo>
                    <a:pt x="77" y="71"/>
                    <a:pt x="78" y="70"/>
                    <a:pt x="80" y="70"/>
                  </a:cubicBezTo>
                  <a:cubicBezTo>
                    <a:pt x="81" y="70"/>
                    <a:pt x="82" y="71"/>
                    <a:pt x="83" y="70"/>
                  </a:cubicBezTo>
                  <a:cubicBezTo>
                    <a:pt x="83" y="69"/>
                    <a:pt x="83" y="67"/>
                    <a:pt x="83" y="67"/>
                  </a:cubicBezTo>
                  <a:cubicBezTo>
                    <a:pt x="84" y="64"/>
                    <a:pt x="85" y="63"/>
                    <a:pt x="88" y="63"/>
                  </a:cubicBezTo>
                  <a:cubicBezTo>
                    <a:pt x="88" y="65"/>
                    <a:pt x="88" y="66"/>
                    <a:pt x="89" y="66"/>
                  </a:cubicBezTo>
                  <a:cubicBezTo>
                    <a:pt x="90" y="67"/>
                    <a:pt x="93" y="66"/>
                    <a:pt x="94" y="66"/>
                  </a:cubicBezTo>
                  <a:cubicBezTo>
                    <a:pt x="97" y="65"/>
                    <a:pt x="98" y="64"/>
                    <a:pt x="99" y="67"/>
                  </a:cubicBezTo>
                  <a:cubicBezTo>
                    <a:pt x="99" y="68"/>
                    <a:pt x="100" y="70"/>
                    <a:pt x="99" y="71"/>
                  </a:cubicBezTo>
                  <a:cubicBezTo>
                    <a:pt x="99" y="72"/>
                    <a:pt x="94" y="72"/>
                    <a:pt x="92" y="72"/>
                  </a:cubicBezTo>
                  <a:moveTo>
                    <a:pt x="160" y="255"/>
                  </a:moveTo>
                  <a:cubicBezTo>
                    <a:pt x="160" y="254"/>
                    <a:pt x="161" y="254"/>
                    <a:pt x="160" y="253"/>
                  </a:cubicBezTo>
                  <a:cubicBezTo>
                    <a:pt x="159" y="251"/>
                    <a:pt x="156" y="254"/>
                    <a:pt x="155" y="255"/>
                  </a:cubicBezTo>
                  <a:cubicBezTo>
                    <a:pt x="153" y="258"/>
                    <a:pt x="153" y="261"/>
                    <a:pt x="152" y="264"/>
                  </a:cubicBezTo>
                  <a:cubicBezTo>
                    <a:pt x="151" y="266"/>
                    <a:pt x="150" y="268"/>
                    <a:pt x="148" y="269"/>
                  </a:cubicBezTo>
                  <a:cubicBezTo>
                    <a:pt x="147" y="270"/>
                    <a:pt x="146" y="271"/>
                    <a:pt x="145" y="271"/>
                  </a:cubicBezTo>
                  <a:cubicBezTo>
                    <a:pt x="144" y="271"/>
                    <a:pt x="145" y="270"/>
                    <a:pt x="144" y="270"/>
                  </a:cubicBezTo>
                  <a:cubicBezTo>
                    <a:pt x="144" y="269"/>
                    <a:pt x="143" y="270"/>
                    <a:pt x="143" y="270"/>
                  </a:cubicBezTo>
                  <a:cubicBezTo>
                    <a:pt x="141" y="269"/>
                    <a:pt x="142" y="265"/>
                    <a:pt x="142" y="263"/>
                  </a:cubicBezTo>
                  <a:cubicBezTo>
                    <a:pt x="143" y="262"/>
                    <a:pt x="144" y="262"/>
                    <a:pt x="145" y="261"/>
                  </a:cubicBezTo>
                  <a:cubicBezTo>
                    <a:pt x="146" y="260"/>
                    <a:pt x="146" y="259"/>
                    <a:pt x="146" y="259"/>
                  </a:cubicBezTo>
                  <a:cubicBezTo>
                    <a:pt x="148" y="257"/>
                    <a:pt x="149" y="256"/>
                    <a:pt x="150" y="254"/>
                  </a:cubicBezTo>
                  <a:cubicBezTo>
                    <a:pt x="150" y="253"/>
                    <a:pt x="151" y="251"/>
                    <a:pt x="152" y="249"/>
                  </a:cubicBezTo>
                  <a:cubicBezTo>
                    <a:pt x="152" y="248"/>
                    <a:pt x="152" y="248"/>
                    <a:pt x="152" y="247"/>
                  </a:cubicBezTo>
                  <a:cubicBezTo>
                    <a:pt x="152" y="245"/>
                    <a:pt x="153" y="242"/>
                    <a:pt x="152" y="241"/>
                  </a:cubicBezTo>
                  <a:cubicBezTo>
                    <a:pt x="152" y="240"/>
                    <a:pt x="151" y="240"/>
                    <a:pt x="151" y="239"/>
                  </a:cubicBezTo>
                  <a:cubicBezTo>
                    <a:pt x="151" y="239"/>
                    <a:pt x="150" y="238"/>
                    <a:pt x="150" y="238"/>
                  </a:cubicBezTo>
                  <a:cubicBezTo>
                    <a:pt x="150" y="237"/>
                    <a:pt x="150" y="236"/>
                    <a:pt x="150" y="235"/>
                  </a:cubicBezTo>
                  <a:cubicBezTo>
                    <a:pt x="150" y="234"/>
                    <a:pt x="150" y="234"/>
                    <a:pt x="150" y="233"/>
                  </a:cubicBezTo>
                  <a:cubicBezTo>
                    <a:pt x="149" y="232"/>
                    <a:pt x="149" y="231"/>
                    <a:pt x="148" y="230"/>
                  </a:cubicBezTo>
                  <a:cubicBezTo>
                    <a:pt x="147" y="229"/>
                    <a:pt x="145" y="228"/>
                    <a:pt x="144" y="227"/>
                  </a:cubicBezTo>
                  <a:cubicBezTo>
                    <a:pt x="144" y="226"/>
                    <a:pt x="144" y="226"/>
                    <a:pt x="142" y="225"/>
                  </a:cubicBezTo>
                  <a:cubicBezTo>
                    <a:pt x="141" y="225"/>
                    <a:pt x="139" y="225"/>
                    <a:pt x="137" y="224"/>
                  </a:cubicBezTo>
                  <a:cubicBezTo>
                    <a:pt x="136" y="224"/>
                    <a:pt x="136" y="223"/>
                    <a:pt x="135" y="223"/>
                  </a:cubicBezTo>
                  <a:cubicBezTo>
                    <a:pt x="136" y="222"/>
                    <a:pt x="136" y="221"/>
                    <a:pt x="138" y="220"/>
                  </a:cubicBezTo>
                  <a:cubicBezTo>
                    <a:pt x="140" y="219"/>
                    <a:pt x="139" y="220"/>
                    <a:pt x="140" y="221"/>
                  </a:cubicBezTo>
                  <a:cubicBezTo>
                    <a:pt x="142" y="224"/>
                    <a:pt x="145" y="225"/>
                    <a:pt x="148" y="225"/>
                  </a:cubicBezTo>
                  <a:cubicBezTo>
                    <a:pt x="148" y="224"/>
                    <a:pt x="149" y="223"/>
                    <a:pt x="148" y="222"/>
                  </a:cubicBezTo>
                  <a:cubicBezTo>
                    <a:pt x="148" y="220"/>
                    <a:pt x="147" y="220"/>
                    <a:pt x="147" y="218"/>
                  </a:cubicBezTo>
                  <a:cubicBezTo>
                    <a:pt x="146" y="218"/>
                    <a:pt x="147" y="216"/>
                    <a:pt x="147" y="215"/>
                  </a:cubicBezTo>
                  <a:cubicBezTo>
                    <a:pt x="146" y="214"/>
                    <a:pt x="146" y="212"/>
                    <a:pt x="145" y="211"/>
                  </a:cubicBezTo>
                  <a:cubicBezTo>
                    <a:pt x="145" y="208"/>
                    <a:pt x="144" y="207"/>
                    <a:pt x="141" y="207"/>
                  </a:cubicBezTo>
                  <a:cubicBezTo>
                    <a:pt x="139" y="207"/>
                    <a:pt x="137" y="208"/>
                    <a:pt x="136" y="208"/>
                  </a:cubicBezTo>
                  <a:cubicBezTo>
                    <a:pt x="133" y="208"/>
                    <a:pt x="130" y="208"/>
                    <a:pt x="128" y="207"/>
                  </a:cubicBezTo>
                  <a:cubicBezTo>
                    <a:pt x="127" y="206"/>
                    <a:pt x="125" y="205"/>
                    <a:pt x="124" y="205"/>
                  </a:cubicBezTo>
                  <a:cubicBezTo>
                    <a:pt x="122" y="205"/>
                    <a:pt x="119" y="205"/>
                    <a:pt x="117" y="205"/>
                  </a:cubicBezTo>
                  <a:cubicBezTo>
                    <a:pt x="114" y="205"/>
                    <a:pt x="111" y="207"/>
                    <a:pt x="108" y="207"/>
                  </a:cubicBezTo>
                  <a:cubicBezTo>
                    <a:pt x="106" y="207"/>
                    <a:pt x="103" y="207"/>
                    <a:pt x="101" y="207"/>
                  </a:cubicBezTo>
                  <a:cubicBezTo>
                    <a:pt x="99" y="206"/>
                    <a:pt x="95" y="207"/>
                    <a:pt x="94" y="206"/>
                  </a:cubicBezTo>
                  <a:cubicBezTo>
                    <a:pt x="95" y="206"/>
                    <a:pt x="95" y="204"/>
                    <a:pt x="96" y="204"/>
                  </a:cubicBezTo>
                  <a:cubicBezTo>
                    <a:pt x="96" y="204"/>
                    <a:pt x="98" y="204"/>
                    <a:pt x="98" y="204"/>
                  </a:cubicBezTo>
                  <a:cubicBezTo>
                    <a:pt x="100" y="203"/>
                    <a:pt x="101" y="201"/>
                    <a:pt x="102" y="200"/>
                  </a:cubicBezTo>
                  <a:cubicBezTo>
                    <a:pt x="104" y="199"/>
                    <a:pt x="107" y="200"/>
                    <a:pt x="108" y="198"/>
                  </a:cubicBezTo>
                  <a:cubicBezTo>
                    <a:pt x="108" y="197"/>
                    <a:pt x="108" y="195"/>
                    <a:pt x="108" y="193"/>
                  </a:cubicBezTo>
                  <a:cubicBezTo>
                    <a:pt x="108" y="192"/>
                    <a:pt x="108" y="191"/>
                    <a:pt x="107" y="191"/>
                  </a:cubicBezTo>
                  <a:cubicBezTo>
                    <a:pt x="105" y="189"/>
                    <a:pt x="101" y="191"/>
                    <a:pt x="100" y="187"/>
                  </a:cubicBezTo>
                  <a:cubicBezTo>
                    <a:pt x="99" y="183"/>
                    <a:pt x="102" y="185"/>
                    <a:pt x="105" y="185"/>
                  </a:cubicBezTo>
                  <a:cubicBezTo>
                    <a:pt x="106" y="185"/>
                    <a:pt x="107" y="185"/>
                    <a:pt x="108" y="185"/>
                  </a:cubicBezTo>
                  <a:cubicBezTo>
                    <a:pt x="109" y="185"/>
                    <a:pt x="110" y="184"/>
                    <a:pt x="111" y="184"/>
                  </a:cubicBezTo>
                  <a:cubicBezTo>
                    <a:pt x="112" y="184"/>
                    <a:pt x="112" y="184"/>
                    <a:pt x="114" y="186"/>
                  </a:cubicBezTo>
                  <a:cubicBezTo>
                    <a:pt x="114" y="186"/>
                    <a:pt x="115" y="189"/>
                    <a:pt x="117" y="189"/>
                  </a:cubicBezTo>
                  <a:cubicBezTo>
                    <a:pt x="117" y="187"/>
                    <a:pt x="116" y="186"/>
                    <a:pt x="118" y="185"/>
                  </a:cubicBezTo>
                  <a:cubicBezTo>
                    <a:pt x="119" y="184"/>
                    <a:pt x="119" y="185"/>
                    <a:pt x="120" y="184"/>
                  </a:cubicBezTo>
                  <a:cubicBezTo>
                    <a:pt x="120" y="184"/>
                    <a:pt x="120" y="182"/>
                    <a:pt x="120" y="182"/>
                  </a:cubicBezTo>
                  <a:cubicBezTo>
                    <a:pt x="121" y="178"/>
                    <a:pt x="122" y="175"/>
                    <a:pt x="121" y="172"/>
                  </a:cubicBezTo>
                  <a:cubicBezTo>
                    <a:pt x="121" y="171"/>
                    <a:pt x="121" y="169"/>
                    <a:pt x="121" y="168"/>
                  </a:cubicBezTo>
                  <a:cubicBezTo>
                    <a:pt x="121" y="168"/>
                    <a:pt x="121" y="167"/>
                    <a:pt x="120" y="167"/>
                  </a:cubicBezTo>
                  <a:cubicBezTo>
                    <a:pt x="120" y="166"/>
                    <a:pt x="120" y="165"/>
                    <a:pt x="120" y="164"/>
                  </a:cubicBezTo>
                  <a:cubicBezTo>
                    <a:pt x="120" y="162"/>
                    <a:pt x="119" y="162"/>
                    <a:pt x="119" y="160"/>
                  </a:cubicBezTo>
                  <a:cubicBezTo>
                    <a:pt x="119" y="159"/>
                    <a:pt x="119" y="158"/>
                    <a:pt x="120" y="157"/>
                  </a:cubicBezTo>
                  <a:cubicBezTo>
                    <a:pt x="121" y="154"/>
                    <a:pt x="121" y="152"/>
                    <a:pt x="124" y="151"/>
                  </a:cubicBezTo>
                  <a:cubicBezTo>
                    <a:pt x="127" y="151"/>
                    <a:pt x="129" y="152"/>
                    <a:pt x="130" y="154"/>
                  </a:cubicBezTo>
                  <a:cubicBezTo>
                    <a:pt x="131" y="156"/>
                    <a:pt x="130" y="156"/>
                    <a:pt x="132" y="156"/>
                  </a:cubicBezTo>
                  <a:cubicBezTo>
                    <a:pt x="134" y="156"/>
                    <a:pt x="135" y="156"/>
                    <a:pt x="136" y="155"/>
                  </a:cubicBezTo>
                  <a:cubicBezTo>
                    <a:pt x="138" y="153"/>
                    <a:pt x="138" y="151"/>
                    <a:pt x="141" y="151"/>
                  </a:cubicBezTo>
                  <a:cubicBezTo>
                    <a:pt x="141" y="153"/>
                    <a:pt x="139" y="156"/>
                    <a:pt x="140" y="158"/>
                  </a:cubicBezTo>
                  <a:cubicBezTo>
                    <a:pt x="141" y="159"/>
                    <a:pt x="143" y="158"/>
                    <a:pt x="145" y="158"/>
                  </a:cubicBezTo>
                  <a:cubicBezTo>
                    <a:pt x="146" y="158"/>
                    <a:pt x="147" y="159"/>
                    <a:pt x="147" y="157"/>
                  </a:cubicBezTo>
                  <a:cubicBezTo>
                    <a:pt x="147" y="157"/>
                    <a:pt x="147" y="156"/>
                    <a:pt x="148" y="155"/>
                  </a:cubicBezTo>
                  <a:cubicBezTo>
                    <a:pt x="148" y="154"/>
                    <a:pt x="148" y="153"/>
                    <a:pt x="149" y="152"/>
                  </a:cubicBezTo>
                  <a:cubicBezTo>
                    <a:pt x="149" y="151"/>
                    <a:pt x="151" y="151"/>
                    <a:pt x="151" y="150"/>
                  </a:cubicBezTo>
                  <a:cubicBezTo>
                    <a:pt x="152" y="149"/>
                    <a:pt x="152" y="147"/>
                    <a:pt x="152" y="146"/>
                  </a:cubicBezTo>
                  <a:cubicBezTo>
                    <a:pt x="152" y="146"/>
                    <a:pt x="152" y="145"/>
                    <a:pt x="152" y="144"/>
                  </a:cubicBezTo>
                  <a:cubicBezTo>
                    <a:pt x="152" y="143"/>
                    <a:pt x="153" y="142"/>
                    <a:pt x="154" y="141"/>
                  </a:cubicBezTo>
                  <a:cubicBezTo>
                    <a:pt x="155" y="139"/>
                    <a:pt x="155" y="137"/>
                    <a:pt x="157" y="135"/>
                  </a:cubicBezTo>
                  <a:cubicBezTo>
                    <a:pt x="157" y="133"/>
                    <a:pt x="158" y="132"/>
                    <a:pt x="158" y="131"/>
                  </a:cubicBezTo>
                  <a:cubicBezTo>
                    <a:pt x="158" y="128"/>
                    <a:pt x="158" y="126"/>
                    <a:pt x="156" y="124"/>
                  </a:cubicBezTo>
                  <a:cubicBezTo>
                    <a:pt x="154" y="122"/>
                    <a:pt x="150" y="123"/>
                    <a:pt x="147" y="123"/>
                  </a:cubicBezTo>
                  <a:cubicBezTo>
                    <a:pt x="143" y="124"/>
                    <a:pt x="139" y="125"/>
                    <a:pt x="135" y="124"/>
                  </a:cubicBezTo>
                  <a:cubicBezTo>
                    <a:pt x="133" y="123"/>
                    <a:pt x="131" y="121"/>
                    <a:pt x="129" y="119"/>
                  </a:cubicBezTo>
                  <a:cubicBezTo>
                    <a:pt x="127" y="118"/>
                    <a:pt x="127" y="118"/>
                    <a:pt x="126" y="117"/>
                  </a:cubicBezTo>
                  <a:cubicBezTo>
                    <a:pt x="126" y="114"/>
                    <a:pt x="125" y="111"/>
                    <a:pt x="125" y="109"/>
                  </a:cubicBezTo>
                  <a:cubicBezTo>
                    <a:pt x="125" y="107"/>
                    <a:pt x="125" y="106"/>
                    <a:pt x="125" y="104"/>
                  </a:cubicBezTo>
                  <a:cubicBezTo>
                    <a:pt x="124" y="103"/>
                    <a:pt x="124" y="101"/>
                    <a:pt x="123" y="100"/>
                  </a:cubicBezTo>
                  <a:cubicBezTo>
                    <a:pt x="123" y="99"/>
                    <a:pt x="123" y="98"/>
                    <a:pt x="123" y="97"/>
                  </a:cubicBezTo>
                  <a:cubicBezTo>
                    <a:pt x="123" y="96"/>
                    <a:pt x="123" y="95"/>
                    <a:pt x="123" y="94"/>
                  </a:cubicBezTo>
                  <a:cubicBezTo>
                    <a:pt x="123" y="94"/>
                    <a:pt x="122" y="94"/>
                    <a:pt x="122" y="93"/>
                  </a:cubicBezTo>
                  <a:cubicBezTo>
                    <a:pt x="122" y="93"/>
                    <a:pt x="122" y="92"/>
                    <a:pt x="122" y="92"/>
                  </a:cubicBezTo>
                  <a:cubicBezTo>
                    <a:pt x="122" y="90"/>
                    <a:pt x="122" y="87"/>
                    <a:pt x="122" y="85"/>
                  </a:cubicBezTo>
                  <a:cubicBezTo>
                    <a:pt x="122" y="83"/>
                    <a:pt x="122" y="82"/>
                    <a:pt x="122" y="80"/>
                  </a:cubicBezTo>
                  <a:cubicBezTo>
                    <a:pt x="122" y="79"/>
                    <a:pt x="121" y="78"/>
                    <a:pt x="122" y="77"/>
                  </a:cubicBezTo>
                  <a:cubicBezTo>
                    <a:pt x="123" y="76"/>
                    <a:pt x="124" y="76"/>
                    <a:pt x="125" y="75"/>
                  </a:cubicBezTo>
                  <a:cubicBezTo>
                    <a:pt x="126" y="74"/>
                    <a:pt x="128" y="72"/>
                    <a:pt x="128" y="71"/>
                  </a:cubicBezTo>
                  <a:cubicBezTo>
                    <a:pt x="129" y="70"/>
                    <a:pt x="129" y="67"/>
                    <a:pt x="129" y="66"/>
                  </a:cubicBezTo>
                  <a:cubicBezTo>
                    <a:pt x="129" y="63"/>
                    <a:pt x="129" y="63"/>
                    <a:pt x="130" y="62"/>
                  </a:cubicBezTo>
                  <a:cubicBezTo>
                    <a:pt x="130" y="61"/>
                    <a:pt x="130" y="60"/>
                    <a:pt x="131" y="59"/>
                  </a:cubicBezTo>
                  <a:cubicBezTo>
                    <a:pt x="132" y="58"/>
                    <a:pt x="133" y="58"/>
                    <a:pt x="134" y="57"/>
                  </a:cubicBezTo>
                  <a:cubicBezTo>
                    <a:pt x="135" y="56"/>
                    <a:pt x="135" y="55"/>
                    <a:pt x="136" y="55"/>
                  </a:cubicBezTo>
                  <a:cubicBezTo>
                    <a:pt x="136" y="54"/>
                    <a:pt x="138" y="54"/>
                    <a:pt x="138" y="53"/>
                  </a:cubicBezTo>
                  <a:cubicBezTo>
                    <a:pt x="139" y="52"/>
                    <a:pt x="139" y="51"/>
                    <a:pt x="139" y="50"/>
                  </a:cubicBezTo>
                  <a:cubicBezTo>
                    <a:pt x="139" y="48"/>
                    <a:pt x="138" y="47"/>
                    <a:pt x="138" y="45"/>
                  </a:cubicBezTo>
                  <a:cubicBezTo>
                    <a:pt x="138" y="43"/>
                    <a:pt x="138" y="42"/>
                    <a:pt x="138" y="40"/>
                  </a:cubicBezTo>
                  <a:cubicBezTo>
                    <a:pt x="138" y="38"/>
                    <a:pt x="138" y="35"/>
                    <a:pt x="138" y="33"/>
                  </a:cubicBezTo>
                  <a:cubicBezTo>
                    <a:pt x="138" y="32"/>
                    <a:pt x="137" y="30"/>
                    <a:pt x="137" y="29"/>
                  </a:cubicBezTo>
                  <a:cubicBezTo>
                    <a:pt x="137" y="28"/>
                    <a:pt x="136" y="28"/>
                    <a:pt x="136" y="28"/>
                  </a:cubicBezTo>
                  <a:cubicBezTo>
                    <a:pt x="136" y="27"/>
                    <a:pt x="136" y="26"/>
                    <a:pt x="136" y="26"/>
                  </a:cubicBezTo>
                  <a:cubicBezTo>
                    <a:pt x="136" y="24"/>
                    <a:pt x="134" y="22"/>
                    <a:pt x="133" y="21"/>
                  </a:cubicBezTo>
                  <a:cubicBezTo>
                    <a:pt x="131" y="20"/>
                    <a:pt x="131" y="19"/>
                    <a:pt x="130" y="16"/>
                  </a:cubicBezTo>
                  <a:cubicBezTo>
                    <a:pt x="130" y="15"/>
                    <a:pt x="130" y="13"/>
                    <a:pt x="130" y="11"/>
                  </a:cubicBezTo>
                  <a:cubicBezTo>
                    <a:pt x="131" y="9"/>
                    <a:pt x="133" y="8"/>
                    <a:pt x="134" y="6"/>
                  </a:cubicBezTo>
                  <a:cubicBezTo>
                    <a:pt x="136" y="5"/>
                    <a:pt x="141" y="3"/>
                    <a:pt x="142" y="0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139" y="2"/>
                    <a:pt x="138" y="2"/>
                    <a:pt x="137" y="2"/>
                  </a:cubicBezTo>
                  <a:cubicBezTo>
                    <a:pt x="135" y="3"/>
                    <a:pt x="135" y="3"/>
                    <a:pt x="134" y="5"/>
                  </a:cubicBezTo>
                  <a:cubicBezTo>
                    <a:pt x="133" y="5"/>
                    <a:pt x="131" y="6"/>
                    <a:pt x="130" y="7"/>
                  </a:cubicBezTo>
                  <a:cubicBezTo>
                    <a:pt x="128" y="7"/>
                    <a:pt x="127" y="9"/>
                    <a:pt x="125" y="10"/>
                  </a:cubicBezTo>
                  <a:cubicBezTo>
                    <a:pt x="123" y="10"/>
                    <a:pt x="122" y="11"/>
                    <a:pt x="120" y="11"/>
                  </a:cubicBezTo>
                  <a:cubicBezTo>
                    <a:pt x="116" y="12"/>
                    <a:pt x="112" y="16"/>
                    <a:pt x="108" y="16"/>
                  </a:cubicBezTo>
                  <a:cubicBezTo>
                    <a:pt x="105" y="16"/>
                    <a:pt x="102" y="16"/>
                    <a:pt x="99" y="16"/>
                  </a:cubicBezTo>
                  <a:cubicBezTo>
                    <a:pt x="99" y="17"/>
                    <a:pt x="99" y="18"/>
                    <a:pt x="98" y="20"/>
                  </a:cubicBezTo>
                  <a:cubicBezTo>
                    <a:pt x="98" y="22"/>
                    <a:pt x="96" y="23"/>
                    <a:pt x="95" y="25"/>
                  </a:cubicBezTo>
                  <a:cubicBezTo>
                    <a:pt x="93" y="28"/>
                    <a:pt x="91" y="30"/>
                    <a:pt x="90" y="33"/>
                  </a:cubicBezTo>
                  <a:cubicBezTo>
                    <a:pt x="90" y="35"/>
                    <a:pt x="89" y="37"/>
                    <a:pt x="89" y="39"/>
                  </a:cubicBezTo>
                  <a:cubicBezTo>
                    <a:pt x="89" y="42"/>
                    <a:pt x="89" y="44"/>
                    <a:pt x="87" y="45"/>
                  </a:cubicBezTo>
                  <a:cubicBezTo>
                    <a:pt x="85" y="47"/>
                    <a:pt x="84" y="48"/>
                    <a:pt x="83" y="49"/>
                  </a:cubicBezTo>
                  <a:cubicBezTo>
                    <a:pt x="81" y="50"/>
                    <a:pt x="80" y="51"/>
                    <a:pt x="79" y="52"/>
                  </a:cubicBezTo>
                  <a:cubicBezTo>
                    <a:pt x="77" y="54"/>
                    <a:pt x="76" y="54"/>
                    <a:pt x="73" y="55"/>
                  </a:cubicBezTo>
                  <a:cubicBezTo>
                    <a:pt x="70" y="55"/>
                    <a:pt x="68" y="56"/>
                    <a:pt x="66" y="58"/>
                  </a:cubicBezTo>
                  <a:cubicBezTo>
                    <a:pt x="65" y="58"/>
                    <a:pt x="65" y="58"/>
                    <a:pt x="64" y="58"/>
                  </a:cubicBezTo>
                  <a:cubicBezTo>
                    <a:pt x="61" y="58"/>
                    <a:pt x="58" y="58"/>
                    <a:pt x="55" y="58"/>
                  </a:cubicBezTo>
                  <a:cubicBezTo>
                    <a:pt x="52" y="58"/>
                    <a:pt x="50" y="59"/>
                    <a:pt x="47" y="60"/>
                  </a:cubicBezTo>
                  <a:cubicBezTo>
                    <a:pt x="46" y="60"/>
                    <a:pt x="44" y="60"/>
                    <a:pt x="43" y="61"/>
                  </a:cubicBezTo>
                  <a:cubicBezTo>
                    <a:pt x="42" y="61"/>
                    <a:pt x="41" y="62"/>
                    <a:pt x="41" y="63"/>
                  </a:cubicBezTo>
                  <a:cubicBezTo>
                    <a:pt x="39" y="65"/>
                    <a:pt x="36" y="66"/>
                    <a:pt x="33" y="66"/>
                  </a:cubicBezTo>
                  <a:cubicBezTo>
                    <a:pt x="32" y="66"/>
                    <a:pt x="31" y="66"/>
                    <a:pt x="30" y="66"/>
                  </a:cubicBezTo>
                  <a:cubicBezTo>
                    <a:pt x="27" y="68"/>
                    <a:pt x="24" y="72"/>
                    <a:pt x="24" y="72"/>
                  </a:cubicBezTo>
                  <a:cubicBezTo>
                    <a:pt x="24" y="73"/>
                    <a:pt x="20" y="77"/>
                    <a:pt x="20" y="78"/>
                  </a:cubicBezTo>
                  <a:cubicBezTo>
                    <a:pt x="18" y="80"/>
                    <a:pt x="17" y="80"/>
                    <a:pt x="14" y="85"/>
                  </a:cubicBezTo>
                  <a:cubicBezTo>
                    <a:pt x="12" y="86"/>
                    <a:pt x="12" y="88"/>
                    <a:pt x="12" y="90"/>
                  </a:cubicBezTo>
                  <a:cubicBezTo>
                    <a:pt x="12" y="93"/>
                    <a:pt x="12" y="96"/>
                    <a:pt x="14" y="98"/>
                  </a:cubicBezTo>
                  <a:cubicBezTo>
                    <a:pt x="15" y="99"/>
                    <a:pt x="16" y="100"/>
                    <a:pt x="17" y="101"/>
                  </a:cubicBezTo>
                  <a:cubicBezTo>
                    <a:pt x="18" y="101"/>
                    <a:pt x="19" y="105"/>
                    <a:pt x="19" y="105"/>
                  </a:cubicBezTo>
                  <a:cubicBezTo>
                    <a:pt x="21" y="107"/>
                    <a:pt x="24" y="107"/>
                    <a:pt x="25" y="109"/>
                  </a:cubicBezTo>
                  <a:cubicBezTo>
                    <a:pt x="26" y="110"/>
                    <a:pt x="26" y="114"/>
                    <a:pt x="28" y="115"/>
                  </a:cubicBezTo>
                  <a:cubicBezTo>
                    <a:pt x="31" y="116"/>
                    <a:pt x="31" y="113"/>
                    <a:pt x="31" y="112"/>
                  </a:cubicBezTo>
                  <a:cubicBezTo>
                    <a:pt x="31" y="111"/>
                    <a:pt x="31" y="110"/>
                    <a:pt x="31" y="109"/>
                  </a:cubicBezTo>
                  <a:cubicBezTo>
                    <a:pt x="31" y="108"/>
                    <a:pt x="32" y="108"/>
                    <a:pt x="32" y="107"/>
                  </a:cubicBezTo>
                  <a:cubicBezTo>
                    <a:pt x="32" y="106"/>
                    <a:pt x="32" y="105"/>
                    <a:pt x="31" y="104"/>
                  </a:cubicBezTo>
                  <a:cubicBezTo>
                    <a:pt x="31" y="103"/>
                    <a:pt x="29" y="103"/>
                    <a:pt x="29" y="103"/>
                  </a:cubicBezTo>
                  <a:cubicBezTo>
                    <a:pt x="28" y="100"/>
                    <a:pt x="29" y="98"/>
                    <a:pt x="31" y="98"/>
                  </a:cubicBezTo>
                  <a:cubicBezTo>
                    <a:pt x="33" y="98"/>
                    <a:pt x="33" y="98"/>
                    <a:pt x="34" y="99"/>
                  </a:cubicBezTo>
                  <a:cubicBezTo>
                    <a:pt x="34" y="100"/>
                    <a:pt x="34" y="100"/>
                    <a:pt x="34" y="101"/>
                  </a:cubicBezTo>
                  <a:cubicBezTo>
                    <a:pt x="34" y="102"/>
                    <a:pt x="35" y="103"/>
                    <a:pt x="36" y="103"/>
                  </a:cubicBezTo>
                  <a:cubicBezTo>
                    <a:pt x="36" y="104"/>
                    <a:pt x="37" y="106"/>
                    <a:pt x="39" y="106"/>
                  </a:cubicBezTo>
                  <a:cubicBezTo>
                    <a:pt x="40" y="106"/>
                    <a:pt x="41" y="105"/>
                    <a:pt x="43" y="106"/>
                  </a:cubicBezTo>
                  <a:cubicBezTo>
                    <a:pt x="42" y="107"/>
                    <a:pt x="40" y="108"/>
                    <a:pt x="39" y="109"/>
                  </a:cubicBezTo>
                  <a:cubicBezTo>
                    <a:pt x="38" y="110"/>
                    <a:pt x="38" y="111"/>
                    <a:pt x="38" y="113"/>
                  </a:cubicBezTo>
                  <a:cubicBezTo>
                    <a:pt x="39" y="114"/>
                    <a:pt x="39" y="115"/>
                    <a:pt x="40" y="116"/>
                  </a:cubicBezTo>
                  <a:cubicBezTo>
                    <a:pt x="41" y="117"/>
                    <a:pt x="42" y="116"/>
                    <a:pt x="43" y="116"/>
                  </a:cubicBezTo>
                  <a:cubicBezTo>
                    <a:pt x="46" y="117"/>
                    <a:pt x="41" y="125"/>
                    <a:pt x="38" y="124"/>
                  </a:cubicBezTo>
                  <a:cubicBezTo>
                    <a:pt x="37" y="124"/>
                    <a:pt x="36" y="124"/>
                    <a:pt x="35" y="123"/>
                  </a:cubicBezTo>
                  <a:cubicBezTo>
                    <a:pt x="34" y="123"/>
                    <a:pt x="32" y="124"/>
                    <a:pt x="31" y="123"/>
                  </a:cubicBezTo>
                  <a:cubicBezTo>
                    <a:pt x="30" y="123"/>
                    <a:pt x="31" y="123"/>
                    <a:pt x="30" y="122"/>
                  </a:cubicBezTo>
                  <a:cubicBezTo>
                    <a:pt x="30" y="122"/>
                    <a:pt x="30" y="121"/>
                    <a:pt x="30" y="121"/>
                  </a:cubicBezTo>
                  <a:cubicBezTo>
                    <a:pt x="29" y="121"/>
                    <a:pt x="27" y="121"/>
                    <a:pt x="27" y="121"/>
                  </a:cubicBezTo>
                  <a:cubicBezTo>
                    <a:pt x="25" y="121"/>
                    <a:pt x="22" y="120"/>
                    <a:pt x="21" y="118"/>
                  </a:cubicBezTo>
                  <a:cubicBezTo>
                    <a:pt x="19" y="117"/>
                    <a:pt x="20" y="116"/>
                    <a:pt x="18" y="116"/>
                  </a:cubicBezTo>
                  <a:cubicBezTo>
                    <a:pt x="16" y="116"/>
                    <a:pt x="14" y="118"/>
                    <a:pt x="11" y="117"/>
                  </a:cubicBezTo>
                  <a:cubicBezTo>
                    <a:pt x="9" y="117"/>
                    <a:pt x="12" y="116"/>
                    <a:pt x="12" y="114"/>
                  </a:cubicBezTo>
                  <a:cubicBezTo>
                    <a:pt x="11" y="113"/>
                    <a:pt x="8" y="111"/>
                    <a:pt x="7" y="112"/>
                  </a:cubicBezTo>
                  <a:cubicBezTo>
                    <a:pt x="6" y="112"/>
                    <a:pt x="5" y="116"/>
                    <a:pt x="5" y="118"/>
                  </a:cubicBezTo>
                  <a:cubicBezTo>
                    <a:pt x="5" y="118"/>
                    <a:pt x="5" y="119"/>
                    <a:pt x="5" y="120"/>
                  </a:cubicBezTo>
                  <a:cubicBezTo>
                    <a:pt x="5" y="121"/>
                    <a:pt x="4" y="121"/>
                    <a:pt x="4" y="122"/>
                  </a:cubicBezTo>
                  <a:cubicBezTo>
                    <a:pt x="4" y="123"/>
                    <a:pt x="4" y="125"/>
                    <a:pt x="4" y="126"/>
                  </a:cubicBezTo>
                  <a:cubicBezTo>
                    <a:pt x="4" y="128"/>
                    <a:pt x="4" y="129"/>
                    <a:pt x="4" y="131"/>
                  </a:cubicBezTo>
                  <a:cubicBezTo>
                    <a:pt x="4" y="135"/>
                    <a:pt x="4" y="139"/>
                    <a:pt x="5" y="143"/>
                  </a:cubicBezTo>
                  <a:cubicBezTo>
                    <a:pt x="6" y="146"/>
                    <a:pt x="5" y="150"/>
                    <a:pt x="5" y="153"/>
                  </a:cubicBezTo>
                  <a:cubicBezTo>
                    <a:pt x="6" y="155"/>
                    <a:pt x="6" y="158"/>
                    <a:pt x="6" y="160"/>
                  </a:cubicBezTo>
                  <a:cubicBezTo>
                    <a:pt x="6" y="164"/>
                    <a:pt x="6" y="167"/>
                    <a:pt x="6" y="171"/>
                  </a:cubicBezTo>
                  <a:cubicBezTo>
                    <a:pt x="7" y="170"/>
                    <a:pt x="8" y="170"/>
                    <a:pt x="9" y="170"/>
                  </a:cubicBezTo>
                  <a:cubicBezTo>
                    <a:pt x="10" y="169"/>
                    <a:pt x="10" y="169"/>
                    <a:pt x="9" y="167"/>
                  </a:cubicBezTo>
                  <a:cubicBezTo>
                    <a:pt x="9" y="165"/>
                    <a:pt x="9" y="163"/>
                    <a:pt x="11" y="163"/>
                  </a:cubicBezTo>
                  <a:cubicBezTo>
                    <a:pt x="13" y="162"/>
                    <a:pt x="15" y="164"/>
                    <a:pt x="14" y="165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5" y="169"/>
                    <a:pt x="13" y="169"/>
                    <a:pt x="13" y="171"/>
                  </a:cubicBezTo>
                  <a:cubicBezTo>
                    <a:pt x="13" y="173"/>
                    <a:pt x="13" y="174"/>
                    <a:pt x="14" y="175"/>
                  </a:cubicBezTo>
                  <a:cubicBezTo>
                    <a:pt x="17" y="177"/>
                    <a:pt x="23" y="180"/>
                    <a:pt x="19" y="183"/>
                  </a:cubicBezTo>
                  <a:cubicBezTo>
                    <a:pt x="17" y="184"/>
                    <a:pt x="14" y="186"/>
                    <a:pt x="13" y="184"/>
                  </a:cubicBezTo>
                  <a:cubicBezTo>
                    <a:pt x="13" y="183"/>
                    <a:pt x="13" y="181"/>
                    <a:pt x="13" y="180"/>
                  </a:cubicBezTo>
                  <a:cubicBezTo>
                    <a:pt x="13" y="179"/>
                    <a:pt x="13" y="177"/>
                    <a:pt x="12" y="177"/>
                  </a:cubicBezTo>
                  <a:cubicBezTo>
                    <a:pt x="11" y="176"/>
                    <a:pt x="7" y="178"/>
                    <a:pt x="7" y="178"/>
                  </a:cubicBezTo>
                  <a:cubicBezTo>
                    <a:pt x="7" y="178"/>
                    <a:pt x="6" y="178"/>
                    <a:pt x="6" y="178"/>
                  </a:cubicBezTo>
                  <a:cubicBezTo>
                    <a:pt x="7" y="181"/>
                    <a:pt x="7" y="185"/>
                    <a:pt x="8" y="188"/>
                  </a:cubicBezTo>
                  <a:cubicBezTo>
                    <a:pt x="8" y="190"/>
                    <a:pt x="8" y="192"/>
                    <a:pt x="8" y="195"/>
                  </a:cubicBezTo>
                  <a:cubicBezTo>
                    <a:pt x="8" y="196"/>
                    <a:pt x="8" y="198"/>
                    <a:pt x="8" y="199"/>
                  </a:cubicBezTo>
                  <a:cubicBezTo>
                    <a:pt x="8" y="202"/>
                    <a:pt x="7" y="205"/>
                    <a:pt x="5" y="207"/>
                  </a:cubicBezTo>
                  <a:cubicBezTo>
                    <a:pt x="5" y="208"/>
                    <a:pt x="4" y="209"/>
                    <a:pt x="3" y="209"/>
                  </a:cubicBezTo>
                  <a:cubicBezTo>
                    <a:pt x="2" y="211"/>
                    <a:pt x="2" y="212"/>
                    <a:pt x="0" y="213"/>
                  </a:cubicBezTo>
                  <a:cubicBezTo>
                    <a:pt x="1" y="214"/>
                    <a:pt x="2" y="214"/>
                    <a:pt x="3" y="215"/>
                  </a:cubicBezTo>
                  <a:cubicBezTo>
                    <a:pt x="5" y="216"/>
                    <a:pt x="6" y="218"/>
                    <a:pt x="8" y="220"/>
                  </a:cubicBezTo>
                  <a:cubicBezTo>
                    <a:pt x="9" y="222"/>
                    <a:pt x="11" y="223"/>
                    <a:pt x="12" y="224"/>
                  </a:cubicBezTo>
                  <a:cubicBezTo>
                    <a:pt x="12" y="225"/>
                    <a:pt x="12" y="226"/>
                    <a:pt x="13" y="227"/>
                  </a:cubicBezTo>
                  <a:cubicBezTo>
                    <a:pt x="15" y="230"/>
                    <a:pt x="17" y="231"/>
                    <a:pt x="20" y="233"/>
                  </a:cubicBezTo>
                  <a:cubicBezTo>
                    <a:pt x="21" y="234"/>
                    <a:pt x="22" y="235"/>
                    <a:pt x="23" y="235"/>
                  </a:cubicBezTo>
                  <a:cubicBezTo>
                    <a:pt x="26" y="234"/>
                    <a:pt x="26" y="231"/>
                    <a:pt x="26" y="229"/>
                  </a:cubicBezTo>
                  <a:cubicBezTo>
                    <a:pt x="25" y="228"/>
                    <a:pt x="25" y="228"/>
                    <a:pt x="24" y="227"/>
                  </a:cubicBezTo>
                  <a:cubicBezTo>
                    <a:pt x="24" y="226"/>
                    <a:pt x="24" y="226"/>
                    <a:pt x="24" y="226"/>
                  </a:cubicBezTo>
                  <a:cubicBezTo>
                    <a:pt x="23" y="225"/>
                    <a:pt x="23" y="224"/>
                    <a:pt x="22" y="223"/>
                  </a:cubicBezTo>
                  <a:cubicBezTo>
                    <a:pt x="21" y="222"/>
                    <a:pt x="19" y="221"/>
                    <a:pt x="18" y="220"/>
                  </a:cubicBezTo>
                  <a:cubicBezTo>
                    <a:pt x="17" y="218"/>
                    <a:pt x="14" y="218"/>
                    <a:pt x="16" y="215"/>
                  </a:cubicBezTo>
                  <a:cubicBezTo>
                    <a:pt x="17" y="212"/>
                    <a:pt x="19" y="214"/>
                    <a:pt x="21" y="215"/>
                  </a:cubicBezTo>
                  <a:cubicBezTo>
                    <a:pt x="22" y="216"/>
                    <a:pt x="23" y="220"/>
                    <a:pt x="24" y="220"/>
                  </a:cubicBezTo>
                  <a:cubicBezTo>
                    <a:pt x="24" y="221"/>
                    <a:pt x="26" y="221"/>
                    <a:pt x="26" y="222"/>
                  </a:cubicBezTo>
                  <a:cubicBezTo>
                    <a:pt x="27" y="223"/>
                    <a:pt x="27" y="223"/>
                    <a:pt x="28" y="224"/>
                  </a:cubicBezTo>
                  <a:cubicBezTo>
                    <a:pt x="29" y="225"/>
                    <a:pt x="31" y="226"/>
                    <a:pt x="32" y="227"/>
                  </a:cubicBezTo>
                  <a:cubicBezTo>
                    <a:pt x="32" y="227"/>
                    <a:pt x="34" y="228"/>
                    <a:pt x="34" y="228"/>
                  </a:cubicBezTo>
                  <a:cubicBezTo>
                    <a:pt x="34" y="228"/>
                    <a:pt x="34" y="228"/>
                    <a:pt x="34" y="229"/>
                  </a:cubicBezTo>
                  <a:cubicBezTo>
                    <a:pt x="35" y="231"/>
                    <a:pt x="36" y="232"/>
                    <a:pt x="35" y="234"/>
                  </a:cubicBezTo>
                  <a:cubicBezTo>
                    <a:pt x="35" y="236"/>
                    <a:pt x="34" y="235"/>
                    <a:pt x="34" y="237"/>
                  </a:cubicBezTo>
                  <a:cubicBezTo>
                    <a:pt x="33" y="238"/>
                    <a:pt x="34" y="239"/>
                    <a:pt x="34" y="240"/>
                  </a:cubicBezTo>
                  <a:cubicBezTo>
                    <a:pt x="34" y="241"/>
                    <a:pt x="33" y="244"/>
                    <a:pt x="34" y="245"/>
                  </a:cubicBezTo>
                  <a:cubicBezTo>
                    <a:pt x="34" y="246"/>
                    <a:pt x="35" y="246"/>
                    <a:pt x="35" y="247"/>
                  </a:cubicBezTo>
                  <a:cubicBezTo>
                    <a:pt x="37" y="250"/>
                    <a:pt x="35" y="252"/>
                    <a:pt x="34" y="254"/>
                  </a:cubicBezTo>
                  <a:cubicBezTo>
                    <a:pt x="34" y="255"/>
                    <a:pt x="34" y="255"/>
                    <a:pt x="33" y="256"/>
                  </a:cubicBezTo>
                  <a:cubicBezTo>
                    <a:pt x="33" y="257"/>
                    <a:pt x="32" y="257"/>
                    <a:pt x="32" y="258"/>
                  </a:cubicBezTo>
                  <a:cubicBezTo>
                    <a:pt x="32" y="259"/>
                    <a:pt x="32" y="260"/>
                    <a:pt x="32" y="261"/>
                  </a:cubicBezTo>
                  <a:cubicBezTo>
                    <a:pt x="32" y="263"/>
                    <a:pt x="32" y="266"/>
                    <a:pt x="32" y="268"/>
                  </a:cubicBezTo>
                  <a:cubicBezTo>
                    <a:pt x="32" y="269"/>
                    <a:pt x="32" y="270"/>
                    <a:pt x="32" y="272"/>
                  </a:cubicBezTo>
                  <a:cubicBezTo>
                    <a:pt x="32" y="271"/>
                    <a:pt x="32" y="271"/>
                    <a:pt x="32" y="271"/>
                  </a:cubicBezTo>
                  <a:cubicBezTo>
                    <a:pt x="35" y="271"/>
                    <a:pt x="37" y="272"/>
                    <a:pt x="40" y="272"/>
                  </a:cubicBezTo>
                  <a:cubicBezTo>
                    <a:pt x="41" y="272"/>
                    <a:pt x="43" y="272"/>
                    <a:pt x="45" y="272"/>
                  </a:cubicBezTo>
                  <a:cubicBezTo>
                    <a:pt x="46" y="272"/>
                    <a:pt x="48" y="272"/>
                    <a:pt x="49" y="272"/>
                  </a:cubicBezTo>
                  <a:cubicBezTo>
                    <a:pt x="50" y="273"/>
                    <a:pt x="51" y="274"/>
                    <a:pt x="52" y="274"/>
                  </a:cubicBezTo>
                  <a:cubicBezTo>
                    <a:pt x="53" y="274"/>
                    <a:pt x="55" y="274"/>
                    <a:pt x="56" y="274"/>
                  </a:cubicBezTo>
                  <a:cubicBezTo>
                    <a:pt x="56" y="274"/>
                    <a:pt x="57" y="274"/>
                    <a:pt x="58" y="274"/>
                  </a:cubicBezTo>
                  <a:cubicBezTo>
                    <a:pt x="58" y="273"/>
                    <a:pt x="58" y="273"/>
                    <a:pt x="59" y="272"/>
                  </a:cubicBezTo>
                  <a:cubicBezTo>
                    <a:pt x="59" y="272"/>
                    <a:pt x="61" y="272"/>
                    <a:pt x="62" y="272"/>
                  </a:cubicBezTo>
                  <a:cubicBezTo>
                    <a:pt x="62" y="273"/>
                    <a:pt x="62" y="274"/>
                    <a:pt x="63" y="274"/>
                  </a:cubicBezTo>
                  <a:cubicBezTo>
                    <a:pt x="62" y="275"/>
                    <a:pt x="63" y="275"/>
                    <a:pt x="63" y="275"/>
                  </a:cubicBezTo>
                  <a:cubicBezTo>
                    <a:pt x="63" y="276"/>
                    <a:pt x="63" y="276"/>
                    <a:pt x="63" y="276"/>
                  </a:cubicBezTo>
                  <a:cubicBezTo>
                    <a:pt x="64" y="277"/>
                    <a:pt x="64" y="278"/>
                    <a:pt x="64" y="280"/>
                  </a:cubicBezTo>
                  <a:cubicBezTo>
                    <a:pt x="64" y="282"/>
                    <a:pt x="65" y="282"/>
                    <a:pt x="67" y="282"/>
                  </a:cubicBezTo>
                  <a:cubicBezTo>
                    <a:pt x="68" y="282"/>
                    <a:pt x="69" y="282"/>
                    <a:pt x="70" y="282"/>
                  </a:cubicBezTo>
                  <a:cubicBezTo>
                    <a:pt x="71" y="281"/>
                    <a:pt x="71" y="280"/>
                    <a:pt x="72" y="279"/>
                  </a:cubicBezTo>
                  <a:cubicBezTo>
                    <a:pt x="74" y="279"/>
                    <a:pt x="74" y="279"/>
                    <a:pt x="75" y="278"/>
                  </a:cubicBezTo>
                  <a:cubicBezTo>
                    <a:pt x="76" y="277"/>
                    <a:pt x="76" y="276"/>
                    <a:pt x="77" y="276"/>
                  </a:cubicBezTo>
                  <a:cubicBezTo>
                    <a:pt x="78" y="275"/>
                    <a:pt x="79" y="276"/>
                    <a:pt x="79" y="276"/>
                  </a:cubicBezTo>
                  <a:cubicBezTo>
                    <a:pt x="80" y="276"/>
                    <a:pt x="81" y="276"/>
                    <a:pt x="81" y="276"/>
                  </a:cubicBezTo>
                  <a:cubicBezTo>
                    <a:pt x="82" y="276"/>
                    <a:pt x="82" y="276"/>
                    <a:pt x="83" y="276"/>
                  </a:cubicBezTo>
                  <a:cubicBezTo>
                    <a:pt x="84" y="276"/>
                    <a:pt x="85" y="277"/>
                    <a:pt x="86" y="277"/>
                  </a:cubicBezTo>
                  <a:cubicBezTo>
                    <a:pt x="87" y="279"/>
                    <a:pt x="87" y="280"/>
                    <a:pt x="89" y="280"/>
                  </a:cubicBezTo>
                  <a:cubicBezTo>
                    <a:pt x="91" y="280"/>
                    <a:pt x="92" y="280"/>
                    <a:pt x="94" y="281"/>
                  </a:cubicBezTo>
                  <a:cubicBezTo>
                    <a:pt x="95" y="282"/>
                    <a:pt x="95" y="282"/>
                    <a:pt x="96" y="283"/>
                  </a:cubicBezTo>
                  <a:cubicBezTo>
                    <a:pt x="97" y="283"/>
                    <a:pt x="98" y="284"/>
                    <a:pt x="99" y="284"/>
                  </a:cubicBezTo>
                  <a:cubicBezTo>
                    <a:pt x="100" y="284"/>
                    <a:pt x="100" y="283"/>
                    <a:pt x="101" y="282"/>
                  </a:cubicBezTo>
                  <a:cubicBezTo>
                    <a:pt x="102" y="282"/>
                    <a:pt x="104" y="280"/>
                    <a:pt x="105" y="281"/>
                  </a:cubicBezTo>
                  <a:cubicBezTo>
                    <a:pt x="106" y="281"/>
                    <a:pt x="106" y="282"/>
                    <a:pt x="106" y="282"/>
                  </a:cubicBezTo>
                  <a:cubicBezTo>
                    <a:pt x="107" y="282"/>
                    <a:pt x="107" y="281"/>
                    <a:pt x="108" y="280"/>
                  </a:cubicBezTo>
                  <a:cubicBezTo>
                    <a:pt x="109" y="279"/>
                    <a:pt x="111" y="277"/>
                    <a:pt x="112" y="275"/>
                  </a:cubicBezTo>
                  <a:cubicBezTo>
                    <a:pt x="113" y="272"/>
                    <a:pt x="114" y="267"/>
                    <a:pt x="111" y="264"/>
                  </a:cubicBezTo>
                  <a:cubicBezTo>
                    <a:pt x="108" y="262"/>
                    <a:pt x="105" y="264"/>
                    <a:pt x="103" y="261"/>
                  </a:cubicBezTo>
                  <a:cubicBezTo>
                    <a:pt x="103" y="260"/>
                    <a:pt x="103" y="259"/>
                    <a:pt x="102" y="259"/>
                  </a:cubicBezTo>
                  <a:cubicBezTo>
                    <a:pt x="102" y="258"/>
                    <a:pt x="101" y="258"/>
                    <a:pt x="100" y="258"/>
                  </a:cubicBezTo>
                  <a:cubicBezTo>
                    <a:pt x="99" y="257"/>
                    <a:pt x="99" y="257"/>
                    <a:pt x="98" y="256"/>
                  </a:cubicBezTo>
                  <a:cubicBezTo>
                    <a:pt x="96" y="255"/>
                    <a:pt x="91" y="254"/>
                    <a:pt x="89" y="256"/>
                  </a:cubicBezTo>
                  <a:cubicBezTo>
                    <a:pt x="86" y="258"/>
                    <a:pt x="95" y="263"/>
                    <a:pt x="94" y="267"/>
                  </a:cubicBezTo>
                  <a:cubicBezTo>
                    <a:pt x="92" y="267"/>
                    <a:pt x="93" y="266"/>
                    <a:pt x="92" y="266"/>
                  </a:cubicBezTo>
                  <a:cubicBezTo>
                    <a:pt x="91" y="265"/>
                    <a:pt x="89" y="265"/>
                    <a:pt x="88" y="264"/>
                  </a:cubicBezTo>
                  <a:cubicBezTo>
                    <a:pt x="87" y="263"/>
                    <a:pt x="86" y="262"/>
                    <a:pt x="84" y="261"/>
                  </a:cubicBezTo>
                  <a:cubicBezTo>
                    <a:pt x="82" y="260"/>
                    <a:pt x="81" y="261"/>
                    <a:pt x="81" y="258"/>
                  </a:cubicBezTo>
                  <a:cubicBezTo>
                    <a:pt x="81" y="256"/>
                    <a:pt x="81" y="254"/>
                    <a:pt x="82" y="253"/>
                  </a:cubicBezTo>
                  <a:cubicBezTo>
                    <a:pt x="83" y="252"/>
                    <a:pt x="84" y="251"/>
                    <a:pt x="84" y="250"/>
                  </a:cubicBezTo>
                  <a:cubicBezTo>
                    <a:pt x="85" y="250"/>
                    <a:pt x="88" y="250"/>
                    <a:pt x="89" y="250"/>
                  </a:cubicBezTo>
                  <a:cubicBezTo>
                    <a:pt x="92" y="249"/>
                    <a:pt x="89" y="248"/>
                    <a:pt x="90" y="246"/>
                  </a:cubicBezTo>
                  <a:cubicBezTo>
                    <a:pt x="91" y="244"/>
                    <a:pt x="94" y="244"/>
                    <a:pt x="92" y="242"/>
                  </a:cubicBezTo>
                  <a:cubicBezTo>
                    <a:pt x="92" y="241"/>
                    <a:pt x="91" y="242"/>
                    <a:pt x="90" y="241"/>
                  </a:cubicBezTo>
                  <a:cubicBezTo>
                    <a:pt x="90" y="240"/>
                    <a:pt x="90" y="239"/>
                    <a:pt x="90" y="239"/>
                  </a:cubicBezTo>
                  <a:cubicBezTo>
                    <a:pt x="91" y="233"/>
                    <a:pt x="99" y="237"/>
                    <a:pt x="101" y="239"/>
                  </a:cubicBezTo>
                  <a:cubicBezTo>
                    <a:pt x="102" y="239"/>
                    <a:pt x="103" y="240"/>
                    <a:pt x="103" y="241"/>
                  </a:cubicBezTo>
                  <a:cubicBezTo>
                    <a:pt x="104" y="242"/>
                    <a:pt x="104" y="243"/>
                    <a:pt x="104" y="244"/>
                  </a:cubicBezTo>
                  <a:cubicBezTo>
                    <a:pt x="104" y="245"/>
                    <a:pt x="104" y="244"/>
                    <a:pt x="105" y="245"/>
                  </a:cubicBezTo>
                  <a:cubicBezTo>
                    <a:pt x="107" y="247"/>
                    <a:pt x="109" y="248"/>
                    <a:pt x="111" y="250"/>
                  </a:cubicBezTo>
                  <a:cubicBezTo>
                    <a:pt x="112" y="252"/>
                    <a:pt x="111" y="253"/>
                    <a:pt x="111" y="255"/>
                  </a:cubicBezTo>
                  <a:cubicBezTo>
                    <a:pt x="111" y="257"/>
                    <a:pt x="112" y="257"/>
                    <a:pt x="114" y="257"/>
                  </a:cubicBezTo>
                  <a:cubicBezTo>
                    <a:pt x="115" y="257"/>
                    <a:pt x="117" y="256"/>
                    <a:pt x="117" y="255"/>
                  </a:cubicBezTo>
                  <a:cubicBezTo>
                    <a:pt x="118" y="255"/>
                    <a:pt x="120" y="255"/>
                    <a:pt x="120" y="257"/>
                  </a:cubicBezTo>
                  <a:cubicBezTo>
                    <a:pt x="121" y="258"/>
                    <a:pt x="120" y="259"/>
                    <a:pt x="121" y="259"/>
                  </a:cubicBezTo>
                  <a:cubicBezTo>
                    <a:pt x="122" y="260"/>
                    <a:pt x="125" y="260"/>
                    <a:pt x="126" y="261"/>
                  </a:cubicBezTo>
                  <a:cubicBezTo>
                    <a:pt x="127" y="261"/>
                    <a:pt x="129" y="262"/>
                    <a:pt x="130" y="263"/>
                  </a:cubicBezTo>
                  <a:cubicBezTo>
                    <a:pt x="131" y="263"/>
                    <a:pt x="132" y="264"/>
                    <a:pt x="133" y="264"/>
                  </a:cubicBezTo>
                  <a:cubicBezTo>
                    <a:pt x="136" y="266"/>
                    <a:pt x="137" y="268"/>
                    <a:pt x="137" y="272"/>
                  </a:cubicBezTo>
                  <a:cubicBezTo>
                    <a:pt x="137" y="273"/>
                    <a:pt x="137" y="274"/>
                    <a:pt x="138" y="275"/>
                  </a:cubicBezTo>
                  <a:cubicBezTo>
                    <a:pt x="139" y="276"/>
                    <a:pt x="140" y="277"/>
                    <a:pt x="141" y="278"/>
                  </a:cubicBezTo>
                  <a:cubicBezTo>
                    <a:pt x="142" y="279"/>
                    <a:pt x="142" y="278"/>
                    <a:pt x="143" y="280"/>
                  </a:cubicBezTo>
                  <a:cubicBezTo>
                    <a:pt x="143" y="281"/>
                    <a:pt x="143" y="283"/>
                    <a:pt x="143" y="284"/>
                  </a:cubicBezTo>
                  <a:cubicBezTo>
                    <a:pt x="143" y="286"/>
                    <a:pt x="143" y="297"/>
                    <a:pt x="146" y="296"/>
                  </a:cubicBezTo>
                  <a:cubicBezTo>
                    <a:pt x="147" y="296"/>
                    <a:pt x="147" y="294"/>
                    <a:pt x="148" y="293"/>
                  </a:cubicBezTo>
                  <a:cubicBezTo>
                    <a:pt x="148" y="292"/>
                    <a:pt x="149" y="290"/>
                    <a:pt x="149" y="288"/>
                  </a:cubicBezTo>
                  <a:cubicBezTo>
                    <a:pt x="150" y="286"/>
                    <a:pt x="150" y="284"/>
                    <a:pt x="151" y="282"/>
                  </a:cubicBezTo>
                  <a:cubicBezTo>
                    <a:pt x="152" y="281"/>
                    <a:pt x="152" y="280"/>
                    <a:pt x="152" y="279"/>
                  </a:cubicBezTo>
                  <a:cubicBezTo>
                    <a:pt x="153" y="279"/>
                    <a:pt x="154" y="278"/>
                    <a:pt x="154" y="278"/>
                  </a:cubicBezTo>
                  <a:cubicBezTo>
                    <a:pt x="154" y="277"/>
                    <a:pt x="154" y="276"/>
                    <a:pt x="154" y="275"/>
                  </a:cubicBezTo>
                  <a:cubicBezTo>
                    <a:pt x="154" y="274"/>
                    <a:pt x="155" y="275"/>
                    <a:pt x="155" y="274"/>
                  </a:cubicBezTo>
                  <a:cubicBezTo>
                    <a:pt x="155" y="273"/>
                    <a:pt x="155" y="272"/>
                    <a:pt x="155" y="271"/>
                  </a:cubicBezTo>
                  <a:cubicBezTo>
                    <a:pt x="155" y="268"/>
                    <a:pt x="156" y="265"/>
                    <a:pt x="157" y="261"/>
                  </a:cubicBezTo>
                  <a:cubicBezTo>
                    <a:pt x="157" y="259"/>
                    <a:pt x="159" y="257"/>
                    <a:pt x="160" y="25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6" name="Freeform 107">
              <a:extLst>
                <a:ext uri="{FF2B5EF4-FFF2-40B4-BE49-F238E27FC236}">
                  <a16:creationId xmlns:a16="http://schemas.microsoft.com/office/drawing/2014/main" id="{C3ABD90E-AAF1-412C-8F26-E33E2BDFAF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3495675"/>
              <a:ext cx="180975" cy="300038"/>
            </a:xfrm>
            <a:custGeom>
              <a:avLst/>
              <a:gdLst/>
              <a:ahLst/>
              <a:cxnLst>
                <a:cxn ang="0">
                  <a:pos x="44" y="49"/>
                </a:cxn>
                <a:cxn ang="0">
                  <a:pos x="52" y="51"/>
                </a:cxn>
                <a:cxn ang="0">
                  <a:pos x="63" y="54"/>
                </a:cxn>
                <a:cxn ang="0">
                  <a:pos x="57" y="52"/>
                </a:cxn>
                <a:cxn ang="0">
                  <a:pos x="53" y="43"/>
                </a:cxn>
                <a:cxn ang="0">
                  <a:pos x="54" y="32"/>
                </a:cxn>
                <a:cxn ang="0">
                  <a:pos x="60" y="34"/>
                </a:cxn>
                <a:cxn ang="0">
                  <a:pos x="51" y="33"/>
                </a:cxn>
                <a:cxn ang="0">
                  <a:pos x="59" y="19"/>
                </a:cxn>
                <a:cxn ang="0">
                  <a:pos x="68" y="14"/>
                </a:cxn>
                <a:cxn ang="0">
                  <a:pos x="73" y="3"/>
                </a:cxn>
                <a:cxn ang="0">
                  <a:pos x="80" y="11"/>
                </a:cxn>
                <a:cxn ang="0">
                  <a:pos x="89" y="19"/>
                </a:cxn>
                <a:cxn ang="0">
                  <a:pos x="86" y="29"/>
                </a:cxn>
                <a:cxn ang="0">
                  <a:pos x="93" y="34"/>
                </a:cxn>
                <a:cxn ang="0">
                  <a:pos x="96" y="43"/>
                </a:cxn>
                <a:cxn ang="0">
                  <a:pos x="93" y="48"/>
                </a:cxn>
                <a:cxn ang="0">
                  <a:pos x="95" y="59"/>
                </a:cxn>
                <a:cxn ang="0">
                  <a:pos x="94" y="65"/>
                </a:cxn>
                <a:cxn ang="0">
                  <a:pos x="78" y="67"/>
                </a:cxn>
                <a:cxn ang="0">
                  <a:pos x="75" y="79"/>
                </a:cxn>
                <a:cxn ang="0">
                  <a:pos x="82" y="91"/>
                </a:cxn>
                <a:cxn ang="0">
                  <a:pos x="71" y="99"/>
                </a:cxn>
                <a:cxn ang="0">
                  <a:pos x="60" y="108"/>
                </a:cxn>
                <a:cxn ang="0">
                  <a:pos x="66" y="125"/>
                </a:cxn>
                <a:cxn ang="0">
                  <a:pos x="75" y="117"/>
                </a:cxn>
                <a:cxn ang="0">
                  <a:pos x="81" y="124"/>
                </a:cxn>
                <a:cxn ang="0">
                  <a:pos x="72" y="130"/>
                </a:cxn>
                <a:cxn ang="0">
                  <a:pos x="67" y="131"/>
                </a:cxn>
                <a:cxn ang="0">
                  <a:pos x="62" y="141"/>
                </a:cxn>
                <a:cxn ang="0">
                  <a:pos x="50" y="153"/>
                </a:cxn>
                <a:cxn ang="0">
                  <a:pos x="50" y="158"/>
                </a:cxn>
                <a:cxn ang="0">
                  <a:pos x="42" y="154"/>
                </a:cxn>
                <a:cxn ang="0">
                  <a:pos x="34" y="155"/>
                </a:cxn>
                <a:cxn ang="0">
                  <a:pos x="25" y="151"/>
                </a:cxn>
                <a:cxn ang="0">
                  <a:pos x="7" y="139"/>
                </a:cxn>
                <a:cxn ang="0">
                  <a:pos x="10" y="135"/>
                </a:cxn>
                <a:cxn ang="0">
                  <a:pos x="9" y="129"/>
                </a:cxn>
                <a:cxn ang="0">
                  <a:pos x="16" y="126"/>
                </a:cxn>
                <a:cxn ang="0">
                  <a:pos x="23" y="128"/>
                </a:cxn>
                <a:cxn ang="0">
                  <a:pos x="33" y="133"/>
                </a:cxn>
                <a:cxn ang="0">
                  <a:pos x="42" y="132"/>
                </a:cxn>
                <a:cxn ang="0">
                  <a:pos x="49" y="127"/>
                </a:cxn>
                <a:cxn ang="0">
                  <a:pos x="56" y="124"/>
                </a:cxn>
                <a:cxn ang="0">
                  <a:pos x="51" y="119"/>
                </a:cxn>
                <a:cxn ang="0">
                  <a:pos x="41" y="104"/>
                </a:cxn>
                <a:cxn ang="0">
                  <a:pos x="29" y="102"/>
                </a:cxn>
                <a:cxn ang="0">
                  <a:pos x="18" y="98"/>
                </a:cxn>
                <a:cxn ang="0">
                  <a:pos x="13" y="84"/>
                </a:cxn>
                <a:cxn ang="0">
                  <a:pos x="10" y="68"/>
                </a:cxn>
                <a:cxn ang="0">
                  <a:pos x="3" y="56"/>
                </a:cxn>
                <a:cxn ang="0">
                  <a:pos x="4" y="50"/>
                </a:cxn>
                <a:cxn ang="0">
                  <a:pos x="18" y="50"/>
                </a:cxn>
                <a:cxn ang="0">
                  <a:pos x="34" y="37"/>
                </a:cxn>
                <a:cxn ang="0">
                  <a:pos x="21" y="30"/>
                </a:cxn>
                <a:cxn ang="0">
                  <a:pos x="34" y="31"/>
                </a:cxn>
                <a:cxn ang="0">
                  <a:pos x="49" y="35"/>
                </a:cxn>
                <a:cxn ang="0">
                  <a:pos x="45" y="42"/>
                </a:cxn>
              </a:cxnLst>
              <a:rect l="0" t="0" r="r" b="b"/>
              <a:pathLst>
                <a:path w="97" h="161">
                  <a:moveTo>
                    <a:pt x="45" y="42"/>
                  </a:moveTo>
                  <a:cubicBezTo>
                    <a:pt x="45" y="43"/>
                    <a:pt x="41" y="46"/>
                    <a:pt x="42" y="48"/>
                  </a:cubicBezTo>
                  <a:cubicBezTo>
                    <a:pt x="42" y="49"/>
                    <a:pt x="43" y="49"/>
                    <a:pt x="44" y="49"/>
                  </a:cubicBezTo>
                  <a:cubicBezTo>
                    <a:pt x="46" y="49"/>
                    <a:pt x="46" y="49"/>
                    <a:pt x="48" y="50"/>
                  </a:cubicBezTo>
                  <a:cubicBezTo>
                    <a:pt x="49" y="52"/>
                    <a:pt x="48" y="54"/>
                    <a:pt x="50" y="56"/>
                  </a:cubicBezTo>
                  <a:cubicBezTo>
                    <a:pt x="53" y="59"/>
                    <a:pt x="52" y="53"/>
                    <a:pt x="52" y="51"/>
                  </a:cubicBezTo>
                  <a:cubicBezTo>
                    <a:pt x="55" y="52"/>
                    <a:pt x="58" y="54"/>
                    <a:pt x="60" y="54"/>
                  </a:cubicBezTo>
                  <a:cubicBezTo>
                    <a:pt x="61" y="54"/>
                    <a:pt x="61" y="54"/>
                    <a:pt x="62" y="54"/>
                  </a:cubicBezTo>
                  <a:cubicBezTo>
                    <a:pt x="62" y="54"/>
                    <a:pt x="62" y="54"/>
                    <a:pt x="63" y="54"/>
                  </a:cubicBezTo>
                  <a:cubicBezTo>
                    <a:pt x="64" y="53"/>
                    <a:pt x="60" y="50"/>
                    <a:pt x="59" y="51"/>
                  </a:cubicBezTo>
                  <a:cubicBezTo>
                    <a:pt x="59" y="51"/>
                    <a:pt x="59" y="52"/>
                    <a:pt x="59" y="52"/>
                  </a:cubicBezTo>
                  <a:cubicBezTo>
                    <a:pt x="58" y="52"/>
                    <a:pt x="58" y="52"/>
                    <a:pt x="57" y="52"/>
                  </a:cubicBezTo>
                  <a:cubicBezTo>
                    <a:pt x="57" y="52"/>
                    <a:pt x="54" y="50"/>
                    <a:pt x="54" y="50"/>
                  </a:cubicBezTo>
                  <a:cubicBezTo>
                    <a:pt x="53" y="49"/>
                    <a:pt x="53" y="48"/>
                    <a:pt x="53" y="48"/>
                  </a:cubicBezTo>
                  <a:cubicBezTo>
                    <a:pt x="52" y="47"/>
                    <a:pt x="52" y="44"/>
                    <a:pt x="53" y="43"/>
                  </a:cubicBezTo>
                  <a:cubicBezTo>
                    <a:pt x="53" y="42"/>
                    <a:pt x="55" y="42"/>
                    <a:pt x="55" y="41"/>
                  </a:cubicBezTo>
                  <a:cubicBezTo>
                    <a:pt x="57" y="39"/>
                    <a:pt x="54" y="38"/>
                    <a:pt x="54" y="36"/>
                  </a:cubicBezTo>
                  <a:cubicBezTo>
                    <a:pt x="53" y="35"/>
                    <a:pt x="54" y="34"/>
                    <a:pt x="54" y="32"/>
                  </a:cubicBezTo>
                  <a:cubicBezTo>
                    <a:pt x="54" y="31"/>
                    <a:pt x="53" y="29"/>
                    <a:pt x="55" y="30"/>
                  </a:cubicBezTo>
                  <a:cubicBezTo>
                    <a:pt x="57" y="30"/>
                    <a:pt x="56" y="34"/>
                    <a:pt x="58" y="35"/>
                  </a:cubicBezTo>
                  <a:cubicBezTo>
                    <a:pt x="58" y="36"/>
                    <a:pt x="60" y="36"/>
                    <a:pt x="60" y="34"/>
                  </a:cubicBezTo>
                  <a:cubicBezTo>
                    <a:pt x="61" y="33"/>
                    <a:pt x="59" y="32"/>
                    <a:pt x="58" y="31"/>
                  </a:cubicBezTo>
                  <a:cubicBezTo>
                    <a:pt x="57" y="31"/>
                    <a:pt x="55" y="31"/>
                    <a:pt x="54" y="31"/>
                  </a:cubicBezTo>
                  <a:cubicBezTo>
                    <a:pt x="52" y="31"/>
                    <a:pt x="52" y="32"/>
                    <a:pt x="51" y="33"/>
                  </a:cubicBezTo>
                  <a:cubicBezTo>
                    <a:pt x="50" y="32"/>
                    <a:pt x="49" y="27"/>
                    <a:pt x="50" y="26"/>
                  </a:cubicBezTo>
                  <a:cubicBezTo>
                    <a:pt x="51" y="25"/>
                    <a:pt x="54" y="26"/>
                    <a:pt x="55" y="25"/>
                  </a:cubicBezTo>
                  <a:cubicBezTo>
                    <a:pt x="57" y="23"/>
                    <a:pt x="58" y="20"/>
                    <a:pt x="59" y="19"/>
                  </a:cubicBezTo>
                  <a:cubicBezTo>
                    <a:pt x="60" y="17"/>
                    <a:pt x="62" y="15"/>
                    <a:pt x="63" y="14"/>
                  </a:cubicBezTo>
                  <a:cubicBezTo>
                    <a:pt x="64" y="14"/>
                    <a:pt x="65" y="13"/>
                    <a:pt x="67" y="12"/>
                  </a:cubicBezTo>
                  <a:cubicBezTo>
                    <a:pt x="67" y="13"/>
                    <a:pt x="67" y="13"/>
                    <a:pt x="68" y="14"/>
                  </a:cubicBezTo>
                  <a:cubicBezTo>
                    <a:pt x="67" y="11"/>
                    <a:pt x="65" y="9"/>
                    <a:pt x="66" y="7"/>
                  </a:cubicBezTo>
                  <a:cubicBezTo>
                    <a:pt x="66" y="4"/>
                    <a:pt x="67" y="0"/>
                    <a:pt x="70" y="0"/>
                  </a:cubicBezTo>
                  <a:cubicBezTo>
                    <a:pt x="72" y="0"/>
                    <a:pt x="72" y="1"/>
                    <a:pt x="73" y="3"/>
                  </a:cubicBezTo>
                  <a:cubicBezTo>
                    <a:pt x="74" y="4"/>
                    <a:pt x="74" y="7"/>
                    <a:pt x="76" y="8"/>
                  </a:cubicBezTo>
                  <a:cubicBezTo>
                    <a:pt x="77" y="8"/>
                    <a:pt x="78" y="7"/>
                    <a:pt x="79" y="8"/>
                  </a:cubicBezTo>
                  <a:cubicBezTo>
                    <a:pt x="79" y="8"/>
                    <a:pt x="79" y="10"/>
                    <a:pt x="80" y="11"/>
                  </a:cubicBezTo>
                  <a:cubicBezTo>
                    <a:pt x="80" y="12"/>
                    <a:pt x="81" y="13"/>
                    <a:pt x="82" y="14"/>
                  </a:cubicBezTo>
                  <a:cubicBezTo>
                    <a:pt x="83" y="14"/>
                    <a:pt x="83" y="12"/>
                    <a:pt x="84" y="11"/>
                  </a:cubicBezTo>
                  <a:cubicBezTo>
                    <a:pt x="86" y="14"/>
                    <a:pt x="89" y="16"/>
                    <a:pt x="89" y="19"/>
                  </a:cubicBezTo>
                  <a:cubicBezTo>
                    <a:pt x="90" y="20"/>
                    <a:pt x="91" y="20"/>
                    <a:pt x="92" y="22"/>
                  </a:cubicBezTo>
                  <a:cubicBezTo>
                    <a:pt x="92" y="23"/>
                    <a:pt x="90" y="23"/>
                    <a:pt x="89" y="24"/>
                  </a:cubicBezTo>
                  <a:cubicBezTo>
                    <a:pt x="87" y="26"/>
                    <a:pt x="85" y="27"/>
                    <a:pt x="86" y="29"/>
                  </a:cubicBezTo>
                  <a:cubicBezTo>
                    <a:pt x="87" y="30"/>
                    <a:pt x="87" y="31"/>
                    <a:pt x="87" y="33"/>
                  </a:cubicBezTo>
                  <a:cubicBezTo>
                    <a:pt x="87" y="33"/>
                    <a:pt x="87" y="36"/>
                    <a:pt x="87" y="36"/>
                  </a:cubicBezTo>
                  <a:cubicBezTo>
                    <a:pt x="89" y="38"/>
                    <a:pt x="91" y="34"/>
                    <a:pt x="93" y="34"/>
                  </a:cubicBezTo>
                  <a:cubicBezTo>
                    <a:pt x="94" y="34"/>
                    <a:pt x="95" y="37"/>
                    <a:pt x="96" y="38"/>
                  </a:cubicBezTo>
                  <a:cubicBezTo>
                    <a:pt x="96" y="39"/>
                    <a:pt x="97" y="40"/>
                    <a:pt x="97" y="41"/>
                  </a:cubicBezTo>
                  <a:cubicBezTo>
                    <a:pt x="97" y="42"/>
                    <a:pt x="96" y="42"/>
                    <a:pt x="96" y="43"/>
                  </a:cubicBezTo>
                  <a:cubicBezTo>
                    <a:pt x="96" y="43"/>
                    <a:pt x="96" y="43"/>
                    <a:pt x="95" y="44"/>
                  </a:cubicBezTo>
                  <a:cubicBezTo>
                    <a:pt x="95" y="45"/>
                    <a:pt x="96" y="45"/>
                    <a:pt x="95" y="46"/>
                  </a:cubicBezTo>
                  <a:cubicBezTo>
                    <a:pt x="95" y="47"/>
                    <a:pt x="95" y="47"/>
                    <a:pt x="93" y="48"/>
                  </a:cubicBezTo>
                  <a:cubicBezTo>
                    <a:pt x="88" y="49"/>
                    <a:pt x="93" y="52"/>
                    <a:pt x="95" y="54"/>
                  </a:cubicBezTo>
                  <a:cubicBezTo>
                    <a:pt x="95" y="55"/>
                    <a:pt x="95" y="56"/>
                    <a:pt x="95" y="57"/>
                  </a:cubicBezTo>
                  <a:cubicBezTo>
                    <a:pt x="95" y="58"/>
                    <a:pt x="95" y="58"/>
                    <a:pt x="95" y="59"/>
                  </a:cubicBezTo>
                  <a:cubicBezTo>
                    <a:pt x="96" y="60"/>
                    <a:pt x="96" y="60"/>
                    <a:pt x="96" y="60"/>
                  </a:cubicBezTo>
                  <a:cubicBezTo>
                    <a:pt x="97" y="62"/>
                    <a:pt x="97" y="60"/>
                    <a:pt x="97" y="62"/>
                  </a:cubicBezTo>
                  <a:cubicBezTo>
                    <a:pt x="96" y="63"/>
                    <a:pt x="94" y="64"/>
                    <a:pt x="94" y="65"/>
                  </a:cubicBezTo>
                  <a:cubicBezTo>
                    <a:pt x="92" y="65"/>
                    <a:pt x="90" y="67"/>
                    <a:pt x="88" y="67"/>
                  </a:cubicBezTo>
                  <a:cubicBezTo>
                    <a:pt x="86" y="66"/>
                    <a:pt x="88" y="65"/>
                    <a:pt x="86" y="65"/>
                  </a:cubicBezTo>
                  <a:cubicBezTo>
                    <a:pt x="84" y="64"/>
                    <a:pt x="80" y="66"/>
                    <a:pt x="78" y="67"/>
                  </a:cubicBezTo>
                  <a:cubicBezTo>
                    <a:pt x="76" y="68"/>
                    <a:pt x="73" y="69"/>
                    <a:pt x="71" y="70"/>
                  </a:cubicBezTo>
                  <a:cubicBezTo>
                    <a:pt x="68" y="71"/>
                    <a:pt x="67" y="72"/>
                    <a:pt x="68" y="75"/>
                  </a:cubicBezTo>
                  <a:cubicBezTo>
                    <a:pt x="69" y="78"/>
                    <a:pt x="72" y="78"/>
                    <a:pt x="75" y="79"/>
                  </a:cubicBezTo>
                  <a:cubicBezTo>
                    <a:pt x="77" y="80"/>
                    <a:pt x="80" y="81"/>
                    <a:pt x="81" y="83"/>
                  </a:cubicBezTo>
                  <a:cubicBezTo>
                    <a:pt x="81" y="84"/>
                    <a:pt x="82" y="85"/>
                    <a:pt x="82" y="86"/>
                  </a:cubicBezTo>
                  <a:cubicBezTo>
                    <a:pt x="83" y="88"/>
                    <a:pt x="82" y="90"/>
                    <a:pt x="82" y="91"/>
                  </a:cubicBezTo>
                  <a:cubicBezTo>
                    <a:pt x="82" y="93"/>
                    <a:pt x="82" y="95"/>
                    <a:pt x="80" y="97"/>
                  </a:cubicBezTo>
                  <a:cubicBezTo>
                    <a:pt x="79" y="98"/>
                    <a:pt x="77" y="99"/>
                    <a:pt x="75" y="99"/>
                  </a:cubicBezTo>
                  <a:cubicBezTo>
                    <a:pt x="74" y="99"/>
                    <a:pt x="72" y="98"/>
                    <a:pt x="71" y="99"/>
                  </a:cubicBezTo>
                  <a:cubicBezTo>
                    <a:pt x="69" y="100"/>
                    <a:pt x="70" y="102"/>
                    <a:pt x="69" y="103"/>
                  </a:cubicBezTo>
                  <a:cubicBezTo>
                    <a:pt x="68" y="104"/>
                    <a:pt x="67" y="105"/>
                    <a:pt x="65" y="105"/>
                  </a:cubicBezTo>
                  <a:cubicBezTo>
                    <a:pt x="63" y="106"/>
                    <a:pt x="60" y="104"/>
                    <a:pt x="60" y="108"/>
                  </a:cubicBezTo>
                  <a:cubicBezTo>
                    <a:pt x="63" y="108"/>
                    <a:pt x="68" y="108"/>
                    <a:pt x="66" y="112"/>
                  </a:cubicBezTo>
                  <a:cubicBezTo>
                    <a:pt x="66" y="115"/>
                    <a:pt x="64" y="116"/>
                    <a:pt x="65" y="119"/>
                  </a:cubicBezTo>
                  <a:cubicBezTo>
                    <a:pt x="67" y="117"/>
                    <a:pt x="66" y="124"/>
                    <a:pt x="66" y="125"/>
                  </a:cubicBezTo>
                  <a:cubicBezTo>
                    <a:pt x="69" y="122"/>
                    <a:pt x="70" y="121"/>
                    <a:pt x="73" y="121"/>
                  </a:cubicBezTo>
                  <a:cubicBezTo>
                    <a:pt x="75" y="121"/>
                    <a:pt x="75" y="122"/>
                    <a:pt x="75" y="120"/>
                  </a:cubicBezTo>
                  <a:cubicBezTo>
                    <a:pt x="76" y="119"/>
                    <a:pt x="75" y="118"/>
                    <a:pt x="75" y="117"/>
                  </a:cubicBezTo>
                  <a:cubicBezTo>
                    <a:pt x="79" y="116"/>
                    <a:pt x="85" y="118"/>
                    <a:pt x="87" y="121"/>
                  </a:cubicBezTo>
                  <a:cubicBezTo>
                    <a:pt x="87" y="123"/>
                    <a:pt x="88" y="123"/>
                    <a:pt x="86" y="124"/>
                  </a:cubicBezTo>
                  <a:cubicBezTo>
                    <a:pt x="85" y="124"/>
                    <a:pt x="83" y="124"/>
                    <a:pt x="81" y="124"/>
                  </a:cubicBezTo>
                  <a:cubicBezTo>
                    <a:pt x="79" y="124"/>
                    <a:pt x="78" y="124"/>
                    <a:pt x="77" y="126"/>
                  </a:cubicBezTo>
                  <a:cubicBezTo>
                    <a:pt x="77" y="126"/>
                    <a:pt x="77" y="128"/>
                    <a:pt x="76" y="128"/>
                  </a:cubicBezTo>
                  <a:cubicBezTo>
                    <a:pt x="74" y="129"/>
                    <a:pt x="73" y="128"/>
                    <a:pt x="72" y="130"/>
                  </a:cubicBezTo>
                  <a:cubicBezTo>
                    <a:pt x="71" y="131"/>
                    <a:pt x="71" y="132"/>
                    <a:pt x="71" y="133"/>
                  </a:cubicBezTo>
                  <a:cubicBezTo>
                    <a:pt x="70" y="133"/>
                    <a:pt x="67" y="134"/>
                    <a:pt x="67" y="133"/>
                  </a:cubicBezTo>
                  <a:cubicBezTo>
                    <a:pt x="66" y="133"/>
                    <a:pt x="67" y="132"/>
                    <a:pt x="67" y="131"/>
                  </a:cubicBezTo>
                  <a:cubicBezTo>
                    <a:pt x="64" y="130"/>
                    <a:pt x="63" y="131"/>
                    <a:pt x="64" y="133"/>
                  </a:cubicBezTo>
                  <a:cubicBezTo>
                    <a:pt x="65" y="135"/>
                    <a:pt x="66" y="138"/>
                    <a:pt x="65" y="139"/>
                  </a:cubicBezTo>
                  <a:cubicBezTo>
                    <a:pt x="64" y="141"/>
                    <a:pt x="63" y="141"/>
                    <a:pt x="62" y="141"/>
                  </a:cubicBezTo>
                  <a:cubicBezTo>
                    <a:pt x="61" y="142"/>
                    <a:pt x="60" y="142"/>
                    <a:pt x="59" y="143"/>
                  </a:cubicBezTo>
                  <a:cubicBezTo>
                    <a:pt x="58" y="144"/>
                    <a:pt x="57" y="145"/>
                    <a:pt x="56" y="146"/>
                  </a:cubicBezTo>
                  <a:cubicBezTo>
                    <a:pt x="54" y="149"/>
                    <a:pt x="53" y="151"/>
                    <a:pt x="50" y="153"/>
                  </a:cubicBezTo>
                  <a:cubicBezTo>
                    <a:pt x="49" y="154"/>
                    <a:pt x="49" y="154"/>
                    <a:pt x="49" y="155"/>
                  </a:cubicBezTo>
                  <a:cubicBezTo>
                    <a:pt x="48" y="157"/>
                    <a:pt x="49" y="159"/>
                    <a:pt x="49" y="161"/>
                  </a:cubicBezTo>
                  <a:cubicBezTo>
                    <a:pt x="49" y="160"/>
                    <a:pt x="50" y="159"/>
                    <a:pt x="50" y="158"/>
                  </a:cubicBezTo>
                  <a:cubicBezTo>
                    <a:pt x="51" y="157"/>
                    <a:pt x="50" y="156"/>
                    <a:pt x="49" y="155"/>
                  </a:cubicBezTo>
                  <a:cubicBezTo>
                    <a:pt x="47" y="154"/>
                    <a:pt x="47" y="154"/>
                    <a:pt x="45" y="154"/>
                  </a:cubicBezTo>
                  <a:cubicBezTo>
                    <a:pt x="44" y="154"/>
                    <a:pt x="43" y="153"/>
                    <a:pt x="42" y="154"/>
                  </a:cubicBezTo>
                  <a:cubicBezTo>
                    <a:pt x="41" y="154"/>
                    <a:pt x="40" y="154"/>
                    <a:pt x="39" y="154"/>
                  </a:cubicBezTo>
                  <a:cubicBezTo>
                    <a:pt x="38" y="154"/>
                    <a:pt x="37" y="154"/>
                    <a:pt x="36" y="154"/>
                  </a:cubicBezTo>
                  <a:cubicBezTo>
                    <a:pt x="35" y="154"/>
                    <a:pt x="35" y="154"/>
                    <a:pt x="34" y="155"/>
                  </a:cubicBezTo>
                  <a:cubicBezTo>
                    <a:pt x="33" y="155"/>
                    <a:pt x="29" y="156"/>
                    <a:pt x="28" y="155"/>
                  </a:cubicBezTo>
                  <a:cubicBezTo>
                    <a:pt x="27" y="154"/>
                    <a:pt x="28" y="153"/>
                    <a:pt x="27" y="153"/>
                  </a:cubicBezTo>
                  <a:cubicBezTo>
                    <a:pt x="27" y="152"/>
                    <a:pt x="26" y="151"/>
                    <a:pt x="25" y="151"/>
                  </a:cubicBezTo>
                  <a:cubicBezTo>
                    <a:pt x="21" y="149"/>
                    <a:pt x="18" y="147"/>
                    <a:pt x="14" y="147"/>
                  </a:cubicBezTo>
                  <a:cubicBezTo>
                    <a:pt x="11" y="147"/>
                    <a:pt x="11" y="146"/>
                    <a:pt x="10" y="144"/>
                  </a:cubicBezTo>
                  <a:cubicBezTo>
                    <a:pt x="8" y="143"/>
                    <a:pt x="5" y="142"/>
                    <a:pt x="7" y="139"/>
                  </a:cubicBezTo>
                  <a:cubicBezTo>
                    <a:pt x="7" y="139"/>
                    <a:pt x="7" y="138"/>
                    <a:pt x="8" y="137"/>
                  </a:cubicBezTo>
                  <a:cubicBezTo>
                    <a:pt x="8" y="137"/>
                    <a:pt x="9" y="137"/>
                    <a:pt x="10" y="137"/>
                  </a:cubicBezTo>
                  <a:cubicBezTo>
                    <a:pt x="10" y="136"/>
                    <a:pt x="11" y="136"/>
                    <a:pt x="10" y="135"/>
                  </a:cubicBezTo>
                  <a:cubicBezTo>
                    <a:pt x="10" y="135"/>
                    <a:pt x="10" y="134"/>
                    <a:pt x="9" y="134"/>
                  </a:cubicBezTo>
                  <a:cubicBezTo>
                    <a:pt x="9" y="134"/>
                    <a:pt x="9" y="134"/>
                    <a:pt x="9" y="133"/>
                  </a:cubicBezTo>
                  <a:cubicBezTo>
                    <a:pt x="8" y="132"/>
                    <a:pt x="8" y="130"/>
                    <a:pt x="9" y="129"/>
                  </a:cubicBezTo>
                  <a:cubicBezTo>
                    <a:pt x="9" y="127"/>
                    <a:pt x="10" y="126"/>
                    <a:pt x="12" y="125"/>
                  </a:cubicBezTo>
                  <a:cubicBezTo>
                    <a:pt x="13" y="125"/>
                    <a:pt x="14" y="124"/>
                    <a:pt x="15" y="125"/>
                  </a:cubicBezTo>
                  <a:cubicBezTo>
                    <a:pt x="16" y="125"/>
                    <a:pt x="16" y="125"/>
                    <a:pt x="16" y="126"/>
                  </a:cubicBezTo>
                  <a:cubicBezTo>
                    <a:pt x="17" y="126"/>
                    <a:pt x="18" y="127"/>
                    <a:pt x="19" y="128"/>
                  </a:cubicBezTo>
                  <a:cubicBezTo>
                    <a:pt x="20" y="128"/>
                    <a:pt x="21" y="128"/>
                    <a:pt x="22" y="128"/>
                  </a:cubicBezTo>
                  <a:cubicBezTo>
                    <a:pt x="22" y="128"/>
                    <a:pt x="22" y="128"/>
                    <a:pt x="23" y="128"/>
                  </a:cubicBezTo>
                  <a:cubicBezTo>
                    <a:pt x="23" y="128"/>
                    <a:pt x="24" y="130"/>
                    <a:pt x="24" y="130"/>
                  </a:cubicBezTo>
                  <a:cubicBezTo>
                    <a:pt x="26" y="132"/>
                    <a:pt x="28" y="133"/>
                    <a:pt x="30" y="132"/>
                  </a:cubicBezTo>
                  <a:cubicBezTo>
                    <a:pt x="32" y="132"/>
                    <a:pt x="32" y="132"/>
                    <a:pt x="33" y="133"/>
                  </a:cubicBezTo>
                  <a:cubicBezTo>
                    <a:pt x="34" y="135"/>
                    <a:pt x="35" y="137"/>
                    <a:pt x="37" y="135"/>
                  </a:cubicBezTo>
                  <a:cubicBezTo>
                    <a:pt x="38" y="134"/>
                    <a:pt x="38" y="133"/>
                    <a:pt x="40" y="132"/>
                  </a:cubicBezTo>
                  <a:cubicBezTo>
                    <a:pt x="40" y="132"/>
                    <a:pt x="41" y="132"/>
                    <a:pt x="42" y="132"/>
                  </a:cubicBezTo>
                  <a:cubicBezTo>
                    <a:pt x="42" y="130"/>
                    <a:pt x="41" y="128"/>
                    <a:pt x="42" y="127"/>
                  </a:cubicBezTo>
                  <a:cubicBezTo>
                    <a:pt x="43" y="126"/>
                    <a:pt x="46" y="124"/>
                    <a:pt x="47" y="125"/>
                  </a:cubicBezTo>
                  <a:cubicBezTo>
                    <a:pt x="48" y="125"/>
                    <a:pt x="48" y="126"/>
                    <a:pt x="49" y="127"/>
                  </a:cubicBezTo>
                  <a:cubicBezTo>
                    <a:pt x="49" y="125"/>
                    <a:pt x="48" y="120"/>
                    <a:pt x="49" y="119"/>
                  </a:cubicBezTo>
                  <a:cubicBezTo>
                    <a:pt x="50" y="119"/>
                    <a:pt x="52" y="121"/>
                    <a:pt x="52" y="121"/>
                  </a:cubicBezTo>
                  <a:cubicBezTo>
                    <a:pt x="54" y="123"/>
                    <a:pt x="54" y="123"/>
                    <a:pt x="56" y="124"/>
                  </a:cubicBezTo>
                  <a:cubicBezTo>
                    <a:pt x="57" y="124"/>
                    <a:pt x="57" y="125"/>
                    <a:pt x="58" y="125"/>
                  </a:cubicBezTo>
                  <a:cubicBezTo>
                    <a:pt x="58" y="124"/>
                    <a:pt x="58" y="123"/>
                    <a:pt x="58" y="123"/>
                  </a:cubicBezTo>
                  <a:cubicBezTo>
                    <a:pt x="57" y="121"/>
                    <a:pt x="52" y="119"/>
                    <a:pt x="51" y="119"/>
                  </a:cubicBezTo>
                  <a:cubicBezTo>
                    <a:pt x="50" y="117"/>
                    <a:pt x="48" y="115"/>
                    <a:pt x="46" y="113"/>
                  </a:cubicBezTo>
                  <a:cubicBezTo>
                    <a:pt x="44" y="112"/>
                    <a:pt x="44" y="111"/>
                    <a:pt x="44" y="109"/>
                  </a:cubicBezTo>
                  <a:cubicBezTo>
                    <a:pt x="44" y="106"/>
                    <a:pt x="44" y="106"/>
                    <a:pt x="41" y="104"/>
                  </a:cubicBezTo>
                  <a:cubicBezTo>
                    <a:pt x="39" y="104"/>
                    <a:pt x="38" y="104"/>
                    <a:pt x="36" y="103"/>
                  </a:cubicBezTo>
                  <a:cubicBezTo>
                    <a:pt x="35" y="103"/>
                    <a:pt x="35" y="103"/>
                    <a:pt x="34" y="102"/>
                  </a:cubicBezTo>
                  <a:cubicBezTo>
                    <a:pt x="33" y="102"/>
                    <a:pt x="31" y="102"/>
                    <a:pt x="29" y="102"/>
                  </a:cubicBezTo>
                  <a:cubicBezTo>
                    <a:pt x="28" y="102"/>
                    <a:pt x="27" y="103"/>
                    <a:pt x="26" y="103"/>
                  </a:cubicBezTo>
                  <a:cubicBezTo>
                    <a:pt x="25" y="103"/>
                    <a:pt x="23" y="101"/>
                    <a:pt x="22" y="100"/>
                  </a:cubicBezTo>
                  <a:cubicBezTo>
                    <a:pt x="21" y="100"/>
                    <a:pt x="18" y="98"/>
                    <a:pt x="18" y="98"/>
                  </a:cubicBezTo>
                  <a:cubicBezTo>
                    <a:pt x="18" y="97"/>
                    <a:pt x="18" y="96"/>
                    <a:pt x="18" y="96"/>
                  </a:cubicBezTo>
                  <a:cubicBezTo>
                    <a:pt x="18" y="93"/>
                    <a:pt x="17" y="77"/>
                    <a:pt x="13" y="78"/>
                  </a:cubicBezTo>
                  <a:cubicBezTo>
                    <a:pt x="12" y="80"/>
                    <a:pt x="13" y="82"/>
                    <a:pt x="13" y="84"/>
                  </a:cubicBezTo>
                  <a:cubicBezTo>
                    <a:pt x="13" y="82"/>
                    <a:pt x="12" y="77"/>
                    <a:pt x="14" y="76"/>
                  </a:cubicBezTo>
                  <a:cubicBezTo>
                    <a:pt x="14" y="75"/>
                    <a:pt x="16" y="75"/>
                    <a:pt x="15" y="73"/>
                  </a:cubicBezTo>
                  <a:cubicBezTo>
                    <a:pt x="14" y="71"/>
                    <a:pt x="11" y="71"/>
                    <a:pt x="10" y="68"/>
                  </a:cubicBezTo>
                  <a:cubicBezTo>
                    <a:pt x="9" y="67"/>
                    <a:pt x="10" y="65"/>
                    <a:pt x="10" y="64"/>
                  </a:cubicBezTo>
                  <a:cubicBezTo>
                    <a:pt x="10" y="63"/>
                    <a:pt x="10" y="62"/>
                    <a:pt x="10" y="61"/>
                  </a:cubicBezTo>
                  <a:cubicBezTo>
                    <a:pt x="9" y="58"/>
                    <a:pt x="5" y="58"/>
                    <a:pt x="3" y="56"/>
                  </a:cubicBezTo>
                  <a:cubicBezTo>
                    <a:pt x="2" y="55"/>
                    <a:pt x="2" y="55"/>
                    <a:pt x="2" y="53"/>
                  </a:cubicBezTo>
                  <a:cubicBezTo>
                    <a:pt x="1" y="52"/>
                    <a:pt x="0" y="51"/>
                    <a:pt x="1" y="50"/>
                  </a:cubicBezTo>
                  <a:cubicBezTo>
                    <a:pt x="2" y="49"/>
                    <a:pt x="3" y="49"/>
                    <a:pt x="4" y="50"/>
                  </a:cubicBezTo>
                  <a:cubicBezTo>
                    <a:pt x="5" y="51"/>
                    <a:pt x="6" y="53"/>
                    <a:pt x="7" y="54"/>
                  </a:cubicBezTo>
                  <a:cubicBezTo>
                    <a:pt x="9" y="55"/>
                    <a:pt x="10" y="50"/>
                    <a:pt x="11" y="49"/>
                  </a:cubicBezTo>
                  <a:cubicBezTo>
                    <a:pt x="13" y="46"/>
                    <a:pt x="16" y="51"/>
                    <a:pt x="18" y="50"/>
                  </a:cubicBezTo>
                  <a:cubicBezTo>
                    <a:pt x="21" y="50"/>
                    <a:pt x="23" y="45"/>
                    <a:pt x="25" y="43"/>
                  </a:cubicBezTo>
                  <a:cubicBezTo>
                    <a:pt x="27" y="42"/>
                    <a:pt x="28" y="41"/>
                    <a:pt x="30" y="41"/>
                  </a:cubicBezTo>
                  <a:cubicBezTo>
                    <a:pt x="31" y="40"/>
                    <a:pt x="35" y="40"/>
                    <a:pt x="34" y="37"/>
                  </a:cubicBezTo>
                  <a:cubicBezTo>
                    <a:pt x="34" y="36"/>
                    <a:pt x="33" y="36"/>
                    <a:pt x="32" y="35"/>
                  </a:cubicBezTo>
                  <a:cubicBezTo>
                    <a:pt x="31" y="35"/>
                    <a:pt x="30" y="34"/>
                    <a:pt x="28" y="33"/>
                  </a:cubicBezTo>
                  <a:cubicBezTo>
                    <a:pt x="26" y="31"/>
                    <a:pt x="24" y="31"/>
                    <a:pt x="21" y="30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3" y="27"/>
                    <a:pt x="25" y="29"/>
                    <a:pt x="28" y="30"/>
                  </a:cubicBezTo>
                  <a:cubicBezTo>
                    <a:pt x="30" y="31"/>
                    <a:pt x="32" y="31"/>
                    <a:pt x="34" y="31"/>
                  </a:cubicBezTo>
                  <a:cubicBezTo>
                    <a:pt x="35" y="30"/>
                    <a:pt x="36" y="30"/>
                    <a:pt x="36" y="29"/>
                  </a:cubicBezTo>
                  <a:cubicBezTo>
                    <a:pt x="40" y="28"/>
                    <a:pt x="45" y="28"/>
                    <a:pt x="48" y="28"/>
                  </a:cubicBezTo>
                  <a:cubicBezTo>
                    <a:pt x="49" y="30"/>
                    <a:pt x="50" y="34"/>
                    <a:pt x="49" y="35"/>
                  </a:cubicBezTo>
                  <a:cubicBezTo>
                    <a:pt x="49" y="36"/>
                    <a:pt x="46" y="36"/>
                    <a:pt x="46" y="37"/>
                  </a:cubicBezTo>
                  <a:cubicBezTo>
                    <a:pt x="45" y="39"/>
                    <a:pt x="46" y="41"/>
                    <a:pt x="46" y="43"/>
                  </a:cubicBezTo>
                  <a:lnTo>
                    <a:pt x="45" y="4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7" name="Freeform 108">
              <a:extLst>
                <a:ext uri="{FF2B5EF4-FFF2-40B4-BE49-F238E27FC236}">
                  <a16:creationId xmlns:a16="http://schemas.microsoft.com/office/drawing/2014/main" id="{EE8A52D9-432E-4624-80F6-19AD35D72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0938" y="3663950"/>
              <a:ext cx="55563" cy="58738"/>
            </a:xfrm>
            <a:custGeom>
              <a:avLst/>
              <a:gdLst/>
              <a:ahLst/>
              <a:cxnLst>
                <a:cxn ang="0">
                  <a:pos x="26" y="15"/>
                </a:cxn>
                <a:cxn ang="0">
                  <a:pos x="20" y="8"/>
                </a:cxn>
                <a:cxn ang="0">
                  <a:pos x="9" y="0"/>
                </a:cxn>
                <a:cxn ang="0">
                  <a:pos x="2" y="5"/>
                </a:cxn>
                <a:cxn ang="0">
                  <a:pos x="3" y="18"/>
                </a:cxn>
                <a:cxn ang="0">
                  <a:pos x="10" y="29"/>
                </a:cxn>
                <a:cxn ang="0">
                  <a:pos x="19" y="31"/>
                </a:cxn>
                <a:cxn ang="0">
                  <a:pos x="28" y="28"/>
                </a:cxn>
                <a:cxn ang="0">
                  <a:pos x="28" y="16"/>
                </a:cxn>
              </a:cxnLst>
              <a:rect l="0" t="0" r="r" b="b"/>
              <a:pathLst>
                <a:path w="30" h="32">
                  <a:moveTo>
                    <a:pt x="26" y="15"/>
                  </a:moveTo>
                  <a:cubicBezTo>
                    <a:pt x="25" y="12"/>
                    <a:pt x="22" y="10"/>
                    <a:pt x="20" y="8"/>
                  </a:cubicBezTo>
                  <a:cubicBezTo>
                    <a:pt x="17" y="5"/>
                    <a:pt x="13" y="0"/>
                    <a:pt x="9" y="0"/>
                  </a:cubicBezTo>
                  <a:cubicBezTo>
                    <a:pt x="7" y="0"/>
                    <a:pt x="3" y="3"/>
                    <a:pt x="2" y="5"/>
                  </a:cubicBezTo>
                  <a:cubicBezTo>
                    <a:pt x="0" y="8"/>
                    <a:pt x="2" y="15"/>
                    <a:pt x="3" y="18"/>
                  </a:cubicBezTo>
                  <a:cubicBezTo>
                    <a:pt x="5" y="22"/>
                    <a:pt x="7" y="26"/>
                    <a:pt x="10" y="29"/>
                  </a:cubicBezTo>
                  <a:cubicBezTo>
                    <a:pt x="12" y="32"/>
                    <a:pt x="15" y="32"/>
                    <a:pt x="19" y="31"/>
                  </a:cubicBezTo>
                  <a:cubicBezTo>
                    <a:pt x="22" y="31"/>
                    <a:pt x="27" y="31"/>
                    <a:pt x="28" y="28"/>
                  </a:cubicBezTo>
                  <a:cubicBezTo>
                    <a:pt x="30" y="26"/>
                    <a:pt x="30" y="18"/>
                    <a:pt x="28" y="16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8" name="Freeform 109">
              <a:extLst>
                <a:ext uri="{FF2B5EF4-FFF2-40B4-BE49-F238E27FC236}">
                  <a16:creationId xmlns:a16="http://schemas.microsoft.com/office/drawing/2014/main" id="{60708431-B4C5-4117-B925-13BF9891B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5113" y="3727450"/>
              <a:ext cx="927100" cy="1235075"/>
            </a:xfrm>
            <a:custGeom>
              <a:avLst/>
              <a:gdLst/>
              <a:ahLst/>
              <a:cxnLst>
                <a:cxn ang="0">
                  <a:pos x="480" y="297"/>
                </a:cxn>
                <a:cxn ang="0">
                  <a:pos x="483" y="257"/>
                </a:cxn>
                <a:cxn ang="0">
                  <a:pos x="476" y="216"/>
                </a:cxn>
                <a:cxn ang="0">
                  <a:pos x="458" y="173"/>
                </a:cxn>
                <a:cxn ang="0">
                  <a:pos x="446" y="106"/>
                </a:cxn>
                <a:cxn ang="0">
                  <a:pos x="445" y="78"/>
                </a:cxn>
                <a:cxn ang="0">
                  <a:pos x="401" y="61"/>
                </a:cxn>
                <a:cxn ang="0">
                  <a:pos x="426" y="54"/>
                </a:cxn>
                <a:cxn ang="0">
                  <a:pos x="419" y="31"/>
                </a:cxn>
                <a:cxn ang="0">
                  <a:pos x="405" y="38"/>
                </a:cxn>
                <a:cxn ang="0">
                  <a:pos x="398" y="38"/>
                </a:cxn>
                <a:cxn ang="0">
                  <a:pos x="390" y="49"/>
                </a:cxn>
                <a:cxn ang="0">
                  <a:pos x="352" y="57"/>
                </a:cxn>
                <a:cxn ang="0">
                  <a:pos x="321" y="60"/>
                </a:cxn>
                <a:cxn ang="0">
                  <a:pos x="304" y="84"/>
                </a:cxn>
                <a:cxn ang="0">
                  <a:pos x="286" y="66"/>
                </a:cxn>
                <a:cxn ang="0">
                  <a:pos x="282" y="34"/>
                </a:cxn>
                <a:cxn ang="0">
                  <a:pos x="256" y="48"/>
                </a:cxn>
                <a:cxn ang="0">
                  <a:pos x="223" y="42"/>
                </a:cxn>
                <a:cxn ang="0">
                  <a:pos x="222" y="10"/>
                </a:cxn>
                <a:cxn ang="0">
                  <a:pos x="187" y="11"/>
                </a:cxn>
                <a:cxn ang="0">
                  <a:pos x="157" y="1"/>
                </a:cxn>
                <a:cxn ang="0">
                  <a:pos x="163" y="30"/>
                </a:cxn>
                <a:cxn ang="0">
                  <a:pos x="173" y="41"/>
                </a:cxn>
                <a:cxn ang="0">
                  <a:pos x="155" y="59"/>
                </a:cxn>
                <a:cxn ang="0">
                  <a:pos x="158" y="74"/>
                </a:cxn>
                <a:cxn ang="0">
                  <a:pos x="169" y="96"/>
                </a:cxn>
                <a:cxn ang="0">
                  <a:pos x="169" y="101"/>
                </a:cxn>
                <a:cxn ang="0">
                  <a:pos x="138" y="113"/>
                </a:cxn>
                <a:cxn ang="0">
                  <a:pos x="123" y="134"/>
                </a:cxn>
                <a:cxn ang="0">
                  <a:pos x="96" y="112"/>
                </a:cxn>
                <a:cxn ang="0">
                  <a:pos x="66" y="146"/>
                </a:cxn>
                <a:cxn ang="0">
                  <a:pos x="56" y="203"/>
                </a:cxn>
                <a:cxn ang="0">
                  <a:pos x="59" y="228"/>
                </a:cxn>
                <a:cxn ang="0">
                  <a:pos x="43" y="265"/>
                </a:cxn>
                <a:cxn ang="0">
                  <a:pos x="0" y="283"/>
                </a:cxn>
                <a:cxn ang="0">
                  <a:pos x="10" y="324"/>
                </a:cxn>
                <a:cxn ang="0">
                  <a:pos x="4" y="351"/>
                </a:cxn>
                <a:cxn ang="0">
                  <a:pos x="1" y="377"/>
                </a:cxn>
                <a:cxn ang="0">
                  <a:pos x="13" y="414"/>
                </a:cxn>
                <a:cxn ang="0">
                  <a:pos x="28" y="457"/>
                </a:cxn>
                <a:cxn ang="0">
                  <a:pos x="79" y="505"/>
                </a:cxn>
                <a:cxn ang="0">
                  <a:pos x="95" y="563"/>
                </a:cxn>
                <a:cxn ang="0">
                  <a:pos x="110" y="637"/>
                </a:cxn>
                <a:cxn ang="0">
                  <a:pos x="147" y="627"/>
                </a:cxn>
                <a:cxn ang="0">
                  <a:pos x="189" y="640"/>
                </a:cxn>
                <a:cxn ang="0">
                  <a:pos x="233" y="655"/>
                </a:cxn>
                <a:cxn ang="0">
                  <a:pos x="289" y="643"/>
                </a:cxn>
                <a:cxn ang="0">
                  <a:pos x="341" y="629"/>
                </a:cxn>
                <a:cxn ang="0">
                  <a:pos x="375" y="634"/>
                </a:cxn>
                <a:cxn ang="0">
                  <a:pos x="364" y="603"/>
                </a:cxn>
                <a:cxn ang="0">
                  <a:pos x="398" y="571"/>
                </a:cxn>
                <a:cxn ang="0">
                  <a:pos x="418" y="552"/>
                </a:cxn>
                <a:cxn ang="0">
                  <a:pos x="398" y="517"/>
                </a:cxn>
                <a:cxn ang="0">
                  <a:pos x="365" y="488"/>
                </a:cxn>
                <a:cxn ang="0">
                  <a:pos x="354" y="445"/>
                </a:cxn>
                <a:cxn ang="0">
                  <a:pos x="339" y="413"/>
                </a:cxn>
                <a:cxn ang="0">
                  <a:pos x="361" y="401"/>
                </a:cxn>
                <a:cxn ang="0">
                  <a:pos x="392" y="392"/>
                </a:cxn>
                <a:cxn ang="0">
                  <a:pos x="412" y="380"/>
                </a:cxn>
                <a:cxn ang="0">
                  <a:pos x="446" y="363"/>
                </a:cxn>
                <a:cxn ang="0">
                  <a:pos x="472" y="359"/>
                </a:cxn>
                <a:cxn ang="0">
                  <a:pos x="496" y="326"/>
                </a:cxn>
              </a:cxnLst>
              <a:rect l="0" t="0" r="r" b="b"/>
              <a:pathLst>
                <a:path w="496" h="661">
                  <a:moveTo>
                    <a:pt x="496" y="323"/>
                  </a:moveTo>
                  <a:cubicBezTo>
                    <a:pt x="495" y="322"/>
                    <a:pt x="495" y="321"/>
                    <a:pt x="494" y="320"/>
                  </a:cubicBezTo>
                  <a:cubicBezTo>
                    <a:pt x="494" y="319"/>
                    <a:pt x="493" y="318"/>
                    <a:pt x="492" y="317"/>
                  </a:cubicBezTo>
                  <a:cubicBezTo>
                    <a:pt x="492" y="317"/>
                    <a:pt x="491" y="317"/>
                    <a:pt x="491" y="316"/>
                  </a:cubicBezTo>
                  <a:cubicBezTo>
                    <a:pt x="491" y="316"/>
                    <a:pt x="491" y="315"/>
                    <a:pt x="490" y="314"/>
                  </a:cubicBezTo>
                  <a:cubicBezTo>
                    <a:pt x="490" y="312"/>
                    <a:pt x="490" y="311"/>
                    <a:pt x="489" y="309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6"/>
                    <a:pt x="484" y="306"/>
                    <a:pt x="483" y="305"/>
                  </a:cubicBezTo>
                  <a:cubicBezTo>
                    <a:pt x="482" y="304"/>
                    <a:pt x="481" y="303"/>
                    <a:pt x="479" y="302"/>
                  </a:cubicBezTo>
                  <a:cubicBezTo>
                    <a:pt x="478" y="301"/>
                    <a:pt x="478" y="301"/>
                    <a:pt x="478" y="301"/>
                  </a:cubicBezTo>
                  <a:cubicBezTo>
                    <a:pt x="477" y="300"/>
                    <a:pt x="476" y="299"/>
                    <a:pt x="477" y="298"/>
                  </a:cubicBezTo>
                  <a:cubicBezTo>
                    <a:pt x="478" y="298"/>
                    <a:pt x="479" y="298"/>
                    <a:pt x="479" y="297"/>
                  </a:cubicBezTo>
                  <a:cubicBezTo>
                    <a:pt x="479" y="297"/>
                    <a:pt x="480" y="297"/>
                    <a:pt x="480" y="297"/>
                  </a:cubicBezTo>
                  <a:cubicBezTo>
                    <a:pt x="480" y="296"/>
                    <a:pt x="481" y="296"/>
                    <a:pt x="481" y="295"/>
                  </a:cubicBezTo>
                  <a:cubicBezTo>
                    <a:pt x="481" y="293"/>
                    <a:pt x="480" y="291"/>
                    <a:pt x="480" y="289"/>
                  </a:cubicBezTo>
                  <a:cubicBezTo>
                    <a:pt x="480" y="290"/>
                    <a:pt x="479" y="288"/>
                    <a:pt x="479" y="288"/>
                  </a:cubicBezTo>
                  <a:cubicBezTo>
                    <a:pt x="479" y="288"/>
                    <a:pt x="478" y="288"/>
                    <a:pt x="478" y="287"/>
                  </a:cubicBezTo>
                  <a:cubicBezTo>
                    <a:pt x="478" y="287"/>
                    <a:pt x="478" y="286"/>
                    <a:pt x="478" y="286"/>
                  </a:cubicBezTo>
                  <a:cubicBezTo>
                    <a:pt x="477" y="284"/>
                    <a:pt x="475" y="282"/>
                    <a:pt x="474" y="280"/>
                  </a:cubicBezTo>
                  <a:cubicBezTo>
                    <a:pt x="475" y="279"/>
                    <a:pt x="476" y="278"/>
                    <a:pt x="477" y="278"/>
                  </a:cubicBezTo>
                  <a:cubicBezTo>
                    <a:pt x="476" y="278"/>
                    <a:pt x="475" y="279"/>
                    <a:pt x="474" y="278"/>
                  </a:cubicBezTo>
                  <a:cubicBezTo>
                    <a:pt x="474" y="277"/>
                    <a:pt x="474" y="274"/>
                    <a:pt x="474" y="273"/>
                  </a:cubicBezTo>
                  <a:cubicBezTo>
                    <a:pt x="474" y="270"/>
                    <a:pt x="473" y="269"/>
                    <a:pt x="477" y="268"/>
                  </a:cubicBezTo>
                  <a:cubicBezTo>
                    <a:pt x="479" y="268"/>
                    <a:pt x="481" y="268"/>
                    <a:pt x="482" y="266"/>
                  </a:cubicBezTo>
                  <a:cubicBezTo>
                    <a:pt x="482" y="265"/>
                    <a:pt x="482" y="265"/>
                    <a:pt x="482" y="265"/>
                  </a:cubicBezTo>
                  <a:cubicBezTo>
                    <a:pt x="482" y="262"/>
                    <a:pt x="482" y="260"/>
                    <a:pt x="483" y="257"/>
                  </a:cubicBezTo>
                  <a:cubicBezTo>
                    <a:pt x="483" y="254"/>
                    <a:pt x="485" y="251"/>
                    <a:pt x="482" y="249"/>
                  </a:cubicBezTo>
                  <a:cubicBezTo>
                    <a:pt x="482" y="248"/>
                    <a:pt x="479" y="247"/>
                    <a:pt x="479" y="246"/>
                  </a:cubicBezTo>
                  <a:cubicBezTo>
                    <a:pt x="478" y="245"/>
                    <a:pt x="479" y="245"/>
                    <a:pt x="479" y="244"/>
                  </a:cubicBezTo>
                  <a:cubicBezTo>
                    <a:pt x="479" y="243"/>
                    <a:pt x="478" y="242"/>
                    <a:pt x="478" y="240"/>
                  </a:cubicBezTo>
                  <a:cubicBezTo>
                    <a:pt x="478" y="240"/>
                    <a:pt x="478" y="238"/>
                    <a:pt x="478" y="238"/>
                  </a:cubicBezTo>
                  <a:cubicBezTo>
                    <a:pt x="477" y="237"/>
                    <a:pt x="476" y="237"/>
                    <a:pt x="476" y="237"/>
                  </a:cubicBezTo>
                  <a:cubicBezTo>
                    <a:pt x="476" y="237"/>
                    <a:pt x="476" y="236"/>
                    <a:pt x="475" y="236"/>
                  </a:cubicBezTo>
                  <a:cubicBezTo>
                    <a:pt x="475" y="236"/>
                    <a:pt x="475" y="236"/>
                    <a:pt x="474" y="235"/>
                  </a:cubicBezTo>
                  <a:cubicBezTo>
                    <a:pt x="474" y="234"/>
                    <a:pt x="473" y="231"/>
                    <a:pt x="473" y="230"/>
                  </a:cubicBezTo>
                  <a:cubicBezTo>
                    <a:pt x="473" y="228"/>
                    <a:pt x="473" y="227"/>
                    <a:pt x="473" y="225"/>
                  </a:cubicBezTo>
                  <a:cubicBezTo>
                    <a:pt x="472" y="223"/>
                    <a:pt x="472" y="224"/>
                    <a:pt x="473" y="223"/>
                  </a:cubicBezTo>
                  <a:cubicBezTo>
                    <a:pt x="474" y="221"/>
                    <a:pt x="475" y="221"/>
                    <a:pt x="475" y="219"/>
                  </a:cubicBezTo>
                  <a:cubicBezTo>
                    <a:pt x="476" y="218"/>
                    <a:pt x="476" y="217"/>
                    <a:pt x="476" y="216"/>
                  </a:cubicBezTo>
                  <a:cubicBezTo>
                    <a:pt x="476" y="215"/>
                    <a:pt x="477" y="213"/>
                    <a:pt x="477" y="212"/>
                  </a:cubicBezTo>
                  <a:cubicBezTo>
                    <a:pt x="476" y="209"/>
                    <a:pt x="472" y="209"/>
                    <a:pt x="470" y="206"/>
                  </a:cubicBezTo>
                  <a:cubicBezTo>
                    <a:pt x="470" y="206"/>
                    <a:pt x="470" y="205"/>
                    <a:pt x="470" y="205"/>
                  </a:cubicBezTo>
                  <a:cubicBezTo>
                    <a:pt x="469" y="203"/>
                    <a:pt x="469" y="201"/>
                    <a:pt x="467" y="200"/>
                  </a:cubicBezTo>
                  <a:cubicBezTo>
                    <a:pt x="466" y="198"/>
                    <a:pt x="465" y="198"/>
                    <a:pt x="464" y="197"/>
                  </a:cubicBezTo>
                  <a:cubicBezTo>
                    <a:pt x="463" y="196"/>
                    <a:pt x="462" y="196"/>
                    <a:pt x="461" y="195"/>
                  </a:cubicBezTo>
                  <a:cubicBezTo>
                    <a:pt x="459" y="194"/>
                    <a:pt x="458" y="193"/>
                    <a:pt x="457" y="191"/>
                  </a:cubicBezTo>
                  <a:cubicBezTo>
                    <a:pt x="456" y="190"/>
                    <a:pt x="455" y="189"/>
                    <a:pt x="453" y="188"/>
                  </a:cubicBezTo>
                  <a:cubicBezTo>
                    <a:pt x="453" y="187"/>
                    <a:pt x="451" y="187"/>
                    <a:pt x="451" y="185"/>
                  </a:cubicBezTo>
                  <a:cubicBezTo>
                    <a:pt x="451" y="185"/>
                    <a:pt x="452" y="184"/>
                    <a:pt x="452" y="184"/>
                  </a:cubicBezTo>
                  <a:cubicBezTo>
                    <a:pt x="452" y="184"/>
                    <a:pt x="452" y="183"/>
                    <a:pt x="452" y="183"/>
                  </a:cubicBezTo>
                  <a:cubicBezTo>
                    <a:pt x="453" y="181"/>
                    <a:pt x="454" y="179"/>
                    <a:pt x="455" y="177"/>
                  </a:cubicBezTo>
                  <a:cubicBezTo>
                    <a:pt x="456" y="176"/>
                    <a:pt x="457" y="175"/>
                    <a:pt x="458" y="173"/>
                  </a:cubicBezTo>
                  <a:cubicBezTo>
                    <a:pt x="458" y="172"/>
                    <a:pt x="459" y="171"/>
                    <a:pt x="459" y="170"/>
                  </a:cubicBezTo>
                  <a:cubicBezTo>
                    <a:pt x="460" y="169"/>
                    <a:pt x="461" y="169"/>
                    <a:pt x="461" y="169"/>
                  </a:cubicBezTo>
                  <a:cubicBezTo>
                    <a:pt x="462" y="168"/>
                    <a:pt x="463" y="165"/>
                    <a:pt x="464" y="164"/>
                  </a:cubicBezTo>
                  <a:cubicBezTo>
                    <a:pt x="466" y="162"/>
                    <a:pt x="467" y="161"/>
                    <a:pt x="468" y="158"/>
                  </a:cubicBezTo>
                  <a:cubicBezTo>
                    <a:pt x="469" y="156"/>
                    <a:pt x="469" y="154"/>
                    <a:pt x="469" y="151"/>
                  </a:cubicBezTo>
                  <a:cubicBezTo>
                    <a:pt x="469" y="149"/>
                    <a:pt x="470" y="145"/>
                    <a:pt x="469" y="143"/>
                  </a:cubicBezTo>
                  <a:cubicBezTo>
                    <a:pt x="468" y="140"/>
                    <a:pt x="466" y="137"/>
                    <a:pt x="465" y="135"/>
                  </a:cubicBezTo>
                  <a:cubicBezTo>
                    <a:pt x="463" y="130"/>
                    <a:pt x="462" y="126"/>
                    <a:pt x="460" y="121"/>
                  </a:cubicBezTo>
                  <a:cubicBezTo>
                    <a:pt x="460" y="119"/>
                    <a:pt x="459" y="116"/>
                    <a:pt x="459" y="114"/>
                  </a:cubicBezTo>
                  <a:cubicBezTo>
                    <a:pt x="458" y="112"/>
                    <a:pt x="459" y="109"/>
                    <a:pt x="459" y="107"/>
                  </a:cubicBezTo>
                  <a:cubicBezTo>
                    <a:pt x="459" y="106"/>
                    <a:pt x="458" y="101"/>
                    <a:pt x="457" y="102"/>
                  </a:cubicBezTo>
                  <a:cubicBezTo>
                    <a:pt x="456" y="103"/>
                    <a:pt x="454" y="106"/>
                    <a:pt x="452" y="106"/>
                  </a:cubicBezTo>
                  <a:cubicBezTo>
                    <a:pt x="450" y="107"/>
                    <a:pt x="447" y="106"/>
                    <a:pt x="446" y="106"/>
                  </a:cubicBezTo>
                  <a:cubicBezTo>
                    <a:pt x="445" y="105"/>
                    <a:pt x="444" y="104"/>
                    <a:pt x="443" y="103"/>
                  </a:cubicBezTo>
                  <a:cubicBezTo>
                    <a:pt x="441" y="102"/>
                    <a:pt x="438" y="101"/>
                    <a:pt x="437" y="100"/>
                  </a:cubicBezTo>
                  <a:cubicBezTo>
                    <a:pt x="437" y="100"/>
                    <a:pt x="437" y="99"/>
                    <a:pt x="437" y="98"/>
                  </a:cubicBezTo>
                  <a:cubicBezTo>
                    <a:pt x="437" y="98"/>
                    <a:pt x="436" y="97"/>
                    <a:pt x="436" y="96"/>
                  </a:cubicBezTo>
                  <a:cubicBezTo>
                    <a:pt x="439" y="94"/>
                    <a:pt x="442" y="95"/>
                    <a:pt x="445" y="95"/>
                  </a:cubicBezTo>
                  <a:cubicBezTo>
                    <a:pt x="447" y="95"/>
                    <a:pt x="448" y="94"/>
                    <a:pt x="450" y="94"/>
                  </a:cubicBezTo>
                  <a:cubicBezTo>
                    <a:pt x="451" y="93"/>
                    <a:pt x="452" y="93"/>
                    <a:pt x="453" y="93"/>
                  </a:cubicBezTo>
                  <a:cubicBezTo>
                    <a:pt x="454" y="93"/>
                    <a:pt x="455" y="93"/>
                    <a:pt x="456" y="93"/>
                  </a:cubicBezTo>
                  <a:cubicBezTo>
                    <a:pt x="456" y="92"/>
                    <a:pt x="455" y="92"/>
                    <a:pt x="455" y="91"/>
                  </a:cubicBezTo>
                  <a:cubicBezTo>
                    <a:pt x="454" y="90"/>
                    <a:pt x="454" y="90"/>
                    <a:pt x="454" y="89"/>
                  </a:cubicBezTo>
                  <a:cubicBezTo>
                    <a:pt x="453" y="88"/>
                    <a:pt x="452" y="87"/>
                    <a:pt x="451" y="86"/>
                  </a:cubicBezTo>
                  <a:cubicBezTo>
                    <a:pt x="450" y="84"/>
                    <a:pt x="449" y="83"/>
                    <a:pt x="448" y="81"/>
                  </a:cubicBezTo>
                  <a:cubicBezTo>
                    <a:pt x="447" y="80"/>
                    <a:pt x="446" y="80"/>
                    <a:pt x="445" y="78"/>
                  </a:cubicBezTo>
                  <a:cubicBezTo>
                    <a:pt x="443" y="76"/>
                    <a:pt x="440" y="74"/>
                    <a:pt x="438" y="72"/>
                  </a:cubicBezTo>
                  <a:cubicBezTo>
                    <a:pt x="437" y="72"/>
                    <a:pt x="436" y="71"/>
                    <a:pt x="434" y="71"/>
                  </a:cubicBezTo>
                  <a:cubicBezTo>
                    <a:pt x="434" y="69"/>
                    <a:pt x="426" y="67"/>
                    <a:pt x="426" y="70"/>
                  </a:cubicBezTo>
                  <a:cubicBezTo>
                    <a:pt x="427" y="72"/>
                    <a:pt x="431" y="73"/>
                    <a:pt x="431" y="75"/>
                  </a:cubicBezTo>
                  <a:cubicBezTo>
                    <a:pt x="431" y="77"/>
                    <a:pt x="428" y="75"/>
                    <a:pt x="427" y="74"/>
                  </a:cubicBezTo>
                  <a:cubicBezTo>
                    <a:pt x="425" y="73"/>
                    <a:pt x="424" y="73"/>
                    <a:pt x="422" y="73"/>
                  </a:cubicBezTo>
                  <a:cubicBezTo>
                    <a:pt x="421" y="72"/>
                    <a:pt x="421" y="72"/>
                    <a:pt x="420" y="72"/>
                  </a:cubicBezTo>
                  <a:cubicBezTo>
                    <a:pt x="418" y="71"/>
                    <a:pt x="418" y="72"/>
                    <a:pt x="416" y="72"/>
                  </a:cubicBezTo>
                  <a:cubicBezTo>
                    <a:pt x="415" y="72"/>
                    <a:pt x="413" y="72"/>
                    <a:pt x="412" y="71"/>
                  </a:cubicBezTo>
                  <a:cubicBezTo>
                    <a:pt x="410" y="70"/>
                    <a:pt x="410" y="69"/>
                    <a:pt x="409" y="67"/>
                  </a:cubicBezTo>
                  <a:cubicBezTo>
                    <a:pt x="408" y="66"/>
                    <a:pt x="405" y="65"/>
                    <a:pt x="404" y="63"/>
                  </a:cubicBezTo>
                  <a:cubicBezTo>
                    <a:pt x="403" y="63"/>
                    <a:pt x="403" y="61"/>
                    <a:pt x="402" y="61"/>
                  </a:cubicBezTo>
                  <a:cubicBezTo>
                    <a:pt x="402" y="61"/>
                    <a:pt x="401" y="61"/>
                    <a:pt x="401" y="61"/>
                  </a:cubicBezTo>
                  <a:cubicBezTo>
                    <a:pt x="399" y="61"/>
                    <a:pt x="398" y="60"/>
                    <a:pt x="397" y="60"/>
                  </a:cubicBezTo>
                  <a:cubicBezTo>
                    <a:pt x="396" y="59"/>
                    <a:pt x="396" y="59"/>
                    <a:pt x="395" y="59"/>
                  </a:cubicBezTo>
                  <a:cubicBezTo>
                    <a:pt x="394" y="58"/>
                    <a:pt x="394" y="58"/>
                    <a:pt x="396" y="56"/>
                  </a:cubicBezTo>
                  <a:cubicBezTo>
                    <a:pt x="397" y="55"/>
                    <a:pt x="397" y="55"/>
                    <a:pt x="399" y="55"/>
                  </a:cubicBezTo>
                  <a:cubicBezTo>
                    <a:pt x="399" y="58"/>
                    <a:pt x="403" y="57"/>
                    <a:pt x="405" y="57"/>
                  </a:cubicBezTo>
                  <a:cubicBezTo>
                    <a:pt x="406" y="59"/>
                    <a:pt x="405" y="61"/>
                    <a:pt x="407" y="62"/>
                  </a:cubicBezTo>
                  <a:cubicBezTo>
                    <a:pt x="409" y="63"/>
                    <a:pt x="410" y="61"/>
                    <a:pt x="410" y="59"/>
                  </a:cubicBezTo>
                  <a:cubicBezTo>
                    <a:pt x="410" y="59"/>
                    <a:pt x="410" y="58"/>
                    <a:pt x="410" y="57"/>
                  </a:cubicBezTo>
                  <a:cubicBezTo>
                    <a:pt x="410" y="56"/>
                    <a:pt x="410" y="56"/>
                    <a:pt x="410" y="55"/>
                  </a:cubicBezTo>
                  <a:cubicBezTo>
                    <a:pt x="410" y="53"/>
                    <a:pt x="409" y="51"/>
                    <a:pt x="411" y="50"/>
                  </a:cubicBezTo>
                  <a:cubicBezTo>
                    <a:pt x="413" y="50"/>
                    <a:pt x="413" y="52"/>
                    <a:pt x="415" y="52"/>
                  </a:cubicBezTo>
                  <a:cubicBezTo>
                    <a:pt x="416" y="52"/>
                    <a:pt x="416" y="50"/>
                    <a:pt x="418" y="50"/>
                  </a:cubicBezTo>
                  <a:cubicBezTo>
                    <a:pt x="421" y="50"/>
                    <a:pt x="423" y="53"/>
                    <a:pt x="426" y="54"/>
                  </a:cubicBezTo>
                  <a:cubicBezTo>
                    <a:pt x="429" y="55"/>
                    <a:pt x="429" y="53"/>
                    <a:pt x="429" y="50"/>
                  </a:cubicBezTo>
                  <a:cubicBezTo>
                    <a:pt x="428" y="50"/>
                    <a:pt x="427" y="50"/>
                    <a:pt x="425" y="49"/>
                  </a:cubicBezTo>
                  <a:cubicBezTo>
                    <a:pt x="424" y="49"/>
                    <a:pt x="424" y="48"/>
                    <a:pt x="424" y="47"/>
                  </a:cubicBezTo>
                  <a:cubicBezTo>
                    <a:pt x="422" y="46"/>
                    <a:pt x="420" y="46"/>
                    <a:pt x="419" y="46"/>
                  </a:cubicBezTo>
                  <a:cubicBezTo>
                    <a:pt x="418" y="45"/>
                    <a:pt x="417" y="45"/>
                    <a:pt x="416" y="44"/>
                  </a:cubicBezTo>
                  <a:cubicBezTo>
                    <a:pt x="415" y="44"/>
                    <a:pt x="413" y="43"/>
                    <a:pt x="414" y="42"/>
                  </a:cubicBezTo>
                  <a:cubicBezTo>
                    <a:pt x="415" y="41"/>
                    <a:pt x="418" y="40"/>
                    <a:pt x="419" y="40"/>
                  </a:cubicBezTo>
                  <a:cubicBezTo>
                    <a:pt x="419" y="39"/>
                    <a:pt x="419" y="39"/>
                    <a:pt x="420" y="39"/>
                  </a:cubicBezTo>
                  <a:cubicBezTo>
                    <a:pt x="420" y="38"/>
                    <a:pt x="420" y="38"/>
                    <a:pt x="420" y="37"/>
                  </a:cubicBezTo>
                  <a:cubicBezTo>
                    <a:pt x="420" y="36"/>
                    <a:pt x="421" y="36"/>
                    <a:pt x="422" y="36"/>
                  </a:cubicBezTo>
                  <a:cubicBezTo>
                    <a:pt x="424" y="35"/>
                    <a:pt x="425" y="36"/>
                    <a:pt x="425" y="34"/>
                  </a:cubicBezTo>
                  <a:cubicBezTo>
                    <a:pt x="425" y="33"/>
                    <a:pt x="425" y="32"/>
                    <a:pt x="424" y="31"/>
                  </a:cubicBezTo>
                  <a:cubicBezTo>
                    <a:pt x="422" y="31"/>
                    <a:pt x="421" y="31"/>
                    <a:pt x="419" y="31"/>
                  </a:cubicBezTo>
                  <a:cubicBezTo>
                    <a:pt x="418" y="32"/>
                    <a:pt x="417" y="32"/>
                    <a:pt x="416" y="32"/>
                  </a:cubicBezTo>
                  <a:cubicBezTo>
                    <a:pt x="415" y="32"/>
                    <a:pt x="415" y="31"/>
                    <a:pt x="414" y="31"/>
                  </a:cubicBezTo>
                  <a:cubicBezTo>
                    <a:pt x="414" y="31"/>
                    <a:pt x="414" y="31"/>
                    <a:pt x="413" y="31"/>
                  </a:cubicBezTo>
                  <a:cubicBezTo>
                    <a:pt x="413" y="31"/>
                    <a:pt x="413" y="30"/>
                    <a:pt x="413" y="30"/>
                  </a:cubicBezTo>
                  <a:cubicBezTo>
                    <a:pt x="412" y="30"/>
                    <a:pt x="411" y="30"/>
                    <a:pt x="410" y="30"/>
                  </a:cubicBezTo>
                  <a:cubicBezTo>
                    <a:pt x="410" y="31"/>
                    <a:pt x="410" y="32"/>
                    <a:pt x="410" y="33"/>
                  </a:cubicBezTo>
                  <a:cubicBezTo>
                    <a:pt x="412" y="33"/>
                    <a:pt x="413" y="34"/>
                    <a:pt x="414" y="35"/>
                  </a:cubicBezTo>
                  <a:cubicBezTo>
                    <a:pt x="416" y="35"/>
                    <a:pt x="419" y="35"/>
                    <a:pt x="419" y="36"/>
                  </a:cubicBezTo>
                  <a:cubicBezTo>
                    <a:pt x="418" y="37"/>
                    <a:pt x="417" y="38"/>
                    <a:pt x="416" y="38"/>
                  </a:cubicBezTo>
                  <a:cubicBezTo>
                    <a:pt x="416" y="38"/>
                    <a:pt x="415" y="38"/>
                    <a:pt x="414" y="38"/>
                  </a:cubicBezTo>
                  <a:cubicBezTo>
                    <a:pt x="413" y="38"/>
                    <a:pt x="411" y="40"/>
                    <a:pt x="410" y="39"/>
                  </a:cubicBezTo>
                  <a:cubicBezTo>
                    <a:pt x="409" y="39"/>
                    <a:pt x="409" y="37"/>
                    <a:pt x="408" y="37"/>
                  </a:cubicBezTo>
                  <a:cubicBezTo>
                    <a:pt x="406" y="36"/>
                    <a:pt x="406" y="37"/>
                    <a:pt x="405" y="38"/>
                  </a:cubicBezTo>
                  <a:cubicBezTo>
                    <a:pt x="404" y="36"/>
                    <a:pt x="402" y="33"/>
                    <a:pt x="404" y="31"/>
                  </a:cubicBezTo>
                  <a:cubicBezTo>
                    <a:pt x="404" y="31"/>
                    <a:pt x="404" y="30"/>
                    <a:pt x="405" y="30"/>
                  </a:cubicBezTo>
                  <a:cubicBezTo>
                    <a:pt x="405" y="30"/>
                    <a:pt x="406" y="30"/>
                    <a:pt x="406" y="30"/>
                  </a:cubicBezTo>
                  <a:cubicBezTo>
                    <a:pt x="407" y="30"/>
                    <a:pt x="408" y="29"/>
                    <a:pt x="408" y="29"/>
                  </a:cubicBezTo>
                  <a:cubicBezTo>
                    <a:pt x="409" y="28"/>
                    <a:pt x="408" y="28"/>
                    <a:pt x="407" y="27"/>
                  </a:cubicBezTo>
                  <a:cubicBezTo>
                    <a:pt x="407" y="27"/>
                    <a:pt x="408" y="27"/>
                    <a:pt x="408" y="26"/>
                  </a:cubicBezTo>
                  <a:cubicBezTo>
                    <a:pt x="408" y="25"/>
                    <a:pt x="409" y="24"/>
                    <a:pt x="408" y="23"/>
                  </a:cubicBezTo>
                  <a:cubicBezTo>
                    <a:pt x="406" y="22"/>
                    <a:pt x="403" y="23"/>
                    <a:pt x="402" y="24"/>
                  </a:cubicBezTo>
                  <a:cubicBezTo>
                    <a:pt x="401" y="26"/>
                    <a:pt x="401" y="27"/>
                    <a:pt x="401" y="28"/>
                  </a:cubicBezTo>
                  <a:cubicBezTo>
                    <a:pt x="401" y="29"/>
                    <a:pt x="401" y="29"/>
                    <a:pt x="401" y="30"/>
                  </a:cubicBezTo>
                  <a:cubicBezTo>
                    <a:pt x="401" y="30"/>
                    <a:pt x="401" y="30"/>
                    <a:pt x="400" y="30"/>
                  </a:cubicBezTo>
                  <a:cubicBezTo>
                    <a:pt x="400" y="30"/>
                    <a:pt x="400" y="31"/>
                    <a:pt x="399" y="31"/>
                  </a:cubicBezTo>
                  <a:cubicBezTo>
                    <a:pt x="398" y="33"/>
                    <a:pt x="397" y="36"/>
                    <a:pt x="398" y="38"/>
                  </a:cubicBezTo>
                  <a:cubicBezTo>
                    <a:pt x="400" y="37"/>
                    <a:pt x="401" y="38"/>
                    <a:pt x="403" y="38"/>
                  </a:cubicBezTo>
                  <a:cubicBezTo>
                    <a:pt x="403" y="39"/>
                    <a:pt x="403" y="40"/>
                    <a:pt x="403" y="40"/>
                  </a:cubicBezTo>
                  <a:cubicBezTo>
                    <a:pt x="404" y="41"/>
                    <a:pt x="404" y="41"/>
                    <a:pt x="403" y="42"/>
                  </a:cubicBezTo>
                  <a:cubicBezTo>
                    <a:pt x="402" y="42"/>
                    <a:pt x="401" y="41"/>
                    <a:pt x="401" y="43"/>
                  </a:cubicBezTo>
                  <a:cubicBezTo>
                    <a:pt x="401" y="43"/>
                    <a:pt x="401" y="45"/>
                    <a:pt x="401" y="45"/>
                  </a:cubicBezTo>
                  <a:cubicBezTo>
                    <a:pt x="401" y="46"/>
                    <a:pt x="402" y="46"/>
                    <a:pt x="402" y="46"/>
                  </a:cubicBezTo>
                  <a:cubicBezTo>
                    <a:pt x="403" y="47"/>
                    <a:pt x="404" y="47"/>
                    <a:pt x="404" y="48"/>
                  </a:cubicBezTo>
                  <a:cubicBezTo>
                    <a:pt x="405" y="49"/>
                    <a:pt x="405" y="48"/>
                    <a:pt x="405" y="49"/>
                  </a:cubicBezTo>
                  <a:cubicBezTo>
                    <a:pt x="405" y="51"/>
                    <a:pt x="401" y="51"/>
                    <a:pt x="401" y="49"/>
                  </a:cubicBezTo>
                  <a:cubicBezTo>
                    <a:pt x="399" y="49"/>
                    <a:pt x="399" y="50"/>
                    <a:pt x="398" y="51"/>
                  </a:cubicBezTo>
                  <a:cubicBezTo>
                    <a:pt x="398" y="51"/>
                    <a:pt x="397" y="54"/>
                    <a:pt x="397" y="54"/>
                  </a:cubicBezTo>
                  <a:cubicBezTo>
                    <a:pt x="395" y="55"/>
                    <a:pt x="391" y="54"/>
                    <a:pt x="390" y="53"/>
                  </a:cubicBezTo>
                  <a:cubicBezTo>
                    <a:pt x="389" y="52"/>
                    <a:pt x="390" y="50"/>
                    <a:pt x="390" y="49"/>
                  </a:cubicBezTo>
                  <a:cubicBezTo>
                    <a:pt x="389" y="48"/>
                    <a:pt x="389" y="46"/>
                    <a:pt x="388" y="45"/>
                  </a:cubicBezTo>
                  <a:cubicBezTo>
                    <a:pt x="387" y="44"/>
                    <a:pt x="387" y="44"/>
                    <a:pt x="386" y="45"/>
                  </a:cubicBezTo>
                  <a:cubicBezTo>
                    <a:pt x="385" y="45"/>
                    <a:pt x="385" y="46"/>
                    <a:pt x="384" y="47"/>
                  </a:cubicBezTo>
                  <a:cubicBezTo>
                    <a:pt x="382" y="50"/>
                    <a:pt x="377" y="49"/>
                    <a:pt x="373" y="49"/>
                  </a:cubicBezTo>
                  <a:cubicBezTo>
                    <a:pt x="372" y="49"/>
                    <a:pt x="372" y="49"/>
                    <a:pt x="371" y="48"/>
                  </a:cubicBezTo>
                  <a:cubicBezTo>
                    <a:pt x="371" y="48"/>
                    <a:pt x="371" y="48"/>
                    <a:pt x="370" y="48"/>
                  </a:cubicBezTo>
                  <a:cubicBezTo>
                    <a:pt x="369" y="47"/>
                    <a:pt x="370" y="48"/>
                    <a:pt x="369" y="48"/>
                  </a:cubicBezTo>
                  <a:cubicBezTo>
                    <a:pt x="368" y="48"/>
                    <a:pt x="366" y="49"/>
                    <a:pt x="366" y="49"/>
                  </a:cubicBezTo>
                  <a:cubicBezTo>
                    <a:pt x="365" y="49"/>
                    <a:pt x="364" y="49"/>
                    <a:pt x="363" y="49"/>
                  </a:cubicBezTo>
                  <a:cubicBezTo>
                    <a:pt x="362" y="50"/>
                    <a:pt x="363" y="50"/>
                    <a:pt x="362" y="50"/>
                  </a:cubicBezTo>
                  <a:cubicBezTo>
                    <a:pt x="360" y="51"/>
                    <a:pt x="360" y="51"/>
                    <a:pt x="360" y="53"/>
                  </a:cubicBezTo>
                  <a:cubicBezTo>
                    <a:pt x="359" y="54"/>
                    <a:pt x="360" y="57"/>
                    <a:pt x="358" y="56"/>
                  </a:cubicBezTo>
                  <a:cubicBezTo>
                    <a:pt x="358" y="58"/>
                    <a:pt x="353" y="57"/>
                    <a:pt x="352" y="57"/>
                  </a:cubicBezTo>
                  <a:cubicBezTo>
                    <a:pt x="350" y="58"/>
                    <a:pt x="350" y="59"/>
                    <a:pt x="348" y="59"/>
                  </a:cubicBezTo>
                  <a:cubicBezTo>
                    <a:pt x="347" y="59"/>
                    <a:pt x="346" y="59"/>
                    <a:pt x="345" y="58"/>
                  </a:cubicBezTo>
                  <a:cubicBezTo>
                    <a:pt x="344" y="58"/>
                    <a:pt x="344" y="57"/>
                    <a:pt x="343" y="57"/>
                  </a:cubicBezTo>
                  <a:cubicBezTo>
                    <a:pt x="342" y="59"/>
                    <a:pt x="341" y="61"/>
                    <a:pt x="340" y="60"/>
                  </a:cubicBezTo>
                  <a:cubicBezTo>
                    <a:pt x="339" y="60"/>
                    <a:pt x="338" y="58"/>
                    <a:pt x="337" y="59"/>
                  </a:cubicBezTo>
                  <a:cubicBezTo>
                    <a:pt x="337" y="59"/>
                    <a:pt x="336" y="60"/>
                    <a:pt x="335" y="60"/>
                  </a:cubicBezTo>
                  <a:cubicBezTo>
                    <a:pt x="335" y="61"/>
                    <a:pt x="335" y="61"/>
                    <a:pt x="334" y="62"/>
                  </a:cubicBezTo>
                  <a:cubicBezTo>
                    <a:pt x="332" y="63"/>
                    <a:pt x="331" y="65"/>
                    <a:pt x="329" y="64"/>
                  </a:cubicBezTo>
                  <a:cubicBezTo>
                    <a:pt x="328" y="64"/>
                    <a:pt x="328" y="64"/>
                    <a:pt x="328" y="63"/>
                  </a:cubicBezTo>
                  <a:cubicBezTo>
                    <a:pt x="328" y="62"/>
                    <a:pt x="327" y="62"/>
                    <a:pt x="327" y="61"/>
                  </a:cubicBezTo>
                  <a:cubicBezTo>
                    <a:pt x="325" y="61"/>
                    <a:pt x="325" y="60"/>
                    <a:pt x="323" y="60"/>
                  </a:cubicBezTo>
                  <a:cubicBezTo>
                    <a:pt x="323" y="60"/>
                    <a:pt x="322" y="60"/>
                    <a:pt x="322" y="60"/>
                  </a:cubicBezTo>
                  <a:cubicBezTo>
                    <a:pt x="322" y="60"/>
                    <a:pt x="321" y="60"/>
                    <a:pt x="321" y="60"/>
                  </a:cubicBezTo>
                  <a:cubicBezTo>
                    <a:pt x="320" y="61"/>
                    <a:pt x="319" y="61"/>
                    <a:pt x="318" y="62"/>
                  </a:cubicBezTo>
                  <a:cubicBezTo>
                    <a:pt x="317" y="63"/>
                    <a:pt x="316" y="65"/>
                    <a:pt x="317" y="67"/>
                  </a:cubicBezTo>
                  <a:cubicBezTo>
                    <a:pt x="317" y="68"/>
                    <a:pt x="319" y="69"/>
                    <a:pt x="318" y="70"/>
                  </a:cubicBezTo>
                  <a:cubicBezTo>
                    <a:pt x="318" y="70"/>
                    <a:pt x="317" y="71"/>
                    <a:pt x="316" y="71"/>
                  </a:cubicBezTo>
                  <a:cubicBezTo>
                    <a:pt x="316" y="72"/>
                    <a:pt x="315" y="73"/>
                    <a:pt x="315" y="73"/>
                  </a:cubicBezTo>
                  <a:cubicBezTo>
                    <a:pt x="314" y="74"/>
                    <a:pt x="314" y="74"/>
                    <a:pt x="312" y="74"/>
                  </a:cubicBezTo>
                  <a:cubicBezTo>
                    <a:pt x="310" y="75"/>
                    <a:pt x="309" y="76"/>
                    <a:pt x="308" y="77"/>
                  </a:cubicBezTo>
                  <a:cubicBezTo>
                    <a:pt x="308" y="78"/>
                    <a:pt x="307" y="78"/>
                    <a:pt x="308" y="79"/>
                  </a:cubicBezTo>
                  <a:cubicBezTo>
                    <a:pt x="308" y="80"/>
                    <a:pt x="311" y="80"/>
                    <a:pt x="311" y="80"/>
                  </a:cubicBezTo>
                  <a:cubicBezTo>
                    <a:pt x="311" y="81"/>
                    <a:pt x="311" y="82"/>
                    <a:pt x="310" y="83"/>
                  </a:cubicBezTo>
                  <a:cubicBezTo>
                    <a:pt x="309" y="83"/>
                    <a:pt x="308" y="83"/>
                    <a:pt x="307" y="83"/>
                  </a:cubicBezTo>
                  <a:cubicBezTo>
                    <a:pt x="306" y="83"/>
                    <a:pt x="305" y="82"/>
                    <a:pt x="304" y="83"/>
                  </a:cubicBezTo>
                  <a:cubicBezTo>
                    <a:pt x="304" y="83"/>
                    <a:pt x="304" y="84"/>
                    <a:pt x="304" y="84"/>
                  </a:cubicBezTo>
                  <a:cubicBezTo>
                    <a:pt x="303" y="84"/>
                    <a:pt x="303" y="84"/>
                    <a:pt x="303" y="84"/>
                  </a:cubicBezTo>
                  <a:cubicBezTo>
                    <a:pt x="302" y="84"/>
                    <a:pt x="302" y="84"/>
                    <a:pt x="301" y="85"/>
                  </a:cubicBezTo>
                  <a:cubicBezTo>
                    <a:pt x="301" y="85"/>
                    <a:pt x="300" y="86"/>
                    <a:pt x="299" y="87"/>
                  </a:cubicBezTo>
                  <a:cubicBezTo>
                    <a:pt x="298" y="87"/>
                    <a:pt x="296" y="87"/>
                    <a:pt x="295" y="85"/>
                  </a:cubicBezTo>
                  <a:cubicBezTo>
                    <a:pt x="292" y="83"/>
                    <a:pt x="289" y="80"/>
                    <a:pt x="285" y="80"/>
                  </a:cubicBezTo>
                  <a:cubicBezTo>
                    <a:pt x="283" y="79"/>
                    <a:pt x="283" y="80"/>
                    <a:pt x="281" y="80"/>
                  </a:cubicBezTo>
                  <a:cubicBezTo>
                    <a:pt x="278" y="81"/>
                    <a:pt x="275" y="78"/>
                    <a:pt x="272" y="78"/>
                  </a:cubicBezTo>
                  <a:cubicBezTo>
                    <a:pt x="272" y="77"/>
                    <a:pt x="273" y="76"/>
                    <a:pt x="273" y="76"/>
                  </a:cubicBezTo>
                  <a:cubicBezTo>
                    <a:pt x="274" y="75"/>
                    <a:pt x="275" y="75"/>
                    <a:pt x="275" y="75"/>
                  </a:cubicBezTo>
                  <a:cubicBezTo>
                    <a:pt x="275" y="75"/>
                    <a:pt x="276" y="73"/>
                    <a:pt x="276" y="73"/>
                  </a:cubicBezTo>
                  <a:cubicBezTo>
                    <a:pt x="278" y="71"/>
                    <a:pt x="280" y="70"/>
                    <a:pt x="281" y="69"/>
                  </a:cubicBezTo>
                  <a:cubicBezTo>
                    <a:pt x="282" y="68"/>
                    <a:pt x="282" y="68"/>
                    <a:pt x="283" y="67"/>
                  </a:cubicBezTo>
                  <a:cubicBezTo>
                    <a:pt x="284" y="66"/>
                    <a:pt x="285" y="67"/>
                    <a:pt x="286" y="66"/>
                  </a:cubicBezTo>
                  <a:cubicBezTo>
                    <a:pt x="288" y="65"/>
                    <a:pt x="286" y="63"/>
                    <a:pt x="285" y="61"/>
                  </a:cubicBezTo>
                  <a:cubicBezTo>
                    <a:pt x="284" y="61"/>
                    <a:pt x="284" y="61"/>
                    <a:pt x="284" y="59"/>
                  </a:cubicBezTo>
                  <a:cubicBezTo>
                    <a:pt x="284" y="59"/>
                    <a:pt x="284" y="57"/>
                    <a:pt x="284" y="57"/>
                  </a:cubicBezTo>
                  <a:cubicBezTo>
                    <a:pt x="285" y="54"/>
                    <a:pt x="284" y="50"/>
                    <a:pt x="285" y="48"/>
                  </a:cubicBezTo>
                  <a:cubicBezTo>
                    <a:pt x="286" y="47"/>
                    <a:pt x="289" y="48"/>
                    <a:pt x="290" y="48"/>
                  </a:cubicBezTo>
                  <a:cubicBezTo>
                    <a:pt x="292" y="48"/>
                    <a:pt x="294" y="48"/>
                    <a:pt x="295" y="48"/>
                  </a:cubicBezTo>
                  <a:cubicBezTo>
                    <a:pt x="298" y="47"/>
                    <a:pt x="298" y="46"/>
                    <a:pt x="297" y="43"/>
                  </a:cubicBezTo>
                  <a:cubicBezTo>
                    <a:pt x="296" y="43"/>
                    <a:pt x="296" y="42"/>
                    <a:pt x="295" y="42"/>
                  </a:cubicBezTo>
                  <a:cubicBezTo>
                    <a:pt x="295" y="40"/>
                    <a:pt x="294" y="40"/>
                    <a:pt x="293" y="38"/>
                  </a:cubicBezTo>
                  <a:cubicBezTo>
                    <a:pt x="293" y="37"/>
                    <a:pt x="292" y="35"/>
                    <a:pt x="291" y="35"/>
                  </a:cubicBezTo>
                  <a:cubicBezTo>
                    <a:pt x="291" y="34"/>
                    <a:pt x="289" y="35"/>
                    <a:pt x="288" y="34"/>
                  </a:cubicBezTo>
                  <a:cubicBezTo>
                    <a:pt x="288" y="34"/>
                    <a:pt x="287" y="34"/>
                    <a:pt x="286" y="34"/>
                  </a:cubicBezTo>
                  <a:cubicBezTo>
                    <a:pt x="285" y="34"/>
                    <a:pt x="283" y="34"/>
                    <a:pt x="282" y="34"/>
                  </a:cubicBezTo>
                  <a:cubicBezTo>
                    <a:pt x="281" y="35"/>
                    <a:pt x="280" y="35"/>
                    <a:pt x="280" y="36"/>
                  </a:cubicBezTo>
                  <a:cubicBezTo>
                    <a:pt x="279" y="38"/>
                    <a:pt x="278" y="39"/>
                    <a:pt x="278" y="41"/>
                  </a:cubicBezTo>
                  <a:cubicBezTo>
                    <a:pt x="278" y="42"/>
                    <a:pt x="279" y="43"/>
                    <a:pt x="280" y="43"/>
                  </a:cubicBezTo>
                  <a:cubicBezTo>
                    <a:pt x="281" y="44"/>
                    <a:pt x="284" y="46"/>
                    <a:pt x="285" y="46"/>
                  </a:cubicBezTo>
                  <a:cubicBezTo>
                    <a:pt x="285" y="48"/>
                    <a:pt x="285" y="46"/>
                    <a:pt x="284" y="48"/>
                  </a:cubicBezTo>
                  <a:cubicBezTo>
                    <a:pt x="284" y="48"/>
                    <a:pt x="284" y="50"/>
                    <a:pt x="283" y="50"/>
                  </a:cubicBezTo>
                  <a:cubicBezTo>
                    <a:pt x="283" y="52"/>
                    <a:pt x="280" y="50"/>
                    <a:pt x="279" y="50"/>
                  </a:cubicBezTo>
                  <a:cubicBezTo>
                    <a:pt x="277" y="50"/>
                    <a:pt x="275" y="50"/>
                    <a:pt x="273" y="51"/>
                  </a:cubicBezTo>
                  <a:cubicBezTo>
                    <a:pt x="272" y="52"/>
                    <a:pt x="271" y="52"/>
                    <a:pt x="270" y="53"/>
                  </a:cubicBezTo>
                  <a:cubicBezTo>
                    <a:pt x="268" y="54"/>
                    <a:pt x="268" y="55"/>
                    <a:pt x="266" y="55"/>
                  </a:cubicBezTo>
                  <a:cubicBezTo>
                    <a:pt x="264" y="55"/>
                    <a:pt x="262" y="55"/>
                    <a:pt x="262" y="53"/>
                  </a:cubicBezTo>
                  <a:cubicBezTo>
                    <a:pt x="262" y="51"/>
                    <a:pt x="262" y="49"/>
                    <a:pt x="260" y="48"/>
                  </a:cubicBezTo>
                  <a:cubicBezTo>
                    <a:pt x="259" y="48"/>
                    <a:pt x="257" y="48"/>
                    <a:pt x="256" y="48"/>
                  </a:cubicBezTo>
                  <a:cubicBezTo>
                    <a:pt x="254" y="48"/>
                    <a:pt x="253" y="49"/>
                    <a:pt x="252" y="48"/>
                  </a:cubicBezTo>
                  <a:cubicBezTo>
                    <a:pt x="251" y="47"/>
                    <a:pt x="251" y="46"/>
                    <a:pt x="249" y="46"/>
                  </a:cubicBezTo>
                  <a:cubicBezTo>
                    <a:pt x="248" y="46"/>
                    <a:pt x="247" y="46"/>
                    <a:pt x="245" y="46"/>
                  </a:cubicBezTo>
                  <a:cubicBezTo>
                    <a:pt x="245" y="46"/>
                    <a:pt x="244" y="46"/>
                    <a:pt x="244" y="45"/>
                  </a:cubicBezTo>
                  <a:cubicBezTo>
                    <a:pt x="243" y="45"/>
                    <a:pt x="242" y="45"/>
                    <a:pt x="242" y="46"/>
                  </a:cubicBezTo>
                  <a:cubicBezTo>
                    <a:pt x="241" y="46"/>
                    <a:pt x="242" y="47"/>
                    <a:pt x="241" y="47"/>
                  </a:cubicBezTo>
                  <a:cubicBezTo>
                    <a:pt x="240" y="48"/>
                    <a:pt x="240" y="48"/>
                    <a:pt x="239" y="48"/>
                  </a:cubicBezTo>
                  <a:cubicBezTo>
                    <a:pt x="238" y="49"/>
                    <a:pt x="236" y="50"/>
                    <a:pt x="235" y="48"/>
                  </a:cubicBezTo>
                  <a:cubicBezTo>
                    <a:pt x="235" y="48"/>
                    <a:pt x="236" y="46"/>
                    <a:pt x="236" y="46"/>
                  </a:cubicBezTo>
                  <a:cubicBezTo>
                    <a:pt x="236" y="44"/>
                    <a:pt x="236" y="42"/>
                    <a:pt x="234" y="41"/>
                  </a:cubicBezTo>
                  <a:cubicBezTo>
                    <a:pt x="232" y="41"/>
                    <a:pt x="232" y="42"/>
                    <a:pt x="230" y="42"/>
                  </a:cubicBezTo>
                  <a:cubicBezTo>
                    <a:pt x="229" y="42"/>
                    <a:pt x="229" y="42"/>
                    <a:pt x="228" y="42"/>
                  </a:cubicBezTo>
                  <a:cubicBezTo>
                    <a:pt x="226" y="42"/>
                    <a:pt x="224" y="41"/>
                    <a:pt x="223" y="42"/>
                  </a:cubicBezTo>
                  <a:cubicBezTo>
                    <a:pt x="222" y="42"/>
                    <a:pt x="222" y="43"/>
                    <a:pt x="220" y="43"/>
                  </a:cubicBezTo>
                  <a:cubicBezTo>
                    <a:pt x="219" y="44"/>
                    <a:pt x="218" y="44"/>
                    <a:pt x="217" y="43"/>
                  </a:cubicBezTo>
                  <a:cubicBezTo>
                    <a:pt x="218" y="42"/>
                    <a:pt x="218" y="40"/>
                    <a:pt x="220" y="38"/>
                  </a:cubicBezTo>
                  <a:cubicBezTo>
                    <a:pt x="221" y="38"/>
                    <a:pt x="222" y="37"/>
                    <a:pt x="223" y="37"/>
                  </a:cubicBezTo>
                  <a:cubicBezTo>
                    <a:pt x="223" y="37"/>
                    <a:pt x="225" y="36"/>
                    <a:pt x="225" y="36"/>
                  </a:cubicBezTo>
                  <a:cubicBezTo>
                    <a:pt x="225" y="36"/>
                    <a:pt x="225" y="34"/>
                    <a:pt x="225" y="34"/>
                  </a:cubicBezTo>
                  <a:cubicBezTo>
                    <a:pt x="225" y="32"/>
                    <a:pt x="225" y="31"/>
                    <a:pt x="225" y="30"/>
                  </a:cubicBezTo>
                  <a:cubicBezTo>
                    <a:pt x="225" y="29"/>
                    <a:pt x="226" y="27"/>
                    <a:pt x="226" y="26"/>
                  </a:cubicBezTo>
                  <a:cubicBezTo>
                    <a:pt x="225" y="25"/>
                    <a:pt x="224" y="25"/>
                    <a:pt x="224" y="24"/>
                  </a:cubicBezTo>
                  <a:cubicBezTo>
                    <a:pt x="224" y="23"/>
                    <a:pt x="224" y="23"/>
                    <a:pt x="225" y="22"/>
                  </a:cubicBezTo>
                  <a:cubicBezTo>
                    <a:pt x="225" y="21"/>
                    <a:pt x="224" y="20"/>
                    <a:pt x="222" y="20"/>
                  </a:cubicBezTo>
                  <a:cubicBezTo>
                    <a:pt x="222" y="18"/>
                    <a:pt x="224" y="16"/>
                    <a:pt x="224" y="14"/>
                  </a:cubicBezTo>
                  <a:cubicBezTo>
                    <a:pt x="224" y="13"/>
                    <a:pt x="223" y="10"/>
                    <a:pt x="222" y="10"/>
                  </a:cubicBezTo>
                  <a:cubicBezTo>
                    <a:pt x="221" y="9"/>
                    <a:pt x="219" y="11"/>
                    <a:pt x="218" y="11"/>
                  </a:cubicBezTo>
                  <a:cubicBezTo>
                    <a:pt x="217" y="12"/>
                    <a:pt x="217" y="13"/>
                    <a:pt x="216" y="13"/>
                  </a:cubicBezTo>
                  <a:cubicBezTo>
                    <a:pt x="215" y="13"/>
                    <a:pt x="214" y="12"/>
                    <a:pt x="213" y="12"/>
                  </a:cubicBezTo>
                  <a:cubicBezTo>
                    <a:pt x="212" y="11"/>
                    <a:pt x="212" y="11"/>
                    <a:pt x="211" y="10"/>
                  </a:cubicBezTo>
                  <a:cubicBezTo>
                    <a:pt x="209" y="9"/>
                    <a:pt x="208" y="9"/>
                    <a:pt x="206" y="9"/>
                  </a:cubicBezTo>
                  <a:cubicBezTo>
                    <a:pt x="204" y="9"/>
                    <a:pt x="204" y="8"/>
                    <a:pt x="203" y="6"/>
                  </a:cubicBezTo>
                  <a:cubicBezTo>
                    <a:pt x="202" y="6"/>
                    <a:pt x="201" y="5"/>
                    <a:pt x="200" y="5"/>
                  </a:cubicBezTo>
                  <a:cubicBezTo>
                    <a:pt x="199" y="5"/>
                    <a:pt x="199" y="5"/>
                    <a:pt x="198" y="5"/>
                  </a:cubicBezTo>
                  <a:cubicBezTo>
                    <a:pt x="198" y="5"/>
                    <a:pt x="197" y="5"/>
                    <a:pt x="196" y="5"/>
                  </a:cubicBezTo>
                  <a:cubicBezTo>
                    <a:pt x="196" y="5"/>
                    <a:pt x="195" y="4"/>
                    <a:pt x="194" y="5"/>
                  </a:cubicBezTo>
                  <a:cubicBezTo>
                    <a:pt x="193" y="5"/>
                    <a:pt x="193" y="6"/>
                    <a:pt x="192" y="7"/>
                  </a:cubicBezTo>
                  <a:cubicBezTo>
                    <a:pt x="191" y="8"/>
                    <a:pt x="191" y="8"/>
                    <a:pt x="189" y="8"/>
                  </a:cubicBezTo>
                  <a:cubicBezTo>
                    <a:pt x="188" y="9"/>
                    <a:pt x="188" y="10"/>
                    <a:pt x="187" y="11"/>
                  </a:cubicBezTo>
                  <a:cubicBezTo>
                    <a:pt x="186" y="11"/>
                    <a:pt x="185" y="11"/>
                    <a:pt x="184" y="11"/>
                  </a:cubicBezTo>
                  <a:cubicBezTo>
                    <a:pt x="182" y="11"/>
                    <a:pt x="181" y="11"/>
                    <a:pt x="181" y="9"/>
                  </a:cubicBezTo>
                  <a:cubicBezTo>
                    <a:pt x="181" y="7"/>
                    <a:pt x="181" y="6"/>
                    <a:pt x="180" y="5"/>
                  </a:cubicBezTo>
                  <a:cubicBezTo>
                    <a:pt x="180" y="5"/>
                    <a:pt x="180" y="5"/>
                    <a:pt x="180" y="4"/>
                  </a:cubicBezTo>
                  <a:cubicBezTo>
                    <a:pt x="180" y="4"/>
                    <a:pt x="179" y="4"/>
                    <a:pt x="180" y="3"/>
                  </a:cubicBezTo>
                  <a:cubicBezTo>
                    <a:pt x="179" y="3"/>
                    <a:pt x="179" y="2"/>
                    <a:pt x="179" y="1"/>
                  </a:cubicBezTo>
                  <a:cubicBezTo>
                    <a:pt x="178" y="1"/>
                    <a:pt x="176" y="1"/>
                    <a:pt x="176" y="1"/>
                  </a:cubicBezTo>
                  <a:cubicBezTo>
                    <a:pt x="175" y="2"/>
                    <a:pt x="175" y="2"/>
                    <a:pt x="175" y="3"/>
                  </a:cubicBezTo>
                  <a:cubicBezTo>
                    <a:pt x="174" y="3"/>
                    <a:pt x="173" y="3"/>
                    <a:pt x="173" y="3"/>
                  </a:cubicBezTo>
                  <a:cubicBezTo>
                    <a:pt x="172" y="3"/>
                    <a:pt x="170" y="3"/>
                    <a:pt x="169" y="3"/>
                  </a:cubicBezTo>
                  <a:cubicBezTo>
                    <a:pt x="168" y="3"/>
                    <a:pt x="167" y="2"/>
                    <a:pt x="166" y="1"/>
                  </a:cubicBezTo>
                  <a:cubicBezTo>
                    <a:pt x="165" y="1"/>
                    <a:pt x="163" y="1"/>
                    <a:pt x="162" y="1"/>
                  </a:cubicBezTo>
                  <a:cubicBezTo>
                    <a:pt x="160" y="1"/>
                    <a:pt x="158" y="1"/>
                    <a:pt x="157" y="1"/>
                  </a:cubicBezTo>
                  <a:cubicBezTo>
                    <a:pt x="154" y="1"/>
                    <a:pt x="152" y="0"/>
                    <a:pt x="149" y="0"/>
                  </a:cubicBezTo>
                  <a:cubicBezTo>
                    <a:pt x="149" y="2"/>
                    <a:pt x="148" y="4"/>
                    <a:pt x="148" y="7"/>
                  </a:cubicBezTo>
                  <a:cubicBezTo>
                    <a:pt x="148" y="8"/>
                    <a:pt x="149" y="9"/>
                    <a:pt x="149" y="10"/>
                  </a:cubicBezTo>
                  <a:cubicBezTo>
                    <a:pt x="150" y="11"/>
                    <a:pt x="151" y="9"/>
                    <a:pt x="153" y="9"/>
                  </a:cubicBezTo>
                  <a:cubicBezTo>
                    <a:pt x="153" y="11"/>
                    <a:pt x="152" y="12"/>
                    <a:pt x="152" y="13"/>
                  </a:cubicBezTo>
                  <a:cubicBezTo>
                    <a:pt x="152" y="14"/>
                    <a:pt x="153" y="14"/>
                    <a:pt x="153" y="14"/>
                  </a:cubicBezTo>
                  <a:cubicBezTo>
                    <a:pt x="153" y="14"/>
                    <a:pt x="153" y="16"/>
                    <a:pt x="154" y="17"/>
                  </a:cubicBezTo>
                  <a:cubicBezTo>
                    <a:pt x="154" y="17"/>
                    <a:pt x="153" y="18"/>
                    <a:pt x="154" y="18"/>
                  </a:cubicBezTo>
                  <a:cubicBezTo>
                    <a:pt x="154" y="19"/>
                    <a:pt x="156" y="20"/>
                    <a:pt x="156" y="21"/>
                  </a:cubicBezTo>
                  <a:cubicBezTo>
                    <a:pt x="157" y="22"/>
                    <a:pt x="158" y="25"/>
                    <a:pt x="160" y="25"/>
                  </a:cubicBezTo>
                  <a:cubicBezTo>
                    <a:pt x="160" y="25"/>
                    <a:pt x="161" y="25"/>
                    <a:pt x="161" y="24"/>
                  </a:cubicBezTo>
                  <a:cubicBezTo>
                    <a:pt x="161" y="25"/>
                    <a:pt x="161" y="26"/>
                    <a:pt x="161" y="27"/>
                  </a:cubicBezTo>
                  <a:cubicBezTo>
                    <a:pt x="163" y="27"/>
                    <a:pt x="163" y="29"/>
                    <a:pt x="163" y="30"/>
                  </a:cubicBezTo>
                  <a:cubicBezTo>
                    <a:pt x="163" y="30"/>
                    <a:pt x="163" y="31"/>
                    <a:pt x="163" y="32"/>
                  </a:cubicBezTo>
                  <a:cubicBezTo>
                    <a:pt x="164" y="32"/>
                    <a:pt x="165" y="32"/>
                    <a:pt x="165" y="32"/>
                  </a:cubicBezTo>
                  <a:cubicBezTo>
                    <a:pt x="165" y="32"/>
                    <a:pt x="166" y="34"/>
                    <a:pt x="166" y="34"/>
                  </a:cubicBezTo>
                  <a:cubicBezTo>
                    <a:pt x="166" y="34"/>
                    <a:pt x="166" y="35"/>
                    <a:pt x="166" y="36"/>
                  </a:cubicBezTo>
                  <a:cubicBezTo>
                    <a:pt x="165" y="37"/>
                    <a:pt x="163" y="36"/>
                    <a:pt x="162" y="38"/>
                  </a:cubicBezTo>
                  <a:cubicBezTo>
                    <a:pt x="162" y="38"/>
                    <a:pt x="162" y="39"/>
                    <a:pt x="161" y="39"/>
                  </a:cubicBezTo>
                  <a:cubicBezTo>
                    <a:pt x="161" y="40"/>
                    <a:pt x="160" y="40"/>
                    <a:pt x="160" y="40"/>
                  </a:cubicBezTo>
                  <a:cubicBezTo>
                    <a:pt x="159" y="42"/>
                    <a:pt x="159" y="42"/>
                    <a:pt x="161" y="42"/>
                  </a:cubicBezTo>
                  <a:cubicBezTo>
                    <a:pt x="162" y="42"/>
                    <a:pt x="162" y="43"/>
                    <a:pt x="163" y="42"/>
                  </a:cubicBezTo>
                  <a:cubicBezTo>
                    <a:pt x="164" y="42"/>
                    <a:pt x="165" y="42"/>
                    <a:pt x="166" y="41"/>
                  </a:cubicBezTo>
                  <a:cubicBezTo>
                    <a:pt x="167" y="41"/>
                    <a:pt x="167" y="41"/>
                    <a:pt x="168" y="41"/>
                  </a:cubicBezTo>
                  <a:cubicBezTo>
                    <a:pt x="169" y="40"/>
                    <a:pt x="171" y="40"/>
                    <a:pt x="172" y="41"/>
                  </a:cubicBezTo>
                  <a:cubicBezTo>
                    <a:pt x="173" y="41"/>
                    <a:pt x="173" y="40"/>
                    <a:pt x="173" y="41"/>
                  </a:cubicBezTo>
                  <a:cubicBezTo>
                    <a:pt x="174" y="43"/>
                    <a:pt x="172" y="44"/>
                    <a:pt x="171" y="45"/>
                  </a:cubicBezTo>
                  <a:cubicBezTo>
                    <a:pt x="168" y="48"/>
                    <a:pt x="165" y="48"/>
                    <a:pt x="161" y="48"/>
                  </a:cubicBezTo>
                  <a:cubicBezTo>
                    <a:pt x="159" y="48"/>
                    <a:pt x="157" y="48"/>
                    <a:pt x="155" y="48"/>
                  </a:cubicBezTo>
                  <a:cubicBezTo>
                    <a:pt x="153" y="48"/>
                    <a:pt x="153" y="49"/>
                    <a:pt x="152" y="50"/>
                  </a:cubicBezTo>
                  <a:cubicBezTo>
                    <a:pt x="151" y="51"/>
                    <a:pt x="152" y="51"/>
                    <a:pt x="153" y="53"/>
                  </a:cubicBezTo>
                  <a:cubicBezTo>
                    <a:pt x="152" y="53"/>
                    <a:pt x="152" y="53"/>
                    <a:pt x="151" y="53"/>
                  </a:cubicBezTo>
                  <a:cubicBezTo>
                    <a:pt x="150" y="53"/>
                    <a:pt x="150" y="54"/>
                    <a:pt x="149" y="54"/>
                  </a:cubicBezTo>
                  <a:cubicBezTo>
                    <a:pt x="149" y="54"/>
                    <a:pt x="149" y="54"/>
                    <a:pt x="148" y="55"/>
                  </a:cubicBezTo>
                  <a:cubicBezTo>
                    <a:pt x="148" y="55"/>
                    <a:pt x="148" y="56"/>
                    <a:pt x="148" y="57"/>
                  </a:cubicBezTo>
                  <a:cubicBezTo>
                    <a:pt x="149" y="58"/>
                    <a:pt x="149" y="60"/>
                    <a:pt x="150" y="61"/>
                  </a:cubicBezTo>
                  <a:cubicBezTo>
                    <a:pt x="150" y="61"/>
                    <a:pt x="150" y="61"/>
                    <a:pt x="151" y="61"/>
                  </a:cubicBezTo>
                  <a:cubicBezTo>
                    <a:pt x="152" y="61"/>
                    <a:pt x="152" y="60"/>
                    <a:pt x="154" y="60"/>
                  </a:cubicBezTo>
                  <a:cubicBezTo>
                    <a:pt x="154" y="59"/>
                    <a:pt x="155" y="60"/>
                    <a:pt x="155" y="59"/>
                  </a:cubicBezTo>
                  <a:cubicBezTo>
                    <a:pt x="156" y="59"/>
                    <a:pt x="156" y="57"/>
                    <a:pt x="157" y="57"/>
                  </a:cubicBezTo>
                  <a:cubicBezTo>
                    <a:pt x="158" y="57"/>
                    <a:pt x="158" y="59"/>
                    <a:pt x="160" y="59"/>
                  </a:cubicBezTo>
                  <a:cubicBezTo>
                    <a:pt x="161" y="59"/>
                    <a:pt x="162" y="58"/>
                    <a:pt x="163" y="58"/>
                  </a:cubicBezTo>
                  <a:cubicBezTo>
                    <a:pt x="165" y="58"/>
                    <a:pt x="166" y="59"/>
                    <a:pt x="167" y="60"/>
                  </a:cubicBezTo>
                  <a:cubicBezTo>
                    <a:pt x="168" y="62"/>
                    <a:pt x="161" y="61"/>
                    <a:pt x="160" y="61"/>
                  </a:cubicBezTo>
                  <a:cubicBezTo>
                    <a:pt x="159" y="61"/>
                    <a:pt x="158" y="60"/>
                    <a:pt x="158" y="61"/>
                  </a:cubicBezTo>
                  <a:cubicBezTo>
                    <a:pt x="157" y="61"/>
                    <a:pt x="157" y="61"/>
                    <a:pt x="157" y="62"/>
                  </a:cubicBezTo>
                  <a:cubicBezTo>
                    <a:pt x="156" y="63"/>
                    <a:pt x="156" y="64"/>
                    <a:pt x="156" y="65"/>
                  </a:cubicBezTo>
                  <a:cubicBezTo>
                    <a:pt x="155" y="66"/>
                    <a:pt x="154" y="66"/>
                    <a:pt x="154" y="67"/>
                  </a:cubicBezTo>
                  <a:cubicBezTo>
                    <a:pt x="154" y="68"/>
                    <a:pt x="153" y="69"/>
                    <a:pt x="154" y="70"/>
                  </a:cubicBezTo>
                  <a:cubicBezTo>
                    <a:pt x="154" y="70"/>
                    <a:pt x="154" y="70"/>
                    <a:pt x="155" y="70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72"/>
                    <a:pt x="156" y="73"/>
                    <a:pt x="158" y="74"/>
                  </a:cubicBezTo>
                  <a:cubicBezTo>
                    <a:pt x="158" y="74"/>
                    <a:pt x="161" y="74"/>
                    <a:pt x="161" y="74"/>
                  </a:cubicBezTo>
                  <a:cubicBezTo>
                    <a:pt x="163" y="73"/>
                    <a:pt x="165" y="72"/>
                    <a:pt x="167" y="73"/>
                  </a:cubicBezTo>
                  <a:cubicBezTo>
                    <a:pt x="167" y="74"/>
                    <a:pt x="167" y="74"/>
                    <a:pt x="167" y="75"/>
                  </a:cubicBezTo>
                  <a:cubicBezTo>
                    <a:pt x="167" y="75"/>
                    <a:pt x="168" y="76"/>
                    <a:pt x="168" y="75"/>
                  </a:cubicBezTo>
                  <a:cubicBezTo>
                    <a:pt x="168" y="76"/>
                    <a:pt x="168" y="78"/>
                    <a:pt x="168" y="78"/>
                  </a:cubicBezTo>
                  <a:cubicBezTo>
                    <a:pt x="168" y="79"/>
                    <a:pt x="167" y="80"/>
                    <a:pt x="167" y="81"/>
                  </a:cubicBezTo>
                  <a:cubicBezTo>
                    <a:pt x="166" y="82"/>
                    <a:pt x="165" y="82"/>
                    <a:pt x="164" y="82"/>
                  </a:cubicBezTo>
                  <a:cubicBezTo>
                    <a:pt x="162" y="83"/>
                    <a:pt x="162" y="82"/>
                    <a:pt x="161" y="84"/>
                  </a:cubicBezTo>
                  <a:cubicBezTo>
                    <a:pt x="161" y="84"/>
                    <a:pt x="162" y="85"/>
                    <a:pt x="162" y="86"/>
                  </a:cubicBezTo>
                  <a:cubicBezTo>
                    <a:pt x="163" y="89"/>
                    <a:pt x="162" y="92"/>
                    <a:pt x="165" y="94"/>
                  </a:cubicBezTo>
                  <a:cubicBezTo>
                    <a:pt x="165" y="94"/>
                    <a:pt x="165" y="94"/>
                    <a:pt x="166" y="94"/>
                  </a:cubicBezTo>
                  <a:cubicBezTo>
                    <a:pt x="166" y="95"/>
                    <a:pt x="166" y="95"/>
                    <a:pt x="166" y="95"/>
                  </a:cubicBezTo>
                  <a:cubicBezTo>
                    <a:pt x="167" y="96"/>
                    <a:pt x="168" y="96"/>
                    <a:pt x="169" y="96"/>
                  </a:cubicBezTo>
                  <a:cubicBezTo>
                    <a:pt x="170" y="96"/>
                    <a:pt x="171" y="96"/>
                    <a:pt x="173" y="96"/>
                  </a:cubicBezTo>
                  <a:cubicBezTo>
                    <a:pt x="175" y="96"/>
                    <a:pt x="177" y="96"/>
                    <a:pt x="179" y="97"/>
                  </a:cubicBezTo>
                  <a:cubicBezTo>
                    <a:pt x="181" y="97"/>
                    <a:pt x="182" y="97"/>
                    <a:pt x="184" y="98"/>
                  </a:cubicBezTo>
                  <a:cubicBezTo>
                    <a:pt x="185" y="99"/>
                    <a:pt x="186" y="99"/>
                    <a:pt x="187" y="100"/>
                  </a:cubicBezTo>
                  <a:cubicBezTo>
                    <a:pt x="188" y="101"/>
                    <a:pt x="190" y="101"/>
                    <a:pt x="191" y="102"/>
                  </a:cubicBezTo>
                  <a:cubicBezTo>
                    <a:pt x="192" y="104"/>
                    <a:pt x="192" y="106"/>
                    <a:pt x="192" y="108"/>
                  </a:cubicBezTo>
                  <a:cubicBezTo>
                    <a:pt x="191" y="107"/>
                    <a:pt x="189" y="106"/>
                    <a:pt x="188" y="104"/>
                  </a:cubicBezTo>
                  <a:cubicBezTo>
                    <a:pt x="188" y="104"/>
                    <a:pt x="188" y="103"/>
                    <a:pt x="188" y="103"/>
                  </a:cubicBezTo>
                  <a:cubicBezTo>
                    <a:pt x="187" y="102"/>
                    <a:pt x="186" y="102"/>
                    <a:pt x="186" y="101"/>
                  </a:cubicBezTo>
                  <a:cubicBezTo>
                    <a:pt x="185" y="101"/>
                    <a:pt x="184" y="100"/>
                    <a:pt x="183" y="99"/>
                  </a:cubicBezTo>
                  <a:cubicBezTo>
                    <a:pt x="182" y="98"/>
                    <a:pt x="180" y="99"/>
                    <a:pt x="179" y="99"/>
                  </a:cubicBezTo>
                  <a:cubicBezTo>
                    <a:pt x="176" y="99"/>
                    <a:pt x="173" y="98"/>
                    <a:pt x="171" y="99"/>
                  </a:cubicBezTo>
                  <a:cubicBezTo>
                    <a:pt x="170" y="99"/>
                    <a:pt x="169" y="100"/>
                    <a:pt x="169" y="101"/>
                  </a:cubicBezTo>
                  <a:cubicBezTo>
                    <a:pt x="168" y="101"/>
                    <a:pt x="167" y="101"/>
                    <a:pt x="167" y="101"/>
                  </a:cubicBezTo>
                  <a:cubicBezTo>
                    <a:pt x="165" y="101"/>
                    <a:pt x="164" y="101"/>
                    <a:pt x="162" y="101"/>
                  </a:cubicBezTo>
                  <a:cubicBezTo>
                    <a:pt x="161" y="100"/>
                    <a:pt x="160" y="100"/>
                    <a:pt x="158" y="100"/>
                  </a:cubicBezTo>
                  <a:cubicBezTo>
                    <a:pt x="158" y="100"/>
                    <a:pt x="157" y="100"/>
                    <a:pt x="157" y="100"/>
                  </a:cubicBezTo>
                  <a:cubicBezTo>
                    <a:pt x="156" y="99"/>
                    <a:pt x="156" y="97"/>
                    <a:pt x="155" y="96"/>
                  </a:cubicBezTo>
                  <a:cubicBezTo>
                    <a:pt x="155" y="96"/>
                    <a:pt x="152" y="96"/>
                    <a:pt x="151" y="96"/>
                  </a:cubicBezTo>
                  <a:cubicBezTo>
                    <a:pt x="150" y="96"/>
                    <a:pt x="150" y="96"/>
                    <a:pt x="149" y="97"/>
                  </a:cubicBezTo>
                  <a:cubicBezTo>
                    <a:pt x="149" y="97"/>
                    <a:pt x="149" y="98"/>
                    <a:pt x="149" y="98"/>
                  </a:cubicBezTo>
                  <a:cubicBezTo>
                    <a:pt x="148" y="98"/>
                    <a:pt x="148" y="98"/>
                    <a:pt x="147" y="98"/>
                  </a:cubicBezTo>
                  <a:cubicBezTo>
                    <a:pt x="146" y="99"/>
                    <a:pt x="147" y="100"/>
                    <a:pt x="146" y="101"/>
                  </a:cubicBezTo>
                  <a:cubicBezTo>
                    <a:pt x="145" y="103"/>
                    <a:pt x="142" y="105"/>
                    <a:pt x="141" y="106"/>
                  </a:cubicBezTo>
                  <a:cubicBezTo>
                    <a:pt x="140" y="106"/>
                    <a:pt x="137" y="107"/>
                    <a:pt x="137" y="108"/>
                  </a:cubicBezTo>
                  <a:cubicBezTo>
                    <a:pt x="137" y="109"/>
                    <a:pt x="138" y="112"/>
                    <a:pt x="138" y="113"/>
                  </a:cubicBezTo>
                  <a:cubicBezTo>
                    <a:pt x="138" y="114"/>
                    <a:pt x="141" y="118"/>
                    <a:pt x="142" y="119"/>
                  </a:cubicBezTo>
                  <a:cubicBezTo>
                    <a:pt x="142" y="120"/>
                    <a:pt x="147" y="123"/>
                    <a:pt x="146" y="124"/>
                  </a:cubicBezTo>
                  <a:cubicBezTo>
                    <a:pt x="145" y="123"/>
                    <a:pt x="140" y="121"/>
                    <a:pt x="140" y="121"/>
                  </a:cubicBezTo>
                  <a:cubicBezTo>
                    <a:pt x="138" y="121"/>
                    <a:pt x="137" y="120"/>
                    <a:pt x="136" y="120"/>
                  </a:cubicBezTo>
                  <a:cubicBezTo>
                    <a:pt x="135" y="120"/>
                    <a:pt x="134" y="121"/>
                    <a:pt x="133" y="120"/>
                  </a:cubicBezTo>
                  <a:cubicBezTo>
                    <a:pt x="133" y="120"/>
                    <a:pt x="133" y="120"/>
                    <a:pt x="133" y="120"/>
                  </a:cubicBezTo>
                  <a:cubicBezTo>
                    <a:pt x="131" y="120"/>
                    <a:pt x="128" y="116"/>
                    <a:pt x="127" y="120"/>
                  </a:cubicBezTo>
                  <a:cubicBezTo>
                    <a:pt x="127" y="122"/>
                    <a:pt x="127" y="121"/>
                    <a:pt x="127" y="123"/>
                  </a:cubicBezTo>
                  <a:cubicBezTo>
                    <a:pt x="130" y="123"/>
                    <a:pt x="130" y="126"/>
                    <a:pt x="130" y="129"/>
                  </a:cubicBezTo>
                  <a:cubicBezTo>
                    <a:pt x="131" y="131"/>
                    <a:pt x="131" y="132"/>
                    <a:pt x="130" y="134"/>
                  </a:cubicBezTo>
                  <a:cubicBezTo>
                    <a:pt x="129" y="134"/>
                    <a:pt x="128" y="136"/>
                    <a:pt x="128" y="136"/>
                  </a:cubicBezTo>
                  <a:cubicBezTo>
                    <a:pt x="127" y="136"/>
                    <a:pt x="126" y="135"/>
                    <a:pt x="125" y="135"/>
                  </a:cubicBezTo>
                  <a:cubicBezTo>
                    <a:pt x="124" y="135"/>
                    <a:pt x="123" y="135"/>
                    <a:pt x="123" y="134"/>
                  </a:cubicBezTo>
                  <a:cubicBezTo>
                    <a:pt x="122" y="134"/>
                    <a:pt x="119" y="130"/>
                    <a:pt x="119" y="129"/>
                  </a:cubicBezTo>
                  <a:cubicBezTo>
                    <a:pt x="120" y="127"/>
                    <a:pt x="121" y="126"/>
                    <a:pt x="122" y="124"/>
                  </a:cubicBezTo>
                  <a:cubicBezTo>
                    <a:pt x="122" y="124"/>
                    <a:pt x="124" y="124"/>
                    <a:pt x="124" y="123"/>
                  </a:cubicBezTo>
                  <a:cubicBezTo>
                    <a:pt x="125" y="122"/>
                    <a:pt x="126" y="118"/>
                    <a:pt x="126" y="117"/>
                  </a:cubicBezTo>
                  <a:cubicBezTo>
                    <a:pt x="126" y="114"/>
                    <a:pt x="127" y="113"/>
                    <a:pt x="123" y="112"/>
                  </a:cubicBezTo>
                  <a:cubicBezTo>
                    <a:pt x="122" y="111"/>
                    <a:pt x="120" y="111"/>
                    <a:pt x="119" y="111"/>
                  </a:cubicBezTo>
                  <a:cubicBezTo>
                    <a:pt x="118" y="110"/>
                    <a:pt x="117" y="109"/>
                    <a:pt x="116" y="109"/>
                  </a:cubicBezTo>
                  <a:cubicBezTo>
                    <a:pt x="114" y="109"/>
                    <a:pt x="112" y="109"/>
                    <a:pt x="111" y="109"/>
                  </a:cubicBezTo>
                  <a:cubicBezTo>
                    <a:pt x="109" y="110"/>
                    <a:pt x="107" y="111"/>
                    <a:pt x="105" y="113"/>
                  </a:cubicBezTo>
                  <a:cubicBezTo>
                    <a:pt x="105" y="114"/>
                    <a:pt x="105" y="114"/>
                    <a:pt x="104" y="114"/>
                  </a:cubicBezTo>
                  <a:cubicBezTo>
                    <a:pt x="103" y="114"/>
                    <a:pt x="101" y="113"/>
                    <a:pt x="100" y="113"/>
                  </a:cubicBezTo>
                  <a:cubicBezTo>
                    <a:pt x="99" y="112"/>
                    <a:pt x="99" y="112"/>
                    <a:pt x="98" y="112"/>
                  </a:cubicBezTo>
                  <a:cubicBezTo>
                    <a:pt x="97" y="112"/>
                    <a:pt x="97" y="112"/>
                    <a:pt x="96" y="112"/>
                  </a:cubicBezTo>
                  <a:cubicBezTo>
                    <a:pt x="95" y="113"/>
                    <a:pt x="95" y="113"/>
                    <a:pt x="94" y="114"/>
                  </a:cubicBezTo>
                  <a:cubicBezTo>
                    <a:pt x="93" y="114"/>
                    <a:pt x="91" y="114"/>
                    <a:pt x="90" y="114"/>
                  </a:cubicBezTo>
                  <a:cubicBezTo>
                    <a:pt x="88" y="114"/>
                    <a:pt x="87" y="114"/>
                    <a:pt x="86" y="115"/>
                  </a:cubicBezTo>
                  <a:cubicBezTo>
                    <a:pt x="84" y="115"/>
                    <a:pt x="81" y="115"/>
                    <a:pt x="79" y="115"/>
                  </a:cubicBezTo>
                  <a:cubicBezTo>
                    <a:pt x="76" y="115"/>
                    <a:pt x="73" y="115"/>
                    <a:pt x="71" y="117"/>
                  </a:cubicBezTo>
                  <a:cubicBezTo>
                    <a:pt x="70" y="118"/>
                    <a:pt x="69" y="119"/>
                    <a:pt x="68" y="120"/>
                  </a:cubicBezTo>
                  <a:cubicBezTo>
                    <a:pt x="68" y="122"/>
                    <a:pt x="66" y="122"/>
                    <a:pt x="67" y="124"/>
                  </a:cubicBezTo>
                  <a:cubicBezTo>
                    <a:pt x="66" y="124"/>
                    <a:pt x="66" y="128"/>
                    <a:pt x="65" y="129"/>
                  </a:cubicBezTo>
                  <a:cubicBezTo>
                    <a:pt x="65" y="129"/>
                    <a:pt x="65" y="130"/>
                    <a:pt x="64" y="131"/>
                  </a:cubicBezTo>
                  <a:cubicBezTo>
                    <a:pt x="63" y="131"/>
                    <a:pt x="62" y="131"/>
                    <a:pt x="61" y="132"/>
                  </a:cubicBezTo>
                  <a:cubicBezTo>
                    <a:pt x="59" y="133"/>
                    <a:pt x="61" y="138"/>
                    <a:pt x="62" y="140"/>
                  </a:cubicBezTo>
                  <a:cubicBezTo>
                    <a:pt x="62" y="142"/>
                    <a:pt x="63" y="145"/>
                    <a:pt x="64" y="146"/>
                  </a:cubicBezTo>
                  <a:cubicBezTo>
                    <a:pt x="64" y="146"/>
                    <a:pt x="65" y="146"/>
                    <a:pt x="66" y="146"/>
                  </a:cubicBezTo>
                  <a:cubicBezTo>
                    <a:pt x="68" y="146"/>
                    <a:pt x="70" y="145"/>
                    <a:pt x="71" y="147"/>
                  </a:cubicBezTo>
                  <a:cubicBezTo>
                    <a:pt x="71" y="149"/>
                    <a:pt x="70" y="152"/>
                    <a:pt x="70" y="154"/>
                  </a:cubicBezTo>
                  <a:cubicBezTo>
                    <a:pt x="70" y="157"/>
                    <a:pt x="70" y="160"/>
                    <a:pt x="70" y="163"/>
                  </a:cubicBezTo>
                  <a:cubicBezTo>
                    <a:pt x="70" y="164"/>
                    <a:pt x="70" y="165"/>
                    <a:pt x="69" y="167"/>
                  </a:cubicBezTo>
                  <a:cubicBezTo>
                    <a:pt x="69" y="168"/>
                    <a:pt x="69" y="168"/>
                    <a:pt x="69" y="169"/>
                  </a:cubicBezTo>
                  <a:cubicBezTo>
                    <a:pt x="68" y="171"/>
                    <a:pt x="69" y="174"/>
                    <a:pt x="69" y="176"/>
                  </a:cubicBezTo>
                  <a:cubicBezTo>
                    <a:pt x="69" y="179"/>
                    <a:pt x="69" y="181"/>
                    <a:pt x="68" y="183"/>
                  </a:cubicBezTo>
                  <a:cubicBezTo>
                    <a:pt x="67" y="185"/>
                    <a:pt x="67" y="186"/>
                    <a:pt x="65" y="187"/>
                  </a:cubicBezTo>
                  <a:cubicBezTo>
                    <a:pt x="65" y="188"/>
                    <a:pt x="64" y="188"/>
                    <a:pt x="64" y="189"/>
                  </a:cubicBezTo>
                  <a:cubicBezTo>
                    <a:pt x="62" y="191"/>
                    <a:pt x="61" y="192"/>
                    <a:pt x="63" y="195"/>
                  </a:cubicBezTo>
                  <a:cubicBezTo>
                    <a:pt x="63" y="196"/>
                    <a:pt x="64" y="196"/>
                    <a:pt x="64" y="197"/>
                  </a:cubicBezTo>
                  <a:cubicBezTo>
                    <a:pt x="63" y="199"/>
                    <a:pt x="60" y="199"/>
                    <a:pt x="59" y="200"/>
                  </a:cubicBezTo>
                  <a:cubicBezTo>
                    <a:pt x="58" y="201"/>
                    <a:pt x="57" y="203"/>
                    <a:pt x="56" y="203"/>
                  </a:cubicBezTo>
                  <a:cubicBezTo>
                    <a:pt x="55" y="204"/>
                    <a:pt x="53" y="203"/>
                    <a:pt x="52" y="203"/>
                  </a:cubicBezTo>
                  <a:cubicBezTo>
                    <a:pt x="50" y="203"/>
                    <a:pt x="50" y="203"/>
                    <a:pt x="50" y="204"/>
                  </a:cubicBezTo>
                  <a:cubicBezTo>
                    <a:pt x="49" y="205"/>
                    <a:pt x="49" y="205"/>
                    <a:pt x="48" y="206"/>
                  </a:cubicBezTo>
                  <a:cubicBezTo>
                    <a:pt x="46" y="206"/>
                    <a:pt x="44" y="206"/>
                    <a:pt x="42" y="206"/>
                  </a:cubicBezTo>
                  <a:cubicBezTo>
                    <a:pt x="41" y="206"/>
                    <a:pt x="39" y="206"/>
                    <a:pt x="38" y="206"/>
                  </a:cubicBezTo>
                  <a:cubicBezTo>
                    <a:pt x="37" y="206"/>
                    <a:pt x="36" y="208"/>
                    <a:pt x="35" y="208"/>
                  </a:cubicBezTo>
                  <a:cubicBezTo>
                    <a:pt x="34" y="208"/>
                    <a:pt x="34" y="209"/>
                    <a:pt x="35" y="210"/>
                  </a:cubicBezTo>
                  <a:cubicBezTo>
                    <a:pt x="35" y="210"/>
                    <a:pt x="36" y="212"/>
                    <a:pt x="37" y="212"/>
                  </a:cubicBezTo>
                  <a:cubicBezTo>
                    <a:pt x="37" y="212"/>
                    <a:pt x="38" y="213"/>
                    <a:pt x="38" y="213"/>
                  </a:cubicBezTo>
                  <a:cubicBezTo>
                    <a:pt x="40" y="215"/>
                    <a:pt x="41" y="215"/>
                    <a:pt x="40" y="217"/>
                  </a:cubicBezTo>
                  <a:cubicBezTo>
                    <a:pt x="37" y="226"/>
                    <a:pt x="54" y="225"/>
                    <a:pt x="58" y="227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59" y="227"/>
                    <a:pt x="59" y="228"/>
                    <a:pt x="59" y="228"/>
                  </a:cubicBezTo>
                  <a:cubicBezTo>
                    <a:pt x="59" y="228"/>
                    <a:pt x="59" y="229"/>
                    <a:pt x="59" y="229"/>
                  </a:cubicBezTo>
                  <a:cubicBezTo>
                    <a:pt x="60" y="230"/>
                    <a:pt x="60" y="230"/>
                    <a:pt x="61" y="231"/>
                  </a:cubicBezTo>
                  <a:cubicBezTo>
                    <a:pt x="61" y="232"/>
                    <a:pt x="61" y="234"/>
                    <a:pt x="60" y="235"/>
                  </a:cubicBezTo>
                  <a:cubicBezTo>
                    <a:pt x="60" y="236"/>
                    <a:pt x="59" y="236"/>
                    <a:pt x="59" y="237"/>
                  </a:cubicBezTo>
                  <a:cubicBezTo>
                    <a:pt x="58" y="239"/>
                    <a:pt x="60" y="242"/>
                    <a:pt x="58" y="244"/>
                  </a:cubicBezTo>
                  <a:cubicBezTo>
                    <a:pt x="57" y="245"/>
                    <a:pt x="56" y="246"/>
                    <a:pt x="54" y="246"/>
                  </a:cubicBezTo>
                  <a:cubicBezTo>
                    <a:pt x="53" y="247"/>
                    <a:pt x="53" y="248"/>
                    <a:pt x="52" y="249"/>
                  </a:cubicBezTo>
                  <a:cubicBezTo>
                    <a:pt x="50" y="251"/>
                    <a:pt x="48" y="252"/>
                    <a:pt x="46" y="254"/>
                  </a:cubicBezTo>
                  <a:cubicBezTo>
                    <a:pt x="46" y="255"/>
                    <a:pt x="45" y="255"/>
                    <a:pt x="45" y="256"/>
                  </a:cubicBezTo>
                  <a:cubicBezTo>
                    <a:pt x="44" y="256"/>
                    <a:pt x="44" y="256"/>
                    <a:pt x="44" y="256"/>
                  </a:cubicBezTo>
                  <a:cubicBezTo>
                    <a:pt x="43" y="257"/>
                    <a:pt x="43" y="258"/>
                    <a:pt x="43" y="258"/>
                  </a:cubicBezTo>
                  <a:cubicBezTo>
                    <a:pt x="43" y="259"/>
                    <a:pt x="43" y="260"/>
                    <a:pt x="43" y="261"/>
                  </a:cubicBezTo>
                  <a:cubicBezTo>
                    <a:pt x="43" y="262"/>
                    <a:pt x="43" y="264"/>
                    <a:pt x="43" y="265"/>
                  </a:cubicBezTo>
                  <a:cubicBezTo>
                    <a:pt x="44" y="266"/>
                    <a:pt x="45" y="266"/>
                    <a:pt x="44" y="268"/>
                  </a:cubicBezTo>
                  <a:cubicBezTo>
                    <a:pt x="44" y="269"/>
                    <a:pt x="43" y="270"/>
                    <a:pt x="42" y="270"/>
                  </a:cubicBezTo>
                  <a:cubicBezTo>
                    <a:pt x="40" y="271"/>
                    <a:pt x="37" y="273"/>
                    <a:pt x="35" y="274"/>
                  </a:cubicBezTo>
                  <a:cubicBezTo>
                    <a:pt x="34" y="274"/>
                    <a:pt x="32" y="274"/>
                    <a:pt x="31" y="275"/>
                  </a:cubicBezTo>
                  <a:cubicBezTo>
                    <a:pt x="30" y="276"/>
                    <a:pt x="31" y="276"/>
                    <a:pt x="29" y="276"/>
                  </a:cubicBezTo>
                  <a:cubicBezTo>
                    <a:pt x="28" y="276"/>
                    <a:pt x="27" y="277"/>
                    <a:pt x="26" y="277"/>
                  </a:cubicBezTo>
                  <a:cubicBezTo>
                    <a:pt x="25" y="277"/>
                    <a:pt x="23" y="277"/>
                    <a:pt x="22" y="277"/>
                  </a:cubicBezTo>
                  <a:cubicBezTo>
                    <a:pt x="21" y="277"/>
                    <a:pt x="20" y="277"/>
                    <a:pt x="19" y="276"/>
                  </a:cubicBezTo>
                  <a:cubicBezTo>
                    <a:pt x="17" y="275"/>
                    <a:pt x="15" y="274"/>
                    <a:pt x="13" y="273"/>
                  </a:cubicBezTo>
                  <a:cubicBezTo>
                    <a:pt x="11" y="273"/>
                    <a:pt x="8" y="273"/>
                    <a:pt x="8" y="276"/>
                  </a:cubicBezTo>
                  <a:cubicBezTo>
                    <a:pt x="8" y="277"/>
                    <a:pt x="8" y="278"/>
                    <a:pt x="8" y="278"/>
                  </a:cubicBezTo>
                  <a:cubicBezTo>
                    <a:pt x="6" y="278"/>
                    <a:pt x="5" y="278"/>
                    <a:pt x="3" y="278"/>
                  </a:cubicBezTo>
                  <a:cubicBezTo>
                    <a:pt x="1" y="278"/>
                    <a:pt x="0" y="281"/>
                    <a:pt x="0" y="283"/>
                  </a:cubicBezTo>
                  <a:cubicBezTo>
                    <a:pt x="0" y="284"/>
                    <a:pt x="0" y="285"/>
                    <a:pt x="0" y="285"/>
                  </a:cubicBezTo>
                  <a:cubicBezTo>
                    <a:pt x="0" y="287"/>
                    <a:pt x="0" y="287"/>
                    <a:pt x="1" y="288"/>
                  </a:cubicBezTo>
                  <a:cubicBezTo>
                    <a:pt x="2" y="289"/>
                    <a:pt x="5" y="290"/>
                    <a:pt x="5" y="292"/>
                  </a:cubicBezTo>
                  <a:cubicBezTo>
                    <a:pt x="6" y="294"/>
                    <a:pt x="5" y="296"/>
                    <a:pt x="6" y="297"/>
                  </a:cubicBezTo>
                  <a:cubicBezTo>
                    <a:pt x="7" y="299"/>
                    <a:pt x="9" y="299"/>
                    <a:pt x="10" y="300"/>
                  </a:cubicBezTo>
                  <a:cubicBezTo>
                    <a:pt x="10" y="301"/>
                    <a:pt x="10" y="301"/>
                    <a:pt x="10" y="301"/>
                  </a:cubicBezTo>
                  <a:cubicBezTo>
                    <a:pt x="10" y="302"/>
                    <a:pt x="11" y="303"/>
                    <a:pt x="11" y="304"/>
                  </a:cubicBezTo>
                  <a:cubicBezTo>
                    <a:pt x="11" y="305"/>
                    <a:pt x="11" y="306"/>
                    <a:pt x="11" y="307"/>
                  </a:cubicBezTo>
                  <a:cubicBezTo>
                    <a:pt x="11" y="308"/>
                    <a:pt x="11" y="308"/>
                    <a:pt x="12" y="309"/>
                  </a:cubicBezTo>
                  <a:cubicBezTo>
                    <a:pt x="12" y="311"/>
                    <a:pt x="12" y="314"/>
                    <a:pt x="13" y="316"/>
                  </a:cubicBezTo>
                  <a:cubicBezTo>
                    <a:pt x="13" y="317"/>
                    <a:pt x="13" y="319"/>
                    <a:pt x="13" y="320"/>
                  </a:cubicBezTo>
                  <a:cubicBezTo>
                    <a:pt x="13" y="322"/>
                    <a:pt x="13" y="321"/>
                    <a:pt x="12" y="322"/>
                  </a:cubicBezTo>
                  <a:cubicBezTo>
                    <a:pt x="12" y="323"/>
                    <a:pt x="11" y="323"/>
                    <a:pt x="10" y="324"/>
                  </a:cubicBezTo>
                  <a:cubicBezTo>
                    <a:pt x="10" y="325"/>
                    <a:pt x="9" y="325"/>
                    <a:pt x="9" y="326"/>
                  </a:cubicBezTo>
                  <a:cubicBezTo>
                    <a:pt x="7" y="328"/>
                    <a:pt x="9" y="331"/>
                    <a:pt x="8" y="334"/>
                  </a:cubicBezTo>
                  <a:cubicBezTo>
                    <a:pt x="7" y="335"/>
                    <a:pt x="6" y="335"/>
                    <a:pt x="6" y="336"/>
                  </a:cubicBezTo>
                  <a:cubicBezTo>
                    <a:pt x="7" y="336"/>
                    <a:pt x="7" y="336"/>
                    <a:pt x="7" y="337"/>
                  </a:cubicBezTo>
                  <a:cubicBezTo>
                    <a:pt x="7" y="337"/>
                    <a:pt x="7" y="338"/>
                    <a:pt x="7" y="338"/>
                  </a:cubicBezTo>
                  <a:cubicBezTo>
                    <a:pt x="7" y="339"/>
                    <a:pt x="7" y="339"/>
                    <a:pt x="8" y="340"/>
                  </a:cubicBezTo>
                  <a:cubicBezTo>
                    <a:pt x="7" y="341"/>
                    <a:pt x="5" y="341"/>
                    <a:pt x="5" y="342"/>
                  </a:cubicBezTo>
                  <a:cubicBezTo>
                    <a:pt x="4" y="343"/>
                    <a:pt x="4" y="343"/>
                    <a:pt x="3" y="344"/>
                  </a:cubicBezTo>
                  <a:cubicBezTo>
                    <a:pt x="1" y="344"/>
                    <a:pt x="2" y="344"/>
                    <a:pt x="1" y="345"/>
                  </a:cubicBezTo>
                  <a:cubicBezTo>
                    <a:pt x="1" y="347"/>
                    <a:pt x="0" y="349"/>
                    <a:pt x="1" y="351"/>
                  </a:cubicBezTo>
                  <a:cubicBezTo>
                    <a:pt x="1" y="351"/>
                    <a:pt x="1" y="351"/>
                    <a:pt x="2" y="351"/>
                  </a:cubicBezTo>
                  <a:cubicBezTo>
                    <a:pt x="3" y="351"/>
                    <a:pt x="4" y="351"/>
                    <a:pt x="4" y="351"/>
                  </a:cubicBezTo>
                  <a:cubicBezTo>
                    <a:pt x="4" y="351"/>
                    <a:pt x="4" y="351"/>
                    <a:pt x="4" y="351"/>
                  </a:cubicBezTo>
                  <a:cubicBezTo>
                    <a:pt x="4" y="351"/>
                    <a:pt x="4" y="351"/>
                    <a:pt x="5" y="351"/>
                  </a:cubicBezTo>
                  <a:cubicBezTo>
                    <a:pt x="5" y="351"/>
                    <a:pt x="6" y="352"/>
                    <a:pt x="6" y="353"/>
                  </a:cubicBezTo>
                  <a:cubicBezTo>
                    <a:pt x="6" y="354"/>
                    <a:pt x="6" y="356"/>
                    <a:pt x="6" y="358"/>
                  </a:cubicBezTo>
                  <a:cubicBezTo>
                    <a:pt x="5" y="359"/>
                    <a:pt x="5" y="361"/>
                    <a:pt x="4" y="362"/>
                  </a:cubicBezTo>
                  <a:cubicBezTo>
                    <a:pt x="4" y="363"/>
                    <a:pt x="4" y="364"/>
                    <a:pt x="4" y="364"/>
                  </a:cubicBezTo>
                  <a:cubicBezTo>
                    <a:pt x="4" y="365"/>
                    <a:pt x="4" y="365"/>
                    <a:pt x="4" y="365"/>
                  </a:cubicBezTo>
                  <a:cubicBezTo>
                    <a:pt x="4" y="367"/>
                    <a:pt x="4" y="367"/>
                    <a:pt x="4" y="368"/>
                  </a:cubicBezTo>
                  <a:cubicBezTo>
                    <a:pt x="3" y="369"/>
                    <a:pt x="3" y="370"/>
                    <a:pt x="3" y="370"/>
                  </a:cubicBezTo>
                  <a:cubicBezTo>
                    <a:pt x="3" y="371"/>
                    <a:pt x="4" y="371"/>
                    <a:pt x="4" y="371"/>
                  </a:cubicBezTo>
                  <a:cubicBezTo>
                    <a:pt x="3" y="372"/>
                    <a:pt x="2" y="372"/>
                    <a:pt x="1" y="373"/>
                  </a:cubicBezTo>
                  <a:cubicBezTo>
                    <a:pt x="1" y="373"/>
                    <a:pt x="1" y="374"/>
                    <a:pt x="0" y="375"/>
                  </a:cubicBezTo>
                  <a:cubicBezTo>
                    <a:pt x="0" y="375"/>
                    <a:pt x="0" y="375"/>
                    <a:pt x="0" y="376"/>
                  </a:cubicBezTo>
                  <a:cubicBezTo>
                    <a:pt x="0" y="376"/>
                    <a:pt x="1" y="377"/>
                    <a:pt x="1" y="377"/>
                  </a:cubicBezTo>
                  <a:cubicBezTo>
                    <a:pt x="2" y="377"/>
                    <a:pt x="3" y="378"/>
                    <a:pt x="3" y="379"/>
                  </a:cubicBezTo>
                  <a:cubicBezTo>
                    <a:pt x="3" y="379"/>
                    <a:pt x="3" y="380"/>
                    <a:pt x="3" y="380"/>
                  </a:cubicBezTo>
                  <a:cubicBezTo>
                    <a:pt x="3" y="381"/>
                    <a:pt x="3" y="382"/>
                    <a:pt x="3" y="383"/>
                  </a:cubicBezTo>
                  <a:cubicBezTo>
                    <a:pt x="2" y="385"/>
                    <a:pt x="2" y="388"/>
                    <a:pt x="3" y="390"/>
                  </a:cubicBezTo>
                  <a:cubicBezTo>
                    <a:pt x="5" y="391"/>
                    <a:pt x="6" y="392"/>
                    <a:pt x="8" y="393"/>
                  </a:cubicBezTo>
                  <a:cubicBezTo>
                    <a:pt x="9" y="393"/>
                    <a:pt x="9" y="393"/>
                    <a:pt x="10" y="394"/>
                  </a:cubicBezTo>
                  <a:cubicBezTo>
                    <a:pt x="11" y="395"/>
                    <a:pt x="12" y="395"/>
                    <a:pt x="14" y="396"/>
                  </a:cubicBezTo>
                  <a:cubicBezTo>
                    <a:pt x="14" y="396"/>
                    <a:pt x="15" y="397"/>
                    <a:pt x="15" y="397"/>
                  </a:cubicBezTo>
                  <a:cubicBezTo>
                    <a:pt x="17" y="397"/>
                    <a:pt x="18" y="397"/>
                    <a:pt x="19" y="399"/>
                  </a:cubicBezTo>
                  <a:cubicBezTo>
                    <a:pt x="20" y="401"/>
                    <a:pt x="19" y="403"/>
                    <a:pt x="19" y="405"/>
                  </a:cubicBezTo>
                  <a:cubicBezTo>
                    <a:pt x="18" y="406"/>
                    <a:pt x="18" y="407"/>
                    <a:pt x="17" y="409"/>
                  </a:cubicBezTo>
                  <a:cubicBezTo>
                    <a:pt x="16" y="411"/>
                    <a:pt x="14" y="412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2" y="416"/>
                    <a:pt x="10" y="417"/>
                    <a:pt x="10" y="419"/>
                  </a:cubicBezTo>
                  <a:cubicBezTo>
                    <a:pt x="10" y="420"/>
                    <a:pt x="10" y="420"/>
                    <a:pt x="10" y="420"/>
                  </a:cubicBezTo>
                  <a:cubicBezTo>
                    <a:pt x="10" y="422"/>
                    <a:pt x="9" y="423"/>
                    <a:pt x="8" y="424"/>
                  </a:cubicBezTo>
                  <a:cubicBezTo>
                    <a:pt x="7" y="426"/>
                    <a:pt x="7" y="428"/>
                    <a:pt x="7" y="430"/>
                  </a:cubicBezTo>
                  <a:cubicBezTo>
                    <a:pt x="7" y="432"/>
                    <a:pt x="8" y="433"/>
                    <a:pt x="8" y="435"/>
                  </a:cubicBezTo>
                  <a:cubicBezTo>
                    <a:pt x="9" y="436"/>
                    <a:pt x="8" y="438"/>
                    <a:pt x="9" y="439"/>
                  </a:cubicBezTo>
                  <a:cubicBezTo>
                    <a:pt x="10" y="441"/>
                    <a:pt x="11" y="442"/>
                    <a:pt x="12" y="444"/>
                  </a:cubicBezTo>
                  <a:cubicBezTo>
                    <a:pt x="12" y="445"/>
                    <a:pt x="12" y="447"/>
                    <a:pt x="14" y="448"/>
                  </a:cubicBezTo>
                  <a:cubicBezTo>
                    <a:pt x="15" y="448"/>
                    <a:pt x="16" y="448"/>
                    <a:pt x="17" y="449"/>
                  </a:cubicBezTo>
                  <a:cubicBezTo>
                    <a:pt x="17" y="450"/>
                    <a:pt x="18" y="451"/>
                    <a:pt x="19" y="452"/>
                  </a:cubicBezTo>
                  <a:cubicBezTo>
                    <a:pt x="20" y="454"/>
                    <a:pt x="22" y="455"/>
                    <a:pt x="23" y="456"/>
                  </a:cubicBezTo>
                  <a:cubicBezTo>
                    <a:pt x="25" y="457"/>
                    <a:pt x="26" y="457"/>
                    <a:pt x="28" y="457"/>
                  </a:cubicBezTo>
                  <a:cubicBezTo>
                    <a:pt x="29" y="457"/>
                    <a:pt x="31" y="457"/>
                    <a:pt x="31" y="459"/>
                  </a:cubicBezTo>
                  <a:cubicBezTo>
                    <a:pt x="29" y="459"/>
                    <a:pt x="26" y="461"/>
                    <a:pt x="24" y="462"/>
                  </a:cubicBezTo>
                  <a:cubicBezTo>
                    <a:pt x="23" y="463"/>
                    <a:pt x="22" y="464"/>
                    <a:pt x="22" y="466"/>
                  </a:cubicBezTo>
                  <a:cubicBezTo>
                    <a:pt x="21" y="467"/>
                    <a:pt x="20" y="468"/>
                    <a:pt x="19" y="470"/>
                  </a:cubicBezTo>
                  <a:cubicBezTo>
                    <a:pt x="17" y="473"/>
                    <a:pt x="16" y="477"/>
                    <a:pt x="15" y="482"/>
                  </a:cubicBezTo>
                  <a:cubicBezTo>
                    <a:pt x="15" y="482"/>
                    <a:pt x="15" y="482"/>
                    <a:pt x="15" y="482"/>
                  </a:cubicBezTo>
                  <a:cubicBezTo>
                    <a:pt x="21" y="485"/>
                    <a:pt x="26" y="487"/>
                    <a:pt x="30" y="493"/>
                  </a:cubicBezTo>
                  <a:cubicBezTo>
                    <a:pt x="31" y="494"/>
                    <a:pt x="33" y="495"/>
                    <a:pt x="33" y="496"/>
                  </a:cubicBezTo>
                  <a:cubicBezTo>
                    <a:pt x="34" y="498"/>
                    <a:pt x="34" y="498"/>
                    <a:pt x="34" y="500"/>
                  </a:cubicBezTo>
                  <a:cubicBezTo>
                    <a:pt x="36" y="503"/>
                    <a:pt x="36" y="505"/>
                    <a:pt x="40" y="506"/>
                  </a:cubicBezTo>
                  <a:cubicBezTo>
                    <a:pt x="44" y="506"/>
                    <a:pt x="46" y="503"/>
                    <a:pt x="50" y="502"/>
                  </a:cubicBezTo>
                  <a:cubicBezTo>
                    <a:pt x="53" y="501"/>
                    <a:pt x="56" y="501"/>
                    <a:pt x="60" y="501"/>
                  </a:cubicBezTo>
                  <a:cubicBezTo>
                    <a:pt x="67" y="501"/>
                    <a:pt x="73" y="501"/>
                    <a:pt x="79" y="505"/>
                  </a:cubicBezTo>
                  <a:cubicBezTo>
                    <a:pt x="81" y="507"/>
                    <a:pt x="81" y="510"/>
                    <a:pt x="84" y="513"/>
                  </a:cubicBezTo>
                  <a:cubicBezTo>
                    <a:pt x="84" y="513"/>
                    <a:pt x="85" y="513"/>
                    <a:pt x="86" y="514"/>
                  </a:cubicBezTo>
                  <a:cubicBezTo>
                    <a:pt x="87" y="514"/>
                    <a:pt x="86" y="515"/>
                    <a:pt x="87" y="515"/>
                  </a:cubicBezTo>
                  <a:cubicBezTo>
                    <a:pt x="90" y="516"/>
                    <a:pt x="96" y="515"/>
                    <a:pt x="99" y="515"/>
                  </a:cubicBezTo>
                  <a:cubicBezTo>
                    <a:pt x="102" y="515"/>
                    <a:pt x="105" y="515"/>
                    <a:pt x="108" y="516"/>
                  </a:cubicBezTo>
                  <a:cubicBezTo>
                    <a:pt x="107" y="516"/>
                    <a:pt x="111" y="518"/>
                    <a:pt x="110" y="518"/>
                  </a:cubicBezTo>
                  <a:cubicBezTo>
                    <a:pt x="111" y="519"/>
                    <a:pt x="112" y="520"/>
                    <a:pt x="113" y="520"/>
                  </a:cubicBezTo>
                  <a:cubicBezTo>
                    <a:pt x="115" y="521"/>
                    <a:pt x="117" y="520"/>
                    <a:pt x="119" y="523"/>
                  </a:cubicBezTo>
                  <a:cubicBezTo>
                    <a:pt x="120" y="525"/>
                    <a:pt x="120" y="528"/>
                    <a:pt x="119" y="530"/>
                  </a:cubicBezTo>
                  <a:cubicBezTo>
                    <a:pt x="118" y="535"/>
                    <a:pt x="115" y="539"/>
                    <a:pt x="111" y="542"/>
                  </a:cubicBezTo>
                  <a:cubicBezTo>
                    <a:pt x="106" y="546"/>
                    <a:pt x="104" y="549"/>
                    <a:pt x="102" y="555"/>
                  </a:cubicBezTo>
                  <a:cubicBezTo>
                    <a:pt x="101" y="557"/>
                    <a:pt x="101" y="558"/>
                    <a:pt x="98" y="560"/>
                  </a:cubicBezTo>
                  <a:cubicBezTo>
                    <a:pt x="97" y="561"/>
                    <a:pt x="96" y="561"/>
                    <a:pt x="95" y="563"/>
                  </a:cubicBezTo>
                  <a:cubicBezTo>
                    <a:pt x="92" y="567"/>
                    <a:pt x="93" y="572"/>
                    <a:pt x="92" y="577"/>
                  </a:cubicBezTo>
                  <a:cubicBezTo>
                    <a:pt x="90" y="583"/>
                    <a:pt x="92" y="588"/>
                    <a:pt x="87" y="593"/>
                  </a:cubicBezTo>
                  <a:cubicBezTo>
                    <a:pt x="83" y="598"/>
                    <a:pt x="84" y="603"/>
                    <a:pt x="84" y="609"/>
                  </a:cubicBezTo>
                  <a:cubicBezTo>
                    <a:pt x="84" y="617"/>
                    <a:pt x="84" y="624"/>
                    <a:pt x="84" y="632"/>
                  </a:cubicBezTo>
                  <a:cubicBezTo>
                    <a:pt x="84" y="634"/>
                    <a:pt x="85" y="636"/>
                    <a:pt x="86" y="637"/>
                  </a:cubicBezTo>
                  <a:cubicBezTo>
                    <a:pt x="86" y="637"/>
                    <a:pt x="86" y="637"/>
                    <a:pt x="86" y="637"/>
                  </a:cubicBezTo>
                  <a:cubicBezTo>
                    <a:pt x="87" y="638"/>
                    <a:pt x="87" y="638"/>
                    <a:pt x="87" y="639"/>
                  </a:cubicBezTo>
                  <a:cubicBezTo>
                    <a:pt x="88" y="639"/>
                    <a:pt x="88" y="639"/>
                    <a:pt x="88" y="639"/>
                  </a:cubicBezTo>
                  <a:cubicBezTo>
                    <a:pt x="89" y="640"/>
                    <a:pt x="90" y="640"/>
                    <a:pt x="91" y="640"/>
                  </a:cubicBezTo>
                  <a:cubicBezTo>
                    <a:pt x="94" y="641"/>
                    <a:pt x="96" y="641"/>
                    <a:pt x="98" y="640"/>
                  </a:cubicBezTo>
                  <a:cubicBezTo>
                    <a:pt x="99" y="639"/>
                    <a:pt x="101" y="639"/>
                    <a:pt x="102" y="639"/>
                  </a:cubicBezTo>
                  <a:cubicBezTo>
                    <a:pt x="103" y="639"/>
                    <a:pt x="104" y="640"/>
                    <a:pt x="104" y="640"/>
                  </a:cubicBezTo>
                  <a:cubicBezTo>
                    <a:pt x="107" y="640"/>
                    <a:pt x="108" y="638"/>
                    <a:pt x="110" y="637"/>
                  </a:cubicBezTo>
                  <a:cubicBezTo>
                    <a:pt x="111" y="637"/>
                    <a:pt x="112" y="637"/>
                    <a:pt x="112" y="635"/>
                  </a:cubicBezTo>
                  <a:cubicBezTo>
                    <a:pt x="112" y="634"/>
                    <a:pt x="112" y="634"/>
                    <a:pt x="112" y="633"/>
                  </a:cubicBezTo>
                  <a:cubicBezTo>
                    <a:pt x="113" y="632"/>
                    <a:pt x="114" y="630"/>
                    <a:pt x="115" y="630"/>
                  </a:cubicBezTo>
                  <a:cubicBezTo>
                    <a:pt x="117" y="631"/>
                    <a:pt x="116" y="633"/>
                    <a:pt x="117" y="634"/>
                  </a:cubicBezTo>
                  <a:cubicBezTo>
                    <a:pt x="118" y="635"/>
                    <a:pt x="118" y="636"/>
                    <a:pt x="120" y="636"/>
                  </a:cubicBezTo>
                  <a:cubicBezTo>
                    <a:pt x="123" y="636"/>
                    <a:pt x="123" y="633"/>
                    <a:pt x="123" y="630"/>
                  </a:cubicBezTo>
                  <a:cubicBezTo>
                    <a:pt x="123" y="628"/>
                    <a:pt x="125" y="625"/>
                    <a:pt x="127" y="623"/>
                  </a:cubicBezTo>
                  <a:cubicBezTo>
                    <a:pt x="128" y="622"/>
                    <a:pt x="131" y="622"/>
                    <a:pt x="133" y="622"/>
                  </a:cubicBezTo>
                  <a:cubicBezTo>
                    <a:pt x="134" y="622"/>
                    <a:pt x="135" y="622"/>
                    <a:pt x="135" y="622"/>
                  </a:cubicBezTo>
                  <a:cubicBezTo>
                    <a:pt x="136" y="622"/>
                    <a:pt x="137" y="623"/>
                    <a:pt x="137" y="623"/>
                  </a:cubicBezTo>
                  <a:cubicBezTo>
                    <a:pt x="138" y="623"/>
                    <a:pt x="139" y="623"/>
                    <a:pt x="139" y="623"/>
                  </a:cubicBezTo>
                  <a:cubicBezTo>
                    <a:pt x="140" y="623"/>
                    <a:pt x="141" y="623"/>
                    <a:pt x="141" y="624"/>
                  </a:cubicBezTo>
                  <a:cubicBezTo>
                    <a:pt x="143" y="625"/>
                    <a:pt x="146" y="626"/>
                    <a:pt x="147" y="627"/>
                  </a:cubicBezTo>
                  <a:cubicBezTo>
                    <a:pt x="148" y="627"/>
                    <a:pt x="148" y="628"/>
                    <a:pt x="149" y="629"/>
                  </a:cubicBezTo>
                  <a:cubicBezTo>
                    <a:pt x="151" y="630"/>
                    <a:pt x="153" y="631"/>
                    <a:pt x="155" y="631"/>
                  </a:cubicBezTo>
                  <a:cubicBezTo>
                    <a:pt x="157" y="631"/>
                    <a:pt x="158" y="630"/>
                    <a:pt x="160" y="630"/>
                  </a:cubicBezTo>
                  <a:cubicBezTo>
                    <a:pt x="161" y="629"/>
                    <a:pt x="162" y="629"/>
                    <a:pt x="163" y="629"/>
                  </a:cubicBezTo>
                  <a:cubicBezTo>
                    <a:pt x="165" y="629"/>
                    <a:pt x="164" y="629"/>
                    <a:pt x="165" y="630"/>
                  </a:cubicBezTo>
                  <a:cubicBezTo>
                    <a:pt x="166" y="631"/>
                    <a:pt x="167" y="632"/>
                    <a:pt x="168" y="632"/>
                  </a:cubicBezTo>
                  <a:cubicBezTo>
                    <a:pt x="169" y="633"/>
                    <a:pt x="171" y="634"/>
                    <a:pt x="172" y="634"/>
                  </a:cubicBezTo>
                  <a:cubicBezTo>
                    <a:pt x="172" y="635"/>
                    <a:pt x="172" y="635"/>
                    <a:pt x="173" y="635"/>
                  </a:cubicBezTo>
                  <a:cubicBezTo>
                    <a:pt x="174" y="637"/>
                    <a:pt x="175" y="637"/>
                    <a:pt x="176" y="637"/>
                  </a:cubicBezTo>
                  <a:cubicBezTo>
                    <a:pt x="178" y="638"/>
                    <a:pt x="180" y="638"/>
                    <a:pt x="182" y="639"/>
                  </a:cubicBezTo>
                  <a:cubicBezTo>
                    <a:pt x="183" y="639"/>
                    <a:pt x="183" y="639"/>
                    <a:pt x="184" y="639"/>
                  </a:cubicBezTo>
                  <a:cubicBezTo>
                    <a:pt x="185" y="639"/>
                    <a:pt x="187" y="639"/>
                    <a:pt x="188" y="639"/>
                  </a:cubicBezTo>
                  <a:cubicBezTo>
                    <a:pt x="189" y="639"/>
                    <a:pt x="189" y="640"/>
                    <a:pt x="189" y="640"/>
                  </a:cubicBezTo>
                  <a:cubicBezTo>
                    <a:pt x="189" y="640"/>
                    <a:pt x="190" y="640"/>
                    <a:pt x="191" y="640"/>
                  </a:cubicBezTo>
                  <a:cubicBezTo>
                    <a:pt x="194" y="640"/>
                    <a:pt x="197" y="640"/>
                    <a:pt x="200" y="640"/>
                  </a:cubicBezTo>
                  <a:cubicBezTo>
                    <a:pt x="201" y="640"/>
                    <a:pt x="203" y="639"/>
                    <a:pt x="204" y="640"/>
                  </a:cubicBezTo>
                  <a:cubicBezTo>
                    <a:pt x="206" y="642"/>
                    <a:pt x="206" y="644"/>
                    <a:pt x="207" y="646"/>
                  </a:cubicBezTo>
                  <a:cubicBezTo>
                    <a:pt x="208" y="647"/>
                    <a:pt x="208" y="647"/>
                    <a:pt x="210" y="648"/>
                  </a:cubicBezTo>
                  <a:cubicBezTo>
                    <a:pt x="211" y="648"/>
                    <a:pt x="213" y="647"/>
                    <a:pt x="214" y="648"/>
                  </a:cubicBezTo>
                  <a:cubicBezTo>
                    <a:pt x="214" y="649"/>
                    <a:pt x="214" y="649"/>
                    <a:pt x="215" y="649"/>
                  </a:cubicBezTo>
                  <a:cubicBezTo>
                    <a:pt x="215" y="650"/>
                    <a:pt x="215" y="651"/>
                    <a:pt x="215" y="652"/>
                  </a:cubicBezTo>
                  <a:cubicBezTo>
                    <a:pt x="215" y="653"/>
                    <a:pt x="215" y="652"/>
                    <a:pt x="216" y="653"/>
                  </a:cubicBezTo>
                  <a:cubicBezTo>
                    <a:pt x="217" y="655"/>
                    <a:pt x="220" y="656"/>
                    <a:pt x="222" y="657"/>
                  </a:cubicBezTo>
                  <a:cubicBezTo>
                    <a:pt x="225" y="659"/>
                    <a:pt x="226" y="661"/>
                    <a:pt x="230" y="659"/>
                  </a:cubicBezTo>
                  <a:cubicBezTo>
                    <a:pt x="231" y="659"/>
                    <a:pt x="232" y="657"/>
                    <a:pt x="232" y="656"/>
                  </a:cubicBezTo>
                  <a:cubicBezTo>
                    <a:pt x="233" y="656"/>
                    <a:pt x="233" y="655"/>
                    <a:pt x="233" y="655"/>
                  </a:cubicBezTo>
                  <a:cubicBezTo>
                    <a:pt x="234" y="651"/>
                    <a:pt x="230" y="649"/>
                    <a:pt x="229" y="646"/>
                  </a:cubicBezTo>
                  <a:cubicBezTo>
                    <a:pt x="229" y="643"/>
                    <a:pt x="229" y="642"/>
                    <a:pt x="232" y="641"/>
                  </a:cubicBezTo>
                  <a:cubicBezTo>
                    <a:pt x="236" y="640"/>
                    <a:pt x="240" y="642"/>
                    <a:pt x="244" y="641"/>
                  </a:cubicBezTo>
                  <a:cubicBezTo>
                    <a:pt x="247" y="641"/>
                    <a:pt x="250" y="640"/>
                    <a:pt x="252" y="643"/>
                  </a:cubicBezTo>
                  <a:cubicBezTo>
                    <a:pt x="253" y="644"/>
                    <a:pt x="253" y="646"/>
                    <a:pt x="255" y="646"/>
                  </a:cubicBezTo>
                  <a:cubicBezTo>
                    <a:pt x="255" y="646"/>
                    <a:pt x="255" y="646"/>
                    <a:pt x="255" y="646"/>
                  </a:cubicBezTo>
                  <a:cubicBezTo>
                    <a:pt x="257" y="646"/>
                    <a:pt x="263" y="648"/>
                    <a:pt x="263" y="650"/>
                  </a:cubicBezTo>
                  <a:cubicBezTo>
                    <a:pt x="264" y="651"/>
                    <a:pt x="268" y="651"/>
                    <a:pt x="267" y="651"/>
                  </a:cubicBezTo>
                  <a:cubicBezTo>
                    <a:pt x="270" y="651"/>
                    <a:pt x="273" y="651"/>
                    <a:pt x="275" y="651"/>
                  </a:cubicBezTo>
                  <a:cubicBezTo>
                    <a:pt x="277" y="650"/>
                    <a:pt x="278" y="649"/>
                    <a:pt x="279" y="649"/>
                  </a:cubicBezTo>
                  <a:cubicBezTo>
                    <a:pt x="281" y="648"/>
                    <a:pt x="282" y="650"/>
                    <a:pt x="284" y="650"/>
                  </a:cubicBezTo>
                  <a:cubicBezTo>
                    <a:pt x="285" y="649"/>
                    <a:pt x="286" y="647"/>
                    <a:pt x="287" y="646"/>
                  </a:cubicBezTo>
                  <a:cubicBezTo>
                    <a:pt x="288" y="645"/>
                    <a:pt x="288" y="644"/>
                    <a:pt x="289" y="643"/>
                  </a:cubicBezTo>
                  <a:cubicBezTo>
                    <a:pt x="291" y="641"/>
                    <a:pt x="295" y="642"/>
                    <a:pt x="298" y="642"/>
                  </a:cubicBezTo>
                  <a:cubicBezTo>
                    <a:pt x="299" y="642"/>
                    <a:pt x="301" y="643"/>
                    <a:pt x="302" y="641"/>
                  </a:cubicBezTo>
                  <a:cubicBezTo>
                    <a:pt x="302" y="640"/>
                    <a:pt x="301" y="639"/>
                    <a:pt x="302" y="637"/>
                  </a:cubicBezTo>
                  <a:cubicBezTo>
                    <a:pt x="302" y="636"/>
                    <a:pt x="303" y="636"/>
                    <a:pt x="305" y="636"/>
                  </a:cubicBezTo>
                  <a:cubicBezTo>
                    <a:pt x="308" y="636"/>
                    <a:pt x="312" y="636"/>
                    <a:pt x="316" y="637"/>
                  </a:cubicBezTo>
                  <a:cubicBezTo>
                    <a:pt x="318" y="637"/>
                    <a:pt x="320" y="637"/>
                    <a:pt x="323" y="637"/>
                  </a:cubicBezTo>
                  <a:cubicBezTo>
                    <a:pt x="324" y="637"/>
                    <a:pt x="324" y="637"/>
                    <a:pt x="325" y="637"/>
                  </a:cubicBezTo>
                  <a:cubicBezTo>
                    <a:pt x="325" y="636"/>
                    <a:pt x="326" y="636"/>
                    <a:pt x="327" y="636"/>
                  </a:cubicBezTo>
                  <a:cubicBezTo>
                    <a:pt x="328" y="636"/>
                    <a:pt x="328" y="636"/>
                    <a:pt x="329" y="636"/>
                  </a:cubicBezTo>
                  <a:cubicBezTo>
                    <a:pt x="332" y="634"/>
                    <a:pt x="326" y="632"/>
                    <a:pt x="327" y="629"/>
                  </a:cubicBezTo>
                  <a:cubicBezTo>
                    <a:pt x="327" y="628"/>
                    <a:pt x="329" y="628"/>
                    <a:pt x="330" y="628"/>
                  </a:cubicBezTo>
                  <a:cubicBezTo>
                    <a:pt x="332" y="628"/>
                    <a:pt x="334" y="628"/>
                    <a:pt x="336" y="628"/>
                  </a:cubicBezTo>
                  <a:cubicBezTo>
                    <a:pt x="337" y="628"/>
                    <a:pt x="340" y="629"/>
                    <a:pt x="341" y="629"/>
                  </a:cubicBezTo>
                  <a:cubicBezTo>
                    <a:pt x="342" y="630"/>
                    <a:pt x="342" y="631"/>
                    <a:pt x="343" y="632"/>
                  </a:cubicBezTo>
                  <a:cubicBezTo>
                    <a:pt x="344" y="633"/>
                    <a:pt x="347" y="632"/>
                    <a:pt x="348" y="632"/>
                  </a:cubicBezTo>
                  <a:cubicBezTo>
                    <a:pt x="351" y="632"/>
                    <a:pt x="353" y="630"/>
                    <a:pt x="355" y="630"/>
                  </a:cubicBezTo>
                  <a:cubicBezTo>
                    <a:pt x="357" y="631"/>
                    <a:pt x="356" y="631"/>
                    <a:pt x="357" y="631"/>
                  </a:cubicBezTo>
                  <a:cubicBezTo>
                    <a:pt x="358" y="632"/>
                    <a:pt x="359" y="634"/>
                    <a:pt x="360" y="635"/>
                  </a:cubicBezTo>
                  <a:cubicBezTo>
                    <a:pt x="361" y="636"/>
                    <a:pt x="362" y="638"/>
                    <a:pt x="362" y="639"/>
                  </a:cubicBezTo>
                  <a:cubicBezTo>
                    <a:pt x="362" y="639"/>
                    <a:pt x="362" y="640"/>
                    <a:pt x="362" y="640"/>
                  </a:cubicBezTo>
                  <a:cubicBezTo>
                    <a:pt x="363" y="642"/>
                    <a:pt x="365" y="641"/>
                    <a:pt x="366" y="641"/>
                  </a:cubicBezTo>
                  <a:cubicBezTo>
                    <a:pt x="367" y="641"/>
                    <a:pt x="367" y="642"/>
                    <a:pt x="368" y="642"/>
                  </a:cubicBezTo>
                  <a:cubicBezTo>
                    <a:pt x="369" y="642"/>
                    <a:pt x="371" y="642"/>
                    <a:pt x="372" y="642"/>
                  </a:cubicBezTo>
                  <a:cubicBezTo>
                    <a:pt x="373" y="641"/>
                    <a:pt x="373" y="641"/>
                    <a:pt x="374" y="640"/>
                  </a:cubicBezTo>
                  <a:cubicBezTo>
                    <a:pt x="375" y="639"/>
                    <a:pt x="375" y="638"/>
                    <a:pt x="375" y="637"/>
                  </a:cubicBezTo>
                  <a:cubicBezTo>
                    <a:pt x="375" y="636"/>
                    <a:pt x="375" y="635"/>
                    <a:pt x="375" y="634"/>
                  </a:cubicBezTo>
                  <a:cubicBezTo>
                    <a:pt x="376" y="633"/>
                    <a:pt x="378" y="630"/>
                    <a:pt x="375" y="629"/>
                  </a:cubicBezTo>
                  <a:cubicBezTo>
                    <a:pt x="373" y="628"/>
                    <a:pt x="371" y="628"/>
                    <a:pt x="369" y="626"/>
                  </a:cubicBezTo>
                  <a:cubicBezTo>
                    <a:pt x="368" y="625"/>
                    <a:pt x="368" y="625"/>
                    <a:pt x="368" y="624"/>
                  </a:cubicBezTo>
                  <a:cubicBezTo>
                    <a:pt x="368" y="623"/>
                    <a:pt x="367" y="623"/>
                    <a:pt x="367" y="623"/>
                  </a:cubicBezTo>
                  <a:cubicBezTo>
                    <a:pt x="367" y="622"/>
                    <a:pt x="368" y="621"/>
                    <a:pt x="368" y="620"/>
                  </a:cubicBezTo>
                  <a:cubicBezTo>
                    <a:pt x="368" y="619"/>
                    <a:pt x="369" y="619"/>
                    <a:pt x="370" y="618"/>
                  </a:cubicBezTo>
                  <a:cubicBezTo>
                    <a:pt x="371" y="618"/>
                    <a:pt x="371" y="617"/>
                    <a:pt x="372" y="616"/>
                  </a:cubicBezTo>
                  <a:cubicBezTo>
                    <a:pt x="372" y="614"/>
                    <a:pt x="373" y="612"/>
                    <a:pt x="372" y="611"/>
                  </a:cubicBezTo>
                  <a:cubicBezTo>
                    <a:pt x="371" y="610"/>
                    <a:pt x="370" y="609"/>
                    <a:pt x="369" y="608"/>
                  </a:cubicBezTo>
                  <a:cubicBezTo>
                    <a:pt x="369" y="608"/>
                    <a:pt x="368" y="607"/>
                    <a:pt x="368" y="607"/>
                  </a:cubicBezTo>
                  <a:cubicBezTo>
                    <a:pt x="367" y="606"/>
                    <a:pt x="366" y="606"/>
                    <a:pt x="366" y="606"/>
                  </a:cubicBezTo>
                  <a:cubicBezTo>
                    <a:pt x="366" y="606"/>
                    <a:pt x="366" y="605"/>
                    <a:pt x="365" y="604"/>
                  </a:cubicBezTo>
                  <a:cubicBezTo>
                    <a:pt x="365" y="604"/>
                    <a:pt x="365" y="604"/>
                    <a:pt x="364" y="603"/>
                  </a:cubicBezTo>
                  <a:cubicBezTo>
                    <a:pt x="364" y="603"/>
                    <a:pt x="363" y="602"/>
                    <a:pt x="363" y="601"/>
                  </a:cubicBezTo>
                  <a:cubicBezTo>
                    <a:pt x="363" y="598"/>
                    <a:pt x="363" y="595"/>
                    <a:pt x="363" y="593"/>
                  </a:cubicBezTo>
                  <a:cubicBezTo>
                    <a:pt x="362" y="592"/>
                    <a:pt x="362" y="592"/>
                    <a:pt x="362" y="592"/>
                  </a:cubicBezTo>
                  <a:cubicBezTo>
                    <a:pt x="362" y="591"/>
                    <a:pt x="362" y="590"/>
                    <a:pt x="362" y="589"/>
                  </a:cubicBezTo>
                  <a:cubicBezTo>
                    <a:pt x="362" y="588"/>
                    <a:pt x="361" y="587"/>
                    <a:pt x="362" y="586"/>
                  </a:cubicBezTo>
                  <a:cubicBezTo>
                    <a:pt x="363" y="586"/>
                    <a:pt x="364" y="586"/>
                    <a:pt x="365" y="585"/>
                  </a:cubicBezTo>
                  <a:cubicBezTo>
                    <a:pt x="365" y="585"/>
                    <a:pt x="366" y="584"/>
                    <a:pt x="367" y="583"/>
                  </a:cubicBezTo>
                  <a:cubicBezTo>
                    <a:pt x="368" y="582"/>
                    <a:pt x="370" y="581"/>
                    <a:pt x="372" y="581"/>
                  </a:cubicBezTo>
                  <a:cubicBezTo>
                    <a:pt x="374" y="581"/>
                    <a:pt x="376" y="580"/>
                    <a:pt x="378" y="579"/>
                  </a:cubicBezTo>
                  <a:cubicBezTo>
                    <a:pt x="380" y="578"/>
                    <a:pt x="382" y="577"/>
                    <a:pt x="384" y="577"/>
                  </a:cubicBezTo>
                  <a:cubicBezTo>
                    <a:pt x="388" y="577"/>
                    <a:pt x="392" y="577"/>
                    <a:pt x="395" y="575"/>
                  </a:cubicBezTo>
                  <a:cubicBezTo>
                    <a:pt x="396" y="574"/>
                    <a:pt x="397" y="574"/>
                    <a:pt x="397" y="573"/>
                  </a:cubicBezTo>
                  <a:cubicBezTo>
                    <a:pt x="398" y="572"/>
                    <a:pt x="398" y="572"/>
                    <a:pt x="398" y="571"/>
                  </a:cubicBezTo>
                  <a:cubicBezTo>
                    <a:pt x="398" y="571"/>
                    <a:pt x="398" y="570"/>
                    <a:pt x="398" y="570"/>
                  </a:cubicBezTo>
                  <a:cubicBezTo>
                    <a:pt x="398" y="569"/>
                    <a:pt x="398" y="568"/>
                    <a:pt x="399" y="568"/>
                  </a:cubicBezTo>
                  <a:cubicBezTo>
                    <a:pt x="399" y="567"/>
                    <a:pt x="399" y="566"/>
                    <a:pt x="399" y="565"/>
                  </a:cubicBezTo>
                  <a:cubicBezTo>
                    <a:pt x="399" y="566"/>
                    <a:pt x="399" y="566"/>
                    <a:pt x="399" y="566"/>
                  </a:cubicBezTo>
                  <a:cubicBezTo>
                    <a:pt x="399" y="565"/>
                    <a:pt x="399" y="564"/>
                    <a:pt x="400" y="564"/>
                  </a:cubicBezTo>
                  <a:cubicBezTo>
                    <a:pt x="400" y="563"/>
                    <a:pt x="399" y="562"/>
                    <a:pt x="400" y="561"/>
                  </a:cubicBezTo>
                  <a:cubicBezTo>
                    <a:pt x="400" y="560"/>
                    <a:pt x="400" y="559"/>
                    <a:pt x="401" y="559"/>
                  </a:cubicBezTo>
                  <a:cubicBezTo>
                    <a:pt x="401" y="558"/>
                    <a:pt x="402" y="556"/>
                    <a:pt x="402" y="556"/>
                  </a:cubicBezTo>
                  <a:cubicBezTo>
                    <a:pt x="403" y="556"/>
                    <a:pt x="404" y="556"/>
                    <a:pt x="405" y="556"/>
                  </a:cubicBezTo>
                  <a:cubicBezTo>
                    <a:pt x="406" y="556"/>
                    <a:pt x="406" y="557"/>
                    <a:pt x="407" y="558"/>
                  </a:cubicBezTo>
                  <a:cubicBezTo>
                    <a:pt x="408" y="559"/>
                    <a:pt x="414" y="560"/>
                    <a:pt x="415" y="559"/>
                  </a:cubicBezTo>
                  <a:cubicBezTo>
                    <a:pt x="416" y="558"/>
                    <a:pt x="417" y="556"/>
                    <a:pt x="417" y="555"/>
                  </a:cubicBezTo>
                  <a:cubicBezTo>
                    <a:pt x="418" y="554"/>
                    <a:pt x="418" y="553"/>
                    <a:pt x="418" y="552"/>
                  </a:cubicBezTo>
                  <a:cubicBezTo>
                    <a:pt x="418" y="551"/>
                    <a:pt x="419" y="550"/>
                    <a:pt x="419" y="548"/>
                  </a:cubicBezTo>
                  <a:cubicBezTo>
                    <a:pt x="419" y="547"/>
                    <a:pt x="419" y="545"/>
                    <a:pt x="419" y="544"/>
                  </a:cubicBezTo>
                  <a:cubicBezTo>
                    <a:pt x="419" y="543"/>
                    <a:pt x="420" y="543"/>
                    <a:pt x="420" y="542"/>
                  </a:cubicBezTo>
                  <a:cubicBezTo>
                    <a:pt x="420" y="541"/>
                    <a:pt x="420" y="540"/>
                    <a:pt x="420" y="540"/>
                  </a:cubicBezTo>
                  <a:cubicBezTo>
                    <a:pt x="420" y="539"/>
                    <a:pt x="421" y="539"/>
                    <a:pt x="421" y="539"/>
                  </a:cubicBezTo>
                  <a:cubicBezTo>
                    <a:pt x="421" y="539"/>
                    <a:pt x="420" y="538"/>
                    <a:pt x="420" y="537"/>
                  </a:cubicBezTo>
                  <a:cubicBezTo>
                    <a:pt x="420" y="536"/>
                    <a:pt x="420" y="534"/>
                    <a:pt x="419" y="533"/>
                  </a:cubicBezTo>
                  <a:cubicBezTo>
                    <a:pt x="418" y="532"/>
                    <a:pt x="417" y="532"/>
                    <a:pt x="417" y="531"/>
                  </a:cubicBezTo>
                  <a:cubicBezTo>
                    <a:pt x="416" y="531"/>
                    <a:pt x="415" y="530"/>
                    <a:pt x="414" y="529"/>
                  </a:cubicBezTo>
                  <a:cubicBezTo>
                    <a:pt x="413" y="528"/>
                    <a:pt x="412" y="527"/>
                    <a:pt x="411" y="527"/>
                  </a:cubicBezTo>
                  <a:cubicBezTo>
                    <a:pt x="410" y="526"/>
                    <a:pt x="410" y="525"/>
                    <a:pt x="410" y="524"/>
                  </a:cubicBezTo>
                  <a:cubicBezTo>
                    <a:pt x="408" y="519"/>
                    <a:pt x="402" y="526"/>
                    <a:pt x="400" y="520"/>
                  </a:cubicBezTo>
                  <a:cubicBezTo>
                    <a:pt x="400" y="519"/>
                    <a:pt x="399" y="518"/>
                    <a:pt x="398" y="517"/>
                  </a:cubicBezTo>
                  <a:cubicBezTo>
                    <a:pt x="398" y="516"/>
                    <a:pt x="397" y="515"/>
                    <a:pt x="397" y="514"/>
                  </a:cubicBezTo>
                  <a:cubicBezTo>
                    <a:pt x="396" y="514"/>
                    <a:pt x="395" y="513"/>
                    <a:pt x="394" y="513"/>
                  </a:cubicBezTo>
                  <a:cubicBezTo>
                    <a:pt x="394" y="512"/>
                    <a:pt x="394" y="512"/>
                    <a:pt x="394" y="512"/>
                  </a:cubicBezTo>
                  <a:cubicBezTo>
                    <a:pt x="393" y="511"/>
                    <a:pt x="391" y="510"/>
                    <a:pt x="390" y="510"/>
                  </a:cubicBezTo>
                  <a:cubicBezTo>
                    <a:pt x="389" y="509"/>
                    <a:pt x="386" y="509"/>
                    <a:pt x="385" y="508"/>
                  </a:cubicBezTo>
                  <a:cubicBezTo>
                    <a:pt x="385" y="507"/>
                    <a:pt x="385" y="507"/>
                    <a:pt x="385" y="507"/>
                  </a:cubicBezTo>
                  <a:cubicBezTo>
                    <a:pt x="385" y="504"/>
                    <a:pt x="384" y="502"/>
                    <a:pt x="382" y="499"/>
                  </a:cubicBezTo>
                  <a:cubicBezTo>
                    <a:pt x="381" y="498"/>
                    <a:pt x="380" y="496"/>
                    <a:pt x="379" y="495"/>
                  </a:cubicBezTo>
                  <a:cubicBezTo>
                    <a:pt x="378" y="494"/>
                    <a:pt x="376" y="493"/>
                    <a:pt x="375" y="491"/>
                  </a:cubicBezTo>
                  <a:cubicBezTo>
                    <a:pt x="374" y="491"/>
                    <a:pt x="374" y="491"/>
                    <a:pt x="373" y="490"/>
                  </a:cubicBezTo>
                  <a:cubicBezTo>
                    <a:pt x="373" y="490"/>
                    <a:pt x="371" y="491"/>
                    <a:pt x="371" y="491"/>
                  </a:cubicBezTo>
                  <a:cubicBezTo>
                    <a:pt x="369" y="491"/>
                    <a:pt x="369" y="490"/>
                    <a:pt x="368" y="490"/>
                  </a:cubicBezTo>
                  <a:cubicBezTo>
                    <a:pt x="367" y="489"/>
                    <a:pt x="365" y="489"/>
                    <a:pt x="365" y="488"/>
                  </a:cubicBezTo>
                  <a:cubicBezTo>
                    <a:pt x="364" y="488"/>
                    <a:pt x="364" y="488"/>
                    <a:pt x="364" y="487"/>
                  </a:cubicBezTo>
                  <a:cubicBezTo>
                    <a:pt x="363" y="485"/>
                    <a:pt x="362" y="484"/>
                    <a:pt x="361" y="483"/>
                  </a:cubicBezTo>
                  <a:cubicBezTo>
                    <a:pt x="360" y="482"/>
                    <a:pt x="360" y="482"/>
                    <a:pt x="360" y="480"/>
                  </a:cubicBezTo>
                  <a:cubicBezTo>
                    <a:pt x="359" y="479"/>
                    <a:pt x="359" y="476"/>
                    <a:pt x="359" y="475"/>
                  </a:cubicBezTo>
                  <a:cubicBezTo>
                    <a:pt x="358" y="474"/>
                    <a:pt x="358" y="474"/>
                    <a:pt x="358" y="473"/>
                  </a:cubicBezTo>
                  <a:cubicBezTo>
                    <a:pt x="357" y="471"/>
                    <a:pt x="356" y="469"/>
                    <a:pt x="355" y="467"/>
                  </a:cubicBezTo>
                  <a:cubicBezTo>
                    <a:pt x="355" y="466"/>
                    <a:pt x="354" y="464"/>
                    <a:pt x="353" y="463"/>
                  </a:cubicBezTo>
                  <a:cubicBezTo>
                    <a:pt x="352" y="462"/>
                    <a:pt x="351" y="461"/>
                    <a:pt x="349" y="460"/>
                  </a:cubicBezTo>
                  <a:cubicBezTo>
                    <a:pt x="348" y="459"/>
                    <a:pt x="348" y="457"/>
                    <a:pt x="349" y="456"/>
                  </a:cubicBezTo>
                  <a:cubicBezTo>
                    <a:pt x="349" y="455"/>
                    <a:pt x="350" y="454"/>
                    <a:pt x="351" y="453"/>
                  </a:cubicBezTo>
                  <a:cubicBezTo>
                    <a:pt x="351" y="452"/>
                    <a:pt x="352" y="451"/>
                    <a:pt x="352" y="451"/>
                  </a:cubicBezTo>
                  <a:cubicBezTo>
                    <a:pt x="353" y="450"/>
                    <a:pt x="354" y="449"/>
                    <a:pt x="354" y="448"/>
                  </a:cubicBezTo>
                  <a:cubicBezTo>
                    <a:pt x="354" y="447"/>
                    <a:pt x="354" y="446"/>
                    <a:pt x="354" y="445"/>
                  </a:cubicBezTo>
                  <a:cubicBezTo>
                    <a:pt x="354" y="444"/>
                    <a:pt x="355" y="443"/>
                    <a:pt x="355" y="442"/>
                  </a:cubicBezTo>
                  <a:cubicBezTo>
                    <a:pt x="354" y="440"/>
                    <a:pt x="352" y="440"/>
                    <a:pt x="351" y="439"/>
                  </a:cubicBezTo>
                  <a:cubicBezTo>
                    <a:pt x="349" y="439"/>
                    <a:pt x="349" y="438"/>
                    <a:pt x="348" y="437"/>
                  </a:cubicBezTo>
                  <a:cubicBezTo>
                    <a:pt x="347" y="436"/>
                    <a:pt x="345" y="436"/>
                    <a:pt x="345" y="435"/>
                  </a:cubicBezTo>
                  <a:cubicBezTo>
                    <a:pt x="343" y="434"/>
                    <a:pt x="344" y="432"/>
                    <a:pt x="342" y="431"/>
                  </a:cubicBezTo>
                  <a:cubicBezTo>
                    <a:pt x="340" y="430"/>
                    <a:pt x="339" y="431"/>
                    <a:pt x="339" y="429"/>
                  </a:cubicBezTo>
                  <a:cubicBezTo>
                    <a:pt x="338" y="427"/>
                    <a:pt x="338" y="426"/>
                    <a:pt x="338" y="424"/>
                  </a:cubicBezTo>
                  <a:cubicBezTo>
                    <a:pt x="338" y="423"/>
                    <a:pt x="338" y="421"/>
                    <a:pt x="337" y="419"/>
                  </a:cubicBezTo>
                  <a:cubicBezTo>
                    <a:pt x="337" y="416"/>
                    <a:pt x="331" y="416"/>
                    <a:pt x="332" y="412"/>
                  </a:cubicBezTo>
                  <a:cubicBezTo>
                    <a:pt x="333" y="412"/>
                    <a:pt x="333" y="412"/>
                    <a:pt x="333" y="411"/>
                  </a:cubicBezTo>
                  <a:cubicBezTo>
                    <a:pt x="333" y="411"/>
                    <a:pt x="333" y="411"/>
                    <a:pt x="333" y="410"/>
                  </a:cubicBezTo>
                  <a:cubicBezTo>
                    <a:pt x="334" y="409"/>
                    <a:pt x="334" y="409"/>
                    <a:pt x="336" y="408"/>
                  </a:cubicBezTo>
                  <a:cubicBezTo>
                    <a:pt x="338" y="407"/>
                    <a:pt x="339" y="411"/>
                    <a:pt x="339" y="413"/>
                  </a:cubicBezTo>
                  <a:cubicBezTo>
                    <a:pt x="339" y="414"/>
                    <a:pt x="339" y="415"/>
                    <a:pt x="340" y="416"/>
                  </a:cubicBezTo>
                  <a:cubicBezTo>
                    <a:pt x="340" y="417"/>
                    <a:pt x="341" y="417"/>
                    <a:pt x="342" y="418"/>
                  </a:cubicBezTo>
                  <a:cubicBezTo>
                    <a:pt x="342" y="418"/>
                    <a:pt x="342" y="419"/>
                    <a:pt x="342" y="419"/>
                  </a:cubicBezTo>
                  <a:cubicBezTo>
                    <a:pt x="342" y="420"/>
                    <a:pt x="342" y="419"/>
                    <a:pt x="343" y="420"/>
                  </a:cubicBezTo>
                  <a:cubicBezTo>
                    <a:pt x="343" y="421"/>
                    <a:pt x="343" y="421"/>
                    <a:pt x="343" y="422"/>
                  </a:cubicBezTo>
                  <a:cubicBezTo>
                    <a:pt x="344" y="421"/>
                    <a:pt x="344" y="420"/>
                    <a:pt x="344" y="419"/>
                  </a:cubicBezTo>
                  <a:cubicBezTo>
                    <a:pt x="345" y="417"/>
                    <a:pt x="346" y="417"/>
                    <a:pt x="346" y="416"/>
                  </a:cubicBezTo>
                  <a:cubicBezTo>
                    <a:pt x="346" y="415"/>
                    <a:pt x="346" y="414"/>
                    <a:pt x="346" y="413"/>
                  </a:cubicBezTo>
                  <a:cubicBezTo>
                    <a:pt x="346" y="413"/>
                    <a:pt x="347" y="412"/>
                    <a:pt x="348" y="411"/>
                  </a:cubicBezTo>
                  <a:cubicBezTo>
                    <a:pt x="349" y="409"/>
                    <a:pt x="351" y="408"/>
                    <a:pt x="353" y="407"/>
                  </a:cubicBezTo>
                  <a:cubicBezTo>
                    <a:pt x="354" y="406"/>
                    <a:pt x="355" y="404"/>
                    <a:pt x="357" y="404"/>
                  </a:cubicBezTo>
                  <a:cubicBezTo>
                    <a:pt x="357" y="403"/>
                    <a:pt x="358" y="403"/>
                    <a:pt x="359" y="402"/>
                  </a:cubicBezTo>
                  <a:cubicBezTo>
                    <a:pt x="360" y="402"/>
                    <a:pt x="360" y="400"/>
                    <a:pt x="361" y="401"/>
                  </a:cubicBezTo>
                  <a:cubicBezTo>
                    <a:pt x="362" y="401"/>
                    <a:pt x="362" y="402"/>
                    <a:pt x="363" y="402"/>
                  </a:cubicBezTo>
                  <a:cubicBezTo>
                    <a:pt x="364" y="403"/>
                    <a:pt x="364" y="402"/>
                    <a:pt x="365" y="402"/>
                  </a:cubicBezTo>
                  <a:cubicBezTo>
                    <a:pt x="367" y="402"/>
                    <a:pt x="368" y="402"/>
                    <a:pt x="369" y="400"/>
                  </a:cubicBezTo>
                  <a:cubicBezTo>
                    <a:pt x="370" y="400"/>
                    <a:pt x="370" y="398"/>
                    <a:pt x="370" y="398"/>
                  </a:cubicBezTo>
                  <a:cubicBezTo>
                    <a:pt x="371" y="398"/>
                    <a:pt x="373" y="398"/>
                    <a:pt x="373" y="398"/>
                  </a:cubicBezTo>
                  <a:cubicBezTo>
                    <a:pt x="374" y="398"/>
                    <a:pt x="374" y="399"/>
                    <a:pt x="375" y="399"/>
                  </a:cubicBezTo>
                  <a:cubicBezTo>
                    <a:pt x="376" y="399"/>
                    <a:pt x="377" y="398"/>
                    <a:pt x="379" y="399"/>
                  </a:cubicBezTo>
                  <a:cubicBezTo>
                    <a:pt x="379" y="399"/>
                    <a:pt x="380" y="400"/>
                    <a:pt x="380" y="400"/>
                  </a:cubicBezTo>
                  <a:cubicBezTo>
                    <a:pt x="381" y="401"/>
                    <a:pt x="381" y="400"/>
                    <a:pt x="382" y="399"/>
                  </a:cubicBezTo>
                  <a:cubicBezTo>
                    <a:pt x="382" y="398"/>
                    <a:pt x="383" y="398"/>
                    <a:pt x="384" y="397"/>
                  </a:cubicBezTo>
                  <a:cubicBezTo>
                    <a:pt x="385" y="396"/>
                    <a:pt x="386" y="395"/>
                    <a:pt x="386" y="394"/>
                  </a:cubicBezTo>
                  <a:cubicBezTo>
                    <a:pt x="388" y="392"/>
                    <a:pt x="388" y="392"/>
                    <a:pt x="391" y="392"/>
                  </a:cubicBezTo>
                  <a:cubicBezTo>
                    <a:pt x="391" y="392"/>
                    <a:pt x="392" y="392"/>
                    <a:pt x="392" y="392"/>
                  </a:cubicBezTo>
                  <a:cubicBezTo>
                    <a:pt x="392" y="392"/>
                    <a:pt x="392" y="391"/>
                    <a:pt x="392" y="391"/>
                  </a:cubicBezTo>
                  <a:cubicBezTo>
                    <a:pt x="393" y="391"/>
                    <a:pt x="394" y="390"/>
                    <a:pt x="394" y="390"/>
                  </a:cubicBezTo>
                  <a:cubicBezTo>
                    <a:pt x="394" y="389"/>
                    <a:pt x="395" y="389"/>
                    <a:pt x="395" y="388"/>
                  </a:cubicBezTo>
                  <a:cubicBezTo>
                    <a:pt x="395" y="387"/>
                    <a:pt x="395" y="386"/>
                    <a:pt x="396" y="386"/>
                  </a:cubicBezTo>
                  <a:cubicBezTo>
                    <a:pt x="397" y="384"/>
                    <a:pt x="399" y="387"/>
                    <a:pt x="401" y="387"/>
                  </a:cubicBezTo>
                  <a:cubicBezTo>
                    <a:pt x="401" y="386"/>
                    <a:pt x="401" y="385"/>
                    <a:pt x="402" y="384"/>
                  </a:cubicBezTo>
                  <a:cubicBezTo>
                    <a:pt x="402" y="383"/>
                    <a:pt x="402" y="383"/>
                    <a:pt x="402" y="383"/>
                  </a:cubicBezTo>
                  <a:cubicBezTo>
                    <a:pt x="402" y="382"/>
                    <a:pt x="402" y="381"/>
                    <a:pt x="402" y="381"/>
                  </a:cubicBezTo>
                  <a:cubicBezTo>
                    <a:pt x="403" y="379"/>
                    <a:pt x="405" y="380"/>
                    <a:pt x="405" y="381"/>
                  </a:cubicBezTo>
                  <a:cubicBezTo>
                    <a:pt x="406" y="381"/>
                    <a:pt x="406" y="383"/>
                    <a:pt x="406" y="384"/>
                  </a:cubicBezTo>
                  <a:cubicBezTo>
                    <a:pt x="407" y="384"/>
                    <a:pt x="409" y="384"/>
                    <a:pt x="409" y="384"/>
                  </a:cubicBezTo>
                  <a:cubicBezTo>
                    <a:pt x="410" y="384"/>
                    <a:pt x="411" y="384"/>
                    <a:pt x="412" y="383"/>
                  </a:cubicBezTo>
                  <a:cubicBezTo>
                    <a:pt x="413" y="383"/>
                    <a:pt x="412" y="381"/>
                    <a:pt x="412" y="380"/>
                  </a:cubicBezTo>
                  <a:cubicBezTo>
                    <a:pt x="412" y="379"/>
                    <a:pt x="412" y="377"/>
                    <a:pt x="413" y="376"/>
                  </a:cubicBezTo>
                  <a:cubicBezTo>
                    <a:pt x="413" y="375"/>
                    <a:pt x="414" y="375"/>
                    <a:pt x="414" y="375"/>
                  </a:cubicBezTo>
                  <a:cubicBezTo>
                    <a:pt x="415" y="374"/>
                    <a:pt x="416" y="373"/>
                    <a:pt x="417" y="373"/>
                  </a:cubicBezTo>
                  <a:cubicBezTo>
                    <a:pt x="418" y="373"/>
                    <a:pt x="418" y="373"/>
                    <a:pt x="419" y="373"/>
                  </a:cubicBezTo>
                  <a:cubicBezTo>
                    <a:pt x="421" y="373"/>
                    <a:pt x="422" y="372"/>
                    <a:pt x="424" y="372"/>
                  </a:cubicBezTo>
                  <a:cubicBezTo>
                    <a:pt x="425" y="372"/>
                    <a:pt x="427" y="371"/>
                    <a:pt x="428" y="371"/>
                  </a:cubicBezTo>
                  <a:cubicBezTo>
                    <a:pt x="429" y="371"/>
                    <a:pt x="430" y="371"/>
                    <a:pt x="431" y="371"/>
                  </a:cubicBezTo>
                  <a:cubicBezTo>
                    <a:pt x="432" y="371"/>
                    <a:pt x="432" y="370"/>
                    <a:pt x="433" y="369"/>
                  </a:cubicBezTo>
                  <a:cubicBezTo>
                    <a:pt x="434" y="369"/>
                    <a:pt x="435" y="368"/>
                    <a:pt x="436" y="367"/>
                  </a:cubicBezTo>
                  <a:cubicBezTo>
                    <a:pt x="436" y="367"/>
                    <a:pt x="436" y="366"/>
                    <a:pt x="436" y="366"/>
                  </a:cubicBezTo>
                  <a:cubicBezTo>
                    <a:pt x="436" y="365"/>
                    <a:pt x="439" y="364"/>
                    <a:pt x="440" y="364"/>
                  </a:cubicBezTo>
                  <a:cubicBezTo>
                    <a:pt x="441" y="364"/>
                    <a:pt x="442" y="365"/>
                    <a:pt x="443" y="364"/>
                  </a:cubicBezTo>
                  <a:cubicBezTo>
                    <a:pt x="444" y="364"/>
                    <a:pt x="445" y="362"/>
                    <a:pt x="446" y="363"/>
                  </a:cubicBezTo>
                  <a:cubicBezTo>
                    <a:pt x="447" y="364"/>
                    <a:pt x="447" y="363"/>
                    <a:pt x="448" y="363"/>
                  </a:cubicBezTo>
                  <a:cubicBezTo>
                    <a:pt x="449" y="362"/>
                    <a:pt x="451" y="361"/>
                    <a:pt x="452" y="360"/>
                  </a:cubicBezTo>
                  <a:cubicBezTo>
                    <a:pt x="454" y="360"/>
                    <a:pt x="456" y="359"/>
                    <a:pt x="458" y="358"/>
                  </a:cubicBezTo>
                  <a:cubicBezTo>
                    <a:pt x="459" y="357"/>
                    <a:pt x="460" y="357"/>
                    <a:pt x="460" y="356"/>
                  </a:cubicBezTo>
                  <a:cubicBezTo>
                    <a:pt x="461" y="355"/>
                    <a:pt x="457" y="353"/>
                    <a:pt x="457" y="352"/>
                  </a:cubicBezTo>
                  <a:cubicBezTo>
                    <a:pt x="455" y="351"/>
                    <a:pt x="453" y="350"/>
                    <a:pt x="452" y="349"/>
                  </a:cubicBezTo>
                  <a:cubicBezTo>
                    <a:pt x="454" y="349"/>
                    <a:pt x="457" y="348"/>
                    <a:pt x="459" y="347"/>
                  </a:cubicBezTo>
                  <a:cubicBezTo>
                    <a:pt x="460" y="346"/>
                    <a:pt x="461" y="344"/>
                    <a:pt x="462" y="344"/>
                  </a:cubicBezTo>
                  <a:cubicBezTo>
                    <a:pt x="464" y="343"/>
                    <a:pt x="464" y="343"/>
                    <a:pt x="465" y="344"/>
                  </a:cubicBezTo>
                  <a:cubicBezTo>
                    <a:pt x="466" y="345"/>
                    <a:pt x="467" y="346"/>
                    <a:pt x="468" y="347"/>
                  </a:cubicBezTo>
                  <a:cubicBezTo>
                    <a:pt x="470" y="347"/>
                    <a:pt x="473" y="351"/>
                    <a:pt x="473" y="353"/>
                  </a:cubicBezTo>
                  <a:cubicBezTo>
                    <a:pt x="472" y="354"/>
                    <a:pt x="472" y="355"/>
                    <a:pt x="471" y="356"/>
                  </a:cubicBezTo>
                  <a:cubicBezTo>
                    <a:pt x="470" y="358"/>
                    <a:pt x="470" y="358"/>
                    <a:pt x="472" y="359"/>
                  </a:cubicBezTo>
                  <a:cubicBezTo>
                    <a:pt x="473" y="359"/>
                    <a:pt x="475" y="360"/>
                    <a:pt x="476" y="361"/>
                  </a:cubicBezTo>
                  <a:cubicBezTo>
                    <a:pt x="476" y="361"/>
                    <a:pt x="476" y="361"/>
                    <a:pt x="476" y="362"/>
                  </a:cubicBezTo>
                  <a:cubicBezTo>
                    <a:pt x="476" y="363"/>
                    <a:pt x="476" y="364"/>
                    <a:pt x="477" y="365"/>
                  </a:cubicBezTo>
                  <a:cubicBezTo>
                    <a:pt x="477" y="365"/>
                    <a:pt x="480" y="365"/>
                    <a:pt x="481" y="365"/>
                  </a:cubicBezTo>
                  <a:cubicBezTo>
                    <a:pt x="482" y="365"/>
                    <a:pt x="483" y="364"/>
                    <a:pt x="484" y="363"/>
                  </a:cubicBezTo>
                  <a:cubicBezTo>
                    <a:pt x="485" y="362"/>
                    <a:pt x="487" y="359"/>
                    <a:pt x="489" y="361"/>
                  </a:cubicBezTo>
                  <a:cubicBezTo>
                    <a:pt x="488" y="360"/>
                    <a:pt x="488" y="357"/>
                    <a:pt x="488" y="356"/>
                  </a:cubicBezTo>
                  <a:cubicBezTo>
                    <a:pt x="489" y="355"/>
                    <a:pt x="492" y="354"/>
                    <a:pt x="491" y="352"/>
                  </a:cubicBezTo>
                  <a:cubicBezTo>
                    <a:pt x="491" y="351"/>
                    <a:pt x="490" y="351"/>
                    <a:pt x="490" y="349"/>
                  </a:cubicBezTo>
                  <a:cubicBezTo>
                    <a:pt x="490" y="346"/>
                    <a:pt x="492" y="345"/>
                    <a:pt x="492" y="343"/>
                  </a:cubicBezTo>
                  <a:cubicBezTo>
                    <a:pt x="493" y="341"/>
                    <a:pt x="492" y="339"/>
                    <a:pt x="493" y="337"/>
                  </a:cubicBezTo>
                  <a:cubicBezTo>
                    <a:pt x="493" y="335"/>
                    <a:pt x="493" y="334"/>
                    <a:pt x="494" y="332"/>
                  </a:cubicBezTo>
                  <a:cubicBezTo>
                    <a:pt x="495" y="330"/>
                    <a:pt x="495" y="328"/>
                    <a:pt x="496" y="326"/>
                  </a:cubicBezTo>
                  <a:cubicBezTo>
                    <a:pt x="496" y="324"/>
                    <a:pt x="496" y="325"/>
                    <a:pt x="496" y="32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9" name="Freeform 110">
              <a:extLst>
                <a:ext uri="{FF2B5EF4-FFF2-40B4-BE49-F238E27FC236}">
                  <a16:creationId xmlns:a16="http://schemas.microsoft.com/office/drawing/2014/main" id="{890ECD51-C8B5-4255-8E0F-A6373B533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4825" y="3700463"/>
              <a:ext cx="23813" cy="61913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9" y="1"/>
                </a:cxn>
                <a:cxn ang="0">
                  <a:pos x="7" y="3"/>
                </a:cxn>
                <a:cxn ang="0">
                  <a:pos x="6" y="6"/>
                </a:cxn>
                <a:cxn ang="0">
                  <a:pos x="5" y="10"/>
                </a:cxn>
                <a:cxn ang="0">
                  <a:pos x="4" y="13"/>
                </a:cxn>
                <a:cxn ang="0">
                  <a:pos x="3" y="15"/>
                </a:cxn>
                <a:cxn ang="0">
                  <a:pos x="3" y="18"/>
                </a:cxn>
                <a:cxn ang="0">
                  <a:pos x="1" y="23"/>
                </a:cxn>
                <a:cxn ang="0">
                  <a:pos x="1" y="27"/>
                </a:cxn>
                <a:cxn ang="0">
                  <a:pos x="1" y="32"/>
                </a:cxn>
                <a:cxn ang="0">
                  <a:pos x="2" y="32"/>
                </a:cxn>
                <a:cxn ang="0">
                  <a:pos x="4" y="31"/>
                </a:cxn>
                <a:cxn ang="0">
                  <a:pos x="4" y="25"/>
                </a:cxn>
                <a:cxn ang="0">
                  <a:pos x="4" y="23"/>
                </a:cxn>
                <a:cxn ang="0">
                  <a:pos x="5" y="20"/>
                </a:cxn>
                <a:cxn ang="0">
                  <a:pos x="6" y="18"/>
                </a:cxn>
                <a:cxn ang="0">
                  <a:pos x="8" y="20"/>
                </a:cxn>
                <a:cxn ang="0">
                  <a:pos x="8" y="21"/>
                </a:cxn>
                <a:cxn ang="0">
                  <a:pos x="10" y="21"/>
                </a:cxn>
                <a:cxn ang="0">
                  <a:pos x="12" y="21"/>
                </a:cxn>
                <a:cxn ang="0">
                  <a:pos x="12" y="18"/>
                </a:cxn>
                <a:cxn ang="0">
                  <a:pos x="9" y="16"/>
                </a:cxn>
                <a:cxn ang="0">
                  <a:pos x="9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8" y="9"/>
                </a:cxn>
                <a:cxn ang="0">
                  <a:pos x="11" y="5"/>
                </a:cxn>
                <a:cxn ang="0">
                  <a:pos x="11" y="4"/>
                </a:cxn>
                <a:cxn ang="0">
                  <a:pos x="11" y="3"/>
                </a:cxn>
              </a:cxnLst>
              <a:rect l="0" t="0" r="r" b="b"/>
              <a:pathLst>
                <a:path w="13" h="33">
                  <a:moveTo>
                    <a:pt x="12" y="2"/>
                  </a:moveTo>
                  <a:cubicBezTo>
                    <a:pt x="12" y="1"/>
                    <a:pt x="10" y="0"/>
                    <a:pt x="9" y="1"/>
                  </a:cubicBezTo>
                  <a:cubicBezTo>
                    <a:pt x="8" y="2"/>
                    <a:pt x="8" y="2"/>
                    <a:pt x="7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7"/>
                    <a:pt x="5" y="8"/>
                    <a:pt x="5" y="10"/>
                  </a:cubicBezTo>
                  <a:cubicBezTo>
                    <a:pt x="4" y="11"/>
                    <a:pt x="4" y="12"/>
                    <a:pt x="4" y="13"/>
                  </a:cubicBezTo>
                  <a:cubicBezTo>
                    <a:pt x="4" y="14"/>
                    <a:pt x="3" y="15"/>
                    <a:pt x="3" y="15"/>
                  </a:cubicBezTo>
                  <a:cubicBezTo>
                    <a:pt x="3" y="16"/>
                    <a:pt x="3" y="17"/>
                    <a:pt x="3" y="18"/>
                  </a:cubicBezTo>
                  <a:cubicBezTo>
                    <a:pt x="2" y="19"/>
                    <a:pt x="2" y="21"/>
                    <a:pt x="1" y="23"/>
                  </a:cubicBezTo>
                  <a:cubicBezTo>
                    <a:pt x="1" y="24"/>
                    <a:pt x="1" y="26"/>
                    <a:pt x="1" y="27"/>
                  </a:cubicBezTo>
                  <a:cubicBezTo>
                    <a:pt x="1" y="29"/>
                    <a:pt x="0" y="31"/>
                    <a:pt x="1" y="32"/>
                  </a:cubicBezTo>
                  <a:cubicBezTo>
                    <a:pt x="1" y="33"/>
                    <a:pt x="2" y="32"/>
                    <a:pt x="2" y="32"/>
                  </a:cubicBezTo>
                  <a:cubicBezTo>
                    <a:pt x="3" y="32"/>
                    <a:pt x="3" y="32"/>
                    <a:pt x="4" y="31"/>
                  </a:cubicBezTo>
                  <a:cubicBezTo>
                    <a:pt x="4" y="29"/>
                    <a:pt x="3" y="27"/>
                    <a:pt x="4" y="25"/>
                  </a:cubicBezTo>
                  <a:cubicBezTo>
                    <a:pt x="4" y="24"/>
                    <a:pt x="4" y="24"/>
                    <a:pt x="4" y="23"/>
                  </a:cubicBezTo>
                  <a:cubicBezTo>
                    <a:pt x="5" y="22"/>
                    <a:pt x="5" y="21"/>
                    <a:pt x="5" y="20"/>
                  </a:cubicBezTo>
                  <a:cubicBezTo>
                    <a:pt x="5" y="19"/>
                    <a:pt x="5" y="18"/>
                    <a:pt x="6" y="18"/>
                  </a:cubicBezTo>
                  <a:cubicBezTo>
                    <a:pt x="7" y="19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1" y="21"/>
                    <a:pt x="11" y="21"/>
                    <a:pt x="12" y="21"/>
                  </a:cubicBezTo>
                  <a:cubicBezTo>
                    <a:pt x="12" y="20"/>
                    <a:pt x="13" y="19"/>
                    <a:pt x="12" y="18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8" y="15"/>
                    <a:pt x="9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8" y="8"/>
                    <a:pt x="10" y="6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0" name="Freeform 111">
              <a:extLst>
                <a:ext uri="{FF2B5EF4-FFF2-40B4-BE49-F238E27FC236}">
                  <a16:creationId xmlns:a16="http://schemas.microsoft.com/office/drawing/2014/main" id="{8CC485EB-AFC4-4C54-874C-1CC1B2868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2288" y="3754438"/>
              <a:ext cx="17463" cy="17463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4" y="8"/>
                </a:cxn>
                <a:cxn ang="0">
                  <a:pos x="9" y="8"/>
                </a:cxn>
                <a:cxn ang="0">
                  <a:pos x="9" y="4"/>
                </a:cxn>
                <a:cxn ang="0">
                  <a:pos x="8" y="2"/>
                </a:cxn>
                <a:cxn ang="0">
                  <a:pos x="7" y="1"/>
                </a:cxn>
              </a:cxnLst>
              <a:rect l="0" t="0" r="r" b="b"/>
              <a:pathLst>
                <a:path w="9" h="9">
                  <a:moveTo>
                    <a:pt x="6" y="1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6"/>
                    <a:pt x="3" y="7"/>
                    <a:pt x="4" y="8"/>
                  </a:cubicBezTo>
                  <a:cubicBezTo>
                    <a:pt x="5" y="8"/>
                    <a:pt x="8" y="9"/>
                    <a:pt x="9" y="8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8" y="1"/>
                    <a:pt x="8" y="1"/>
                    <a:pt x="7" y="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1" name="Freeform 112">
              <a:extLst>
                <a:ext uri="{FF2B5EF4-FFF2-40B4-BE49-F238E27FC236}">
                  <a16:creationId xmlns:a16="http://schemas.microsoft.com/office/drawing/2014/main" id="{DBFA0E78-5F2D-49BA-9188-BC2F619D52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763" y="3773488"/>
              <a:ext cx="7938" cy="79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2" name="Freeform 113">
              <a:extLst>
                <a:ext uri="{FF2B5EF4-FFF2-40B4-BE49-F238E27FC236}">
                  <a16:creationId xmlns:a16="http://schemas.microsoft.com/office/drawing/2014/main" id="{940AA05F-89A0-4084-89BA-564AAEC4D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925" y="3792538"/>
              <a:ext cx="7938" cy="9525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1" y="5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2" y="1"/>
                </a:cxn>
              </a:cxnLst>
              <a:rect l="0" t="0" r="r" b="b"/>
              <a:pathLst>
                <a:path w="4" h="5">
                  <a:moveTo>
                    <a:pt x="3" y="1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5"/>
                    <a:pt x="2" y="5"/>
                    <a:pt x="3" y="4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3" name="Freeform 114">
              <a:extLst>
                <a:ext uri="{FF2B5EF4-FFF2-40B4-BE49-F238E27FC236}">
                  <a16:creationId xmlns:a16="http://schemas.microsoft.com/office/drawing/2014/main" id="{7011CB7A-8117-4A65-8270-13D8B7D32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3949700"/>
              <a:ext cx="17463" cy="952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1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8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5">
                  <a:moveTo>
                    <a:pt x="7" y="0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4" y="5"/>
                    <a:pt x="7" y="4"/>
                    <a:pt x="8" y="2"/>
                  </a:cubicBezTo>
                  <a:cubicBezTo>
                    <a:pt x="9" y="1"/>
                    <a:pt x="7" y="0"/>
                    <a:pt x="5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4" name="Freeform 115">
              <a:extLst>
                <a:ext uri="{FF2B5EF4-FFF2-40B4-BE49-F238E27FC236}">
                  <a16:creationId xmlns:a16="http://schemas.microsoft.com/office/drawing/2014/main" id="{91740CBD-5E62-4815-A306-EC02C000F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5125" y="3938588"/>
              <a:ext cx="26988" cy="4763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6" y="1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7" y="3"/>
                </a:cxn>
                <a:cxn ang="0">
                  <a:pos x="13" y="2"/>
                </a:cxn>
                <a:cxn ang="0">
                  <a:pos x="14" y="1"/>
                </a:cxn>
                <a:cxn ang="0">
                  <a:pos x="12" y="0"/>
                </a:cxn>
              </a:cxnLst>
              <a:rect l="0" t="0" r="r" b="b"/>
              <a:pathLst>
                <a:path w="14" h="3">
                  <a:moveTo>
                    <a:pt x="12" y="0"/>
                  </a:moveTo>
                  <a:cubicBezTo>
                    <a:pt x="10" y="1"/>
                    <a:pt x="8" y="1"/>
                    <a:pt x="6" y="1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5" y="3"/>
                    <a:pt x="6" y="3"/>
                    <a:pt x="7" y="3"/>
                  </a:cubicBezTo>
                  <a:cubicBezTo>
                    <a:pt x="9" y="2"/>
                    <a:pt x="11" y="2"/>
                    <a:pt x="13" y="2"/>
                  </a:cubicBezTo>
                  <a:cubicBezTo>
                    <a:pt x="13" y="1"/>
                    <a:pt x="14" y="1"/>
                    <a:pt x="14" y="1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5" name="Freeform 116">
              <a:extLst>
                <a:ext uri="{FF2B5EF4-FFF2-40B4-BE49-F238E27FC236}">
                  <a16:creationId xmlns:a16="http://schemas.microsoft.com/office/drawing/2014/main" id="{144C45F7-28FD-4318-84CF-76AFDBC8A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513" y="3927475"/>
              <a:ext cx="17463" cy="31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1"/>
                </a:cxn>
                <a:cxn ang="0">
                  <a:pos x="9" y="1"/>
                </a:cxn>
                <a:cxn ang="0">
                  <a:pos x="7" y="0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8" y="1"/>
                    <a:pt x="9" y="1"/>
                    <a:pt x="9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6" name="Freeform 117">
              <a:extLst>
                <a:ext uri="{FF2B5EF4-FFF2-40B4-BE49-F238E27FC236}">
                  <a16:creationId xmlns:a16="http://schemas.microsoft.com/office/drawing/2014/main" id="{7E8167BB-3AC0-4D91-964D-8B86286CD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875" y="3932238"/>
              <a:ext cx="17463" cy="158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7" y="0"/>
                </a:cxn>
              </a:cxnLst>
              <a:rect l="0" t="0" r="r" b="b"/>
              <a:pathLst>
                <a:path w="9" h="1">
                  <a:moveTo>
                    <a:pt x="7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6" y="1"/>
                    <a:pt x="7" y="0"/>
                  </a:cubicBezTo>
                  <a:cubicBezTo>
                    <a:pt x="7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7" name="Freeform 118">
              <a:extLst>
                <a:ext uri="{FF2B5EF4-FFF2-40B4-BE49-F238E27FC236}">
                  <a16:creationId xmlns:a16="http://schemas.microsoft.com/office/drawing/2014/main" id="{F75E7197-1426-46A3-BD7F-6ACEFACF8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913" y="3919538"/>
              <a:ext cx="23813" cy="7938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7" y="0"/>
                </a:cxn>
                <a:cxn ang="0">
                  <a:pos x="1" y="2"/>
                </a:cxn>
                <a:cxn ang="0">
                  <a:pos x="2" y="4"/>
                </a:cxn>
                <a:cxn ang="0">
                  <a:pos x="5" y="4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0" y="0"/>
                </a:cxn>
              </a:cxnLst>
              <a:rect l="0" t="0" r="r" b="b"/>
              <a:pathLst>
                <a:path w="13" h="4">
                  <a:moveTo>
                    <a:pt x="10" y="0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3" y="1"/>
                    <a:pt x="1" y="2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7" y="4"/>
                    <a:pt x="8" y="3"/>
                    <a:pt x="10" y="2"/>
                  </a:cubicBezTo>
                  <a:cubicBezTo>
                    <a:pt x="11" y="2"/>
                    <a:pt x="13" y="2"/>
                    <a:pt x="13" y="0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8" name="Freeform 119">
              <a:extLst>
                <a:ext uri="{FF2B5EF4-FFF2-40B4-BE49-F238E27FC236}">
                  <a16:creationId xmlns:a16="http://schemas.microsoft.com/office/drawing/2014/main" id="{1F976890-7FC4-472C-A4A6-2244155FA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75" y="3919538"/>
              <a:ext cx="19050" cy="31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5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8" y="1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1" h="2">
                  <a:moveTo>
                    <a:pt x="8" y="0"/>
                  </a:move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1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3" y="2"/>
                    <a:pt x="3" y="2"/>
                  </a:cubicBezTo>
                  <a:cubicBezTo>
                    <a:pt x="5" y="2"/>
                    <a:pt x="7" y="2"/>
                    <a:pt x="8" y="1"/>
                  </a:cubicBezTo>
                  <a:cubicBezTo>
                    <a:pt x="9" y="1"/>
                    <a:pt x="11" y="1"/>
                    <a:pt x="10" y="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9" name="Line 120">
              <a:extLst>
                <a:ext uri="{FF2B5EF4-FFF2-40B4-BE49-F238E27FC236}">
                  <a16:creationId xmlns:a16="http://schemas.microsoft.com/office/drawing/2014/main" id="{AF1E028F-D025-45EF-8385-91E79DFA58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0" name="Line 121">
              <a:extLst>
                <a:ext uri="{FF2B5EF4-FFF2-40B4-BE49-F238E27FC236}">
                  <a16:creationId xmlns:a16="http://schemas.microsoft.com/office/drawing/2014/main" id="{22545B06-D58C-4CED-A1B4-4EA3E28BAA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1" name="Line 122">
              <a:extLst>
                <a:ext uri="{FF2B5EF4-FFF2-40B4-BE49-F238E27FC236}">
                  <a16:creationId xmlns:a16="http://schemas.microsoft.com/office/drawing/2014/main" id="{3F48CC50-7F26-4334-B94C-5E40CDE89A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2" name="Line 123">
              <a:extLst>
                <a:ext uri="{FF2B5EF4-FFF2-40B4-BE49-F238E27FC236}">
                  <a16:creationId xmlns:a16="http://schemas.microsoft.com/office/drawing/2014/main" id="{47DA170C-4D4E-46FC-B1F1-1A48E97C34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3" name="Freeform 124">
              <a:extLst>
                <a:ext uri="{FF2B5EF4-FFF2-40B4-BE49-F238E27FC236}">
                  <a16:creationId xmlns:a16="http://schemas.microsoft.com/office/drawing/2014/main" id="{601FFB86-35CA-4694-9380-C01FE525B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7100" y="3800475"/>
              <a:ext cx="57150" cy="25400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6" y="2"/>
                </a:cxn>
                <a:cxn ang="0">
                  <a:pos x="9" y="1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0" y="13"/>
                </a:cxn>
                <a:cxn ang="0">
                  <a:pos x="1" y="14"/>
                </a:cxn>
                <a:cxn ang="0">
                  <a:pos x="3" y="13"/>
                </a:cxn>
                <a:cxn ang="0">
                  <a:pos x="3" y="12"/>
                </a:cxn>
                <a:cxn ang="0">
                  <a:pos x="5" y="11"/>
                </a:cxn>
                <a:cxn ang="0">
                  <a:pos x="7" y="9"/>
                </a:cxn>
                <a:cxn ang="0">
                  <a:pos x="9" y="8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4" y="8"/>
                </a:cxn>
                <a:cxn ang="0">
                  <a:pos x="21" y="8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24" y="4"/>
                </a:cxn>
                <a:cxn ang="0">
                  <a:pos x="21" y="4"/>
                </a:cxn>
              </a:cxnLst>
              <a:rect l="0" t="0" r="r" b="b"/>
              <a:pathLst>
                <a:path w="31" h="14">
                  <a:moveTo>
                    <a:pt x="21" y="3"/>
                  </a:moveTo>
                  <a:cubicBezTo>
                    <a:pt x="20" y="3"/>
                    <a:pt x="18" y="2"/>
                    <a:pt x="16" y="2"/>
                  </a:cubicBezTo>
                  <a:cubicBezTo>
                    <a:pt x="14" y="1"/>
                    <a:pt x="11" y="0"/>
                    <a:pt x="9" y="1"/>
                  </a:cubicBezTo>
                  <a:cubicBezTo>
                    <a:pt x="7" y="2"/>
                    <a:pt x="5" y="4"/>
                    <a:pt x="4" y="5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8"/>
                    <a:pt x="1" y="9"/>
                    <a:pt x="1" y="9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2" y="14"/>
                    <a:pt x="2" y="14"/>
                    <a:pt x="3" y="13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4" y="12"/>
                    <a:pt x="4" y="11"/>
                    <a:pt x="5" y="11"/>
                  </a:cubicBezTo>
                  <a:cubicBezTo>
                    <a:pt x="6" y="11"/>
                    <a:pt x="6" y="10"/>
                    <a:pt x="7" y="9"/>
                  </a:cubicBezTo>
                  <a:cubicBezTo>
                    <a:pt x="8" y="9"/>
                    <a:pt x="9" y="9"/>
                    <a:pt x="9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4" y="8"/>
                    <a:pt x="13" y="8"/>
                    <a:pt x="14" y="8"/>
                  </a:cubicBezTo>
                  <a:cubicBezTo>
                    <a:pt x="17" y="9"/>
                    <a:pt x="19" y="8"/>
                    <a:pt x="21" y="8"/>
                  </a:cubicBezTo>
                  <a:cubicBezTo>
                    <a:pt x="23" y="8"/>
                    <a:pt x="31" y="9"/>
                    <a:pt x="31" y="6"/>
                  </a:cubicBezTo>
                  <a:cubicBezTo>
                    <a:pt x="30" y="4"/>
                    <a:pt x="29" y="4"/>
                    <a:pt x="27" y="4"/>
                  </a:cubicBezTo>
                  <a:cubicBezTo>
                    <a:pt x="26" y="4"/>
                    <a:pt x="25" y="4"/>
                    <a:pt x="24" y="4"/>
                  </a:cubicBezTo>
                  <a:cubicBezTo>
                    <a:pt x="23" y="4"/>
                    <a:pt x="22" y="4"/>
                    <a:pt x="21" y="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4" name="Freeform 125">
              <a:extLst>
                <a:ext uri="{FF2B5EF4-FFF2-40B4-BE49-F238E27FC236}">
                  <a16:creationId xmlns:a16="http://schemas.microsoft.com/office/drawing/2014/main" id="{88FDE21D-E6A8-4038-A390-5CD648CAF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663" y="6724650"/>
              <a:ext cx="238125" cy="133350"/>
            </a:xfrm>
            <a:custGeom>
              <a:avLst/>
              <a:gdLst/>
              <a:ahLst/>
              <a:cxnLst>
                <a:cxn ang="0">
                  <a:pos x="123" y="0"/>
                </a:cxn>
                <a:cxn ang="0">
                  <a:pos x="115" y="3"/>
                </a:cxn>
                <a:cxn ang="0">
                  <a:pos x="106" y="6"/>
                </a:cxn>
                <a:cxn ang="0">
                  <a:pos x="94" y="11"/>
                </a:cxn>
                <a:cxn ang="0">
                  <a:pos x="85" y="16"/>
                </a:cxn>
                <a:cxn ang="0">
                  <a:pos x="81" y="18"/>
                </a:cxn>
                <a:cxn ang="0">
                  <a:pos x="74" y="20"/>
                </a:cxn>
                <a:cxn ang="0">
                  <a:pos x="68" y="21"/>
                </a:cxn>
                <a:cxn ang="0">
                  <a:pos x="64" y="22"/>
                </a:cxn>
                <a:cxn ang="0">
                  <a:pos x="58" y="21"/>
                </a:cxn>
                <a:cxn ang="0">
                  <a:pos x="53" y="21"/>
                </a:cxn>
                <a:cxn ang="0">
                  <a:pos x="38" y="20"/>
                </a:cxn>
                <a:cxn ang="0">
                  <a:pos x="35" y="34"/>
                </a:cxn>
                <a:cxn ang="0">
                  <a:pos x="33" y="34"/>
                </a:cxn>
                <a:cxn ang="0">
                  <a:pos x="28" y="36"/>
                </a:cxn>
                <a:cxn ang="0">
                  <a:pos x="21" y="36"/>
                </a:cxn>
                <a:cxn ang="0">
                  <a:pos x="15" y="36"/>
                </a:cxn>
                <a:cxn ang="0">
                  <a:pos x="9" y="39"/>
                </a:cxn>
                <a:cxn ang="0">
                  <a:pos x="2" y="40"/>
                </a:cxn>
                <a:cxn ang="0">
                  <a:pos x="2" y="45"/>
                </a:cxn>
                <a:cxn ang="0">
                  <a:pos x="1" y="53"/>
                </a:cxn>
                <a:cxn ang="0">
                  <a:pos x="8" y="60"/>
                </a:cxn>
                <a:cxn ang="0">
                  <a:pos x="11" y="62"/>
                </a:cxn>
                <a:cxn ang="0">
                  <a:pos x="12" y="64"/>
                </a:cxn>
                <a:cxn ang="0">
                  <a:pos x="20" y="71"/>
                </a:cxn>
                <a:cxn ang="0">
                  <a:pos x="22" y="70"/>
                </a:cxn>
                <a:cxn ang="0">
                  <a:pos x="29" y="67"/>
                </a:cxn>
                <a:cxn ang="0">
                  <a:pos x="37" y="68"/>
                </a:cxn>
                <a:cxn ang="0">
                  <a:pos x="52" y="67"/>
                </a:cxn>
                <a:cxn ang="0">
                  <a:pos x="58" y="66"/>
                </a:cxn>
                <a:cxn ang="0">
                  <a:pos x="66" y="66"/>
                </a:cxn>
                <a:cxn ang="0">
                  <a:pos x="69" y="58"/>
                </a:cxn>
                <a:cxn ang="0">
                  <a:pos x="76" y="52"/>
                </a:cxn>
                <a:cxn ang="0">
                  <a:pos x="91" y="52"/>
                </a:cxn>
                <a:cxn ang="0">
                  <a:pos x="97" y="51"/>
                </a:cxn>
                <a:cxn ang="0">
                  <a:pos x="99" y="50"/>
                </a:cxn>
                <a:cxn ang="0">
                  <a:pos x="101" y="48"/>
                </a:cxn>
                <a:cxn ang="0">
                  <a:pos x="94" y="39"/>
                </a:cxn>
                <a:cxn ang="0">
                  <a:pos x="93" y="38"/>
                </a:cxn>
                <a:cxn ang="0">
                  <a:pos x="93" y="37"/>
                </a:cxn>
                <a:cxn ang="0">
                  <a:pos x="93" y="34"/>
                </a:cxn>
                <a:cxn ang="0">
                  <a:pos x="94" y="29"/>
                </a:cxn>
                <a:cxn ang="0">
                  <a:pos x="97" y="27"/>
                </a:cxn>
                <a:cxn ang="0">
                  <a:pos x="100" y="25"/>
                </a:cxn>
                <a:cxn ang="0">
                  <a:pos x="104" y="24"/>
                </a:cxn>
                <a:cxn ang="0">
                  <a:pos x="111" y="19"/>
                </a:cxn>
                <a:cxn ang="0">
                  <a:pos x="120" y="10"/>
                </a:cxn>
                <a:cxn ang="0">
                  <a:pos x="125" y="4"/>
                </a:cxn>
                <a:cxn ang="0">
                  <a:pos x="126" y="2"/>
                </a:cxn>
                <a:cxn ang="0">
                  <a:pos x="128" y="0"/>
                </a:cxn>
                <a:cxn ang="0">
                  <a:pos x="123" y="0"/>
                </a:cxn>
              </a:cxnLst>
              <a:rect l="0" t="0" r="r" b="b"/>
              <a:pathLst>
                <a:path w="128" h="71">
                  <a:moveTo>
                    <a:pt x="123" y="0"/>
                  </a:moveTo>
                  <a:cubicBezTo>
                    <a:pt x="120" y="0"/>
                    <a:pt x="117" y="2"/>
                    <a:pt x="115" y="3"/>
                  </a:cubicBezTo>
                  <a:cubicBezTo>
                    <a:pt x="112" y="4"/>
                    <a:pt x="109" y="5"/>
                    <a:pt x="106" y="6"/>
                  </a:cubicBezTo>
                  <a:cubicBezTo>
                    <a:pt x="103" y="9"/>
                    <a:pt x="98" y="10"/>
                    <a:pt x="94" y="11"/>
                  </a:cubicBezTo>
                  <a:cubicBezTo>
                    <a:pt x="91" y="12"/>
                    <a:pt x="88" y="14"/>
                    <a:pt x="85" y="16"/>
                  </a:cubicBezTo>
                  <a:cubicBezTo>
                    <a:pt x="83" y="16"/>
                    <a:pt x="82" y="17"/>
                    <a:pt x="81" y="18"/>
                  </a:cubicBezTo>
                  <a:cubicBezTo>
                    <a:pt x="79" y="19"/>
                    <a:pt x="76" y="19"/>
                    <a:pt x="74" y="20"/>
                  </a:cubicBezTo>
                  <a:cubicBezTo>
                    <a:pt x="72" y="21"/>
                    <a:pt x="70" y="21"/>
                    <a:pt x="68" y="21"/>
                  </a:cubicBezTo>
                  <a:cubicBezTo>
                    <a:pt x="66" y="21"/>
                    <a:pt x="65" y="22"/>
                    <a:pt x="64" y="22"/>
                  </a:cubicBezTo>
                  <a:cubicBezTo>
                    <a:pt x="62" y="22"/>
                    <a:pt x="60" y="21"/>
                    <a:pt x="58" y="21"/>
                  </a:cubicBezTo>
                  <a:cubicBezTo>
                    <a:pt x="56" y="21"/>
                    <a:pt x="55" y="21"/>
                    <a:pt x="53" y="21"/>
                  </a:cubicBezTo>
                  <a:cubicBezTo>
                    <a:pt x="48" y="21"/>
                    <a:pt x="43" y="19"/>
                    <a:pt x="38" y="20"/>
                  </a:cubicBezTo>
                  <a:cubicBezTo>
                    <a:pt x="37" y="24"/>
                    <a:pt x="41" y="33"/>
                    <a:pt x="35" y="34"/>
                  </a:cubicBezTo>
                  <a:cubicBezTo>
                    <a:pt x="34" y="35"/>
                    <a:pt x="33" y="35"/>
                    <a:pt x="33" y="34"/>
                  </a:cubicBezTo>
                  <a:cubicBezTo>
                    <a:pt x="31" y="35"/>
                    <a:pt x="30" y="35"/>
                    <a:pt x="28" y="36"/>
                  </a:cubicBezTo>
                  <a:cubicBezTo>
                    <a:pt x="26" y="36"/>
                    <a:pt x="23" y="37"/>
                    <a:pt x="21" y="36"/>
                  </a:cubicBezTo>
                  <a:cubicBezTo>
                    <a:pt x="19" y="35"/>
                    <a:pt x="17" y="33"/>
                    <a:pt x="15" y="36"/>
                  </a:cubicBezTo>
                  <a:cubicBezTo>
                    <a:pt x="14" y="39"/>
                    <a:pt x="12" y="40"/>
                    <a:pt x="9" y="39"/>
                  </a:cubicBezTo>
                  <a:cubicBezTo>
                    <a:pt x="6" y="39"/>
                    <a:pt x="3" y="36"/>
                    <a:pt x="2" y="40"/>
                  </a:cubicBezTo>
                  <a:cubicBezTo>
                    <a:pt x="2" y="42"/>
                    <a:pt x="3" y="43"/>
                    <a:pt x="2" y="45"/>
                  </a:cubicBezTo>
                  <a:cubicBezTo>
                    <a:pt x="2" y="48"/>
                    <a:pt x="0" y="50"/>
                    <a:pt x="1" y="53"/>
                  </a:cubicBezTo>
                  <a:cubicBezTo>
                    <a:pt x="2" y="57"/>
                    <a:pt x="5" y="58"/>
                    <a:pt x="8" y="60"/>
                  </a:cubicBezTo>
                  <a:cubicBezTo>
                    <a:pt x="9" y="61"/>
                    <a:pt x="10" y="61"/>
                    <a:pt x="11" y="62"/>
                  </a:cubicBezTo>
                  <a:cubicBezTo>
                    <a:pt x="12" y="63"/>
                    <a:pt x="11" y="61"/>
                    <a:pt x="12" y="64"/>
                  </a:cubicBezTo>
                  <a:cubicBezTo>
                    <a:pt x="14" y="66"/>
                    <a:pt x="16" y="71"/>
                    <a:pt x="20" y="71"/>
                  </a:cubicBezTo>
                  <a:cubicBezTo>
                    <a:pt x="20" y="70"/>
                    <a:pt x="21" y="70"/>
                    <a:pt x="22" y="70"/>
                  </a:cubicBezTo>
                  <a:cubicBezTo>
                    <a:pt x="24" y="69"/>
                    <a:pt x="27" y="68"/>
                    <a:pt x="29" y="67"/>
                  </a:cubicBezTo>
                  <a:cubicBezTo>
                    <a:pt x="32" y="67"/>
                    <a:pt x="34" y="67"/>
                    <a:pt x="37" y="68"/>
                  </a:cubicBezTo>
                  <a:cubicBezTo>
                    <a:pt x="42" y="70"/>
                    <a:pt x="47" y="69"/>
                    <a:pt x="52" y="67"/>
                  </a:cubicBezTo>
                  <a:cubicBezTo>
                    <a:pt x="54" y="66"/>
                    <a:pt x="56" y="66"/>
                    <a:pt x="58" y="66"/>
                  </a:cubicBezTo>
                  <a:cubicBezTo>
                    <a:pt x="60" y="66"/>
                    <a:pt x="64" y="67"/>
                    <a:pt x="66" y="66"/>
                  </a:cubicBezTo>
                  <a:cubicBezTo>
                    <a:pt x="69" y="65"/>
                    <a:pt x="68" y="60"/>
                    <a:pt x="69" y="58"/>
                  </a:cubicBezTo>
                  <a:cubicBezTo>
                    <a:pt x="70" y="55"/>
                    <a:pt x="72" y="52"/>
                    <a:pt x="76" y="52"/>
                  </a:cubicBezTo>
                  <a:cubicBezTo>
                    <a:pt x="81" y="51"/>
                    <a:pt x="86" y="53"/>
                    <a:pt x="91" y="52"/>
                  </a:cubicBezTo>
                  <a:cubicBezTo>
                    <a:pt x="94" y="52"/>
                    <a:pt x="95" y="51"/>
                    <a:pt x="97" y="51"/>
                  </a:cubicBezTo>
                  <a:cubicBezTo>
                    <a:pt x="97" y="50"/>
                    <a:pt x="98" y="50"/>
                    <a:pt x="99" y="50"/>
                  </a:cubicBezTo>
                  <a:cubicBezTo>
                    <a:pt x="100" y="50"/>
                    <a:pt x="101" y="49"/>
                    <a:pt x="101" y="48"/>
                  </a:cubicBezTo>
                  <a:cubicBezTo>
                    <a:pt x="99" y="45"/>
                    <a:pt x="96" y="43"/>
                    <a:pt x="94" y="39"/>
                  </a:cubicBezTo>
                  <a:cubicBezTo>
                    <a:pt x="94" y="39"/>
                    <a:pt x="94" y="39"/>
                    <a:pt x="93" y="38"/>
                  </a:cubicBezTo>
                  <a:cubicBezTo>
                    <a:pt x="93" y="38"/>
                    <a:pt x="93" y="37"/>
                    <a:pt x="93" y="37"/>
                  </a:cubicBezTo>
                  <a:cubicBezTo>
                    <a:pt x="93" y="36"/>
                    <a:pt x="93" y="35"/>
                    <a:pt x="93" y="34"/>
                  </a:cubicBezTo>
                  <a:cubicBezTo>
                    <a:pt x="93" y="32"/>
                    <a:pt x="93" y="30"/>
                    <a:pt x="94" y="29"/>
                  </a:cubicBezTo>
                  <a:cubicBezTo>
                    <a:pt x="94" y="28"/>
                    <a:pt x="96" y="27"/>
                    <a:pt x="97" y="27"/>
                  </a:cubicBezTo>
                  <a:cubicBezTo>
                    <a:pt x="98" y="25"/>
                    <a:pt x="98" y="25"/>
                    <a:pt x="100" y="25"/>
                  </a:cubicBezTo>
                  <a:cubicBezTo>
                    <a:pt x="101" y="24"/>
                    <a:pt x="103" y="24"/>
                    <a:pt x="104" y="24"/>
                  </a:cubicBezTo>
                  <a:cubicBezTo>
                    <a:pt x="107" y="23"/>
                    <a:pt x="109" y="22"/>
                    <a:pt x="111" y="19"/>
                  </a:cubicBezTo>
                  <a:cubicBezTo>
                    <a:pt x="114" y="16"/>
                    <a:pt x="116" y="13"/>
                    <a:pt x="120" y="10"/>
                  </a:cubicBezTo>
                  <a:cubicBezTo>
                    <a:pt x="122" y="8"/>
                    <a:pt x="123" y="7"/>
                    <a:pt x="125" y="4"/>
                  </a:cubicBezTo>
                  <a:cubicBezTo>
                    <a:pt x="125" y="4"/>
                    <a:pt x="126" y="3"/>
                    <a:pt x="126" y="2"/>
                  </a:cubicBezTo>
                  <a:cubicBezTo>
                    <a:pt x="127" y="2"/>
                    <a:pt x="128" y="0"/>
                    <a:pt x="128" y="0"/>
                  </a:cubicBezTo>
                  <a:lnTo>
                    <a:pt x="12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5" name="Freeform 126">
              <a:extLst>
                <a:ext uri="{FF2B5EF4-FFF2-40B4-BE49-F238E27FC236}">
                  <a16:creationId xmlns:a16="http://schemas.microsoft.com/office/drawing/2014/main" id="{6FB0E9AB-95DC-4CF0-9E5A-6B67EA391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8963" y="109538"/>
              <a:ext cx="185738" cy="114300"/>
            </a:xfrm>
            <a:custGeom>
              <a:avLst/>
              <a:gdLst/>
              <a:ahLst/>
              <a:cxnLst>
                <a:cxn ang="0">
                  <a:pos x="30" y="33"/>
                </a:cxn>
                <a:cxn ang="0">
                  <a:pos x="25" y="40"/>
                </a:cxn>
                <a:cxn ang="0">
                  <a:pos x="8" y="58"/>
                </a:cxn>
                <a:cxn ang="0">
                  <a:pos x="21" y="56"/>
                </a:cxn>
                <a:cxn ang="0">
                  <a:pos x="48" y="48"/>
                </a:cxn>
                <a:cxn ang="0">
                  <a:pos x="53" y="49"/>
                </a:cxn>
                <a:cxn ang="0">
                  <a:pos x="62" y="46"/>
                </a:cxn>
                <a:cxn ang="0">
                  <a:pos x="66" y="38"/>
                </a:cxn>
                <a:cxn ang="0">
                  <a:pos x="78" y="26"/>
                </a:cxn>
                <a:cxn ang="0">
                  <a:pos x="95" y="2"/>
                </a:cxn>
                <a:cxn ang="0">
                  <a:pos x="83" y="1"/>
                </a:cxn>
                <a:cxn ang="0">
                  <a:pos x="80" y="8"/>
                </a:cxn>
                <a:cxn ang="0">
                  <a:pos x="72" y="5"/>
                </a:cxn>
                <a:cxn ang="0">
                  <a:pos x="65" y="19"/>
                </a:cxn>
                <a:cxn ang="0">
                  <a:pos x="50" y="11"/>
                </a:cxn>
                <a:cxn ang="0">
                  <a:pos x="49" y="24"/>
                </a:cxn>
                <a:cxn ang="0">
                  <a:pos x="42" y="27"/>
                </a:cxn>
                <a:cxn ang="0">
                  <a:pos x="39" y="19"/>
                </a:cxn>
                <a:cxn ang="0">
                  <a:pos x="30" y="30"/>
                </a:cxn>
                <a:cxn ang="0">
                  <a:pos x="13" y="29"/>
                </a:cxn>
                <a:cxn ang="0">
                  <a:pos x="6" y="26"/>
                </a:cxn>
                <a:cxn ang="0">
                  <a:pos x="13" y="33"/>
                </a:cxn>
                <a:cxn ang="0">
                  <a:pos x="30" y="33"/>
                </a:cxn>
              </a:cxnLst>
              <a:rect l="0" t="0" r="r" b="b"/>
              <a:pathLst>
                <a:path w="99" h="61">
                  <a:moveTo>
                    <a:pt x="30" y="33"/>
                  </a:moveTo>
                  <a:cubicBezTo>
                    <a:pt x="27" y="35"/>
                    <a:pt x="26" y="37"/>
                    <a:pt x="25" y="40"/>
                  </a:cubicBezTo>
                  <a:cubicBezTo>
                    <a:pt x="20" y="47"/>
                    <a:pt x="14" y="52"/>
                    <a:pt x="8" y="58"/>
                  </a:cubicBezTo>
                  <a:cubicBezTo>
                    <a:pt x="12" y="61"/>
                    <a:pt x="17" y="58"/>
                    <a:pt x="21" y="56"/>
                  </a:cubicBezTo>
                  <a:cubicBezTo>
                    <a:pt x="30" y="52"/>
                    <a:pt x="37" y="45"/>
                    <a:pt x="48" y="48"/>
                  </a:cubicBezTo>
                  <a:cubicBezTo>
                    <a:pt x="50" y="49"/>
                    <a:pt x="51" y="50"/>
                    <a:pt x="53" y="49"/>
                  </a:cubicBezTo>
                  <a:cubicBezTo>
                    <a:pt x="55" y="49"/>
                    <a:pt x="61" y="40"/>
                    <a:pt x="62" y="46"/>
                  </a:cubicBezTo>
                  <a:cubicBezTo>
                    <a:pt x="64" y="44"/>
                    <a:pt x="64" y="41"/>
                    <a:pt x="66" y="38"/>
                  </a:cubicBezTo>
                  <a:cubicBezTo>
                    <a:pt x="70" y="34"/>
                    <a:pt x="74" y="30"/>
                    <a:pt x="78" y="26"/>
                  </a:cubicBezTo>
                  <a:cubicBezTo>
                    <a:pt x="82" y="21"/>
                    <a:pt x="99" y="10"/>
                    <a:pt x="95" y="2"/>
                  </a:cubicBezTo>
                  <a:cubicBezTo>
                    <a:pt x="91" y="0"/>
                    <a:pt x="87" y="0"/>
                    <a:pt x="83" y="1"/>
                  </a:cubicBezTo>
                  <a:cubicBezTo>
                    <a:pt x="79" y="4"/>
                    <a:pt x="80" y="5"/>
                    <a:pt x="80" y="8"/>
                  </a:cubicBezTo>
                  <a:cubicBezTo>
                    <a:pt x="76" y="10"/>
                    <a:pt x="75" y="4"/>
                    <a:pt x="72" y="5"/>
                  </a:cubicBezTo>
                  <a:cubicBezTo>
                    <a:pt x="70" y="12"/>
                    <a:pt x="74" y="17"/>
                    <a:pt x="65" y="19"/>
                  </a:cubicBezTo>
                  <a:cubicBezTo>
                    <a:pt x="57" y="20"/>
                    <a:pt x="58" y="10"/>
                    <a:pt x="50" y="11"/>
                  </a:cubicBezTo>
                  <a:cubicBezTo>
                    <a:pt x="49" y="16"/>
                    <a:pt x="54" y="20"/>
                    <a:pt x="49" y="24"/>
                  </a:cubicBezTo>
                  <a:cubicBezTo>
                    <a:pt x="48" y="26"/>
                    <a:pt x="45" y="27"/>
                    <a:pt x="42" y="27"/>
                  </a:cubicBezTo>
                  <a:cubicBezTo>
                    <a:pt x="36" y="25"/>
                    <a:pt x="42" y="22"/>
                    <a:pt x="39" y="19"/>
                  </a:cubicBezTo>
                  <a:cubicBezTo>
                    <a:pt x="33" y="12"/>
                    <a:pt x="30" y="26"/>
                    <a:pt x="30" y="30"/>
                  </a:cubicBezTo>
                  <a:cubicBezTo>
                    <a:pt x="25" y="30"/>
                    <a:pt x="18" y="31"/>
                    <a:pt x="13" y="29"/>
                  </a:cubicBezTo>
                  <a:cubicBezTo>
                    <a:pt x="10" y="29"/>
                    <a:pt x="9" y="26"/>
                    <a:pt x="6" y="26"/>
                  </a:cubicBezTo>
                  <a:cubicBezTo>
                    <a:pt x="0" y="32"/>
                    <a:pt x="9" y="34"/>
                    <a:pt x="13" y="33"/>
                  </a:cubicBezTo>
                  <a:lnTo>
                    <a:pt x="30" y="3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6" name="Freeform 127">
              <a:extLst>
                <a:ext uri="{FF2B5EF4-FFF2-40B4-BE49-F238E27FC236}">
                  <a16:creationId xmlns:a16="http://schemas.microsoft.com/office/drawing/2014/main" id="{9305A6C8-2743-498E-9491-5A2B47683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350" y="230188"/>
              <a:ext cx="65088" cy="50800"/>
            </a:xfrm>
            <a:custGeom>
              <a:avLst/>
              <a:gdLst/>
              <a:ahLst/>
              <a:cxnLst>
                <a:cxn ang="0">
                  <a:pos x="31" y="9"/>
                </a:cxn>
                <a:cxn ang="0">
                  <a:pos x="30" y="8"/>
                </a:cxn>
                <a:cxn ang="0">
                  <a:pos x="15" y="6"/>
                </a:cxn>
                <a:cxn ang="0">
                  <a:pos x="1" y="16"/>
                </a:cxn>
                <a:cxn ang="0">
                  <a:pos x="19" y="23"/>
                </a:cxn>
                <a:cxn ang="0">
                  <a:pos x="22" y="27"/>
                </a:cxn>
                <a:cxn ang="0">
                  <a:pos x="31" y="25"/>
                </a:cxn>
                <a:cxn ang="0">
                  <a:pos x="24" y="8"/>
                </a:cxn>
                <a:cxn ang="0">
                  <a:pos x="31" y="9"/>
                </a:cxn>
              </a:cxnLst>
              <a:rect l="0" t="0" r="r" b="b"/>
              <a:pathLst>
                <a:path w="35" h="27">
                  <a:moveTo>
                    <a:pt x="31" y="9"/>
                  </a:moveTo>
                  <a:cubicBezTo>
                    <a:pt x="31" y="9"/>
                    <a:pt x="30" y="9"/>
                    <a:pt x="30" y="8"/>
                  </a:cubicBezTo>
                  <a:cubicBezTo>
                    <a:pt x="30" y="1"/>
                    <a:pt x="13" y="0"/>
                    <a:pt x="15" y="6"/>
                  </a:cubicBezTo>
                  <a:cubicBezTo>
                    <a:pt x="11" y="8"/>
                    <a:pt x="1" y="11"/>
                    <a:pt x="1" y="16"/>
                  </a:cubicBezTo>
                  <a:cubicBezTo>
                    <a:pt x="0" y="26"/>
                    <a:pt x="14" y="20"/>
                    <a:pt x="19" y="23"/>
                  </a:cubicBezTo>
                  <a:cubicBezTo>
                    <a:pt x="20" y="23"/>
                    <a:pt x="21" y="26"/>
                    <a:pt x="22" y="27"/>
                  </a:cubicBezTo>
                  <a:cubicBezTo>
                    <a:pt x="23" y="27"/>
                    <a:pt x="30" y="26"/>
                    <a:pt x="31" y="25"/>
                  </a:cubicBezTo>
                  <a:cubicBezTo>
                    <a:pt x="35" y="20"/>
                    <a:pt x="27" y="11"/>
                    <a:pt x="24" y="8"/>
                  </a:cubicBezTo>
                  <a:lnTo>
                    <a:pt x="31" y="9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7" name="Freeform 128">
              <a:extLst>
                <a:ext uri="{FF2B5EF4-FFF2-40B4-BE49-F238E27FC236}">
                  <a16:creationId xmlns:a16="http://schemas.microsoft.com/office/drawing/2014/main" id="{C3434D2A-C1BF-4C8E-908A-0AD70DBCF1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4850" y="171450"/>
              <a:ext cx="84138" cy="93663"/>
            </a:xfrm>
            <a:custGeom>
              <a:avLst/>
              <a:gdLst/>
              <a:ahLst/>
              <a:cxnLst>
                <a:cxn ang="0">
                  <a:pos x="5" y="18"/>
                </a:cxn>
                <a:cxn ang="0">
                  <a:pos x="3" y="19"/>
                </a:cxn>
                <a:cxn ang="0">
                  <a:pos x="0" y="27"/>
                </a:cxn>
                <a:cxn ang="0">
                  <a:pos x="6" y="32"/>
                </a:cxn>
                <a:cxn ang="0">
                  <a:pos x="5" y="44"/>
                </a:cxn>
                <a:cxn ang="0">
                  <a:pos x="11" y="48"/>
                </a:cxn>
                <a:cxn ang="0">
                  <a:pos x="13" y="50"/>
                </a:cxn>
                <a:cxn ang="0">
                  <a:pos x="16" y="48"/>
                </a:cxn>
                <a:cxn ang="0">
                  <a:pos x="27" y="39"/>
                </a:cxn>
                <a:cxn ang="0">
                  <a:pos x="44" y="31"/>
                </a:cxn>
                <a:cxn ang="0">
                  <a:pos x="42" y="22"/>
                </a:cxn>
                <a:cxn ang="0">
                  <a:pos x="42" y="13"/>
                </a:cxn>
                <a:cxn ang="0">
                  <a:pos x="39" y="5"/>
                </a:cxn>
                <a:cxn ang="0">
                  <a:pos x="34" y="4"/>
                </a:cxn>
                <a:cxn ang="0">
                  <a:pos x="32" y="4"/>
                </a:cxn>
                <a:cxn ang="0">
                  <a:pos x="29" y="1"/>
                </a:cxn>
                <a:cxn ang="0">
                  <a:pos x="20" y="18"/>
                </a:cxn>
                <a:cxn ang="0">
                  <a:pos x="5" y="17"/>
                </a:cxn>
                <a:cxn ang="0">
                  <a:pos x="5" y="18"/>
                </a:cxn>
              </a:cxnLst>
              <a:rect l="0" t="0" r="r" b="b"/>
              <a:pathLst>
                <a:path w="45" h="50">
                  <a:moveTo>
                    <a:pt x="5" y="18"/>
                  </a:moveTo>
                  <a:cubicBezTo>
                    <a:pt x="4" y="18"/>
                    <a:pt x="4" y="18"/>
                    <a:pt x="3" y="19"/>
                  </a:cubicBezTo>
                  <a:cubicBezTo>
                    <a:pt x="3" y="21"/>
                    <a:pt x="0" y="25"/>
                    <a:pt x="0" y="27"/>
                  </a:cubicBezTo>
                  <a:cubicBezTo>
                    <a:pt x="1" y="30"/>
                    <a:pt x="5" y="31"/>
                    <a:pt x="6" y="32"/>
                  </a:cubicBezTo>
                  <a:cubicBezTo>
                    <a:pt x="10" y="37"/>
                    <a:pt x="3" y="38"/>
                    <a:pt x="5" y="44"/>
                  </a:cubicBezTo>
                  <a:cubicBezTo>
                    <a:pt x="6" y="48"/>
                    <a:pt x="8" y="47"/>
                    <a:pt x="11" y="48"/>
                  </a:cubicBezTo>
                  <a:cubicBezTo>
                    <a:pt x="12" y="49"/>
                    <a:pt x="12" y="50"/>
                    <a:pt x="13" y="50"/>
                  </a:cubicBezTo>
                  <a:cubicBezTo>
                    <a:pt x="16" y="50"/>
                    <a:pt x="15" y="50"/>
                    <a:pt x="16" y="48"/>
                  </a:cubicBezTo>
                  <a:cubicBezTo>
                    <a:pt x="20" y="43"/>
                    <a:pt x="19" y="39"/>
                    <a:pt x="27" y="39"/>
                  </a:cubicBezTo>
                  <a:cubicBezTo>
                    <a:pt x="35" y="39"/>
                    <a:pt x="45" y="43"/>
                    <a:pt x="44" y="31"/>
                  </a:cubicBezTo>
                  <a:cubicBezTo>
                    <a:pt x="44" y="27"/>
                    <a:pt x="43" y="25"/>
                    <a:pt x="42" y="22"/>
                  </a:cubicBezTo>
                  <a:cubicBezTo>
                    <a:pt x="42" y="19"/>
                    <a:pt x="42" y="16"/>
                    <a:pt x="42" y="13"/>
                  </a:cubicBezTo>
                  <a:cubicBezTo>
                    <a:pt x="42" y="9"/>
                    <a:pt x="42" y="7"/>
                    <a:pt x="39" y="5"/>
                  </a:cubicBezTo>
                  <a:cubicBezTo>
                    <a:pt x="37" y="4"/>
                    <a:pt x="35" y="4"/>
                    <a:pt x="34" y="4"/>
                  </a:cubicBezTo>
                  <a:cubicBezTo>
                    <a:pt x="33" y="4"/>
                    <a:pt x="32" y="4"/>
                    <a:pt x="32" y="4"/>
                  </a:cubicBezTo>
                  <a:cubicBezTo>
                    <a:pt x="31" y="3"/>
                    <a:pt x="30" y="2"/>
                    <a:pt x="29" y="1"/>
                  </a:cubicBezTo>
                  <a:cubicBezTo>
                    <a:pt x="22" y="0"/>
                    <a:pt x="19" y="12"/>
                    <a:pt x="20" y="18"/>
                  </a:cubicBezTo>
                  <a:cubicBezTo>
                    <a:pt x="15" y="19"/>
                    <a:pt x="10" y="17"/>
                    <a:pt x="5" y="17"/>
                  </a:cubicBezTo>
                  <a:lnTo>
                    <a:pt x="5" y="18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8" name="Freeform 129">
              <a:extLst>
                <a:ext uri="{FF2B5EF4-FFF2-40B4-BE49-F238E27FC236}">
                  <a16:creationId xmlns:a16="http://schemas.microsoft.com/office/drawing/2014/main" id="{0BC1799B-F8CD-4E94-B962-52ABE7D7F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763" y="123825"/>
              <a:ext cx="36513" cy="6191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11"/>
                </a:cxn>
                <a:cxn ang="0">
                  <a:pos x="7" y="19"/>
                </a:cxn>
                <a:cxn ang="0">
                  <a:pos x="6" y="27"/>
                </a:cxn>
                <a:cxn ang="0">
                  <a:pos x="9" y="30"/>
                </a:cxn>
                <a:cxn ang="0">
                  <a:pos x="13" y="33"/>
                </a:cxn>
                <a:cxn ang="0">
                  <a:pos x="16" y="29"/>
                </a:cxn>
                <a:cxn ang="0">
                  <a:pos x="18" y="20"/>
                </a:cxn>
                <a:cxn ang="0">
                  <a:pos x="13" y="3"/>
                </a:cxn>
                <a:cxn ang="0">
                  <a:pos x="9" y="0"/>
                </a:cxn>
              </a:cxnLst>
              <a:rect l="0" t="0" r="r" b="b"/>
              <a:pathLst>
                <a:path w="20" h="33">
                  <a:moveTo>
                    <a:pt x="9" y="0"/>
                  </a:moveTo>
                  <a:cubicBezTo>
                    <a:pt x="5" y="2"/>
                    <a:pt x="0" y="5"/>
                    <a:pt x="2" y="11"/>
                  </a:cubicBezTo>
                  <a:cubicBezTo>
                    <a:pt x="2" y="14"/>
                    <a:pt x="6" y="15"/>
                    <a:pt x="7" y="19"/>
                  </a:cubicBezTo>
                  <a:cubicBezTo>
                    <a:pt x="7" y="21"/>
                    <a:pt x="6" y="24"/>
                    <a:pt x="6" y="27"/>
                  </a:cubicBezTo>
                  <a:cubicBezTo>
                    <a:pt x="6" y="28"/>
                    <a:pt x="7" y="29"/>
                    <a:pt x="9" y="30"/>
                  </a:cubicBezTo>
                  <a:cubicBezTo>
                    <a:pt x="9" y="29"/>
                    <a:pt x="14" y="33"/>
                    <a:pt x="13" y="33"/>
                  </a:cubicBezTo>
                  <a:cubicBezTo>
                    <a:pt x="17" y="33"/>
                    <a:pt x="16" y="32"/>
                    <a:pt x="16" y="29"/>
                  </a:cubicBezTo>
                  <a:cubicBezTo>
                    <a:pt x="16" y="25"/>
                    <a:pt x="17" y="23"/>
                    <a:pt x="18" y="20"/>
                  </a:cubicBezTo>
                  <a:cubicBezTo>
                    <a:pt x="20" y="12"/>
                    <a:pt x="15" y="9"/>
                    <a:pt x="13" y="3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9" name="Freeform 130">
              <a:extLst>
                <a:ext uri="{FF2B5EF4-FFF2-40B4-BE49-F238E27FC236}">
                  <a16:creationId xmlns:a16="http://schemas.microsoft.com/office/drawing/2014/main" id="{5FDD7220-0DB1-4666-88A5-26990D9416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263" y="269875"/>
              <a:ext cx="73025" cy="85725"/>
            </a:xfrm>
            <a:custGeom>
              <a:avLst/>
              <a:gdLst/>
              <a:ahLst/>
              <a:cxnLst>
                <a:cxn ang="0">
                  <a:pos x="35" y="15"/>
                </a:cxn>
                <a:cxn ang="0">
                  <a:pos x="25" y="3"/>
                </a:cxn>
                <a:cxn ang="0">
                  <a:pos x="8" y="12"/>
                </a:cxn>
                <a:cxn ang="0">
                  <a:pos x="3" y="26"/>
                </a:cxn>
                <a:cxn ang="0">
                  <a:pos x="1" y="35"/>
                </a:cxn>
                <a:cxn ang="0">
                  <a:pos x="15" y="35"/>
                </a:cxn>
                <a:cxn ang="0">
                  <a:pos x="23" y="45"/>
                </a:cxn>
                <a:cxn ang="0">
                  <a:pos x="37" y="25"/>
                </a:cxn>
                <a:cxn ang="0">
                  <a:pos x="35" y="8"/>
                </a:cxn>
                <a:cxn ang="0">
                  <a:pos x="35" y="15"/>
                </a:cxn>
              </a:cxnLst>
              <a:rect l="0" t="0" r="r" b="b"/>
              <a:pathLst>
                <a:path w="39" h="46">
                  <a:moveTo>
                    <a:pt x="35" y="15"/>
                  </a:moveTo>
                  <a:cubicBezTo>
                    <a:pt x="33" y="11"/>
                    <a:pt x="30" y="5"/>
                    <a:pt x="25" y="3"/>
                  </a:cubicBezTo>
                  <a:cubicBezTo>
                    <a:pt x="18" y="0"/>
                    <a:pt x="12" y="8"/>
                    <a:pt x="8" y="12"/>
                  </a:cubicBezTo>
                  <a:cubicBezTo>
                    <a:pt x="4" y="17"/>
                    <a:pt x="4" y="20"/>
                    <a:pt x="3" y="26"/>
                  </a:cubicBezTo>
                  <a:cubicBezTo>
                    <a:pt x="2" y="29"/>
                    <a:pt x="0" y="31"/>
                    <a:pt x="1" y="35"/>
                  </a:cubicBezTo>
                  <a:cubicBezTo>
                    <a:pt x="5" y="35"/>
                    <a:pt x="12" y="33"/>
                    <a:pt x="15" y="35"/>
                  </a:cubicBezTo>
                  <a:cubicBezTo>
                    <a:pt x="20" y="38"/>
                    <a:pt x="16" y="45"/>
                    <a:pt x="23" y="45"/>
                  </a:cubicBezTo>
                  <a:cubicBezTo>
                    <a:pt x="32" y="46"/>
                    <a:pt x="36" y="32"/>
                    <a:pt x="37" y="25"/>
                  </a:cubicBezTo>
                  <a:cubicBezTo>
                    <a:pt x="37" y="19"/>
                    <a:pt x="39" y="13"/>
                    <a:pt x="35" y="8"/>
                  </a:cubicBezTo>
                  <a:lnTo>
                    <a:pt x="35" y="1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0" name="Freeform 131">
              <a:extLst>
                <a:ext uri="{FF2B5EF4-FFF2-40B4-BE49-F238E27FC236}">
                  <a16:creationId xmlns:a16="http://schemas.microsoft.com/office/drawing/2014/main" id="{E770FE66-5203-47B4-B3DC-87D0A5ECA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513" y="263525"/>
              <a:ext cx="92075" cy="8572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" y="10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9" y="36"/>
                </a:cxn>
                <a:cxn ang="0">
                  <a:pos x="20" y="38"/>
                </a:cxn>
                <a:cxn ang="0">
                  <a:pos x="39" y="41"/>
                </a:cxn>
                <a:cxn ang="0">
                  <a:pos x="44" y="46"/>
                </a:cxn>
                <a:cxn ang="0">
                  <a:pos x="48" y="40"/>
                </a:cxn>
                <a:cxn ang="0">
                  <a:pos x="34" y="17"/>
                </a:cxn>
                <a:cxn ang="0">
                  <a:pos x="30" y="16"/>
                </a:cxn>
                <a:cxn ang="0">
                  <a:pos x="24" y="11"/>
                </a:cxn>
                <a:cxn ang="0">
                  <a:pos x="12" y="2"/>
                </a:cxn>
                <a:cxn ang="0">
                  <a:pos x="9" y="0"/>
                </a:cxn>
              </a:cxnLst>
              <a:rect l="0" t="0" r="r" b="b"/>
              <a:pathLst>
                <a:path w="49" h="46">
                  <a:moveTo>
                    <a:pt x="9" y="0"/>
                  </a:moveTo>
                  <a:cubicBezTo>
                    <a:pt x="3" y="0"/>
                    <a:pt x="0" y="3"/>
                    <a:pt x="1" y="10"/>
                  </a:cubicBezTo>
                  <a:cubicBezTo>
                    <a:pt x="1" y="12"/>
                    <a:pt x="3" y="17"/>
                    <a:pt x="4" y="18"/>
                  </a:cubicBezTo>
                  <a:cubicBezTo>
                    <a:pt x="6" y="20"/>
                    <a:pt x="7" y="20"/>
                    <a:pt x="8" y="22"/>
                  </a:cubicBezTo>
                  <a:cubicBezTo>
                    <a:pt x="10" y="27"/>
                    <a:pt x="8" y="31"/>
                    <a:pt x="9" y="36"/>
                  </a:cubicBezTo>
                  <a:cubicBezTo>
                    <a:pt x="11" y="40"/>
                    <a:pt x="16" y="38"/>
                    <a:pt x="20" y="38"/>
                  </a:cubicBezTo>
                  <a:cubicBezTo>
                    <a:pt x="25" y="38"/>
                    <a:pt x="35" y="38"/>
                    <a:pt x="39" y="41"/>
                  </a:cubicBezTo>
                  <a:cubicBezTo>
                    <a:pt x="41" y="43"/>
                    <a:pt x="40" y="46"/>
                    <a:pt x="44" y="46"/>
                  </a:cubicBezTo>
                  <a:cubicBezTo>
                    <a:pt x="48" y="46"/>
                    <a:pt x="48" y="43"/>
                    <a:pt x="48" y="40"/>
                  </a:cubicBezTo>
                  <a:cubicBezTo>
                    <a:pt x="49" y="30"/>
                    <a:pt x="44" y="20"/>
                    <a:pt x="34" y="17"/>
                  </a:cubicBezTo>
                  <a:cubicBezTo>
                    <a:pt x="32" y="17"/>
                    <a:pt x="32" y="17"/>
                    <a:pt x="30" y="16"/>
                  </a:cubicBezTo>
                  <a:cubicBezTo>
                    <a:pt x="28" y="15"/>
                    <a:pt x="26" y="12"/>
                    <a:pt x="24" y="11"/>
                  </a:cubicBezTo>
                  <a:cubicBezTo>
                    <a:pt x="21" y="8"/>
                    <a:pt x="12" y="6"/>
                    <a:pt x="12" y="2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1" name="Freeform 132">
              <a:extLst>
                <a:ext uri="{FF2B5EF4-FFF2-40B4-BE49-F238E27FC236}">
                  <a16:creationId xmlns:a16="http://schemas.microsoft.com/office/drawing/2014/main" id="{EDB85F57-D299-45E0-92B7-E8B025B5C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075" y="357188"/>
              <a:ext cx="38100" cy="22225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" y="9"/>
                </a:cxn>
                <a:cxn ang="0">
                  <a:pos x="18" y="11"/>
                </a:cxn>
                <a:cxn ang="0">
                  <a:pos x="18" y="0"/>
                </a:cxn>
                <a:cxn ang="0">
                  <a:pos x="14" y="0"/>
                </a:cxn>
              </a:cxnLst>
              <a:rect l="0" t="0" r="r" b="b"/>
              <a:pathLst>
                <a:path w="20" h="12">
                  <a:moveTo>
                    <a:pt x="14" y="0"/>
                  </a:moveTo>
                  <a:cubicBezTo>
                    <a:pt x="9" y="0"/>
                    <a:pt x="0" y="1"/>
                    <a:pt x="6" y="9"/>
                  </a:cubicBezTo>
                  <a:cubicBezTo>
                    <a:pt x="8" y="11"/>
                    <a:pt x="15" y="12"/>
                    <a:pt x="18" y="11"/>
                  </a:cubicBezTo>
                  <a:cubicBezTo>
                    <a:pt x="20" y="9"/>
                    <a:pt x="20" y="3"/>
                    <a:pt x="18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2" name="Freeform 133">
              <a:extLst>
                <a:ext uri="{FF2B5EF4-FFF2-40B4-BE49-F238E27FC236}">
                  <a16:creationId xmlns:a16="http://schemas.microsoft.com/office/drawing/2014/main" id="{2B25590B-D2B4-4B28-BC57-F19E35BFC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8775" y="271463"/>
              <a:ext cx="60325" cy="77788"/>
            </a:xfrm>
            <a:custGeom>
              <a:avLst/>
              <a:gdLst/>
              <a:ahLst/>
              <a:cxnLst>
                <a:cxn ang="0">
                  <a:pos x="32" y="22"/>
                </a:cxn>
                <a:cxn ang="0">
                  <a:pos x="29" y="9"/>
                </a:cxn>
                <a:cxn ang="0">
                  <a:pos x="15" y="11"/>
                </a:cxn>
                <a:cxn ang="0">
                  <a:pos x="13" y="7"/>
                </a:cxn>
                <a:cxn ang="0">
                  <a:pos x="8" y="3"/>
                </a:cxn>
                <a:cxn ang="0">
                  <a:pos x="2" y="4"/>
                </a:cxn>
                <a:cxn ang="0">
                  <a:pos x="2" y="17"/>
                </a:cxn>
                <a:cxn ang="0">
                  <a:pos x="6" y="23"/>
                </a:cxn>
                <a:cxn ang="0">
                  <a:pos x="12" y="25"/>
                </a:cxn>
                <a:cxn ang="0">
                  <a:pos x="9" y="41"/>
                </a:cxn>
                <a:cxn ang="0">
                  <a:pos x="22" y="33"/>
                </a:cxn>
                <a:cxn ang="0">
                  <a:pos x="26" y="22"/>
                </a:cxn>
                <a:cxn ang="0">
                  <a:pos x="32" y="22"/>
                </a:cxn>
              </a:cxnLst>
              <a:rect l="0" t="0" r="r" b="b"/>
              <a:pathLst>
                <a:path w="32" h="42">
                  <a:moveTo>
                    <a:pt x="32" y="22"/>
                  </a:moveTo>
                  <a:cubicBezTo>
                    <a:pt x="28" y="22"/>
                    <a:pt x="32" y="11"/>
                    <a:pt x="29" y="9"/>
                  </a:cubicBezTo>
                  <a:cubicBezTo>
                    <a:pt x="27" y="7"/>
                    <a:pt x="17" y="14"/>
                    <a:pt x="15" y="11"/>
                  </a:cubicBezTo>
                  <a:cubicBezTo>
                    <a:pt x="14" y="10"/>
                    <a:pt x="14" y="8"/>
                    <a:pt x="13" y="7"/>
                  </a:cubicBezTo>
                  <a:cubicBezTo>
                    <a:pt x="11" y="5"/>
                    <a:pt x="10" y="4"/>
                    <a:pt x="8" y="3"/>
                  </a:cubicBezTo>
                  <a:cubicBezTo>
                    <a:pt x="4" y="1"/>
                    <a:pt x="3" y="0"/>
                    <a:pt x="2" y="4"/>
                  </a:cubicBezTo>
                  <a:cubicBezTo>
                    <a:pt x="0" y="7"/>
                    <a:pt x="1" y="14"/>
                    <a:pt x="2" y="17"/>
                  </a:cubicBezTo>
                  <a:cubicBezTo>
                    <a:pt x="3" y="19"/>
                    <a:pt x="4" y="21"/>
                    <a:pt x="6" y="23"/>
                  </a:cubicBezTo>
                  <a:cubicBezTo>
                    <a:pt x="8" y="23"/>
                    <a:pt x="10" y="24"/>
                    <a:pt x="12" y="25"/>
                  </a:cubicBezTo>
                  <a:cubicBezTo>
                    <a:pt x="15" y="31"/>
                    <a:pt x="7" y="35"/>
                    <a:pt x="9" y="41"/>
                  </a:cubicBezTo>
                  <a:cubicBezTo>
                    <a:pt x="12" y="42"/>
                    <a:pt x="21" y="36"/>
                    <a:pt x="22" y="33"/>
                  </a:cubicBezTo>
                  <a:cubicBezTo>
                    <a:pt x="28" y="25"/>
                    <a:pt x="29" y="30"/>
                    <a:pt x="26" y="22"/>
                  </a:cubicBezTo>
                  <a:lnTo>
                    <a:pt x="32" y="2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3" name="Freeform 134">
              <a:extLst>
                <a:ext uri="{FF2B5EF4-FFF2-40B4-BE49-F238E27FC236}">
                  <a16:creationId xmlns:a16="http://schemas.microsoft.com/office/drawing/2014/main" id="{B8D184A7-2C6F-4450-8FA1-7E6E6B23A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7363" y="1987550"/>
              <a:ext cx="100013" cy="57150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8" y="7"/>
                </a:cxn>
                <a:cxn ang="0">
                  <a:pos x="14" y="11"/>
                </a:cxn>
                <a:cxn ang="0">
                  <a:pos x="11" y="13"/>
                </a:cxn>
                <a:cxn ang="0">
                  <a:pos x="6" y="15"/>
                </a:cxn>
                <a:cxn ang="0">
                  <a:pos x="3" y="29"/>
                </a:cxn>
                <a:cxn ang="0">
                  <a:pos x="11" y="29"/>
                </a:cxn>
                <a:cxn ang="0">
                  <a:pos x="19" y="25"/>
                </a:cxn>
                <a:cxn ang="0">
                  <a:pos x="26" y="25"/>
                </a:cxn>
                <a:cxn ang="0">
                  <a:pos x="31" y="26"/>
                </a:cxn>
                <a:cxn ang="0">
                  <a:pos x="39" y="23"/>
                </a:cxn>
                <a:cxn ang="0">
                  <a:pos x="44" y="20"/>
                </a:cxn>
                <a:cxn ang="0">
                  <a:pos x="50" y="19"/>
                </a:cxn>
                <a:cxn ang="0">
                  <a:pos x="53" y="15"/>
                </a:cxn>
                <a:cxn ang="0">
                  <a:pos x="54" y="13"/>
                </a:cxn>
                <a:cxn ang="0">
                  <a:pos x="46" y="10"/>
                </a:cxn>
                <a:cxn ang="0">
                  <a:pos x="41" y="9"/>
                </a:cxn>
                <a:cxn ang="0">
                  <a:pos x="40" y="4"/>
                </a:cxn>
                <a:cxn ang="0">
                  <a:pos x="39" y="1"/>
                </a:cxn>
                <a:cxn ang="0">
                  <a:pos x="32" y="2"/>
                </a:cxn>
                <a:cxn ang="0">
                  <a:pos x="33" y="0"/>
                </a:cxn>
              </a:cxnLst>
              <a:rect l="0" t="0" r="r" b="b"/>
              <a:pathLst>
                <a:path w="54" h="31">
                  <a:moveTo>
                    <a:pt x="33" y="0"/>
                  </a:moveTo>
                  <a:cubicBezTo>
                    <a:pt x="28" y="0"/>
                    <a:pt x="21" y="4"/>
                    <a:pt x="18" y="7"/>
                  </a:cubicBezTo>
                  <a:cubicBezTo>
                    <a:pt x="16" y="9"/>
                    <a:pt x="16" y="10"/>
                    <a:pt x="14" y="11"/>
                  </a:cubicBezTo>
                  <a:cubicBezTo>
                    <a:pt x="13" y="12"/>
                    <a:pt x="12" y="12"/>
                    <a:pt x="11" y="13"/>
                  </a:cubicBezTo>
                  <a:cubicBezTo>
                    <a:pt x="9" y="14"/>
                    <a:pt x="8" y="15"/>
                    <a:pt x="6" y="15"/>
                  </a:cubicBezTo>
                  <a:cubicBezTo>
                    <a:pt x="3" y="18"/>
                    <a:pt x="0" y="25"/>
                    <a:pt x="3" y="29"/>
                  </a:cubicBezTo>
                  <a:cubicBezTo>
                    <a:pt x="5" y="31"/>
                    <a:pt x="8" y="30"/>
                    <a:pt x="11" y="29"/>
                  </a:cubicBezTo>
                  <a:cubicBezTo>
                    <a:pt x="14" y="27"/>
                    <a:pt x="15" y="25"/>
                    <a:pt x="19" y="25"/>
                  </a:cubicBezTo>
                  <a:cubicBezTo>
                    <a:pt x="21" y="24"/>
                    <a:pt x="24" y="24"/>
                    <a:pt x="26" y="25"/>
                  </a:cubicBezTo>
                  <a:cubicBezTo>
                    <a:pt x="28" y="25"/>
                    <a:pt x="29" y="26"/>
                    <a:pt x="31" y="26"/>
                  </a:cubicBezTo>
                  <a:cubicBezTo>
                    <a:pt x="34" y="26"/>
                    <a:pt x="37" y="25"/>
                    <a:pt x="39" y="23"/>
                  </a:cubicBezTo>
                  <a:cubicBezTo>
                    <a:pt x="41" y="22"/>
                    <a:pt x="42" y="21"/>
                    <a:pt x="44" y="20"/>
                  </a:cubicBezTo>
                  <a:cubicBezTo>
                    <a:pt x="46" y="20"/>
                    <a:pt x="48" y="20"/>
                    <a:pt x="50" y="19"/>
                  </a:cubicBezTo>
                  <a:cubicBezTo>
                    <a:pt x="52" y="18"/>
                    <a:pt x="52" y="17"/>
                    <a:pt x="53" y="15"/>
                  </a:cubicBezTo>
                  <a:cubicBezTo>
                    <a:pt x="54" y="14"/>
                    <a:pt x="54" y="14"/>
                    <a:pt x="54" y="13"/>
                  </a:cubicBezTo>
                  <a:cubicBezTo>
                    <a:pt x="51" y="11"/>
                    <a:pt x="49" y="10"/>
                    <a:pt x="46" y="10"/>
                  </a:cubicBezTo>
                  <a:cubicBezTo>
                    <a:pt x="44" y="9"/>
                    <a:pt x="43" y="9"/>
                    <a:pt x="41" y="9"/>
                  </a:cubicBezTo>
                  <a:cubicBezTo>
                    <a:pt x="41" y="8"/>
                    <a:pt x="40" y="6"/>
                    <a:pt x="40" y="4"/>
                  </a:cubicBezTo>
                  <a:cubicBezTo>
                    <a:pt x="40" y="3"/>
                    <a:pt x="40" y="2"/>
                    <a:pt x="39" y="1"/>
                  </a:cubicBezTo>
                  <a:cubicBezTo>
                    <a:pt x="38" y="1"/>
                    <a:pt x="34" y="2"/>
                    <a:pt x="32" y="2"/>
                  </a:cubicBezTo>
                  <a:lnTo>
                    <a:pt x="3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4" name="Freeform 135">
              <a:extLst>
                <a:ext uri="{FF2B5EF4-FFF2-40B4-BE49-F238E27FC236}">
                  <a16:creationId xmlns:a16="http://schemas.microsoft.com/office/drawing/2014/main" id="{DAAADD64-0CB1-41E1-A9F9-676895491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888" y="1946275"/>
              <a:ext cx="58738" cy="33338"/>
            </a:xfrm>
            <a:custGeom>
              <a:avLst/>
              <a:gdLst/>
              <a:ahLst/>
              <a:cxnLst>
                <a:cxn ang="0">
                  <a:pos x="23" y="2"/>
                </a:cxn>
                <a:cxn ang="0">
                  <a:pos x="9" y="7"/>
                </a:cxn>
                <a:cxn ang="0">
                  <a:pos x="3" y="12"/>
                </a:cxn>
                <a:cxn ang="0">
                  <a:pos x="1" y="16"/>
                </a:cxn>
                <a:cxn ang="0">
                  <a:pos x="9" y="17"/>
                </a:cxn>
                <a:cxn ang="0">
                  <a:pos x="24" y="15"/>
                </a:cxn>
                <a:cxn ang="0">
                  <a:pos x="28" y="13"/>
                </a:cxn>
                <a:cxn ang="0">
                  <a:pos x="26" y="0"/>
                </a:cxn>
                <a:cxn ang="0">
                  <a:pos x="23" y="2"/>
                </a:cxn>
              </a:cxnLst>
              <a:rect l="0" t="0" r="r" b="b"/>
              <a:pathLst>
                <a:path w="32" h="18">
                  <a:moveTo>
                    <a:pt x="23" y="2"/>
                  </a:moveTo>
                  <a:cubicBezTo>
                    <a:pt x="19" y="2"/>
                    <a:pt x="13" y="5"/>
                    <a:pt x="9" y="7"/>
                  </a:cubicBezTo>
                  <a:cubicBezTo>
                    <a:pt x="5" y="8"/>
                    <a:pt x="5" y="10"/>
                    <a:pt x="3" y="12"/>
                  </a:cubicBezTo>
                  <a:cubicBezTo>
                    <a:pt x="2" y="13"/>
                    <a:pt x="0" y="14"/>
                    <a:pt x="1" y="16"/>
                  </a:cubicBezTo>
                  <a:cubicBezTo>
                    <a:pt x="2" y="18"/>
                    <a:pt x="6" y="17"/>
                    <a:pt x="9" y="17"/>
                  </a:cubicBezTo>
                  <a:cubicBezTo>
                    <a:pt x="14" y="17"/>
                    <a:pt x="19" y="17"/>
                    <a:pt x="24" y="15"/>
                  </a:cubicBezTo>
                  <a:cubicBezTo>
                    <a:pt x="25" y="14"/>
                    <a:pt x="27" y="14"/>
                    <a:pt x="28" y="13"/>
                  </a:cubicBezTo>
                  <a:cubicBezTo>
                    <a:pt x="32" y="9"/>
                    <a:pt x="29" y="3"/>
                    <a:pt x="26" y="0"/>
                  </a:cubicBezTo>
                  <a:lnTo>
                    <a:pt x="23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5" name="Freeform 136">
              <a:extLst>
                <a:ext uri="{FF2B5EF4-FFF2-40B4-BE49-F238E27FC236}">
                  <a16:creationId xmlns:a16="http://schemas.microsoft.com/office/drawing/2014/main" id="{E64C4A19-F53E-4405-B800-D31487393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6088" y="2024063"/>
              <a:ext cx="41275" cy="39688"/>
            </a:xfrm>
            <a:custGeom>
              <a:avLst/>
              <a:gdLst/>
              <a:ahLst/>
              <a:cxnLst>
                <a:cxn ang="0">
                  <a:pos x="16" y="5"/>
                </a:cxn>
                <a:cxn ang="0">
                  <a:pos x="7" y="4"/>
                </a:cxn>
                <a:cxn ang="0">
                  <a:pos x="0" y="12"/>
                </a:cxn>
                <a:cxn ang="0">
                  <a:pos x="7" y="19"/>
                </a:cxn>
                <a:cxn ang="0">
                  <a:pos x="10" y="20"/>
                </a:cxn>
                <a:cxn ang="0">
                  <a:pos x="17" y="18"/>
                </a:cxn>
                <a:cxn ang="0">
                  <a:pos x="21" y="13"/>
                </a:cxn>
                <a:cxn ang="0">
                  <a:pos x="14" y="0"/>
                </a:cxn>
                <a:cxn ang="0">
                  <a:pos x="16" y="5"/>
                </a:cxn>
              </a:cxnLst>
              <a:rect l="0" t="0" r="r" b="b"/>
              <a:pathLst>
                <a:path w="22" h="21">
                  <a:moveTo>
                    <a:pt x="16" y="5"/>
                  </a:moveTo>
                  <a:cubicBezTo>
                    <a:pt x="13" y="3"/>
                    <a:pt x="10" y="2"/>
                    <a:pt x="7" y="4"/>
                  </a:cubicBezTo>
                  <a:cubicBezTo>
                    <a:pt x="4" y="5"/>
                    <a:pt x="1" y="9"/>
                    <a:pt x="0" y="12"/>
                  </a:cubicBezTo>
                  <a:cubicBezTo>
                    <a:pt x="0" y="15"/>
                    <a:pt x="4" y="18"/>
                    <a:pt x="7" y="19"/>
                  </a:cubicBezTo>
                  <a:cubicBezTo>
                    <a:pt x="8" y="19"/>
                    <a:pt x="9" y="20"/>
                    <a:pt x="10" y="20"/>
                  </a:cubicBezTo>
                  <a:cubicBezTo>
                    <a:pt x="13" y="21"/>
                    <a:pt x="15" y="19"/>
                    <a:pt x="17" y="18"/>
                  </a:cubicBezTo>
                  <a:cubicBezTo>
                    <a:pt x="19" y="16"/>
                    <a:pt x="21" y="16"/>
                    <a:pt x="21" y="13"/>
                  </a:cubicBezTo>
                  <a:cubicBezTo>
                    <a:pt x="22" y="8"/>
                    <a:pt x="19" y="3"/>
                    <a:pt x="14" y="0"/>
                  </a:cubicBezTo>
                  <a:lnTo>
                    <a:pt x="16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6" name="Freeform 137">
              <a:extLst>
                <a:ext uri="{FF2B5EF4-FFF2-40B4-BE49-F238E27FC236}">
                  <a16:creationId xmlns:a16="http://schemas.microsoft.com/office/drawing/2014/main" id="{5AC2AF5B-FCCC-4DE7-AA47-5D086A2807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1138" y="285750"/>
              <a:ext cx="187325" cy="206375"/>
            </a:xfrm>
            <a:custGeom>
              <a:avLst/>
              <a:gdLst/>
              <a:ahLst/>
              <a:cxnLst>
                <a:cxn ang="0">
                  <a:pos x="39" y="61"/>
                </a:cxn>
                <a:cxn ang="0">
                  <a:pos x="38" y="59"/>
                </a:cxn>
                <a:cxn ang="0">
                  <a:pos x="29" y="68"/>
                </a:cxn>
                <a:cxn ang="0">
                  <a:pos x="15" y="70"/>
                </a:cxn>
                <a:cxn ang="0">
                  <a:pos x="18" y="80"/>
                </a:cxn>
                <a:cxn ang="0">
                  <a:pos x="3" y="82"/>
                </a:cxn>
                <a:cxn ang="0">
                  <a:pos x="0" y="93"/>
                </a:cxn>
                <a:cxn ang="0">
                  <a:pos x="5" y="102"/>
                </a:cxn>
                <a:cxn ang="0">
                  <a:pos x="22" y="104"/>
                </a:cxn>
                <a:cxn ang="0">
                  <a:pos x="26" y="109"/>
                </a:cxn>
                <a:cxn ang="0">
                  <a:pos x="27" y="105"/>
                </a:cxn>
                <a:cxn ang="0">
                  <a:pos x="31" y="96"/>
                </a:cxn>
                <a:cxn ang="0">
                  <a:pos x="40" y="92"/>
                </a:cxn>
                <a:cxn ang="0">
                  <a:pos x="39" y="61"/>
                </a:cxn>
                <a:cxn ang="0">
                  <a:pos x="96" y="40"/>
                </a:cxn>
                <a:cxn ang="0">
                  <a:pos x="87" y="36"/>
                </a:cxn>
                <a:cxn ang="0">
                  <a:pos x="82" y="35"/>
                </a:cxn>
                <a:cxn ang="0">
                  <a:pos x="78" y="32"/>
                </a:cxn>
                <a:cxn ang="0">
                  <a:pos x="72" y="30"/>
                </a:cxn>
                <a:cxn ang="0">
                  <a:pos x="69" y="30"/>
                </a:cxn>
                <a:cxn ang="0">
                  <a:pos x="67" y="29"/>
                </a:cxn>
                <a:cxn ang="0">
                  <a:pos x="68" y="29"/>
                </a:cxn>
                <a:cxn ang="0">
                  <a:pos x="67" y="29"/>
                </a:cxn>
                <a:cxn ang="0">
                  <a:pos x="64" y="25"/>
                </a:cxn>
                <a:cxn ang="0">
                  <a:pos x="56" y="15"/>
                </a:cxn>
                <a:cxn ang="0">
                  <a:pos x="57" y="2"/>
                </a:cxn>
                <a:cxn ang="0">
                  <a:pos x="49" y="1"/>
                </a:cxn>
                <a:cxn ang="0">
                  <a:pos x="45" y="7"/>
                </a:cxn>
                <a:cxn ang="0">
                  <a:pos x="46" y="11"/>
                </a:cxn>
                <a:cxn ang="0">
                  <a:pos x="46" y="18"/>
                </a:cxn>
                <a:cxn ang="0">
                  <a:pos x="41" y="23"/>
                </a:cxn>
                <a:cxn ang="0">
                  <a:pos x="37" y="24"/>
                </a:cxn>
                <a:cxn ang="0">
                  <a:pos x="38" y="37"/>
                </a:cxn>
                <a:cxn ang="0">
                  <a:pos x="38" y="59"/>
                </a:cxn>
                <a:cxn ang="0">
                  <a:pos x="39" y="58"/>
                </a:cxn>
                <a:cxn ang="0">
                  <a:pos x="43" y="62"/>
                </a:cxn>
                <a:cxn ang="0">
                  <a:pos x="47" y="65"/>
                </a:cxn>
                <a:cxn ang="0">
                  <a:pos x="50" y="67"/>
                </a:cxn>
                <a:cxn ang="0">
                  <a:pos x="53" y="71"/>
                </a:cxn>
                <a:cxn ang="0">
                  <a:pos x="56" y="71"/>
                </a:cxn>
                <a:cxn ang="0">
                  <a:pos x="58" y="71"/>
                </a:cxn>
                <a:cxn ang="0">
                  <a:pos x="59" y="72"/>
                </a:cxn>
                <a:cxn ang="0">
                  <a:pos x="73" y="68"/>
                </a:cxn>
                <a:cxn ang="0">
                  <a:pos x="81" y="57"/>
                </a:cxn>
                <a:cxn ang="0">
                  <a:pos x="82" y="51"/>
                </a:cxn>
                <a:cxn ang="0">
                  <a:pos x="94" y="46"/>
                </a:cxn>
                <a:cxn ang="0">
                  <a:pos x="99" y="43"/>
                </a:cxn>
                <a:cxn ang="0">
                  <a:pos x="96" y="40"/>
                </a:cxn>
              </a:cxnLst>
              <a:rect l="0" t="0" r="r" b="b"/>
              <a:pathLst>
                <a:path w="100" h="110">
                  <a:moveTo>
                    <a:pt x="39" y="61"/>
                  </a:moveTo>
                  <a:cubicBezTo>
                    <a:pt x="39" y="61"/>
                    <a:pt x="38" y="60"/>
                    <a:pt x="38" y="5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2"/>
                    <a:pt x="17" y="67"/>
                    <a:pt x="15" y="70"/>
                  </a:cubicBezTo>
                  <a:cubicBezTo>
                    <a:pt x="13" y="73"/>
                    <a:pt x="16" y="78"/>
                    <a:pt x="18" y="80"/>
                  </a:cubicBezTo>
                  <a:cubicBezTo>
                    <a:pt x="14" y="84"/>
                    <a:pt x="8" y="79"/>
                    <a:pt x="3" y="82"/>
                  </a:cubicBezTo>
                  <a:cubicBezTo>
                    <a:pt x="0" y="83"/>
                    <a:pt x="0" y="89"/>
                    <a:pt x="0" y="93"/>
                  </a:cubicBezTo>
                  <a:cubicBezTo>
                    <a:pt x="0" y="98"/>
                    <a:pt x="0" y="100"/>
                    <a:pt x="5" y="102"/>
                  </a:cubicBezTo>
                  <a:cubicBezTo>
                    <a:pt x="11" y="104"/>
                    <a:pt x="18" y="102"/>
                    <a:pt x="22" y="104"/>
                  </a:cubicBezTo>
                  <a:cubicBezTo>
                    <a:pt x="22" y="106"/>
                    <a:pt x="23" y="110"/>
                    <a:pt x="26" y="109"/>
                  </a:cubicBezTo>
                  <a:cubicBezTo>
                    <a:pt x="26" y="109"/>
                    <a:pt x="26" y="105"/>
                    <a:pt x="27" y="105"/>
                  </a:cubicBezTo>
                  <a:cubicBezTo>
                    <a:pt x="27" y="102"/>
                    <a:pt x="29" y="99"/>
                    <a:pt x="31" y="96"/>
                  </a:cubicBezTo>
                  <a:cubicBezTo>
                    <a:pt x="34" y="93"/>
                    <a:pt x="35" y="93"/>
                    <a:pt x="40" y="92"/>
                  </a:cubicBezTo>
                  <a:cubicBezTo>
                    <a:pt x="41" y="81"/>
                    <a:pt x="44" y="72"/>
                    <a:pt x="39" y="61"/>
                  </a:cubicBezTo>
                  <a:moveTo>
                    <a:pt x="96" y="40"/>
                  </a:moveTo>
                  <a:cubicBezTo>
                    <a:pt x="93" y="38"/>
                    <a:pt x="90" y="37"/>
                    <a:pt x="87" y="36"/>
                  </a:cubicBezTo>
                  <a:cubicBezTo>
                    <a:pt x="85" y="36"/>
                    <a:pt x="83" y="36"/>
                    <a:pt x="82" y="35"/>
                  </a:cubicBezTo>
                  <a:cubicBezTo>
                    <a:pt x="81" y="35"/>
                    <a:pt x="79" y="33"/>
                    <a:pt x="78" y="32"/>
                  </a:cubicBezTo>
                  <a:cubicBezTo>
                    <a:pt x="76" y="31"/>
                    <a:pt x="75" y="30"/>
                    <a:pt x="72" y="30"/>
                  </a:cubicBezTo>
                  <a:cubicBezTo>
                    <a:pt x="71" y="30"/>
                    <a:pt x="70" y="31"/>
                    <a:pt x="69" y="30"/>
                  </a:cubicBezTo>
                  <a:cubicBezTo>
                    <a:pt x="68" y="30"/>
                    <a:pt x="68" y="30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6" y="28"/>
                    <a:pt x="65" y="26"/>
                    <a:pt x="64" y="25"/>
                  </a:cubicBezTo>
                  <a:cubicBezTo>
                    <a:pt x="61" y="22"/>
                    <a:pt x="58" y="19"/>
                    <a:pt x="56" y="15"/>
                  </a:cubicBezTo>
                  <a:cubicBezTo>
                    <a:pt x="54" y="11"/>
                    <a:pt x="57" y="6"/>
                    <a:pt x="57" y="2"/>
                  </a:cubicBezTo>
                  <a:cubicBezTo>
                    <a:pt x="56" y="0"/>
                    <a:pt x="51" y="0"/>
                    <a:pt x="49" y="1"/>
                  </a:cubicBezTo>
                  <a:cubicBezTo>
                    <a:pt x="46" y="2"/>
                    <a:pt x="45" y="4"/>
                    <a:pt x="45" y="7"/>
                  </a:cubicBezTo>
                  <a:cubicBezTo>
                    <a:pt x="45" y="8"/>
                    <a:pt x="45" y="10"/>
                    <a:pt x="46" y="11"/>
                  </a:cubicBezTo>
                  <a:cubicBezTo>
                    <a:pt x="46" y="14"/>
                    <a:pt x="48" y="15"/>
                    <a:pt x="46" y="18"/>
                  </a:cubicBezTo>
                  <a:cubicBezTo>
                    <a:pt x="46" y="19"/>
                    <a:pt x="43" y="22"/>
                    <a:pt x="41" y="23"/>
                  </a:cubicBezTo>
                  <a:cubicBezTo>
                    <a:pt x="40" y="24"/>
                    <a:pt x="39" y="23"/>
                    <a:pt x="37" y="24"/>
                  </a:cubicBezTo>
                  <a:cubicBezTo>
                    <a:pt x="35" y="27"/>
                    <a:pt x="36" y="34"/>
                    <a:pt x="38" y="37"/>
                  </a:cubicBezTo>
                  <a:cubicBezTo>
                    <a:pt x="29" y="41"/>
                    <a:pt x="34" y="52"/>
                    <a:pt x="38" y="59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0" y="59"/>
                    <a:pt x="41" y="60"/>
                    <a:pt x="43" y="62"/>
                  </a:cubicBezTo>
                  <a:cubicBezTo>
                    <a:pt x="44" y="63"/>
                    <a:pt x="45" y="64"/>
                    <a:pt x="47" y="65"/>
                  </a:cubicBezTo>
                  <a:cubicBezTo>
                    <a:pt x="48" y="65"/>
                    <a:pt x="49" y="65"/>
                    <a:pt x="50" y="67"/>
                  </a:cubicBezTo>
                  <a:cubicBezTo>
                    <a:pt x="51" y="68"/>
                    <a:pt x="53" y="70"/>
                    <a:pt x="53" y="71"/>
                  </a:cubicBezTo>
                  <a:cubicBezTo>
                    <a:pt x="54" y="71"/>
                    <a:pt x="55" y="71"/>
                    <a:pt x="56" y="71"/>
                  </a:cubicBezTo>
                  <a:cubicBezTo>
                    <a:pt x="57" y="71"/>
                    <a:pt x="57" y="71"/>
                    <a:pt x="58" y="71"/>
                  </a:cubicBezTo>
                  <a:cubicBezTo>
                    <a:pt x="59" y="71"/>
                    <a:pt x="59" y="72"/>
                    <a:pt x="59" y="72"/>
                  </a:cubicBezTo>
                  <a:cubicBezTo>
                    <a:pt x="65" y="74"/>
                    <a:pt x="68" y="72"/>
                    <a:pt x="73" y="68"/>
                  </a:cubicBezTo>
                  <a:cubicBezTo>
                    <a:pt x="76" y="65"/>
                    <a:pt x="79" y="61"/>
                    <a:pt x="81" y="57"/>
                  </a:cubicBezTo>
                  <a:cubicBezTo>
                    <a:pt x="83" y="55"/>
                    <a:pt x="82" y="54"/>
                    <a:pt x="82" y="51"/>
                  </a:cubicBezTo>
                  <a:cubicBezTo>
                    <a:pt x="86" y="49"/>
                    <a:pt x="90" y="48"/>
                    <a:pt x="94" y="46"/>
                  </a:cubicBezTo>
                  <a:cubicBezTo>
                    <a:pt x="95" y="45"/>
                    <a:pt x="98" y="44"/>
                    <a:pt x="99" y="43"/>
                  </a:cubicBezTo>
                  <a:cubicBezTo>
                    <a:pt x="100" y="41"/>
                    <a:pt x="97" y="40"/>
                    <a:pt x="96" y="4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7" name="Freeform 138">
              <a:extLst>
                <a:ext uri="{FF2B5EF4-FFF2-40B4-BE49-F238E27FC236}">
                  <a16:creationId xmlns:a16="http://schemas.microsoft.com/office/drawing/2014/main" id="{FB44E529-35C9-4FFB-B270-9DE1EE6F2C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1763" y="-1588"/>
              <a:ext cx="2671763" cy="3179763"/>
            </a:xfrm>
            <a:custGeom>
              <a:avLst/>
              <a:gdLst/>
              <a:ahLst/>
              <a:cxnLst>
                <a:cxn ang="0">
                  <a:pos x="1352" y="75"/>
                </a:cxn>
                <a:cxn ang="0">
                  <a:pos x="1254" y="97"/>
                </a:cxn>
                <a:cxn ang="0">
                  <a:pos x="1215" y="46"/>
                </a:cxn>
                <a:cxn ang="0">
                  <a:pos x="1183" y="71"/>
                </a:cxn>
                <a:cxn ang="0">
                  <a:pos x="1101" y="166"/>
                </a:cxn>
                <a:cxn ang="0">
                  <a:pos x="1114" y="16"/>
                </a:cxn>
                <a:cxn ang="0">
                  <a:pos x="1066" y="82"/>
                </a:cxn>
                <a:cxn ang="0">
                  <a:pos x="988" y="172"/>
                </a:cxn>
                <a:cxn ang="0">
                  <a:pos x="855" y="247"/>
                </a:cxn>
                <a:cxn ang="0">
                  <a:pos x="779" y="240"/>
                </a:cxn>
                <a:cxn ang="0">
                  <a:pos x="723" y="294"/>
                </a:cxn>
                <a:cxn ang="0">
                  <a:pos x="676" y="334"/>
                </a:cxn>
                <a:cxn ang="0">
                  <a:pos x="682" y="368"/>
                </a:cxn>
                <a:cxn ang="0">
                  <a:pos x="594" y="355"/>
                </a:cxn>
                <a:cxn ang="0">
                  <a:pos x="571" y="378"/>
                </a:cxn>
                <a:cxn ang="0">
                  <a:pos x="539" y="409"/>
                </a:cxn>
                <a:cxn ang="0">
                  <a:pos x="476" y="472"/>
                </a:cxn>
                <a:cxn ang="0">
                  <a:pos x="535" y="461"/>
                </a:cxn>
                <a:cxn ang="0">
                  <a:pos x="652" y="435"/>
                </a:cxn>
                <a:cxn ang="0">
                  <a:pos x="591" y="478"/>
                </a:cxn>
                <a:cxn ang="0">
                  <a:pos x="568" y="557"/>
                </a:cxn>
                <a:cxn ang="0">
                  <a:pos x="499" y="629"/>
                </a:cxn>
                <a:cxn ang="0">
                  <a:pos x="447" y="712"/>
                </a:cxn>
                <a:cxn ang="0">
                  <a:pos x="429" y="788"/>
                </a:cxn>
                <a:cxn ang="0">
                  <a:pos x="368" y="906"/>
                </a:cxn>
                <a:cxn ang="0">
                  <a:pos x="355" y="948"/>
                </a:cxn>
                <a:cxn ang="0">
                  <a:pos x="285" y="1042"/>
                </a:cxn>
                <a:cxn ang="0">
                  <a:pos x="326" y="1063"/>
                </a:cxn>
                <a:cxn ang="0">
                  <a:pos x="324" y="1087"/>
                </a:cxn>
                <a:cxn ang="0">
                  <a:pos x="247" y="1099"/>
                </a:cxn>
                <a:cxn ang="0">
                  <a:pos x="193" y="1128"/>
                </a:cxn>
                <a:cxn ang="0">
                  <a:pos x="170" y="1142"/>
                </a:cxn>
                <a:cxn ang="0">
                  <a:pos x="177" y="1172"/>
                </a:cxn>
                <a:cxn ang="0">
                  <a:pos x="77" y="1210"/>
                </a:cxn>
                <a:cxn ang="0">
                  <a:pos x="98" y="1233"/>
                </a:cxn>
                <a:cxn ang="0">
                  <a:pos x="62" y="1256"/>
                </a:cxn>
                <a:cxn ang="0">
                  <a:pos x="66" y="1277"/>
                </a:cxn>
                <a:cxn ang="0">
                  <a:pos x="29" y="1343"/>
                </a:cxn>
                <a:cxn ang="0">
                  <a:pos x="40" y="1371"/>
                </a:cxn>
                <a:cxn ang="0">
                  <a:pos x="21" y="1424"/>
                </a:cxn>
                <a:cxn ang="0">
                  <a:pos x="37" y="1490"/>
                </a:cxn>
                <a:cxn ang="0">
                  <a:pos x="47" y="1580"/>
                </a:cxn>
                <a:cxn ang="0">
                  <a:pos x="69" y="1646"/>
                </a:cxn>
                <a:cxn ang="0">
                  <a:pos x="207" y="1675"/>
                </a:cxn>
                <a:cxn ang="0">
                  <a:pos x="315" y="1549"/>
                </a:cxn>
                <a:cxn ang="0">
                  <a:pos x="357" y="1589"/>
                </a:cxn>
                <a:cxn ang="0">
                  <a:pos x="433" y="1431"/>
                </a:cxn>
                <a:cxn ang="0">
                  <a:pos x="410" y="1221"/>
                </a:cxn>
                <a:cxn ang="0">
                  <a:pos x="444" y="1021"/>
                </a:cxn>
                <a:cxn ang="0">
                  <a:pos x="529" y="825"/>
                </a:cxn>
                <a:cxn ang="0">
                  <a:pos x="624" y="594"/>
                </a:cxn>
                <a:cxn ang="0">
                  <a:pos x="735" y="459"/>
                </a:cxn>
                <a:cxn ang="0">
                  <a:pos x="869" y="334"/>
                </a:cxn>
                <a:cxn ang="0">
                  <a:pos x="982" y="393"/>
                </a:cxn>
                <a:cxn ang="0">
                  <a:pos x="1100" y="388"/>
                </a:cxn>
                <a:cxn ang="0">
                  <a:pos x="1145" y="252"/>
                </a:cxn>
                <a:cxn ang="0">
                  <a:pos x="1261" y="192"/>
                </a:cxn>
                <a:cxn ang="0">
                  <a:pos x="1316" y="340"/>
                </a:cxn>
                <a:cxn ang="0">
                  <a:pos x="1375" y="252"/>
                </a:cxn>
                <a:cxn ang="0">
                  <a:pos x="1383" y="212"/>
                </a:cxn>
                <a:cxn ang="0">
                  <a:pos x="1340" y="204"/>
                </a:cxn>
              </a:cxnLst>
              <a:rect l="0" t="0" r="r" b="b"/>
              <a:pathLst>
                <a:path w="1429" h="1701">
                  <a:moveTo>
                    <a:pt x="1115" y="33"/>
                  </a:moveTo>
                  <a:cubicBezTo>
                    <a:pt x="1116" y="33"/>
                    <a:pt x="1117" y="33"/>
                    <a:pt x="1118" y="33"/>
                  </a:cubicBezTo>
                  <a:cubicBezTo>
                    <a:pt x="1117" y="32"/>
                    <a:pt x="1116" y="32"/>
                    <a:pt x="1115" y="33"/>
                  </a:cubicBezTo>
                  <a:moveTo>
                    <a:pt x="272" y="1065"/>
                  </a:moveTo>
                  <a:cubicBezTo>
                    <a:pt x="272" y="1065"/>
                    <a:pt x="272" y="1065"/>
                    <a:pt x="272" y="1065"/>
                  </a:cubicBezTo>
                  <a:cubicBezTo>
                    <a:pt x="271" y="1066"/>
                    <a:pt x="270" y="1066"/>
                    <a:pt x="270" y="1067"/>
                  </a:cubicBezTo>
                  <a:cubicBezTo>
                    <a:pt x="271" y="1067"/>
                    <a:pt x="272" y="1066"/>
                    <a:pt x="272" y="1065"/>
                  </a:cubicBezTo>
                  <a:moveTo>
                    <a:pt x="422" y="1463"/>
                  </a:moveTo>
                  <a:cubicBezTo>
                    <a:pt x="423" y="1463"/>
                    <a:pt x="424" y="1463"/>
                    <a:pt x="425" y="1463"/>
                  </a:cubicBezTo>
                  <a:cubicBezTo>
                    <a:pt x="424" y="1461"/>
                    <a:pt x="423" y="1462"/>
                    <a:pt x="422" y="1463"/>
                  </a:cubicBezTo>
                  <a:moveTo>
                    <a:pt x="1418" y="124"/>
                  </a:moveTo>
                  <a:cubicBezTo>
                    <a:pt x="1416" y="126"/>
                    <a:pt x="1415" y="124"/>
                    <a:pt x="1414" y="123"/>
                  </a:cubicBezTo>
                  <a:cubicBezTo>
                    <a:pt x="1411" y="121"/>
                    <a:pt x="1408" y="119"/>
                    <a:pt x="1405" y="118"/>
                  </a:cubicBezTo>
                  <a:cubicBezTo>
                    <a:pt x="1403" y="117"/>
                    <a:pt x="1401" y="115"/>
                    <a:pt x="1400" y="113"/>
                  </a:cubicBezTo>
                  <a:cubicBezTo>
                    <a:pt x="1399" y="111"/>
                    <a:pt x="1401" y="108"/>
                    <a:pt x="1398" y="106"/>
                  </a:cubicBezTo>
                  <a:cubicBezTo>
                    <a:pt x="1391" y="110"/>
                    <a:pt x="1379" y="109"/>
                    <a:pt x="1370" y="108"/>
                  </a:cubicBezTo>
                  <a:cubicBezTo>
                    <a:pt x="1370" y="104"/>
                    <a:pt x="1378" y="103"/>
                    <a:pt x="1380" y="101"/>
                  </a:cubicBezTo>
                  <a:cubicBezTo>
                    <a:pt x="1385" y="97"/>
                    <a:pt x="1382" y="94"/>
                    <a:pt x="1378" y="90"/>
                  </a:cubicBezTo>
                  <a:cubicBezTo>
                    <a:pt x="1376" y="87"/>
                    <a:pt x="1375" y="80"/>
                    <a:pt x="1371" y="79"/>
                  </a:cubicBezTo>
                  <a:cubicBezTo>
                    <a:pt x="1368" y="77"/>
                    <a:pt x="1366" y="80"/>
                    <a:pt x="1365" y="82"/>
                  </a:cubicBezTo>
                  <a:cubicBezTo>
                    <a:pt x="1361" y="85"/>
                    <a:pt x="1357" y="89"/>
                    <a:pt x="1353" y="91"/>
                  </a:cubicBezTo>
                  <a:cubicBezTo>
                    <a:pt x="1355" y="86"/>
                    <a:pt x="1358" y="77"/>
                    <a:pt x="1352" y="75"/>
                  </a:cubicBezTo>
                  <a:cubicBezTo>
                    <a:pt x="1348" y="74"/>
                    <a:pt x="1343" y="75"/>
                    <a:pt x="1341" y="77"/>
                  </a:cubicBezTo>
                  <a:cubicBezTo>
                    <a:pt x="1338" y="79"/>
                    <a:pt x="1337" y="83"/>
                    <a:pt x="1335" y="85"/>
                  </a:cubicBezTo>
                  <a:cubicBezTo>
                    <a:pt x="1332" y="87"/>
                    <a:pt x="1335" y="87"/>
                    <a:pt x="1332" y="85"/>
                  </a:cubicBezTo>
                  <a:cubicBezTo>
                    <a:pt x="1329" y="84"/>
                    <a:pt x="1328" y="80"/>
                    <a:pt x="1328" y="77"/>
                  </a:cubicBezTo>
                  <a:cubicBezTo>
                    <a:pt x="1328" y="74"/>
                    <a:pt x="1329" y="75"/>
                    <a:pt x="1330" y="72"/>
                  </a:cubicBezTo>
                  <a:cubicBezTo>
                    <a:pt x="1331" y="69"/>
                    <a:pt x="1331" y="65"/>
                    <a:pt x="1330" y="62"/>
                  </a:cubicBezTo>
                  <a:cubicBezTo>
                    <a:pt x="1328" y="58"/>
                    <a:pt x="1324" y="57"/>
                    <a:pt x="1320" y="56"/>
                  </a:cubicBezTo>
                  <a:cubicBezTo>
                    <a:pt x="1317" y="54"/>
                    <a:pt x="1312" y="49"/>
                    <a:pt x="1308" y="51"/>
                  </a:cubicBezTo>
                  <a:cubicBezTo>
                    <a:pt x="1308" y="53"/>
                    <a:pt x="1305" y="55"/>
                    <a:pt x="1304" y="56"/>
                  </a:cubicBezTo>
                  <a:cubicBezTo>
                    <a:pt x="1301" y="59"/>
                    <a:pt x="1299" y="62"/>
                    <a:pt x="1296" y="65"/>
                  </a:cubicBezTo>
                  <a:cubicBezTo>
                    <a:pt x="1291" y="70"/>
                    <a:pt x="1289" y="75"/>
                    <a:pt x="1289" y="82"/>
                  </a:cubicBezTo>
                  <a:cubicBezTo>
                    <a:pt x="1289" y="88"/>
                    <a:pt x="1289" y="94"/>
                    <a:pt x="1289" y="99"/>
                  </a:cubicBezTo>
                  <a:cubicBezTo>
                    <a:pt x="1289" y="106"/>
                    <a:pt x="1286" y="111"/>
                    <a:pt x="1285" y="118"/>
                  </a:cubicBezTo>
                  <a:cubicBezTo>
                    <a:pt x="1281" y="111"/>
                    <a:pt x="1276" y="115"/>
                    <a:pt x="1270" y="118"/>
                  </a:cubicBezTo>
                  <a:cubicBezTo>
                    <a:pt x="1268" y="119"/>
                    <a:pt x="1265" y="120"/>
                    <a:pt x="1263" y="121"/>
                  </a:cubicBezTo>
                  <a:cubicBezTo>
                    <a:pt x="1260" y="122"/>
                    <a:pt x="1247" y="123"/>
                    <a:pt x="1245" y="120"/>
                  </a:cubicBezTo>
                  <a:cubicBezTo>
                    <a:pt x="1248" y="117"/>
                    <a:pt x="1252" y="118"/>
                    <a:pt x="1255" y="115"/>
                  </a:cubicBezTo>
                  <a:cubicBezTo>
                    <a:pt x="1257" y="114"/>
                    <a:pt x="1257" y="112"/>
                    <a:pt x="1259" y="110"/>
                  </a:cubicBezTo>
                  <a:cubicBezTo>
                    <a:pt x="1261" y="107"/>
                    <a:pt x="1265" y="105"/>
                    <a:pt x="1268" y="103"/>
                  </a:cubicBezTo>
                  <a:cubicBezTo>
                    <a:pt x="1274" y="99"/>
                    <a:pt x="1279" y="95"/>
                    <a:pt x="1283" y="89"/>
                  </a:cubicBezTo>
                  <a:cubicBezTo>
                    <a:pt x="1278" y="93"/>
                    <a:pt x="1272" y="93"/>
                    <a:pt x="1267" y="94"/>
                  </a:cubicBezTo>
                  <a:cubicBezTo>
                    <a:pt x="1262" y="95"/>
                    <a:pt x="1259" y="96"/>
                    <a:pt x="1254" y="97"/>
                  </a:cubicBezTo>
                  <a:cubicBezTo>
                    <a:pt x="1247" y="97"/>
                    <a:pt x="1239" y="98"/>
                    <a:pt x="1232" y="97"/>
                  </a:cubicBezTo>
                  <a:cubicBezTo>
                    <a:pt x="1236" y="94"/>
                    <a:pt x="1239" y="90"/>
                    <a:pt x="1243" y="88"/>
                  </a:cubicBezTo>
                  <a:cubicBezTo>
                    <a:pt x="1248" y="85"/>
                    <a:pt x="1254" y="81"/>
                    <a:pt x="1257" y="76"/>
                  </a:cubicBezTo>
                  <a:cubicBezTo>
                    <a:pt x="1260" y="71"/>
                    <a:pt x="1259" y="69"/>
                    <a:pt x="1255" y="67"/>
                  </a:cubicBezTo>
                  <a:cubicBezTo>
                    <a:pt x="1253" y="66"/>
                    <a:pt x="1247" y="66"/>
                    <a:pt x="1249" y="62"/>
                  </a:cubicBezTo>
                  <a:cubicBezTo>
                    <a:pt x="1249" y="61"/>
                    <a:pt x="1252" y="60"/>
                    <a:pt x="1253" y="60"/>
                  </a:cubicBezTo>
                  <a:cubicBezTo>
                    <a:pt x="1258" y="60"/>
                    <a:pt x="1261" y="60"/>
                    <a:pt x="1265" y="62"/>
                  </a:cubicBezTo>
                  <a:cubicBezTo>
                    <a:pt x="1269" y="63"/>
                    <a:pt x="1277" y="63"/>
                    <a:pt x="1279" y="58"/>
                  </a:cubicBezTo>
                  <a:cubicBezTo>
                    <a:pt x="1279" y="57"/>
                    <a:pt x="1278" y="55"/>
                    <a:pt x="1279" y="54"/>
                  </a:cubicBezTo>
                  <a:cubicBezTo>
                    <a:pt x="1279" y="52"/>
                    <a:pt x="1282" y="50"/>
                    <a:pt x="1283" y="48"/>
                  </a:cubicBezTo>
                  <a:cubicBezTo>
                    <a:pt x="1287" y="44"/>
                    <a:pt x="1292" y="41"/>
                    <a:pt x="1290" y="36"/>
                  </a:cubicBezTo>
                  <a:cubicBezTo>
                    <a:pt x="1287" y="30"/>
                    <a:pt x="1276" y="33"/>
                    <a:pt x="1270" y="33"/>
                  </a:cubicBezTo>
                  <a:cubicBezTo>
                    <a:pt x="1270" y="29"/>
                    <a:pt x="1272" y="21"/>
                    <a:pt x="1268" y="18"/>
                  </a:cubicBezTo>
                  <a:cubicBezTo>
                    <a:pt x="1263" y="14"/>
                    <a:pt x="1254" y="21"/>
                    <a:pt x="1250" y="20"/>
                  </a:cubicBezTo>
                  <a:cubicBezTo>
                    <a:pt x="1249" y="16"/>
                    <a:pt x="1251" y="4"/>
                    <a:pt x="1244" y="6"/>
                  </a:cubicBezTo>
                  <a:cubicBezTo>
                    <a:pt x="1240" y="8"/>
                    <a:pt x="1239" y="16"/>
                    <a:pt x="1238" y="20"/>
                  </a:cubicBezTo>
                  <a:cubicBezTo>
                    <a:pt x="1237" y="22"/>
                    <a:pt x="1234" y="32"/>
                    <a:pt x="1231" y="33"/>
                  </a:cubicBezTo>
                  <a:cubicBezTo>
                    <a:pt x="1227" y="34"/>
                    <a:pt x="1225" y="25"/>
                    <a:pt x="1221" y="25"/>
                  </a:cubicBezTo>
                  <a:cubicBezTo>
                    <a:pt x="1215" y="24"/>
                    <a:pt x="1217" y="32"/>
                    <a:pt x="1217" y="36"/>
                  </a:cubicBezTo>
                  <a:cubicBezTo>
                    <a:pt x="1217" y="36"/>
                    <a:pt x="1217" y="36"/>
                    <a:pt x="1217" y="36"/>
                  </a:cubicBezTo>
                  <a:cubicBezTo>
                    <a:pt x="1216" y="38"/>
                    <a:pt x="1211" y="39"/>
                    <a:pt x="1210" y="42"/>
                  </a:cubicBezTo>
                  <a:cubicBezTo>
                    <a:pt x="1209" y="47"/>
                    <a:pt x="1213" y="43"/>
                    <a:pt x="1215" y="46"/>
                  </a:cubicBezTo>
                  <a:cubicBezTo>
                    <a:pt x="1216" y="47"/>
                    <a:pt x="1216" y="49"/>
                    <a:pt x="1217" y="50"/>
                  </a:cubicBezTo>
                  <a:cubicBezTo>
                    <a:pt x="1218" y="51"/>
                    <a:pt x="1222" y="53"/>
                    <a:pt x="1224" y="53"/>
                  </a:cubicBezTo>
                  <a:cubicBezTo>
                    <a:pt x="1219" y="52"/>
                    <a:pt x="1219" y="56"/>
                    <a:pt x="1219" y="60"/>
                  </a:cubicBezTo>
                  <a:cubicBezTo>
                    <a:pt x="1219" y="65"/>
                    <a:pt x="1219" y="67"/>
                    <a:pt x="1216" y="71"/>
                  </a:cubicBezTo>
                  <a:cubicBezTo>
                    <a:pt x="1211" y="77"/>
                    <a:pt x="1205" y="81"/>
                    <a:pt x="1204" y="90"/>
                  </a:cubicBezTo>
                  <a:cubicBezTo>
                    <a:pt x="1203" y="94"/>
                    <a:pt x="1204" y="99"/>
                    <a:pt x="1202" y="104"/>
                  </a:cubicBezTo>
                  <a:cubicBezTo>
                    <a:pt x="1201" y="107"/>
                    <a:pt x="1198" y="108"/>
                    <a:pt x="1197" y="111"/>
                  </a:cubicBezTo>
                  <a:cubicBezTo>
                    <a:pt x="1197" y="114"/>
                    <a:pt x="1198" y="117"/>
                    <a:pt x="1198" y="119"/>
                  </a:cubicBezTo>
                  <a:cubicBezTo>
                    <a:pt x="1197" y="121"/>
                    <a:pt x="1194" y="123"/>
                    <a:pt x="1193" y="124"/>
                  </a:cubicBezTo>
                  <a:cubicBezTo>
                    <a:pt x="1189" y="127"/>
                    <a:pt x="1189" y="128"/>
                    <a:pt x="1187" y="132"/>
                  </a:cubicBezTo>
                  <a:cubicBezTo>
                    <a:pt x="1185" y="135"/>
                    <a:pt x="1183" y="135"/>
                    <a:pt x="1183" y="139"/>
                  </a:cubicBezTo>
                  <a:cubicBezTo>
                    <a:pt x="1183" y="140"/>
                    <a:pt x="1183" y="141"/>
                    <a:pt x="1183" y="142"/>
                  </a:cubicBezTo>
                  <a:cubicBezTo>
                    <a:pt x="1181" y="142"/>
                    <a:pt x="1178" y="142"/>
                    <a:pt x="1176" y="142"/>
                  </a:cubicBezTo>
                  <a:cubicBezTo>
                    <a:pt x="1176" y="142"/>
                    <a:pt x="1176" y="142"/>
                    <a:pt x="1176" y="142"/>
                  </a:cubicBezTo>
                  <a:cubicBezTo>
                    <a:pt x="1177" y="138"/>
                    <a:pt x="1180" y="134"/>
                    <a:pt x="1182" y="129"/>
                  </a:cubicBezTo>
                  <a:cubicBezTo>
                    <a:pt x="1183" y="127"/>
                    <a:pt x="1182" y="125"/>
                    <a:pt x="1183" y="122"/>
                  </a:cubicBezTo>
                  <a:cubicBezTo>
                    <a:pt x="1184" y="119"/>
                    <a:pt x="1185" y="117"/>
                    <a:pt x="1185" y="113"/>
                  </a:cubicBezTo>
                  <a:cubicBezTo>
                    <a:pt x="1185" y="109"/>
                    <a:pt x="1185" y="105"/>
                    <a:pt x="1185" y="101"/>
                  </a:cubicBezTo>
                  <a:cubicBezTo>
                    <a:pt x="1186" y="97"/>
                    <a:pt x="1188" y="92"/>
                    <a:pt x="1187" y="88"/>
                  </a:cubicBezTo>
                  <a:cubicBezTo>
                    <a:pt x="1187" y="87"/>
                    <a:pt x="1186" y="83"/>
                    <a:pt x="1185" y="83"/>
                  </a:cubicBezTo>
                  <a:cubicBezTo>
                    <a:pt x="1182" y="81"/>
                    <a:pt x="1178" y="82"/>
                    <a:pt x="1179" y="77"/>
                  </a:cubicBezTo>
                  <a:cubicBezTo>
                    <a:pt x="1179" y="74"/>
                    <a:pt x="1181" y="73"/>
                    <a:pt x="1183" y="71"/>
                  </a:cubicBezTo>
                  <a:cubicBezTo>
                    <a:pt x="1187" y="69"/>
                    <a:pt x="1189" y="68"/>
                    <a:pt x="1189" y="63"/>
                  </a:cubicBezTo>
                  <a:cubicBezTo>
                    <a:pt x="1189" y="60"/>
                    <a:pt x="1189" y="58"/>
                    <a:pt x="1189" y="55"/>
                  </a:cubicBezTo>
                  <a:cubicBezTo>
                    <a:pt x="1189" y="47"/>
                    <a:pt x="1198" y="40"/>
                    <a:pt x="1193" y="32"/>
                  </a:cubicBezTo>
                  <a:cubicBezTo>
                    <a:pt x="1191" y="32"/>
                    <a:pt x="1185" y="32"/>
                    <a:pt x="1183" y="32"/>
                  </a:cubicBezTo>
                  <a:cubicBezTo>
                    <a:pt x="1182" y="33"/>
                    <a:pt x="1181" y="35"/>
                    <a:pt x="1180" y="37"/>
                  </a:cubicBezTo>
                  <a:cubicBezTo>
                    <a:pt x="1176" y="41"/>
                    <a:pt x="1171" y="45"/>
                    <a:pt x="1167" y="49"/>
                  </a:cubicBezTo>
                  <a:cubicBezTo>
                    <a:pt x="1161" y="53"/>
                    <a:pt x="1156" y="54"/>
                    <a:pt x="1156" y="61"/>
                  </a:cubicBezTo>
                  <a:cubicBezTo>
                    <a:pt x="1156" y="66"/>
                    <a:pt x="1156" y="70"/>
                    <a:pt x="1156" y="75"/>
                  </a:cubicBezTo>
                  <a:cubicBezTo>
                    <a:pt x="1156" y="80"/>
                    <a:pt x="1154" y="83"/>
                    <a:pt x="1151" y="87"/>
                  </a:cubicBezTo>
                  <a:cubicBezTo>
                    <a:pt x="1147" y="93"/>
                    <a:pt x="1141" y="99"/>
                    <a:pt x="1139" y="106"/>
                  </a:cubicBezTo>
                  <a:cubicBezTo>
                    <a:pt x="1138" y="113"/>
                    <a:pt x="1141" y="122"/>
                    <a:pt x="1134" y="128"/>
                  </a:cubicBezTo>
                  <a:cubicBezTo>
                    <a:pt x="1130" y="132"/>
                    <a:pt x="1121" y="131"/>
                    <a:pt x="1118" y="134"/>
                  </a:cubicBezTo>
                  <a:cubicBezTo>
                    <a:pt x="1117" y="135"/>
                    <a:pt x="1116" y="138"/>
                    <a:pt x="1116" y="139"/>
                  </a:cubicBezTo>
                  <a:cubicBezTo>
                    <a:pt x="1117" y="141"/>
                    <a:pt x="1119" y="141"/>
                    <a:pt x="1120" y="142"/>
                  </a:cubicBezTo>
                  <a:cubicBezTo>
                    <a:pt x="1123" y="145"/>
                    <a:pt x="1122" y="147"/>
                    <a:pt x="1119" y="148"/>
                  </a:cubicBezTo>
                  <a:cubicBezTo>
                    <a:pt x="1117" y="149"/>
                    <a:pt x="1116" y="147"/>
                    <a:pt x="1114" y="149"/>
                  </a:cubicBezTo>
                  <a:cubicBezTo>
                    <a:pt x="1115" y="148"/>
                    <a:pt x="1112" y="155"/>
                    <a:pt x="1113" y="153"/>
                  </a:cubicBezTo>
                  <a:cubicBezTo>
                    <a:pt x="1111" y="156"/>
                    <a:pt x="1109" y="160"/>
                    <a:pt x="1108" y="164"/>
                  </a:cubicBezTo>
                  <a:cubicBezTo>
                    <a:pt x="1107" y="168"/>
                    <a:pt x="1108" y="171"/>
                    <a:pt x="1108" y="175"/>
                  </a:cubicBezTo>
                  <a:cubicBezTo>
                    <a:pt x="1108" y="175"/>
                    <a:pt x="1107" y="175"/>
                    <a:pt x="1107" y="176"/>
                  </a:cubicBezTo>
                  <a:cubicBezTo>
                    <a:pt x="1106" y="177"/>
                    <a:pt x="1105" y="178"/>
                    <a:pt x="1103" y="175"/>
                  </a:cubicBezTo>
                  <a:cubicBezTo>
                    <a:pt x="1101" y="173"/>
                    <a:pt x="1102" y="169"/>
                    <a:pt x="1101" y="166"/>
                  </a:cubicBezTo>
                  <a:cubicBezTo>
                    <a:pt x="1101" y="165"/>
                    <a:pt x="1100" y="165"/>
                    <a:pt x="1100" y="164"/>
                  </a:cubicBezTo>
                  <a:cubicBezTo>
                    <a:pt x="1100" y="159"/>
                    <a:pt x="1101" y="159"/>
                    <a:pt x="1095" y="158"/>
                  </a:cubicBezTo>
                  <a:cubicBezTo>
                    <a:pt x="1094" y="158"/>
                    <a:pt x="1093" y="158"/>
                    <a:pt x="1093" y="158"/>
                  </a:cubicBezTo>
                  <a:cubicBezTo>
                    <a:pt x="1094" y="154"/>
                    <a:pt x="1096" y="154"/>
                    <a:pt x="1101" y="152"/>
                  </a:cubicBezTo>
                  <a:cubicBezTo>
                    <a:pt x="1110" y="148"/>
                    <a:pt x="1104" y="137"/>
                    <a:pt x="1106" y="129"/>
                  </a:cubicBezTo>
                  <a:cubicBezTo>
                    <a:pt x="1107" y="124"/>
                    <a:pt x="1112" y="119"/>
                    <a:pt x="1112" y="114"/>
                  </a:cubicBezTo>
                  <a:cubicBezTo>
                    <a:pt x="1111" y="111"/>
                    <a:pt x="1110" y="110"/>
                    <a:pt x="1110" y="108"/>
                  </a:cubicBezTo>
                  <a:cubicBezTo>
                    <a:pt x="1111" y="105"/>
                    <a:pt x="1114" y="101"/>
                    <a:pt x="1117" y="99"/>
                  </a:cubicBezTo>
                  <a:cubicBezTo>
                    <a:pt x="1119" y="96"/>
                    <a:pt x="1120" y="95"/>
                    <a:pt x="1122" y="92"/>
                  </a:cubicBezTo>
                  <a:cubicBezTo>
                    <a:pt x="1124" y="89"/>
                    <a:pt x="1126" y="85"/>
                    <a:pt x="1128" y="83"/>
                  </a:cubicBezTo>
                  <a:cubicBezTo>
                    <a:pt x="1130" y="80"/>
                    <a:pt x="1133" y="80"/>
                    <a:pt x="1134" y="77"/>
                  </a:cubicBezTo>
                  <a:cubicBezTo>
                    <a:pt x="1135" y="74"/>
                    <a:pt x="1132" y="70"/>
                    <a:pt x="1133" y="67"/>
                  </a:cubicBezTo>
                  <a:cubicBezTo>
                    <a:pt x="1133" y="62"/>
                    <a:pt x="1137" y="61"/>
                    <a:pt x="1141" y="58"/>
                  </a:cubicBezTo>
                  <a:cubicBezTo>
                    <a:pt x="1145" y="56"/>
                    <a:pt x="1149" y="47"/>
                    <a:pt x="1142" y="49"/>
                  </a:cubicBezTo>
                  <a:cubicBezTo>
                    <a:pt x="1141" y="45"/>
                    <a:pt x="1141" y="39"/>
                    <a:pt x="1143" y="36"/>
                  </a:cubicBezTo>
                  <a:cubicBezTo>
                    <a:pt x="1146" y="31"/>
                    <a:pt x="1155" y="35"/>
                    <a:pt x="1158" y="29"/>
                  </a:cubicBezTo>
                  <a:cubicBezTo>
                    <a:pt x="1156" y="26"/>
                    <a:pt x="1148" y="26"/>
                    <a:pt x="1145" y="24"/>
                  </a:cubicBezTo>
                  <a:cubicBezTo>
                    <a:pt x="1141" y="23"/>
                    <a:pt x="1139" y="21"/>
                    <a:pt x="1140" y="18"/>
                  </a:cubicBezTo>
                  <a:cubicBezTo>
                    <a:pt x="1141" y="16"/>
                    <a:pt x="1142" y="15"/>
                    <a:pt x="1144" y="15"/>
                  </a:cubicBezTo>
                  <a:cubicBezTo>
                    <a:pt x="1147" y="11"/>
                    <a:pt x="1141" y="0"/>
                    <a:pt x="1136" y="1"/>
                  </a:cubicBezTo>
                  <a:cubicBezTo>
                    <a:pt x="1135" y="5"/>
                    <a:pt x="1133" y="12"/>
                    <a:pt x="1130" y="15"/>
                  </a:cubicBezTo>
                  <a:cubicBezTo>
                    <a:pt x="1127" y="18"/>
                    <a:pt x="1118" y="15"/>
                    <a:pt x="1114" y="16"/>
                  </a:cubicBezTo>
                  <a:cubicBezTo>
                    <a:pt x="1112" y="17"/>
                    <a:pt x="1109" y="19"/>
                    <a:pt x="1111" y="22"/>
                  </a:cubicBezTo>
                  <a:cubicBezTo>
                    <a:pt x="1113" y="25"/>
                    <a:pt x="1115" y="24"/>
                    <a:pt x="1117" y="24"/>
                  </a:cubicBezTo>
                  <a:cubicBezTo>
                    <a:pt x="1121" y="25"/>
                    <a:pt x="1123" y="28"/>
                    <a:pt x="1124" y="32"/>
                  </a:cubicBezTo>
                  <a:cubicBezTo>
                    <a:pt x="1123" y="33"/>
                    <a:pt x="1120" y="33"/>
                    <a:pt x="1118" y="33"/>
                  </a:cubicBezTo>
                  <a:cubicBezTo>
                    <a:pt x="1121" y="34"/>
                    <a:pt x="1122" y="41"/>
                    <a:pt x="1124" y="44"/>
                  </a:cubicBezTo>
                  <a:cubicBezTo>
                    <a:pt x="1127" y="51"/>
                    <a:pt x="1125" y="57"/>
                    <a:pt x="1117" y="58"/>
                  </a:cubicBezTo>
                  <a:cubicBezTo>
                    <a:pt x="1114" y="58"/>
                    <a:pt x="1112" y="58"/>
                    <a:pt x="1111" y="56"/>
                  </a:cubicBezTo>
                  <a:cubicBezTo>
                    <a:pt x="1109" y="54"/>
                    <a:pt x="1108" y="51"/>
                    <a:pt x="1109" y="49"/>
                  </a:cubicBezTo>
                  <a:cubicBezTo>
                    <a:pt x="1106" y="47"/>
                    <a:pt x="1103" y="48"/>
                    <a:pt x="1100" y="48"/>
                  </a:cubicBezTo>
                  <a:cubicBezTo>
                    <a:pt x="1100" y="44"/>
                    <a:pt x="1099" y="38"/>
                    <a:pt x="1096" y="35"/>
                  </a:cubicBezTo>
                  <a:cubicBezTo>
                    <a:pt x="1092" y="37"/>
                    <a:pt x="1092" y="41"/>
                    <a:pt x="1087" y="39"/>
                  </a:cubicBezTo>
                  <a:cubicBezTo>
                    <a:pt x="1082" y="36"/>
                    <a:pt x="1083" y="29"/>
                    <a:pt x="1079" y="26"/>
                  </a:cubicBezTo>
                  <a:cubicBezTo>
                    <a:pt x="1069" y="16"/>
                    <a:pt x="1074" y="39"/>
                    <a:pt x="1075" y="43"/>
                  </a:cubicBezTo>
                  <a:cubicBezTo>
                    <a:pt x="1075" y="47"/>
                    <a:pt x="1077" y="48"/>
                    <a:pt x="1078" y="52"/>
                  </a:cubicBezTo>
                  <a:cubicBezTo>
                    <a:pt x="1078" y="57"/>
                    <a:pt x="1077" y="63"/>
                    <a:pt x="1070" y="60"/>
                  </a:cubicBezTo>
                  <a:cubicBezTo>
                    <a:pt x="1066" y="58"/>
                    <a:pt x="1063" y="50"/>
                    <a:pt x="1058" y="53"/>
                  </a:cubicBezTo>
                  <a:cubicBezTo>
                    <a:pt x="1053" y="56"/>
                    <a:pt x="1056" y="61"/>
                    <a:pt x="1059" y="64"/>
                  </a:cubicBezTo>
                  <a:cubicBezTo>
                    <a:pt x="1062" y="68"/>
                    <a:pt x="1068" y="68"/>
                    <a:pt x="1072" y="71"/>
                  </a:cubicBezTo>
                  <a:cubicBezTo>
                    <a:pt x="1075" y="74"/>
                    <a:pt x="1075" y="77"/>
                    <a:pt x="1076" y="80"/>
                  </a:cubicBezTo>
                  <a:cubicBezTo>
                    <a:pt x="1078" y="82"/>
                    <a:pt x="1081" y="89"/>
                    <a:pt x="1076" y="91"/>
                  </a:cubicBezTo>
                  <a:cubicBezTo>
                    <a:pt x="1072" y="92"/>
                    <a:pt x="1074" y="89"/>
                    <a:pt x="1072" y="87"/>
                  </a:cubicBezTo>
                  <a:cubicBezTo>
                    <a:pt x="1070" y="85"/>
                    <a:pt x="1067" y="86"/>
                    <a:pt x="1066" y="82"/>
                  </a:cubicBezTo>
                  <a:cubicBezTo>
                    <a:pt x="1063" y="83"/>
                    <a:pt x="1062" y="87"/>
                    <a:pt x="1060" y="90"/>
                  </a:cubicBezTo>
                  <a:cubicBezTo>
                    <a:pt x="1057" y="93"/>
                    <a:pt x="1050" y="96"/>
                    <a:pt x="1051" y="102"/>
                  </a:cubicBezTo>
                  <a:cubicBezTo>
                    <a:pt x="1051" y="106"/>
                    <a:pt x="1052" y="107"/>
                    <a:pt x="1055" y="109"/>
                  </a:cubicBezTo>
                  <a:cubicBezTo>
                    <a:pt x="1058" y="111"/>
                    <a:pt x="1058" y="108"/>
                    <a:pt x="1059" y="112"/>
                  </a:cubicBezTo>
                  <a:cubicBezTo>
                    <a:pt x="1060" y="115"/>
                    <a:pt x="1060" y="117"/>
                    <a:pt x="1059" y="119"/>
                  </a:cubicBezTo>
                  <a:cubicBezTo>
                    <a:pt x="1057" y="118"/>
                    <a:pt x="1053" y="117"/>
                    <a:pt x="1051" y="115"/>
                  </a:cubicBezTo>
                  <a:cubicBezTo>
                    <a:pt x="1047" y="113"/>
                    <a:pt x="1048" y="110"/>
                    <a:pt x="1042" y="110"/>
                  </a:cubicBezTo>
                  <a:cubicBezTo>
                    <a:pt x="1036" y="110"/>
                    <a:pt x="1034" y="117"/>
                    <a:pt x="1031" y="122"/>
                  </a:cubicBezTo>
                  <a:cubicBezTo>
                    <a:pt x="1028" y="125"/>
                    <a:pt x="1025" y="129"/>
                    <a:pt x="1022" y="132"/>
                  </a:cubicBezTo>
                  <a:cubicBezTo>
                    <a:pt x="1020" y="134"/>
                    <a:pt x="1015" y="136"/>
                    <a:pt x="1015" y="139"/>
                  </a:cubicBezTo>
                  <a:cubicBezTo>
                    <a:pt x="1016" y="139"/>
                    <a:pt x="1016" y="140"/>
                    <a:pt x="1016" y="141"/>
                  </a:cubicBezTo>
                  <a:cubicBezTo>
                    <a:pt x="1017" y="143"/>
                    <a:pt x="1017" y="144"/>
                    <a:pt x="1016" y="147"/>
                  </a:cubicBezTo>
                  <a:cubicBezTo>
                    <a:pt x="1013" y="158"/>
                    <a:pt x="1006" y="153"/>
                    <a:pt x="998" y="156"/>
                  </a:cubicBezTo>
                  <a:cubicBezTo>
                    <a:pt x="997" y="158"/>
                    <a:pt x="1011" y="165"/>
                    <a:pt x="1013" y="169"/>
                  </a:cubicBezTo>
                  <a:cubicBezTo>
                    <a:pt x="1008" y="171"/>
                    <a:pt x="1000" y="171"/>
                    <a:pt x="1002" y="178"/>
                  </a:cubicBezTo>
                  <a:cubicBezTo>
                    <a:pt x="1003" y="182"/>
                    <a:pt x="1006" y="188"/>
                    <a:pt x="1008" y="190"/>
                  </a:cubicBezTo>
                  <a:cubicBezTo>
                    <a:pt x="1010" y="193"/>
                    <a:pt x="1011" y="193"/>
                    <a:pt x="1012" y="194"/>
                  </a:cubicBezTo>
                  <a:cubicBezTo>
                    <a:pt x="1012" y="194"/>
                    <a:pt x="1011" y="194"/>
                    <a:pt x="1010" y="194"/>
                  </a:cubicBezTo>
                  <a:cubicBezTo>
                    <a:pt x="1006" y="193"/>
                    <a:pt x="1001" y="192"/>
                    <a:pt x="996" y="192"/>
                  </a:cubicBezTo>
                  <a:cubicBezTo>
                    <a:pt x="993" y="191"/>
                    <a:pt x="991" y="191"/>
                    <a:pt x="989" y="188"/>
                  </a:cubicBezTo>
                  <a:cubicBezTo>
                    <a:pt x="987" y="185"/>
                    <a:pt x="986" y="180"/>
                    <a:pt x="987" y="176"/>
                  </a:cubicBezTo>
                  <a:cubicBezTo>
                    <a:pt x="987" y="175"/>
                    <a:pt x="988" y="173"/>
                    <a:pt x="988" y="172"/>
                  </a:cubicBezTo>
                  <a:cubicBezTo>
                    <a:pt x="983" y="170"/>
                    <a:pt x="978" y="178"/>
                    <a:pt x="974" y="174"/>
                  </a:cubicBezTo>
                  <a:cubicBezTo>
                    <a:pt x="968" y="166"/>
                    <a:pt x="984" y="161"/>
                    <a:pt x="982" y="156"/>
                  </a:cubicBezTo>
                  <a:cubicBezTo>
                    <a:pt x="977" y="154"/>
                    <a:pt x="971" y="155"/>
                    <a:pt x="966" y="155"/>
                  </a:cubicBezTo>
                  <a:cubicBezTo>
                    <a:pt x="964" y="154"/>
                    <a:pt x="959" y="152"/>
                    <a:pt x="957" y="154"/>
                  </a:cubicBezTo>
                  <a:cubicBezTo>
                    <a:pt x="955" y="156"/>
                    <a:pt x="958" y="160"/>
                    <a:pt x="956" y="162"/>
                  </a:cubicBezTo>
                  <a:cubicBezTo>
                    <a:pt x="955" y="164"/>
                    <a:pt x="951" y="163"/>
                    <a:pt x="949" y="162"/>
                  </a:cubicBezTo>
                  <a:cubicBezTo>
                    <a:pt x="945" y="161"/>
                    <a:pt x="941" y="158"/>
                    <a:pt x="941" y="154"/>
                  </a:cubicBezTo>
                  <a:cubicBezTo>
                    <a:pt x="942" y="151"/>
                    <a:pt x="945" y="149"/>
                    <a:pt x="943" y="146"/>
                  </a:cubicBezTo>
                  <a:cubicBezTo>
                    <a:pt x="942" y="145"/>
                    <a:pt x="934" y="145"/>
                    <a:pt x="933" y="145"/>
                  </a:cubicBezTo>
                  <a:cubicBezTo>
                    <a:pt x="930" y="146"/>
                    <a:pt x="930" y="147"/>
                    <a:pt x="929" y="150"/>
                  </a:cubicBezTo>
                  <a:cubicBezTo>
                    <a:pt x="929" y="153"/>
                    <a:pt x="929" y="158"/>
                    <a:pt x="929" y="162"/>
                  </a:cubicBezTo>
                  <a:cubicBezTo>
                    <a:pt x="929" y="176"/>
                    <a:pt x="925" y="188"/>
                    <a:pt x="918" y="200"/>
                  </a:cubicBezTo>
                  <a:cubicBezTo>
                    <a:pt x="918" y="201"/>
                    <a:pt x="917" y="201"/>
                    <a:pt x="917" y="202"/>
                  </a:cubicBezTo>
                  <a:cubicBezTo>
                    <a:pt x="915" y="201"/>
                    <a:pt x="913" y="199"/>
                    <a:pt x="912" y="198"/>
                  </a:cubicBezTo>
                  <a:cubicBezTo>
                    <a:pt x="908" y="193"/>
                    <a:pt x="908" y="188"/>
                    <a:pt x="900" y="187"/>
                  </a:cubicBezTo>
                  <a:cubicBezTo>
                    <a:pt x="892" y="187"/>
                    <a:pt x="895" y="199"/>
                    <a:pt x="891" y="204"/>
                  </a:cubicBezTo>
                  <a:cubicBezTo>
                    <a:pt x="889" y="208"/>
                    <a:pt x="885" y="207"/>
                    <a:pt x="881" y="209"/>
                  </a:cubicBezTo>
                  <a:cubicBezTo>
                    <a:pt x="878" y="211"/>
                    <a:pt x="877" y="211"/>
                    <a:pt x="872" y="212"/>
                  </a:cubicBezTo>
                  <a:cubicBezTo>
                    <a:pt x="867" y="213"/>
                    <a:pt x="867" y="216"/>
                    <a:pt x="866" y="220"/>
                  </a:cubicBezTo>
                  <a:cubicBezTo>
                    <a:pt x="865" y="225"/>
                    <a:pt x="860" y="222"/>
                    <a:pt x="857" y="225"/>
                  </a:cubicBezTo>
                  <a:cubicBezTo>
                    <a:pt x="856" y="226"/>
                    <a:pt x="855" y="235"/>
                    <a:pt x="854" y="237"/>
                  </a:cubicBezTo>
                  <a:cubicBezTo>
                    <a:pt x="854" y="240"/>
                    <a:pt x="854" y="244"/>
                    <a:pt x="855" y="247"/>
                  </a:cubicBezTo>
                  <a:cubicBezTo>
                    <a:pt x="856" y="252"/>
                    <a:pt x="860" y="255"/>
                    <a:pt x="858" y="260"/>
                  </a:cubicBezTo>
                  <a:cubicBezTo>
                    <a:pt x="853" y="262"/>
                    <a:pt x="853" y="255"/>
                    <a:pt x="851" y="253"/>
                  </a:cubicBezTo>
                  <a:cubicBezTo>
                    <a:pt x="847" y="256"/>
                    <a:pt x="846" y="261"/>
                    <a:pt x="844" y="265"/>
                  </a:cubicBezTo>
                  <a:cubicBezTo>
                    <a:pt x="843" y="268"/>
                    <a:pt x="841" y="270"/>
                    <a:pt x="839" y="273"/>
                  </a:cubicBezTo>
                  <a:cubicBezTo>
                    <a:pt x="839" y="268"/>
                    <a:pt x="839" y="263"/>
                    <a:pt x="839" y="257"/>
                  </a:cubicBezTo>
                  <a:cubicBezTo>
                    <a:pt x="840" y="252"/>
                    <a:pt x="844" y="251"/>
                    <a:pt x="844" y="246"/>
                  </a:cubicBezTo>
                  <a:cubicBezTo>
                    <a:pt x="845" y="241"/>
                    <a:pt x="840" y="240"/>
                    <a:pt x="839" y="236"/>
                  </a:cubicBezTo>
                  <a:cubicBezTo>
                    <a:pt x="837" y="232"/>
                    <a:pt x="837" y="227"/>
                    <a:pt x="838" y="223"/>
                  </a:cubicBezTo>
                  <a:cubicBezTo>
                    <a:pt x="839" y="219"/>
                    <a:pt x="842" y="214"/>
                    <a:pt x="842" y="210"/>
                  </a:cubicBezTo>
                  <a:cubicBezTo>
                    <a:pt x="842" y="205"/>
                    <a:pt x="837" y="205"/>
                    <a:pt x="833" y="205"/>
                  </a:cubicBezTo>
                  <a:cubicBezTo>
                    <a:pt x="830" y="205"/>
                    <a:pt x="827" y="204"/>
                    <a:pt x="825" y="206"/>
                  </a:cubicBezTo>
                  <a:cubicBezTo>
                    <a:pt x="823" y="208"/>
                    <a:pt x="825" y="211"/>
                    <a:pt x="824" y="214"/>
                  </a:cubicBezTo>
                  <a:cubicBezTo>
                    <a:pt x="822" y="223"/>
                    <a:pt x="815" y="231"/>
                    <a:pt x="815" y="241"/>
                  </a:cubicBezTo>
                  <a:cubicBezTo>
                    <a:pt x="815" y="245"/>
                    <a:pt x="815" y="249"/>
                    <a:pt x="814" y="253"/>
                  </a:cubicBezTo>
                  <a:cubicBezTo>
                    <a:pt x="813" y="256"/>
                    <a:pt x="811" y="260"/>
                    <a:pt x="811" y="263"/>
                  </a:cubicBezTo>
                  <a:cubicBezTo>
                    <a:pt x="806" y="259"/>
                    <a:pt x="804" y="249"/>
                    <a:pt x="807" y="243"/>
                  </a:cubicBezTo>
                  <a:cubicBezTo>
                    <a:pt x="808" y="240"/>
                    <a:pt x="809" y="240"/>
                    <a:pt x="809" y="237"/>
                  </a:cubicBezTo>
                  <a:cubicBezTo>
                    <a:pt x="809" y="235"/>
                    <a:pt x="811" y="231"/>
                    <a:pt x="810" y="229"/>
                  </a:cubicBezTo>
                  <a:cubicBezTo>
                    <a:pt x="809" y="223"/>
                    <a:pt x="798" y="231"/>
                    <a:pt x="794" y="233"/>
                  </a:cubicBezTo>
                  <a:cubicBezTo>
                    <a:pt x="791" y="234"/>
                    <a:pt x="790" y="235"/>
                    <a:pt x="787" y="235"/>
                  </a:cubicBezTo>
                  <a:cubicBezTo>
                    <a:pt x="783" y="235"/>
                    <a:pt x="781" y="234"/>
                    <a:pt x="779" y="236"/>
                  </a:cubicBezTo>
                  <a:cubicBezTo>
                    <a:pt x="779" y="237"/>
                    <a:pt x="779" y="239"/>
                    <a:pt x="779" y="240"/>
                  </a:cubicBezTo>
                  <a:cubicBezTo>
                    <a:pt x="778" y="241"/>
                    <a:pt x="776" y="241"/>
                    <a:pt x="774" y="242"/>
                  </a:cubicBezTo>
                  <a:cubicBezTo>
                    <a:pt x="772" y="243"/>
                    <a:pt x="771" y="243"/>
                    <a:pt x="770" y="245"/>
                  </a:cubicBezTo>
                  <a:cubicBezTo>
                    <a:pt x="767" y="250"/>
                    <a:pt x="767" y="257"/>
                    <a:pt x="770" y="262"/>
                  </a:cubicBezTo>
                  <a:cubicBezTo>
                    <a:pt x="773" y="267"/>
                    <a:pt x="773" y="269"/>
                    <a:pt x="773" y="274"/>
                  </a:cubicBezTo>
                  <a:cubicBezTo>
                    <a:pt x="774" y="281"/>
                    <a:pt x="774" y="286"/>
                    <a:pt x="781" y="287"/>
                  </a:cubicBezTo>
                  <a:cubicBezTo>
                    <a:pt x="783" y="287"/>
                    <a:pt x="787" y="286"/>
                    <a:pt x="788" y="287"/>
                  </a:cubicBezTo>
                  <a:cubicBezTo>
                    <a:pt x="791" y="288"/>
                    <a:pt x="793" y="294"/>
                    <a:pt x="795" y="297"/>
                  </a:cubicBezTo>
                  <a:cubicBezTo>
                    <a:pt x="798" y="301"/>
                    <a:pt x="800" y="304"/>
                    <a:pt x="795" y="306"/>
                  </a:cubicBezTo>
                  <a:cubicBezTo>
                    <a:pt x="793" y="307"/>
                    <a:pt x="790" y="309"/>
                    <a:pt x="789" y="307"/>
                  </a:cubicBezTo>
                  <a:cubicBezTo>
                    <a:pt x="787" y="306"/>
                    <a:pt x="786" y="298"/>
                    <a:pt x="784" y="296"/>
                  </a:cubicBezTo>
                  <a:cubicBezTo>
                    <a:pt x="783" y="292"/>
                    <a:pt x="783" y="291"/>
                    <a:pt x="779" y="290"/>
                  </a:cubicBezTo>
                  <a:cubicBezTo>
                    <a:pt x="777" y="290"/>
                    <a:pt x="776" y="291"/>
                    <a:pt x="774" y="290"/>
                  </a:cubicBezTo>
                  <a:cubicBezTo>
                    <a:pt x="773" y="289"/>
                    <a:pt x="771" y="286"/>
                    <a:pt x="770" y="285"/>
                  </a:cubicBezTo>
                  <a:cubicBezTo>
                    <a:pt x="767" y="283"/>
                    <a:pt x="765" y="280"/>
                    <a:pt x="763" y="276"/>
                  </a:cubicBezTo>
                  <a:cubicBezTo>
                    <a:pt x="763" y="274"/>
                    <a:pt x="764" y="272"/>
                    <a:pt x="763" y="270"/>
                  </a:cubicBezTo>
                  <a:cubicBezTo>
                    <a:pt x="762" y="265"/>
                    <a:pt x="752" y="262"/>
                    <a:pt x="749" y="267"/>
                  </a:cubicBezTo>
                  <a:cubicBezTo>
                    <a:pt x="745" y="273"/>
                    <a:pt x="752" y="279"/>
                    <a:pt x="754" y="283"/>
                  </a:cubicBezTo>
                  <a:cubicBezTo>
                    <a:pt x="755" y="287"/>
                    <a:pt x="756" y="291"/>
                    <a:pt x="755" y="295"/>
                  </a:cubicBezTo>
                  <a:cubicBezTo>
                    <a:pt x="745" y="298"/>
                    <a:pt x="745" y="286"/>
                    <a:pt x="740" y="281"/>
                  </a:cubicBezTo>
                  <a:cubicBezTo>
                    <a:pt x="733" y="273"/>
                    <a:pt x="732" y="283"/>
                    <a:pt x="732" y="289"/>
                  </a:cubicBezTo>
                  <a:cubicBezTo>
                    <a:pt x="730" y="289"/>
                    <a:pt x="727" y="288"/>
                    <a:pt x="725" y="289"/>
                  </a:cubicBezTo>
                  <a:cubicBezTo>
                    <a:pt x="724" y="290"/>
                    <a:pt x="723" y="293"/>
                    <a:pt x="723" y="294"/>
                  </a:cubicBezTo>
                  <a:cubicBezTo>
                    <a:pt x="721" y="294"/>
                    <a:pt x="720" y="285"/>
                    <a:pt x="719" y="282"/>
                  </a:cubicBezTo>
                  <a:cubicBezTo>
                    <a:pt x="718" y="280"/>
                    <a:pt x="715" y="272"/>
                    <a:pt x="713" y="277"/>
                  </a:cubicBezTo>
                  <a:cubicBezTo>
                    <a:pt x="713" y="271"/>
                    <a:pt x="709" y="266"/>
                    <a:pt x="703" y="264"/>
                  </a:cubicBezTo>
                  <a:cubicBezTo>
                    <a:pt x="697" y="261"/>
                    <a:pt x="699" y="266"/>
                    <a:pt x="697" y="269"/>
                  </a:cubicBezTo>
                  <a:cubicBezTo>
                    <a:pt x="695" y="269"/>
                    <a:pt x="692" y="267"/>
                    <a:pt x="690" y="267"/>
                  </a:cubicBezTo>
                  <a:cubicBezTo>
                    <a:pt x="687" y="268"/>
                    <a:pt x="688" y="271"/>
                    <a:pt x="687" y="272"/>
                  </a:cubicBezTo>
                  <a:cubicBezTo>
                    <a:pt x="684" y="276"/>
                    <a:pt x="680" y="274"/>
                    <a:pt x="679" y="280"/>
                  </a:cubicBezTo>
                  <a:cubicBezTo>
                    <a:pt x="681" y="280"/>
                    <a:pt x="684" y="279"/>
                    <a:pt x="687" y="280"/>
                  </a:cubicBezTo>
                  <a:cubicBezTo>
                    <a:pt x="686" y="281"/>
                    <a:pt x="687" y="282"/>
                    <a:pt x="687" y="283"/>
                  </a:cubicBezTo>
                  <a:cubicBezTo>
                    <a:pt x="689" y="283"/>
                    <a:pt x="690" y="283"/>
                    <a:pt x="690" y="284"/>
                  </a:cubicBezTo>
                  <a:cubicBezTo>
                    <a:pt x="686" y="287"/>
                    <a:pt x="674" y="284"/>
                    <a:pt x="671" y="289"/>
                  </a:cubicBezTo>
                  <a:cubicBezTo>
                    <a:pt x="670" y="290"/>
                    <a:pt x="671" y="294"/>
                    <a:pt x="671" y="296"/>
                  </a:cubicBezTo>
                  <a:cubicBezTo>
                    <a:pt x="671" y="299"/>
                    <a:pt x="673" y="302"/>
                    <a:pt x="672" y="304"/>
                  </a:cubicBezTo>
                  <a:cubicBezTo>
                    <a:pt x="672" y="306"/>
                    <a:pt x="672" y="305"/>
                    <a:pt x="671" y="306"/>
                  </a:cubicBezTo>
                  <a:cubicBezTo>
                    <a:pt x="670" y="306"/>
                    <a:pt x="669" y="307"/>
                    <a:pt x="668" y="307"/>
                  </a:cubicBezTo>
                  <a:cubicBezTo>
                    <a:pt x="667" y="308"/>
                    <a:pt x="667" y="308"/>
                    <a:pt x="667" y="309"/>
                  </a:cubicBezTo>
                  <a:cubicBezTo>
                    <a:pt x="664" y="312"/>
                    <a:pt x="665" y="311"/>
                    <a:pt x="664" y="315"/>
                  </a:cubicBezTo>
                  <a:cubicBezTo>
                    <a:pt x="664" y="319"/>
                    <a:pt x="662" y="325"/>
                    <a:pt x="660" y="327"/>
                  </a:cubicBezTo>
                  <a:cubicBezTo>
                    <a:pt x="658" y="329"/>
                    <a:pt x="653" y="333"/>
                    <a:pt x="658" y="336"/>
                  </a:cubicBezTo>
                  <a:cubicBezTo>
                    <a:pt x="659" y="337"/>
                    <a:pt x="661" y="336"/>
                    <a:pt x="663" y="337"/>
                  </a:cubicBezTo>
                  <a:cubicBezTo>
                    <a:pt x="665" y="338"/>
                    <a:pt x="666" y="341"/>
                    <a:pt x="668" y="343"/>
                  </a:cubicBezTo>
                  <a:cubicBezTo>
                    <a:pt x="672" y="342"/>
                    <a:pt x="674" y="337"/>
                    <a:pt x="676" y="334"/>
                  </a:cubicBezTo>
                  <a:cubicBezTo>
                    <a:pt x="678" y="331"/>
                    <a:pt x="681" y="329"/>
                    <a:pt x="684" y="327"/>
                  </a:cubicBezTo>
                  <a:cubicBezTo>
                    <a:pt x="686" y="327"/>
                    <a:pt x="687" y="325"/>
                    <a:pt x="689" y="326"/>
                  </a:cubicBezTo>
                  <a:cubicBezTo>
                    <a:pt x="690" y="326"/>
                    <a:pt x="690" y="328"/>
                    <a:pt x="691" y="328"/>
                  </a:cubicBezTo>
                  <a:cubicBezTo>
                    <a:pt x="693" y="328"/>
                    <a:pt x="694" y="329"/>
                    <a:pt x="694" y="326"/>
                  </a:cubicBezTo>
                  <a:cubicBezTo>
                    <a:pt x="697" y="325"/>
                    <a:pt x="699" y="326"/>
                    <a:pt x="701" y="325"/>
                  </a:cubicBezTo>
                  <a:cubicBezTo>
                    <a:pt x="702" y="325"/>
                    <a:pt x="703" y="324"/>
                    <a:pt x="704" y="324"/>
                  </a:cubicBezTo>
                  <a:cubicBezTo>
                    <a:pt x="705" y="323"/>
                    <a:pt x="707" y="324"/>
                    <a:pt x="708" y="323"/>
                  </a:cubicBezTo>
                  <a:cubicBezTo>
                    <a:pt x="712" y="322"/>
                    <a:pt x="723" y="306"/>
                    <a:pt x="726" y="318"/>
                  </a:cubicBezTo>
                  <a:cubicBezTo>
                    <a:pt x="728" y="325"/>
                    <a:pt x="714" y="323"/>
                    <a:pt x="709" y="325"/>
                  </a:cubicBezTo>
                  <a:cubicBezTo>
                    <a:pt x="706" y="326"/>
                    <a:pt x="703" y="328"/>
                    <a:pt x="702" y="331"/>
                  </a:cubicBezTo>
                  <a:cubicBezTo>
                    <a:pt x="701" y="334"/>
                    <a:pt x="702" y="336"/>
                    <a:pt x="701" y="339"/>
                  </a:cubicBezTo>
                  <a:cubicBezTo>
                    <a:pt x="698" y="343"/>
                    <a:pt x="692" y="342"/>
                    <a:pt x="692" y="348"/>
                  </a:cubicBezTo>
                  <a:cubicBezTo>
                    <a:pt x="692" y="351"/>
                    <a:pt x="694" y="352"/>
                    <a:pt x="692" y="355"/>
                  </a:cubicBezTo>
                  <a:cubicBezTo>
                    <a:pt x="691" y="355"/>
                    <a:pt x="688" y="355"/>
                    <a:pt x="687" y="356"/>
                  </a:cubicBezTo>
                  <a:cubicBezTo>
                    <a:pt x="685" y="357"/>
                    <a:pt x="687" y="359"/>
                    <a:pt x="684" y="360"/>
                  </a:cubicBezTo>
                  <a:cubicBezTo>
                    <a:pt x="682" y="361"/>
                    <a:pt x="677" y="359"/>
                    <a:pt x="675" y="361"/>
                  </a:cubicBezTo>
                  <a:cubicBezTo>
                    <a:pt x="674" y="361"/>
                    <a:pt x="671" y="365"/>
                    <a:pt x="671" y="366"/>
                  </a:cubicBezTo>
                  <a:cubicBezTo>
                    <a:pt x="669" y="368"/>
                    <a:pt x="669" y="370"/>
                    <a:pt x="667" y="372"/>
                  </a:cubicBezTo>
                  <a:cubicBezTo>
                    <a:pt x="665" y="376"/>
                    <a:pt x="663" y="376"/>
                    <a:pt x="660" y="378"/>
                  </a:cubicBezTo>
                  <a:cubicBezTo>
                    <a:pt x="666" y="383"/>
                    <a:pt x="668" y="375"/>
                    <a:pt x="671" y="372"/>
                  </a:cubicBezTo>
                  <a:cubicBezTo>
                    <a:pt x="673" y="370"/>
                    <a:pt x="677" y="371"/>
                    <a:pt x="680" y="370"/>
                  </a:cubicBezTo>
                  <a:cubicBezTo>
                    <a:pt x="680" y="369"/>
                    <a:pt x="681" y="368"/>
                    <a:pt x="682" y="368"/>
                  </a:cubicBezTo>
                  <a:cubicBezTo>
                    <a:pt x="683" y="368"/>
                    <a:pt x="685" y="368"/>
                    <a:pt x="687" y="368"/>
                  </a:cubicBezTo>
                  <a:cubicBezTo>
                    <a:pt x="690" y="367"/>
                    <a:pt x="691" y="365"/>
                    <a:pt x="694" y="364"/>
                  </a:cubicBezTo>
                  <a:cubicBezTo>
                    <a:pt x="696" y="363"/>
                    <a:pt x="700" y="362"/>
                    <a:pt x="702" y="366"/>
                  </a:cubicBezTo>
                  <a:cubicBezTo>
                    <a:pt x="703" y="372"/>
                    <a:pt x="690" y="375"/>
                    <a:pt x="686" y="377"/>
                  </a:cubicBezTo>
                  <a:cubicBezTo>
                    <a:pt x="680" y="380"/>
                    <a:pt x="683" y="382"/>
                    <a:pt x="682" y="387"/>
                  </a:cubicBezTo>
                  <a:cubicBezTo>
                    <a:pt x="681" y="388"/>
                    <a:pt x="678" y="392"/>
                    <a:pt x="676" y="393"/>
                  </a:cubicBezTo>
                  <a:cubicBezTo>
                    <a:pt x="672" y="396"/>
                    <a:pt x="665" y="396"/>
                    <a:pt x="660" y="396"/>
                  </a:cubicBezTo>
                  <a:cubicBezTo>
                    <a:pt x="659" y="396"/>
                    <a:pt x="654" y="395"/>
                    <a:pt x="652" y="397"/>
                  </a:cubicBezTo>
                  <a:cubicBezTo>
                    <a:pt x="651" y="398"/>
                    <a:pt x="652" y="400"/>
                    <a:pt x="651" y="402"/>
                  </a:cubicBezTo>
                  <a:cubicBezTo>
                    <a:pt x="650" y="406"/>
                    <a:pt x="645" y="410"/>
                    <a:pt x="641" y="408"/>
                  </a:cubicBezTo>
                  <a:cubicBezTo>
                    <a:pt x="634" y="404"/>
                    <a:pt x="639" y="389"/>
                    <a:pt x="639" y="383"/>
                  </a:cubicBezTo>
                  <a:cubicBezTo>
                    <a:pt x="639" y="379"/>
                    <a:pt x="639" y="376"/>
                    <a:pt x="636" y="373"/>
                  </a:cubicBezTo>
                  <a:cubicBezTo>
                    <a:pt x="634" y="371"/>
                    <a:pt x="629" y="366"/>
                    <a:pt x="625" y="368"/>
                  </a:cubicBezTo>
                  <a:cubicBezTo>
                    <a:pt x="624" y="369"/>
                    <a:pt x="623" y="373"/>
                    <a:pt x="622" y="374"/>
                  </a:cubicBezTo>
                  <a:cubicBezTo>
                    <a:pt x="621" y="377"/>
                    <a:pt x="618" y="380"/>
                    <a:pt x="617" y="383"/>
                  </a:cubicBezTo>
                  <a:cubicBezTo>
                    <a:pt x="616" y="385"/>
                    <a:pt x="617" y="390"/>
                    <a:pt x="613" y="390"/>
                  </a:cubicBezTo>
                  <a:cubicBezTo>
                    <a:pt x="612" y="388"/>
                    <a:pt x="611" y="384"/>
                    <a:pt x="611" y="382"/>
                  </a:cubicBezTo>
                  <a:cubicBezTo>
                    <a:pt x="611" y="380"/>
                    <a:pt x="612" y="377"/>
                    <a:pt x="611" y="376"/>
                  </a:cubicBezTo>
                  <a:cubicBezTo>
                    <a:pt x="610" y="374"/>
                    <a:pt x="608" y="375"/>
                    <a:pt x="608" y="374"/>
                  </a:cubicBezTo>
                  <a:cubicBezTo>
                    <a:pt x="606" y="373"/>
                    <a:pt x="606" y="372"/>
                    <a:pt x="606" y="369"/>
                  </a:cubicBezTo>
                  <a:cubicBezTo>
                    <a:pt x="606" y="365"/>
                    <a:pt x="607" y="359"/>
                    <a:pt x="603" y="356"/>
                  </a:cubicBezTo>
                  <a:cubicBezTo>
                    <a:pt x="600" y="354"/>
                    <a:pt x="597" y="356"/>
                    <a:pt x="594" y="355"/>
                  </a:cubicBezTo>
                  <a:cubicBezTo>
                    <a:pt x="594" y="352"/>
                    <a:pt x="597" y="348"/>
                    <a:pt x="598" y="346"/>
                  </a:cubicBezTo>
                  <a:cubicBezTo>
                    <a:pt x="599" y="345"/>
                    <a:pt x="601" y="343"/>
                    <a:pt x="601" y="342"/>
                  </a:cubicBezTo>
                  <a:cubicBezTo>
                    <a:pt x="602" y="341"/>
                    <a:pt x="601" y="340"/>
                    <a:pt x="602" y="339"/>
                  </a:cubicBezTo>
                  <a:cubicBezTo>
                    <a:pt x="603" y="337"/>
                    <a:pt x="607" y="336"/>
                    <a:pt x="608" y="335"/>
                  </a:cubicBezTo>
                  <a:cubicBezTo>
                    <a:pt x="610" y="333"/>
                    <a:pt x="611" y="331"/>
                    <a:pt x="612" y="328"/>
                  </a:cubicBezTo>
                  <a:cubicBezTo>
                    <a:pt x="614" y="326"/>
                    <a:pt x="615" y="325"/>
                    <a:pt x="616" y="322"/>
                  </a:cubicBezTo>
                  <a:cubicBezTo>
                    <a:pt x="619" y="318"/>
                    <a:pt x="618" y="316"/>
                    <a:pt x="618" y="311"/>
                  </a:cubicBezTo>
                  <a:cubicBezTo>
                    <a:pt x="619" y="308"/>
                    <a:pt x="622" y="303"/>
                    <a:pt x="620" y="300"/>
                  </a:cubicBezTo>
                  <a:cubicBezTo>
                    <a:pt x="618" y="298"/>
                    <a:pt x="612" y="299"/>
                    <a:pt x="610" y="300"/>
                  </a:cubicBezTo>
                  <a:cubicBezTo>
                    <a:pt x="608" y="301"/>
                    <a:pt x="607" y="304"/>
                    <a:pt x="605" y="305"/>
                  </a:cubicBezTo>
                  <a:cubicBezTo>
                    <a:pt x="604" y="307"/>
                    <a:pt x="604" y="306"/>
                    <a:pt x="603" y="309"/>
                  </a:cubicBezTo>
                  <a:cubicBezTo>
                    <a:pt x="603" y="310"/>
                    <a:pt x="604" y="312"/>
                    <a:pt x="604" y="313"/>
                  </a:cubicBezTo>
                  <a:cubicBezTo>
                    <a:pt x="603" y="316"/>
                    <a:pt x="599" y="317"/>
                    <a:pt x="597" y="318"/>
                  </a:cubicBezTo>
                  <a:cubicBezTo>
                    <a:pt x="595" y="321"/>
                    <a:pt x="592" y="323"/>
                    <a:pt x="590" y="326"/>
                  </a:cubicBezTo>
                  <a:cubicBezTo>
                    <a:pt x="584" y="334"/>
                    <a:pt x="581" y="343"/>
                    <a:pt x="581" y="353"/>
                  </a:cubicBezTo>
                  <a:cubicBezTo>
                    <a:pt x="582" y="355"/>
                    <a:pt x="581" y="358"/>
                    <a:pt x="581" y="361"/>
                  </a:cubicBezTo>
                  <a:cubicBezTo>
                    <a:pt x="582" y="364"/>
                    <a:pt x="580" y="369"/>
                    <a:pt x="581" y="372"/>
                  </a:cubicBezTo>
                  <a:cubicBezTo>
                    <a:pt x="590" y="372"/>
                    <a:pt x="579" y="377"/>
                    <a:pt x="578" y="381"/>
                  </a:cubicBezTo>
                  <a:cubicBezTo>
                    <a:pt x="576" y="384"/>
                    <a:pt x="582" y="394"/>
                    <a:pt x="575" y="395"/>
                  </a:cubicBezTo>
                  <a:cubicBezTo>
                    <a:pt x="572" y="392"/>
                    <a:pt x="574" y="389"/>
                    <a:pt x="573" y="387"/>
                  </a:cubicBezTo>
                  <a:cubicBezTo>
                    <a:pt x="573" y="387"/>
                    <a:pt x="571" y="384"/>
                    <a:pt x="572" y="385"/>
                  </a:cubicBezTo>
                  <a:cubicBezTo>
                    <a:pt x="571" y="383"/>
                    <a:pt x="571" y="381"/>
                    <a:pt x="571" y="378"/>
                  </a:cubicBezTo>
                  <a:cubicBezTo>
                    <a:pt x="571" y="376"/>
                    <a:pt x="571" y="373"/>
                    <a:pt x="571" y="371"/>
                  </a:cubicBezTo>
                  <a:cubicBezTo>
                    <a:pt x="571" y="368"/>
                    <a:pt x="570" y="366"/>
                    <a:pt x="570" y="363"/>
                  </a:cubicBezTo>
                  <a:cubicBezTo>
                    <a:pt x="569" y="363"/>
                    <a:pt x="568" y="363"/>
                    <a:pt x="567" y="364"/>
                  </a:cubicBezTo>
                  <a:cubicBezTo>
                    <a:pt x="566" y="361"/>
                    <a:pt x="566" y="358"/>
                    <a:pt x="564" y="355"/>
                  </a:cubicBezTo>
                  <a:cubicBezTo>
                    <a:pt x="563" y="354"/>
                    <a:pt x="562" y="349"/>
                    <a:pt x="561" y="348"/>
                  </a:cubicBezTo>
                  <a:cubicBezTo>
                    <a:pt x="555" y="343"/>
                    <a:pt x="554" y="359"/>
                    <a:pt x="554" y="362"/>
                  </a:cubicBezTo>
                  <a:cubicBezTo>
                    <a:pt x="554" y="365"/>
                    <a:pt x="554" y="366"/>
                    <a:pt x="555" y="368"/>
                  </a:cubicBezTo>
                  <a:cubicBezTo>
                    <a:pt x="555" y="370"/>
                    <a:pt x="556" y="370"/>
                    <a:pt x="556" y="372"/>
                  </a:cubicBezTo>
                  <a:cubicBezTo>
                    <a:pt x="553" y="372"/>
                    <a:pt x="551" y="372"/>
                    <a:pt x="549" y="372"/>
                  </a:cubicBezTo>
                  <a:cubicBezTo>
                    <a:pt x="548" y="374"/>
                    <a:pt x="549" y="377"/>
                    <a:pt x="548" y="379"/>
                  </a:cubicBezTo>
                  <a:cubicBezTo>
                    <a:pt x="546" y="377"/>
                    <a:pt x="544" y="372"/>
                    <a:pt x="541" y="372"/>
                  </a:cubicBezTo>
                  <a:cubicBezTo>
                    <a:pt x="537" y="372"/>
                    <a:pt x="535" y="377"/>
                    <a:pt x="534" y="379"/>
                  </a:cubicBezTo>
                  <a:cubicBezTo>
                    <a:pt x="532" y="382"/>
                    <a:pt x="531" y="384"/>
                    <a:pt x="529" y="387"/>
                  </a:cubicBezTo>
                  <a:cubicBezTo>
                    <a:pt x="528" y="389"/>
                    <a:pt x="527" y="390"/>
                    <a:pt x="525" y="393"/>
                  </a:cubicBezTo>
                  <a:cubicBezTo>
                    <a:pt x="525" y="395"/>
                    <a:pt x="522" y="398"/>
                    <a:pt x="522" y="400"/>
                  </a:cubicBezTo>
                  <a:cubicBezTo>
                    <a:pt x="521" y="403"/>
                    <a:pt x="522" y="407"/>
                    <a:pt x="525" y="408"/>
                  </a:cubicBezTo>
                  <a:cubicBezTo>
                    <a:pt x="529" y="409"/>
                    <a:pt x="532" y="403"/>
                    <a:pt x="534" y="400"/>
                  </a:cubicBezTo>
                  <a:cubicBezTo>
                    <a:pt x="537" y="396"/>
                    <a:pt x="537" y="397"/>
                    <a:pt x="542" y="397"/>
                  </a:cubicBezTo>
                  <a:cubicBezTo>
                    <a:pt x="545" y="397"/>
                    <a:pt x="547" y="395"/>
                    <a:pt x="549" y="396"/>
                  </a:cubicBezTo>
                  <a:cubicBezTo>
                    <a:pt x="550" y="398"/>
                    <a:pt x="548" y="399"/>
                    <a:pt x="548" y="401"/>
                  </a:cubicBezTo>
                  <a:cubicBezTo>
                    <a:pt x="547" y="404"/>
                    <a:pt x="548" y="406"/>
                    <a:pt x="546" y="408"/>
                  </a:cubicBezTo>
                  <a:cubicBezTo>
                    <a:pt x="544" y="409"/>
                    <a:pt x="542" y="408"/>
                    <a:pt x="539" y="409"/>
                  </a:cubicBezTo>
                  <a:cubicBezTo>
                    <a:pt x="536" y="410"/>
                    <a:pt x="535" y="414"/>
                    <a:pt x="536" y="417"/>
                  </a:cubicBezTo>
                  <a:cubicBezTo>
                    <a:pt x="538" y="426"/>
                    <a:pt x="549" y="428"/>
                    <a:pt x="556" y="425"/>
                  </a:cubicBezTo>
                  <a:cubicBezTo>
                    <a:pt x="559" y="424"/>
                    <a:pt x="560" y="423"/>
                    <a:pt x="559" y="420"/>
                  </a:cubicBezTo>
                  <a:cubicBezTo>
                    <a:pt x="558" y="417"/>
                    <a:pt x="555" y="416"/>
                    <a:pt x="559" y="413"/>
                  </a:cubicBezTo>
                  <a:cubicBezTo>
                    <a:pt x="560" y="412"/>
                    <a:pt x="562" y="412"/>
                    <a:pt x="564" y="410"/>
                  </a:cubicBezTo>
                  <a:cubicBezTo>
                    <a:pt x="566" y="409"/>
                    <a:pt x="567" y="407"/>
                    <a:pt x="569" y="405"/>
                  </a:cubicBezTo>
                  <a:cubicBezTo>
                    <a:pt x="570" y="404"/>
                    <a:pt x="572" y="403"/>
                    <a:pt x="574" y="402"/>
                  </a:cubicBezTo>
                  <a:cubicBezTo>
                    <a:pt x="575" y="401"/>
                    <a:pt x="580" y="400"/>
                    <a:pt x="581" y="400"/>
                  </a:cubicBezTo>
                  <a:cubicBezTo>
                    <a:pt x="585" y="403"/>
                    <a:pt x="576" y="408"/>
                    <a:pt x="575" y="410"/>
                  </a:cubicBezTo>
                  <a:cubicBezTo>
                    <a:pt x="571" y="414"/>
                    <a:pt x="571" y="418"/>
                    <a:pt x="566" y="421"/>
                  </a:cubicBezTo>
                  <a:cubicBezTo>
                    <a:pt x="569" y="426"/>
                    <a:pt x="570" y="427"/>
                    <a:pt x="565" y="430"/>
                  </a:cubicBezTo>
                  <a:cubicBezTo>
                    <a:pt x="559" y="432"/>
                    <a:pt x="554" y="430"/>
                    <a:pt x="549" y="432"/>
                  </a:cubicBezTo>
                  <a:cubicBezTo>
                    <a:pt x="544" y="433"/>
                    <a:pt x="542" y="434"/>
                    <a:pt x="537" y="434"/>
                  </a:cubicBezTo>
                  <a:cubicBezTo>
                    <a:pt x="534" y="434"/>
                    <a:pt x="530" y="433"/>
                    <a:pt x="528" y="435"/>
                  </a:cubicBezTo>
                  <a:cubicBezTo>
                    <a:pt x="525" y="438"/>
                    <a:pt x="527" y="443"/>
                    <a:pt x="520" y="444"/>
                  </a:cubicBezTo>
                  <a:cubicBezTo>
                    <a:pt x="514" y="444"/>
                    <a:pt x="508" y="440"/>
                    <a:pt x="503" y="443"/>
                  </a:cubicBezTo>
                  <a:cubicBezTo>
                    <a:pt x="502" y="444"/>
                    <a:pt x="502" y="445"/>
                    <a:pt x="500" y="446"/>
                  </a:cubicBezTo>
                  <a:cubicBezTo>
                    <a:pt x="499" y="446"/>
                    <a:pt x="498" y="446"/>
                    <a:pt x="498" y="446"/>
                  </a:cubicBezTo>
                  <a:cubicBezTo>
                    <a:pt x="496" y="446"/>
                    <a:pt x="495" y="447"/>
                    <a:pt x="495" y="448"/>
                  </a:cubicBezTo>
                  <a:cubicBezTo>
                    <a:pt x="493" y="449"/>
                    <a:pt x="489" y="449"/>
                    <a:pt x="487" y="450"/>
                  </a:cubicBezTo>
                  <a:cubicBezTo>
                    <a:pt x="484" y="452"/>
                    <a:pt x="480" y="457"/>
                    <a:pt x="478" y="460"/>
                  </a:cubicBezTo>
                  <a:cubicBezTo>
                    <a:pt x="474" y="463"/>
                    <a:pt x="476" y="467"/>
                    <a:pt x="476" y="472"/>
                  </a:cubicBezTo>
                  <a:cubicBezTo>
                    <a:pt x="473" y="472"/>
                    <a:pt x="469" y="470"/>
                    <a:pt x="467" y="471"/>
                  </a:cubicBezTo>
                  <a:cubicBezTo>
                    <a:pt x="466" y="472"/>
                    <a:pt x="462" y="476"/>
                    <a:pt x="462" y="478"/>
                  </a:cubicBezTo>
                  <a:cubicBezTo>
                    <a:pt x="460" y="481"/>
                    <a:pt x="461" y="482"/>
                    <a:pt x="457" y="484"/>
                  </a:cubicBezTo>
                  <a:cubicBezTo>
                    <a:pt x="454" y="486"/>
                    <a:pt x="451" y="486"/>
                    <a:pt x="447" y="487"/>
                  </a:cubicBezTo>
                  <a:cubicBezTo>
                    <a:pt x="447" y="489"/>
                    <a:pt x="448" y="491"/>
                    <a:pt x="447" y="493"/>
                  </a:cubicBezTo>
                  <a:cubicBezTo>
                    <a:pt x="447" y="495"/>
                    <a:pt x="447" y="497"/>
                    <a:pt x="446" y="499"/>
                  </a:cubicBezTo>
                  <a:cubicBezTo>
                    <a:pt x="445" y="501"/>
                    <a:pt x="444" y="501"/>
                    <a:pt x="443" y="502"/>
                  </a:cubicBezTo>
                  <a:cubicBezTo>
                    <a:pt x="440" y="505"/>
                    <a:pt x="441" y="511"/>
                    <a:pt x="441" y="515"/>
                  </a:cubicBezTo>
                  <a:cubicBezTo>
                    <a:pt x="444" y="516"/>
                    <a:pt x="453" y="512"/>
                    <a:pt x="455" y="509"/>
                  </a:cubicBezTo>
                  <a:cubicBezTo>
                    <a:pt x="456" y="507"/>
                    <a:pt x="457" y="504"/>
                    <a:pt x="458" y="501"/>
                  </a:cubicBezTo>
                  <a:cubicBezTo>
                    <a:pt x="459" y="500"/>
                    <a:pt x="461" y="498"/>
                    <a:pt x="462" y="497"/>
                  </a:cubicBezTo>
                  <a:cubicBezTo>
                    <a:pt x="464" y="498"/>
                    <a:pt x="464" y="499"/>
                    <a:pt x="467" y="498"/>
                  </a:cubicBezTo>
                  <a:cubicBezTo>
                    <a:pt x="470" y="497"/>
                    <a:pt x="469" y="495"/>
                    <a:pt x="470" y="494"/>
                  </a:cubicBezTo>
                  <a:cubicBezTo>
                    <a:pt x="471" y="492"/>
                    <a:pt x="476" y="491"/>
                    <a:pt x="475" y="488"/>
                  </a:cubicBezTo>
                  <a:cubicBezTo>
                    <a:pt x="478" y="487"/>
                    <a:pt x="488" y="490"/>
                    <a:pt x="489" y="484"/>
                  </a:cubicBezTo>
                  <a:cubicBezTo>
                    <a:pt x="492" y="484"/>
                    <a:pt x="493" y="485"/>
                    <a:pt x="495" y="483"/>
                  </a:cubicBezTo>
                  <a:cubicBezTo>
                    <a:pt x="498" y="481"/>
                    <a:pt x="498" y="474"/>
                    <a:pt x="501" y="472"/>
                  </a:cubicBezTo>
                  <a:cubicBezTo>
                    <a:pt x="504" y="470"/>
                    <a:pt x="509" y="471"/>
                    <a:pt x="510" y="467"/>
                  </a:cubicBezTo>
                  <a:cubicBezTo>
                    <a:pt x="510" y="467"/>
                    <a:pt x="510" y="465"/>
                    <a:pt x="510" y="464"/>
                  </a:cubicBezTo>
                  <a:cubicBezTo>
                    <a:pt x="511" y="466"/>
                    <a:pt x="511" y="467"/>
                    <a:pt x="510" y="467"/>
                  </a:cubicBezTo>
                  <a:cubicBezTo>
                    <a:pt x="512" y="471"/>
                    <a:pt x="521" y="470"/>
                    <a:pt x="524" y="469"/>
                  </a:cubicBezTo>
                  <a:cubicBezTo>
                    <a:pt x="530" y="468"/>
                    <a:pt x="531" y="465"/>
                    <a:pt x="535" y="461"/>
                  </a:cubicBezTo>
                  <a:cubicBezTo>
                    <a:pt x="536" y="459"/>
                    <a:pt x="538" y="455"/>
                    <a:pt x="541" y="454"/>
                  </a:cubicBezTo>
                  <a:cubicBezTo>
                    <a:pt x="542" y="456"/>
                    <a:pt x="543" y="458"/>
                    <a:pt x="543" y="460"/>
                  </a:cubicBezTo>
                  <a:cubicBezTo>
                    <a:pt x="545" y="460"/>
                    <a:pt x="546" y="460"/>
                    <a:pt x="548" y="460"/>
                  </a:cubicBezTo>
                  <a:cubicBezTo>
                    <a:pt x="553" y="459"/>
                    <a:pt x="553" y="453"/>
                    <a:pt x="557" y="451"/>
                  </a:cubicBezTo>
                  <a:cubicBezTo>
                    <a:pt x="558" y="450"/>
                    <a:pt x="559" y="449"/>
                    <a:pt x="560" y="449"/>
                  </a:cubicBezTo>
                  <a:cubicBezTo>
                    <a:pt x="561" y="450"/>
                    <a:pt x="561" y="450"/>
                    <a:pt x="562" y="450"/>
                  </a:cubicBezTo>
                  <a:cubicBezTo>
                    <a:pt x="564" y="449"/>
                    <a:pt x="564" y="446"/>
                    <a:pt x="565" y="445"/>
                  </a:cubicBezTo>
                  <a:cubicBezTo>
                    <a:pt x="567" y="444"/>
                    <a:pt x="567" y="447"/>
                    <a:pt x="569" y="446"/>
                  </a:cubicBezTo>
                  <a:cubicBezTo>
                    <a:pt x="571" y="446"/>
                    <a:pt x="576" y="442"/>
                    <a:pt x="578" y="441"/>
                  </a:cubicBezTo>
                  <a:cubicBezTo>
                    <a:pt x="580" y="439"/>
                    <a:pt x="584" y="437"/>
                    <a:pt x="586" y="435"/>
                  </a:cubicBezTo>
                  <a:cubicBezTo>
                    <a:pt x="590" y="440"/>
                    <a:pt x="586" y="447"/>
                    <a:pt x="596" y="445"/>
                  </a:cubicBezTo>
                  <a:cubicBezTo>
                    <a:pt x="600" y="444"/>
                    <a:pt x="603" y="440"/>
                    <a:pt x="606" y="437"/>
                  </a:cubicBezTo>
                  <a:cubicBezTo>
                    <a:pt x="609" y="435"/>
                    <a:pt x="610" y="434"/>
                    <a:pt x="612" y="431"/>
                  </a:cubicBezTo>
                  <a:cubicBezTo>
                    <a:pt x="616" y="434"/>
                    <a:pt x="623" y="422"/>
                    <a:pt x="625" y="419"/>
                  </a:cubicBezTo>
                  <a:cubicBezTo>
                    <a:pt x="625" y="420"/>
                    <a:pt x="625" y="423"/>
                    <a:pt x="625" y="424"/>
                  </a:cubicBezTo>
                  <a:cubicBezTo>
                    <a:pt x="624" y="426"/>
                    <a:pt x="621" y="427"/>
                    <a:pt x="621" y="429"/>
                  </a:cubicBezTo>
                  <a:cubicBezTo>
                    <a:pt x="621" y="435"/>
                    <a:pt x="631" y="436"/>
                    <a:pt x="636" y="435"/>
                  </a:cubicBezTo>
                  <a:cubicBezTo>
                    <a:pt x="642" y="433"/>
                    <a:pt x="647" y="430"/>
                    <a:pt x="653" y="429"/>
                  </a:cubicBezTo>
                  <a:cubicBezTo>
                    <a:pt x="660" y="427"/>
                    <a:pt x="667" y="425"/>
                    <a:pt x="674" y="422"/>
                  </a:cubicBezTo>
                  <a:cubicBezTo>
                    <a:pt x="675" y="425"/>
                    <a:pt x="674" y="428"/>
                    <a:pt x="670" y="428"/>
                  </a:cubicBezTo>
                  <a:cubicBezTo>
                    <a:pt x="669" y="432"/>
                    <a:pt x="674" y="436"/>
                    <a:pt x="669" y="439"/>
                  </a:cubicBezTo>
                  <a:cubicBezTo>
                    <a:pt x="665" y="441"/>
                    <a:pt x="653" y="440"/>
                    <a:pt x="652" y="435"/>
                  </a:cubicBezTo>
                  <a:cubicBezTo>
                    <a:pt x="651" y="435"/>
                    <a:pt x="649" y="435"/>
                    <a:pt x="648" y="435"/>
                  </a:cubicBezTo>
                  <a:cubicBezTo>
                    <a:pt x="645" y="435"/>
                    <a:pt x="644" y="436"/>
                    <a:pt x="642" y="437"/>
                  </a:cubicBezTo>
                  <a:cubicBezTo>
                    <a:pt x="640" y="437"/>
                    <a:pt x="639" y="437"/>
                    <a:pt x="637" y="437"/>
                  </a:cubicBezTo>
                  <a:cubicBezTo>
                    <a:pt x="634" y="437"/>
                    <a:pt x="633" y="439"/>
                    <a:pt x="630" y="440"/>
                  </a:cubicBezTo>
                  <a:cubicBezTo>
                    <a:pt x="627" y="441"/>
                    <a:pt x="622" y="443"/>
                    <a:pt x="624" y="447"/>
                  </a:cubicBezTo>
                  <a:cubicBezTo>
                    <a:pt x="626" y="451"/>
                    <a:pt x="634" y="452"/>
                    <a:pt x="638" y="452"/>
                  </a:cubicBezTo>
                  <a:cubicBezTo>
                    <a:pt x="639" y="455"/>
                    <a:pt x="638" y="455"/>
                    <a:pt x="637" y="457"/>
                  </a:cubicBezTo>
                  <a:cubicBezTo>
                    <a:pt x="635" y="460"/>
                    <a:pt x="633" y="459"/>
                    <a:pt x="631" y="461"/>
                  </a:cubicBezTo>
                  <a:cubicBezTo>
                    <a:pt x="630" y="457"/>
                    <a:pt x="626" y="453"/>
                    <a:pt x="622" y="451"/>
                  </a:cubicBezTo>
                  <a:cubicBezTo>
                    <a:pt x="622" y="453"/>
                    <a:pt x="622" y="454"/>
                    <a:pt x="622" y="455"/>
                  </a:cubicBezTo>
                  <a:cubicBezTo>
                    <a:pt x="622" y="458"/>
                    <a:pt x="623" y="458"/>
                    <a:pt x="624" y="460"/>
                  </a:cubicBezTo>
                  <a:cubicBezTo>
                    <a:pt x="625" y="463"/>
                    <a:pt x="625" y="466"/>
                    <a:pt x="625" y="469"/>
                  </a:cubicBezTo>
                  <a:cubicBezTo>
                    <a:pt x="624" y="473"/>
                    <a:pt x="623" y="480"/>
                    <a:pt x="618" y="482"/>
                  </a:cubicBezTo>
                  <a:cubicBezTo>
                    <a:pt x="619" y="476"/>
                    <a:pt x="620" y="470"/>
                    <a:pt x="616" y="465"/>
                  </a:cubicBezTo>
                  <a:cubicBezTo>
                    <a:pt x="615" y="465"/>
                    <a:pt x="613" y="460"/>
                    <a:pt x="612" y="460"/>
                  </a:cubicBezTo>
                  <a:cubicBezTo>
                    <a:pt x="609" y="461"/>
                    <a:pt x="609" y="466"/>
                    <a:pt x="609" y="468"/>
                  </a:cubicBezTo>
                  <a:cubicBezTo>
                    <a:pt x="609" y="470"/>
                    <a:pt x="609" y="471"/>
                    <a:pt x="608" y="473"/>
                  </a:cubicBezTo>
                  <a:cubicBezTo>
                    <a:pt x="606" y="474"/>
                    <a:pt x="604" y="474"/>
                    <a:pt x="603" y="475"/>
                  </a:cubicBezTo>
                  <a:cubicBezTo>
                    <a:pt x="601" y="476"/>
                    <a:pt x="601" y="477"/>
                    <a:pt x="600" y="478"/>
                  </a:cubicBezTo>
                  <a:cubicBezTo>
                    <a:pt x="597" y="481"/>
                    <a:pt x="593" y="485"/>
                    <a:pt x="588" y="484"/>
                  </a:cubicBezTo>
                  <a:cubicBezTo>
                    <a:pt x="588" y="482"/>
                    <a:pt x="588" y="480"/>
                    <a:pt x="588" y="479"/>
                  </a:cubicBezTo>
                  <a:cubicBezTo>
                    <a:pt x="589" y="479"/>
                    <a:pt x="590" y="479"/>
                    <a:pt x="591" y="478"/>
                  </a:cubicBezTo>
                  <a:cubicBezTo>
                    <a:pt x="593" y="473"/>
                    <a:pt x="587" y="472"/>
                    <a:pt x="583" y="474"/>
                  </a:cubicBezTo>
                  <a:cubicBezTo>
                    <a:pt x="580" y="475"/>
                    <a:pt x="579" y="476"/>
                    <a:pt x="578" y="478"/>
                  </a:cubicBezTo>
                  <a:cubicBezTo>
                    <a:pt x="575" y="481"/>
                    <a:pt x="575" y="481"/>
                    <a:pt x="575" y="485"/>
                  </a:cubicBezTo>
                  <a:cubicBezTo>
                    <a:pt x="575" y="488"/>
                    <a:pt x="574" y="490"/>
                    <a:pt x="577" y="491"/>
                  </a:cubicBezTo>
                  <a:cubicBezTo>
                    <a:pt x="580" y="492"/>
                    <a:pt x="586" y="490"/>
                    <a:pt x="589" y="492"/>
                  </a:cubicBezTo>
                  <a:cubicBezTo>
                    <a:pt x="592" y="493"/>
                    <a:pt x="591" y="499"/>
                    <a:pt x="591" y="502"/>
                  </a:cubicBezTo>
                  <a:cubicBezTo>
                    <a:pt x="587" y="503"/>
                    <a:pt x="582" y="504"/>
                    <a:pt x="578" y="503"/>
                  </a:cubicBezTo>
                  <a:cubicBezTo>
                    <a:pt x="576" y="503"/>
                    <a:pt x="575" y="503"/>
                    <a:pt x="574" y="503"/>
                  </a:cubicBezTo>
                  <a:cubicBezTo>
                    <a:pt x="573" y="503"/>
                    <a:pt x="572" y="502"/>
                    <a:pt x="571" y="501"/>
                  </a:cubicBezTo>
                  <a:cubicBezTo>
                    <a:pt x="571" y="501"/>
                    <a:pt x="571" y="500"/>
                    <a:pt x="570" y="499"/>
                  </a:cubicBezTo>
                  <a:cubicBezTo>
                    <a:pt x="562" y="495"/>
                    <a:pt x="558" y="502"/>
                    <a:pt x="555" y="509"/>
                  </a:cubicBezTo>
                  <a:cubicBezTo>
                    <a:pt x="553" y="513"/>
                    <a:pt x="547" y="517"/>
                    <a:pt x="547" y="522"/>
                  </a:cubicBezTo>
                  <a:cubicBezTo>
                    <a:pt x="548" y="529"/>
                    <a:pt x="556" y="525"/>
                    <a:pt x="557" y="529"/>
                  </a:cubicBezTo>
                  <a:cubicBezTo>
                    <a:pt x="558" y="533"/>
                    <a:pt x="553" y="534"/>
                    <a:pt x="551" y="537"/>
                  </a:cubicBezTo>
                  <a:cubicBezTo>
                    <a:pt x="549" y="539"/>
                    <a:pt x="547" y="545"/>
                    <a:pt x="548" y="548"/>
                  </a:cubicBezTo>
                  <a:cubicBezTo>
                    <a:pt x="554" y="550"/>
                    <a:pt x="563" y="543"/>
                    <a:pt x="567" y="539"/>
                  </a:cubicBezTo>
                  <a:cubicBezTo>
                    <a:pt x="569" y="537"/>
                    <a:pt x="569" y="537"/>
                    <a:pt x="571" y="535"/>
                  </a:cubicBezTo>
                  <a:cubicBezTo>
                    <a:pt x="573" y="531"/>
                    <a:pt x="576" y="527"/>
                    <a:pt x="579" y="523"/>
                  </a:cubicBezTo>
                  <a:cubicBezTo>
                    <a:pt x="582" y="528"/>
                    <a:pt x="580" y="532"/>
                    <a:pt x="579" y="536"/>
                  </a:cubicBezTo>
                  <a:cubicBezTo>
                    <a:pt x="578" y="541"/>
                    <a:pt x="578" y="542"/>
                    <a:pt x="573" y="544"/>
                  </a:cubicBezTo>
                  <a:cubicBezTo>
                    <a:pt x="571" y="546"/>
                    <a:pt x="567" y="546"/>
                    <a:pt x="566" y="549"/>
                  </a:cubicBezTo>
                  <a:cubicBezTo>
                    <a:pt x="566" y="552"/>
                    <a:pt x="566" y="556"/>
                    <a:pt x="568" y="557"/>
                  </a:cubicBezTo>
                  <a:cubicBezTo>
                    <a:pt x="566" y="558"/>
                    <a:pt x="563" y="556"/>
                    <a:pt x="561" y="556"/>
                  </a:cubicBezTo>
                  <a:cubicBezTo>
                    <a:pt x="558" y="556"/>
                    <a:pt x="554" y="555"/>
                    <a:pt x="552" y="556"/>
                  </a:cubicBezTo>
                  <a:cubicBezTo>
                    <a:pt x="548" y="557"/>
                    <a:pt x="546" y="560"/>
                    <a:pt x="543" y="563"/>
                  </a:cubicBezTo>
                  <a:cubicBezTo>
                    <a:pt x="541" y="565"/>
                    <a:pt x="538" y="566"/>
                    <a:pt x="535" y="568"/>
                  </a:cubicBezTo>
                  <a:cubicBezTo>
                    <a:pt x="533" y="569"/>
                    <a:pt x="525" y="573"/>
                    <a:pt x="525" y="577"/>
                  </a:cubicBezTo>
                  <a:cubicBezTo>
                    <a:pt x="525" y="581"/>
                    <a:pt x="531" y="582"/>
                    <a:pt x="531" y="584"/>
                  </a:cubicBezTo>
                  <a:cubicBezTo>
                    <a:pt x="533" y="588"/>
                    <a:pt x="529" y="585"/>
                    <a:pt x="527" y="587"/>
                  </a:cubicBezTo>
                  <a:cubicBezTo>
                    <a:pt x="524" y="588"/>
                    <a:pt x="526" y="590"/>
                    <a:pt x="525" y="591"/>
                  </a:cubicBezTo>
                  <a:cubicBezTo>
                    <a:pt x="523" y="592"/>
                    <a:pt x="523" y="592"/>
                    <a:pt x="522" y="593"/>
                  </a:cubicBezTo>
                  <a:cubicBezTo>
                    <a:pt x="518" y="596"/>
                    <a:pt x="516" y="600"/>
                    <a:pt x="516" y="605"/>
                  </a:cubicBezTo>
                  <a:cubicBezTo>
                    <a:pt x="520" y="606"/>
                    <a:pt x="524" y="603"/>
                    <a:pt x="528" y="602"/>
                  </a:cubicBezTo>
                  <a:cubicBezTo>
                    <a:pt x="533" y="600"/>
                    <a:pt x="540" y="599"/>
                    <a:pt x="546" y="600"/>
                  </a:cubicBezTo>
                  <a:cubicBezTo>
                    <a:pt x="548" y="600"/>
                    <a:pt x="550" y="601"/>
                    <a:pt x="552" y="601"/>
                  </a:cubicBezTo>
                  <a:cubicBezTo>
                    <a:pt x="555" y="601"/>
                    <a:pt x="558" y="601"/>
                    <a:pt x="559" y="604"/>
                  </a:cubicBezTo>
                  <a:cubicBezTo>
                    <a:pt x="559" y="604"/>
                    <a:pt x="559" y="605"/>
                    <a:pt x="559" y="605"/>
                  </a:cubicBezTo>
                  <a:cubicBezTo>
                    <a:pt x="558" y="605"/>
                    <a:pt x="558" y="606"/>
                    <a:pt x="558" y="607"/>
                  </a:cubicBezTo>
                  <a:cubicBezTo>
                    <a:pt x="556" y="608"/>
                    <a:pt x="551" y="607"/>
                    <a:pt x="548" y="607"/>
                  </a:cubicBezTo>
                  <a:cubicBezTo>
                    <a:pt x="542" y="607"/>
                    <a:pt x="528" y="605"/>
                    <a:pt x="523" y="610"/>
                  </a:cubicBezTo>
                  <a:cubicBezTo>
                    <a:pt x="518" y="613"/>
                    <a:pt x="519" y="622"/>
                    <a:pt x="516" y="627"/>
                  </a:cubicBezTo>
                  <a:cubicBezTo>
                    <a:pt x="513" y="623"/>
                    <a:pt x="515" y="615"/>
                    <a:pt x="509" y="614"/>
                  </a:cubicBezTo>
                  <a:cubicBezTo>
                    <a:pt x="505" y="612"/>
                    <a:pt x="503" y="617"/>
                    <a:pt x="503" y="620"/>
                  </a:cubicBezTo>
                  <a:cubicBezTo>
                    <a:pt x="502" y="626"/>
                    <a:pt x="503" y="625"/>
                    <a:pt x="499" y="629"/>
                  </a:cubicBezTo>
                  <a:cubicBezTo>
                    <a:pt x="495" y="632"/>
                    <a:pt x="496" y="634"/>
                    <a:pt x="495" y="639"/>
                  </a:cubicBezTo>
                  <a:cubicBezTo>
                    <a:pt x="493" y="640"/>
                    <a:pt x="491" y="642"/>
                    <a:pt x="488" y="643"/>
                  </a:cubicBezTo>
                  <a:cubicBezTo>
                    <a:pt x="486" y="644"/>
                    <a:pt x="484" y="643"/>
                    <a:pt x="482" y="644"/>
                  </a:cubicBezTo>
                  <a:cubicBezTo>
                    <a:pt x="477" y="646"/>
                    <a:pt x="482" y="647"/>
                    <a:pt x="483" y="650"/>
                  </a:cubicBezTo>
                  <a:cubicBezTo>
                    <a:pt x="484" y="652"/>
                    <a:pt x="483" y="653"/>
                    <a:pt x="484" y="655"/>
                  </a:cubicBezTo>
                  <a:cubicBezTo>
                    <a:pt x="484" y="656"/>
                    <a:pt x="486" y="657"/>
                    <a:pt x="487" y="657"/>
                  </a:cubicBezTo>
                  <a:cubicBezTo>
                    <a:pt x="490" y="659"/>
                    <a:pt x="495" y="661"/>
                    <a:pt x="497" y="665"/>
                  </a:cubicBezTo>
                  <a:cubicBezTo>
                    <a:pt x="489" y="666"/>
                    <a:pt x="480" y="664"/>
                    <a:pt x="473" y="666"/>
                  </a:cubicBezTo>
                  <a:cubicBezTo>
                    <a:pt x="469" y="667"/>
                    <a:pt x="468" y="667"/>
                    <a:pt x="467" y="670"/>
                  </a:cubicBezTo>
                  <a:cubicBezTo>
                    <a:pt x="466" y="673"/>
                    <a:pt x="466" y="674"/>
                    <a:pt x="467" y="676"/>
                  </a:cubicBezTo>
                  <a:cubicBezTo>
                    <a:pt x="467" y="677"/>
                    <a:pt x="469" y="676"/>
                    <a:pt x="468" y="679"/>
                  </a:cubicBezTo>
                  <a:cubicBezTo>
                    <a:pt x="465" y="679"/>
                    <a:pt x="465" y="680"/>
                    <a:pt x="464" y="682"/>
                  </a:cubicBezTo>
                  <a:cubicBezTo>
                    <a:pt x="462" y="683"/>
                    <a:pt x="456" y="684"/>
                    <a:pt x="455" y="687"/>
                  </a:cubicBezTo>
                  <a:cubicBezTo>
                    <a:pt x="454" y="689"/>
                    <a:pt x="455" y="690"/>
                    <a:pt x="456" y="691"/>
                  </a:cubicBezTo>
                  <a:cubicBezTo>
                    <a:pt x="457" y="694"/>
                    <a:pt x="457" y="695"/>
                    <a:pt x="458" y="699"/>
                  </a:cubicBezTo>
                  <a:cubicBezTo>
                    <a:pt x="461" y="699"/>
                    <a:pt x="465" y="699"/>
                    <a:pt x="468" y="699"/>
                  </a:cubicBezTo>
                  <a:cubicBezTo>
                    <a:pt x="472" y="698"/>
                    <a:pt x="476" y="696"/>
                    <a:pt x="476" y="702"/>
                  </a:cubicBezTo>
                  <a:cubicBezTo>
                    <a:pt x="475" y="705"/>
                    <a:pt x="471" y="706"/>
                    <a:pt x="470" y="708"/>
                  </a:cubicBezTo>
                  <a:cubicBezTo>
                    <a:pt x="467" y="711"/>
                    <a:pt x="466" y="714"/>
                    <a:pt x="462" y="713"/>
                  </a:cubicBezTo>
                  <a:cubicBezTo>
                    <a:pt x="460" y="709"/>
                    <a:pt x="462" y="705"/>
                    <a:pt x="457" y="702"/>
                  </a:cubicBezTo>
                  <a:cubicBezTo>
                    <a:pt x="452" y="699"/>
                    <a:pt x="446" y="701"/>
                    <a:pt x="446" y="706"/>
                  </a:cubicBezTo>
                  <a:cubicBezTo>
                    <a:pt x="446" y="708"/>
                    <a:pt x="448" y="710"/>
                    <a:pt x="447" y="712"/>
                  </a:cubicBezTo>
                  <a:cubicBezTo>
                    <a:pt x="447" y="715"/>
                    <a:pt x="446" y="717"/>
                    <a:pt x="447" y="720"/>
                  </a:cubicBezTo>
                  <a:cubicBezTo>
                    <a:pt x="447" y="723"/>
                    <a:pt x="447" y="724"/>
                    <a:pt x="451" y="726"/>
                  </a:cubicBezTo>
                  <a:cubicBezTo>
                    <a:pt x="455" y="728"/>
                    <a:pt x="460" y="727"/>
                    <a:pt x="465" y="728"/>
                  </a:cubicBezTo>
                  <a:cubicBezTo>
                    <a:pt x="463" y="730"/>
                    <a:pt x="459" y="731"/>
                    <a:pt x="456" y="732"/>
                  </a:cubicBezTo>
                  <a:cubicBezTo>
                    <a:pt x="455" y="733"/>
                    <a:pt x="454" y="736"/>
                    <a:pt x="453" y="737"/>
                  </a:cubicBezTo>
                  <a:cubicBezTo>
                    <a:pt x="452" y="739"/>
                    <a:pt x="450" y="740"/>
                    <a:pt x="447" y="740"/>
                  </a:cubicBezTo>
                  <a:cubicBezTo>
                    <a:pt x="443" y="741"/>
                    <a:pt x="442" y="740"/>
                    <a:pt x="438" y="744"/>
                  </a:cubicBezTo>
                  <a:cubicBezTo>
                    <a:pt x="436" y="747"/>
                    <a:pt x="436" y="745"/>
                    <a:pt x="436" y="749"/>
                  </a:cubicBezTo>
                  <a:cubicBezTo>
                    <a:pt x="436" y="750"/>
                    <a:pt x="436" y="752"/>
                    <a:pt x="436" y="754"/>
                  </a:cubicBezTo>
                  <a:cubicBezTo>
                    <a:pt x="436" y="761"/>
                    <a:pt x="429" y="758"/>
                    <a:pt x="427" y="763"/>
                  </a:cubicBezTo>
                  <a:cubicBezTo>
                    <a:pt x="426" y="765"/>
                    <a:pt x="427" y="767"/>
                    <a:pt x="426" y="769"/>
                  </a:cubicBezTo>
                  <a:cubicBezTo>
                    <a:pt x="425" y="770"/>
                    <a:pt x="423" y="771"/>
                    <a:pt x="422" y="773"/>
                  </a:cubicBezTo>
                  <a:cubicBezTo>
                    <a:pt x="422" y="774"/>
                    <a:pt x="422" y="775"/>
                    <a:pt x="421" y="776"/>
                  </a:cubicBezTo>
                  <a:cubicBezTo>
                    <a:pt x="420" y="778"/>
                    <a:pt x="417" y="778"/>
                    <a:pt x="417" y="779"/>
                  </a:cubicBezTo>
                  <a:cubicBezTo>
                    <a:pt x="416" y="781"/>
                    <a:pt x="416" y="783"/>
                    <a:pt x="416" y="785"/>
                  </a:cubicBezTo>
                  <a:cubicBezTo>
                    <a:pt x="416" y="787"/>
                    <a:pt x="415" y="789"/>
                    <a:pt x="418" y="790"/>
                  </a:cubicBezTo>
                  <a:cubicBezTo>
                    <a:pt x="421" y="790"/>
                    <a:pt x="421" y="787"/>
                    <a:pt x="422" y="785"/>
                  </a:cubicBezTo>
                  <a:cubicBezTo>
                    <a:pt x="425" y="782"/>
                    <a:pt x="431" y="781"/>
                    <a:pt x="436" y="780"/>
                  </a:cubicBezTo>
                  <a:cubicBezTo>
                    <a:pt x="437" y="779"/>
                    <a:pt x="438" y="779"/>
                    <a:pt x="441" y="780"/>
                  </a:cubicBezTo>
                  <a:cubicBezTo>
                    <a:pt x="439" y="780"/>
                    <a:pt x="438" y="780"/>
                    <a:pt x="436" y="780"/>
                  </a:cubicBezTo>
                  <a:cubicBezTo>
                    <a:pt x="435" y="782"/>
                    <a:pt x="434" y="784"/>
                    <a:pt x="433" y="785"/>
                  </a:cubicBezTo>
                  <a:cubicBezTo>
                    <a:pt x="432" y="786"/>
                    <a:pt x="429" y="787"/>
                    <a:pt x="429" y="788"/>
                  </a:cubicBezTo>
                  <a:cubicBezTo>
                    <a:pt x="428" y="790"/>
                    <a:pt x="429" y="792"/>
                    <a:pt x="428" y="794"/>
                  </a:cubicBezTo>
                  <a:cubicBezTo>
                    <a:pt x="427" y="798"/>
                    <a:pt x="423" y="799"/>
                    <a:pt x="421" y="801"/>
                  </a:cubicBezTo>
                  <a:cubicBezTo>
                    <a:pt x="419" y="804"/>
                    <a:pt x="419" y="808"/>
                    <a:pt x="415" y="811"/>
                  </a:cubicBezTo>
                  <a:cubicBezTo>
                    <a:pt x="411" y="813"/>
                    <a:pt x="408" y="810"/>
                    <a:pt x="407" y="815"/>
                  </a:cubicBezTo>
                  <a:cubicBezTo>
                    <a:pt x="407" y="818"/>
                    <a:pt x="406" y="823"/>
                    <a:pt x="407" y="825"/>
                  </a:cubicBezTo>
                  <a:cubicBezTo>
                    <a:pt x="408" y="828"/>
                    <a:pt x="418" y="833"/>
                    <a:pt x="416" y="837"/>
                  </a:cubicBezTo>
                  <a:cubicBezTo>
                    <a:pt x="415" y="839"/>
                    <a:pt x="406" y="839"/>
                    <a:pt x="407" y="835"/>
                  </a:cubicBezTo>
                  <a:cubicBezTo>
                    <a:pt x="404" y="836"/>
                    <a:pt x="403" y="844"/>
                    <a:pt x="401" y="847"/>
                  </a:cubicBezTo>
                  <a:cubicBezTo>
                    <a:pt x="399" y="850"/>
                    <a:pt x="394" y="853"/>
                    <a:pt x="393" y="857"/>
                  </a:cubicBezTo>
                  <a:cubicBezTo>
                    <a:pt x="391" y="861"/>
                    <a:pt x="392" y="866"/>
                    <a:pt x="396" y="870"/>
                  </a:cubicBezTo>
                  <a:cubicBezTo>
                    <a:pt x="397" y="871"/>
                    <a:pt x="400" y="872"/>
                    <a:pt x="399" y="874"/>
                  </a:cubicBezTo>
                  <a:cubicBezTo>
                    <a:pt x="399" y="876"/>
                    <a:pt x="395" y="874"/>
                    <a:pt x="396" y="877"/>
                  </a:cubicBezTo>
                  <a:cubicBezTo>
                    <a:pt x="399" y="878"/>
                    <a:pt x="400" y="876"/>
                    <a:pt x="403" y="876"/>
                  </a:cubicBezTo>
                  <a:cubicBezTo>
                    <a:pt x="403" y="877"/>
                    <a:pt x="403" y="878"/>
                    <a:pt x="403" y="880"/>
                  </a:cubicBezTo>
                  <a:cubicBezTo>
                    <a:pt x="403" y="880"/>
                    <a:pt x="402" y="881"/>
                    <a:pt x="402" y="882"/>
                  </a:cubicBezTo>
                  <a:cubicBezTo>
                    <a:pt x="398" y="882"/>
                    <a:pt x="394" y="884"/>
                    <a:pt x="391" y="887"/>
                  </a:cubicBezTo>
                  <a:cubicBezTo>
                    <a:pt x="389" y="889"/>
                    <a:pt x="389" y="890"/>
                    <a:pt x="386" y="892"/>
                  </a:cubicBezTo>
                  <a:cubicBezTo>
                    <a:pt x="383" y="894"/>
                    <a:pt x="380" y="895"/>
                    <a:pt x="380" y="898"/>
                  </a:cubicBezTo>
                  <a:cubicBezTo>
                    <a:pt x="375" y="897"/>
                    <a:pt x="374" y="886"/>
                    <a:pt x="370" y="889"/>
                  </a:cubicBezTo>
                  <a:cubicBezTo>
                    <a:pt x="369" y="890"/>
                    <a:pt x="367" y="895"/>
                    <a:pt x="367" y="896"/>
                  </a:cubicBezTo>
                  <a:cubicBezTo>
                    <a:pt x="366" y="899"/>
                    <a:pt x="368" y="900"/>
                    <a:pt x="369" y="902"/>
                  </a:cubicBezTo>
                  <a:cubicBezTo>
                    <a:pt x="369" y="903"/>
                    <a:pt x="369" y="905"/>
                    <a:pt x="368" y="906"/>
                  </a:cubicBezTo>
                  <a:cubicBezTo>
                    <a:pt x="368" y="907"/>
                    <a:pt x="365" y="907"/>
                    <a:pt x="364" y="908"/>
                  </a:cubicBezTo>
                  <a:cubicBezTo>
                    <a:pt x="363" y="908"/>
                    <a:pt x="363" y="909"/>
                    <a:pt x="362" y="910"/>
                  </a:cubicBezTo>
                  <a:cubicBezTo>
                    <a:pt x="360" y="911"/>
                    <a:pt x="360" y="912"/>
                    <a:pt x="357" y="912"/>
                  </a:cubicBezTo>
                  <a:cubicBezTo>
                    <a:pt x="356" y="912"/>
                    <a:pt x="352" y="909"/>
                    <a:pt x="350" y="909"/>
                  </a:cubicBezTo>
                  <a:cubicBezTo>
                    <a:pt x="348" y="908"/>
                    <a:pt x="347" y="909"/>
                    <a:pt x="345" y="908"/>
                  </a:cubicBezTo>
                  <a:cubicBezTo>
                    <a:pt x="345" y="906"/>
                    <a:pt x="346" y="903"/>
                    <a:pt x="345" y="902"/>
                  </a:cubicBezTo>
                  <a:cubicBezTo>
                    <a:pt x="344" y="898"/>
                    <a:pt x="340" y="901"/>
                    <a:pt x="338" y="904"/>
                  </a:cubicBezTo>
                  <a:cubicBezTo>
                    <a:pt x="336" y="906"/>
                    <a:pt x="336" y="908"/>
                    <a:pt x="334" y="910"/>
                  </a:cubicBezTo>
                  <a:cubicBezTo>
                    <a:pt x="332" y="913"/>
                    <a:pt x="330" y="914"/>
                    <a:pt x="328" y="917"/>
                  </a:cubicBezTo>
                  <a:cubicBezTo>
                    <a:pt x="327" y="918"/>
                    <a:pt x="326" y="922"/>
                    <a:pt x="326" y="924"/>
                  </a:cubicBezTo>
                  <a:cubicBezTo>
                    <a:pt x="328" y="925"/>
                    <a:pt x="332" y="925"/>
                    <a:pt x="334" y="925"/>
                  </a:cubicBezTo>
                  <a:cubicBezTo>
                    <a:pt x="336" y="924"/>
                    <a:pt x="339" y="923"/>
                    <a:pt x="341" y="924"/>
                  </a:cubicBezTo>
                  <a:cubicBezTo>
                    <a:pt x="346" y="924"/>
                    <a:pt x="352" y="929"/>
                    <a:pt x="357" y="929"/>
                  </a:cubicBezTo>
                  <a:cubicBezTo>
                    <a:pt x="360" y="929"/>
                    <a:pt x="363" y="926"/>
                    <a:pt x="366" y="927"/>
                  </a:cubicBezTo>
                  <a:cubicBezTo>
                    <a:pt x="369" y="928"/>
                    <a:pt x="368" y="930"/>
                    <a:pt x="369" y="931"/>
                  </a:cubicBezTo>
                  <a:cubicBezTo>
                    <a:pt x="369" y="931"/>
                    <a:pt x="369" y="931"/>
                    <a:pt x="369" y="931"/>
                  </a:cubicBezTo>
                  <a:cubicBezTo>
                    <a:pt x="367" y="932"/>
                    <a:pt x="360" y="934"/>
                    <a:pt x="361" y="936"/>
                  </a:cubicBezTo>
                  <a:cubicBezTo>
                    <a:pt x="362" y="937"/>
                    <a:pt x="370" y="936"/>
                    <a:pt x="372" y="936"/>
                  </a:cubicBezTo>
                  <a:cubicBezTo>
                    <a:pt x="374" y="942"/>
                    <a:pt x="359" y="938"/>
                    <a:pt x="357" y="941"/>
                  </a:cubicBezTo>
                  <a:cubicBezTo>
                    <a:pt x="355" y="942"/>
                    <a:pt x="356" y="943"/>
                    <a:pt x="357" y="945"/>
                  </a:cubicBezTo>
                  <a:cubicBezTo>
                    <a:pt x="358" y="948"/>
                    <a:pt x="359" y="950"/>
                    <a:pt x="360" y="953"/>
                  </a:cubicBezTo>
                  <a:cubicBezTo>
                    <a:pt x="358" y="952"/>
                    <a:pt x="357" y="949"/>
                    <a:pt x="355" y="948"/>
                  </a:cubicBezTo>
                  <a:cubicBezTo>
                    <a:pt x="352" y="946"/>
                    <a:pt x="352" y="948"/>
                    <a:pt x="351" y="949"/>
                  </a:cubicBezTo>
                  <a:cubicBezTo>
                    <a:pt x="349" y="950"/>
                    <a:pt x="351" y="951"/>
                    <a:pt x="348" y="951"/>
                  </a:cubicBezTo>
                  <a:cubicBezTo>
                    <a:pt x="346" y="951"/>
                    <a:pt x="345" y="950"/>
                    <a:pt x="344" y="949"/>
                  </a:cubicBezTo>
                  <a:cubicBezTo>
                    <a:pt x="343" y="953"/>
                    <a:pt x="345" y="954"/>
                    <a:pt x="343" y="957"/>
                  </a:cubicBezTo>
                  <a:cubicBezTo>
                    <a:pt x="341" y="961"/>
                    <a:pt x="336" y="960"/>
                    <a:pt x="332" y="960"/>
                  </a:cubicBezTo>
                  <a:cubicBezTo>
                    <a:pt x="330" y="955"/>
                    <a:pt x="330" y="955"/>
                    <a:pt x="330" y="955"/>
                  </a:cubicBezTo>
                  <a:cubicBezTo>
                    <a:pt x="326" y="959"/>
                    <a:pt x="319" y="962"/>
                    <a:pt x="318" y="967"/>
                  </a:cubicBezTo>
                  <a:cubicBezTo>
                    <a:pt x="317" y="970"/>
                    <a:pt x="317" y="972"/>
                    <a:pt x="316" y="974"/>
                  </a:cubicBezTo>
                  <a:cubicBezTo>
                    <a:pt x="315" y="976"/>
                    <a:pt x="313" y="976"/>
                    <a:pt x="314" y="979"/>
                  </a:cubicBezTo>
                  <a:cubicBezTo>
                    <a:pt x="317" y="979"/>
                    <a:pt x="321" y="978"/>
                    <a:pt x="325" y="979"/>
                  </a:cubicBezTo>
                  <a:cubicBezTo>
                    <a:pt x="329" y="986"/>
                    <a:pt x="314" y="983"/>
                    <a:pt x="311" y="985"/>
                  </a:cubicBezTo>
                  <a:cubicBezTo>
                    <a:pt x="312" y="985"/>
                    <a:pt x="310" y="989"/>
                    <a:pt x="310" y="988"/>
                  </a:cubicBezTo>
                  <a:cubicBezTo>
                    <a:pt x="309" y="989"/>
                    <a:pt x="310" y="992"/>
                    <a:pt x="309" y="993"/>
                  </a:cubicBezTo>
                  <a:cubicBezTo>
                    <a:pt x="308" y="995"/>
                    <a:pt x="300" y="994"/>
                    <a:pt x="302" y="998"/>
                  </a:cubicBezTo>
                  <a:cubicBezTo>
                    <a:pt x="304" y="998"/>
                    <a:pt x="304" y="999"/>
                    <a:pt x="304" y="1001"/>
                  </a:cubicBezTo>
                  <a:cubicBezTo>
                    <a:pt x="304" y="1004"/>
                    <a:pt x="303" y="1004"/>
                    <a:pt x="300" y="1005"/>
                  </a:cubicBezTo>
                  <a:cubicBezTo>
                    <a:pt x="294" y="1008"/>
                    <a:pt x="296" y="1007"/>
                    <a:pt x="297" y="1013"/>
                  </a:cubicBezTo>
                  <a:cubicBezTo>
                    <a:pt x="292" y="1016"/>
                    <a:pt x="291" y="1018"/>
                    <a:pt x="297" y="1019"/>
                  </a:cubicBezTo>
                  <a:cubicBezTo>
                    <a:pt x="297" y="1025"/>
                    <a:pt x="285" y="1020"/>
                    <a:pt x="283" y="1017"/>
                  </a:cubicBezTo>
                  <a:cubicBezTo>
                    <a:pt x="278" y="1023"/>
                    <a:pt x="285" y="1027"/>
                    <a:pt x="289" y="1028"/>
                  </a:cubicBezTo>
                  <a:cubicBezTo>
                    <a:pt x="289" y="1031"/>
                    <a:pt x="283" y="1033"/>
                    <a:pt x="282" y="1037"/>
                  </a:cubicBezTo>
                  <a:cubicBezTo>
                    <a:pt x="284" y="1038"/>
                    <a:pt x="288" y="1039"/>
                    <a:pt x="285" y="1042"/>
                  </a:cubicBezTo>
                  <a:cubicBezTo>
                    <a:pt x="282" y="1044"/>
                    <a:pt x="277" y="1039"/>
                    <a:pt x="274" y="1040"/>
                  </a:cubicBezTo>
                  <a:cubicBezTo>
                    <a:pt x="273" y="1041"/>
                    <a:pt x="274" y="1045"/>
                    <a:pt x="273" y="1047"/>
                  </a:cubicBezTo>
                  <a:cubicBezTo>
                    <a:pt x="272" y="1048"/>
                    <a:pt x="269" y="1048"/>
                    <a:pt x="267" y="1047"/>
                  </a:cubicBezTo>
                  <a:cubicBezTo>
                    <a:pt x="267" y="1047"/>
                    <a:pt x="267" y="1046"/>
                    <a:pt x="266" y="1046"/>
                  </a:cubicBezTo>
                  <a:cubicBezTo>
                    <a:pt x="262" y="1046"/>
                    <a:pt x="266" y="1052"/>
                    <a:pt x="268" y="1053"/>
                  </a:cubicBezTo>
                  <a:cubicBezTo>
                    <a:pt x="270" y="1054"/>
                    <a:pt x="272" y="1053"/>
                    <a:pt x="271" y="1056"/>
                  </a:cubicBezTo>
                  <a:cubicBezTo>
                    <a:pt x="271" y="1058"/>
                    <a:pt x="263" y="1061"/>
                    <a:pt x="260" y="1061"/>
                  </a:cubicBezTo>
                  <a:cubicBezTo>
                    <a:pt x="259" y="1067"/>
                    <a:pt x="267" y="1065"/>
                    <a:pt x="272" y="1065"/>
                  </a:cubicBezTo>
                  <a:cubicBezTo>
                    <a:pt x="272" y="1065"/>
                    <a:pt x="273" y="1064"/>
                    <a:pt x="273" y="1064"/>
                  </a:cubicBezTo>
                  <a:cubicBezTo>
                    <a:pt x="274" y="1063"/>
                    <a:pt x="275" y="1061"/>
                    <a:pt x="277" y="1060"/>
                  </a:cubicBezTo>
                  <a:cubicBezTo>
                    <a:pt x="278" y="1059"/>
                    <a:pt x="283" y="1060"/>
                    <a:pt x="285" y="1060"/>
                  </a:cubicBezTo>
                  <a:cubicBezTo>
                    <a:pt x="283" y="1063"/>
                    <a:pt x="275" y="1068"/>
                    <a:pt x="278" y="1073"/>
                  </a:cubicBezTo>
                  <a:cubicBezTo>
                    <a:pt x="279" y="1075"/>
                    <a:pt x="284" y="1075"/>
                    <a:pt x="286" y="1079"/>
                  </a:cubicBezTo>
                  <a:cubicBezTo>
                    <a:pt x="287" y="1082"/>
                    <a:pt x="286" y="1083"/>
                    <a:pt x="291" y="1084"/>
                  </a:cubicBezTo>
                  <a:cubicBezTo>
                    <a:pt x="293" y="1084"/>
                    <a:pt x="296" y="1083"/>
                    <a:pt x="298" y="1084"/>
                  </a:cubicBezTo>
                  <a:cubicBezTo>
                    <a:pt x="299" y="1084"/>
                    <a:pt x="299" y="1085"/>
                    <a:pt x="301" y="1085"/>
                  </a:cubicBezTo>
                  <a:cubicBezTo>
                    <a:pt x="303" y="1083"/>
                    <a:pt x="302" y="1079"/>
                    <a:pt x="305" y="1077"/>
                  </a:cubicBezTo>
                  <a:cubicBezTo>
                    <a:pt x="306" y="1076"/>
                    <a:pt x="308" y="1076"/>
                    <a:pt x="309" y="1076"/>
                  </a:cubicBezTo>
                  <a:cubicBezTo>
                    <a:pt x="311" y="1076"/>
                    <a:pt x="311" y="1078"/>
                    <a:pt x="312" y="1078"/>
                  </a:cubicBezTo>
                  <a:cubicBezTo>
                    <a:pt x="315" y="1078"/>
                    <a:pt x="314" y="1073"/>
                    <a:pt x="315" y="1071"/>
                  </a:cubicBezTo>
                  <a:cubicBezTo>
                    <a:pt x="316" y="1068"/>
                    <a:pt x="319" y="1066"/>
                    <a:pt x="322" y="1065"/>
                  </a:cubicBezTo>
                  <a:cubicBezTo>
                    <a:pt x="325" y="1064"/>
                    <a:pt x="325" y="1065"/>
                    <a:pt x="326" y="1063"/>
                  </a:cubicBezTo>
                  <a:cubicBezTo>
                    <a:pt x="328" y="1061"/>
                    <a:pt x="328" y="1060"/>
                    <a:pt x="330" y="1058"/>
                  </a:cubicBezTo>
                  <a:cubicBezTo>
                    <a:pt x="331" y="1057"/>
                    <a:pt x="332" y="1056"/>
                    <a:pt x="333" y="1056"/>
                  </a:cubicBezTo>
                  <a:cubicBezTo>
                    <a:pt x="334" y="1054"/>
                    <a:pt x="334" y="1055"/>
                    <a:pt x="336" y="1054"/>
                  </a:cubicBezTo>
                  <a:cubicBezTo>
                    <a:pt x="341" y="1052"/>
                    <a:pt x="351" y="1050"/>
                    <a:pt x="353" y="1044"/>
                  </a:cubicBezTo>
                  <a:cubicBezTo>
                    <a:pt x="348" y="1044"/>
                    <a:pt x="345" y="1037"/>
                    <a:pt x="348" y="1033"/>
                  </a:cubicBezTo>
                  <a:cubicBezTo>
                    <a:pt x="343" y="1032"/>
                    <a:pt x="339" y="1035"/>
                    <a:pt x="334" y="1035"/>
                  </a:cubicBezTo>
                  <a:cubicBezTo>
                    <a:pt x="332" y="1030"/>
                    <a:pt x="338" y="1028"/>
                    <a:pt x="343" y="1026"/>
                  </a:cubicBezTo>
                  <a:cubicBezTo>
                    <a:pt x="346" y="1025"/>
                    <a:pt x="350" y="1024"/>
                    <a:pt x="353" y="1023"/>
                  </a:cubicBezTo>
                  <a:cubicBezTo>
                    <a:pt x="355" y="1022"/>
                    <a:pt x="357" y="1020"/>
                    <a:pt x="359" y="1020"/>
                  </a:cubicBezTo>
                  <a:cubicBezTo>
                    <a:pt x="361" y="1020"/>
                    <a:pt x="363" y="1022"/>
                    <a:pt x="361" y="1025"/>
                  </a:cubicBezTo>
                  <a:cubicBezTo>
                    <a:pt x="360" y="1026"/>
                    <a:pt x="355" y="1027"/>
                    <a:pt x="354" y="1029"/>
                  </a:cubicBezTo>
                  <a:cubicBezTo>
                    <a:pt x="352" y="1030"/>
                    <a:pt x="350" y="1033"/>
                    <a:pt x="353" y="1035"/>
                  </a:cubicBezTo>
                  <a:cubicBezTo>
                    <a:pt x="355" y="1037"/>
                    <a:pt x="360" y="1033"/>
                    <a:pt x="361" y="1037"/>
                  </a:cubicBezTo>
                  <a:cubicBezTo>
                    <a:pt x="362" y="1038"/>
                    <a:pt x="361" y="1039"/>
                    <a:pt x="361" y="1040"/>
                  </a:cubicBezTo>
                  <a:cubicBezTo>
                    <a:pt x="362" y="1042"/>
                    <a:pt x="362" y="1041"/>
                    <a:pt x="364" y="1042"/>
                  </a:cubicBezTo>
                  <a:cubicBezTo>
                    <a:pt x="367" y="1044"/>
                    <a:pt x="368" y="1046"/>
                    <a:pt x="368" y="1050"/>
                  </a:cubicBezTo>
                  <a:cubicBezTo>
                    <a:pt x="362" y="1050"/>
                    <a:pt x="356" y="1049"/>
                    <a:pt x="351" y="1050"/>
                  </a:cubicBezTo>
                  <a:cubicBezTo>
                    <a:pt x="350" y="1054"/>
                    <a:pt x="348" y="1058"/>
                    <a:pt x="345" y="1061"/>
                  </a:cubicBezTo>
                  <a:cubicBezTo>
                    <a:pt x="341" y="1066"/>
                    <a:pt x="335" y="1064"/>
                    <a:pt x="330" y="1068"/>
                  </a:cubicBezTo>
                  <a:cubicBezTo>
                    <a:pt x="327" y="1071"/>
                    <a:pt x="326" y="1077"/>
                    <a:pt x="327" y="1080"/>
                  </a:cubicBezTo>
                  <a:cubicBezTo>
                    <a:pt x="328" y="1082"/>
                    <a:pt x="332" y="1089"/>
                    <a:pt x="331" y="1091"/>
                  </a:cubicBezTo>
                  <a:cubicBezTo>
                    <a:pt x="329" y="1095"/>
                    <a:pt x="325" y="1088"/>
                    <a:pt x="324" y="1087"/>
                  </a:cubicBezTo>
                  <a:cubicBezTo>
                    <a:pt x="321" y="1086"/>
                    <a:pt x="320" y="1087"/>
                    <a:pt x="317" y="1086"/>
                  </a:cubicBezTo>
                  <a:cubicBezTo>
                    <a:pt x="314" y="1085"/>
                    <a:pt x="310" y="1081"/>
                    <a:pt x="307" y="1083"/>
                  </a:cubicBezTo>
                  <a:cubicBezTo>
                    <a:pt x="304" y="1085"/>
                    <a:pt x="306" y="1087"/>
                    <a:pt x="302" y="1088"/>
                  </a:cubicBezTo>
                  <a:cubicBezTo>
                    <a:pt x="300" y="1089"/>
                    <a:pt x="296" y="1088"/>
                    <a:pt x="294" y="1090"/>
                  </a:cubicBezTo>
                  <a:cubicBezTo>
                    <a:pt x="293" y="1092"/>
                    <a:pt x="295" y="1094"/>
                    <a:pt x="293" y="1096"/>
                  </a:cubicBezTo>
                  <a:cubicBezTo>
                    <a:pt x="292" y="1098"/>
                    <a:pt x="286" y="1100"/>
                    <a:pt x="289" y="1103"/>
                  </a:cubicBezTo>
                  <a:cubicBezTo>
                    <a:pt x="291" y="1104"/>
                    <a:pt x="295" y="1103"/>
                    <a:pt x="297" y="1103"/>
                  </a:cubicBezTo>
                  <a:cubicBezTo>
                    <a:pt x="296" y="1105"/>
                    <a:pt x="289" y="1106"/>
                    <a:pt x="287" y="1105"/>
                  </a:cubicBezTo>
                  <a:cubicBezTo>
                    <a:pt x="285" y="1104"/>
                    <a:pt x="285" y="1103"/>
                    <a:pt x="285" y="1101"/>
                  </a:cubicBezTo>
                  <a:cubicBezTo>
                    <a:pt x="285" y="1100"/>
                    <a:pt x="286" y="1097"/>
                    <a:pt x="286" y="1097"/>
                  </a:cubicBezTo>
                  <a:cubicBezTo>
                    <a:pt x="286" y="1095"/>
                    <a:pt x="282" y="1094"/>
                    <a:pt x="281" y="1092"/>
                  </a:cubicBezTo>
                  <a:cubicBezTo>
                    <a:pt x="279" y="1090"/>
                    <a:pt x="278" y="1085"/>
                    <a:pt x="277" y="1082"/>
                  </a:cubicBezTo>
                  <a:cubicBezTo>
                    <a:pt x="277" y="1080"/>
                    <a:pt x="278" y="1077"/>
                    <a:pt x="277" y="1075"/>
                  </a:cubicBezTo>
                  <a:cubicBezTo>
                    <a:pt x="277" y="1073"/>
                    <a:pt x="274" y="1072"/>
                    <a:pt x="274" y="1070"/>
                  </a:cubicBezTo>
                  <a:cubicBezTo>
                    <a:pt x="269" y="1069"/>
                    <a:pt x="268" y="1075"/>
                    <a:pt x="265" y="1076"/>
                  </a:cubicBezTo>
                  <a:cubicBezTo>
                    <a:pt x="263" y="1074"/>
                    <a:pt x="259" y="1073"/>
                    <a:pt x="257" y="1075"/>
                  </a:cubicBezTo>
                  <a:cubicBezTo>
                    <a:pt x="255" y="1076"/>
                    <a:pt x="255" y="1079"/>
                    <a:pt x="253" y="1081"/>
                  </a:cubicBezTo>
                  <a:cubicBezTo>
                    <a:pt x="251" y="1082"/>
                    <a:pt x="240" y="1081"/>
                    <a:pt x="242" y="1087"/>
                  </a:cubicBezTo>
                  <a:cubicBezTo>
                    <a:pt x="246" y="1088"/>
                    <a:pt x="249" y="1087"/>
                    <a:pt x="252" y="1088"/>
                  </a:cubicBezTo>
                  <a:cubicBezTo>
                    <a:pt x="253" y="1089"/>
                    <a:pt x="254" y="1090"/>
                    <a:pt x="254" y="1091"/>
                  </a:cubicBezTo>
                  <a:cubicBezTo>
                    <a:pt x="256" y="1091"/>
                    <a:pt x="257" y="1090"/>
                    <a:pt x="258" y="1092"/>
                  </a:cubicBezTo>
                  <a:cubicBezTo>
                    <a:pt x="255" y="1093"/>
                    <a:pt x="244" y="1094"/>
                    <a:pt x="247" y="1099"/>
                  </a:cubicBezTo>
                  <a:cubicBezTo>
                    <a:pt x="249" y="1104"/>
                    <a:pt x="260" y="1101"/>
                    <a:pt x="264" y="1101"/>
                  </a:cubicBezTo>
                  <a:cubicBezTo>
                    <a:pt x="264" y="1104"/>
                    <a:pt x="260" y="1103"/>
                    <a:pt x="258" y="1104"/>
                  </a:cubicBezTo>
                  <a:cubicBezTo>
                    <a:pt x="255" y="1105"/>
                    <a:pt x="254" y="1108"/>
                    <a:pt x="252" y="1110"/>
                  </a:cubicBezTo>
                  <a:cubicBezTo>
                    <a:pt x="247" y="1112"/>
                    <a:pt x="248" y="1104"/>
                    <a:pt x="245" y="1103"/>
                  </a:cubicBezTo>
                  <a:cubicBezTo>
                    <a:pt x="243" y="1103"/>
                    <a:pt x="240" y="1105"/>
                    <a:pt x="239" y="1105"/>
                  </a:cubicBezTo>
                  <a:cubicBezTo>
                    <a:pt x="238" y="1102"/>
                    <a:pt x="240" y="1097"/>
                    <a:pt x="239" y="1095"/>
                  </a:cubicBezTo>
                  <a:cubicBezTo>
                    <a:pt x="238" y="1093"/>
                    <a:pt x="234" y="1090"/>
                    <a:pt x="232" y="1090"/>
                  </a:cubicBezTo>
                  <a:cubicBezTo>
                    <a:pt x="226" y="1088"/>
                    <a:pt x="224" y="1093"/>
                    <a:pt x="219" y="1094"/>
                  </a:cubicBezTo>
                  <a:cubicBezTo>
                    <a:pt x="216" y="1094"/>
                    <a:pt x="214" y="1093"/>
                    <a:pt x="212" y="1094"/>
                  </a:cubicBezTo>
                  <a:cubicBezTo>
                    <a:pt x="210" y="1094"/>
                    <a:pt x="208" y="1095"/>
                    <a:pt x="206" y="1097"/>
                  </a:cubicBezTo>
                  <a:cubicBezTo>
                    <a:pt x="205" y="1098"/>
                    <a:pt x="205" y="1099"/>
                    <a:pt x="204" y="1100"/>
                  </a:cubicBezTo>
                  <a:cubicBezTo>
                    <a:pt x="203" y="1102"/>
                    <a:pt x="203" y="1101"/>
                    <a:pt x="202" y="1102"/>
                  </a:cubicBezTo>
                  <a:cubicBezTo>
                    <a:pt x="200" y="1103"/>
                    <a:pt x="199" y="1106"/>
                    <a:pt x="197" y="1107"/>
                  </a:cubicBezTo>
                  <a:cubicBezTo>
                    <a:pt x="200" y="1108"/>
                    <a:pt x="205" y="1110"/>
                    <a:pt x="200" y="1112"/>
                  </a:cubicBezTo>
                  <a:cubicBezTo>
                    <a:pt x="198" y="1113"/>
                    <a:pt x="195" y="1112"/>
                    <a:pt x="193" y="1113"/>
                  </a:cubicBezTo>
                  <a:cubicBezTo>
                    <a:pt x="192" y="1113"/>
                    <a:pt x="192" y="1115"/>
                    <a:pt x="190" y="1116"/>
                  </a:cubicBezTo>
                  <a:cubicBezTo>
                    <a:pt x="189" y="1117"/>
                    <a:pt x="188" y="1117"/>
                    <a:pt x="187" y="1117"/>
                  </a:cubicBezTo>
                  <a:cubicBezTo>
                    <a:pt x="184" y="1118"/>
                    <a:pt x="182" y="1120"/>
                    <a:pt x="179" y="1121"/>
                  </a:cubicBezTo>
                  <a:cubicBezTo>
                    <a:pt x="176" y="1122"/>
                    <a:pt x="170" y="1122"/>
                    <a:pt x="172" y="1127"/>
                  </a:cubicBezTo>
                  <a:cubicBezTo>
                    <a:pt x="176" y="1127"/>
                    <a:pt x="179" y="1124"/>
                    <a:pt x="183" y="1124"/>
                  </a:cubicBezTo>
                  <a:cubicBezTo>
                    <a:pt x="186" y="1124"/>
                    <a:pt x="185" y="1127"/>
                    <a:pt x="187" y="1128"/>
                  </a:cubicBezTo>
                  <a:cubicBezTo>
                    <a:pt x="190" y="1129"/>
                    <a:pt x="191" y="1126"/>
                    <a:pt x="193" y="1128"/>
                  </a:cubicBezTo>
                  <a:cubicBezTo>
                    <a:pt x="195" y="1129"/>
                    <a:pt x="186" y="1129"/>
                    <a:pt x="188" y="1133"/>
                  </a:cubicBezTo>
                  <a:cubicBezTo>
                    <a:pt x="188" y="1134"/>
                    <a:pt x="190" y="1136"/>
                    <a:pt x="191" y="1136"/>
                  </a:cubicBezTo>
                  <a:cubicBezTo>
                    <a:pt x="193" y="1138"/>
                    <a:pt x="194" y="1141"/>
                    <a:pt x="196" y="1143"/>
                  </a:cubicBezTo>
                  <a:cubicBezTo>
                    <a:pt x="200" y="1147"/>
                    <a:pt x="201" y="1146"/>
                    <a:pt x="205" y="1147"/>
                  </a:cubicBezTo>
                  <a:cubicBezTo>
                    <a:pt x="212" y="1148"/>
                    <a:pt x="205" y="1149"/>
                    <a:pt x="203" y="1151"/>
                  </a:cubicBezTo>
                  <a:cubicBezTo>
                    <a:pt x="203" y="1152"/>
                    <a:pt x="202" y="1154"/>
                    <a:pt x="203" y="1155"/>
                  </a:cubicBezTo>
                  <a:cubicBezTo>
                    <a:pt x="203" y="1157"/>
                    <a:pt x="205" y="1156"/>
                    <a:pt x="207" y="1157"/>
                  </a:cubicBezTo>
                  <a:cubicBezTo>
                    <a:pt x="211" y="1159"/>
                    <a:pt x="211" y="1162"/>
                    <a:pt x="212" y="1165"/>
                  </a:cubicBezTo>
                  <a:cubicBezTo>
                    <a:pt x="209" y="1164"/>
                    <a:pt x="205" y="1164"/>
                    <a:pt x="202" y="1163"/>
                  </a:cubicBezTo>
                  <a:cubicBezTo>
                    <a:pt x="202" y="1161"/>
                    <a:pt x="200" y="1162"/>
                    <a:pt x="198" y="1161"/>
                  </a:cubicBezTo>
                  <a:cubicBezTo>
                    <a:pt x="198" y="1160"/>
                    <a:pt x="198" y="1160"/>
                    <a:pt x="198" y="1159"/>
                  </a:cubicBezTo>
                  <a:cubicBezTo>
                    <a:pt x="196" y="1158"/>
                    <a:pt x="195" y="1159"/>
                    <a:pt x="194" y="1157"/>
                  </a:cubicBezTo>
                  <a:cubicBezTo>
                    <a:pt x="192" y="1154"/>
                    <a:pt x="195" y="1153"/>
                    <a:pt x="191" y="1150"/>
                  </a:cubicBezTo>
                  <a:cubicBezTo>
                    <a:pt x="187" y="1148"/>
                    <a:pt x="186" y="1148"/>
                    <a:pt x="186" y="1143"/>
                  </a:cubicBezTo>
                  <a:cubicBezTo>
                    <a:pt x="186" y="1142"/>
                    <a:pt x="186" y="1140"/>
                    <a:pt x="185" y="1138"/>
                  </a:cubicBezTo>
                  <a:cubicBezTo>
                    <a:pt x="185" y="1138"/>
                    <a:pt x="184" y="1138"/>
                    <a:pt x="184" y="1137"/>
                  </a:cubicBezTo>
                  <a:cubicBezTo>
                    <a:pt x="183" y="1137"/>
                    <a:pt x="183" y="1135"/>
                    <a:pt x="183" y="1134"/>
                  </a:cubicBezTo>
                  <a:cubicBezTo>
                    <a:pt x="182" y="1133"/>
                    <a:pt x="180" y="1132"/>
                    <a:pt x="178" y="1132"/>
                  </a:cubicBezTo>
                  <a:cubicBezTo>
                    <a:pt x="175" y="1133"/>
                    <a:pt x="176" y="1133"/>
                    <a:pt x="174" y="1135"/>
                  </a:cubicBezTo>
                  <a:cubicBezTo>
                    <a:pt x="174" y="1136"/>
                    <a:pt x="174" y="1136"/>
                    <a:pt x="174" y="1137"/>
                  </a:cubicBezTo>
                  <a:cubicBezTo>
                    <a:pt x="174" y="1138"/>
                    <a:pt x="174" y="1138"/>
                    <a:pt x="173" y="1139"/>
                  </a:cubicBezTo>
                  <a:cubicBezTo>
                    <a:pt x="173" y="1139"/>
                    <a:pt x="171" y="1141"/>
                    <a:pt x="170" y="1142"/>
                  </a:cubicBezTo>
                  <a:cubicBezTo>
                    <a:pt x="168" y="1144"/>
                    <a:pt x="167" y="1148"/>
                    <a:pt x="165" y="1150"/>
                  </a:cubicBezTo>
                  <a:cubicBezTo>
                    <a:pt x="164" y="1150"/>
                    <a:pt x="160" y="1150"/>
                    <a:pt x="159" y="1150"/>
                  </a:cubicBezTo>
                  <a:cubicBezTo>
                    <a:pt x="157" y="1151"/>
                    <a:pt x="156" y="1152"/>
                    <a:pt x="154" y="1151"/>
                  </a:cubicBezTo>
                  <a:cubicBezTo>
                    <a:pt x="152" y="1146"/>
                    <a:pt x="176" y="1136"/>
                    <a:pt x="167" y="1131"/>
                  </a:cubicBezTo>
                  <a:cubicBezTo>
                    <a:pt x="165" y="1130"/>
                    <a:pt x="162" y="1130"/>
                    <a:pt x="160" y="1130"/>
                  </a:cubicBezTo>
                  <a:cubicBezTo>
                    <a:pt x="156" y="1130"/>
                    <a:pt x="154" y="1130"/>
                    <a:pt x="152" y="1133"/>
                  </a:cubicBezTo>
                  <a:cubicBezTo>
                    <a:pt x="151" y="1134"/>
                    <a:pt x="152" y="1134"/>
                    <a:pt x="150" y="1136"/>
                  </a:cubicBezTo>
                  <a:cubicBezTo>
                    <a:pt x="148" y="1137"/>
                    <a:pt x="146" y="1136"/>
                    <a:pt x="144" y="1137"/>
                  </a:cubicBezTo>
                  <a:cubicBezTo>
                    <a:pt x="142" y="1139"/>
                    <a:pt x="141" y="1142"/>
                    <a:pt x="140" y="1144"/>
                  </a:cubicBezTo>
                  <a:cubicBezTo>
                    <a:pt x="138" y="1145"/>
                    <a:pt x="136" y="1144"/>
                    <a:pt x="134" y="1145"/>
                  </a:cubicBezTo>
                  <a:cubicBezTo>
                    <a:pt x="132" y="1145"/>
                    <a:pt x="129" y="1147"/>
                    <a:pt x="128" y="1148"/>
                  </a:cubicBezTo>
                  <a:cubicBezTo>
                    <a:pt x="125" y="1150"/>
                    <a:pt x="123" y="1154"/>
                    <a:pt x="122" y="1158"/>
                  </a:cubicBezTo>
                  <a:cubicBezTo>
                    <a:pt x="122" y="1163"/>
                    <a:pt x="126" y="1166"/>
                    <a:pt x="130" y="1167"/>
                  </a:cubicBezTo>
                  <a:cubicBezTo>
                    <a:pt x="132" y="1167"/>
                    <a:pt x="135" y="1165"/>
                    <a:pt x="136" y="1167"/>
                  </a:cubicBezTo>
                  <a:cubicBezTo>
                    <a:pt x="137" y="1170"/>
                    <a:pt x="126" y="1170"/>
                    <a:pt x="125" y="1170"/>
                  </a:cubicBezTo>
                  <a:cubicBezTo>
                    <a:pt x="124" y="1173"/>
                    <a:pt x="125" y="1174"/>
                    <a:pt x="126" y="1176"/>
                  </a:cubicBezTo>
                  <a:cubicBezTo>
                    <a:pt x="127" y="1180"/>
                    <a:pt x="127" y="1180"/>
                    <a:pt x="131" y="1180"/>
                  </a:cubicBezTo>
                  <a:cubicBezTo>
                    <a:pt x="135" y="1180"/>
                    <a:pt x="137" y="1179"/>
                    <a:pt x="140" y="1179"/>
                  </a:cubicBezTo>
                  <a:cubicBezTo>
                    <a:pt x="143" y="1179"/>
                    <a:pt x="144" y="1181"/>
                    <a:pt x="147" y="1182"/>
                  </a:cubicBezTo>
                  <a:cubicBezTo>
                    <a:pt x="153" y="1183"/>
                    <a:pt x="155" y="1177"/>
                    <a:pt x="160" y="1175"/>
                  </a:cubicBezTo>
                  <a:cubicBezTo>
                    <a:pt x="162" y="1174"/>
                    <a:pt x="165" y="1175"/>
                    <a:pt x="168" y="1174"/>
                  </a:cubicBezTo>
                  <a:cubicBezTo>
                    <a:pt x="170" y="1173"/>
                    <a:pt x="174" y="1172"/>
                    <a:pt x="177" y="1172"/>
                  </a:cubicBezTo>
                  <a:cubicBezTo>
                    <a:pt x="178" y="1177"/>
                    <a:pt x="171" y="1176"/>
                    <a:pt x="169" y="1176"/>
                  </a:cubicBezTo>
                  <a:cubicBezTo>
                    <a:pt x="165" y="1176"/>
                    <a:pt x="161" y="1178"/>
                    <a:pt x="159" y="1179"/>
                  </a:cubicBezTo>
                  <a:cubicBezTo>
                    <a:pt x="153" y="1183"/>
                    <a:pt x="146" y="1183"/>
                    <a:pt x="147" y="1191"/>
                  </a:cubicBezTo>
                  <a:cubicBezTo>
                    <a:pt x="151" y="1192"/>
                    <a:pt x="156" y="1194"/>
                    <a:pt x="155" y="1198"/>
                  </a:cubicBezTo>
                  <a:cubicBezTo>
                    <a:pt x="151" y="1200"/>
                    <a:pt x="148" y="1196"/>
                    <a:pt x="145" y="1194"/>
                  </a:cubicBezTo>
                  <a:cubicBezTo>
                    <a:pt x="144" y="1193"/>
                    <a:pt x="142" y="1192"/>
                    <a:pt x="141" y="1191"/>
                  </a:cubicBezTo>
                  <a:cubicBezTo>
                    <a:pt x="138" y="1191"/>
                    <a:pt x="138" y="1191"/>
                    <a:pt x="136" y="1192"/>
                  </a:cubicBezTo>
                  <a:cubicBezTo>
                    <a:pt x="133" y="1193"/>
                    <a:pt x="130" y="1191"/>
                    <a:pt x="128" y="1191"/>
                  </a:cubicBezTo>
                  <a:cubicBezTo>
                    <a:pt x="126" y="1190"/>
                    <a:pt x="125" y="1189"/>
                    <a:pt x="123" y="1187"/>
                  </a:cubicBezTo>
                  <a:cubicBezTo>
                    <a:pt x="122" y="1187"/>
                    <a:pt x="123" y="1185"/>
                    <a:pt x="121" y="1186"/>
                  </a:cubicBezTo>
                  <a:cubicBezTo>
                    <a:pt x="120" y="1186"/>
                    <a:pt x="121" y="1188"/>
                    <a:pt x="120" y="1188"/>
                  </a:cubicBezTo>
                  <a:cubicBezTo>
                    <a:pt x="118" y="1189"/>
                    <a:pt x="117" y="1188"/>
                    <a:pt x="115" y="1187"/>
                  </a:cubicBezTo>
                  <a:cubicBezTo>
                    <a:pt x="112" y="1187"/>
                    <a:pt x="112" y="1188"/>
                    <a:pt x="110" y="1189"/>
                  </a:cubicBezTo>
                  <a:cubicBezTo>
                    <a:pt x="108" y="1190"/>
                    <a:pt x="106" y="1189"/>
                    <a:pt x="104" y="1189"/>
                  </a:cubicBezTo>
                  <a:cubicBezTo>
                    <a:pt x="102" y="1189"/>
                    <a:pt x="99" y="1189"/>
                    <a:pt x="97" y="1189"/>
                  </a:cubicBezTo>
                  <a:cubicBezTo>
                    <a:pt x="95" y="1189"/>
                    <a:pt x="93" y="1191"/>
                    <a:pt x="92" y="1191"/>
                  </a:cubicBezTo>
                  <a:cubicBezTo>
                    <a:pt x="88" y="1192"/>
                    <a:pt x="83" y="1191"/>
                    <a:pt x="83" y="1196"/>
                  </a:cubicBezTo>
                  <a:cubicBezTo>
                    <a:pt x="84" y="1201"/>
                    <a:pt x="87" y="1199"/>
                    <a:pt x="89" y="1200"/>
                  </a:cubicBezTo>
                  <a:cubicBezTo>
                    <a:pt x="91" y="1200"/>
                    <a:pt x="92" y="1201"/>
                    <a:pt x="94" y="1202"/>
                  </a:cubicBezTo>
                  <a:cubicBezTo>
                    <a:pt x="90" y="1203"/>
                    <a:pt x="82" y="1201"/>
                    <a:pt x="79" y="1205"/>
                  </a:cubicBezTo>
                  <a:cubicBezTo>
                    <a:pt x="78" y="1206"/>
                    <a:pt x="79" y="1207"/>
                    <a:pt x="79" y="1208"/>
                  </a:cubicBezTo>
                  <a:cubicBezTo>
                    <a:pt x="78" y="1209"/>
                    <a:pt x="78" y="1209"/>
                    <a:pt x="77" y="1210"/>
                  </a:cubicBezTo>
                  <a:cubicBezTo>
                    <a:pt x="76" y="1211"/>
                    <a:pt x="75" y="1210"/>
                    <a:pt x="74" y="1211"/>
                  </a:cubicBezTo>
                  <a:cubicBezTo>
                    <a:pt x="74" y="1212"/>
                    <a:pt x="74" y="1214"/>
                    <a:pt x="74" y="1214"/>
                  </a:cubicBezTo>
                  <a:cubicBezTo>
                    <a:pt x="77" y="1215"/>
                    <a:pt x="77" y="1217"/>
                    <a:pt x="80" y="1218"/>
                  </a:cubicBezTo>
                  <a:cubicBezTo>
                    <a:pt x="82" y="1218"/>
                    <a:pt x="83" y="1217"/>
                    <a:pt x="85" y="1217"/>
                  </a:cubicBezTo>
                  <a:cubicBezTo>
                    <a:pt x="87" y="1216"/>
                    <a:pt x="90" y="1216"/>
                    <a:pt x="91" y="1216"/>
                  </a:cubicBezTo>
                  <a:cubicBezTo>
                    <a:pt x="94" y="1215"/>
                    <a:pt x="95" y="1211"/>
                    <a:pt x="97" y="1208"/>
                  </a:cubicBezTo>
                  <a:cubicBezTo>
                    <a:pt x="99" y="1206"/>
                    <a:pt x="101" y="1206"/>
                    <a:pt x="103" y="1206"/>
                  </a:cubicBezTo>
                  <a:cubicBezTo>
                    <a:pt x="110" y="1206"/>
                    <a:pt x="113" y="1206"/>
                    <a:pt x="118" y="1211"/>
                  </a:cubicBezTo>
                  <a:cubicBezTo>
                    <a:pt x="120" y="1213"/>
                    <a:pt x="124" y="1214"/>
                    <a:pt x="126" y="1217"/>
                  </a:cubicBezTo>
                  <a:cubicBezTo>
                    <a:pt x="127" y="1219"/>
                    <a:pt x="126" y="1222"/>
                    <a:pt x="126" y="1224"/>
                  </a:cubicBezTo>
                  <a:cubicBezTo>
                    <a:pt x="128" y="1225"/>
                    <a:pt x="131" y="1224"/>
                    <a:pt x="133" y="1225"/>
                  </a:cubicBezTo>
                  <a:cubicBezTo>
                    <a:pt x="133" y="1225"/>
                    <a:pt x="133" y="1226"/>
                    <a:pt x="133" y="1227"/>
                  </a:cubicBezTo>
                  <a:cubicBezTo>
                    <a:pt x="129" y="1228"/>
                    <a:pt x="127" y="1227"/>
                    <a:pt x="125" y="1225"/>
                  </a:cubicBezTo>
                  <a:cubicBezTo>
                    <a:pt x="125" y="1224"/>
                    <a:pt x="125" y="1224"/>
                    <a:pt x="124" y="1223"/>
                  </a:cubicBezTo>
                  <a:cubicBezTo>
                    <a:pt x="124" y="1223"/>
                    <a:pt x="123" y="1223"/>
                    <a:pt x="123" y="1222"/>
                  </a:cubicBezTo>
                  <a:cubicBezTo>
                    <a:pt x="122" y="1222"/>
                    <a:pt x="122" y="1222"/>
                    <a:pt x="121" y="1222"/>
                  </a:cubicBezTo>
                  <a:cubicBezTo>
                    <a:pt x="120" y="1221"/>
                    <a:pt x="121" y="1219"/>
                    <a:pt x="120" y="1219"/>
                  </a:cubicBezTo>
                  <a:cubicBezTo>
                    <a:pt x="118" y="1217"/>
                    <a:pt x="115" y="1217"/>
                    <a:pt x="113" y="1216"/>
                  </a:cubicBezTo>
                  <a:cubicBezTo>
                    <a:pt x="109" y="1214"/>
                    <a:pt x="108" y="1214"/>
                    <a:pt x="104" y="1215"/>
                  </a:cubicBezTo>
                  <a:cubicBezTo>
                    <a:pt x="102" y="1216"/>
                    <a:pt x="97" y="1215"/>
                    <a:pt x="96" y="1217"/>
                  </a:cubicBezTo>
                  <a:cubicBezTo>
                    <a:pt x="94" y="1220"/>
                    <a:pt x="95" y="1222"/>
                    <a:pt x="96" y="1224"/>
                  </a:cubicBezTo>
                  <a:cubicBezTo>
                    <a:pt x="97" y="1227"/>
                    <a:pt x="97" y="1230"/>
                    <a:pt x="98" y="1233"/>
                  </a:cubicBezTo>
                  <a:cubicBezTo>
                    <a:pt x="98" y="1236"/>
                    <a:pt x="99" y="1239"/>
                    <a:pt x="100" y="1241"/>
                  </a:cubicBezTo>
                  <a:cubicBezTo>
                    <a:pt x="101" y="1243"/>
                    <a:pt x="102" y="1243"/>
                    <a:pt x="101" y="1245"/>
                  </a:cubicBezTo>
                  <a:cubicBezTo>
                    <a:pt x="99" y="1245"/>
                    <a:pt x="99" y="1242"/>
                    <a:pt x="97" y="1240"/>
                  </a:cubicBezTo>
                  <a:cubicBezTo>
                    <a:pt x="96" y="1238"/>
                    <a:pt x="93" y="1236"/>
                    <a:pt x="92" y="1233"/>
                  </a:cubicBezTo>
                  <a:cubicBezTo>
                    <a:pt x="91" y="1230"/>
                    <a:pt x="89" y="1221"/>
                    <a:pt x="84" y="1221"/>
                  </a:cubicBezTo>
                  <a:cubicBezTo>
                    <a:pt x="80" y="1221"/>
                    <a:pt x="78" y="1228"/>
                    <a:pt x="75" y="1230"/>
                  </a:cubicBezTo>
                  <a:cubicBezTo>
                    <a:pt x="74" y="1231"/>
                    <a:pt x="71" y="1230"/>
                    <a:pt x="70" y="1231"/>
                  </a:cubicBezTo>
                  <a:cubicBezTo>
                    <a:pt x="69" y="1232"/>
                    <a:pt x="68" y="1235"/>
                    <a:pt x="67" y="1237"/>
                  </a:cubicBezTo>
                  <a:cubicBezTo>
                    <a:pt x="64" y="1235"/>
                    <a:pt x="63" y="1232"/>
                    <a:pt x="64" y="1229"/>
                  </a:cubicBezTo>
                  <a:cubicBezTo>
                    <a:pt x="69" y="1227"/>
                    <a:pt x="77" y="1222"/>
                    <a:pt x="70" y="1216"/>
                  </a:cubicBezTo>
                  <a:cubicBezTo>
                    <a:pt x="67" y="1214"/>
                    <a:pt x="63" y="1212"/>
                    <a:pt x="61" y="1215"/>
                  </a:cubicBezTo>
                  <a:cubicBezTo>
                    <a:pt x="59" y="1218"/>
                    <a:pt x="62" y="1228"/>
                    <a:pt x="58" y="1229"/>
                  </a:cubicBezTo>
                  <a:cubicBezTo>
                    <a:pt x="56" y="1229"/>
                    <a:pt x="55" y="1227"/>
                    <a:pt x="54" y="1226"/>
                  </a:cubicBezTo>
                  <a:cubicBezTo>
                    <a:pt x="53" y="1225"/>
                    <a:pt x="51" y="1225"/>
                    <a:pt x="50" y="1225"/>
                  </a:cubicBezTo>
                  <a:cubicBezTo>
                    <a:pt x="47" y="1226"/>
                    <a:pt x="44" y="1228"/>
                    <a:pt x="43" y="1231"/>
                  </a:cubicBezTo>
                  <a:cubicBezTo>
                    <a:pt x="41" y="1239"/>
                    <a:pt x="52" y="1238"/>
                    <a:pt x="57" y="1237"/>
                  </a:cubicBezTo>
                  <a:cubicBezTo>
                    <a:pt x="57" y="1237"/>
                    <a:pt x="57" y="1236"/>
                    <a:pt x="57" y="1236"/>
                  </a:cubicBezTo>
                  <a:cubicBezTo>
                    <a:pt x="59" y="1236"/>
                    <a:pt x="59" y="1238"/>
                    <a:pt x="59" y="1240"/>
                  </a:cubicBezTo>
                  <a:cubicBezTo>
                    <a:pt x="62" y="1240"/>
                    <a:pt x="63" y="1241"/>
                    <a:pt x="65" y="1242"/>
                  </a:cubicBezTo>
                  <a:cubicBezTo>
                    <a:pt x="68" y="1244"/>
                    <a:pt x="68" y="1244"/>
                    <a:pt x="68" y="1248"/>
                  </a:cubicBezTo>
                  <a:cubicBezTo>
                    <a:pt x="69" y="1253"/>
                    <a:pt x="70" y="1259"/>
                    <a:pt x="63" y="1258"/>
                  </a:cubicBezTo>
                  <a:cubicBezTo>
                    <a:pt x="63" y="1257"/>
                    <a:pt x="63" y="1256"/>
                    <a:pt x="62" y="1256"/>
                  </a:cubicBezTo>
                  <a:cubicBezTo>
                    <a:pt x="62" y="1255"/>
                    <a:pt x="61" y="1255"/>
                    <a:pt x="61" y="1254"/>
                  </a:cubicBezTo>
                  <a:cubicBezTo>
                    <a:pt x="61" y="1254"/>
                    <a:pt x="61" y="1253"/>
                    <a:pt x="61" y="1253"/>
                  </a:cubicBezTo>
                  <a:cubicBezTo>
                    <a:pt x="59" y="1250"/>
                    <a:pt x="56" y="1247"/>
                    <a:pt x="53" y="1247"/>
                  </a:cubicBezTo>
                  <a:cubicBezTo>
                    <a:pt x="50" y="1246"/>
                    <a:pt x="48" y="1248"/>
                    <a:pt x="46" y="1246"/>
                  </a:cubicBezTo>
                  <a:cubicBezTo>
                    <a:pt x="45" y="1245"/>
                    <a:pt x="46" y="1244"/>
                    <a:pt x="45" y="1243"/>
                  </a:cubicBezTo>
                  <a:cubicBezTo>
                    <a:pt x="44" y="1242"/>
                    <a:pt x="41" y="1242"/>
                    <a:pt x="40" y="1242"/>
                  </a:cubicBezTo>
                  <a:cubicBezTo>
                    <a:pt x="40" y="1244"/>
                    <a:pt x="40" y="1246"/>
                    <a:pt x="40" y="1248"/>
                  </a:cubicBezTo>
                  <a:cubicBezTo>
                    <a:pt x="44" y="1248"/>
                    <a:pt x="45" y="1260"/>
                    <a:pt x="39" y="1256"/>
                  </a:cubicBezTo>
                  <a:cubicBezTo>
                    <a:pt x="33" y="1252"/>
                    <a:pt x="35" y="1247"/>
                    <a:pt x="34" y="1241"/>
                  </a:cubicBezTo>
                  <a:cubicBezTo>
                    <a:pt x="33" y="1237"/>
                    <a:pt x="31" y="1235"/>
                    <a:pt x="27" y="1236"/>
                  </a:cubicBezTo>
                  <a:cubicBezTo>
                    <a:pt x="23" y="1237"/>
                    <a:pt x="24" y="1240"/>
                    <a:pt x="24" y="1243"/>
                  </a:cubicBezTo>
                  <a:cubicBezTo>
                    <a:pt x="24" y="1247"/>
                    <a:pt x="25" y="1248"/>
                    <a:pt x="28" y="1249"/>
                  </a:cubicBezTo>
                  <a:cubicBezTo>
                    <a:pt x="30" y="1250"/>
                    <a:pt x="32" y="1250"/>
                    <a:pt x="33" y="1252"/>
                  </a:cubicBezTo>
                  <a:cubicBezTo>
                    <a:pt x="34" y="1254"/>
                    <a:pt x="34" y="1257"/>
                    <a:pt x="34" y="1259"/>
                  </a:cubicBezTo>
                  <a:cubicBezTo>
                    <a:pt x="35" y="1262"/>
                    <a:pt x="36" y="1265"/>
                    <a:pt x="32" y="1267"/>
                  </a:cubicBezTo>
                  <a:cubicBezTo>
                    <a:pt x="31" y="1267"/>
                    <a:pt x="26" y="1267"/>
                    <a:pt x="25" y="1267"/>
                  </a:cubicBezTo>
                  <a:cubicBezTo>
                    <a:pt x="24" y="1266"/>
                    <a:pt x="24" y="1264"/>
                    <a:pt x="22" y="1264"/>
                  </a:cubicBezTo>
                  <a:cubicBezTo>
                    <a:pt x="22" y="1264"/>
                    <a:pt x="19" y="1264"/>
                    <a:pt x="19" y="1264"/>
                  </a:cubicBezTo>
                  <a:cubicBezTo>
                    <a:pt x="14" y="1267"/>
                    <a:pt x="21" y="1271"/>
                    <a:pt x="24" y="1271"/>
                  </a:cubicBezTo>
                  <a:cubicBezTo>
                    <a:pt x="29" y="1273"/>
                    <a:pt x="36" y="1271"/>
                    <a:pt x="42" y="1271"/>
                  </a:cubicBezTo>
                  <a:cubicBezTo>
                    <a:pt x="47" y="1272"/>
                    <a:pt x="53" y="1272"/>
                    <a:pt x="58" y="1273"/>
                  </a:cubicBezTo>
                  <a:cubicBezTo>
                    <a:pt x="61" y="1273"/>
                    <a:pt x="66" y="1273"/>
                    <a:pt x="66" y="1277"/>
                  </a:cubicBezTo>
                  <a:cubicBezTo>
                    <a:pt x="62" y="1278"/>
                    <a:pt x="57" y="1277"/>
                    <a:pt x="54" y="1277"/>
                  </a:cubicBezTo>
                  <a:cubicBezTo>
                    <a:pt x="52" y="1277"/>
                    <a:pt x="49" y="1277"/>
                    <a:pt x="48" y="1277"/>
                  </a:cubicBezTo>
                  <a:cubicBezTo>
                    <a:pt x="45" y="1276"/>
                    <a:pt x="42" y="1275"/>
                    <a:pt x="39" y="1274"/>
                  </a:cubicBezTo>
                  <a:cubicBezTo>
                    <a:pt x="36" y="1274"/>
                    <a:pt x="34" y="1274"/>
                    <a:pt x="33" y="1277"/>
                  </a:cubicBezTo>
                  <a:cubicBezTo>
                    <a:pt x="31" y="1280"/>
                    <a:pt x="30" y="1283"/>
                    <a:pt x="30" y="1286"/>
                  </a:cubicBezTo>
                  <a:cubicBezTo>
                    <a:pt x="25" y="1287"/>
                    <a:pt x="14" y="1286"/>
                    <a:pt x="18" y="1294"/>
                  </a:cubicBezTo>
                  <a:cubicBezTo>
                    <a:pt x="15" y="1294"/>
                    <a:pt x="15" y="1299"/>
                    <a:pt x="15" y="1302"/>
                  </a:cubicBezTo>
                  <a:cubicBezTo>
                    <a:pt x="17" y="1306"/>
                    <a:pt x="23" y="1304"/>
                    <a:pt x="27" y="1305"/>
                  </a:cubicBezTo>
                  <a:cubicBezTo>
                    <a:pt x="31" y="1307"/>
                    <a:pt x="30" y="1311"/>
                    <a:pt x="35" y="1311"/>
                  </a:cubicBezTo>
                  <a:cubicBezTo>
                    <a:pt x="38" y="1310"/>
                    <a:pt x="38" y="1310"/>
                    <a:pt x="40" y="1309"/>
                  </a:cubicBezTo>
                  <a:cubicBezTo>
                    <a:pt x="43" y="1308"/>
                    <a:pt x="48" y="1309"/>
                    <a:pt x="50" y="1309"/>
                  </a:cubicBezTo>
                  <a:cubicBezTo>
                    <a:pt x="51" y="1311"/>
                    <a:pt x="44" y="1315"/>
                    <a:pt x="42" y="1315"/>
                  </a:cubicBezTo>
                  <a:cubicBezTo>
                    <a:pt x="39" y="1316"/>
                    <a:pt x="35" y="1313"/>
                    <a:pt x="32" y="1312"/>
                  </a:cubicBezTo>
                  <a:cubicBezTo>
                    <a:pt x="30" y="1311"/>
                    <a:pt x="28" y="1311"/>
                    <a:pt x="25" y="1312"/>
                  </a:cubicBezTo>
                  <a:cubicBezTo>
                    <a:pt x="25" y="1313"/>
                    <a:pt x="25" y="1314"/>
                    <a:pt x="25" y="1316"/>
                  </a:cubicBezTo>
                  <a:cubicBezTo>
                    <a:pt x="27" y="1316"/>
                    <a:pt x="30" y="1319"/>
                    <a:pt x="32" y="1320"/>
                  </a:cubicBezTo>
                  <a:cubicBezTo>
                    <a:pt x="34" y="1321"/>
                    <a:pt x="34" y="1321"/>
                    <a:pt x="35" y="1321"/>
                  </a:cubicBezTo>
                  <a:cubicBezTo>
                    <a:pt x="37" y="1322"/>
                    <a:pt x="39" y="1321"/>
                    <a:pt x="41" y="1322"/>
                  </a:cubicBezTo>
                  <a:cubicBezTo>
                    <a:pt x="43" y="1327"/>
                    <a:pt x="31" y="1327"/>
                    <a:pt x="28" y="1329"/>
                  </a:cubicBezTo>
                  <a:cubicBezTo>
                    <a:pt x="24" y="1331"/>
                    <a:pt x="13" y="1332"/>
                    <a:pt x="16" y="1339"/>
                  </a:cubicBezTo>
                  <a:cubicBezTo>
                    <a:pt x="24" y="1340"/>
                    <a:pt x="31" y="1333"/>
                    <a:pt x="40" y="1335"/>
                  </a:cubicBezTo>
                  <a:cubicBezTo>
                    <a:pt x="42" y="1339"/>
                    <a:pt x="32" y="1343"/>
                    <a:pt x="29" y="1343"/>
                  </a:cubicBezTo>
                  <a:cubicBezTo>
                    <a:pt x="26" y="1343"/>
                    <a:pt x="20" y="1340"/>
                    <a:pt x="18" y="1342"/>
                  </a:cubicBezTo>
                  <a:cubicBezTo>
                    <a:pt x="16" y="1343"/>
                    <a:pt x="17" y="1345"/>
                    <a:pt x="16" y="1346"/>
                  </a:cubicBezTo>
                  <a:cubicBezTo>
                    <a:pt x="16" y="1347"/>
                    <a:pt x="13" y="1349"/>
                    <a:pt x="15" y="1351"/>
                  </a:cubicBezTo>
                  <a:cubicBezTo>
                    <a:pt x="15" y="1351"/>
                    <a:pt x="18" y="1351"/>
                    <a:pt x="19" y="1351"/>
                  </a:cubicBezTo>
                  <a:cubicBezTo>
                    <a:pt x="19" y="1352"/>
                    <a:pt x="21" y="1353"/>
                    <a:pt x="21" y="1353"/>
                  </a:cubicBezTo>
                  <a:cubicBezTo>
                    <a:pt x="24" y="1354"/>
                    <a:pt x="27" y="1353"/>
                    <a:pt x="30" y="1354"/>
                  </a:cubicBezTo>
                  <a:cubicBezTo>
                    <a:pt x="32" y="1357"/>
                    <a:pt x="30" y="1362"/>
                    <a:pt x="33" y="1365"/>
                  </a:cubicBezTo>
                  <a:cubicBezTo>
                    <a:pt x="37" y="1369"/>
                    <a:pt x="46" y="1365"/>
                    <a:pt x="50" y="1364"/>
                  </a:cubicBezTo>
                  <a:cubicBezTo>
                    <a:pt x="62" y="1364"/>
                    <a:pt x="73" y="1364"/>
                    <a:pt x="84" y="1364"/>
                  </a:cubicBezTo>
                  <a:cubicBezTo>
                    <a:pt x="88" y="1364"/>
                    <a:pt x="94" y="1365"/>
                    <a:pt x="97" y="1363"/>
                  </a:cubicBezTo>
                  <a:cubicBezTo>
                    <a:pt x="102" y="1361"/>
                    <a:pt x="102" y="1356"/>
                    <a:pt x="108" y="1355"/>
                  </a:cubicBezTo>
                  <a:cubicBezTo>
                    <a:pt x="111" y="1355"/>
                    <a:pt x="113" y="1355"/>
                    <a:pt x="116" y="1357"/>
                  </a:cubicBezTo>
                  <a:cubicBezTo>
                    <a:pt x="117" y="1358"/>
                    <a:pt x="119" y="1361"/>
                    <a:pt x="120" y="1362"/>
                  </a:cubicBezTo>
                  <a:cubicBezTo>
                    <a:pt x="123" y="1364"/>
                    <a:pt x="132" y="1362"/>
                    <a:pt x="130" y="1369"/>
                  </a:cubicBezTo>
                  <a:cubicBezTo>
                    <a:pt x="128" y="1369"/>
                    <a:pt x="124" y="1369"/>
                    <a:pt x="122" y="1369"/>
                  </a:cubicBezTo>
                  <a:cubicBezTo>
                    <a:pt x="120" y="1368"/>
                    <a:pt x="120" y="1366"/>
                    <a:pt x="118" y="1365"/>
                  </a:cubicBezTo>
                  <a:cubicBezTo>
                    <a:pt x="115" y="1363"/>
                    <a:pt x="108" y="1363"/>
                    <a:pt x="105" y="1365"/>
                  </a:cubicBezTo>
                  <a:cubicBezTo>
                    <a:pt x="98" y="1369"/>
                    <a:pt x="89" y="1365"/>
                    <a:pt x="81" y="1365"/>
                  </a:cubicBezTo>
                  <a:cubicBezTo>
                    <a:pt x="76" y="1365"/>
                    <a:pt x="71" y="1365"/>
                    <a:pt x="67" y="1365"/>
                  </a:cubicBezTo>
                  <a:cubicBezTo>
                    <a:pt x="64" y="1365"/>
                    <a:pt x="61" y="1365"/>
                    <a:pt x="59" y="1366"/>
                  </a:cubicBezTo>
                  <a:cubicBezTo>
                    <a:pt x="55" y="1366"/>
                    <a:pt x="54" y="1367"/>
                    <a:pt x="51" y="1369"/>
                  </a:cubicBezTo>
                  <a:cubicBezTo>
                    <a:pt x="47" y="1371"/>
                    <a:pt x="44" y="1371"/>
                    <a:pt x="40" y="1371"/>
                  </a:cubicBezTo>
                  <a:cubicBezTo>
                    <a:pt x="37" y="1372"/>
                    <a:pt x="36" y="1374"/>
                    <a:pt x="33" y="1373"/>
                  </a:cubicBezTo>
                  <a:cubicBezTo>
                    <a:pt x="30" y="1373"/>
                    <a:pt x="29" y="1370"/>
                    <a:pt x="29" y="1367"/>
                  </a:cubicBezTo>
                  <a:cubicBezTo>
                    <a:pt x="26" y="1367"/>
                    <a:pt x="21" y="1366"/>
                    <a:pt x="18" y="1367"/>
                  </a:cubicBezTo>
                  <a:cubicBezTo>
                    <a:pt x="14" y="1369"/>
                    <a:pt x="14" y="1372"/>
                    <a:pt x="10" y="1370"/>
                  </a:cubicBezTo>
                  <a:cubicBezTo>
                    <a:pt x="6" y="1368"/>
                    <a:pt x="6" y="1367"/>
                    <a:pt x="4" y="1370"/>
                  </a:cubicBezTo>
                  <a:cubicBezTo>
                    <a:pt x="3" y="1371"/>
                    <a:pt x="2" y="1373"/>
                    <a:pt x="2" y="1375"/>
                  </a:cubicBezTo>
                  <a:cubicBezTo>
                    <a:pt x="1" y="1377"/>
                    <a:pt x="0" y="1382"/>
                    <a:pt x="1" y="1383"/>
                  </a:cubicBezTo>
                  <a:cubicBezTo>
                    <a:pt x="2" y="1386"/>
                    <a:pt x="5" y="1385"/>
                    <a:pt x="7" y="1385"/>
                  </a:cubicBezTo>
                  <a:cubicBezTo>
                    <a:pt x="7" y="1388"/>
                    <a:pt x="6" y="1389"/>
                    <a:pt x="6" y="1391"/>
                  </a:cubicBezTo>
                  <a:cubicBezTo>
                    <a:pt x="5" y="1394"/>
                    <a:pt x="4" y="1397"/>
                    <a:pt x="9" y="1396"/>
                  </a:cubicBezTo>
                  <a:cubicBezTo>
                    <a:pt x="11" y="1399"/>
                    <a:pt x="12" y="1403"/>
                    <a:pt x="15" y="1406"/>
                  </a:cubicBezTo>
                  <a:cubicBezTo>
                    <a:pt x="16" y="1406"/>
                    <a:pt x="16" y="1404"/>
                    <a:pt x="17" y="1403"/>
                  </a:cubicBezTo>
                  <a:cubicBezTo>
                    <a:pt x="18" y="1400"/>
                    <a:pt x="19" y="1399"/>
                    <a:pt x="22" y="1398"/>
                  </a:cubicBezTo>
                  <a:cubicBezTo>
                    <a:pt x="27" y="1397"/>
                    <a:pt x="29" y="1398"/>
                    <a:pt x="34" y="1400"/>
                  </a:cubicBezTo>
                  <a:cubicBezTo>
                    <a:pt x="34" y="1412"/>
                    <a:pt x="40" y="1400"/>
                    <a:pt x="44" y="1399"/>
                  </a:cubicBezTo>
                  <a:cubicBezTo>
                    <a:pt x="44" y="1401"/>
                    <a:pt x="44" y="1403"/>
                    <a:pt x="44" y="1404"/>
                  </a:cubicBezTo>
                  <a:cubicBezTo>
                    <a:pt x="41" y="1405"/>
                    <a:pt x="39" y="1407"/>
                    <a:pt x="36" y="1407"/>
                  </a:cubicBezTo>
                  <a:cubicBezTo>
                    <a:pt x="34" y="1406"/>
                    <a:pt x="33" y="1404"/>
                    <a:pt x="31" y="1403"/>
                  </a:cubicBezTo>
                  <a:cubicBezTo>
                    <a:pt x="29" y="1402"/>
                    <a:pt x="25" y="1402"/>
                    <a:pt x="23" y="1403"/>
                  </a:cubicBezTo>
                  <a:cubicBezTo>
                    <a:pt x="17" y="1404"/>
                    <a:pt x="20" y="1414"/>
                    <a:pt x="15" y="1413"/>
                  </a:cubicBezTo>
                  <a:cubicBezTo>
                    <a:pt x="13" y="1418"/>
                    <a:pt x="19" y="1417"/>
                    <a:pt x="22" y="1418"/>
                  </a:cubicBezTo>
                  <a:cubicBezTo>
                    <a:pt x="23" y="1422"/>
                    <a:pt x="24" y="1423"/>
                    <a:pt x="21" y="1424"/>
                  </a:cubicBezTo>
                  <a:cubicBezTo>
                    <a:pt x="18" y="1426"/>
                    <a:pt x="15" y="1427"/>
                    <a:pt x="13" y="1430"/>
                  </a:cubicBezTo>
                  <a:cubicBezTo>
                    <a:pt x="11" y="1434"/>
                    <a:pt x="16" y="1434"/>
                    <a:pt x="18" y="1437"/>
                  </a:cubicBezTo>
                  <a:cubicBezTo>
                    <a:pt x="20" y="1440"/>
                    <a:pt x="19" y="1445"/>
                    <a:pt x="18" y="1448"/>
                  </a:cubicBezTo>
                  <a:cubicBezTo>
                    <a:pt x="16" y="1453"/>
                    <a:pt x="13" y="1466"/>
                    <a:pt x="20" y="1469"/>
                  </a:cubicBezTo>
                  <a:cubicBezTo>
                    <a:pt x="28" y="1471"/>
                    <a:pt x="25" y="1455"/>
                    <a:pt x="26" y="1451"/>
                  </a:cubicBezTo>
                  <a:cubicBezTo>
                    <a:pt x="33" y="1450"/>
                    <a:pt x="34" y="1453"/>
                    <a:pt x="35" y="1459"/>
                  </a:cubicBezTo>
                  <a:cubicBezTo>
                    <a:pt x="35" y="1466"/>
                    <a:pt x="36" y="1475"/>
                    <a:pt x="45" y="1473"/>
                  </a:cubicBezTo>
                  <a:cubicBezTo>
                    <a:pt x="45" y="1471"/>
                    <a:pt x="47" y="1472"/>
                    <a:pt x="48" y="1470"/>
                  </a:cubicBezTo>
                  <a:cubicBezTo>
                    <a:pt x="49" y="1469"/>
                    <a:pt x="49" y="1467"/>
                    <a:pt x="50" y="1466"/>
                  </a:cubicBezTo>
                  <a:cubicBezTo>
                    <a:pt x="50" y="1463"/>
                    <a:pt x="50" y="1459"/>
                    <a:pt x="52" y="1457"/>
                  </a:cubicBezTo>
                  <a:cubicBezTo>
                    <a:pt x="53" y="1458"/>
                    <a:pt x="55" y="1458"/>
                    <a:pt x="55" y="1459"/>
                  </a:cubicBezTo>
                  <a:cubicBezTo>
                    <a:pt x="56" y="1461"/>
                    <a:pt x="55" y="1463"/>
                    <a:pt x="55" y="1464"/>
                  </a:cubicBezTo>
                  <a:cubicBezTo>
                    <a:pt x="55" y="1466"/>
                    <a:pt x="55" y="1467"/>
                    <a:pt x="56" y="1469"/>
                  </a:cubicBezTo>
                  <a:cubicBezTo>
                    <a:pt x="56" y="1470"/>
                    <a:pt x="58" y="1471"/>
                    <a:pt x="57" y="1473"/>
                  </a:cubicBezTo>
                  <a:cubicBezTo>
                    <a:pt x="57" y="1474"/>
                    <a:pt x="55" y="1474"/>
                    <a:pt x="54" y="1475"/>
                  </a:cubicBezTo>
                  <a:cubicBezTo>
                    <a:pt x="54" y="1476"/>
                    <a:pt x="54" y="1477"/>
                    <a:pt x="53" y="1477"/>
                  </a:cubicBezTo>
                  <a:cubicBezTo>
                    <a:pt x="51" y="1478"/>
                    <a:pt x="46" y="1479"/>
                    <a:pt x="45" y="1478"/>
                  </a:cubicBezTo>
                  <a:cubicBezTo>
                    <a:pt x="41" y="1480"/>
                    <a:pt x="39" y="1479"/>
                    <a:pt x="38" y="1484"/>
                  </a:cubicBezTo>
                  <a:cubicBezTo>
                    <a:pt x="33" y="1484"/>
                    <a:pt x="33" y="1480"/>
                    <a:pt x="28" y="1481"/>
                  </a:cubicBezTo>
                  <a:cubicBezTo>
                    <a:pt x="28" y="1483"/>
                    <a:pt x="26" y="1485"/>
                    <a:pt x="26" y="1487"/>
                  </a:cubicBezTo>
                  <a:cubicBezTo>
                    <a:pt x="28" y="1489"/>
                    <a:pt x="32" y="1486"/>
                    <a:pt x="35" y="1488"/>
                  </a:cubicBezTo>
                  <a:cubicBezTo>
                    <a:pt x="35" y="1488"/>
                    <a:pt x="36" y="1490"/>
                    <a:pt x="37" y="1490"/>
                  </a:cubicBezTo>
                  <a:cubicBezTo>
                    <a:pt x="38" y="1492"/>
                    <a:pt x="41" y="1492"/>
                    <a:pt x="42" y="1493"/>
                  </a:cubicBezTo>
                  <a:cubicBezTo>
                    <a:pt x="40" y="1495"/>
                    <a:pt x="38" y="1495"/>
                    <a:pt x="36" y="1494"/>
                  </a:cubicBezTo>
                  <a:cubicBezTo>
                    <a:pt x="34" y="1494"/>
                    <a:pt x="35" y="1492"/>
                    <a:pt x="32" y="1493"/>
                  </a:cubicBezTo>
                  <a:cubicBezTo>
                    <a:pt x="32" y="1496"/>
                    <a:pt x="33" y="1499"/>
                    <a:pt x="33" y="1502"/>
                  </a:cubicBezTo>
                  <a:cubicBezTo>
                    <a:pt x="30" y="1503"/>
                    <a:pt x="28" y="1499"/>
                    <a:pt x="26" y="1498"/>
                  </a:cubicBezTo>
                  <a:cubicBezTo>
                    <a:pt x="25" y="1498"/>
                    <a:pt x="23" y="1498"/>
                    <a:pt x="21" y="1498"/>
                  </a:cubicBezTo>
                  <a:cubicBezTo>
                    <a:pt x="20" y="1503"/>
                    <a:pt x="26" y="1506"/>
                    <a:pt x="29" y="1509"/>
                  </a:cubicBezTo>
                  <a:cubicBezTo>
                    <a:pt x="31" y="1513"/>
                    <a:pt x="28" y="1515"/>
                    <a:pt x="28" y="1519"/>
                  </a:cubicBezTo>
                  <a:cubicBezTo>
                    <a:pt x="27" y="1522"/>
                    <a:pt x="27" y="1526"/>
                    <a:pt x="27" y="1529"/>
                  </a:cubicBezTo>
                  <a:cubicBezTo>
                    <a:pt x="26" y="1534"/>
                    <a:pt x="28" y="1536"/>
                    <a:pt x="33" y="1535"/>
                  </a:cubicBezTo>
                  <a:cubicBezTo>
                    <a:pt x="34" y="1531"/>
                    <a:pt x="32" y="1526"/>
                    <a:pt x="38" y="1526"/>
                  </a:cubicBezTo>
                  <a:cubicBezTo>
                    <a:pt x="40" y="1527"/>
                    <a:pt x="41" y="1529"/>
                    <a:pt x="43" y="1527"/>
                  </a:cubicBezTo>
                  <a:cubicBezTo>
                    <a:pt x="45" y="1526"/>
                    <a:pt x="44" y="1522"/>
                    <a:pt x="48" y="1523"/>
                  </a:cubicBezTo>
                  <a:cubicBezTo>
                    <a:pt x="49" y="1529"/>
                    <a:pt x="40" y="1527"/>
                    <a:pt x="38" y="1530"/>
                  </a:cubicBezTo>
                  <a:cubicBezTo>
                    <a:pt x="37" y="1532"/>
                    <a:pt x="38" y="1534"/>
                    <a:pt x="37" y="1536"/>
                  </a:cubicBezTo>
                  <a:cubicBezTo>
                    <a:pt x="35" y="1538"/>
                    <a:pt x="34" y="1539"/>
                    <a:pt x="32" y="1539"/>
                  </a:cubicBezTo>
                  <a:cubicBezTo>
                    <a:pt x="31" y="1546"/>
                    <a:pt x="32" y="1553"/>
                    <a:pt x="32" y="1559"/>
                  </a:cubicBezTo>
                  <a:cubicBezTo>
                    <a:pt x="32" y="1566"/>
                    <a:pt x="28" y="1572"/>
                    <a:pt x="30" y="1578"/>
                  </a:cubicBezTo>
                  <a:cubicBezTo>
                    <a:pt x="31" y="1579"/>
                    <a:pt x="32" y="1583"/>
                    <a:pt x="34" y="1583"/>
                  </a:cubicBezTo>
                  <a:cubicBezTo>
                    <a:pt x="38" y="1585"/>
                    <a:pt x="39" y="1580"/>
                    <a:pt x="39" y="1577"/>
                  </a:cubicBezTo>
                  <a:cubicBezTo>
                    <a:pt x="39" y="1576"/>
                    <a:pt x="38" y="1572"/>
                    <a:pt x="40" y="1571"/>
                  </a:cubicBezTo>
                  <a:cubicBezTo>
                    <a:pt x="43" y="1569"/>
                    <a:pt x="47" y="1578"/>
                    <a:pt x="47" y="1580"/>
                  </a:cubicBezTo>
                  <a:cubicBezTo>
                    <a:pt x="52" y="1582"/>
                    <a:pt x="51" y="1574"/>
                    <a:pt x="53" y="1571"/>
                  </a:cubicBezTo>
                  <a:cubicBezTo>
                    <a:pt x="55" y="1569"/>
                    <a:pt x="57" y="1570"/>
                    <a:pt x="58" y="1568"/>
                  </a:cubicBezTo>
                  <a:cubicBezTo>
                    <a:pt x="60" y="1567"/>
                    <a:pt x="59" y="1564"/>
                    <a:pt x="59" y="1562"/>
                  </a:cubicBezTo>
                  <a:cubicBezTo>
                    <a:pt x="62" y="1561"/>
                    <a:pt x="72" y="1561"/>
                    <a:pt x="70" y="1566"/>
                  </a:cubicBezTo>
                  <a:cubicBezTo>
                    <a:pt x="67" y="1566"/>
                    <a:pt x="66" y="1569"/>
                    <a:pt x="67" y="1571"/>
                  </a:cubicBezTo>
                  <a:cubicBezTo>
                    <a:pt x="71" y="1571"/>
                    <a:pt x="75" y="1570"/>
                    <a:pt x="79" y="1571"/>
                  </a:cubicBezTo>
                  <a:cubicBezTo>
                    <a:pt x="80" y="1575"/>
                    <a:pt x="80" y="1576"/>
                    <a:pt x="76" y="1578"/>
                  </a:cubicBezTo>
                  <a:cubicBezTo>
                    <a:pt x="75" y="1578"/>
                    <a:pt x="73" y="1579"/>
                    <a:pt x="72" y="1579"/>
                  </a:cubicBezTo>
                  <a:cubicBezTo>
                    <a:pt x="69" y="1578"/>
                    <a:pt x="68" y="1576"/>
                    <a:pt x="66" y="1577"/>
                  </a:cubicBezTo>
                  <a:cubicBezTo>
                    <a:pt x="65" y="1579"/>
                    <a:pt x="64" y="1583"/>
                    <a:pt x="65" y="1585"/>
                  </a:cubicBezTo>
                  <a:cubicBezTo>
                    <a:pt x="65" y="1588"/>
                    <a:pt x="67" y="1588"/>
                    <a:pt x="66" y="1591"/>
                  </a:cubicBezTo>
                  <a:cubicBezTo>
                    <a:pt x="65" y="1591"/>
                    <a:pt x="64" y="1591"/>
                    <a:pt x="63" y="1591"/>
                  </a:cubicBezTo>
                  <a:cubicBezTo>
                    <a:pt x="63" y="1589"/>
                    <a:pt x="63" y="1587"/>
                    <a:pt x="63" y="1585"/>
                  </a:cubicBezTo>
                  <a:cubicBezTo>
                    <a:pt x="58" y="1585"/>
                    <a:pt x="52" y="1584"/>
                    <a:pt x="47" y="1585"/>
                  </a:cubicBezTo>
                  <a:cubicBezTo>
                    <a:pt x="46" y="1589"/>
                    <a:pt x="49" y="1590"/>
                    <a:pt x="49" y="1593"/>
                  </a:cubicBezTo>
                  <a:cubicBezTo>
                    <a:pt x="50" y="1596"/>
                    <a:pt x="49" y="1597"/>
                    <a:pt x="49" y="1599"/>
                  </a:cubicBezTo>
                  <a:cubicBezTo>
                    <a:pt x="47" y="1604"/>
                    <a:pt x="48" y="1608"/>
                    <a:pt x="47" y="1613"/>
                  </a:cubicBezTo>
                  <a:cubicBezTo>
                    <a:pt x="47" y="1615"/>
                    <a:pt x="46" y="1619"/>
                    <a:pt x="47" y="1622"/>
                  </a:cubicBezTo>
                  <a:cubicBezTo>
                    <a:pt x="47" y="1624"/>
                    <a:pt x="49" y="1624"/>
                    <a:pt x="50" y="1626"/>
                  </a:cubicBezTo>
                  <a:cubicBezTo>
                    <a:pt x="52" y="1628"/>
                    <a:pt x="53" y="1631"/>
                    <a:pt x="54" y="1633"/>
                  </a:cubicBezTo>
                  <a:cubicBezTo>
                    <a:pt x="57" y="1637"/>
                    <a:pt x="62" y="1639"/>
                    <a:pt x="67" y="1641"/>
                  </a:cubicBezTo>
                  <a:cubicBezTo>
                    <a:pt x="66" y="1644"/>
                    <a:pt x="68" y="1644"/>
                    <a:pt x="69" y="1646"/>
                  </a:cubicBezTo>
                  <a:cubicBezTo>
                    <a:pt x="69" y="1647"/>
                    <a:pt x="68" y="1649"/>
                    <a:pt x="68" y="1651"/>
                  </a:cubicBezTo>
                  <a:cubicBezTo>
                    <a:pt x="69" y="1654"/>
                    <a:pt x="69" y="1657"/>
                    <a:pt x="72" y="1658"/>
                  </a:cubicBezTo>
                  <a:cubicBezTo>
                    <a:pt x="73" y="1659"/>
                    <a:pt x="76" y="1658"/>
                    <a:pt x="78" y="1659"/>
                  </a:cubicBezTo>
                  <a:cubicBezTo>
                    <a:pt x="80" y="1660"/>
                    <a:pt x="80" y="1663"/>
                    <a:pt x="83" y="1664"/>
                  </a:cubicBezTo>
                  <a:cubicBezTo>
                    <a:pt x="84" y="1664"/>
                    <a:pt x="86" y="1663"/>
                    <a:pt x="88" y="1664"/>
                  </a:cubicBezTo>
                  <a:cubicBezTo>
                    <a:pt x="90" y="1666"/>
                    <a:pt x="91" y="1668"/>
                    <a:pt x="93" y="1670"/>
                  </a:cubicBezTo>
                  <a:cubicBezTo>
                    <a:pt x="95" y="1671"/>
                    <a:pt x="95" y="1672"/>
                    <a:pt x="97" y="1673"/>
                  </a:cubicBezTo>
                  <a:cubicBezTo>
                    <a:pt x="99" y="1674"/>
                    <a:pt x="102" y="1673"/>
                    <a:pt x="105" y="1674"/>
                  </a:cubicBezTo>
                  <a:cubicBezTo>
                    <a:pt x="112" y="1676"/>
                    <a:pt x="108" y="1680"/>
                    <a:pt x="106" y="1684"/>
                  </a:cubicBezTo>
                  <a:cubicBezTo>
                    <a:pt x="104" y="1690"/>
                    <a:pt x="109" y="1690"/>
                    <a:pt x="114" y="1690"/>
                  </a:cubicBezTo>
                  <a:cubicBezTo>
                    <a:pt x="116" y="1690"/>
                    <a:pt x="118" y="1688"/>
                    <a:pt x="120" y="1689"/>
                  </a:cubicBezTo>
                  <a:cubicBezTo>
                    <a:pt x="122" y="1690"/>
                    <a:pt x="122" y="1692"/>
                    <a:pt x="123" y="1693"/>
                  </a:cubicBezTo>
                  <a:cubicBezTo>
                    <a:pt x="125" y="1697"/>
                    <a:pt x="129" y="1696"/>
                    <a:pt x="133" y="1698"/>
                  </a:cubicBezTo>
                  <a:cubicBezTo>
                    <a:pt x="135" y="1699"/>
                    <a:pt x="136" y="1701"/>
                    <a:pt x="138" y="1700"/>
                  </a:cubicBezTo>
                  <a:cubicBezTo>
                    <a:pt x="138" y="1693"/>
                    <a:pt x="143" y="1695"/>
                    <a:pt x="149" y="1697"/>
                  </a:cubicBezTo>
                  <a:cubicBezTo>
                    <a:pt x="154" y="1698"/>
                    <a:pt x="161" y="1699"/>
                    <a:pt x="167" y="1698"/>
                  </a:cubicBezTo>
                  <a:cubicBezTo>
                    <a:pt x="169" y="1697"/>
                    <a:pt x="171" y="1696"/>
                    <a:pt x="174" y="1695"/>
                  </a:cubicBezTo>
                  <a:cubicBezTo>
                    <a:pt x="177" y="1695"/>
                    <a:pt x="180" y="1695"/>
                    <a:pt x="183" y="1695"/>
                  </a:cubicBezTo>
                  <a:cubicBezTo>
                    <a:pt x="187" y="1696"/>
                    <a:pt x="187" y="1695"/>
                    <a:pt x="190" y="1692"/>
                  </a:cubicBezTo>
                  <a:cubicBezTo>
                    <a:pt x="194" y="1689"/>
                    <a:pt x="199" y="1690"/>
                    <a:pt x="202" y="1685"/>
                  </a:cubicBezTo>
                  <a:cubicBezTo>
                    <a:pt x="203" y="1683"/>
                    <a:pt x="202" y="1681"/>
                    <a:pt x="204" y="1679"/>
                  </a:cubicBezTo>
                  <a:cubicBezTo>
                    <a:pt x="204" y="1677"/>
                    <a:pt x="206" y="1676"/>
                    <a:pt x="207" y="1675"/>
                  </a:cubicBezTo>
                  <a:cubicBezTo>
                    <a:pt x="209" y="1672"/>
                    <a:pt x="212" y="1668"/>
                    <a:pt x="217" y="1666"/>
                  </a:cubicBezTo>
                  <a:cubicBezTo>
                    <a:pt x="220" y="1665"/>
                    <a:pt x="221" y="1666"/>
                    <a:pt x="223" y="1663"/>
                  </a:cubicBezTo>
                  <a:cubicBezTo>
                    <a:pt x="225" y="1661"/>
                    <a:pt x="225" y="1660"/>
                    <a:pt x="227" y="1658"/>
                  </a:cubicBezTo>
                  <a:cubicBezTo>
                    <a:pt x="229" y="1656"/>
                    <a:pt x="230" y="1655"/>
                    <a:pt x="232" y="1653"/>
                  </a:cubicBezTo>
                  <a:cubicBezTo>
                    <a:pt x="234" y="1649"/>
                    <a:pt x="237" y="1647"/>
                    <a:pt x="240" y="1644"/>
                  </a:cubicBezTo>
                  <a:cubicBezTo>
                    <a:pt x="243" y="1641"/>
                    <a:pt x="245" y="1639"/>
                    <a:pt x="248" y="1637"/>
                  </a:cubicBezTo>
                  <a:cubicBezTo>
                    <a:pt x="252" y="1634"/>
                    <a:pt x="252" y="1629"/>
                    <a:pt x="256" y="1625"/>
                  </a:cubicBezTo>
                  <a:cubicBezTo>
                    <a:pt x="257" y="1624"/>
                    <a:pt x="260" y="1623"/>
                    <a:pt x="261" y="1622"/>
                  </a:cubicBezTo>
                  <a:cubicBezTo>
                    <a:pt x="263" y="1620"/>
                    <a:pt x="264" y="1619"/>
                    <a:pt x="265" y="1617"/>
                  </a:cubicBezTo>
                  <a:cubicBezTo>
                    <a:pt x="266" y="1615"/>
                    <a:pt x="267" y="1614"/>
                    <a:pt x="268" y="1612"/>
                  </a:cubicBezTo>
                  <a:cubicBezTo>
                    <a:pt x="270" y="1610"/>
                    <a:pt x="272" y="1609"/>
                    <a:pt x="274" y="1605"/>
                  </a:cubicBezTo>
                  <a:cubicBezTo>
                    <a:pt x="275" y="1601"/>
                    <a:pt x="277" y="1597"/>
                    <a:pt x="279" y="1594"/>
                  </a:cubicBezTo>
                  <a:cubicBezTo>
                    <a:pt x="281" y="1592"/>
                    <a:pt x="280" y="1593"/>
                    <a:pt x="282" y="1592"/>
                  </a:cubicBezTo>
                  <a:cubicBezTo>
                    <a:pt x="283" y="1592"/>
                    <a:pt x="286" y="1592"/>
                    <a:pt x="287" y="1593"/>
                  </a:cubicBezTo>
                  <a:cubicBezTo>
                    <a:pt x="288" y="1594"/>
                    <a:pt x="287" y="1595"/>
                    <a:pt x="288" y="1596"/>
                  </a:cubicBezTo>
                  <a:cubicBezTo>
                    <a:pt x="290" y="1603"/>
                    <a:pt x="294" y="1599"/>
                    <a:pt x="296" y="1596"/>
                  </a:cubicBezTo>
                  <a:cubicBezTo>
                    <a:pt x="297" y="1594"/>
                    <a:pt x="298" y="1592"/>
                    <a:pt x="300" y="1592"/>
                  </a:cubicBezTo>
                  <a:cubicBezTo>
                    <a:pt x="302" y="1592"/>
                    <a:pt x="302" y="1594"/>
                    <a:pt x="304" y="1594"/>
                  </a:cubicBezTo>
                  <a:cubicBezTo>
                    <a:pt x="305" y="1595"/>
                    <a:pt x="307" y="1594"/>
                    <a:pt x="309" y="1594"/>
                  </a:cubicBezTo>
                  <a:cubicBezTo>
                    <a:pt x="316" y="1591"/>
                    <a:pt x="314" y="1581"/>
                    <a:pt x="314" y="1574"/>
                  </a:cubicBezTo>
                  <a:cubicBezTo>
                    <a:pt x="314" y="1568"/>
                    <a:pt x="316" y="1563"/>
                    <a:pt x="316" y="1557"/>
                  </a:cubicBezTo>
                  <a:cubicBezTo>
                    <a:pt x="316" y="1554"/>
                    <a:pt x="316" y="1552"/>
                    <a:pt x="315" y="1549"/>
                  </a:cubicBezTo>
                  <a:cubicBezTo>
                    <a:pt x="314" y="1545"/>
                    <a:pt x="312" y="1542"/>
                    <a:pt x="308" y="1540"/>
                  </a:cubicBezTo>
                  <a:cubicBezTo>
                    <a:pt x="307" y="1540"/>
                    <a:pt x="305" y="1540"/>
                    <a:pt x="304" y="1539"/>
                  </a:cubicBezTo>
                  <a:cubicBezTo>
                    <a:pt x="304" y="1538"/>
                    <a:pt x="303" y="1536"/>
                    <a:pt x="304" y="1535"/>
                  </a:cubicBezTo>
                  <a:cubicBezTo>
                    <a:pt x="307" y="1532"/>
                    <a:pt x="313" y="1539"/>
                    <a:pt x="316" y="1540"/>
                  </a:cubicBezTo>
                  <a:cubicBezTo>
                    <a:pt x="320" y="1540"/>
                    <a:pt x="321" y="1537"/>
                    <a:pt x="323" y="1534"/>
                  </a:cubicBezTo>
                  <a:cubicBezTo>
                    <a:pt x="325" y="1531"/>
                    <a:pt x="326" y="1530"/>
                    <a:pt x="325" y="1526"/>
                  </a:cubicBezTo>
                  <a:cubicBezTo>
                    <a:pt x="325" y="1525"/>
                    <a:pt x="324" y="1524"/>
                    <a:pt x="325" y="1522"/>
                  </a:cubicBezTo>
                  <a:cubicBezTo>
                    <a:pt x="331" y="1520"/>
                    <a:pt x="329" y="1530"/>
                    <a:pt x="329" y="1533"/>
                  </a:cubicBezTo>
                  <a:cubicBezTo>
                    <a:pt x="329" y="1538"/>
                    <a:pt x="333" y="1544"/>
                    <a:pt x="332" y="1548"/>
                  </a:cubicBezTo>
                  <a:cubicBezTo>
                    <a:pt x="331" y="1551"/>
                    <a:pt x="329" y="1552"/>
                    <a:pt x="329" y="1555"/>
                  </a:cubicBezTo>
                  <a:cubicBezTo>
                    <a:pt x="329" y="1556"/>
                    <a:pt x="330" y="1558"/>
                    <a:pt x="330" y="1559"/>
                  </a:cubicBezTo>
                  <a:cubicBezTo>
                    <a:pt x="331" y="1561"/>
                    <a:pt x="332" y="1562"/>
                    <a:pt x="333" y="1565"/>
                  </a:cubicBezTo>
                  <a:cubicBezTo>
                    <a:pt x="334" y="1568"/>
                    <a:pt x="334" y="1570"/>
                    <a:pt x="334" y="1573"/>
                  </a:cubicBezTo>
                  <a:cubicBezTo>
                    <a:pt x="336" y="1573"/>
                    <a:pt x="338" y="1573"/>
                    <a:pt x="340" y="1572"/>
                  </a:cubicBezTo>
                  <a:cubicBezTo>
                    <a:pt x="341" y="1574"/>
                    <a:pt x="345" y="1579"/>
                    <a:pt x="346" y="1580"/>
                  </a:cubicBezTo>
                  <a:cubicBezTo>
                    <a:pt x="350" y="1582"/>
                    <a:pt x="352" y="1578"/>
                    <a:pt x="352" y="1584"/>
                  </a:cubicBezTo>
                  <a:cubicBezTo>
                    <a:pt x="353" y="1593"/>
                    <a:pt x="346" y="1586"/>
                    <a:pt x="341" y="1587"/>
                  </a:cubicBezTo>
                  <a:cubicBezTo>
                    <a:pt x="340" y="1590"/>
                    <a:pt x="341" y="1592"/>
                    <a:pt x="343" y="1593"/>
                  </a:cubicBezTo>
                  <a:cubicBezTo>
                    <a:pt x="344" y="1594"/>
                    <a:pt x="345" y="1594"/>
                    <a:pt x="346" y="1594"/>
                  </a:cubicBezTo>
                  <a:cubicBezTo>
                    <a:pt x="347" y="1595"/>
                    <a:pt x="346" y="1595"/>
                    <a:pt x="346" y="1596"/>
                  </a:cubicBezTo>
                  <a:cubicBezTo>
                    <a:pt x="348" y="1601"/>
                    <a:pt x="345" y="1607"/>
                    <a:pt x="350" y="1610"/>
                  </a:cubicBezTo>
                  <a:cubicBezTo>
                    <a:pt x="355" y="1605"/>
                    <a:pt x="352" y="1595"/>
                    <a:pt x="357" y="1589"/>
                  </a:cubicBezTo>
                  <a:cubicBezTo>
                    <a:pt x="358" y="1588"/>
                    <a:pt x="361" y="1586"/>
                    <a:pt x="363" y="1587"/>
                  </a:cubicBezTo>
                  <a:cubicBezTo>
                    <a:pt x="366" y="1588"/>
                    <a:pt x="366" y="1594"/>
                    <a:pt x="367" y="1597"/>
                  </a:cubicBezTo>
                  <a:cubicBezTo>
                    <a:pt x="368" y="1600"/>
                    <a:pt x="368" y="1603"/>
                    <a:pt x="371" y="1605"/>
                  </a:cubicBezTo>
                  <a:cubicBezTo>
                    <a:pt x="372" y="1605"/>
                    <a:pt x="373" y="1605"/>
                    <a:pt x="374" y="1606"/>
                  </a:cubicBezTo>
                  <a:cubicBezTo>
                    <a:pt x="376" y="1606"/>
                    <a:pt x="375" y="1608"/>
                    <a:pt x="376" y="1608"/>
                  </a:cubicBezTo>
                  <a:cubicBezTo>
                    <a:pt x="381" y="1609"/>
                    <a:pt x="383" y="1605"/>
                    <a:pt x="384" y="1601"/>
                  </a:cubicBezTo>
                  <a:cubicBezTo>
                    <a:pt x="385" y="1597"/>
                    <a:pt x="384" y="1593"/>
                    <a:pt x="385" y="1588"/>
                  </a:cubicBezTo>
                  <a:cubicBezTo>
                    <a:pt x="388" y="1579"/>
                    <a:pt x="388" y="1570"/>
                    <a:pt x="388" y="1561"/>
                  </a:cubicBezTo>
                  <a:cubicBezTo>
                    <a:pt x="388" y="1553"/>
                    <a:pt x="385" y="1545"/>
                    <a:pt x="385" y="1537"/>
                  </a:cubicBezTo>
                  <a:cubicBezTo>
                    <a:pt x="385" y="1535"/>
                    <a:pt x="385" y="1532"/>
                    <a:pt x="385" y="1530"/>
                  </a:cubicBezTo>
                  <a:cubicBezTo>
                    <a:pt x="386" y="1527"/>
                    <a:pt x="390" y="1524"/>
                    <a:pt x="391" y="1522"/>
                  </a:cubicBezTo>
                  <a:cubicBezTo>
                    <a:pt x="393" y="1520"/>
                    <a:pt x="393" y="1519"/>
                    <a:pt x="394" y="1516"/>
                  </a:cubicBezTo>
                  <a:cubicBezTo>
                    <a:pt x="394" y="1512"/>
                    <a:pt x="389" y="1508"/>
                    <a:pt x="390" y="1504"/>
                  </a:cubicBezTo>
                  <a:cubicBezTo>
                    <a:pt x="396" y="1504"/>
                    <a:pt x="399" y="1499"/>
                    <a:pt x="404" y="1497"/>
                  </a:cubicBezTo>
                  <a:cubicBezTo>
                    <a:pt x="407" y="1496"/>
                    <a:pt x="412" y="1493"/>
                    <a:pt x="415" y="1489"/>
                  </a:cubicBezTo>
                  <a:cubicBezTo>
                    <a:pt x="417" y="1485"/>
                    <a:pt x="416" y="1478"/>
                    <a:pt x="418" y="1473"/>
                  </a:cubicBezTo>
                  <a:cubicBezTo>
                    <a:pt x="419" y="1470"/>
                    <a:pt x="421" y="1469"/>
                    <a:pt x="422" y="1466"/>
                  </a:cubicBezTo>
                  <a:cubicBezTo>
                    <a:pt x="422" y="1466"/>
                    <a:pt x="422" y="1464"/>
                    <a:pt x="422" y="1463"/>
                  </a:cubicBezTo>
                  <a:cubicBezTo>
                    <a:pt x="422" y="1463"/>
                    <a:pt x="421" y="1463"/>
                    <a:pt x="420" y="1464"/>
                  </a:cubicBezTo>
                  <a:cubicBezTo>
                    <a:pt x="422" y="1457"/>
                    <a:pt x="427" y="1451"/>
                    <a:pt x="430" y="1446"/>
                  </a:cubicBezTo>
                  <a:cubicBezTo>
                    <a:pt x="432" y="1443"/>
                    <a:pt x="433" y="1442"/>
                    <a:pt x="433" y="1440"/>
                  </a:cubicBezTo>
                  <a:cubicBezTo>
                    <a:pt x="434" y="1437"/>
                    <a:pt x="433" y="1434"/>
                    <a:pt x="433" y="1431"/>
                  </a:cubicBezTo>
                  <a:cubicBezTo>
                    <a:pt x="431" y="1419"/>
                    <a:pt x="423" y="1410"/>
                    <a:pt x="420" y="1398"/>
                  </a:cubicBezTo>
                  <a:cubicBezTo>
                    <a:pt x="419" y="1394"/>
                    <a:pt x="418" y="1390"/>
                    <a:pt x="417" y="1386"/>
                  </a:cubicBezTo>
                  <a:cubicBezTo>
                    <a:pt x="417" y="1383"/>
                    <a:pt x="415" y="1377"/>
                    <a:pt x="416" y="1374"/>
                  </a:cubicBezTo>
                  <a:cubicBezTo>
                    <a:pt x="418" y="1374"/>
                    <a:pt x="419" y="1375"/>
                    <a:pt x="421" y="1374"/>
                  </a:cubicBezTo>
                  <a:cubicBezTo>
                    <a:pt x="424" y="1374"/>
                    <a:pt x="426" y="1373"/>
                    <a:pt x="428" y="1372"/>
                  </a:cubicBezTo>
                  <a:cubicBezTo>
                    <a:pt x="429" y="1371"/>
                    <a:pt x="430" y="1371"/>
                    <a:pt x="431" y="1371"/>
                  </a:cubicBezTo>
                  <a:cubicBezTo>
                    <a:pt x="431" y="1370"/>
                    <a:pt x="431" y="1370"/>
                    <a:pt x="432" y="1370"/>
                  </a:cubicBezTo>
                  <a:cubicBezTo>
                    <a:pt x="434" y="1370"/>
                    <a:pt x="435" y="1369"/>
                    <a:pt x="436" y="1369"/>
                  </a:cubicBezTo>
                  <a:cubicBezTo>
                    <a:pt x="437" y="1367"/>
                    <a:pt x="436" y="1367"/>
                    <a:pt x="437" y="1365"/>
                  </a:cubicBezTo>
                  <a:cubicBezTo>
                    <a:pt x="437" y="1363"/>
                    <a:pt x="437" y="1364"/>
                    <a:pt x="439" y="1361"/>
                  </a:cubicBezTo>
                  <a:cubicBezTo>
                    <a:pt x="441" y="1356"/>
                    <a:pt x="443" y="1351"/>
                    <a:pt x="445" y="1346"/>
                  </a:cubicBezTo>
                  <a:cubicBezTo>
                    <a:pt x="447" y="1343"/>
                    <a:pt x="452" y="1338"/>
                    <a:pt x="451" y="1334"/>
                  </a:cubicBezTo>
                  <a:cubicBezTo>
                    <a:pt x="448" y="1333"/>
                    <a:pt x="445" y="1327"/>
                    <a:pt x="443" y="1325"/>
                  </a:cubicBezTo>
                  <a:cubicBezTo>
                    <a:pt x="442" y="1324"/>
                    <a:pt x="441" y="1324"/>
                    <a:pt x="440" y="1322"/>
                  </a:cubicBezTo>
                  <a:cubicBezTo>
                    <a:pt x="439" y="1322"/>
                    <a:pt x="440" y="1320"/>
                    <a:pt x="439" y="1320"/>
                  </a:cubicBezTo>
                  <a:cubicBezTo>
                    <a:pt x="435" y="1314"/>
                    <a:pt x="427" y="1318"/>
                    <a:pt x="423" y="1314"/>
                  </a:cubicBezTo>
                  <a:cubicBezTo>
                    <a:pt x="420" y="1311"/>
                    <a:pt x="419" y="1308"/>
                    <a:pt x="416" y="1306"/>
                  </a:cubicBezTo>
                  <a:cubicBezTo>
                    <a:pt x="413" y="1304"/>
                    <a:pt x="408" y="1303"/>
                    <a:pt x="406" y="1299"/>
                  </a:cubicBezTo>
                  <a:cubicBezTo>
                    <a:pt x="403" y="1293"/>
                    <a:pt x="408" y="1285"/>
                    <a:pt x="409" y="1279"/>
                  </a:cubicBezTo>
                  <a:cubicBezTo>
                    <a:pt x="412" y="1266"/>
                    <a:pt x="412" y="1253"/>
                    <a:pt x="412" y="1239"/>
                  </a:cubicBezTo>
                  <a:cubicBezTo>
                    <a:pt x="412" y="1235"/>
                    <a:pt x="413" y="1231"/>
                    <a:pt x="412" y="1227"/>
                  </a:cubicBezTo>
                  <a:cubicBezTo>
                    <a:pt x="412" y="1225"/>
                    <a:pt x="411" y="1223"/>
                    <a:pt x="410" y="1221"/>
                  </a:cubicBezTo>
                  <a:cubicBezTo>
                    <a:pt x="407" y="1214"/>
                    <a:pt x="404" y="1207"/>
                    <a:pt x="400" y="1201"/>
                  </a:cubicBezTo>
                  <a:cubicBezTo>
                    <a:pt x="399" y="1198"/>
                    <a:pt x="398" y="1198"/>
                    <a:pt x="398" y="1195"/>
                  </a:cubicBezTo>
                  <a:cubicBezTo>
                    <a:pt x="399" y="1190"/>
                    <a:pt x="400" y="1186"/>
                    <a:pt x="400" y="1182"/>
                  </a:cubicBezTo>
                  <a:cubicBezTo>
                    <a:pt x="400" y="1176"/>
                    <a:pt x="400" y="1171"/>
                    <a:pt x="400" y="1165"/>
                  </a:cubicBezTo>
                  <a:cubicBezTo>
                    <a:pt x="400" y="1163"/>
                    <a:pt x="399" y="1159"/>
                    <a:pt x="400" y="1157"/>
                  </a:cubicBezTo>
                  <a:cubicBezTo>
                    <a:pt x="400" y="1156"/>
                    <a:pt x="402" y="1157"/>
                    <a:pt x="402" y="1156"/>
                  </a:cubicBezTo>
                  <a:cubicBezTo>
                    <a:pt x="403" y="1155"/>
                    <a:pt x="403" y="1153"/>
                    <a:pt x="404" y="1152"/>
                  </a:cubicBezTo>
                  <a:cubicBezTo>
                    <a:pt x="405" y="1151"/>
                    <a:pt x="408" y="1149"/>
                    <a:pt x="408" y="1147"/>
                  </a:cubicBezTo>
                  <a:cubicBezTo>
                    <a:pt x="409" y="1145"/>
                    <a:pt x="408" y="1144"/>
                    <a:pt x="407" y="1142"/>
                  </a:cubicBezTo>
                  <a:cubicBezTo>
                    <a:pt x="405" y="1138"/>
                    <a:pt x="405" y="1134"/>
                    <a:pt x="404" y="1130"/>
                  </a:cubicBezTo>
                  <a:cubicBezTo>
                    <a:pt x="403" y="1127"/>
                    <a:pt x="402" y="1124"/>
                    <a:pt x="400" y="1121"/>
                  </a:cubicBezTo>
                  <a:cubicBezTo>
                    <a:pt x="400" y="1119"/>
                    <a:pt x="399" y="1117"/>
                    <a:pt x="399" y="1115"/>
                  </a:cubicBezTo>
                  <a:cubicBezTo>
                    <a:pt x="399" y="1113"/>
                    <a:pt x="400" y="1112"/>
                    <a:pt x="401" y="1110"/>
                  </a:cubicBezTo>
                  <a:cubicBezTo>
                    <a:pt x="404" y="1105"/>
                    <a:pt x="403" y="1097"/>
                    <a:pt x="403" y="1092"/>
                  </a:cubicBezTo>
                  <a:cubicBezTo>
                    <a:pt x="403" y="1088"/>
                    <a:pt x="403" y="1084"/>
                    <a:pt x="403" y="1080"/>
                  </a:cubicBezTo>
                  <a:cubicBezTo>
                    <a:pt x="404" y="1073"/>
                    <a:pt x="409" y="1071"/>
                    <a:pt x="412" y="1066"/>
                  </a:cubicBezTo>
                  <a:cubicBezTo>
                    <a:pt x="415" y="1062"/>
                    <a:pt x="418" y="1057"/>
                    <a:pt x="419" y="1053"/>
                  </a:cubicBezTo>
                  <a:cubicBezTo>
                    <a:pt x="420" y="1050"/>
                    <a:pt x="421" y="1047"/>
                    <a:pt x="422" y="1045"/>
                  </a:cubicBezTo>
                  <a:cubicBezTo>
                    <a:pt x="423" y="1041"/>
                    <a:pt x="422" y="1039"/>
                    <a:pt x="425" y="1036"/>
                  </a:cubicBezTo>
                  <a:cubicBezTo>
                    <a:pt x="427" y="1034"/>
                    <a:pt x="429" y="1032"/>
                    <a:pt x="431" y="1031"/>
                  </a:cubicBezTo>
                  <a:cubicBezTo>
                    <a:pt x="433" y="1030"/>
                    <a:pt x="435" y="1030"/>
                    <a:pt x="436" y="1029"/>
                  </a:cubicBezTo>
                  <a:cubicBezTo>
                    <a:pt x="439" y="1027"/>
                    <a:pt x="440" y="1023"/>
                    <a:pt x="444" y="1021"/>
                  </a:cubicBezTo>
                  <a:cubicBezTo>
                    <a:pt x="449" y="1019"/>
                    <a:pt x="453" y="1018"/>
                    <a:pt x="458" y="1018"/>
                  </a:cubicBezTo>
                  <a:cubicBezTo>
                    <a:pt x="463" y="1018"/>
                    <a:pt x="467" y="1017"/>
                    <a:pt x="472" y="1017"/>
                  </a:cubicBezTo>
                  <a:cubicBezTo>
                    <a:pt x="478" y="1018"/>
                    <a:pt x="483" y="1019"/>
                    <a:pt x="489" y="1019"/>
                  </a:cubicBezTo>
                  <a:cubicBezTo>
                    <a:pt x="493" y="1020"/>
                    <a:pt x="499" y="1020"/>
                    <a:pt x="503" y="1022"/>
                  </a:cubicBezTo>
                  <a:cubicBezTo>
                    <a:pt x="505" y="1019"/>
                    <a:pt x="506" y="1014"/>
                    <a:pt x="507" y="1011"/>
                  </a:cubicBezTo>
                  <a:cubicBezTo>
                    <a:pt x="509" y="1007"/>
                    <a:pt x="510" y="1004"/>
                    <a:pt x="510" y="1000"/>
                  </a:cubicBezTo>
                  <a:cubicBezTo>
                    <a:pt x="509" y="996"/>
                    <a:pt x="507" y="992"/>
                    <a:pt x="506" y="988"/>
                  </a:cubicBezTo>
                  <a:cubicBezTo>
                    <a:pt x="506" y="985"/>
                    <a:pt x="506" y="981"/>
                    <a:pt x="506" y="977"/>
                  </a:cubicBezTo>
                  <a:cubicBezTo>
                    <a:pt x="506" y="971"/>
                    <a:pt x="508" y="963"/>
                    <a:pt x="503" y="959"/>
                  </a:cubicBezTo>
                  <a:cubicBezTo>
                    <a:pt x="500" y="957"/>
                    <a:pt x="498" y="956"/>
                    <a:pt x="495" y="955"/>
                  </a:cubicBezTo>
                  <a:cubicBezTo>
                    <a:pt x="493" y="953"/>
                    <a:pt x="492" y="951"/>
                    <a:pt x="489" y="950"/>
                  </a:cubicBezTo>
                  <a:cubicBezTo>
                    <a:pt x="490" y="947"/>
                    <a:pt x="492" y="944"/>
                    <a:pt x="494" y="941"/>
                  </a:cubicBezTo>
                  <a:cubicBezTo>
                    <a:pt x="497" y="937"/>
                    <a:pt x="500" y="933"/>
                    <a:pt x="502" y="928"/>
                  </a:cubicBezTo>
                  <a:cubicBezTo>
                    <a:pt x="504" y="925"/>
                    <a:pt x="505" y="921"/>
                    <a:pt x="506" y="917"/>
                  </a:cubicBezTo>
                  <a:cubicBezTo>
                    <a:pt x="506" y="915"/>
                    <a:pt x="506" y="913"/>
                    <a:pt x="507" y="911"/>
                  </a:cubicBezTo>
                  <a:cubicBezTo>
                    <a:pt x="508" y="909"/>
                    <a:pt x="508" y="907"/>
                    <a:pt x="509" y="905"/>
                  </a:cubicBezTo>
                  <a:cubicBezTo>
                    <a:pt x="512" y="902"/>
                    <a:pt x="512" y="896"/>
                    <a:pt x="515" y="891"/>
                  </a:cubicBezTo>
                  <a:cubicBezTo>
                    <a:pt x="517" y="887"/>
                    <a:pt x="518" y="882"/>
                    <a:pt x="520" y="878"/>
                  </a:cubicBezTo>
                  <a:cubicBezTo>
                    <a:pt x="521" y="875"/>
                    <a:pt x="523" y="871"/>
                    <a:pt x="526" y="869"/>
                  </a:cubicBezTo>
                  <a:cubicBezTo>
                    <a:pt x="530" y="866"/>
                    <a:pt x="530" y="865"/>
                    <a:pt x="530" y="859"/>
                  </a:cubicBezTo>
                  <a:cubicBezTo>
                    <a:pt x="530" y="853"/>
                    <a:pt x="530" y="848"/>
                    <a:pt x="530" y="843"/>
                  </a:cubicBezTo>
                  <a:cubicBezTo>
                    <a:pt x="529" y="837"/>
                    <a:pt x="528" y="831"/>
                    <a:pt x="529" y="825"/>
                  </a:cubicBezTo>
                  <a:cubicBezTo>
                    <a:pt x="529" y="820"/>
                    <a:pt x="532" y="816"/>
                    <a:pt x="533" y="812"/>
                  </a:cubicBezTo>
                  <a:cubicBezTo>
                    <a:pt x="534" y="810"/>
                    <a:pt x="534" y="808"/>
                    <a:pt x="535" y="806"/>
                  </a:cubicBezTo>
                  <a:cubicBezTo>
                    <a:pt x="536" y="806"/>
                    <a:pt x="537" y="805"/>
                    <a:pt x="538" y="804"/>
                  </a:cubicBezTo>
                  <a:cubicBezTo>
                    <a:pt x="539" y="802"/>
                    <a:pt x="539" y="801"/>
                    <a:pt x="539" y="798"/>
                  </a:cubicBezTo>
                  <a:cubicBezTo>
                    <a:pt x="541" y="791"/>
                    <a:pt x="537" y="784"/>
                    <a:pt x="536" y="776"/>
                  </a:cubicBezTo>
                  <a:cubicBezTo>
                    <a:pt x="535" y="770"/>
                    <a:pt x="534" y="763"/>
                    <a:pt x="533" y="757"/>
                  </a:cubicBezTo>
                  <a:cubicBezTo>
                    <a:pt x="533" y="757"/>
                    <a:pt x="533" y="751"/>
                    <a:pt x="533" y="750"/>
                  </a:cubicBezTo>
                  <a:cubicBezTo>
                    <a:pt x="535" y="747"/>
                    <a:pt x="548" y="750"/>
                    <a:pt x="552" y="749"/>
                  </a:cubicBezTo>
                  <a:cubicBezTo>
                    <a:pt x="556" y="748"/>
                    <a:pt x="561" y="747"/>
                    <a:pt x="564" y="745"/>
                  </a:cubicBezTo>
                  <a:cubicBezTo>
                    <a:pt x="570" y="743"/>
                    <a:pt x="570" y="736"/>
                    <a:pt x="575" y="733"/>
                  </a:cubicBezTo>
                  <a:cubicBezTo>
                    <a:pt x="578" y="731"/>
                    <a:pt x="583" y="732"/>
                    <a:pt x="585" y="729"/>
                  </a:cubicBezTo>
                  <a:cubicBezTo>
                    <a:pt x="588" y="723"/>
                    <a:pt x="580" y="714"/>
                    <a:pt x="580" y="709"/>
                  </a:cubicBezTo>
                  <a:cubicBezTo>
                    <a:pt x="579" y="703"/>
                    <a:pt x="582" y="701"/>
                    <a:pt x="586" y="698"/>
                  </a:cubicBezTo>
                  <a:cubicBezTo>
                    <a:pt x="591" y="695"/>
                    <a:pt x="592" y="692"/>
                    <a:pt x="594" y="687"/>
                  </a:cubicBezTo>
                  <a:cubicBezTo>
                    <a:pt x="598" y="679"/>
                    <a:pt x="602" y="670"/>
                    <a:pt x="605" y="662"/>
                  </a:cubicBezTo>
                  <a:cubicBezTo>
                    <a:pt x="607" y="658"/>
                    <a:pt x="610" y="654"/>
                    <a:pt x="611" y="649"/>
                  </a:cubicBezTo>
                  <a:cubicBezTo>
                    <a:pt x="611" y="645"/>
                    <a:pt x="613" y="641"/>
                    <a:pt x="616" y="638"/>
                  </a:cubicBezTo>
                  <a:cubicBezTo>
                    <a:pt x="620" y="635"/>
                    <a:pt x="624" y="634"/>
                    <a:pt x="628" y="632"/>
                  </a:cubicBezTo>
                  <a:cubicBezTo>
                    <a:pt x="632" y="629"/>
                    <a:pt x="631" y="617"/>
                    <a:pt x="630" y="613"/>
                  </a:cubicBezTo>
                  <a:cubicBezTo>
                    <a:pt x="629" y="610"/>
                    <a:pt x="627" y="607"/>
                    <a:pt x="627" y="605"/>
                  </a:cubicBezTo>
                  <a:cubicBezTo>
                    <a:pt x="627" y="603"/>
                    <a:pt x="627" y="601"/>
                    <a:pt x="627" y="600"/>
                  </a:cubicBezTo>
                  <a:cubicBezTo>
                    <a:pt x="626" y="598"/>
                    <a:pt x="624" y="596"/>
                    <a:pt x="624" y="594"/>
                  </a:cubicBezTo>
                  <a:cubicBezTo>
                    <a:pt x="623" y="591"/>
                    <a:pt x="623" y="588"/>
                    <a:pt x="622" y="584"/>
                  </a:cubicBezTo>
                  <a:cubicBezTo>
                    <a:pt x="621" y="582"/>
                    <a:pt x="621" y="580"/>
                    <a:pt x="621" y="578"/>
                  </a:cubicBezTo>
                  <a:cubicBezTo>
                    <a:pt x="621" y="574"/>
                    <a:pt x="621" y="572"/>
                    <a:pt x="622" y="569"/>
                  </a:cubicBezTo>
                  <a:cubicBezTo>
                    <a:pt x="623" y="564"/>
                    <a:pt x="624" y="562"/>
                    <a:pt x="629" y="559"/>
                  </a:cubicBezTo>
                  <a:cubicBezTo>
                    <a:pt x="633" y="558"/>
                    <a:pt x="634" y="555"/>
                    <a:pt x="634" y="551"/>
                  </a:cubicBezTo>
                  <a:cubicBezTo>
                    <a:pt x="635" y="546"/>
                    <a:pt x="637" y="542"/>
                    <a:pt x="639" y="537"/>
                  </a:cubicBezTo>
                  <a:cubicBezTo>
                    <a:pt x="640" y="534"/>
                    <a:pt x="642" y="530"/>
                    <a:pt x="643" y="527"/>
                  </a:cubicBezTo>
                  <a:cubicBezTo>
                    <a:pt x="644" y="525"/>
                    <a:pt x="644" y="523"/>
                    <a:pt x="645" y="522"/>
                  </a:cubicBezTo>
                  <a:cubicBezTo>
                    <a:pt x="645" y="522"/>
                    <a:pt x="644" y="522"/>
                    <a:pt x="643" y="523"/>
                  </a:cubicBezTo>
                  <a:cubicBezTo>
                    <a:pt x="644" y="521"/>
                    <a:pt x="645" y="520"/>
                    <a:pt x="646" y="518"/>
                  </a:cubicBezTo>
                  <a:cubicBezTo>
                    <a:pt x="647" y="516"/>
                    <a:pt x="647" y="513"/>
                    <a:pt x="650" y="512"/>
                  </a:cubicBezTo>
                  <a:cubicBezTo>
                    <a:pt x="650" y="510"/>
                    <a:pt x="653" y="508"/>
                    <a:pt x="654" y="507"/>
                  </a:cubicBezTo>
                  <a:cubicBezTo>
                    <a:pt x="657" y="503"/>
                    <a:pt x="660" y="498"/>
                    <a:pt x="663" y="494"/>
                  </a:cubicBezTo>
                  <a:cubicBezTo>
                    <a:pt x="666" y="490"/>
                    <a:pt x="668" y="488"/>
                    <a:pt x="672" y="486"/>
                  </a:cubicBezTo>
                  <a:cubicBezTo>
                    <a:pt x="674" y="484"/>
                    <a:pt x="677" y="481"/>
                    <a:pt x="680" y="480"/>
                  </a:cubicBezTo>
                  <a:cubicBezTo>
                    <a:pt x="684" y="479"/>
                    <a:pt x="691" y="479"/>
                    <a:pt x="695" y="481"/>
                  </a:cubicBezTo>
                  <a:cubicBezTo>
                    <a:pt x="698" y="482"/>
                    <a:pt x="700" y="484"/>
                    <a:pt x="704" y="486"/>
                  </a:cubicBezTo>
                  <a:cubicBezTo>
                    <a:pt x="709" y="487"/>
                    <a:pt x="714" y="490"/>
                    <a:pt x="719" y="492"/>
                  </a:cubicBezTo>
                  <a:cubicBezTo>
                    <a:pt x="720" y="490"/>
                    <a:pt x="720" y="488"/>
                    <a:pt x="721" y="486"/>
                  </a:cubicBezTo>
                  <a:cubicBezTo>
                    <a:pt x="723" y="482"/>
                    <a:pt x="726" y="477"/>
                    <a:pt x="728" y="472"/>
                  </a:cubicBezTo>
                  <a:cubicBezTo>
                    <a:pt x="730" y="469"/>
                    <a:pt x="732" y="467"/>
                    <a:pt x="733" y="464"/>
                  </a:cubicBezTo>
                  <a:cubicBezTo>
                    <a:pt x="733" y="463"/>
                    <a:pt x="734" y="461"/>
                    <a:pt x="735" y="459"/>
                  </a:cubicBezTo>
                  <a:cubicBezTo>
                    <a:pt x="735" y="458"/>
                    <a:pt x="735" y="454"/>
                    <a:pt x="735" y="452"/>
                  </a:cubicBezTo>
                  <a:cubicBezTo>
                    <a:pt x="735" y="429"/>
                    <a:pt x="735" y="429"/>
                    <a:pt x="735" y="429"/>
                  </a:cubicBezTo>
                  <a:cubicBezTo>
                    <a:pt x="735" y="424"/>
                    <a:pt x="735" y="418"/>
                    <a:pt x="734" y="413"/>
                  </a:cubicBezTo>
                  <a:cubicBezTo>
                    <a:pt x="737" y="416"/>
                    <a:pt x="742" y="415"/>
                    <a:pt x="746" y="415"/>
                  </a:cubicBezTo>
                  <a:cubicBezTo>
                    <a:pt x="748" y="415"/>
                    <a:pt x="749" y="416"/>
                    <a:pt x="752" y="417"/>
                  </a:cubicBezTo>
                  <a:cubicBezTo>
                    <a:pt x="754" y="418"/>
                    <a:pt x="758" y="418"/>
                    <a:pt x="760" y="419"/>
                  </a:cubicBezTo>
                  <a:cubicBezTo>
                    <a:pt x="769" y="422"/>
                    <a:pt x="778" y="424"/>
                    <a:pt x="787" y="426"/>
                  </a:cubicBezTo>
                  <a:cubicBezTo>
                    <a:pt x="793" y="427"/>
                    <a:pt x="799" y="426"/>
                    <a:pt x="804" y="429"/>
                  </a:cubicBezTo>
                  <a:cubicBezTo>
                    <a:pt x="811" y="433"/>
                    <a:pt x="817" y="435"/>
                    <a:pt x="824" y="436"/>
                  </a:cubicBezTo>
                  <a:cubicBezTo>
                    <a:pt x="826" y="436"/>
                    <a:pt x="827" y="437"/>
                    <a:pt x="829" y="436"/>
                  </a:cubicBezTo>
                  <a:cubicBezTo>
                    <a:pt x="830" y="435"/>
                    <a:pt x="833" y="431"/>
                    <a:pt x="833" y="429"/>
                  </a:cubicBezTo>
                  <a:cubicBezTo>
                    <a:pt x="835" y="427"/>
                    <a:pt x="835" y="426"/>
                    <a:pt x="836" y="424"/>
                  </a:cubicBezTo>
                  <a:cubicBezTo>
                    <a:pt x="836" y="423"/>
                    <a:pt x="839" y="421"/>
                    <a:pt x="839" y="420"/>
                  </a:cubicBezTo>
                  <a:cubicBezTo>
                    <a:pt x="839" y="416"/>
                    <a:pt x="826" y="413"/>
                    <a:pt x="823" y="411"/>
                  </a:cubicBezTo>
                  <a:cubicBezTo>
                    <a:pt x="825" y="408"/>
                    <a:pt x="830" y="407"/>
                    <a:pt x="833" y="405"/>
                  </a:cubicBezTo>
                  <a:cubicBezTo>
                    <a:pt x="838" y="402"/>
                    <a:pt x="842" y="399"/>
                    <a:pt x="847" y="395"/>
                  </a:cubicBezTo>
                  <a:cubicBezTo>
                    <a:pt x="852" y="391"/>
                    <a:pt x="855" y="389"/>
                    <a:pt x="855" y="382"/>
                  </a:cubicBezTo>
                  <a:cubicBezTo>
                    <a:pt x="855" y="374"/>
                    <a:pt x="853" y="368"/>
                    <a:pt x="848" y="361"/>
                  </a:cubicBezTo>
                  <a:cubicBezTo>
                    <a:pt x="845" y="357"/>
                    <a:pt x="842" y="352"/>
                    <a:pt x="840" y="347"/>
                  </a:cubicBezTo>
                  <a:cubicBezTo>
                    <a:pt x="838" y="345"/>
                    <a:pt x="837" y="341"/>
                    <a:pt x="835" y="339"/>
                  </a:cubicBezTo>
                  <a:cubicBezTo>
                    <a:pt x="836" y="336"/>
                    <a:pt x="849" y="336"/>
                    <a:pt x="852" y="336"/>
                  </a:cubicBezTo>
                  <a:cubicBezTo>
                    <a:pt x="857" y="335"/>
                    <a:pt x="863" y="335"/>
                    <a:pt x="869" y="334"/>
                  </a:cubicBezTo>
                  <a:cubicBezTo>
                    <a:pt x="869" y="333"/>
                    <a:pt x="869" y="332"/>
                    <a:pt x="869" y="332"/>
                  </a:cubicBezTo>
                  <a:cubicBezTo>
                    <a:pt x="871" y="331"/>
                    <a:pt x="875" y="334"/>
                    <a:pt x="877" y="335"/>
                  </a:cubicBezTo>
                  <a:cubicBezTo>
                    <a:pt x="880" y="336"/>
                    <a:pt x="883" y="338"/>
                    <a:pt x="886" y="339"/>
                  </a:cubicBezTo>
                  <a:cubicBezTo>
                    <a:pt x="886" y="336"/>
                    <a:pt x="886" y="332"/>
                    <a:pt x="886" y="329"/>
                  </a:cubicBezTo>
                  <a:cubicBezTo>
                    <a:pt x="885" y="324"/>
                    <a:pt x="883" y="322"/>
                    <a:pt x="882" y="319"/>
                  </a:cubicBezTo>
                  <a:cubicBezTo>
                    <a:pt x="879" y="312"/>
                    <a:pt x="886" y="310"/>
                    <a:pt x="891" y="308"/>
                  </a:cubicBezTo>
                  <a:cubicBezTo>
                    <a:pt x="896" y="307"/>
                    <a:pt x="901" y="304"/>
                    <a:pt x="907" y="304"/>
                  </a:cubicBezTo>
                  <a:cubicBezTo>
                    <a:pt x="909" y="304"/>
                    <a:pt x="914" y="303"/>
                    <a:pt x="916" y="305"/>
                  </a:cubicBezTo>
                  <a:cubicBezTo>
                    <a:pt x="918" y="307"/>
                    <a:pt x="918" y="311"/>
                    <a:pt x="919" y="313"/>
                  </a:cubicBezTo>
                  <a:cubicBezTo>
                    <a:pt x="920" y="315"/>
                    <a:pt x="922" y="316"/>
                    <a:pt x="923" y="317"/>
                  </a:cubicBezTo>
                  <a:cubicBezTo>
                    <a:pt x="924" y="319"/>
                    <a:pt x="924" y="320"/>
                    <a:pt x="925" y="322"/>
                  </a:cubicBezTo>
                  <a:cubicBezTo>
                    <a:pt x="926" y="326"/>
                    <a:pt x="928" y="331"/>
                    <a:pt x="931" y="335"/>
                  </a:cubicBezTo>
                  <a:cubicBezTo>
                    <a:pt x="933" y="338"/>
                    <a:pt x="935" y="340"/>
                    <a:pt x="937" y="342"/>
                  </a:cubicBezTo>
                  <a:cubicBezTo>
                    <a:pt x="940" y="345"/>
                    <a:pt x="943" y="349"/>
                    <a:pt x="945" y="352"/>
                  </a:cubicBezTo>
                  <a:cubicBezTo>
                    <a:pt x="946" y="353"/>
                    <a:pt x="947" y="355"/>
                    <a:pt x="948" y="356"/>
                  </a:cubicBezTo>
                  <a:cubicBezTo>
                    <a:pt x="949" y="358"/>
                    <a:pt x="951" y="359"/>
                    <a:pt x="951" y="361"/>
                  </a:cubicBezTo>
                  <a:cubicBezTo>
                    <a:pt x="952" y="362"/>
                    <a:pt x="952" y="363"/>
                    <a:pt x="953" y="364"/>
                  </a:cubicBezTo>
                  <a:cubicBezTo>
                    <a:pt x="955" y="366"/>
                    <a:pt x="955" y="364"/>
                    <a:pt x="956" y="367"/>
                  </a:cubicBezTo>
                  <a:cubicBezTo>
                    <a:pt x="957" y="374"/>
                    <a:pt x="956" y="382"/>
                    <a:pt x="957" y="389"/>
                  </a:cubicBezTo>
                  <a:cubicBezTo>
                    <a:pt x="959" y="389"/>
                    <a:pt x="960" y="388"/>
                    <a:pt x="962" y="388"/>
                  </a:cubicBezTo>
                  <a:cubicBezTo>
                    <a:pt x="964" y="388"/>
                    <a:pt x="966" y="388"/>
                    <a:pt x="967" y="389"/>
                  </a:cubicBezTo>
                  <a:cubicBezTo>
                    <a:pt x="973" y="390"/>
                    <a:pt x="977" y="391"/>
                    <a:pt x="982" y="393"/>
                  </a:cubicBezTo>
                  <a:cubicBezTo>
                    <a:pt x="984" y="394"/>
                    <a:pt x="985" y="395"/>
                    <a:pt x="987" y="395"/>
                  </a:cubicBezTo>
                  <a:cubicBezTo>
                    <a:pt x="989" y="395"/>
                    <a:pt x="992" y="395"/>
                    <a:pt x="994" y="395"/>
                  </a:cubicBezTo>
                  <a:cubicBezTo>
                    <a:pt x="998" y="397"/>
                    <a:pt x="998" y="400"/>
                    <a:pt x="1002" y="401"/>
                  </a:cubicBezTo>
                  <a:cubicBezTo>
                    <a:pt x="1006" y="402"/>
                    <a:pt x="1011" y="398"/>
                    <a:pt x="1015" y="398"/>
                  </a:cubicBezTo>
                  <a:cubicBezTo>
                    <a:pt x="1017" y="398"/>
                    <a:pt x="1019" y="398"/>
                    <a:pt x="1021" y="398"/>
                  </a:cubicBezTo>
                  <a:cubicBezTo>
                    <a:pt x="1024" y="398"/>
                    <a:pt x="1022" y="398"/>
                    <a:pt x="1024" y="395"/>
                  </a:cubicBezTo>
                  <a:cubicBezTo>
                    <a:pt x="1024" y="395"/>
                    <a:pt x="1024" y="394"/>
                    <a:pt x="1024" y="393"/>
                  </a:cubicBezTo>
                  <a:cubicBezTo>
                    <a:pt x="1024" y="392"/>
                    <a:pt x="1026" y="393"/>
                    <a:pt x="1027" y="392"/>
                  </a:cubicBezTo>
                  <a:cubicBezTo>
                    <a:pt x="1028" y="390"/>
                    <a:pt x="1028" y="387"/>
                    <a:pt x="1030" y="384"/>
                  </a:cubicBezTo>
                  <a:cubicBezTo>
                    <a:pt x="1031" y="383"/>
                    <a:pt x="1033" y="381"/>
                    <a:pt x="1034" y="380"/>
                  </a:cubicBezTo>
                  <a:cubicBezTo>
                    <a:pt x="1035" y="378"/>
                    <a:pt x="1035" y="376"/>
                    <a:pt x="1036" y="374"/>
                  </a:cubicBezTo>
                  <a:cubicBezTo>
                    <a:pt x="1042" y="374"/>
                    <a:pt x="1047" y="378"/>
                    <a:pt x="1052" y="381"/>
                  </a:cubicBezTo>
                  <a:cubicBezTo>
                    <a:pt x="1056" y="384"/>
                    <a:pt x="1061" y="386"/>
                    <a:pt x="1065" y="389"/>
                  </a:cubicBezTo>
                  <a:cubicBezTo>
                    <a:pt x="1065" y="390"/>
                    <a:pt x="1066" y="390"/>
                    <a:pt x="1066" y="391"/>
                  </a:cubicBezTo>
                  <a:cubicBezTo>
                    <a:pt x="1067" y="391"/>
                    <a:pt x="1068" y="391"/>
                    <a:pt x="1069" y="392"/>
                  </a:cubicBezTo>
                  <a:cubicBezTo>
                    <a:pt x="1070" y="393"/>
                    <a:pt x="1072" y="393"/>
                    <a:pt x="1074" y="394"/>
                  </a:cubicBezTo>
                  <a:cubicBezTo>
                    <a:pt x="1077" y="395"/>
                    <a:pt x="1081" y="397"/>
                    <a:pt x="1084" y="398"/>
                  </a:cubicBezTo>
                  <a:cubicBezTo>
                    <a:pt x="1086" y="399"/>
                    <a:pt x="1086" y="401"/>
                    <a:pt x="1087" y="402"/>
                  </a:cubicBezTo>
                  <a:cubicBezTo>
                    <a:pt x="1089" y="404"/>
                    <a:pt x="1088" y="410"/>
                    <a:pt x="1091" y="410"/>
                  </a:cubicBezTo>
                  <a:cubicBezTo>
                    <a:pt x="1093" y="409"/>
                    <a:pt x="1093" y="407"/>
                    <a:pt x="1095" y="406"/>
                  </a:cubicBezTo>
                  <a:cubicBezTo>
                    <a:pt x="1097" y="404"/>
                    <a:pt x="1099" y="406"/>
                    <a:pt x="1101" y="405"/>
                  </a:cubicBezTo>
                  <a:cubicBezTo>
                    <a:pt x="1107" y="402"/>
                    <a:pt x="1099" y="392"/>
                    <a:pt x="1100" y="388"/>
                  </a:cubicBezTo>
                  <a:cubicBezTo>
                    <a:pt x="1101" y="385"/>
                    <a:pt x="1104" y="381"/>
                    <a:pt x="1106" y="379"/>
                  </a:cubicBezTo>
                  <a:cubicBezTo>
                    <a:pt x="1102" y="379"/>
                    <a:pt x="1095" y="376"/>
                    <a:pt x="1093" y="373"/>
                  </a:cubicBezTo>
                  <a:cubicBezTo>
                    <a:pt x="1096" y="374"/>
                    <a:pt x="1101" y="373"/>
                    <a:pt x="1104" y="376"/>
                  </a:cubicBezTo>
                  <a:cubicBezTo>
                    <a:pt x="1106" y="377"/>
                    <a:pt x="1106" y="379"/>
                    <a:pt x="1107" y="379"/>
                  </a:cubicBezTo>
                  <a:cubicBezTo>
                    <a:pt x="1107" y="380"/>
                    <a:pt x="1107" y="381"/>
                    <a:pt x="1108" y="381"/>
                  </a:cubicBezTo>
                  <a:cubicBezTo>
                    <a:pt x="1108" y="379"/>
                    <a:pt x="1109" y="380"/>
                    <a:pt x="1110" y="379"/>
                  </a:cubicBezTo>
                  <a:cubicBezTo>
                    <a:pt x="1111" y="378"/>
                    <a:pt x="1112" y="377"/>
                    <a:pt x="1112" y="376"/>
                  </a:cubicBezTo>
                  <a:cubicBezTo>
                    <a:pt x="1112" y="376"/>
                    <a:pt x="1115" y="374"/>
                    <a:pt x="1115" y="374"/>
                  </a:cubicBezTo>
                  <a:cubicBezTo>
                    <a:pt x="1117" y="372"/>
                    <a:pt x="1117" y="370"/>
                    <a:pt x="1118" y="367"/>
                  </a:cubicBezTo>
                  <a:cubicBezTo>
                    <a:pt x="1120" y="363"/>
                    <a:pt x="1120" y="363"/>
                    <a:pt x="1123" y="364"/>
                  </a:cubicBezTo>
                  <a:cubicBezTo>
                    <a:pt x="1126" y="364"/>
                    <a:pt x="1127" y="365"/>
                    <a:pt x="1130" y="365"/>
                  </a:cubicBezTo>
                  <a:cubicBezTo>
                    <a:pt x="1131" y="363"/>
                    <a:pt x="1130" y="362"/>
                    <a:pt x="1130" y="361"/>
                  </a:cubicBezTo>
                  <a:cubicBezTo>
                    <a:pt x="1131" y="358"/>
                    <a:pt x="1132" y="356"/>
                    <a:pt x="1133" y="355"/>
                  </a:cubicBezTo>
                  <a:cubicBezTo>
                    <a:pt x="1134" y="353"/>
                    <a:pt x="1135" y="350"/>
                    <a:pt x="1136" y="348"/>
                  </a:cubicBezTo>
                  <a:cubicBezTo>
                    <a:pt x="1137" y="347"/>
                    <a:pt x="1138" y="347"/>
                    <a:pt x="1139" y="345"/>
                  </a:cubicBezTo>
                  <a:cubicBezTo>
                    <a:pt x="1140" y="343"/>
                    <a:pt x="1140" y="342"/>
                    <a:pt x="1140" y="338"/>
                  </a:cubicBezTo>
                  <a:cubicBezTo>
                    <a:pt x="1140" y="330"/>
                    <a:pt x="1140" y="321"/>
                    <a:pt x="1140" y="313"/>
                  </a:cubicBezTo>
                  <a:cubicBezTo>
                    <a:pt x="1140" y="306"/>
                    <a:pt x="1140" y="299"/>
                    <a:pt x="1140" y="293"/>
                  </a:cubicBezTo>
                  <a:cubicBezTo>
                    <a:pt x="1140" y="288"/>
                    <a:pt x="1141" y="285"/>
                    <a:pt x="1142" y="280"/>
                  </a:cubicBezTo>
                  <a:cubicBezTo>
                    <a:pt x="1144" y="275"/>
                    <a:pt x="1143" y="269"/>
                    <a:pt x="1144" y="264"/>
                  </a:cubicBezTo>
                  <a:cubicBezTo>
                    <a:pt x="1144" y="261"/>
                    <a:pt x="1145" y="258"/>
                    <a:pt x="1145" y="256"/>
                  </a:cubicBezTo>
                  <a:cubicBezTo>
                    <a:pt x="1145" y="255"/>
                    <a:pt x="1144" y="253"/>
                    <a:pt x="1145" y="252"/>
                  </a:cubicBezTo>
                  <a:cubicBezTo>
                    <a:pt x="1145" y="251"/>
                    <a:pt x="1145" y="251"/>
                    <a:pt x="1146" y="250"/>
                  </a:cubicBezTo>
                  <a:cubicBezTo>
                    <a:pt x="1146" y="249"/>
                    <a:pt x="1146" y="248"/>
                    <a:pt x="1147" y="247"/>
                  </a:cubicBezTo>
                  <a:cubicBezTo>
                    <a:pt x="1149" y="243"/>
                    <a:pt x="1155" y="245"/>
                    <a:pt x="1158" y="242"/>
                  </a:cubicBezTo>
                  <a:cubicBezTo>
                    <a:pt x="1161" y="239"/>
                    <a:pt x="1158" y="234"/>
                    <a:pt x="1159" y="230"/>
                  </a:cubicBezTo>
                  <a:cubicBezTo>
                    <a:pt x="1159" y="228"/>
                    <a:pt x="1160" y="227"/>
                    <a:pt x="1161" y="226"/>
                  </a:cubicBezTo>
                  <a:cubicBezTo>
                    <a:pt x="1163" y="224"/>
                    <a:pt x="1163" y="221"/>
                    <a:pt x="1164" y="219"/>
                  </a:cubicBezTo>
                  <a:cubicBezTo>
                    <a:pt x="1167" y="214"/>
                    <a:pt x="1173" y="208"/>
                    <a:pt x="1178" y="205"/>
                  </a:cubicBezTo>
                  <a:cubicBezTo>
                    <a:pt x="1182" y="203"/>
                    <a:pt x="1187" y="204"/>
                    <a:pt x="1191" y="204"/>
                  </a:cubicBezTo>
                  <a:cubicBezTo>
                    <a:pt x="1195" y="204"/>
                    <a:pt x="1200" y="203"/>
                    <a:pt x="1204" y="204"/>
                  </a:cubicBezTo>
                  <a:cubicBezTo>
                    <a:pt x="1204" y="204"/>
                    <a:pt x="1204" y="206"/>
                    <a:pt x="1204" y="206"/>
                  </a:cubicBezTo>
                  <a:cubicBezTo>
                    <a:pt x="1207" y="207"/>
                    <a:pt x="1211" y="205"/>
                    <a:pt x="1214" y="205"/>
                  </a:cubicBezTo>
                  <a:cubicBezTo>
                    <a:pt x="1217" y="204"/>
                    <a:pt x="1220" y="204"/>
                    <a:pt x="1223" y="203"/>
                  </a:cubicBezTo>
                  <a:cubicBezTo>
                    <a:pt x="1224" y="199"/>
                    <a:pt x="1223" y="195"/>
                    <a:pt x="1226" y="192"/>
                  </a:cubicBezTo>
                  <a:cubicBezTo>
                    <a:pt x="1227" y="190"/>
                    <a:pt x="1229" y="189"/>
                    <a:pt x="1231" y="187"/>
                  </a:cubicBezTo>
                  <a:cubicBezTo>
                    <a:pt x="1233" y="185"/>
                    <a:pt x="1234" y="182"/>
                    <a:pt x="1237" y="180"/>
                  </a:cubicBezTo>
                  <a:cubicBezTo>
                    <a:pt x="1237" y="180"/>
                    <a:pt x="1238" y="179"/>
                    <a:pt x="1239" y="179"/>
                  </a:cubicBezTo>
                  <a:cubicBezTo>
                    <a:pt x="1240" y="179"/>
                    <a:pt x="1241" y="179"/>
                    <a:pt x="1242" y="178"/>
                  </a:cubicBezTo>
                  <a:cubicBezTo>
                    <a:pt x="1244" y="179"/>
                    <a:pt x="1244" y="180"/>
                    <a:pt x="1245" y="181"/>
                  </a:cubicBezTo>
                  <a:cubicBezTo>
                    <a:pt x="1249" y="183"/>
                    <a:pt x="1253" y="181"/>
                    <a:pt x="1256" y="181"/>
                  </a:cubicBezTo>
                  <a:cubicBezTo>
                    <a:pt x="1260" y="182"/>
                    <a:pt x="1257" y="180"/>
                    <a:pt x="1259" y="183"/>
                  </a:cubicBezTo>
                  <a:cubicBezTo>
                    <a:pt x="1260" y="183"/>
                    <a:pt x="1261" y="186"/>
                    <a:pt x="1261" y="187"/>
                  </a:cubicBezTo>
                  <a:cubicBezTo>
                    <a:pt x="1261" y="188"/>
                    <a:pt x="1260" y="191"/>
                    <a:pt x="1261" y="192"/>
                  </a:cubicBezTo>
                  <a:cubicBezTo>
                    <a:pt x="1262" y="195"/>
                    <a:pt x="1264" y="194"/>
                    <a:pt x="1266" y="195"/>
                  </a:cubicBezTo>
                  <a:cubicBezTo>
                    <a:pt x="1267" y="196"/>
                    <a:pt x="1269" y="199"/>
                    <a:pt x="1269" y="199"/>
                  </a:cubicBezTo>
                  <a:cubicBezTo>
                    <a:pt x="1271" y="202"/>
                    <a:pt x="1274" y="204"/>
                    <a:pt x="1275" y="207"/>
                  </a:cubicBezTo>
                  <a:cubicBezTo>
                    <a:pt x="1277" y="210"/>
                    <a:pt x="1278" y="212"/>
                    <a:pt x="1280" y="214"/>
                  </a:cubicBezTo>
                  <a:cubicBezTo>
                    <a:pt x="1280" y="215"/>
                    <a:pt x="1281" y="217"/>
                    <a:pt x="1282" y="218"/>
                  </a:cubicBezTo>
                  <a:cubicBezTo>
                    <a:pt x="1283" y="220"/>
                    <a:pt x="1284" y="221"/>
                    <a:pt x="1286" y="223"/>
                  </a:cubicBezTo>
                  <a:cubicBezTo>
                    <a:pt x="1293" y="226"/>
                    <a:pt x="1299" y="229"/>
                    <a:pt x="1304" y="234"/>
                  </a:cubicBezTo>
                  <a:cubicBezTo>
                    <a:pt x="1308" y="237"/>
                    <a:pt x="1310" y="241"/>
                    <a:pt x="1314" y="243"/>
                  </a:cubicBezTo>
                  <a:cubicBezTo>
                    <a:pt x="1316" y="244"/>
                    <a:pt x="1317" y="245"/>
                    <a:pt x="1318" y="247"/>
                  </a:cubicBezTo>
                  <a:cubicBezTo>
                    <a:pt x="1318" y="248"/>
                    <a:pt x="1318" y="250"/>
                    <a:pt x="1319" y="251"/>
                  </a:cubicBezTo>
                  <a:cubicBezTo>
                    <a:pt x="1320" y="255"/>
                    <a:pt x="1321" y="258"/>
                    <a:pt x="1323" y="262"/>
                  </a:cubicBezTo>
                  <a:cubicBezTo>
                    <a:pt x="1324" y="265"/>
                    <a:pt x="1326" y="269"/>
                    <a:pt x="1326" y="272"/>
                  </a:cubicBezTo>
                  <a:cubicBezTo>
                    <a:pt x="1326" y="274"/>
                    <a:pt x="1325" y="276"/>
                    <a:pt x="1324" y="278"/>
                  </a:cubicBezTo>
                  <a:cubicBezTo>
                    <a:pt x="1322" y="280"/>
                    <a:pt x="1321" y="282"/>
                    <a:pt x="1319" y="285"/>
                  </a:cubicBezTo>
                  <a:cubicBezTo>
                    <a:pt x="1315" y="290"/>
                    <a:pt x="1312" y="296"/>
                    <a:pt x="1308" y="303"/>
                  </a:cubicBezTo>
                  <a:cubicBezTo>
                    <a:pt x="1307" y="305"/>
                    <a:pt x="1306" y="308"/>
                    <a:pt x="1304" y="311"/>
                  </a:cubicBezTo>
                  <a:cubicBezTo>
                    <a:pt x="1303" y="312"/>
                    <a:pt x="1302" y="313"/>
                    <a:pt x="1302" y="314"/>
                  </a:cubicBezTo>
                  <a:cubicBezTo>
                    <a:pt x="1300" y="318"/>
                    <a:pt x="1299" y="321"/>
                    <a:pt x="1301" y="325"/>
                  </a:cubicBezTo>
                  <a:cubicBezTo>
                    <a:pt x="1302" y="326"/>
                    <a:pt x="1302" y="328"/>
                    <a:pt x="1303" y="330"/>
                  </a:cubicBezTo>
                  <a:cubicBezTo>
                    <a:pt x="1304" y="332"/>
                    <a:pt x="1305" y="334"/>
                    <a:pt x="1306" y="336"/>
                  </a:cubicBezTo>
                  <a:cubicBezTo>
                    <a:pt x="1307" y="337"/>
                    <a:pt x="1308" y="339"/>
                    <a:pt x="1310" y="340"/>
                  </a:cubicBezTo>
                  <a:cubicBezTo>
                    <a:pt x="1311" y="342"/>
                    <a:pt x="1314" y="341"/>
                    <a:pt x="1316" y="340"/>
                  </a:cubicBezTo>
                  <a:cubicBezTo>
                    <a:pt x="1319" y="339"/>
                    <a:pt x="1320" y="339"/>
                    <a:pt x="1322" y="337"/>
                  </a:cubicBezTo>
                  <a:cubicBezTo>
                    <a:pt x="1323" y="336"/>
                    <a:pt x="1325" y="336"/>
                    <a:pt x="1325" y="335"/>
                  </a:cubicBezTo>
                  <a:cubicBezTo>
                    <a:pt x="1326" y="333"/>
                    <a:pt x="1326" y="331"/>
                    <a:pt x="1327" y="330"/>
                  </a:cubicBezTo>
                  <a:cubicBezTo>
                    <a:pt x="1327" y="327"/>
                    <a:pt x="1327" y="325"/>
                    <a:pt x="1327" y="323"/>
                  </a:cubicBezTo>
                  <a:cubicBezTo>
                    <a:pt x="1328" y="320"/>
                    <a:pt x="1328" y="317"/>
                    <a:pt x="1329" y="315"/>
                  </a:cubicBezTo>
                  <a:cubicBezTo>
                    <a:pt x="1329" y="312"/>
                    <a:pt x="1330" y="309"/>
                    <a:pt x="1331" y="306"/>
                  </a:cubicBezTo>
                  <a:cubicBezTo>
                    <a:pt x="1331" y="305"/>
                    <a:pt x="1330" y="303"/>
                    <a:pt x="1330" y="302"/>
                  </a:cubicBezTo>
                  <a:cubicBezTo>
                    <a:pt x="1331" y="301"/>
                    <a:pt x="1332" y="300"/>
                    <a:pt x="1333" y="299"/>
                  </a:cubicBezTo>
                  <a:cubicBezTo>
                    <a:pt x="1335" y="298"/>
                    <a:pt x="1336" y="298"/>
                    <a:pt x="1338" y="298"/>
                  </a:cubicBezTo>
                  <a:cubicBezTo>
                    <a:pt x="1341" y="298"/>
                    <a:pt x="1344" y="295"/>
                    <a:pt x="1347" y="293"/>
                  </a:cubicBezTo>
                  <a:cubicBezTo>
                    <a:pt x="1348" y="292"/>
                    <a:pt x="1350" y="290"/>
                    <a:pt x="1351" y="289"/>
                  </a:cubicBezTo>
                  <a:cubicBezTo>
                    <a:pt x="1352" y="288"/>
                    <a:pt x="1353" y="288"/>
                    <a:pt x="1354" y="288"/>
                  </a:cubicBezTo>
                  <a:cubicBezTo>
                    <a:pt x="1354" y="287"/>
                    <a:pt x="1355" y="286"/>
                    <a:pt x="1356" y="286"/>
                  </a:cubicBezTo>
                  <a:cubicBezTo>
                    <a:pt x="1357" y="285"/>
                    <a:pt x="1358" y="285"/>
                    <a:pt x="1359" y="283"/>
                  </a:cubicBezTo>
                  <a:cubicBezTo>
                    <a:pt x="1360" y="282"/>
                    <a:pt x="1360" y="282"/>
                    <a:pt x="1362" y="282"/>
                  </a:cubicBezTo>
                  <a:cubicBezTo>
                    <a:pt x="1362" y="282"/>
                    <a:pt x="1363" y="282"/>
                    <a:pt x="1363" y="282"/>
                  </a:cubicBezTo>
                  <a:cubicBezTo>
                    <a:pt x="1364" y="282"/>
                    <a:pt x="1365" y="283"/>
                    <a:pt x="1365" y="283"/>
                  </a:cubicBezTo>
                  <a:cubicBezTo>
                    <a:pt x="1366" y="283"/>
                    <a:pt x="1366" y="281"/>
                    <a:pt x="1366" y="280"/>
                  </a:cubicBezTo>
                  <a:cubicBezTo>
                    <a:pt x="1367" y="278"/>
                    <a:pt x="1368" y="276"/>
                    <a:pt x="1370" y="274"/>
                  </a:cubicBezTo>
                  <a:cubicBezTo>
                    <a:pt x="1371" y="272"/>
                    <a:pt x="1372" y="269"/>
                    <a:pt x="1373" y="267"/>
                  </a:cubicBezTo>
                  <a:cubicBezTo>
                    <a:pt x="1374" y="265"/>
                    <a:pt x="1375" y="264"/>
                    <a:pt x="1375" y="261"/>
                  </a:cubicBezTo>
                  <a:cubicBezTo>
                    <a:pt x="1375" y="258"/>
                    <a:pt x="1375" y="255"/>
                    <a:pt x="1375" y="252"/>
                  </a:cubicBezTo>
                  <a:cubicBezTo>
                    <a:pt x="1375" y="251"/>
                    <a:pt x="1375" y="250"/>
                    <a:pt x="1374" y="249"/>
                  </a:cubicBezTo>
                  <a:cubicBezTo>
                    <a:pt x="1373" y="248"/>
                    <a:pt x="1370" y="247"/>
                    <a:pt x="1371" y="246"/>
                  </a:cubicBezTo>
                  <a:cubicBezTo>
                    <a:pt x="1372" y="245"/>
                    <a:pt x="1373" y="246"/>
                    <a:pt x="1374" y="246"/>
                  </a:cubicBezTo>
                  <a:cubicBezTo>
                    <a:pt x="1376" y="247"/>
                    <a:pt x="1378" y="248"/>
                    <a:pt x="1380" y="249"/>
                  </a:cubicBezTo>
                  <a:cubicBezTo>
                    <a:pt x="1382" y="250"/>
                    <a:pt x="1384" y="253"/>
                    <a:pt x="1385" y="256"/>
                  </a:cubicBezTo>
                  <a:cubicBezTo>
                    <a:pt x="1386" y="258"/>
                    <a:pt x="1388" y="258"/>
                    <a:pt x="1389" y="259"/>
                  </a:cubicBezTo>
                  <a:cubicBezTo>
                    <a:pt x="1392" y="260"/>
                    <a:pt x="1395" y="261"/>
                    <a:pt x="1397" y="263"/>
                  </a:cubicBezTo>
                  <a:cubicBezTo>
                    <a:pt x="1400" y="264"/>
                    <a:pt x="1402" y="266"/>
                    <a:pt x="1405" y="266"/>
                  </a:cubicBezTo>
                  <a:cubicBezTo>
                    <a:pt x="1408" y="267"/>
                    <a:pt x="1413" y="265"/>
                    <a:pt x="1415" y="264"/>
                  </a:cubicBezTo>
                  <a:cubicBezTo>
                    <a:pt x="1416" y="262"/>
                    <a:pt x="1417" y="260"/>
                    <a:pt x="1418" y="259"/>
                  </a:cubicBezTo>
                  <a:cubicBezTo>
                    <a:pt x="1420" y="255"/>
                    <a:pt x="1419" y="250"/>
                    <a:pt x="1418" y="246"/>
                  </a:cubicBezTo>
                  <a:cubicBezTo>
                    <a:pt x="1417" y="244"/>
                    <a:pt x="1417" y="242"/>
                    <a:pt x="1416" y="240"/>
                  </a:cubicBezTo>
                  <a:cubicBezTo>
                    <a:pt x="1416" y="238"/>
                    <a:pt x="1415" y="237"/>
                    <a:pt x="1415" y="235"/>
                  </a:cubicBezTo>
                  <a:cubicBezTo>
                    <a:pt x="1415" y="233"/>
                    <a:pt x="1414" y="232"/>
                    <a:pt x="1414" y="230"/>
                  </a:cubicBezTo>
                  <a:cubicBezTo>
                    <a:pt x="1413" y="229"/>
                    <a:pt x="1413" y="227"/>
                    <a:pt x="1412" y="226"/>
                  </a:cubicBezTo>
                  <a:cubicBezTo>
                    <a:pt x="1410" y="224"/>
                    <a:pt x="1407" y="227"/>
                    <a:pt x="1405" y="227"/>
                  </a:cubicBezTo>
                  <a:cubicBezTo>
                    <a:pt x="1403" y="227"/>
                    <a:pt x="1401" y="226"/>
                    <a:pt x="1400" y="226"/>
                  </a:cubicBezTo>
                  <a:cubicBezTo>
                    <a:pt x="1398" y="225"/>
                    <a:pt x="1397" y="224"/>
                    <a:pt x="1396" y="223"/>
                  </a:cubicBezTo>
                  <a:cubicBezTo>
                    <a:pt x="1396" y="223"/>
                    <a:pt x="1396" y="222"/>
                    <a:pt x="1396" y="222"/>
                  </a:cubicBezTo>
                  <a:cubicBezTo>
                    <a:pt x="1394" y="221"/>
                    <a:pt x="1392" y="223"/>
                    <a:pt x="1390" y="223"/>
                  </a:cubicBezTo>
                  <a:cubicBezTo>
                    <a:pt x="1386" y="222"/>
                    <a:pt x="1390" y="218"/>
                    <a:pt x="1390" y="215"/>
                  </a:cubicBezTo>
                  <a:cubicBezTo>
                    <a:pt x="1390" y="214"/>
                    <a:pt x="1384" y="212"/>
                    <a:pt x="1383" y="212"/>
                  </a:cubicBezTo>
                  <a:cubicBezTo>
                    <a:pt x="1381" y="211"/>
                    <a:pt x="1376" y="210"/>
                    <a:pt x="1374" y="213"/>
                  </a:cubicBezTo>
                  <a:cubicBezTo>
                    <a:pt x="1372" y="217"/>
                    <a:pt x="1377" y="220"/>
                    <a:pt x="1376" y="224"/>
                  </a:cubicBezTo>
                  <a:cubicBezTo>
                    <a:pt x="1375" y="224"/>
                    <a:pt x="1373" y="224"/>
                    <a:pt x="1372" y="224"/>
                  </a:cubicBezTo>
                  <a:cubicBezTo>
                    <a:pt x="1372" y="226"/>
                    <a:pt x="1373" y="228"/>
                    <a:pt x="1373" y="229"/>
                  </a:cubicBezTo>
                  <a:cubicBezTo>
                    <a:pt x="1374" y="230"/>
                    <a:pt x="1374" y="234"/>
                    <a:pt x="1373" y="235"/>
                  </a:cubicBezTo>
                  <a:cubicBezTo>
                    <a:pt x="1372" y="234"/>
                    <a:pt x="1373" y="233"/>
                    <a:pt x="1372" y="232"/>
                  </a:cubicBezTo>
                  <a:cubicBezTo>
                    <a:pt x="1371" y="231"/>
                    <a:pt x="1371" y="231"/>
                    <a:pt x="1370" y="230"/>
                  </a:cubicBezTo>
                  <a:cubicBezTo>
                    <a:pt x="1369" y="230"/>
                    <a:pt x="1367" y="229"/>
                    <a:pt x="1367" y="228"/>
                  </a:cubicBezTo>
                  <a:cubicBezTo>
                    <a:pt x="1367" y="226"/>
                    <a:pt x="1369" y="226"/>
                    <a:pt x="1370" y="225"/>
                  </a:cubicBezTo>
                  <a:cubicBezTo>
                    <a:pt x="1371" y="224"/>
                    <a:pt x="1372" y="223"/>
                    <a:pt x="1371" y="222"/>
                  </a:cubicBezTo>
                  <a:cubicBezTo>
                    <a:pt x="1371" y="221"/>
                    <a:pt x="1370" y="221"/>
                    <a:pt x="1370" y="220"/>
                  </a:cubicBezTo>
                  <a:cubicBezTo>
                    <a:pt x="1368" y="218"/>
                    <a:pt x="1369" y="218"/>
                    <a:pt x="1371" y="218"/>
                  </a:cubicBezTo>
                  <a:cubicBezTo>
                    <a:pt x="1372" y="218"/>
                    <a:pt x="1373" y="216"/>
                    <a:pt x="1373" y="215"/>
                  </a:cubicBezTo>
                  <a:cubicBezTo>
                    <a:pt x="1373" y="214"/>
                    <a:pt x="1371" y="213"/>
                    <a:pt x="1370" y="213"/>
                  </a:cubicBezTo>
                  <a:cubicBezTo>
                    <a:pt x="1369" y="211"/>
                    <a:pt x="1368" y="210"/>
                    <a:pt x="1367" y="209"/>
                  </a:cubicBezTo>
                  <a:cubicBezTo>
                    <a:pt x="1365" y="207"/>
                    <a:pt x="1362" y="207"/>
                    <a:pt x="1359" y="208"/>
                  </a:cubicBezTo>
                  <a:cubicBezTo>
                    <a:pt x="1357" y="208"/>
                    <a:pt x="1355" y="208"/>
                    <a:pt x="1353" y="208"/>
                  </a:cubicBezTo>
                  <a:cubicBezTo>
                    <a:pt x="1352" y="207"/>
                    <a:pt x="1350" y="207"/>
                    <a:pt x="1349" y="207"/>
                  </a:cubicBezTo>
                  <a:cubicBezTo>
                    <a:pt x="1348" y="207"/>
                    <a:pt x="1348" y="206"/>
                    <a:pt x="1347" y="206"/>
                  </a:cubicBezTo>
                  <a:cubicBezTo>
                    <a:pt x="1346" y="206"/>
                    <a:pt x="1345" y="206"/>
                    <a:pt x="1344" y="206"/>
                  </a:cubicBezTo>
                  <a:cubicBezTo>
                    <a:pt x="1342" y="206"/>
                    <a:pt x="1342" y="205"/>
                    <a:pt x="1341" y="204"/>
                  </a:cubicBezTo>
                  <a:cubicBezTo>
                    <a:pt x="1341" y="204"/>
                    <a:pt x="1340" y="204"/>
                    <a:pt x="1340" y="204"/>
                  </a:cubicBezTo>
                  <a:cubicBezTo>
                    <a:pt x="1339" y="203"/>
                    <a:pt x="1339" y="203"/>
                    <a:pt x="1339" y="202"/>
                  </a:cubicBezTo>
                  <a:cubicBezTo>
                    <a:pt x="1338" y="202"/>
                    <a:pt x="1338" y="202"/>
                    <a:pt x="1338" y="202"/>
                  </a:cubicBezTo>
                  <a:cubicBezTo>
                    <a:pt x="1339" y="202"/>
                    <a:pt x="1339" y="202"/>
                    <a:pt x="1339" y="200"/>
                  </a:cubicBezTo>
                  <a:cubicBezTo>
                    <a:pt x="1340" y="195"/>
                    <a:pt x="1338" y="195"/>
                    <a:pt x="1335" y="193"/>
                  </a:cubicBezTo>
                  <a:cubicBezTo>
                    <a:pt x="1325" y="188"/>
                    <a:pt x="1314" y="183"/>
                    <a:pt x="1303" y="180"/>
                  </a:cubicBezTo>
                  <a:cubicBezTo>
                    <a:pt x="1298" y="179"/>
                    <a:pt x="1295" y="177"/>
                    <a:pt x="1295" y="174"/>
                  </a:cubicBezTo>
                  <a:cubicBezTo>
                    <a:pt x="1307" y="173"/>
                    <a:pt x="1320" y="172"/>
                    <a:pt x="1332" y="174"/>
                  </a:cubicBezTo>
                  <a:cubicBezTo>
                    <a:pt x="1338" y="174"/>
                    <a:pt x="1346" y="173"/>
                    <a:pt x="1352" y="175"/>
                  </a:cubicBezTo>
                  <a:cubicBezTo>
                    <a:pt x="1355" y="176"/>
                    <a:pt x="1356" y="178"/>
                    <a:pt x="1359" y="178"/>
                  </a:cubicBezTo>
                  <a:cubicBezTo>
                    <a:pt x="1361" y="178"/>
                    <a:pt x="1363" y="178"/>
                    <a:pt x="1365" y="178"/>
                  </a:cubicBezTo>
                  <a:cubicBezTo>
                    <a:pt x="1369" y="178"/>
                    <a:pt x="1377" y="179"/>
                    <a:pt x="1381" y="178"/>
                  </a:cubicBezTo>
                  <a:cubicBezTo>
                    <a:pt x="1382" y="177"/>
                    <a:pt x="1386" y="174"/>
                    <a:pt x="1387" y="172"/>
                  </a:cubicBezTo>
                  <a:cubicBezTo>
                    <a:pt x="1390" y="169"/>
                    <a:pt x="1389" y="164"/>
                    <a:pt x="1392" y="162"/>
                  </a:cubicBezTo>
                  <a:cubicBezTo>
                    <a:pt x="1393" y="161"/>
                    <a:pt x="1397" y="161"/>
                    <a:pt x="1399" y="160"/>
                  </a:cubicBezTo>
                  <a:cubicBezTo>
                    <a:pt x="1401" y="159"/>
                    <a:pt x="1404" y="157"/>
                    <a:pt x="1406" y="156"/>
                  </a:cubicBezTo>
                  <a:cubicBezTo>
                    <a:pt x="1407" y="155"/>
                    <a:pt x="1406" y="154"/>
                    <a:pt x="1407" y="154"/>
                  </a:cubicBezTo>
                  <a:cubicBezTo>
                    <a:pt x="1408" y="154"/>
                    <a:pt x="1409" y="154"/>
                    <a:pt x="1410" y="154"/>
                  </a:cubicBezTo>
                  <a:cubicBezTo>
                    <a:pt x="1412" y="153"/>
                    <a:pt x="1411" y="151"/>
                    <a:pt x="1413" y="149"/>
                  </a:cubicBezTo>
                  <a:cubicBezTo>
                    <a:pt x="1416" y="146"/>
                    <a:pt x="1420" y="149"/>
                    <a:pt x="1423" y="146"/>
                  </a:cubicBezTo>
                  <a:cubicBezTo>
                    <a:pt x="1429" y="142"/>
                    <a:pt x="1419" y="130"/>
                    <a:pt x="1418" y="12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8" name="Freeform 139">
              <a:extLst>
                <a:ext uri="{FF2B5EF4-FFF2-40B4-BE49-F238E27FC236}">
                  <a16:creationId xmlns:a16="http://schemas.microsoft.com/office/drawing/2014/main" id="{F45047AC-1497-4E48-A408-054BC7355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0138" y="6602413"/>
              <a:ext cx="34925" cy="2063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3" y="3"/>
                </a:cxn>
                <a:cxn ang="0">
                  <a:pos x="1" y="7"/>
                </a:cxn>
                <a:cxn ang="0">
                  <a:pos x="5" y="10"/>
                </a:cxn>
                <a:cxn ang="0">
                  <a:pos x="14" y="11"/>
                </a:cxn>
                <a:cxn ang="0">
                  <a:pos x="17" y="7"/>
                </a:cxn>
                <a:cxn ang="0">
                  <a:pos x="19" y="3"/>
                </a:cxn>
                <a:cxn ang="0">
                  <a:pos x="16" y="2"/>
                </a:cxn>
              </a:cxnLst>
              <a:rect l="0" t="0" r="r" b="b"/>
              <a:pathLst>
                <a:path w="19" h="11">
                  <a:moveTo>
                    <a:pt x="16" y="2"/>
                  </a:moveTo>
                  <a:cubicBezTo>
                    <a:pt x="12" y="0"/>
                    <a:pt x="6" y="0"/>
                    <a:pt x="3" y="3"/>
                  </a:cubicBezTo>
                  <a:cubicBezTo>
                    <a:pt x="2" y="4"/>
                    <a:pt x="0" y="5"/>
                    <a:pt x="1" y="7"/>
                  </a:cubicBezTo>
                  <a:cubicBezTo>
                    <a:pt x="1" y="9"/>
                    <a:pt x="3" y="9"/>
                    <a:pt x="5" y="10"/>
                  </a:cubicBezTo>
                  <a:cubicBezTo>
                    <a:pt x="7" y="11"/>
                    <a:pt x="11" y="11"/>
                    <a:pt x="14" y="11"/>
                  </a:cubicBezTo>
                  <a:cubicBezTo>
                    <a:pt x="15" y="10"/>
                    <a:pt x="15" y="9"/>
                    <a:pt x="17" y="7"/>
                  </a:cubicBezTo>
                  <a:cubicBezTo>
                    <a:pt x="19" y="6"/>
                    <a:pt x="19" y="6"/>
                    <a:pt x="19" y="3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</p:grpSp>
      <p:sp>
        <p:nvSpPr>
          <p:cNvPr id="379" name="Oval 7">
            <a:extLst>
              <a:ext uri="{FF2B5EF4-FFF2-40B4-BE49-F238E27FC236}">
                <a16:creationId xmlns:a16="http://schemas.microsoft.com/office/drawing/2014/main" id="{0B710D16-634B-4AC2-874F-F105823BD7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0069" y="3648759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380" name="Gruppieren 379">
            <a:extLst>
              <a:ext uri="{FF2B5EF4-FFF2-40B4-BE49-F238E27FC236}">
                <a16:creationId xmlns:a16="http://schemas.microsoft.com/office/drawing/2014/main" id="{3A9190C4-6B42-4500-908E-E860F05196B4}"/>
              </a:ext>
            </a:extLst>
          </p:cNvPr>
          <p:cNvGrpSpPr/>
          <p:nvPr/>
        </p:nvGrpSpPr>
        <p:grpSpPr>
          <a:xfrm>
            <a:off x="7013897" y="3846587"/>
            <a:ext cx="492344" cy="324343"/>
            <a:chOff x="3363913" y="1768476"/>
            <a:chExt cx="2416175" cy="1601788"/>
          </a:xfrm>
          <a:solidFill>
            <a:schemeClr val="accent3"/>
          </a:solidFill>
        </p:grpSpPr>
        <p:sp>
          <p:nvSpPr>
            <p:cNvPr id="381" name="Rectangle 14">
              <a:extLst>
                <a:ext uri="{FF2B5EF4-FFF2-40B4-BE49-F238E27FC236}">
                  <a16:creationId xmlns:a16="http://schemas.microsoft.com/office/drawing/2014/main" id="{B453274E-D70B-46E3-A247-23E6C890D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7776" y="3262313"/>
              <a:ext cx="539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2" name="Rectangle 15">
              <a:extLst>
                <a:ext uri="{FF2B5EF4-FFF2-40B4-BE49-F238E27FC236}">
                  <a16:creationId xmlns:a16="http://schemas.microsoft.com/office/drawing/2014/main" id="{C1FA746A-A855-4D20-B2EC-A4B484982A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813" y="3262313"/>
              <a:ext cx="114300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3" name="Rectangle 16">
              <a:extLst>
                <a:ext uri="{FF2B5EF4-FFF2-40B4-BE49-F238E27FC236}">
                  <a16:creationId xmlns:a16="http://schemas.microsoft.com/office/drawing/2014/main" id="{926B1855-7FCD-40BE-9AFA-4C3E8C25F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4038" y="3262313"/>
              <a:ext cx="114300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4" name="Rectangle 17">
              <a:extLst>
                <a:ext uri="{FF2B5EF4-FFF2-40B4-BE49-F238E27FC236}">
                  <a16:creationId xmlns:a16="http://schemas.microsoft.com/office/drawing/2014/main" id="{B610C8B4-0F64-4CF7-A55D-32DFCA402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6001" y="3262313"/>
              <a:ext cx="1174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5" name="Rectangle 18">
              <a:extLst>
                <a:ext uri="{FF2B5EF4-FFF2-40B4-BE49-F238E27FC236}">
                  <a16:creationId xmlns:a16="http://schemas.microsoft.com/office/drawing/2014/main" id="{F276602E-A0B7-44AF-821E-749503AC88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2588" y="3262313"/>
              <a:ext cx="539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6" name="Freeform 19">
              <a:extLst>
                <a:ext uri="{FF2B5EF4-FFF2-40B4-BE49-F238E27FC236}">
                  <a16:creationId xmlns:a16="http://schemas.microsoft.com/office/drawing/2014/main" id="{193D6FBF-F047-40FB-BE37-71099767E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913" y="1768476"/>
              <a:ext cx="2416175" cy="1601788"/>
            </a:xfrm>
            <a:custGeom>
              <a:avLst/>
              <a:gdLst>
                <a:gd name="T0" fmla="*/ 828 w 887"/>
                <a:gd name="T1" fmla="*/ 232 h 590"/>
                <a:gd name="T2" fmla="*/ 704 w 887"/>
                <a:gd name="T3" fmla="*/ 185 h 590"/>
                <a:gd name="T4" fmla="*/ 78 w 887"/>
                <a:gd name="T5" fmla="*/ 185 h 590"/>
                <a:gd name="T6" fmla="*/ 233 w 887"/>
                <a:gd name="T7" fmla="*/ 36 h 590"/>
                <a:gd name="T8" fmla="*/ 233 w 887"/>
                <a:gd name="T9" fmla="*/ 8 h 590"/>
                <a:gd name="T10" fmla="*/ 205 w 887"/>
                <a:gd name="T11" fmla="*/ 7 h 590"/>
                <a:gd name="T12" fmla="*/ 0 w 887"/>
                <a:gd name="T13" fmla="*/ 205 h 590"/>
                <a:gd name="T14" fmla="*/ 205 w 887"/>
                <a:gd name="T15" fmla="*/ 402 h 590"/>
                <a:gd name="T16" fmla="*/ 219 w 887"/>
                <a:gd name="T17" fmla="*/ 407 h 590"/>
                <a:gd name="T18" fmla="*/ 233 w 887"/>
                <a:gd name="T19" fmla="*/ 401 h 590"/>
                <a:gd name="T20" fmla="*/ 233 w 887"/>
                <a:gd name="T21" fmla="*/ 373 h 590"/>
                <a:gd name="T22" fmla="*/ 78 w 887"/>
                <a:gd name="T23" fmla="*/ 225 h 590"/>
                <a:gd name="T24" fmla="*/ 704 w 887"/>
                <a:gd name="T25" fmla="*/ 225 h 590"/>
                <a:gd name="T26" fmla="*/ 705 w 887"/>
                <a:gd name="T27" fmla="*/ 225 h 590"/>
                <a:gd name="T28" fmla="*/ 800 w 887"/>
                <a:gd name="T29" fmla="*/ 261 h 590"/>
                <a:gd name="T30" fmla="*/ 847 w 887"/>
                <a:gd name="T31" fmla="*/ 396 h 590"/>
                <a:gd name="T32" fmla="*/ 704 w 887"/>
                <a:gd name="T33" fmla="*/ 550 h 590"/>
                <a:gd name="T34" fmla="*/ 676 w 887"/>
                <a:gd name="T35" fmla="*/ 550 h 590"/>
                <a:gd name="T36" fmla="*/ 676 w 887"/>
                <a:gd name="T37" fmla="*/ 590 h 590"/>
                <a:gd name="T38" fmla="*/ 704 w 887"/>
                <a:gd name="T39" fmla="*/ 590 h 590"/>
                <a:gd name="T40" fmla="*/ 864 w 887"/>
                <a:gd name="T41" fmla="*/ 491 h 590"/>
                <a:gd name="T42" fmla="*/ 887 w 887"/>
                <a:gd name="T43" fmla="*/ 396 h 590"/>
                <a:gd name="T44" fmla="*/ 828 w 887"/>
                <a:gd name="T45" fmla="*/ 232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87" h="590">
                  <a:moveTo>
                    <a:pt x="828" y="232"/>
                  </a:moveTo>
                  <a:cubicBezTo>
                    <a:pt x="777" y="184"/>
                    <a:pt x="711" y="185"/>
                    <a:pt x="704" y="185"/>
                  </a:cubicBezTo>
                  <a:cubicBezTo>
                    <a:pt x="78" y="185"/>
                    <a:pt x="78" y="185"/>
                    <a:pt x="78" y="185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41" y="28"/>
                    <a:pt x="241" y="16"/>
                    <a:pt x="233" y="8"/>
                  </a:cubicBezTo>
                  <a:cubicBezTo>
                    <a:pt x="225" y="0"/>
                    <a:pt x="213" y="0"/>
                    <a:pt x="205" y="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205" y="402"/>
                    <a:pt x="205" y="402"/>
                    <a:pt x="205" y="402"/>
                  </a:cubicBezTo>
                  <a:cubicBezTo>
                    <a:pt x="209" y="406"/>
                    <a:pt x="214" y="407"/>
                    <a:pt x="219" y="407"/>
                  </a:cubicBezTo>
                  <a:cubicBezTo>
                    <a:pt x="224" y="407"/>
                    <a:pt x="229" y="405"/>
                    <a:pt x="233" y="401"/>
                  </a:cubicBezTo>
                  <a:cubicBezTo>
                    <a:pt x="241" y="393"/>
                    <a:pt x="241" y="381"/>
                    <a:pt x="233" y="373"/>
                  </a:cubicBezTo>
                  <a:cubicBezTo>
                    <a:pt x="78" y="225"/>
                    <a:pt x="78" y="225"/>
                    <a:pt x="78" y="225"/>
                  </a:cubicBezTo>
                  <a:cubicBezTo>
                    <a:pt x="704" y="225"/>
                    <a:pt x="704" y="225"/>
                    <a:pt x="704" y="225"/>
                  </a:cubicBezTo>
                  <a:cubicBezTo>
                    <a:pt x="705" y="225"/>
                    <a:pt x="705" y="225"/>
                    <a:pt x="705" y="225"/>
                  </a:cubicBezTo>
                  <a:cubicBezTo>
                    <a:pt x="706" y="225"/>
                    <a:pt x="759" y="222"/>
                    <a:pt x="800" y="261"/>
                  </a:cubicBezTo>
                  <a:cubicBezTo>
                    <a:pt x="831" y="290"/>
                    <a:pt x="847" y="336"/>
                    <a:pt x="847" y="396"/>
                  </a:cubicBezTo>
                  <a:cubicBezTo>
                    <a:pt x="847" y="402"/>
                    <a:pt x="844" y="550"/>
                    <a:pt x="704" y="550"/>
                  </a:cubicBezTo>
                  <a:cubicBezTo>
                    <a:pt x="676" y="550"/>
                    <a:pt x="676" y="550"/>
                    <a:pt x="676" y="550"/>
                  </a:cubicBezTo>
                  <a:cubicBezTo>
                    <a:pt x="676" y="590"/>
                    <a:pt x="676" y="590"/>
                    <a:pt x="676" y="590"/>
                  </a:cubicBezTo>
                  <a:cubicBezTo>
                    <a:pt x="704" y="590"/>
                    <a:pt x="704" y="590"/>
                    <a:pt x="704" y="590"/>
                  </a:cubicBezTo>
                  <a:cubicBezTo>
                    <a:pt x="799" y="590"/>
                    <a:pt x="843" y="536"/>
                    <a:pt x="864" y="491"/>
                  </a:cubicBezTo>
                  <a:cubicBezTo>
                    <a:pt x="886" y="445"/>
                    <a:pt x="887" y="398"/>
                    <a:pt x="887" y="396"/>
                  </a:cubicBezTo>
                  <a:cubicBezTo>
                    <a:pt x="887" y="324"/>
                    <a:pt x="867" y="269"/>
                    <a:pt x="828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87" name="Oval 8">
            <a:extLst>
              <a:ext uri="{FF2B5EF4-FFF2-40B4-BE49-F238E27FC236}">
                <a16:creationId xmlns:a16="http://schemas.microsoft.com/office/drawing/2014/main" id="{F8CFE6D8-7E6D-4625-B036-10C6528BEB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2253" y="1429873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388" name="Gruppieren 387">
            <a:extLst>
              <a:ext uri="{FF2B5EF4-FFF2-40B4-BE49-F238E27FC236}">
                <a16:creationId xmlns:a16="http://schemas.microsoft.com/office/drawing/2014/main" id="{AE80C7E0-952C-413E-BF31-F134713D2DDB}"/>
              </a:ext>
            </a:extLst>
          </p:cNvPr>
          <p:cNvGrpSpPr/>
          <p:nvPr/>
        </p:nvGrpSpPr>
        <p:grpSpPr>
          <a:xfrm>
            <a:off x="8095183" y="1684677"/>
            <a:ext cx="534141" cy="210392"/>
            <a:chOff x="1504868" y="1362965"/>
            <a:chExt cx="1143979" cy="454025"/>
          </a:xfrm>
          <a:solidFill>
            <a:schemeClr val="accent3"/>
          </a:solidFill>
        </p:grpSpPr>
        <p:grpSp>
          <p:nvGrpSpPr>
            <p:cNvPr id="389" name="Group 250">
              <a:extLst>
                <a:ext uri="{FF2B5EF4-FFF2-40B4-BE49-F238E27FC236}">
                  <a16:creationId xmlns:a16="http://schemas.microsoft.com/office/drawing/2014/main" id="{D9B52356-D4E6-445C-B136-8058B1686390}"/>
                </a:ext>
              </a:extLst>
            </p:cNvPr>
            <p:cNvGrpSpPr/>
            <p:nvPr/>
          </p:nvGrpSpPr>
          <p:grpSpPr>
            <a:xfrm>
              <a:off x="1504868" y="1362965"/>
              <a:ext cx="1143979" cy="454025"/>
              <a:chOff x="-2701925" y="2127250"/>
              <a:chExt cx="1323975" cy="525463"/>
            </a:xfrm>
            <a:grpFill/>
          </p:grpSpPr>
          <p:sp>
            <p:nvSpPr>
              <p:cNvPr id="391" name="Freeform 44">
                <a:extLst>
                  <a:ext uri="{FF2B5EF4-FFF2-40B4-BE49-F238E27FC236}">
                    <a16:creationId xmlns:a16="http://schemas.microsoft.com/office/drawing/2014/main" id="{5F95AC16-5B9E-4595-83C0-DFE519FBCA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278063" y="2462213"/>
                <a:ext cx="184150" cy="190500"/>
              </a:xfrm>
              <a:custGeom>
                <a:avLst/>
                <a:gdLst>
                  <a:gd name="T0" fmla="*/ 49 w 49"/>
                  <a:gd name="T1" fmla="*/ 25 h 51"/>
                  <a:gd name="T2" fmla="*/ 25 w 49"/>
                  <a:gd name="T3" fmla="*/ 0 h 51"/>
                  <a:gd name="T4" fmla="*/ 0 w 49"/>
                  <a:gd name="T5" fmla="*/ 25 h 51"/>
                  <a:gd name="T6" fmla="*/ 25 w 49"/>
                  <a:gd name="T7" fmla="*/ 51 h 51"/>
                  <a:gd name="T8" fmla="*/ 49 w 49"/>
                  <a:gd name="T9" fmla="*/ 25 h 51"/>
                  <a:gd name="T10" fmla="*/ 36 w 49"/>
                  <a:gd name="T11" fmla="*/ 25 h 51"/>
                  <a:gd name="T12" fmla="*/ 25 w 49"/>
                  <a:gd name="T13" fmla="*/ 37 h 51"/>
                  <a:gd name="T14" fmla="*/ 15 w 49"/>
                  <a:gd name="T15" fmla="*/ 25 h 51"/>
                  <a:gd name="T16" fmla="*/ 25 w 49"/>
                  <a:gd name="T17" fmla="*/ 14 h 51"/>
                  <a:gd name="T18" fmla="*/ 36 w 49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51">
                    <a:moveTo>
                      <a:pt x="49" y="25"/>
                    </a:moveTo>
                    <a:cubicBezTo>
                      <a:pt x="49" y="12"/>
                      <a:pt x="38" y="0"/>
                      <a:pt x="25" y="0"/>
                    </a:cubicBezTo>
                    <a:cubicBezTo>
                      <a:pt x="12" y="0"/>
                      <a:pt x="0" y="12"/>
                      <a:pt x="0" y="25"/>
                    </a:cubicBezTo>
                    <a:cubicBezTo>
                      <a:pt x="0" y="39"/>
                      <a:pt x="12" y="51"/>
                      <a:pt x="25" y="51"/>
                    </a:cubicBezTo>
                    <a:cubicBezTo>
                      <a:pt x="38" y="51"/>
                      <a:pt x="49" y="39"/>
                      <a:pt x="49" y="25"/>
                    </a:cubicBezTo>
                    <a:close/>
                    <a:moveTo>
                      <a:pt x="36" y="25"/>
                    </a:moveTo>
                    <a:cubicBezTo>
                      <a:pt x="36" y="32"/>
                      <a:pt x="31" y="37"/>
                      <a:pt x="25" y="37"/>
                    </a:cubicBezTo>
                    <a:cubicBezTo>
                      <a:pt x="19" y="37"/>
                      <a:pt x="15" y="32"/>
                      <a:pt x="15" y="25"/>
                    </a:cubicBezTo>
                    <a:cubicBezTo>
                      <a:pt x="15" y="19"/>
                      <a:pt x="19" y="14"/>
                      <a:pt x="25" y="14"/>
                    </a:cubicBezTo>
                    <a:cubicBezTo>
                      <a:pt x="31" y="14"/>
                      <a:pt x="36" y="19"/>
                      <a:pt x="36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2" name="Freeform 45">
                <a:extLst>
                  <a:ext uri="{FF2B5EF4-FFF2-40B4-BE49-F238E27FC236}">
                    <a16:creationId xmlns:a16="http://schemas.microsoft.com/office/drawing/2014/main" id="{1F2B89BB-F272-47C8-B7E6-32B1BFCF1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636713" y="2462213"/>
                <a:ext cx="179388" cy="190500"/>
              </a:xfrm>
              <a:custGeom>
                <a:avLst/>
                <a:gdLst>
                  <a:gd name="T0" fmla="*/ 48 w 48"/>
                  <a:gd name="T1" fmla="*/ 25 h 51"/>
                  <a:gd name="T2" fmla="*/ 23 w 48"/>
                  <a:gd name="T3" fmla="*/ 0 h 51"/>
                  <a:gd name="T4" fmla="*/ 0 w 48"/>
                  <a:gd name="T5" fmla="*/ 25 h 51"/>
                  <a:gd name="T6" fmla="*/ 23 w 48"/>
                  <a:gd name="T7" fmla="*/ 51 h 51"/>
                  <a:gd name="T8" fmla="*/ 48 w 48"/>
                  <a:gd name="T9" fmla="*/ 25 h 51"/>
                  <a:gd name="T10" fmla="*/ 35 w 48"/>
                  <a:gd name="T11" fmla="*/ 25 h 51"/>
                  <a:gd name="T12" fmla="*/ 23 w 48"/>
                  <a:gd name="T13" fmla="*/ 37 h 51"/>
                  <a:gd name="T14" fmla="*/ 13 w 48"/>
                  <a:gd name="T15" fmla="*/ 25 h 51"/>
                  <a:gd name="T16" fmla="*/ 23 w 48"/>
                  <a:gd name="T17" fmla="*/ 14 h 51"/>
                  <a:gd name="T18" fmla="*/ 35 w 48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51">
                    <a:moveTo>
                      <a:pt x="48" y="25"/>
                    </a:moveTo>
                    <a:cubicBezTo>
                      <a:pt x="48" y="12"/>
                      <a:pt x="37" y="0"/>
                      <a:pt x="23" y="0"/>
                    </a:cubicBezTo>
                    <a:cubicBezTo>
                      <a:pt x="10" y="0"/>
                      <a:pt x="0" y="12"/>
                      <a:pt x="0" y="25"/>
                    </a:cubicBezTo>
                    <a:cubicBezTo>
                      <a:pt x="0" y="39"/>
                      <a:pt x="10" y="51"/>
                      <a:pt x="23" y="51"/>
                    </a:cubicBezTo>
                    <a:cubicBezTo>
                      <a:pt x="37" y="51"/>
                      <a:pt x="48" y="39"/>
                      <a:pt x="48" y="25"/>
                    </a:cubicBezTo>
                    <a:close/>
                    <a:moveTo>
                      <a:pt x="35" y="25"/>
                    </a:moveTo>
                    <a:cubicBezTo>
                      <a:pt x="35" y="32"/>
                      <a:pt x="29" y="37"/>
                      <a:pt x="23" y="37"/>
                    </a:cubicBezTo>
                    <a:cubicBezTo>
                      <a:pt x="17" y="37"/>
                      <a:pt x="13" y="32"/>
                      <a:pt x="13" y="25"/>
                    </a:cubicBezTo>
                    <a:cubicBezTo>
                      <a:pt x="13" y="19"/>
                      <a:pt x="17" y="14"/>
                      <a:pt x="23" y="14"/>
                    </a:cubicBezTo>
                    <a:cubicBezTo>
                      <a:pt x="29" y="14"/>
                      <a:pt x="35" y="19"/>
                      <a:pt x="35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3" name="Freeform 46">
                <a:extLst>
                  <a:ext uri="{FF2B5EF4-FFF2-40B4-BE49-F238E27FC236}">
                    <a16:creationId xmlns:a16="http://schemas.microsoft.com/office/drawing/2014/main" id="{B94B80ED-AA50-44D8-9C22-53CE9DD60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38388" y="2473325"/>
                <a:ext cx="79375" cy="82550"/>
              </a:xfrm>
              <a:custGeom>
                <a:avLst/>
                <a:gdLst>
                  <a:gd name="T0" fmla="*/ 0 w 21"/>
                  <a:gd name="T1" fmla="*/ 0 h 22"/>
                  <a:gd name="T2" fmla="*/ 0 w 21"/>
                  <a:gd name="T3" fmla="*/ 20 h 22"/>
                  <a:gd name="T4" fmla="*/ 4 w 21"/>
                  <a:gd name="T5" fmla="*/ 22 h 22"/>
                  <a:gd name="T6" fmla="*/ 11 w 21"/>
                  <a:gd name="T7" fmla="*/ 22 h 22"/>
                  <a:gd name="T8" fmla="*/ 11 w 21"/>
                  <a:gd name="T9" fmla="*/ 22 h 22"/>
                  <a:gd name="T10" fmla="*/ 21 w 21"/>
                  <a:gd name="T11" fmla="*/ 0 h 22"/>
                  <a:gd name="T12" fmla="*/ 0 w 21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2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2"/>
                      <a:pt x="4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13"/>
                      <a:pt x="15" y="5"/>
                      <a:pt x="2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4" name="Freeform 47">
                <a:extLst>
                  <a:ext uri="{FF2B5EF4-FFF2-40B4-BE49-F238E27FC236}">
                    <a16:creationId xmlns:a16="http://schemas.microsoft.com/office/drawing/2014/main" id="{4BFC88A1-CD4E-4131-92BF-9B65E4504E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38388" y="2127250"/>
                <a:ext cx="646113" cy="330200"/>
              </a:xfrm>
              <a:custGeom>
                <a:avLst/>
                <a:gdLst>
                  <a:gd name="T0" fmla="*/ 169 w 172"/>
                  <a:gd name="T1" fmla="*/ 0 h 88"/>
                  <a:gd name="T2" fmla="*/ 4 w 172"/>
                  <a:gd name="T3" fmla="*/ 0 h 88"/>
                  <a:gd name="T4" fmla="*/ 0 w 172"/>
                  <a:gd name="T5" fmla="*/ 3 h 88"/>
                  <a:gd name="T6" fmla="*/ 0 w 172"/>
                  <a:gd name="T7" fmla="*/ 88 h 88"/>
                  <a:gd name="T8" fmla="*/ 26 w 172"/>
                  <a:gd name="T9" fmla="*/ 88 h 88"/>
                  <a:gd name="T10" fmla="*/ 41 w 172"/>
                  <a:gd name="T11" fmla="*/ 83 h 88"/>
                  <a:gd name="T12" fmla="*/ 56 w 172"/>
                  <a:gd name="T13" fmla="*/ 88 h 88"/>
                  <a:gd name="T14" fmla="*/ 172 w 172"/>
                  <a:gd name="T15" fmla="*/ 88 h 88"/>
                  <a:gd name="T16" fmla="*/ 172 w 172"/>
                  <a:gd name="T17" fmla="*/ 3 h 88"/>
                  <a:gd name="T18" fmla="*/ 169 w 172"/>
                  <a:gd name="T1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88">
                    <a:moveTo>
                      <a:pt x="169" y="0"/>
                    </a:moveTo>
                    <a:cubicBezTo>
                      <a:pt x="0" y="0"/>
                      <a:pt x="4" y="0"/>
                      <a:pt x="4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31" y="85"/>
                      <a:pt x="36" y="83"/>
                      <a:pt x="41" y="83"/>
                    </a:cubicBezTo>
                    <a:cubicBezTo>
                      <a:pt x="47" y="83"/>
                      <a:pt x="52" y="85"/>
                      <a:pt x="56" y="88"/>
                    </a:cubicBezTo>
                    <a:cubicBezTo>
                      <a:pt x="172" y="88"/>
                      <a:pt x="172" y="88"/>
                      <a:pt x="172" y="88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72" y="1"/>
                      <a:pt x="171" y="0"/>
                      <a:pt x="1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5" name="Freeform 48">
                <a:extLst>
                  <a:ext uri="{FF2B5EF4-FFF2-40B4-BE49-F238E27FC236}">
                    <a16:creationId xmlns:a16="http://schemas.microsoft.com/office/drawing/2014/main" id="{59B9304D-A9E4-43BC-B1BD-E7B33F0C13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109788" y="2198688"/>
                <a:ext cx="731838" cy="357188"/>
              </a:xfrm>
              <a:custGeom>
                <a:avLst/>
                <a:gdLst>
                  <a:gd name="T0" fmla="*/ 176 w 195"/>
                  <a:gd name="T1" fmla="*/ 4 h 95"/>
                  <a:gd name="T2" fmla="*/ 171 w 195"/>
                  <a:gd name="T3" fmla="*/ 2 h 95"/>
                  <a:gd name="T4" fmla="*/ 123 w 195"/>
                  <a:gd name="T5" fmla="*/ 2 h 95"/>
                  <a:gd name="T6" fmla="*/ 119 w 195"/>
                  <a:gd name="T7" fmla="*/ 4 h 95"/>
                  <a:gd name="T8" fmla="*/ 119 w 195"/>
                  <a:gd name="T9" fmla="*/ 73 h 95"/>
                  <a:gd name="T10" fmla="*/ 108 w 195"/>
                  <a:gd name="T11" fmla="*/ 73 h 95"/>
                  <a:gd name="T12" fmla="*/ 108 w 195"/>
                  <a:gd name="T13" fmla="*/ 73 h 95"/>
                  <a:gd name="T14" fmla="*/ 95 w 195"/>
                  <a:gd name="T15" fmla="*/ 73 h 95"/>
                  <a:gd name="T16" fmla="*/ 55 w 195"/>
                  <a:gd name="T17" fmla="*/ 73 h 95"/>
                  <a:gd name="T18" fmla="*/ 0 w 195"/>
                  <a:gd name="T19" fmla="*/ 73 h 95"/>
                  <a:gd name="T20" fmla="*/ 9 w 195"/>
                  <a:gd name="T21" fmla="*/ 95 h 95"/>
                  <a:gd name="T22" fmla="*/ 9 w 195"/>
                  <a:gd name="T23" fmla="*/ 95 h 95"/>
                  <a:gd name="T24" fmla="*/ 45 w 195"/>
                  <a:gd name="T25" fmla="*/ 95 h 95"/>
                  <a:gd name="T26" fmla="*/ 104 w 195"/>
                  <a:gd name="T27" fmla="*/ 95 h 95"/>
                  <a:gd name="T28" fmla="*/ 108 w 195"/>
                  <a:gd name="T29" fmla="*/ 95 h 95"/>
                  <a:gd name="T30" fmla="*/ 108 w 195"/>
                  <a:gd name="T31" fmla="*/ 95 h 95"/>
                  <a:gd name="T32" fmla="*/ 120 w 195"/>
                  <a:gd name="T33" fmla="*/ 95 h 95"/>
                  <a:gd name="T34" fmla="*/ 120 w 195"/>
                  <a:gd name="T35" fmla="*/ 88 h 95"/>
                  <a:gd name="T36" fmla="*/ 149 w 195"/>
                  <a:gd name="T37" fmla="*/ 64 h 95"/>
                  <a:gd name="T38" fmla="*/ 180 w 195"/>
                  <a:gd name="T39" fmla="*/ 95 h 95"/>
                  <a:gd name="T40" fmla="*/ 195 w 195"/>
                  <a:gd name="T41" fmla="*/ 95 h 95"/>
                  <a:gd name="T42" fmla="*/ 195 w 195"/>
                  <a:gd name="T43" fmla="*/ 48 h 95"/>
                  <a:gd name="T44" fmla="*/ 176 w 195"/>
                  <a:gd name="T45" fmla="*/ 4 h 95"/>
                  <a:gd name="T46" fmla="*/ 141 w 195"/>
                  <a:gd name="T47" fmla="*/ 39 h 95"/>
                  <a:gd name="T48" fmla="*/ 141 w 195"/>
                  <a:gd name="T49" fmla="*/ 10 h 95"/>
                  <a:gd name="T50" fmla="*/ 167 w 195"/>
                  <a:gd name="T51" fmla="*/ 10 h 95"/>
                  <a:gd name="T52" fmla="*/ 179 w 195"/>
                  <a:gd name="T53" fmla="*/ 39 h 95"/>
                  <a:gd name="T54" fmla="*/ 141 w 195"/>
                  <a:gd name="T55" fmla="*/ 3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5" h="95">
                    <a:moveTo>
                      <a:pt x="176" y="4"/>
                    </a:moveTo>
                    <a:cubicBezTo>
                      <a:pt x="176" y="0"/>
                      <a:pt x="171" y="2"/>
                      <a:pt x="171" y="2"/>
                    </a:cubicBezTo>
                    <a:cubicBezTo>
                      <a:pt x="171" y="2"/>
                      <a:pt x="171" y="2"/>
                      <a:pt x="123" y="2"/>
                    </a:cubicBezTo>
                    <a:cubicBezTo>
                      <a:pt x="123" y="2"/>
                      <a:pt x="119" y="0"/>
                      <a:pt x="119" y="4"/>
                    </a:cubicBezTo>
                    <a:cubicBezTo>
                      <a:pt x="119" y="4"/>
                      <a:pt x="119" y="4"/>
                      <a:pt x="119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95" y="73"/>
                      <a:pt x="95" y="73"/>
                      <a:pt x="95" y="73"/>
                    </a:cubicBezTo>
                    <a:cubicBezTo>
                      <a:pt x="55" y="73"/>
                      <a:pt x="55" y="73"/>
                      <a:pt x="55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6" y="78"/>
                      <a:pt x="9" y="86"/>
                      <a:pt x="9" y="95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44" y="95"/>
                      <a:pt x="45" y="95"/>
                      <a:pt x="45" y="95"/>
                    </a:cubicBezTo>
                    <a:cubicBezTo>
                      <a:pt x="104" y="95"/>
                      <a:pt x="104" y="95"/>
                      <a:pt x="104" y="95"/>
                    </a:cubicBezTo>
                    <a:cubicBezTo>
                      <a:pt x="107" y="95"/>
                      <a:pt x="107" y="95"/>
                      <a:pt x="108" y="95"/>
                    </a:cubicBezTo>
                    <a:cubicBezTo>
                      <a:pt x="108" y="95"/>
                      <a:pt x="108" y="95"/>
                      <a:pt x="108" y="95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0" y="88"/>
                      <a:pt x="120" y="88"/>
                      <a:pt x="120" y="88"/>
                    </a:cubicBezTo>
                    <a:cubicBezTo>
                      <a:pt x="123" y="75"/>
                      <a:pt x="135" y="64"/>
                      <a:pt x="149" y="64"/>
                    </a:cubicBezTo>
                    <a:cubicBezTo>
                      <a:pt x="165" y="64"/>
                      <a:pt x="180" y="78"/>
                      <a:pt x="180" y="95"/>
                    </a:cubicBezTo>
                    <a:cubicBezTo>
                      <a:pt x="180" y="95"/>
                      <a:pt x="180" y="95"/>
                      <a:pt x="195" y="95"/>
                    </a:cubicBezTo>
                    <a:cubicBezTo>
                      <a:pt x="195" y="48"/>
                      <a:pt x="195" y="48"/>
                      <a:pt x="195" y="48"/>
                    </a:cubicBezTo>
                    <a:cubicBezTo>
                      <a:pt x="195" y="48"/>
                      <a:pt x="177" y="8"/>
                      <a:pt x="176" y="4"/>
                    </a:cubicBezTo>
                    <a:close/>
                    <a:moveTo>
                      <a:pt x="141" y="39"/>
                    </a:moveTo>
                    <a:cubicBezTo>
                      <a:pt x="141" y="39"/>
                      <a:pt x="141" y="39"/>
                      <a:pt x="141" y="10"/>
                    </a:cubicBezTo>
                    <a:cubicBezTo>
                      <a:pt x="141" y="10"/>
                      <a:pt x="141" y="10"/>
                      <a:pt x="167" y="10"/>
                    </a:cubicBezTo>
                    <a:cubicBezTo>
                      <a:pt x="179" y="39"/>
                      <a:pt x="179" y="39"/>
                      <a:pt x="179" y="39"/>
                    </a:cubicBezTo>
                    <a:cubicBezTo>
                      <a:pt x="179" y="39"/>
                      <a:pt x="172" y="39"/>
                      <a:pt x="141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6" name="Freeform 49">
                <a:extLst>
                  <a:ext uri="{FF2B5EF4-FFF2-40B4-BE49-F238E27FC236}">
                    <a16:creationId xmlns:a16="http://schemas.microsoft.com/office/drawing/2014/main" id="{C8DBC050-D789-46C2-B613-253FCECF2A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01925" y="2449513"/>
                <a:ext cx="398463" cy="98425"/>
              </a:xfrm>
              <a:custGeom>
                <a:avLst/>
                <a:gdLst>
                  <a:gd name="T0" fmla="*/ 106 w 106"/>
                  <a:gd name="T1" fmla="*/ 15 h 26"/>
                  <a:gd name="T2" fmla="*/ 101 w 106"/>
                  <a:gd name="T3" fmla="*/ 12 h 26"/>
                  <a:gd name="T4" fmla="*/ 83 w 106"/>
                  <a:gd name="T5" fmla="*/ 17 h 26"/>
                  <a:gd name="T6" fmla="*/ 81 w 106"/>
                  <a:gd name="T7" fmla="*/ 8 h 26"/>
                  <a:gd name="T8" fmla="*/ 89 w 106"/>
                  <a:gd name="T9" fmla="*/ 8 h 26"/>
                  <a:gd name="T10" fmla="*/ 93 w 106"/>
                  <a:gd name="T11" fmla="*/ 4 h 26"/>
                  <a:gd name="T12" fmla="*/ 89 w 106"/>
                  <a:gd name="T13" fmla="*/ 0 h 26"/>
                  <a:gd name="T14" fmla="*/ 4 w 106"/>
                  <a:gd name="T15" fmla="*/ 0 h 26"/>
                  <a:gd name="T16" fmla="*/ 0 w 106"/>
                  <a:gd name="T17" fmla="*/ 4 h 26"/>
                  <a:gd name="T18" fmla="*/ 4 w 106"/>
                  <a:gd name="T19" fmla="*/ 8 h 26"/>
                  <a:gd name="T20" fmla="*/ 73 w 106"/>
                  <a:gd name="T21" fmla="*/ 8 h 26"/>
                  <a:gd name="T22" fmla="*/ 77 w 106"/>
                  <a:gd name="T23" fmla="*/ 23 h 26"/>
                  <a:gd name="T24" fmla="*/ 78 w 106"/>
                  <a:gd name="T25" fmla="*/ 25 h 26"/>
                  <a:gd name="T26" fmla="*/ 80 w 106"/>
                  <a:gd name="T27" fmla="*/ 26 h 26"/>
                  <a:gd name="T28" fmla="*/ 81 w 106"/>
                  <a:gd name="T29" fmla="*/ 26 h 26"/>
                  <a:gd name="T30" fmla="*/ 103 w 106"/>
                  <a:gd name="T31" fmla="*/ 20 h 26"/>
                  <a:gd name="T32" fmla="*/ 106 w 106"/>
                  <a:gd name="T33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6" h="26">
                    <a:moveTo>
                      <a:pt x="106" y="15"/>
                    </a:moveTo>
                    <a:cubicBezTo>
                      <a:pt x="105" y="13"/>
                      <a:pt x="103" y="12"/>
                      <a:pt x="101" y="12"/>
                    </a:cubicBezTo>
                    <a:cubicBezTo>
                      <a:pt x="83" y="17"/>
                      <a:pt x="83" y="17"/>
                      <a:pt x="83" y="17"/>
                    </a:cubicBezTo>
                    <a:cubicBezTo>
                      <a:pt x="81" y="8"/>
                      <a:pt x="81" y="8"/>
                      <a:pt x="81" y="8"/>
                    </a:cubicBezTo>
                    <a:cubicBezTo>
                      <a:pt x="89" y="8"/>
                      <a:pt x="89" y="8"/>
                      <a:pt x="89" y="8"/>
                    </a:cubicBezTo>
                    <a:cubicBezTo>
                      <a:pt x="91" y="8"/>
                      <a:pt x="93" y="6"/>
                      <a:pt x="93" y="4"/>
                    </a:cubicBezTo>
                    <a:cubicBezTo>
                      <a:pt x="93" y="2"/>
                      <a:pt x="91" y="0"/>
                      <a:pt x="8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6"/>
                      <a:pt x="1" y="8"/>
                      <a:pt x="4" y="8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7" y="24"/>
                      <a:pt x="77" y="25"/>
                      <a:pt x="78" y="25"/>
                    </a:cubicBezTo>
                    <a:cubicBezTo>
                      <a:pt x="79" y="26"/>
                      <a:pt x="80" y="26"/>
                      <a:pt x="80" y="26"/>
                    </a:cubicBezTo>
                    <a:cubicBezTo>
                      <a:pt x="81" y="26"/>
                      <a:pt x="81" y="26"/>
                      <a:pt x="81" y="26"/>
                    </a:cubicBezTo>
                    <a:cubicBezTo>
                      <a:pt x="103" y="20"/>
                      <a:pt x="103" y="20"/>
                      <a:pt x="103" y="20"/>
                    </a:cubicBezTo>
                    <a:cubicBezTo>
                      <a:pt x="105" y="19"/>
                      <a:pt x="106" y="17"/>
                      <a:pt x="10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EA1EF2AB-CF4A-421F-8596-D2EC583426FC}"/>
                </a:ext>
              </a:extLst>
            </p:cNvPr>
            <p:cNvSpPr/>
            <p:nvPr/>
          </p:nvSpPr>
          <p:spPr>
            <a:xfrm>
              <a:off x="1552575" y="1434557"/>
              <a:ext cx="185899" cy="1858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>
              <a:spAutoFit/>
            </a:bodyPr>
            <a:lstStyle/>
            <a:p>
              <a:pPr algn="l" rtl="0"/>
              <a:endParaRPr lang="fr-FR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97" name="Freihandform: Form 396">
            <a:extLst>
              <a:ext uri="{FF2B5EF4-FFF2-40B4-BE49-F238E27FC236}">
                <a16:creationId xmlns:a16="http://schemas.microsoft.com/office/drawing/2014/main" id="{651E9398-26E2-4214-A7C0-A62FA4327899}"/>
              </a:ext>
            </a:extLst>
          </p:cNvPr>
          <p:cNvSpPr/>
          <p:nvPr/>
        </p:nvSpPr>
        <p:spPr>
          <a:xfrm>
            <a:off x="6193154" y="648653"/>
            <a:ext cx="733425" cy="365760"/>
          </a:xfrm>
          <a:custGeom>
            <a:avLst/>
            <a:gdLst>
              <a:gd name="connsiteX0" fmla="*/ 762000 w 762000"/>
              <a:gd name="connsiteY0" fmla="*/ 365760 h 365760"/>
              <a:gd name="connsiteX1" fmla="*/ 388620 w 762000"/>
              <a:gd name="connsiteY1" fmla="*/ 91440 h 365760"/>
              <a:gd name="connsiteX2" fmla="*/ 0 w 762000"/>
              <a:gd name="connsiteY2" fmla="*/ 0 h 365760"/>
              <a:gd name="connsiteX0" fmla="*/ 723900 w 723900"/>
              <a:gd name="connsiteY0" fmla="*/ 503872 h 503872"/>
              <a:gd name="connsiteX1" fmla="*/ 388620 w 723900"/>
              <a:gd name="connsiteY1" fmla="*/ 91440 h 503872"/>
              <a:gd name="connsiteX2" fmla="*/ 0 w 723900"/>
              <a:gd name="connsiteY2" fmla="*/ 0 h 503872"/>
              <a:gd name="connsiteX0" fmla="*/ 733425 w 733425"/>
              <a:gd name="connsiteY0" fmla="*/ 429525 h 429525"/>
              <a:gd name="connsiteX1" fmla="*/ 398145 w 733425"/>
              <a:gd name="connsiteY1" fmla="*/ 17093 h 429525"/>
              <a:gd name="connsiteX2" fmla="*/ 0 w 733425"/>
              <a:gd name="connsiteY2" fmla="*/ 63765 h 429525"/>
              <a:gd name="connsiteX0" fmla="*/ 733425 w 733425"/>
              <a:gd name="connsiteY0" fmla="*/ 365760 h 365760"/>
              <a:gd name="connsiteX1" fmla="*/ 412432 w 733425"/>
              <a:gd name="connsiteY1" fmla="*/ 77153 h 365760"/>
              <a:gd name="connsiteX2" fmla="*/ 0 w 733425"/>
              <a:gd name="connsiteY2" fmla="*/ 0 h 365760"/>
              <a:gd name="connsiteX0" fmla="*/ 733425 w 733425"/>
              <a:gd name="connsiteY0" fmla="*/ 365760 h 365760"/>
              <a:gd name="connsiteX1" fmla="*/ 412432 w 733425"/>
              <a:gd name="connsiteY1" fmla="*/ 77153 h 365760"/>
              <a:gd name="connsiteX2" fmla="*/ 0 w 733425"/>
              <a:gd name="connsiteY2" fmla="*/ 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425" h="365760">
                <a:moveTo>
                  <a:pt x="733425" y="365760"/>
                </a:moveTo>
                <a:cubicBezTo>
                  <a:pt x="619760" y="216217"/>
                  <a:pt x="534670" y="138113"/>
                  <a:pt x="412432" y="77153"/>
                </a:cubicBezTo>
                <a:cubicBezTo>
                  <a:pt x="290194" y="16193"/>
                  <a:pt x="130810" y="15240"/>
                  <a:pt x="0" y="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98" name="Freihandform: Form 397">
            <a:extLst>
              <a:ext uri="{FF2B5EF4-FFF2-40B4-BE49-F238E27FC236}">
                <a16:creationId xmlns:a16="http://schemas.microsoft.com/office/drawing/2014/main" id="{8A19F8BF-598B-4317-9CDB-3CD9B2D4469C}"/>
              </a:ext>
            </a:extLst>
          </p:cNvPr>
          <p:cNvSpPr/>
          <p:nvPr/>
        </p:nvSpPr>
        <p:spPr>
          <a:xfrm>
            <a:off x="7613333" y="975310"/>
            <a:ext cx="754380" cy="464870"/>
          </a:xfrm>
          <a:custGeom>
            <a:avLst/>
            <a:gdLst>
              <a:gd name="connsiteX0" fmla="*/ 0 w 754380"/>
              <a:gd name="connsiteY0" fmla="*/ 0 h 464820"/>
              <a:gd name="connsiteX1" fmla="*/ 624840 w 754380"/>
              <a:gd name="connsiteY1" fmla="*/ 160020 h 464820"/>
              <a:gd name="connsiteX2" fmla="*/ 754380 w 754380"/>
              <a:gd name="connsiteY2" fmla="*/ 464820 h 464820"/>
              <a:gd name="connsiteX0" fmla="*/ 0 w 754380"/>
              <a:gd name="connsiteY0" fmla="*/ 0 h 464820"/>
              <a:gd name="connsiteX1" fmla="*/ 491490 w 754380"/>
              <a:gd name="connsiteY1" fmla="*/ 79057 h 464820"/>
              <a:gd name="connsiteX2" fmla="*/ 754380 w 754380"/>
              <a:gd name="connsiteY2" fmla="*/ 464820 h 464820"/>
              <a:gd name="connsiteX0" fmla="*/ 0 w 754380"/>
              <a:gd name="connsiteY0" fmla="*/ 263 h 465083"/>
              <a:gd name="connsiteX1" fmla="*/ 491490 w 754380"/>
              <a:gd name="connsiteY1" fmla="*/ 79320 h 465083"/>
              <a:gd name="connsiteX2" fmla="*/ 754380 w 754380"/>
              <a:gd name="connsiteY2" fmla="*/ 465083 h 465083"/>
              <a:gd name="connsiteX0" fmla="*/ 0 w 754380"/>
              <a:gd name="connsiteY0" fmla="*/ 50 h 464870"/>
              <a:gd name="connsiteX1" fmla="*/ 501015 w 754380"/>
              <a:gd name="connsiteY1" fmla="*/ 112445 h 464870"/>
              <a:gd name="connsiteX2" fmla="*/ 754380 w 754380"/>
              <a:gd name="connsiteY2" fmla="*/ 464870 h 46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54380" h="464870">
                <a:moveTo>
                  <a:pt x="0" y="50"/>
                </a:moveTo>
                <a:cubicBezTo>
                  <a:pt x="330517" y="-1537"/>
                  <a:pt x="375285" y="34975"/>
                  <a:pt x="501015" y="112445"/>
                </a:cubicBezTo>
                <a:cubicBezTo>
                  <a:pt x="626745" y="189915"/>
                  <a:pt x="752475" y="351205"/>
                  <a:pt x="754380" y="46487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99" name="Freihandform: Form 398">
            <a:extLst>
              <a:ext uri="{FF2B5EF4-FFF2-40B4-BE49-F238E27FC236}">
                <a16:creationId xmlns:a16="http://schemas.microsoft.com/office/drawing/2014/main" id="{0083DCCA-78D0-4517-973A-D6290443270D}"/>
              </a:ext>
            </a:extLst>
          </p:cNvPr>
          <p:cNvSpPr/>
          <p:nvPr/>
        </p:nvSpPr>
        <p:spPr>
          <a:xfrm>
            <a:off x="7277100" y="1730692"/>
            <a:ext cx="727710" cy="448628"/>
          </a:xfrm>
          <a:custGeom>
            <a:avLst/>
            <a:gdLst>
              <a:gd name="connsiteX0" fmla="*/ 708660 w 708660"/>
              <a:gd name="connsiteY0" fmla="*/ 0 h 358140"/>
              <a:gd name="connsiteX1" fmla="*/ 205740 w 708660"/>
              <a:gd name="connsiteY1" fmla="*/ 129540 h 358140"/>
              <a:gd name="connsiteX2" fmla="*/ 0 w 708660"/>
              <a:gd name="connsiteY2" fmla="*/ 358140 h 358140"/>
              <a:gd name="connsiteX0" fmla="*/ 727710 w 727710"/>
              <a:gd name="connsiteY0" fmla="*/ 0 h 448628"/>
              <a:gd name="connsiteX1" fmla="*/ 205740 w 727710"/>
              <a:gd name="connsiteY1" fmla="*/ 220028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7710" h="448628">
                <a:moveTo>
                  <a:pt x="727710" y="0"/>
                </a:moveTo>
                <a:cubicBezTo>
                  <a:pt x="530543" y="11113"/>
                  <a:pt x="398462" y="45244"/>
                  <a:pt x="277177" y="120015"/>
                </a:cubicBezTo>
                <a:cubicBezTo>
                  <a:pt x="155892" y="194786"/>
                  <a:pt x="91440" y="278448"/>
                  <a:pt x="0" y="44862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00" name="Freihandform: Form 399">
            <a:extLst>
              <a:ext uri="{FF2B5EF4-FFF2-40B4-BE49-F238E27FC236}">
                <a16:creationId xmlns:a16="http://schemas.microsoft.com/office/drawing/2014/main" id="{D08A1F05-7456-4FA7-8A6E-AAA8E5031C6A}"/>
              </a:ext>
            </a:extLst>
          </p:cNvPr>
          <p:cNvSpPr/>
          <p:nvPr/>
        </p:nvSpPr>
        <p:spPr>
          <a:xfrm>
            <a:off x="7635240" y="4038600"/>
            <a:ext cx="1036320" cy="1112520"/>
          </a:xfrm>
          <a:custGeom>
            <a:avLst/>
            <a:gdLst>
              <a:gd name="connsiteX0" fmla="*/ 0 w 1036320"/>
              <a:gd name="connsiteY0" fmla="*/ 0 h 1112520"/>
              <a:gd name="connsiteX1" fmla="*/ 571500 w 1036320"/>
              <a:gd name="connsiteY1" fmla="*/ 358140 h 1112520"/>
              <a:gd name="connsiteX2" fmla="*/ 1036320 w 1036320"/>
              <a:gd name="connsiteY2" fmla="*/ 1112520 h 111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6320" h="1112520">
                <a:moveTo>
                  <a:pt x="0" y="0"/>
                </a:moveTo>
                <a:cubicBezTo>
                  <a:pt x="199390" y="86360"/>
                  <a:pt x="398780" y="172720"/>
                  <a:pt x="571500" y="358140"/>
                </a:cubicBezTo>
                <a:cubicBezTo>
                  <a:pt x="744220" y="543560"/>
                  <a:pt x="890270" y="828040"/>
                  <a:pt x="1036320" y="111252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01" name="Freihandform: Form 400">
            <a:extLst>
              <a:ext uri="{FF2B5EF4-FFF2-40B4-BE49-F238E27FC236}">
                <a16:creationId xmlns:a16="http://schemas.microsoft.com/office/drawing/2014/main" id="{8AA8E5E3-E57F-4950-B727-1FC4820EB07D}"/>
              </a:ext>
            </a:extLst>
          </p:cNvPr>
          <p:cNvSpPr/>
          <p:nvPr/>
        </p:nvSpPr>
        <p:spPr>
          <a:xfrm>
            <a:off x="7229475" y="3202305"/>
            <a:ext cx="727710" cy="448628"/>
          </a:xfrm>
          <a:custGeom>
            <a:avLst/>
            <a:gdLst>
              <a:gd name="connsiteX0" fmla="*/ 708660 w 708660"/>
              <a:gd name="connsiteY0" fmla="*/ 0 h 358140"/>
              <a:gd name="connsiteX1" fmla="*/ 205740 w 708660"/>
              <a:gd name="connsiteY1" fmla="*/ 129540 h 358140"/>
              <a:gd name="connsiteX2" fmla="*/ 0 w 708660"/>
              <a:gd name="connsiteY2" fmla="*/ 358140 h 358140"/>
              <a:gd name="connsiteX0" fmla="*/ 727710 w 727710"/>
              <a:gd name="connsiteY0" fmla="*/ 0 h 448628"/>
              <a:gd name="connsiteX1" fmla="*/ 205740 w 727710"/>
              <a:gd name="connsiteY1" fmla="*/ 220028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7710" h="448628">
                <a:moveTo>
                  <a:pt x="727710" y="0"/>
                </a:moveTo>
                <a:cubicBezTo>
                  <a:pt x="530543" y="11113"/>
                  <a:pt x="398462" y="45244"/>
                  <a:pt x="277177" y="120015"/>
                </a:cubicBezTo>
                <a:cubicBezTo>
                  <a:pt x="155892" y="194786"/>
                  <a:pt x="91440" y="278448"/>
                  <a:pt x="0" y="44862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02" name="Freihandform: Form 401">
            <a:extLst>
              <a:ext uri="{FF2B5EF4-FFF2-40B4-BE49-F238E27FC236}">
                <a16:creationId xmlns:a16="http://schemas.microsoft.com/office/drawing/2014/main" id="{291514B0-F28B-4960-9D9B-6053ABA9F4EE}"/>
              </a:ext>
            </a:extLst>
          </p:cNvPr>
          <p:cNvSpPr/>
          <p:nvPr/>
        </p:nvSpPr>
        <p:spPr>
          <a:xfrm>
            <a:off x="7637144" y="2418366"/>
            <a:ext cx="687705" cy="498188"/>
          </a:xfrm>
          <a:custGeom>
            <a:avLst/>
            <a:gdLst>
              <a:gd name="connsiteX0" fmla="*/ 0 w 754380"/>
              <a:gd name="connsiteY0" fmla="*/ 0 h 464820"/>
              <a:gd name="connsiteX1" fmla="*/ 624840 w 754380"/>
              <a:gd name="connsiteY1" fmla="*/ 160020 h 464820"/>
              <a:gd name="connsiteX2" fmla="*/ 754380 w 754380"/>
              <a:gd name="connsiteY2" fmla="*/ 464820 h 464820"/>
              <a:gd name="connsiteX0" fmla="*/ 0 w 754380"/>
              <a:gd name="connsiteY0" fmla="*/ 0 h 464820"/>
              <a:gd name="connsiteX1" fmla="*/ 491490 w 754380"/>
              <a:gd name="connsiteY1" fmla="*/ 79057 h 464820"/>
              <a:gd name="connsiteX2" fmla="*/ 754380 w 754380"/>
              <a:gd name="connsiteY2" fmla="*/ 464820 h 464820"/>
              <a:gd name="connsiteX0" fmla="*/ 0 w 754380"/>
              <a:gd name="connsiteY0" fmla="*/ 263 h 465083"/>
              <a:gd name="connsiteX1" fmla="*/ 491490 w 754380"/>
              <a:gd name="connsiteY1" fmla="*/ 79320 h 465083"/>
              <a:gd name="connsiteX2" fmla="*/ 754380 w 754380"/>
              <a:gd name="connsiteY2" fmla="*/ 465083 h 465083"/>
              <a:gd name="connsiteX0" fmla="*/ 0 w 754380"/>
              <a:gd name="connsiteY0" fmla="*/ 50 h 464870"/>
              <a:gd name="connsiteX1" fmla="*/ 501015 w 754380"/>
              <a:gd name="connsiteY1" fmla="*/ 112445 h 464870"/>
              <a:gd name="connsiteX2" fmla="*/ 754380 w 754380"/>
              <a:gd name="connsiteY2" fmla="*/ 464870 h 464870"/>
              <a:gd name="connsiteX0" fmla="*/ 0 w 687705"/>
              <a:gd name="connsiteY0" fmla="*/ 57 h 498214"/>
              <a:gd name="connsiteX1" fmla="*/ 501015 w 687705"/>
              <a:gd name="connsiteY1" fmla="*/ 112452 h 498214"/>
              <a:gd name="connsiteX2" fmla="*/ 687705 w 687705"/>
              <a:gd name="connsiteY2" fmla="*/ 498214 h 498214"/>
              <a:gd name="connsiteX0" fmla="*/ 0 w 687705"/>
              <a:gd name="connsiteY0" fmla="*/ 31 h 498188"/>
              <a:gd name="connsiteX1" fmla="*/ 539115 w 687705"/>
              <a:gd name="connsiteY1" fmla="*/ 141001 h 498188"/>
              <a:gd name="connsiteX2" fmla="*/ 687705 w 687705"/>
              <a:gd name="connsiteY2" fmla="*/ 498188 h 49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7705" h="498188">
                <a:moveTo>
                  <a:pt x="0" y="31"/>
                </a:moveTo>
                <a:cubicBezTo>
                  <a:pt x="330517" y="-1556"/>
                  <a:pt x="424498" y="57975"/>
                  <a:pt x="539115" y="141001"/>
                </a:cubicBezTo>
                <a:cubicBezTo>
                  <a:pt x="653733" y="224027"/>
                  <a:pt x="685800" y="384523"/>
                  <a:pt x="687705" y="49818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83733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4" name="Picture 36">
            <a:extLst>
              <a:ext uri="{FF2B5EF4-FFF2-40B4-BE49-F238E27FC236}">
                <a16:creationId xmlns:a16="http://schemas.microsoft.com/office/drawing/2014/main" id="{BDD21FAD-8F4E-4466-AD0E-F4233123CF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3688" y="2319777"/>
            <a:ext cx="5299237" cy="2337907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17796B2-12F1-4AAA-8482-383F9901DC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37410" y="0"/>
            <a:ext cx="3006589" cy="5143500"/>
          </a:xfrm>
        </p:spPr>
        <p:txBody>
          <a:bodyPr/>
          <a:lstStyle/>
          <a:p>
            <a:pPr algn="l" rtl="0"/>
            <a:r>
              <a:rPr lang="fr-FR" b="0" i="0" u="none" baseline="0"/>
              <a:t> </a:t>
            </a:r>
            <a:endParaRPr lang="fr-FR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D3F938-DD09-4A2C-8C19-09760F0CC6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  <a:endParaRPr lang="fr-FR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BBB826-20D6-4809-8C59-CA9F260038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11</a:t>
            </a:fld>
            <a:endParaRPr lang="fr-FR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29140B4-9CC6-4264-8D66-5DA5BEA63EB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4001" y="1254305"/>
            <a:ext cx="5298924" cy="662771"/>
          </a:xfrm>
        </p:spPr>
        <p:txBody>
          <a:bodyPr anchor="t" anchorCtr="0"/>
          <a:lstStyle/>
          <a:p>
            <a:pPr lvl="1" algn="l" rtl="0"/>
            <a:r>
              <a:rPr lang="fr-FR" sz="1400" b="0" i="0" u="none" baseline="0" dirty="0"/>
              <a:t>Capacités d’inspection et de classement sur tous les sites afin d’</a:t>
            </a:r>
            <a:r>
              <a:rPr lang="fr-FR" sz="1400" b="1" i="0" u="none" baseline="0" dirty="0"/>
              <a:t>accélérer le retour au stock disponibl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D47F287-5D85-4694-BA2D-ED70D15F4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5593510" cy="493950"/>
          </a:xfrm>
        </p:spPr>
        <p:txBody>
          <a:bodyPr/>
          <a:lstStyle/>
          <a:p>
            <a:pPr algn="l" rtl="0"/>
            <a:r>
              <a:rPr lang="fr-FR" b="1" i="0" u="none" baseline="0"/>
              <a:t>Qu’est-ce que le European Fulfillment Network ?</a:t>
            </a:r>
            <a:endParaRPr lang="fr-FR" dirty="0"/>
          </a:p>
        </p:txBody>
      </p:sp>
      <p:sp>
        <p:nvSpPr>
          <p:cNvPr id="192" name="Rectangle 42">
            <a:extLst>
              <a:ext uri="{FF2B5EF4-FFF2-40B4-BE49-F238E27FC236}">
                <a16:creationId xmlns:a16="http://schemas.microsoft.com/office/drawing/2014/main" id="{0E8FF2E2-3700-4316-A404-F11AB3CE1AED}"/>
              </a:ext>
            </a:extLst>
          </p:cNvPr>
          <p:cNvSpPr/>
          <p:nvPr/>
        </p:nvSpPr>
        <p:spPr>
          <a:xfrm>
            <a:off x="7853364" y="3747022"/>
            <a:ext cx="1024901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 dirty="0">
                <a:solidFill>
                  <a:schemeClr val="accent1"/>
                </a:solidFill>
              </a:rPr>
              <a:t>Dernier kilomètre</a:t>
            </a:r>
          </a:p>
          <a:p>
            <a:pPr algn="ctr" rtl="0">
              <a:lnSpc>
                <a:spcPct val="95000"/>
              </a:lnSpc>
            </a:pPr>
            <a:r>
              <a:rPr lang="fr-FR" sz="1000" b="0" i="0" u="none" baseline="0" dirty="0">
                <a:solidFill>
                  <a:schemeClr val="accent1"/>
                </a:solidFill>
              </a:rPr>
              <a:t>indépendant du transporteur</a:t>
            </a:r>
          </a:p>
        </p:txBody>
      </p:sp>
      <p:sp>
        <p:nvSpPr>
          <p:cNvPr id="193" name="Rectangle 43">
            <a:extLst>
              <a:ext uri="{FF2B5EF4-FFF2-40B4-BE49-F238E27FC236}">
                <a16:creationId xmlns:a16="http://schemas.microsoft.com/office/drawing/2014/main" id="{EABCF29F-05D1-4E78-B284-914515774C7A}"/>
              </a:ext>
            </a:extLst>
          </p:cNvPr>
          <p:cNvSpPr/>
          <p:nvPr/>
        </p:nvSpPr>
        <p:spPr>
          <a:xfrm>
            <a:off x="6768977" y="4414343"/>
            <a:ext cx="1024901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1" i="0" u="none" baseline="0"/>
              <a:t>Traitement et expédition des retours</a:t>
            </a:r>
          </a:p>
        </p:txBody>
      </p:sp>
      <p:sp>
        <p:nvSpPr>
          <p:cNvPr id="194" name="Rectangle 46">
            <a:extLst>
              <a:ext uri="{FF2B5EF4-FFF2-40B4-BE49-F238E27FC236}">
                <a16:creationId xmlns:a16="http://schemas.microsoft.com/office/drawing/2014/main" id="{EF5C7D20-7AF4-4FD9-94C3-1AA024928C75}"/>
              </a:ext>
            </a:extLst>
          </p:cNvPr>
          <p:cNvSpPr/>
          <p:nvPr/>
        </p:nvSpPr>
        <p:spPr>
          <a:xfrm>
            <a:off x="7855262" y="2319777"/>
            <a:ext cx="1024901" cy="14619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 dirty="0">
                <a:solidFill>
                  <a:schemeClr val="accent1"/>
                </a:solidFill>
              </a:rPr>
              <a:t>Manutention des expéditions entrantes</a:t>
            </a:r>
          </a:p>
        </p:txBody>
      </p:sp>
      <p:sp>
        <p:nvSpPr>
          <p:cNvPr id="195" name="Rectangle 62">
            <a:extLst>
              <a:ext uri="{FF2B5EF4-FFF2-40B4-BE49-F238E27FC236}">
                <a16:creationId xmlns:a16="http://schemas.microsoft.com/office/drawing/2014/main" id="{368831F3-BB8B-4573-983E-A81F32D94516}"/>
              </a:ext>
            </a:extLst>
          </p:cNvPr>
          <p:cNvSpPr/>
          <p:nvPr/>
        </p:nvSpPr>
        <p:spPr>
          <a:xfrm>
            <a:off x="6784217" y="2929660"/>
            <a:ext cx="1024901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Stockage et traitement</a:t>
            </a:r>
          </a:p>
        </p:txBody>
      </p:sp>
      <p:sp>
        <p:nvSpPr>
          <p:cNvPr id="196" name="Rectangle 78">
            <a:extLst>
              <a:ext uri="{FF2B5EF4-FFF2-40B4-BE49-F238E27FC236}">
                <a16:creationId xmlns:a16="http://schemas.microsoft.com/office/drawing/2014/main" id="{71399EFE-64F8-41E5-ABD4-97B1E43E64DC}"/>
              </a:ext>
            </a:extLst>
          </p:cNvPr>
          <p:cNvSpPr/>
          <p:nvPr/>
        </p:nvSpPr>
        <p:spPr>
          <a:xfrm>
            <a:off x="6560697" y="381000"/>
            <a:ext cx="1468266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European</a:t>
            </a:r>
          </a:p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Fulfillment Network</a:t>
            </a:r>
          </a:p>
        </p:txBody>
      </p:sp>
      <p:sp>
        <p:nvSpPr>
          <p:cNvPr id="197" name="Rectangle 80">
            <a:extLst>
              <a:ext uri="{FF2B5EF4-FFF2-40B4-BE49-F238E27FC236}">
                <a16:creationId xmlns:a16="http://schemas.microsoft.com/office/drawing/2014/main" id="{AA442875-D9F0-42B0-8783-9C94ECF817CD}"/>
              </a:ext>
            </a:extLst>
          </p:cNvPr>
          <p:cNvSpPr/>
          <p:nvPr/>
        </p:nvSpPr>
        <p:spPr>
          <a:xfrm rot="16200000">
            <a:off x="4690291" y="2792169"/>
            <a:ext cx="3530600" cy="248136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200" b="1" i="0" u="none" baseline="0" dirty="0"/>
              <a:t>Caractéristiques clés du produit</a:t>
            </a:r>
          </a:p>
        </p:txBody>
      </p:sp>
      <p:sp>
        <p:nvSpPr>
          <p:cNvPr id="220" name="Oval 6">
            <a:extLst>
              <a:ext uri="{FF2B5EF4-FFF2-40B4-BE49-F238E27FC236}">
                <a16:creationId xmlns:a16="http://schemas.microsoft.com/office/drawing/2014/main" id="{805A3C1F-974D-4FA7-BA31-A324DCD287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686" y="2169501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23" name="Freeform 5">
            <a:extLst>
              <a:ext uri="{FF2B5EF4-FFF2-40B4-BE49-F238E27FC236}">
                <a16:creationId xmlns:a16="http://schemas.microsoft.com/office/drawing/2014/main" id="{516F98CC-0363-44CB-A67A-33D7B41D7027}"/>
              </a:ext>
            </a:extLst>
          </p:cNvPr>
          <p:cNvSpPr>
            <a:spLocks noEditPoints="1"/>
          </p:cNvSpPr>
          <p:nvPr/>
        </p:nvSpPr>
        <p:spPr bwMode="auto">
          <a:xfrm>
            <a:off x="7121380" y="2396402"/>
            <a:ext cx="360612" cy="266199"/>
          </a:xfrm>
          <a:custGeom>
            <a:avLst/>
            <a:gdLst>
              <a:gd name="T0" fmla="*/ 76 w 630"/>
              <a:gd name="T1" fmla="*/ 249 h 468"/>
              <a:gd name="T2" fmla="*/ 171 w 630"/>
              <a:gd name="T3" fmla="*/ 249 h 468"/>
              <a:gd name="T4" fmla="*/ 171 w 630"/>
              <a:gd name="T5" fmla="*/ 290 h 468"/>
              <a:gd name="T6" fmla="*/ 76 w 630"/>
              <a:gd name="T7" fmla="*/ 290 h 468"/>
              <a:gd name="T8" fmla="*/ 76 w 630"/>
              <a:gd name="T9" fmla="*/ 249 h 468"/>
              <a:gd name="T10" fmla="*/ 200 w 630"/>
              <a:gd name="T11" fmla="*/ 249 h 468"/>
              <a:gd name="T12" fmla="*/ 293 w 630"/>
              <a:gd name="T13" fmla="*/ 249 h 468"/>
              <a:gd name="T14" fmla="*/ 293 w 630"/>
              <a:gd name="T15" fmla="*/ 290 h 468"/>
              <a:gd name="T16" fmla="*/ 200 w 630"/>
              <a:gd name="T17" fmla="*/ 290 h 468"/>
              <a:gd name="T18" fmla="*/ 200 w 630"/>
              <a:gd name="T19" fmla="*/ 249 h 468"/>
              <a:gd name="T20" fmla="*/ 322 w 630"/>
              <a:gd name="T21" fmla="*/ 249 h 468"/>
              <a:gd name="T22" fmla="*/ 417 w 630"/>
              <a:gd name="T23" fmla="*/ 249 h 468"/>
              <a:gd name="T24" fmla="*/ 417 w 630"/>
              <a:gd name="T25" fmla="*/ 290 h 468"/>
              <a:gd name="T26" fmla="*/ 322 w 630"/>
              <a:gd name="T27" fmla="*/ 290 h 468"/>
              <a:gd name="T28" fmla="*/ 322 w 630"/>
              <a:gd name="T29" fmla="*/ 249 h 468"/>
              <a:gd name="T30" fmla="*/ 446 w 630"/>
              <a:gd name="T31" fmla="*/ 249 h 468"/>
              <a:gd name="T32" fmla="*/ 539 w 630"/>
              <a:gd name="T33" fmla="*/ 249 h 468"/>
              <a:gd name="T34" fmla="*/ 539 w 630"/>
              <a:gd name="T35" fmla="*/ 290 h 468"/>
              <a:gd name="T36" fmla="*/ 446 w 630"/>
              <a:gd name="T37" fmla="*/ 290 h 468"/>
              <a:gd name="T38" fmla="*/ 446 w 630"/>
              <a:gd name="T39" fmla="*/ 249 h 468"/>
              <a:gd name="T40" fmla="*/ 315 w 630"/>
              <a:gd name="T41" fmla="*/ 0 h 468"/>
              <a:gd name="T42" fmla="*/ 0 w 630"/>
              <a:gd name="T43" fmla="*/ 124 h 468"/>
              <a:gd name="T44" fmla="*/ 0 w 630"/>
              <a:gd name="T45" fmla="*/ 177 h 468"/>
              <a:gd name="T46" fmla="*/ 45 w 630"/>
              <a:gd name="T47" fmla="*/ 180 h 468"/>
              <a:gd name="T48" fmla="*/ 45 w 630"/>
              <a:gd name="T49" fmla="*/ 465 h 468"/>
              <a:gd name="T50" fmla="*/ 312 w 630"/>
              <a:gd name="T51" fmla="*/ 465 h 468"/>
              <a:gd name="T52" fmla="*/ 312 w 630"/>
              <a:gd name="T53" fmla="*/ 367 h 468"/>
              <a:gd name="T54" fmla="*/ 536 w 630"/>
              <a:gd name="T55" fmla="*/ 367 h 468"/>
              <a:gd name="T56" fmla="*/ 536 w 630"/>
              <a:gd name="T57" fmla="*/ 468 h 468"/>
              <a:gd name="T58" fmla="*/ 584 w 630"/>
              <a:gd name="T59" fmla="*/ 468 h 468"/>
              <a:gd name="T60" fmla="*/ 584 w 630"/>
              <a:gd name="T61" fmla="*/ 177 h 468"/>
              <a:gd name="T62" fmla="*/ 630 w 630"/>
              <a:gd name="T63" fmla="*/ 177 h 468"/>
              <a:gd name="T64" fmla="*/ 630 w 630"/>
              <a:gd name="T65" fmla="*/ 127 h 468"/>
              <a:gd name="T66" fmla="*/ 315 w 630"/>
              <a:gd name="T67" fmla="*/ 0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30" h="468">
                <a:moveTo>
                  <a:pt x="76" y="249"/>
                </a:moveTo>
                <a:lnTo>
                  <a:pt x="171" y="249"/>
                </a:lnTo>
                <a:lnTo>
                  <a:pt x="171" y="290"/>
                </a:lnTo>
                <a:lnTo>
                  <a:pt x="76" y="290"/>
                </a:lnTo>
                <a:lnTo>
                  <a:pt x="76" y="249"/>
                </a:lnTo>
                <a:close/>
                <a:moveTo>
                  <a:pt x="200" y="249"/>
                </a:moveTo>
                <a:lnTo>
                  <a:pt x="293" y="249"/>
                </a:lnTo>
                <a:lnTo>
                  <a:pt x="293" y="290"/>
                </a:lnTo>
                <a:lnTo>
                  <a:pt x="200" y="290"/>
                </a:lnTo>
                <a:lnTo>
                  <a:pt x="200" y="249"/>
                </a:lnTo>
                <a:close/>
                <a:moveTo>
                  <a:pt x="322" y="249"/>
                </a:moveTo>
                <a:lnTo>
                  <a:pt x="417" y="249"/>
                </a:lnTo>
                <a:lnTo>
                  <a:pt x="417" y="290"/>
                </a:lnTo>
                <a:lnTo>
                  <a:pt x="322" y="290"/>
                </a:lnTo>
                <a:lnTo>
                  <a:pt x="322" y="249"/>
                </a:lnTo>
                <a:close/>
                <a:moveTo>
                  <a:pt x="446" y="249"/>
                </a:moveTo>
                <a:lnTo>
                  <a:pt x="539" y="249"/>
                </a:lnTo>
                <a:lnTo>
                  <a:pt x="539" y="290"/>
                </a:lnTo>
                <a:lnTo>
                  <a:pt x="446" y="290"/>
                </a:lnTo>
                <a:lnTo>
                  <a:pt x="446" y="249"/>
                </a:lnTo>
                <a:close/>
                <a:moveTo>
                  <a:pt x="315" y="0"/>
                </a:moveTo>
                <a:lnTo>
                  <a:pt x="0" y="124"/>
                </a:lnTo>
                <a:lnTo>
                  <a:pt x="0" y="177"/>
                </a:lnTo>
                <a:lnTo>
                  <a:pt x="45" y="180"/>
                </a:lnTo>
                <a:lnTo>
                  <a:pt x="45" y="465"/>
                </a:lnTo>
                <a:lnTo>
                  <a:pt x="312" y="465"/>
                </a:lnTo>
                <a:lnTo>
                  <a:pt x="312" y="367"/>
                </a:lnTo>
                <a:lnTo>
                  <a:pt x="536" y="367"/>
                </a:lnTo>
                <a:lnTo>
                  <a:pt x="536" y="468"/>
                </a:lnTo>
                <a:lnTo>
                  <a:pt x="584" y="468"/>
                </a:lnTo>
                <a:lnTo>
                  <a:pt x="584" y="177"/>
                </a:lnTo>
                <a:lnTo>
                  <a:pt x="630" y="177"/>
                </a:lnTo>
                <a:lnTo>
                  <a:pt x="630" y="127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25" name="Oval 7">
            <a:extLst>
              <a:ext uri="{FF2B5EF4-FFF2-40B4-BE49-F238E27FC236}">
                <a16:creationId xmlns:a16="http://schemas.microsoft.com/office/drawing/2014/main" id="{1D4B0679-ACCD-4FB3-BB0B-810D941B9E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7985" y="2909129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235" name="Gruppieren 234">
            <a:extLst>
              <a:ext uri="{FF2B5EF4-FFF2-40B4-BE49-F238E27FC236}">
                <a16:creationId xmlns:a16="http://schemas.microsoft.com/office/drawing/2014/main" id="{405D7789-F833-4D1E-B47C-858349159478}"/>
              </a:ext>
            </a:extLst>
          </p:cNvPr>
          <p:cNvGrpSpPr/>
          <p:nvPr/>
        </p:nvGrpSpPr>
        <p:grpSpPr>
          <a:xfrm>
            <a:off x="8028031" y="3159718"/>
            <a:ext cx="549989" cy="218821"/>
            <a:chOff x="1455282" y="1844935"/>
            <a:chExt cx="1203137" cy="481714"/>
          </a:xfrm>
          <a:solidFill>
            <a:schemeClr val="accent3"/>
          </a:solidFill>
        </p:grpSpPr>
        <p:grpSp>
          <p:nvGrpSpPr>
            <p:cNvPr id="236" name="Group 337954">
              <a:extLst>
                <a:ext uri="{FF2B5EF4-FFF2-40B4-BE49-F238E27FC236}">
                  <a16:creationId xmlns:a16="http://schemas.microsoft.com/office/drawing/2014/main" id="{21AAD586-5848-4310-8F6A-C90D39C7E514}"/>
                </a:ext>
              </a:extLst>
            </p:cNvPr>
            <p:cNvGrpSpPr/>
            <p:nvPr/>
          </p:nvGrpSpPr>
          <p:grpSpPr>
            <a:xfrm>
              <a:off x="1777943" y="1844935"/>
              <a:ext cx="880476" cy="481714"/>
              <a:chOff x="-1220788" y="1668463"/>
              <a:chExt cx="960438" cy="525462"/>
            </a:xfrm>
            <a:grpFill/>
          </p:grpSpPr>
          <p:sp>
            <p:nvSpPr>
              <p:cNvPr id="238" name="Freeform 55">
                <a:extLst>
                  <a:ext uri="{FF2B5EF4-FFF2-40B4-BE49-F238E27FC236}">
                    <a16:creationId xmlns:a16="http://schemas.microsoft.com/office/drawing/2014/main" id="{1D8300B8-D527-437C-93ED-ED6BC48DCA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160463" y="2001838"/>
                <a:ext cx="184150" cy="192087"/>
              </a:xfrm>
              <a:custGeom>
                <a:avLst/>
                <a:gdLst>
                  <a:gd name="T0" fmla="*/ 49 w 49"/>
                  <a:gd name="T1" fmla="*/ 25 h 51"/>
                  <a:gd name="T2" fmla="*/ 25 w 49"/>
                  <a:gd name="T3" fmla="*/ 0 h 51"/>
                  <a:gd name="T4" fmla="*/ 0 w 49"/>
                  <a:gd name="T5" fmla="*/ 25 h 51"/>
                  <a:gd name="T6" fmla="*/ 25 w 49"/>
                  <a:gd name="T7" fmla="*/ 51 h 51"/>
                  <a:gd name="T8" fmla="*/ 49 w 49"/>
                  <a:gd name="T9" fmla="*/ 25 h 51"/>
                  <a:gd name="T10" fmla="*/ 36 w 49"/>
                  <a:gd name="T11" fmla="*/ 25 h 51"/>
                  <a:gd name="T12" fmla="*/ 25 w 49"/>
                  <a:gd name="T13" fmla="*/ 37 h 51"/>
                  <a:gd name="T14" fmla="*/ 15 w 49"/>
                  <a:gd name="T15" fmla="*/ 25 h 51"/>
                  <a:gd name="T16" fmla="*/ 25 w 49"/>
                  <a:gd name="T17" fmla="*/ 14 h 51"/>
                  <a:gd name="T18" fmla="*/ 36 w 49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51">
                    <a:moveTo>
                      <a:pt x="49" y="25"/>
                    </a:moveTo>
                    <a:cubicBezTo>
                      <a:pt x="49" y="12"/>
                      <a:pt x="38" y="0"/>
                      <a:pt x="25" y="0"/>
                    </a:cubicBezTo>
                    <a:cubicBezTo>
                      <a:pt x="12" y="0"/>
                      <a:pt x="0" y="12"/>
                      <a:pt x="0" y="25"/>
                    </a:cubicBezTo>
                    <a:cubicBezTo>
                      <a:pt x="0" y="39"/>
                      <a:pt x="12" y="51"/>
                      <a:pt x="25" y="51"/>
                    </a:cubicBezTo>
                    <a:cubicBezTo>
                      <a:pt x="38" y="51"/>
                      <a:pt x="49" y="39"/>
                      <a:pt x="49" y="25"/>
                    </a:cubicBezTo>
                    <a:close/>
                    <a:moveTo>
                      <a:pt x="36" y="25"/>
                    </a:moveTo>
                    <a:cubicBezTo>
                      <a:pt x="36" y="32"/>
                      <a:pt x="31" y="37"/>
                      <a:pt x="25" y="37"/>
                    </a:cubicBezTo>
                    <a:cubicBezTo>
                      <a:pt x="19" y="37"/>
                      <a:pt x="15" y="32"/>
                      <a:pt x="15" y="25"/>
                    </a:cubicBezTo>
                    <a:cubicBezTo>
                      <a:pt x="15" y="19"/>
                      <a:pt x="19" y="14"/>
                      <a:pt x="25" y="14"/>
                    </a:cubicBezTo>
                    <a:cubicBezTo>
                      <a:pt x="31" y="14"/>
                      <a:pt x="36" y="19"/>
                      <a:pt x="36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9" name="Freeform 56">
                <a:extLst>
                  <a:ext uri="{FF2B5EF4-FFF2-40B4-BE49-F238E27FC236}">
                    <a16:creationId xmlns:a16="http://schemas.microsoft.com/office/drawing/2014/main" id="{C89047F7-1E1D-4446-8E8B-22AA4FD428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19113" y="2001838"/>
                <a:ext cx="180975" cy="192087"/>
              </a:xfrm>
              <a:custGeom>
                <a:avLst/>
                <a:gdLst>
                  <a:gd name="T0" fmla="*/ 48 w 48"/>
                  <a:gd name="T1" fmla="*/ 25 h 51"/>
                  <a:gd name="T2" fmla="*/ 23 w 48"/>
                  <a:gd name="T3" fmla="*/ 0 h 51"/>
                  <a:gd name="T4" fmla="*/ 0 w 48"/>
                  <a:gd name="T5" fmla="*/ 25 h 51"/>
                  <a:gd name="T6" fmla="*/ 23 w 48"/>
                  <a:gd name="T7" fmla="*/ 51 h 51"/>
                  <a:gd name="T8" fmla="*/ 48 w 48"/>
                  <a:gd name="T9" fmla="*/ 25 h 51"/>
                  <a:gd name="T10" fmla="*/ 35 w 48"/>
                  <a:gd name="T11" fmla="*/ 25 h 51"/>
                  <a:gd name="T12" fmla="*/ 23 w 48"/>
                  <a:gd name="T13" fmla="*/ 37 h 51"/>
                  <a:gd name="T14" fmla="*/ 13 w 48"/>
                  <a:gd name="T15" fmla="*/ 25 h 51"/>
                  <a:gd name="T16" fmla="*/ 23 w 48"/>
                  <a:gd name="T17" fmla="*/ 14 h 51"/>
                  <a:gd name="T18" fmla="*/ 35 w 48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51">
                    <a:moveTo>
                      <a:pt x="48" y="25"/>
                    </a:moveTo>
                    <a:cubicBezTo>
                      <a:pt x="48" y="12"/>
                      <a:pt x="37" y="0"/>
                      <a:pt x="23" y="0"/>
                    </a:cubicBezTo>
                    <a:cubicBezTo>
                      <a:pt x="10" y="0"/>
                      <a:pt x="0" y="12"/>
                      <a:pt x="0" y="25"/>
                    </a:cubicBezTo>
                    <a:cubicBezTo>
                      <a:pt x="0" y="39"/>
                      <a:pt x="10" y="51"/>
                      <a:pt x="23" y="51"/>
                    </a:cubicBezTo>
                    <a:cubicBezTo>
                      <a:pt x="37" y="51"/>
                      <a:pt x="48" y="39"/>
                      <a:pt x="48" y="25"/>
                    </a:cubicBezTo>
                    <a:close/>
                    <a:moveTo>
                      <a:pt x="35" y="25"/>
                    </a:moveTo>
                    <a:cubicBezTo>
                      <a:pt x="35" y="32"/>
                      <a:pt x="29" y="37"/>
                      <a:pt x="23" y="37"/>
                    </a:cubicBezTo>
                    <a:cubicBezTo>
                      <a:pt x="17" y="37"/>
                      <a:pt x="13" y="32"/>
                      <a:pt x="13" y="25"/>
                    </a:cubicBezTo>
                    <a:cubicBezTo>
                      <a:pt x="13" y="19"/>
                      <a:pt x="17" y="14"/>
                      <a:pt x="23" y="14"/>
                    </a:cubicBezTo>
                    <a:cubicBezTo>
                      <a:pt x="29" y="14"/>
                      <a:pt x="35" y="19"/>
                      <a:pt x="35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0" name="Freeform 57">
                <a:extLst>
                  <a:ext uri="{FF2B5EF4-FFF2-40B4-BE49-F238E27FC236}">
                    <a16:creationId xmlns:a16="http://schemas.microsoft.com/office/drawing/2014/main" id="{61FB7F65-5FD4-4CB5-A1DD-0A005B8142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0788" y="2012950"/>
                <a:ext cx="79375" cy="82550"/>
              </a:xfrm>
              <a:custGeom>
                <a:avLst/>
                <a:gdLst>
                  <a:gd name="T0" fmla="*/ 0 w 21"/>
                  <a:gd name="T1" fmla="*/ 0 h 22"/>
                  <a:gd name="T2" fmla="*/ 0 w 21"/>
                  <a:gd name="T3" fmla="*/ 20 h 22"/>
                  <a:gd name="T4" fmla="*/ 4 w 21"/>
                  <a:gd name="T5" fmla="*/ 22 h 22"/>
                  <a:gd name="T6" fmla="*/ 11 w 21"/>
                  <a:gd name="T7" fmla="*/ 22 h 22"/>
                  <a:gd name="T8" fmla="*/ 11 w 21"/>
                  <a:gd name="T9" fmla="*/ 22 h 22"/>
                  <a:gd name="T10" fmla="*/ 21 w 21"/>
                  <a:gd name="T11" fmla="*/ 0 h 22"/>
                  <a:gd name="T12" fmla="*/ 0 w 21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2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2"/>
                      <a:pt x="4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13"/>
                      <a:pt x="15" y="5"/>
                      <a:pt x="2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1" name="Freeform 58">
                <a:extLst>
                  <a:ext uri="{FF2B5EF4-FFF2-40B4-BE49-F238E27FC236}">
                    <a16:creationId xmlns:a16="http://schemas.microsoft.com/office/drawing/2014/main" id="{6CEA35DB-E62A-4DD1-A957-23D507B51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0788" y="1668463"/>
                <a:ext cx="646113" cy="330200"/>
              </a:xfrm>
              <a:custGeom>
                <a:avLst/>
                <a:gdLst>
                  <a:gd name="T0" fmla="*/ 169 w 172"/>
                  <a:gd name="T1" fmla="*/ 0 h 88"/>
                  <a:gd name="T2" fmla="*/ 4 w 172"/>
                  <a:gd name="T3" fmla="*/ 0 h 88"/>
                  <a:gd name="T4" fmla="*/ 0 w 172"/>
                  <a:gd name="T5" fmla="*/ 3 h 88"/>
                  <a:gd name="T6" fmla="*/ 0 w 172"/>
                  <a:gd name="T7" fmla="*/ 88 h 88"/>
                  <a:gd name="T8" fmla="*/ 26 w 172"/>
                  <a:gd name="T9" fmla="*/ 88 h 88"/>
                  <a:gd name="T10" fmla="*/ 41 w 172"/>
                  <a:gd name="T11" fmla="*/ 83 h 88"/>
                  <a:gd name="T12" fmla="*/ 56 w 172"/>
                  <a:gd name="T13" fmla="*/ 88 h 88"/>
                  <a:gd name="T14" fmla="*/ 172 w 172"/>
                  <a:gd name="T15" fmla="*/ 88 h 88"/>
                  <a:gd name="T16" fmla="*/ 172 w 172"/>
                  <a:gd name="T17" fmla="*/ 3 h 88"/>
                  <a:gd name="T18" fmla="*/ 169 w 172"/>
                  <a:gd name="T1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88">
                    <a:moveTo>
                      <a:pt x="169" y="0"/>
                    </a:moveTo>
                    <a:cubicBezTo>
                      <a:pt x="0" y="0"/>
                      <a:pt x="4" y="0"/>
                      <a:pt x="4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31" y="85"/>
                      <a:pt x="36" y="83"/>
                      <a:pt x="41" y="83"/>
                    </a:cubicBezTo>
                    <a:cubicBezTo>
                      <a:pt x="47" y="83"/>
                      <a:pt x="52" y="85"/>
                      <a:pt x="56" y="88"/>
                    </a:cubicBezTo>
                    <a:cubicBezTo>
                      <a:pt x="172" y="88"/>
                      <a:pt x="172" y="88"/>
                      <a:pt x="172" y="88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72" y="1"/>
                      <a:pt x="171" y="0"/>
                      <a:pt x="1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2" name="Freeform 59">
                <a:extLst>
                  <a:ext uri="{FF2B5EF4-FFF2-40B4-BE49-F238E27FC236}">
                    <a16:creationId xmlns:a16="http://schemas.microsoft.com/office/drawing/2014/main" id="{3CD05129-8846-4E95-BACD-0037F1235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992188" y="1739900"/>
                <a:ext cx="731838" cy="355600"/>
              </a:xfrm>
              <a:custGeom>
                <a:avLst/>
                <a:gdLst>
                  <a:gd name="T0" fmla="*/ 176 w 195"/>
                  <a:gd name="T1" fmla="*/ 4 h 95"/>
                  <a:gd name="T2" fmla="*/ 171 w 195"/>
                  <a:gd name="T3" fmla="*/ 2 h 95"/>
                  <a:gd name="T4" fmla="*/ 123 w 195"/>
                  <a:gd name="T5" fmla="*/ 2 h 95"/>
                  <a:gd name="T6" fmla="*/ 119 w 195"/>
                  <a:gd name="T7" fmla="*/ 4 h 95"/>
                  <a:gd name="T8" fmla="*/ 119 w 195"/>
                  <a:gd name="T9" fmla="*/ 73 h 95"/>
                  <a:gd name="T10" fmla="*/ 108 w 195"/>
                  <a:gd name="T11" fmla="*/ 73 h 95"/>
                  <a:gd name="T12" fmla="*/ 108 w 195"/>
                  <a:gd name="T13" fmla="*/ 73 h 95"/>
                  <a:gd name="T14" fmla="*/ 95 w 195"/>
                  <a:gd name="T15" fmla="*/ 73 h 95"/>
                  <a:gd name="T16" fmla="*/ 55 w 195"/>
                  <a:gd name="T17" fmla="*/ 73 h 95"/>
                  <a:gd name="T18" fmla="*/ 0 w 195"/>
                  <a:gd name="T19" fmla="*/ 73 h 95"/>
                  <a:gd name="T20" fmla="*/ 9 w 195"/>
                  <a:gd name="T21" fmla="*/ 95 h 95"/>
                  <a:gd name="T22" fmla="*/ 9 w 195"/>
                  <a:gd name="T23" fmla="*/ 95 h 95"/>
                  <a:gd name="T24" fmla="*/ 45 w 195"/>
                  <a:gd name="T25" fmla="*/ 95 h 95"/>
                  <a:gd name="T26" fmla="*/ 104 w 195"/>
                  <a:gd name="T27" fmla="*/ 95 h 95"/>
                  <a:gd name="T28" fmla="*/ 108 w 195"/>
                  <a:gd name="T29" fmla="*/ 95 h 95"/>
                  <a:gd name="T30" fmla="*/ 108 w 195"/>
                  <a:gd name="T31" fmla="*/ 95 h 95"/>
                  <a:gd name="T32" fmla="*/ 120 w 195"/>
                  <a:gd name="T33" fmla="*/ 95 h 95"/>
                  <a:gd name="T34" fmla="*/ 120 w 195"/>
                  <a:gd name="T35" fmla="*/ 88 h 95"/>
                  <a:gd name="T36" fmla="*/ 149 w 195"/>
                  <a:gd name="T37" fmla="*/ 64 h 95"/>
                  <a:gd name="T38" fmla="*/ 180 w 195"/>
                  <a:gd name="T39" fmla="*/ 95 h 95"/>
                  <a:gd name="T40" fmla="*/ 195 w 195"/>
                  <a:gd name="T41" fmla="*/ 95 h 95"/>
                  <a:gd name="T42" fmla="*/ 195 w 195"/>
                  <a:gd name="T43" fmla="*/ 48 h 95"/>
                  <a:gd name="T44" fmla="*/ 176 w 195"/>
                  <a:gd name="T45" fmla="*/ 4 h 95"/>
                  <a:gd name="T46" fmla="*/ 141 w 195"/>
                  <a:gd name="T47" fmla="*/ 39 h 95"/>
                  <a:gd name="T48" fmla="*/ 141 w 195"/>
                  <a:gd name="T49" fmla="*/ 10 h 95"/>
                  <a:gd name="T50" fmla="*/ 167 w 195"/>
                  <a:gd name="T51" fmla="*/ 10 h 95"/>
                  <a:gd name="T52" fmla="*/ 179 w 195"/>
                  <a:gd name="T53" fmla="*/ 39 h 95"/>
                  <a:gd name="T54" fmla="*/ 141 w 195"/>
                  <a:gd name="T55" fmla="*/ 3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5" h="95">
                    <a:moveTo>
                      <a:pt x="176" y="4"/>
                    </a:moveTo>
                    <a:cubicBezTo>
                      <a:pt x="176" y="0"/>
                      <a:pt x="171" y="2"/>
                      <a:pt x="171" y="2"/>
                    </a:cubicBezTo>
                    <a:cubicBezTo>
                      <a:pt x="171" y="2"/>
                      <a:pt x="171" y="2"/>
                      <a:pt x="123" y="2"/>
                    </a:cubicBezTo>
                    <a:cubicBezTo>
                      <a:pt x="123" y="2"/>
                      <a:pt x="119" y="0"/>
                      <a:pt x="119" y="4"/>
                    </a:cubicBezTo>
                    <a:cubicBezTo>
                      <a:pt x="119" y="4"/>
                      <a:pt x="119" y="4"/>
                      <a:pt x="119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95" y="73"/>
                      <a:pt x="95" y="73"/>
                      <a:pt x="95" y="73"/>
                    </a:cubicBezTo>
                    <a:cubicBezTo>
                      <a:pt x="55" y="73"/>
                      <a:pt x="55" y="73"/>
                      <a:pt x="55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6" y="78"/>
                      <a:pt x="9" y="86"/>
                      <a:pt x="9" y="95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44" y="95"/>
                      <a:pt x="45" y="95"/>
                      <a:pt x="45" y="95"/>
                    </a:cubicBezTo>
                    <a:cubicBezTo>
                      <a:pt x="104" y="95"/>
                      <a:pt x="104" y="95"/>
                      <a:pt x="104" y="95"/>
                    </a:cubicBezTo>
                    <a:cubicBezTo>
                      <a:pt x="107" y="95"/>
                      <a:pt x="107" y="95"/>
                      <a:pt x="108" y="95"/>
                    </a:cubicBezTo>
                    <a:cubicBezTo>
                      <a:pt x="108" y="95"/>
                      <a:pt x="108" y="95"/>
                      <a:pt x="108" y="95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0" y="88"/>
                      <a:pt x="120" y="88"/>
                      <a:pt x="120" y="88"/>
                    </a:cubicBezTo>
                    <a:cubicBezTo>
                      <a:pt x="123" y="75"/>
                      <a:pt x="135" y="64"/>
                      <a:pt x="149" y="64"/>
                    </a:cubicBezTo>
                    <a:cubicBezTo>
                      <a:pt x="165" y="64"/>
                      <a:pt x="180" y="78"/>
                      <a:pt x="180" y="95"/>
                    </a:cubicBezTo>
                    <a:cubicBezTo>
                      <a:pt x="180" y="95"/>
                      <a:pt x="180" y="95"/>
                      <a:pt x="195" y="95"/>
                    </a:cubicBezTo>
                    <a:cubicBezTo>
                      <a:pt x="195" y="48"/>
                      <a:pt x="195" y="48"/>
                      <a:pt x="195" y="48"/>
                    </a:cubicBezTo>
                    <a:cubicBezTo>
                      <a:pt x="195" y="48"/>
                      <a:pt x="177" y="8"/>
                      <a:pt x="176" y="4"/>
                    </a:cubicBezTo>
                    <a:close/>
                    <a:moveTo>
                      <a:pt x="141" y="39"/>
                    </a:moveTo>
                    <a:cubicBezTo>
                      <a:pt x="141" y="39"/>
                      <a:pt x="141" y="39"/>
                      <a:pt x="141" y="10"/>
                    </a:cubicBezTo>
                    <a:cubicBezTo>
                      <a:pt x="141" y="10"/>
                      <a:pt x="141" y="10"/>
                      <a:pt x="167" y="10"/>
                    </a:cubicBezTo>
                    <a:cubicBezTo>
                      <a:pt x="179" y="39"/>
                      <a:pt x="179" y="39"/>
                      <a:pt x="179" y="39"/>
                    </a:cubicBezTo>
                    <a:cubicBezTo>
                      <a:pt x="179" y="39"/>
                      <a:pt x="172" y="39"/>
                      <a:pt x="141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237" name="Freeform 7">
              <a:extLst>
                <a:ext uri="{FF2B5EF4-FFF2-40B4-BE49-F238E27FC236}">
                  <a16:creationId xmlns:a16="http://schemas.microsoft.com/office/drawing/2014/main" id="{81784060-F921-4BBB-B5BF-3E115CB003F2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1455282" y="1871867"/>
              <a:ext cx="239580" cy="315545"/>
            </a:xfrm>
            <a:custGeom>
              <a:avLst/>
              <a:gdLst>
                <a:gd name="T0" fmla="*/ 18 w 243"/>
                <a:gd name="T1" fmla="*/ 36 h 320"/>
                <a:gd name="T2" fmla="*/ 225 w 243"/>
                <a:gd name="T3" fmla="*/ 36 h 320"/>
                <a:gd name="T4" fmla="*/ 243 w 243"/>
                <a:gd name="T5" fmla="*/ 18 h 320"/>
                <a:gd name="T6" fmla="*/ 225 w 243"/>
                <a:gd name="T7" fmla="*/ 0 h 320"/>
                <a:gd name="T8" fmla="*/ 18 w 243"/>
                <a:gd name="T9" fmla="*/ 0 h 320"/>
                <a:gd name="T10" fmla="*/ 0 w 243"/>
                <a:gd name="T11" fmla="*/ 18 h 320"/>
                <a:gd name="T12" fmla="*/ 18 w 243"/>
                <a:gd name="T13" fmla="*/ 36 h 320"/>
                <a:gd name="T14" fmla="*/ 225 w 243"/>
                <a:gd name="T15" fmla="*/ 284 h 320"/>
                <a:gd name="T16" fmla="*/ 18 w 243"/>
                <a:gd name="T17" fmla="*/ 284 h 320"/>
                <a:gd name="T18" fmla="*/ 0 w 243"/>
                <a:gd name="T19" fmla="*/ 302 h 320"/>
                <a:gd name="T20" fmla="*/ 18 w 243"/>
                <a:gd name="T21" fmla="*/ 320 h 320"/>
                <a:gd name="T22" fmla="*/ 225 w 243"/>
                <a:gd name="T23" fmla="*/ 320 h 320"/>
                <a:gd name="T24" fmla="*/ 243 w 243"/>
                <a:gd name="T25" fmla="*/ 302 h 320"/>
                <a:gd name="T26" fmla="*/ 225 w 243"/>
                <a:gd name="T27" fmla="*/ 284 h 320"/>
                <a:gd name="T28" fmla="*/ 18 w 243"/>
                <a:gd name="T29" fmla="*/ 176 h 320"/>
                <a:gd name="T30" fmla="*/ 113 w 243"/>
                <a:gd name="T31" fmla="*/ 176 h 320"/>
                <a:gd name="T32" fmla="*/ 131 w 243"/>
                <a:gd name="T33" fmla="*/ 158 h 320"/>
                <a:gd name="T34" fmla="*/ 113 w 243"/>
                <a:gd name="T35" fmla="*/ 140 h 320"/>
                <a:gd name="T36" fmla="*/ 18 w 243"/>
                <a:gd name="T37" fmla="*/ 140 h 320"/>
                <a:gd name="T38" fmla="*/ 0 w 243"/>
                <a:gd name="T39" fmla="*/ 158 h 320"/>
                <a:gd name="T40" fmla="*/ 18 w 243"/>
                <a:gd name="T41" fmla="*/ 17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320">
                  <a:moveTo>
                    <a:pt x="18" y="36"/>
                  </a:moveTo>
                  <a:cubicBezTo>
                    <a:pt x="225" y="36"/>
                    <a:pt x="225" y="36"/>
                    <a:pt x="225" y="36"/>
                  </a:cubicBezTo>
                  <a:cubicBezTo>
                    <a:pt x="235" y="36"/>
                    <a:pt x="243" y="28"/>
                    <a:pt x="243" y="18"/>
                  </a:cubicBezTo>
                  <a:cubicBezTo>
                    <a:pt x="243" y="8"/>
                    <a:pt x="235" y="0"/>
                    <a:pt x="225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close/>
                  <a:moveTo>
                    <a:pt x="225" y="284"/>
                  </a:moveTo>
                  <a:cubicBezTo>
                    <a:pt x="18" y="284"/>
                    <a:pt x="18" y="284"/>
                    <a:pt x="18" y="284"/>
                  </a:cubicBezTo>
                  <a:cubicBezTo>
                    <a:pt x="8" y="284"/>
                    <a:pt x="0" y="292"/>
                    <a:pt x="0" y="302"/>
                  </a:cubicBezTo>
                  <a:cubicBezTo>
                    <a:pt x="0" y="312"/>
                    <a:pt x="8" y="320"/>
                    <a:pt x="18" y="320"/>
                  </a:cubicBezTo>
                  <a:cubicBezTo>
                    <a:pt x="225" y="320"/>
                    <a:pt x="225" y="320"/>
                    <a:pt x="225" y="320"/>
                  </a:cubicBezTo>
                  <a:cubicBezTo>
                    <a:pt x="235" y="320"/>
                    <a:pt x="243" y="312"/>
                    <a:pt x="243" y="302"/>
                  </a:cubicBezTo>
                  <a:cubicBezTo>
                    <a:pt x="243" y="292"/>
                    <a:pt x="235" y="284"/>
                    <a:pt x="225" y="284"/>
                  </a:cubicBezTo>
                  <a:close/>
                  <a:moveTo>
                    <a:pt x="18" y="176"/>
                  </a:moveTo>
                  <a:cubicBezTo>
                    <a:pt x="113" y="176"/>
                    <a:pt x="113" y="176"/>
                    <a:pt x="113" y="176"/>
                  </a:cubicBezTo>
                  <a:cubicBezTo>
                    <a:pt x="123" y="176"/>
                    <a:pt x="131" y="168"/>
                    <a:pt x="131" y="158"/>
                  </a:cubicBezTo>
                  <a:cubicBezTo>
                    <a:pt x="131" y="148"/>
                    <a:pt x="123" y="140"/>
                    <a:pt x="113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8" y="140"/>
                    <a:pt x="0" y="148"/>
                    <a:pt x="0" y="158"/>
                  </a:cubicBezTo>
                  <a:cubicBezTo>
                    <a:pt x="0" y="168"/>
                    <a:pt x="8" y="176"/>
                    <a:pt x="18" y="1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43" name="Oval 5">
            <a:extLst>
              <a:ext uri="{FF2B5EF4-FFF2-40B4-BE49-F238E27FC236}">
                <a16:creationId xmlns:a16="http://schemas.microsoft.com/office/drawing/2014/main" id="{B89500D7-A0F7-4A4C-BEC3-BAB79F4895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3822" y="690245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244" name="Gruppieren 243">
            <a:extLst>
              <a:ext uri="{FF2B5EF4-FFF2-40B4-BE49-F238E27FC236}">
                <a16:creationId xmlns:a16="http://schemas.microsoft.com/office/drawing/2014/main" id="{13A1298B-DF93-4214-8AEC-8D8D5612765F}"/>
              </a:ext>
            </a:extLst>
          </p:cNvPr>
          <p:cNvGrpSpPr>
            <a:grpSpLocks noChangeAspect="1"/>
          </p:cNvGrpSpPr>
          <p:nvPr/>
        </p:nvGrpSpPr>
        <p:grpSpPr>
          <a:xfrm>
            <a:off x="7073377" y="816430"/>
            <a:ext cx="400889" cy="467630"/>
            <a:chOff x="2355850" y="-1588"/>
            <a:chExt cx="5843588" cy="6859588"/>
          </a:xfrm>
          <a:solidFill>
            <a:schemeClr val="accent3"/>
          </a:solidFill>
        </p:grpSpPr>
        <p:sp>
          <p:nvSpPr>
            <p:cNvPr id="245" name="Freeform 5">
              <a:extLst>
                <a:ext uri="{FF2B5EF4-FFF2-40B4-BE49-F238E27FC236}">
                  <a16:creationId xmlns:a16="http://schemas.microsoft.com/office/drawing/2014/main" id="{AF3F01BD-F259-40D5-8788-4EA5A6F865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7375" y="4162425"/>
              <a:ext cx="1917700" cy="1274763"/>
            </a:xfrm>
            <a:custGeom>
              <a:avLst/>
              <a:gdLst/>
              <a:ahLst/>
              <a:cxnLst>
                <a:cxn ang="0">
                  <a:pos x="575" y="586"/>
                </a:cxn>
                <a:cxn ang="0">
                  <a:pos x="625" y="631"/>
                </a:cxn>
                <a:cxn ang="0">
                  <a:pos x="672" y="660"/>
                </a:cxn>
                <a:cxn ang="0">
                  <a:pos x="758" y="614"/>
                </a:cxn>
                <a:cxn ang="0">
                  <a:pos x="784" y="585"/>
                </a:cxn>
                <a:cxn ang="0">
                  <a:pos x="740" y="599"/>
                </a:cxn>
                <a:cxn ang="0">
                  <a:pos x="668" y="542"/>
                </a:cxn>
                <a:cxn ang="0">
                  <a:pos x="948" y="438"/>
                </a:cxn>
                <a:cxn ang="0">
                  <a:pos x="988" y="242"/>
                </a:cxn>
                <a:cxn ang="0">
                  <a:pos x="913" y="209"/>
                </a:cxn>
                <a:cxn ang="0">
                  <a:pos x="836" y="180"/>
                </a:cxn>
                <a:cxn ang="0">
                  <a:pos x="742" y="162"/>
                </a:cxn>
                <a:cxn ang="0">
                  <a:pos x="686" y="105"/>
                </a:cxn>
                <a:cxn ang="0">
                  <a:pos x="677" y="43"/>
                </a:cxn>
                <a:cxn ang="0">
                  <a:pos x="649" y="6"/>
                </a:cxn>
                <a:cxn ang="0">
                  <a:pos x="592" y="15"/>
                </a:cxn>
                <a:cxn ang="0">
                  <a:pos x="549" y="31"/>
                </a:cxn>
                <a:cxn ang="0">
                  <a:pos x="492" y="52"/>
                </a:cxn>
                <a:cxn ang="0">
                  <a:pos x="432" y="88"/>
                </a:cxn>
                <a:cxn ang="0">
                  <a:pos x="378" y="92"/>
                </a:cxn>
                <a:cxn ang="0">
                  <a:pos x="321" y="83"/>
                </a:cxn>
                <a:cxn ang="0">
                  <a:pos x="255" y="54"/>
                </a:cxn>
                <a:cxn ang="0">
                  <a:pos x="176" y="46"/>
                </a:cxn>
                <a:cxn ang="0">
                  <a:pos x="115" y="70"/>
                </a:cxn>
                <a:cxn ang="0">
                  <a:pos x="139" y="130"/>
                </a:cxn>
                <a:cxn ang="0">
                  <a:pos x="135" y="170"/>
                </a:cxn>
                <a:cxn ang="0">
                  <a:pos x="66" y="235"/>
                </a:cxn>
                <a:cxn ang="0">
                  <a:pos x="67" y="276"/>
                </a:cxn>
                <a:cxn ang="0">
                  <a:pos x="25" y="291"/>
                </a:cxn>
                <a:cxn ang="0">
                  <a:pos x="0" y="331"/>
                </a:cxn>
                <a:cxn ang="0">
                  <a:pos x="52" y="369"/>
                </a:cxn>
                <a:cxn ang="0">
                  <a:pos x="122" y="378"/>
                </a:cxn>
                <a:cxn ang="0">
                  <a:pos x="211" y="374"/>
                </a:cxn>
                <a:cxn ang="0">
                  <a:pos x="252" y="337"/>
                </a:cxn>
                <a:cxn ang="0">
                  <a:pos x="284" y="336"/>
                </a:cxn>
                <a:cxn ang="0">
                  <a:pos x="323" y="348"/>
                </a:cxn>
                <a:cxn ang="0">
                  <a:pos x="343" y="359"/>
                </a:cxn>
                <a:cxn ang="0">
                  <a:pos x="363" y="365"/>
                </a:cxn>
                <a:cxn ang="0">
                  <a:pos x="389" y="378"/>
                </a:cxn>
                <a:cxn ang="0">
                  <a:pos x="387" y="404"/>
                </a:cxn>
                <a:cxn ang="0">
                  <a:pos x="398" y="431"/>
                </a:cxn>
                <a:cxn ang="0">
                  <a:pos x="406" y="453"/>
                </a:cxn>
                <a:cxn ang="0">
                  <a:pos x="427" y="490"/>
                </a:cxn>
                <a:cxn ang="0">
                  <a:pos x="406" y="507"/>
                </a:cxn>
                <a:cxn ang="0">
                  <a:pos x="389" y="504"/>
                </a:cxn>
                <a:cxn ang="0">
                  <a:pos x="375" y="523"/>
                </a:cxn>
                <a:cxn ang="0">
                  <a:pos x="350" y="562"/>
                </a:cxn>
                <a:cxn ang="0">
                  <a:pos x="342" y="586"/>
                </a:cxn>
                <a:cxn ang="0">
                  <a:pos x="385" y="595"/>
                </a:cxn>
                <a:cxn ang="0">
                  <a:pos x="445" y="557"/>
                </a:cxn>
                <a:cxn ang="0">
                  <a:pos x="474" y="508"/>
                </a:cxn>
                <a:cxn ang="0">
                  <a:pos x="542" y="495"/>
                </a:cxn>
                <a:cxn ang="0">
                  <a:pos x="555" y="536"/>
                </a:cxn>
                <a:cxn ang="0">
                  <a:pos x="637" y="532"/>
                </a:cxn>
                <a:cxn ang="0">
                  <a:pos x="695" y="533"/>
                </a:cxn>
                <a:cxn ang="0">
                  <a:pos x="737" y="506"/>
                </a:cxn>
                <a:cxn ang="0">
                  <a:pos x="836" y="469"/>
                </a:cxn>
                <a:cxn ang="0">
                  <a:pos x="912" y="437"/>
                </a:cxn>
                <a:cxn ang="0">
                  <a:pos x="967" y="387"/>
                </a:cxn>
                <a:cxn ang="0">
                  <a:pos x="992" y="331"/>
                </a:cxn>
                <a:cxn ang="0">
                  <a:pos x="134" y="165"/>
                </a:cxn>
              </a:cxnLst>
              <a:rect l="0" t="0" r="r" b="b"/>
              <a:pathLst>
                <a:path w="1026" h="682">
                  <a:moveTo>
                    <a:pt x="641" y="535"/>
                  </a:moveTo>
                  <a:cubicBezTo>
                    <a:pt x="641" y="534"/>
                    <a:pt x="639" y="534"/>
                    <a:pt x="638" y="533"/>
                  </a:cubicBezTo>
                  <a:cubicBezTo>
                    <a:pt x="638" y="536"/>
                    <a:pt x="637" y="539"/>
                    <a:pt x="637" y="542"/>
                  </a:cubicBezTo>
                  <a:cubicBezTo>
                    <a:pt x="637" y="544"/>
                    <a:pt x="637" y="546"/>
                    <a:pt x="638" y="547"/>
                  </a:cubicBezTo>
                  <a:cubicBezTo>
                    <a:pt x="639" y="550"/>
                    <a:pt x="640" y="548"/>
                    <a:pt x="642" y="550"/>
                  </a:cubicBezTo>
                  <a:cubicBezTo>
                    <a:pt x="644" y="552"/>
                    <a:pt x="642" y="553"/>
                    <a:pt x="640" y="554"/>
                  </a:cubicBezTo>
                  <a:cubicBezTo>
                    <a:pt x="639" y="555"/>
                    <a:pt x="637" y="556"/>
                    <a:pt x="635" y="557"/>
                  </a:cubicBezTo>
                  <a:cubicBezTo>
                    <a:pt x="632" y="560"/>
                    <a:pt x="629" y="559"/>
                    <a:pt x="624" y="560"/>
                  </a:cubicBezTo>
                  <a:cubicBezTo>
                    <a:pt x="621" y="560"/>
                    <a:pt x="616" y="562"/>
                    <a:pt x="613" y="564"/>
                  </a:cubicBezTo>
                  <a:cubicBezTo>
                    <a:pt x="607" y="568"/>
                    <a:pt x="599" y="572"/>
                    <a:pt x="593" y="575"/>
                  </a:cubicBezTo>
                  <a:cubicBezTo>
                    <a:pt x="588" y="577"/>
                    <a:pt x="583" y="579"/>
                    <a:pt x="579" y="583"/>
                  </a:cubicBezTo>
                  <a:cubicBezTo>
                    <a:pt x="578" y="584"/>
                    <a:pt x="576" y="585"/>
                    <a:pt x="575" y="586"/>
                  </a:cubicBezTo>
                  <a:cubicBezTo>
                    <a:pt x="572" y="587"/>
                    <a:pt x="571" y="586"/>
                    <a:pt x="569" y="589"/>
                  </a:cubicBezTo>
                  <a:cubicBezTo>
                    <a:pt x="568" y="591"/>
                    <a:pt x="565" y="596"/>
                    <a:pt x="567" y="599"/>
                  </a:cubicBezTo>
                  <a:cubicBezTo>
                    <a:pt x="569" y="601"/>
                    <a:pt x="578" y="601"/>
                    <a:pt x="581" y="601"/>
                  </a:cubicBezTo>
                  <a:cubicBezTo>
                    <a:pt x="583" y="601"/>
                    <a:pt x="586" y="600"/>
                    <a:pt x="588" y="600"/>
                  </a:cubicBezTo>
                  <a:cubicBezTo>
                    <a:pt x="591" y="601"/>
                    <a:pt x="590" y="603"/>
                    <a:pt x="592" y="605"/>
                  </a:cubicBezTo>
                  <a:cubicBezTo>
                    <a:pt x="593" y="606"/>
                    <a:pt x="596" y="607"/>
                    <a:pt x="597" y="607"/>
                  </a:cubicBezTo>
                  <a:cubicBezTo>
                    <a:pt x="600" y="608"/>
                    <a:pt x="601" y="609"/>
                    <a:pt x="603" y="610"/>
                  </a:cubicBezTo>
                  <a:cubicBezTo>
                    <a:pt x="605" y="611"/>
                    <a:pt x="607" y="613"/>
                    <a:pt x="609" y="614"/>
                  </a:cubicBezTo>
                  <a:cubicBezTo>
                    <a:pt x="613" y="616"/>
                    <a:pt x="615" y="612"/>
                    <a:pt x="618" y="610"/>
                  </a:cubicBezTo>
                  <a:cubicBezTo>
                    <a:pt x="623" y="607"/>
                    <a:pt x="625" y="610"/>
                    <a:pt x="625" y="615"/>
                  </a:cubicBezTo>
                  <a:cubicBezTo>
                    <a:pt x="624" y="619"/>
                    <a:pt x="626" y="622"/>
                    <a:pt x="625" y="626"/>
                  </a:cubicBezTo>
                  <a:cubicBezTo>
                    <a:pt x="625" y="629"/>
                    <a:pt x="624" y="629"/>
                    <a:pt x="625" y="631"/>
                  </a:cubicBezTo>
                  <a:cubicBezTo>
                    <a:pt x="626" y="634"/>
                    <a:pt x="628" y="635"/>
                    <a:pt x="628" y="638"/>
                  </a:cubicBezTo>
                  <a:cubicBezTo>
                    <a:pt x="628" y="642"/>
                    <a:pt x="622" y="647"/>
                    <a:pt x="620" y="650"/>
                  </a:cubicBezTo>
                  <a:cubicBezTo>
                    <a:pt x="619" y="651"/>
                    <a:pt x="618" y="652"/>
                    <a:pt x="616" y="653"/>
                  </a:cubicBezTo>
                  <a:cubicBezTo>
                    <a:pt x="614" y="655"/>
                    <a:pt x="611" y="655"/>
                    <a:pt x="612" y="658"/>
                  </a:cubicBezTo>
                  <a:cubicBezTo>
                    <a:pt x="614" y="668"/>
                    <a:pt x="630" y="661"/>
                    <a:pt x="634" y="667"/>
                  </a:cubicBezTo>
                  <a:cubicBezTo>
                    <a:pt x="635" y="668"/>
                    <a:pt x="634" y="670"/>
                    <a:pt x="635" y="671"/>
                  </a:cubicBezTo>
                  <a:cubicBezTo>
                    <a:pt x="636" y="674"/>
                    <a:pt x="639" y="676"/>
                    <a:pt x="642" y="677"/>
                  </a:cubicBezTo>
                  <a:cubicBezTo>
                    <a:pt x="648" y="682"/>
                    <a:pt x="663" y="681"/>
                    <a:pt x="670" y="679"/>
                  </a:cubicBezTo>
                  <a:cubicBezTo>
                    <a:pt x="673" y="678"/>
                    <a:pt x="675" y="677"/>
                    <a:pt x="677" y="676"/>
                  </a:cubicBezTo>
                  <a:cubicBezTo>
                    <a:pt x="681" y="675"/>
                    <a:pt x="684" y="677"/>
                    <a:pt x="684" y="672"/>
                  </a:cubicBezTo>
                  <a:cubicBezTo>
                    <a:pt x="683" y="664"/>
                    <a:pt x="671" y="663"/>
                    <a:pt x="665" y="666"/>
                  </a:cubicBezTo>
                  <a:cubicBezTo>
                    <a:pt x="663" y="662"/>
                    <a:pt x="670" y="661"/>
                    <a:pt x="672" y="660"/>
                  </a:cubicBezTo>
                  <a:cubicBezTo>
                    <a:pt x="676" y="659"/>
                    <a:pt x="678" y="658"/>
                    <a:pt x="681" y="656"/>
                  </a:cubicBezTo>
                  <a:cubicBezTo>
                    <a:pt x="683" y="654"/>
                    <a:pt x="685" y="653"/>
                    <a:pt x="686" y="650"/>
                  </a:cubicBezTo>
                  <a:cubicBezTo>
                    <a:pt x="686" y="647"/>
                    <a:pt x="686" y="642"/>
                    <a:pt x="689" y="640"/>
                  </a:cubicBezTo>
                  <a:cubicBezTo>
                    <a:pt x="692" y="639"/>
                    <a:pt x="696" y="641"/>
                    <a:pt x="699" y="640"/>
                  </a:cubicBezTo>
                  <a:cubicBezTo>
                    <a:pt x="703" y="638"/>
                    <a:pt x="706" y="635"/>
                    <a:pt x="710" y="635"/>
                  </a:cubicBezTo>
                  <a:cubicBezTo>
                    <a:pt x="715" y="635"/>
                    <a:pt x="712" y="637"/>
                    <a:pt x="715" y="639"/>
                  </a:cubicBezTo>
                  <a:cubicBezTo>
                    <a:pt x="718" y="642"/>
                    <a:pt x="721" y="634"/>
                    <a:pt x="722" y="632"/>
                  </a:cubicBezTo>
                  <a:cubicBezTo>
                    <a:pt x="724" y="630"/>
                    <a:pt x="726" y="626"/>
                    <a:pt x="728" y="625"/>
                  </a:cubicBezTo>
                  <a:cubicBezTo>
                    <a:pt x="730" y="623"/>
                    <a:pt x="733" y="625"/>
                    <a:pt x="735" y="622"/>
                  </a:cubicBezTo>
                  <a:cubicBezTo>
                    <a:pt x="740" y="617"/>
                    <a:pt x="742" y="609"/>
                    <a:pt x="750" y="611"/>
                  </a:cubicBezTo>
                  <a:cubicBezTo>
                    <a:pt x="751" y="611"/>
                    <a:pt x="753" y="612"/>
                    <a:pt x="753" y="613"/>
                  </a:cubicBezTo>
                  <a:cubicBezTo>
                    <a:pt x="755" y="613"/>
                    <a:pt x="756" y="614"/>
                    <a:pt x="758" y="614"/>
                  </a:cubicBezTo>
                  <a:cubicBezTo>
                    <a:pt x="761" y="615"/>
                    <a:pt x="764" y="615"/>
                    <a:pt x="767" y="615"/>
                  </a:cubicBezTo>
                  <a:cubicBezTo>
                    <a:pt x="774" y="615"/>
                    <a:pt x="780" y="612"/>
                    <a:pt x="787" y="613"/>
                  </a:cubicBezTo>
                  <a:cubicBezTo>
                    <a:pt x="786" y="613"/>
                    <a:pt x="787" y="614"/>
                    <a:pt x="787" y="615"/>
                  </a:cubicBezTo>
                  <a:cubicBezTo>
                    <a:pt x="789" y="615"/>
                    <a:pt x="791" y="614"/>
                    <a:pt x="793" y="613"/>
                  </a:cubicBezTo>
                  <a:cubicBezTo>
                    <a:pt x="795" y="613"/>
                    <a:pt x="799" y="613"/>
                    <a:pt x="800" y="613"/>
                  </a:cubicBezTo>
                  <a:cubicBezTo>
                    <a:pt x="804" y="611"/>
                    <a:pt x="801" y="604"/>
                    <a:pt x="797" y="605"/>
                  </a:cubicBezTo>
                  <a:cubicBezTo>
                    <a:pt x="794" y="602"/>
                    <a:pt x="797" y="598"/>
                    <a:pt x="800" y="597"/>
                  </a:cubicBezTo>
                  <a:cubicBezTo>
                    <a:pt x="804" y="595"/>
                    <a:pt x="809" y="594"/>
                    <a:pt x="809" y="589"/>
                  </a:cubicBezTo>
                  <a:cubicBezTo>
                    <a:pt x="810" y="589"/>
                    <a:pt x="812" y="590"/>
                    <a:pt x="813" y="590"/>
                  </a:cubicBezTo>
                  <a:cubicBezTo>
                    <a:pt x="815" y="584"/>
                    <a:pt x="804" y="587"/>
                    <a:pt x="802" y="586"/>
                  </a:cubicBezTo>
                  <a:cubicBezTo>
                    <a:pt x="799" y="585"/>
                    <a:pt x="799" y="581"/>
                    <a:pt x="795" y="581"/>
                  </a:cubicBezTo>
                  <a:cubicBezTo>
                    <a:pt x="791" y="580"/>
                    <a:pt x="787" y="583"/>
                    <a:pt x="784" y="585"/>
                  </a:cubicBezTo>
                  <a:cubicBezTo>
                    <a:pt x="782" y="585"/>
                    <a:pt x="783" y="586"/>
                    <a:pt x="781" y="586"/>
                  </a:cubicBezTo>
                  <a:cubicBezTo>
                    <a:pt x="780" y="587"/>
                    <a:pt x="778" y="586"/>
                    <a:pt x="776" y="586"/>
                  </a:cubicBezTo>
                  <a:cubicBezTo>
                    <a:pt x="776" y="587"/>
                    <a:pt x="776" y="587"/>
                    <a:pt x="776" y="588"/>
                  </a:cubicBezTo>
                  <a:cubicBezTo>
                    <a:pt x="774" y="588"/>
                    <a:pt x="771" y="587"/>
                    <a:pt x="769" y="586"/>
                  </a:cubicBezTo>
                  <a:cubicBezTo>
                    <a:pt x="767" y="584"/>
                    <a:pt x="767" y="582"/>
                    <a:pt x="764" y="582"/>
                  </a:cubicBezTo>
                  <a:cubicBezTo>
                    <a:pt x="761" y="581"/>
                    <a:pt x="760" y="585"/>
                    <a:pt x="758" y="587"/>
                  </a:cubicBezTo>
                  <a:cubicBezTo>
                    <a:pt x="757" y="588"/>
                    <a:pt x="756" y="588"/>
                    <a:pt x="755" y="589"/>
                  </a:cubicBezTo>
                  <a:cubicBezTo>
                    <a:pt x="754" y="589"/>
                    <a:pt x="753" y="589"/>
                    <a:pt x="753" y="590"/>
                  </a:cubicBezTo>
                  <a:cubicBezTo>
                    <a:pt x="753" y="590"/>
                    <a:pt x="752" y="591"/>
                    <a:pt x="752" y="591"/>
                  </a:cubicBezTo>
                  <a:cubicBezTo>
                    <a:pt x="751" y="592"/>
                    <a:pt x="750" y="592"/>
                    <a:pt x="749" y="593"/>
                  </a:cubicBezTo>
                  <a:cubicBezTo>
                    <a:pt x="746" y="594"/>
                    <a:pt x="747" y="593"/>
                    <a:pt x="745" y="595"/>
                  </a:cubicBezTo>
                  <a:cubicBezTo>
                    <a:pt x="743" y="597"/>
                    <a:pt x="743" y="598"/>
                    <a:pt x="740" y="599"/>
                  </a:cubicBezTo>
                  <a:cubicBezTo>
                    <a:pt x="734" y="600"/>
                    <a:pt x="730" y="596"/>
                    <a:pt x="726" y="592"/>
                  </a:cubicBezTo>
                  <a:cubicBezTo>
                    <a:pt x="721" y="588"/>
                    <a:pt x="716" y="584"/>
                    <a:pt x="709" y="583"/>
                  </a:cubicBezTo>
                  <a:cubicBezTo>
                    <a:pt x="710" y="582"/>
                    <a:pt x="714" y="582"/>
                    <a:pt x="716" y="579"/>
                  </a:cubicBezTo>
                  <a:cubicBezTo>
                    <a:pt x="719" y="574"/>
                    <a:pt x="713" y="573"/>
                    <a:pt x="709" y="573"/>
                  </a:cubicBezTo>
                  <a:cubicBezTo>
                    <a:pt x="709" y="571"/>
                    <a:pt x="710" y="567"/>
                    <a:pt x="709" y="565"/>
                  </a:cubicBezTo>
                  <a:cubicBezTo>
                    <a:pt x="706" y="562"/>
                    <a:pt x="699" y="563"/>
                    <a:pt x="695" y="563"/>
                  </a:cubicBezTo>
                  <a:cubicBezTo>
                    <a:pt x="695" y="560"/>
                    <a:pt x="695" y="556"/>
                    <a:pt x="694" y="554"/>
                  </a:cubicBezTo>
                  <a:cubicBezTo>
                    <a:pt x="694" y="551"/>
                    <a:pt x="694" y="551"/>
                    <a:pt x="690" y="551"/>
                  </a:cubicBezTo>
                  <a:cubicBezTo>
                    <a:pt x="687" y="551"/>
                    <a:pt x="686" y="552"/>
                    <a:pt x="684" y="554"/>
                  </a:cubicBezTo>
                  <a:cubicBezTo>
                    <a:pt x="683" y="552"/>
                    <a:pt x="680" y="548"/>
                    <a:pt x="678" y="546"/>
                  </a:cubicBezTo>
                  <a:cubicBezTo>
                    <a:pt x="677" y="544"/>
                    <a:pt x="678" y="543"/>
                    <a:pt x="676" y="542"/>
                  </a:cubicBezTo>
                  <a:cubicBezTo>
                    <a:pt x="673" y="540"/>
                    <a:pt x="670" y="542"/>
                    <a:pt x="668" y="542"/>
                  </a:cubicBezTo>
                  <a:cubicBezTo>
                    <a:pt x="665" y="542"/>
                    <a:pt x="662" y="541"/>
                    <a:pt x="660" y="539"/>
                  </a:cubicBezTo>
                  <a:cubicBezTo>
                    <a:pt x="658" y="539"/>
                    <a:pt x="655" y="536"/>
                    <a:pt x="654" y="535"/>
                  </a:cubicBezTo>
                  <a:cubicBezTo>
                    <a:pt x="651" y="535"/>
                    <a:pt x="650" y="537"/>
                    <a:pt x="648" y="538"/>
                  </a:cubicBezTo>
                  <a:cubicBezTo>
                    <a:pt x="646" y="538"/>
                    <a:pt x="644" y="537"/>
                    <a:pt x="641" y="535"/>
                  </a:cubicBezTo>
                  <a:moveTo>
                    <a:pt x="638" y="532"/>
                  </a:moveTo>
                  <a:cubicBezTo>
                    <a:pt x="638" y="532"/>
                    <a:pt x="637" y="532"/>
                    <a:pt x="637" y="532"/>
                  </a:cubicBezTo>
                  <a:cubicBezTo>
                    <a:pt x="637" y="532"/>
                    <a:pt x="638" y="533"/>
                    <a:pt x="638" y="533"/>
                  </a:cubicBezTo>
                  <a:cubicBezTo>
                    <a:pt x="638" y="532"/>
                    <a:pt x="638" y="532"/>
                    <a:pt x="638" y="532"/>
                  </a:cubicBezTo>
                  <a:moveTo>
                    <a:pt x="931" y="441"/>
                  </a:moveTo>
                  <a:cubicBezTo>
                    <a:pt x="929" y="441"/>
                    <a:pt x="928" y="441"/>
                    <a:pt x="927" y="442"/>
                  </a:cubicBezTo>
                  <a:cubicBezTo>
                    <a:pt x="928" y="443"/>
                    <a:pt x="930" y="443"/>
                    <a:pt x="931" y="443"/>
                  </a:cubicBezTo>
                  <a:cubicBezTo>
                    <a:pt x="937" y="443"/>
                    <a:pt x="942" y="442"/>
                    <a:pt x="948" y="438"/>
                  </a:cubicBezTo>
                  <a:cubicBezTo>
                    <a:pt x="944" y="439"/>
                    <a:pt x="942" y="442"/>
                    <a:pt x="939" y="442"/>
                  </a:cubicBezTo>
                  <a:cubicBezTo>
                    <a:pt x="936" y="442"/>
                    <a:pt x="934" y="441"/>
                    <a:pt x="931" y="441"/>
                  </a:cubicBezTo>
                  <a:moveTo>
                    <a:pt x="1024" y="264"/>
                  </a:moveTo>
                  <a:cubicBezTo>
                    <a:pt x="1021" y="260"/>
                    <a:pt x="1014" y="262"/>
                    <a:pt x="1010" y="261"/>
                  </a:cubicBezTo>
                  <a:cubicBezTo>
                    <a:pt x="1010" y="260"/>
                    <a:pt x="1010" y="258"/>
                    <a:pt x="1009" y="257"/>
                  </a:cubicBezTo>
                  <a:cubicBezTo>
                    <a:pt x="1009" y="255"/>
                    <a:pt x="1007" y="255"/>
                    <a:pt x="1008" y="252"/>
                  </a:cubicBezTo>
                  <a:cubicBezTo>
                    <a:pt x="1008" y="250"/>
                    <a:pt x="1009" y="248"/>
                    <a:pt x="1009" y="247"/>
                  </a:cubicBezTo>
                  <a:cubicBezTo>
                    <a:pt x="1010" y="245"/>
                    <a:pt x="1012" y="245"/>
                    <a:pt x="1013" y="244"/>
                  </a:cubicBezTo>
                  <a:cubicBezTo>
                    <a:pt x="1013" y="243"/>
                    <a:pt x="1014" y="240"/>
                    <a:pt x="1013" y="239"/>
                  </a:cubicBezTo>
                  <a:cubicBezTo>
                    <a:pt x="1012" y="238"/>
                    <a:pt x="1008" y="239"/>
                    <a:pt x="1007" y="239"/>
                  </a:cubicBezTo>
                  <a:cubicBezTo>
                    <a:pt x="1004" y="240"/>
                    <a:pt x="1003" y="243"/>
                    <a:pt x="1001" y="244"/>
                  </a:cubicBezTo>
                  <a:cubicBezTo>
                    <a:pt x="997" y="245"/>
                    <a:pt x="991" y="244"/>
                    <a:pt x="988" y="242"/>
                  </a:cubicBezTo>
                  <a:cubicBezTo>
                    <a:pt x="986" y="241"/>
                    <a:pt x="985" y="238"/>
                    <a:pt x="984" y="236"/>
                  </a:cubicBezTo>
                  <a:cubicBezTo>
                    <a:pt x="983" y="235"/>
                    <a:pt x="983" y="232"/>
                    <a:pt x="982" y="231"/>
                  </a:cubicBezTo>
                  <a:cubicBezTo>
                    <a:pt x="980" y="229"/>
                    <a:pt x="975" y="229"/>
                    <a:pt x="972" y="229"/>
                  </a:cubicBezTo>
                  <a:cubicBezTo>
                    <a:pt x="970" y="229"/>
                    <a:pt x="968" y="230"/>
                    <a:pt x="966" y="229"/>
                  </a:cubicBezTo>
                  <a:cubicBezTo>
                    <a:pt x="964" y="229"/>
                    <a:pt x="962" y="226"/>
                    <a:pt x="960" y="225"/>
                  </a:cubicBezTo>
                  <a:cubicBezTo>
                    <a:pt x="957" y="224"/>
                    <a:pt x="953" y="220"/>
                    <a:pt x="950" y="221"/>
                  </a:cubicBezTo>
                  <a:cubicBezTo>
                    <a:pt x="950" y="227"/>
                    <a:pt x="943" y="223"/>
                    <a:pt x="941" y="221"/>
                  </a:cubicBezTo>
                  <a:cubicBezTo>
                    <a:pt x="939" y="219"/>
                    <a:pt x="937" y="219"/>
                    <a:pt x="934" y="217"/>
                  </a:cubicBezTo>
                  <a:cubicBezTo>
                    <a:pt x="929" y="215"/>
                    <a:pt x="931" y="215"/>
                    <a:pt x="930" y="211"/>
                  </a:cubicBezTo>
                  <a:cubicBezTo>
                    <a:pt x="929" y="208"/>
                    <a:pt x="928" y="207"/>
                    <a:pt x="925" y="208"/>
                  </a:cubicBezTo>
                  <a:cubicBezTo>
                    <a:pt x="923" y="209"/>
                    <a:pt x="923" y="212"/>
                    <a:pt x="921" y="213"/>
                  </a:cubicBezTo>
                  <a:cubicBezTo>
                    <a:pt x="917" y="215"/>
                    <a:pt x="916" y="211"/>
                    <a:pt x="913" y="209"/>
                  </a:cubicBezTo>
                  <a:cubicBezTo>
                    <a:pt x="911" y="208"/>
                    <a:pt x="909" y="209"/>
                    <a:pt x="907" y="208"/>
                  </a:cubicBezTo>
                  <a:cubicBezTo>
                    <a:pt x="906" y="206"/>
                    <a:pt x="907" y="204"/>
                    <a:pt x="907" y="202"/>
                  </a:cubicBezTo>
                  <a:cubicBezTo>
                    <a:pt x="898" y="201"/>
                    <a:pt x="904" y="206"/>
                    <a:pt x="901" y="210"/>
                  </a:cubicBezTo>
                  <a:cubicBezTo>
                    <a:pt x="899" y="212"/>
                    <a:pt x="894" y="213"/>
                    <a:pt x="891" y="212"/>
                  </a:cubicBezTo>
                  <a:cubicBezTo>
                    <a:pt x="890" y="212"/>
                    <a:pt x="889" y="209"/>
                    <a:pt x="887" y="208"/>
                  </a:cubicBezTo>
                  <a:cubicBezTo>
                    <a:pt x="885" y="207"/>
                    <a:pt x="882" y="206"/>
                    <a:pt x="879" y="204"/>
                  </a:cubicBezTo>
                  <a:cubicBezTo>
                    <a:pt x="874" y="202"/>
                    <a:pt x="873" y="201"/>
                    <a:pt x="872" y="195"/>
                  </a:cubicBezTo>
                  <a:cubicBezTo>
                    <a:pt x="871" y="190"/>
                    <a:pt x="871" y="177"/>
                    <a:pt x="862" y="182"/>
                  </a:cubicBezTo>
                  <a:cubicBezTo>
                    <a:pt x="863" y="177"/>
                    <a:pt x="859" y="172"/>
                    <a:pt x="855" y="172"/>
                  </a:cubicBezTo>
                  <a:cubicBezTo>
                    <a:pt x="853" y="173"/>
                    <a:pt x="853" y="174"/>
                    <a:pt x="851" y="175"/>
                  </a:cubicBezTo>
                  <a:cubicBezTo>
                    <a:pt x="849" y="176"/>
                    <a:pt x="850" y="177"/>
                    <a:pt x="847" y="177"/>
                  </a:cubicBezTo>
                  <a:cubicBezTo>
                    <a:pt x="843" y="178"/>
                    <a:pt x="840" y="179"/>
                    <a:pt x="836" y="180"/>
                  </a:cubicBezTo>
                  <a:cubicBezTo>
                    <a:pt x="834" y="180"/>
                    <a:pt x="832" y="181"/>
                    <a:pt x="829" y="181"/>
                  </a:cubicBezTo>
                  <a:cubicBezTo>
                    <a:pt x="825" y="182"/>
                    <a:pt x="821" y="184"/>
                    <a:pt x="817" y="187"/>
                  </a:cubicBezTo>
                  <a:cubicBezTo>
                    <a:pt x="815" y="188"/>
                    <a:pt x="815" y="188"/>
                    <a:pt x="814" y="191"/>
                  </a:cubicBezTo>
                  <a:cubicBezTo>
                    <a:pt x="813" y="195"/>
                    <a:pt x="812" y="197"/>
                    <a:pt x="808" y="194"/>
                  </a:cubicBezTo>
                  <a:cubicBezTo>
                    <a:pt x="804" y="192"/>
                    <a:pt x="806" y="182"/>
                    <a:pt x="799" y="185"/>
                  </a:cubicBezTo>
                  <a:cubicBezTo>
                    <a:pt x="796" y="186"/>
                    <a:pt x="797" y="187"/>
                    <a:pt x="794" y="186"/>
                  </a:cubicBezTo>
                  <a:cubicBezTo>
                    <a:pt x="792" y="185"/>
                    <a:pt x="791" y="182"/>
                    <a:pt x="790" y="180"/>
                  </a:cubicBezTo>
                  <a:cubicBezTo>
                    <a:pt x="788" y="179"/>
                    <a:pt x="786" y="178"/>
                    <a:pt x="784" y="178"/>
                  </a:cubicBezTo>
                  <a:cubicBezTo>
                    <a:pt x="780" y="177"/>
                    <a:pt x="777" y="175"/>
                    <a:pt x="773" y="175"/>
                  </a:cubicBezTo>
                  <a:cubicBezTo>
                    <a:pt x="767" y="175"/>
                    <a:pt x="762" y="176"/>
                    <a:pt x="762" y="183"/>
                  </a:cubicBezTo>
                  <a:cubicBezTo>
                    <a:pt x="758" y="184"/>
                    <a:pt x="753" y="175"/>
                    <a:pt x="751" y="173"/>
                  </a:cubicBezTo>
                  <a:cubicBezTo>
                    <a:pt x="747" y="170"/>
                    <a:pt x="741" y="167"/>
                    <a:pt x="742" y="162"/>
                  </a:cubicBezTo>
                  <a:cubicBezTo>
                    <a:pt x="743" y="157"/>
                    <a:pt x="749" y="156"/>
                    <a:pt x="749" y="152"/>
                  </a:cubicBezTo>
                  <a:cubicBezTo>
                    <a:pt x="749" y="151"/>
                    <a:pt x="747" y="148"/>
                    <a:pt x="747" y="147"/>
                  </a:cubicBezTo>
                  <a:cubicBezTo>
                    <a:pt x="746" y="143"/>
                    <a:pt x="745" y="139"/>
                    <a:pt x="744" y="135"/>
                  </a:cubicBezTo>
                  <a:cubicBezTo>
                    <a:pt x="744" y="132"/>
                    <a:pt x="742" y="130"/>
                    <a:pt x="742" y="127"/>
                  </a:cubicBezTo>
                  <a:cubicBezTo>
                    <a:pt x="742" y="125"/>
                    <a:pt x="742" y="124"/>
                    <a:pt x="744" y="123"/>
                  </a:cubicBezTo>
                  <a:cubicBezTo>
                    <a:pt x="740" y="122"/>
                    <a:pt x="736" y="122"/>
                    <a:pt x="733" y="121"/>
                  </a:cubicBezTo>
                  <a:cubicBezTo>
                    <a:pt x="730" y="120"/>
                    <a:pt x="730" y="116"/>
                    <a:pt x="729" y="113"/>
                  </a:cubicBezTo>
                  <a:cubicBezTo>
                    <a:pt x="728" y="110"/>
                    <a:pt x="726" y="108"/>
                    <a:pt x="726" y="106"/>
                  </a:cubicBezTo>
                  <a:cubicBezTo>
                    <a:pt x="721" y="104"/>
                    <a:pt x="720" y="111"/>
                    <a:pt x="716" y="111"/>
                  </a:cubicBezTo>
                  <a:cubicBezTo>
                    <a:pt x="712" y="111"/>
                    <a:pt x="707" y="110"/>
                    <a:pt x="703" y="108"/>
                  </a:cubicBezTo>
                  <a:cubicBezTo>
                    <a:pt x="699" y="106"/>
                    <a:pt x="695" y="103"/>
                    <a:pt x="690" y="104"/>
                  </a:cubicBezTo>
                  <a:cubicBezTo>
                    <a:pt x="689" y="104"/>
                    <a:pt x="688" y="105"/>
                    <a:pt x="686" y="105"/>
                  </a:cubicBezTo>
                  <a:cubicBezTo>
                    <a:pt x="683" y="105"/>
                    <a:pt x="680" y="106"/>
                    <a:pt x="677" y="105"/>
                  </a:cubicBezTo>
                  <a:cubicBezTo>
                    <a:pt x="677" y="103"/>
                    <a:pt x="677" y="99"/>
                    <a:pt x="680" y="99"/>
                  </a:cubicBezTo>
                  <a:cubicBezTo>
                    <a:pt x="680" y="96"/>
                    <a:pt x="671" y="94"/>
                    <a:pt x="672" y="89"/>
                  </a:cubicBezTo>
                  <a:cubicBezTo>
                    <a:pt x="673" y="86"/>
                    <a:pt x="678" y="88"/>
                    <a:pt x="680" y="85"/>
                  </a:cubicBezTo>
                  <a:cubicBezTo>
                    <a:pt x="682" y="83"/>
                    <a:pt x="681" y="77"/>
                    <a:pt x="681" y="74"/>
                  </a:cubicBezTo>
                  <a:cubicBezTo>
                    <a:pt x="678" y="74"/>
                    <a:pt x="672" y="72"/>
                    <a:pt x="670" y="70"/>
                  </a:cubicBezTo>
                  <a:cubicBezTo>
                    <a:pt x="667" y="67"/>
                    <a:pt x="669" y="65"/>
                    <a:pt x="673" y="65"/>
                  </a:cubicBezTo>
                  <a:cubicBezTo>
                    <a:pt x="677" y="64"/>
                    <a:pt x="680" y="65"/>
                    <a:pt x="684" y="65"/>
                  </a:cubicBezTo>
                  <a:cubicBezTo>
                    <a:pt x="687" y="65"/>
                    <a:pt x="687" y="65"/>
                    <a:pt x="690" y="62"/>
                  </a:cubicBezTo>
                  <a:cubicBezTo>
                    <a:pt x="692" y="60"/>
                    <a:pt x="691" y="45"/>
                    <a:pt x="686" y="45"/>
                  </a:cubicBezTo>
                  <a:cubicBezTo>
                    <a:pt x="684" y="45"/>
                    <a:pt x="682" y="45"/>
                    <a:pt x="680" y="45"/>
                  </a:cubicBezTo>
                  <a:cubicBezTo>
                    <a:pt x="678" y="44"/>
                    <a:pt x="678" y="45"/>
                    <a:pt x="677" y="43"/>
                  </a:cubicBezTo>
                  <a:cubicBezTo>
                    <a:pt x="676" y="41"/>
                    <a:pt x="676" y="37"/>
                    <a:pt x="673" y="37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6" y="44"/>
                    <a:pt x="676" y="45"/>
                    <a:pt x="676" y="45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5" y="42"/>
                    <a:pt x="673" y="41"/>
                    <a:pt x="672" y="40"/>
                  </a:cubicBezTo>
                  <a:cubicBezTo>
                    <a:pt x="672" y="39"/>
                    <a:pt x="668" y="36"/>
                    <a:pt x="668" y="35"/>
                  </a:cubicBezTo>
                  <a:cubicBezTo>
                    <a:pt x="666" y="32"/>
                    <a:pt x="668" y="31"/>
                    <a:pt x="669" y="29"/>
                  </a:cubicBezTo>
                  <a:cubicBezTo>
                    <a:pt x="670" y="27"/>
                    <a:pt x="671" y="26"/>
                    <a:pt x="671" y="23"/>
                  </a:cubicBezTo>
                  <a:cubicBezTo>
                    <a:pt x="670" y="19"/>
                    <a:pt x="668" y="21"/>
                    <a:pt x="666" y="19"/>
                  </a:cubicBezTo>
                  <a:cubicBezTo>
                    <a:pt x="665" y="18"/>
                    <a:pt x="664" y="18"/>
                    <a:pt x="664" y="17"/>
                  </a:cubicBezTo>
                  <a:cubicBezTo>
                    <a:pt x="662" y="13"/>
                    <a:pt x="662" y="10"/>
                    <a:pt x="658" y="7"/>
                  </a:cubicBezTo>
                  <a:cubicBezTo>
                    <a:pt x="655" y="4"/>
                    <a:pt x="652" y="0"/>
                    <a:pt x="649" y="6"/>
                  </a:cubicBezTo>
                  <a:cubicBezTo>
                    <a:pt x="646" y="12"/>
                    <a:pt x="647" y="15"/>
                    <a:pt x="639" y="14"/>
                  </a:cubicBezTo>
                  <a:cubicBezTo>
                    <a:pt x="639" y="10"/>
                    <a:pt x="639" y="10"/>
                    <a:pt x="636" y="9"/>
                  </a:cubicBezTo>
                  <a:cubicBezTo>
                    <a:pt x="634" y="8"/>
                    <a:pt x="632" y="8"/>
                    <a:pt x="630" y="8"/>
                  </a:cubicBezTo>
                  <a:cubicBezTo>
                    <a:pt x="629" y="9"/>
                    <a:pt x="629" y="10"/>
                    <a:pt x="628" y="11"/>
                  </a:cubicBezTo>
                  <a:cubicBezTo>
                    <a:pt x="627" y="11"/>
                    <a:pt x="625" y="11"/>
                    <a:pt x="624" y="11"/>
                  </a:cubicBezTo>
                  <a:cubicBezTo>
                    <a:pt x="621" y="11"/>
                    <a:pt x="618" y="10"/>
                    <a:pt x="615" y="11"/>
                  </a:cubicBezTo>
                  <a:cubicBezTo>
                    <a:pt x="615" y="11"/>
                    <a:pt x="612" y="14"/>
                    <a:pt x="612" y="14"/>
                  </a:cubicBezTo>
                  <a:cubicBezTo>
                    <a:pt x="612" y="14"/>
                    <a:pt x="610" y="16"/>
                    <a:pt x="609" y="17"/>
                  </a:cubicBezTo>
                  <a:cubicBezTo>
                    <a:pt x="608" y="18"/>
                    <a:pt x="606" y="18"/>
                    <a:pt x="603" y="17"/>
                  </a:cubicBezTo>
                  <a:cubicBezTo>
                    <a:pt x="601" y="17"/>
                    <a:pt x="600" y="16"/>
                    <a:pt x="598" y="16"/>
                  </a:cubicBezTo>
                  <a:cubicBezTo>
                    <a:pt x="596" y="15"/>
                    <a:pt x="595" y="15"/>
                    <a:pt x="594" y="15"/>
                  </a:cubicBezTo>
                  <a:cubicBezTo>
                    <a:pt x="593" y="15"/>
                    <a:pt x="592" y="15"/>
                    <a:pt x="592" y="15"/>
                  </a:cubicBezTo>
                  <a:cubicBezTo>
                    <a:pt x="591" y="15"/>
                    <a:pt x="590" y="14"/>
                    <a:pt x="590" y="13"/>
                  </a:cubicBezTo>
                  <a:cubicBezTo>
                    <a:pt x="589" y="12"/>
                    <a:pt x="589" y="11"/>
                    <a:pt x="587" y="10"/>
                  </a:cubicBezTo>
                  <a:cubicBezTo>
                    <a:pt x="586" y="9"/>
                    <a:pt x="585" y="9"/>
                    <a:pt x="584" y="9"/>
                  </a:cubicBezTo>
                  <a:cubicBezTo>
                    <a:pt x="582" y="8"/>
                    <a:pt x="584" y="7"/>
                    <a:pt x="582" y="7"/>
                  </a:cubicBezTo>
                  <a:cubicBezTo>
                    <a:pt x="582" y="7"/>
                    <a:pt x="579" y="10"/>
                    <a:pt x="579" y="9"/>
                  </a:cubicBezTo>
                  <a:cubicBezTo>
                    <a:pt x="575" y="14"/>
                    <a:pt x="577" y="17"/>
                    <a:pt x="576" y="23"/>
                  </a:cubicBezTo>
                  <a:cubicBezTo>
                    <a:pt x="576" y="24"/>
                    <a:pt x="575" y="28"/>
                    <a:pt x="574" y="29"/>
                  </a:cubicBezTo>
                  <a:cubicBezTo>
                    <a:pt x="573" y="30"/>
                    <a:pt x="570" y="30"/>
                    <a:pt x="569" y="31"/>
                  </a:cubicBezTo>
                  <a:cubicBezTo>
                    <a:pt x="567" y="33"/>
                    <a:pt x="566" y="35"/>
                    <a:pt x="564" y="36"/>
                  </a:cubicBezTo>
                  <a:cubicBezTo>
                    <a:pt x="561" y="36"/>
                    <a:pt x="554" y="36"/>
                    <a:pt x="552" y="34"/>
                  </a:cubicBezTo>
                  <a:cubicBezTo>
                    <a:pt x="550" y="31"/>
                    <a:pt x="552" y="30"/>
                    <a:pt x="549" y="29"/>
                  </a:cubicBezTo>
                  <a:cubicBezTo>
                    <a:pt x="549" y="30"/>
                    <a:pt x="549" y="30"/>
                    <a:pt x="549" y="31"/>
                  </a:cubicBezTo>
                  <a:cubicBezTo>
                    <a:pt x="548" y="33"/>
                    <a:pt x="545" y="31"/>
                    <a:pt x="543" y="30"/>
                  </a:cubicBezTo>
                  <a:cubicBezTo>
                    <a:pt x="537" y="29"/>
                    <a:pt x="530" y="27"/>
                    <a:pt x="523" y="27"/>
                  </a:cubicBezTo>
                  <a:cubicBezTo>
                    <a:pt x="521" y="27"/>
                    <a:pt x="521" y="27"/>
                    <a:pt x="520" y="29"/>
                  </a:cubicBezTo>
                  <a:cubicBezTo>
                    <a:pt x="519" y="31"/>
                    <a:pt x="517" y="34"/>
                    <a:pt x="516" y="35"/>
                  </a:cubicBezTo>
                  <a:cubicBezTo>
                    <a:pt x="514" y="35"/>
                    <a:pt x="510" y="36"/>
                    <a:pt x="508" y="35"/>
                  </a:cubicBezTo>
                  <a:cubicBezTo>
                    <a:pt x="506" y="34"/>
                    <a:pt x="507" y="34"/>
                    <a:pt x="506" y="33"/>
                  </a:cubicBezTo>
                  <a:cubicBezTo>
                    <a:pt x="505" y="32"/>
                    <a:pt x="504" y="29"/>
                    <a:pt x="502" y="31"/>
                  </a:cubicBezTo>
                  <a:cubicBezTo>
                    <a:pt x="501" y="32"/>
                    <a:pt x="502" y="35"/>
                    <a:pt x="502" y="36"/>
                  </a:cubicBezTo>
                  <a:cubicBezTo>
                    <a:pt x="502" y="38"/>
                    <a:pt x="501" y="40"/>
                    <a:pt x="500" y="42"/>
                  </a:cubicBezTo>
                  <a:cubicBezTo>
                    <a:pt x="499" y="42"/>
                    <a:pt x="499" y="42"/>
                    <a:pt x="498" y="43"/>
                  </a:cubicBezTo>
                  <a:cubicBezTo>
                    <a:pt x="497" y="44"/>
                    <a:pt x="497" y="45"/>
                    <a:pt x="496" y="46"/>
                  </a:cubicBezTo>
                  <a:cubicBezTo>
                    <a:pt x="495" y="48"/>
                    <a:pt x="493" y="51"/>
                    <a:pt x="492" y="52"/>
                  </a:cubicBezTo>
                  <a:cubicBezTo>
                    <a:pt x="491" y="53"/>
                    <a:pt x="490" y="53"/>
                    <a:pt x="490" y="54"/>
                  </a:cubicBezTo>
                  <a:cubicBezTo>
                    <a:pt x="488" y="55"/>
                    <a:pt x="488" y="56"/>
                    <a:pt x="487" y="58"/>
                  </a:cubicBezTo>
                  <a:cubicBezTo>
                    <a:pt x="485" y="61"/>
                    <a:pt x="483" y="64"/>
                    <a:pt x="481" y="67"/>
                  </a:cubicBezTo>
                  <a:cubicBezTo>
                    <a:pt x="476" y="75"/>
                    <a:pt x="478" y="84"/>
                    <a:pt x="480" y="92"/>
                  </a:cubicBezTo>
                  <a:cubicBezTo>
                    <a:pt x="481" y="95"/>
                    <a:pt x="483" y="98"/>
                    <a:pt x="482" y="101"/>
                  </a:cubicBezTo>
                  <a:cubicBezTo>
                    <a:pt x="481" y="103"/>
                    <a:pt x="479" y="106"/>
                    <a:pt x="476" y="105"/>
                  </a:cubicBezTo>
                  <a:cubicBezTo>
                    <a:pt x="474" y="105"/>
                    <a:pt x="473" y="104"/>
                    <a:pt x="472" y="103"/>
                  </a:cubicBezTo>
                  <a:cubicBezTo>
                    <a:pt x="470" y="101"/>
                    <a:pt x="468" y="99"/>
                    <a:pt x="466" y="97"/>
                  </a:cubicBezTo>
                  <a:cubicBezTo>
                    <a:pt x="464" y="94"/>
                    <a:pt x="461" y="94"/>
                    <a:pt x="459" y="92"/>
                  </a:cubicBezTo>
                  <a:cubicBezTo>
                    <a:pt x="457" y="91"/>
                    <a:pt x="456" y="86"/>
                    <a:pt x="453" y="85"/>
                  </a:cubicBezTo>
                  <a:cubicBezTo>
                    <a:pt x="450" y="83"/>
                    <a:pt x="446" y="87"/>
                    <a:pt x="442" y="88"/>
                  </a:cubicBezTo>
                  <a:cubicBezTo>
                    <a:pt x="439" y="88"/>
                    <a:pt x="435" y="88"/>
                    <a:pt x="432" y="88"/>
                  </a:cubicBezTo>
                  <a:cubicBezTo>
                    <a:pt x="432" y="85"/>
                    <a:pt x="431" y="82"/>
                    <a:pt x="428" y="81"/>
                  </a:cubicBezTo>
                  <a:cubicBezTo>
                    <a:pt x="424" y="79"/>
                    <a:pt x="419" y="82"/>
                    <a:pt x="418" y="87"/>
                  </a:cubicBezTo>
                  <a:cubicBezTo>
                    <a:pt x="418" y="89"/>
                    <a:pt x="418" y="90"/>
                    <a:pt x="417" y="92"/>
                  </a:cubicBezTo>
                  <a:cubicBezTo>
                    <a:pt x="416" y="93"/>
                    <a:pt x="416" y="94"/>
                    <a:pt x="414" y="95"/>
                  </a:cubicBezTo>
                  <a:cubicBezTo>
                    <a:pt x="412" y="95"/>
                    <a:pt x="409" y="94"/>
                    <a:pt x="408" y="93"/>
                  </a:cubicBezTo>
                  <a:cubicBezTo>
                    <a:pt x="405" y="90"/>
                    <a:pt x="403" y="83"/>
                    <a:pt x="403" y="79"/>
                  </a:cubicBezTo>
                  <a:cubicBezTo>
                    <a:pt x="402" y="76"/>
                    <a:pt x="400" y="71"/>
                    <a:pt x="395" y="73"/>
                  </a:cubicBezTo>
                  <a:cubicBezTo>
                    <a:pt x="393" y="74"/>
                    <a:pt x="393" y="76"/>
                    <a:pt x="392" y="77"/>
                  </a:cubicBezTo>
                  <a:cubicBezTo>
                    <a:pt x="391" y="79"/>
                    <a:pt x="389" y="80"/>
                    <a:pt x="387" y="80"/>
                  </a:cubicBezTo>
                  <a:cubicBezTo>
                    <a:pt x="385" y="81"/>
                    <a:pt x="384" y="81"/>
                    <a:pt x="382" y="82"/>
                  </a:cubicBezTo>
                  <a:cubicBezTo>
                    <a:pt x="379" y="83"/>
                    <a:pt x="379" y="82"/>
                    <a:pt x="378" y="84"/>
                  </a:cubicBezTo>
                  <a:cubicBezTo>
                    <a:pt x="378" y="86"/>
                    <a:pt x="380" y="91"/>
                    <a:pt x="378" y="92"/>
                  </a:cubicBezTo>
                  <a:cubicBezTo>
                    <a:pt x="377" y="93"/>
                    <a:pt x="374" y="93"/>
                    <a:pt x="372" y="93"/>
                  </a:cubicBezTo>
                  <a:cubicBezTo>
                    <a:pt x="372" y="88"/>
                    <a:pt x="374" y="79"/>
                    <a:pt x="368" y="77"/>
                  </a:cubicBezTo>
                  <a:cubicBezTo>
                    <a:pt x="367" y="77"/>
                    <a:pt x="364" y="77"/>
                    <a:pt x="363" y="77"/>
                  </a:cubicBezTo>
                  <a:cubicBezTo>
                    <a:pt x="361" y="78"/>
                    <a:pt x="360" y="80"/>
                    <a:pt x="359" y="81"/>
                  </a:cubicBezTo>
                  <a:cubicBezTo>
                    <a:pt x="357" y="82"/>
                    <a:pt x="356" y="81"/>
                    <a:pt x="354" y="78"/>
                  </a:cubicBezTo>
                  <a:cubicBezTo>
                    <a:pt x="353" y="75"/>
                    <a:pt x="351" y="66"/>
                    <a:pt x="347" y="66"/>
                  </a:cubicBezTo>
                  <a:cubicBezTo>
                    <a:pt x="344" y="65"/>
                    <a:pt x="343" y="70"/>
                    <a:pt x="343" y="72"/>
                  </a:cubicBezTo>
                  <a:cubicBezTo>
                    <a:pt x="342" y="74"/>
                    <a:pt x="341" y="75"/>
                    <a:pt x="338" y="75"/>
                  </a:cubicBezTo>
                  <a:cubicBezTo>
                    <a:pt x="336" y="75"/>
                    <a:pt x="333" y="72"/>
                    <a:pt x="332" y="73"/>
                  </a:cubicBezTo>
                  <a:cubicBezTo>
                    <a:pt x="330" y="74"/>
                    <a:pt x="331" y="77"/>
                    <a:pt x="331" y="79"/>
                  </a:cubicBezTo>
                  <a:cubicBezTo>
                    <a:pt x="330" y="81"/>
                    <a:pt x="329" y="82"/>
                    <a:pt x="327" y="84"/>
                  </a:cubicBezTo>
                  <a:cubicBezTo>
                    <a:pt x="324" y="86"/>
                    <a:pt x="323" y="86"/>
                    <a:pt x="321" y="83"/>
                  </a:cubicBezTo>
                  <a:cubicBezTo>
                    <a:pt x="320" y="81"/>
                    <a:pt x="319" y="78"/>
                    <a:pt x="318" y="75"/>
                  </a:cubicBezTo>
                  <a:cubicBezTo>
                    <a:pt x="317" y="72"/>
                    <a:pt x="314" y="72"/>
                    <a:pt x="311" y="72"/>
                  </a:cubicBezTo>
                  <a:cubicBezTo>
                    <a:pt x="308" y="72"/>
                    <a:pt x="305" y="75"/>
                    <a:pt x="303" y="74"/>
                  </a:cubicBezTo>
                  <a:cubicBezTo>
                    <a:pt x="302" y="73"/>
                    <a:pt x="302" y="72"/>
                    <a:pt x="302" y="71"/>
                  </a:cubicBezTo>
                  <a:cubicBezTo>
                    <a:pt x="301" y="70"/>
                    <a:pt x="301" y="70"/>
                    <a:pt x="300" y="68"/>
                  </a:cubicBezTo>
                  <a:cubicBezTo>
                    <a:pt x="300" y="67"/>
                    <a:pt x="300" y="67"/>
                    <a:pt x="299" y="66"/>
                  </a:cubicBezTo>
                  <a:cubicBezTo>
                    <a:pt x="299" y="65"/>
                    <a:pt x="298" y="64"/>
                    <a:pt x="298" y="64"/>
                  </a:cubicBezTo>
                  <a:cubicBezTo>
                    <a:pt x="297" y="62"/>
                    <a:pt x="297" y="60"/>
                    <a:pt x="296" y="59"/>
                  </a:cubicBezTo>
                  <a:cubicBezTo>
                    <a:pt x="291" y="53"/>
                    <a:pt x="284" y="62"/>
                    <a:pt x="279" y="61"/>
                  </a:cubicBezTo>
                  <a:cubicBezTo>
                    <a:pt x="276" y="60"/>
                    <a:pt x="274" y="58"/>
                    <a:pt x="272" y="57"/>
                  </a:cubicBezTo>
                  <a:cubicBezTo>
                    <a:pt x="270" y="56"/>
                    <a:pt x="267" y="55"/>
                    <a:pt x="265" y="54"/>
                  </a:cubicBezTo>
                  <a:cubicBezTo>
                    <a:pt x="262" y="54"/>
                    <a:pt x="259" y="54"/>
                    <a:pt x="255" y="54"/>
                  </a:cubicBezTo>
                  <a:cubicBezTo>
                    <a:pt x="253" y="55"/>
                    <a:pt x="250" y="56"/>
                    <a:pt x="248" y="55"/>
                  </a:cubicBezTo>
                  <a:cubicBezTo>
                    <a:pt x="246" y="54"/>
                    <a:pt x="247" y="51"/>
                    <a:pt x="244" y="50"/>
                  </a:cubicBezTo>
                  <a:cubicBezTo>
                    <a:pt x="243" y="49"/>
                    <a:pt x="240" y="50"/>
                    <a:pt x="239" y="50"/>
                  </a:cubicBezTo>
                  <a:cubicBezTo>
                    <a:pt x="237" y="50"/>
                    <a:pt x="235" y="49"/>
                    <a:pt x="234" y="49"/>
                  </a:cubicBezTo>
                  <a:cubicBezTo>
                    <a:pt x="231" y="48"/>
                    <a:pt x="229" y="48"/>
                    <a:pt x="227" y="48"/>
                  </a:cubicBezTo>
                  <a:cubicBezTo>
                    <a:pt x="226" y="48"/>
                    <a:pt x="224" y="48"/>
                    <a:pt x="223" y="47"/>
                  </a:cubicBezTo>
                  <a:cubicBezTo>
                    <a:pt x="222" y="47"/>
                    <a:pt x="221" y="46"/>
                    <a:pt x="220" y="46"/>
                  </a:cubicBezTo>
                  <a:cubicBezTo>
                    <a:pt x="219" y="45"/>
                    <a:pt x="216" y="46"/>
                    <a:pt x="214" y="46"/>
                  </a:cubicBezTo>
                  <a:cubicBezTo>
                    <a:pt x="210" y="46"/>
                    <a:pt x="206" y="45"/>
                    <a:pt x="202" y="45"/>
                  </a:cubicBezTo>
                  <a:cubicBezTo>
                    <a:pt x="198" y="45"/>
                    <a:pt x="194" y="44"/>
                    <a:pt x="190" y="44"/>
                  </a:cubicBezTo>
                  <a:cubicBezTo>
                    <a:pt x="188" y="44"/>
                    <a:pt x="187" y="44"/>
                    <a:pt x="185" y="44"/>
                  </a:cubicBezTo>
                  <a:cubicBezTo>
                    <a:pt x="182" y="43"/>
                    <a:pt x="179" y="46"/>
                    <a:pt x="176" y="46"/>
                  </a:cubicBezTo>
                  <a:cubicBezTo>
                    <a:pt x="174" y="47"/>
                    <a:pt x="172" y="47"/>
                    <a:pt x="171" y="47"/>
                  </a:cubicBezTo>
                  <a:cubicBezTo>
                    <a:pt x="169" y="47"/>
                    <a:pt x="167" y="45"/>
                    <a:pt x="165" y="45"/>
                  </a:cubicBezTo>
                  <a:cubicBezTo>
                    <a:pt x="163" y="44"/>
                    <a:pt x="161" y="44"/>
                    <a:pt x="159" y="44"/>
                  </a:cubicBezTo>
                  <a:cubicBezTo>
                    <a:pt x="156" y="43"/>
                    <a:pt x="153" y="44"/>
                    <a:pt x="151" y="46"/>
                  </a:cubicBezTo>
                  <a:cubicBezTo>
                    <a:pt x="151" y="46"/>
                    <a:pt x="149" y="48"/>
                    <a:pt x="149" y="48"/>
                  </a:cubicBezTo>
                  <a:cubicBezTo>
                    <a:pt x="148" y="48"/>
                    <a:pt x="147" y="48"/>
                    <a:pt x="146" y="48"/>
                  </a:cubicBezTo>
                  <a:cubicBezTo>
                    <a:pt x="145" y="48"/>
                    <a:pt x="143" y="49"/>
                    <a:pt x="142" y="51"/>
                  </a:cubicBezTo>
                  <a:cubicBezTo>
                    <a:pt x="139" y="54"/>
                    <a:pt x="141" y="57"/>
                    <a:pt x="139" y="60"/>
                  </a:cubicBezTo>
                  <a:cubicBezTo>
                    <a:pt x="138" y="64"/>
                    <a:pt x="133" y="64"/>
                    <a:pt x="131" y="66"/>
                  </a:cubicBezTo>
                  <a:cubicBezTo>
                    <a:pt x="128" y="68"/>
                    <a:pt x="127" y="68"/>
                    <a:pt x="124" y="68"/>
                  </a:cubicBezTo>
                  <a:cubicBezTo>
                    <a:pt x="121" y="69"/>
                    <a:pt x="118" y="70"/>
                    <a:pt x="115" y="70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6" y="71"/>
                    <a:pt x="116" y="74"/>
                    <a:pt x="117" y="76"/>
                  </a:cubicBezTo>
                  <a:cubicBezTo>
                    <a:pt x="117" y="78"/>
                    <a:pt x="117" y="79"/>
                    <a:pt x="117" y="81"/>
                  </a:cubicBezTo>
                  <a:cubicBezTo>
                    <a:pt x="117" y="84"/>
                    <a:pt x="118" y="87"/>
                    <a:pt x="119" y="90"/>
                  </a:cubicBezTo>
                  <a:cubicBezTo>
                    <a:pt x="120" y="94"/>
                    <a:pt x="122" y="97"/>
                    <a:pt x="124" y="101"/>
                  </a:cubicBezTo>
                  <a:cubicBezTo>
                    <a:pt x="124" y="103"/>
                    <a:pt x="125" y="104"/>
                    <a:pt x="126" y="106"/>
                  </a:cubicBezTo>
                  <a:cubicBezTo>
                    <a:pt x="126" y="107"/>
                    <a:pt x="126" y="107"/>
                    <a:pt x="127" y="108"/>
                  </a:cubicBezTo>
                  <a:cubicBezTo>
                    <a:pt x="127" y="108"/>
                    <a:pt x="127" y="109"/>
                    <a:pt x="127" y="109"/>
                  </a:cubicBezTo>
                  <a:cubicBezTo>
                    <a:pt x="127" y="110"/>
                    <a:pt x="127" y="111"/>
                    <a:pt x="128" y="111"/>
                  </a:cubicBezTo>
                  <a:cubicBezTo>
                    <a:pt x="129" y="111"/>
                    <a:pt x="130" y="111"/>
                    <a:pt x="130" y="111"/>
                  </a:cubicBezTo>
                  <a:cubicBezTo>
                    <a:pt x="131" y="112"/>
                    <a:pt x="132" y="115"/>
                    <a:pt x="132" y="116"/>
                  </a:cubicBezTo>
                  <a:cubicBezTo>
                    <a:pt x="134" y="119"/>
                    <a:pt x="136" y="122"/>
                    <a:pt x="138" y="124"/>
                  </a:cubicBezTo>
                  <a:cubicBezTo>
                    <a:pt x="138" y="126"/>
                    <a:pt x="138" y="128"/>
                    <a:pt x="139" y="130"/>
                  </a:cubicBezTo>
                  <a:cubicBezTo>
                    <a:pt x="140" y="131"/>
                    <a:pt x="140" y="130"/>
                    <a:pt x="141" y="132"/>
                  </a:cubicBezTo>
                  <a:cubicBezTo>
                    <a:pt x="141" y="133"/>
                    <a:pt x="141" y="134"/>
                    <a:pt x="140" y="135"/>
                  </a:cubicBezTo>
                  <a:cubicBezTo>
                    <a:pt x="140" y="135"/>
                    <a:pt x="125" y="134"/>
                    <a:pt x="129" y="139"/>
                  </a:cubicBezTo>
                  <a:cubicBezTo>
                    <a:pt x="129" y="139"/>
                    <a:pt x="131" y="140"/>
                    <a:pt x="132" y="140"/>
                  </a:cubicBezTo>
                  <a:cubicBezTo>
                    <a:pt x="132" y="140"/>
                    <a:pt x="134" y="141"/>
                    <a:pt x="135" y="142"/>
                  </a:cubicBezTo>
                  <a:cubicBezTo>
                    <a:pt x="136" y="144"/>
                    <a:pt x="136" y="145"/>
                    <a:pt x="136" y="147"/>
                  </a:cubicBezTo>
                  <a:cubicBezTo>
                    <a:pt x="136" y="152"/>
                    <a:pt x="136" y="157"/>
                    <a:pt x="136" y="162"/>
                  </a:cubicBezTo>
                  <a:cubicBezTo>
                    <a:pt x="136" y="162"/>
                    <a:pt x="135" y="163"/>
                    <a:pt x="135" y="164"/>
                  </a:cubicBezTo>
                  <a:cubicBezTo>
                    <a:pt x="136" y="163"/>
                    <a:pt x="136" y="163"/>
                    <a:pt x="136" y="162"/>
                  </a:cubicBezTo>
                  <a:cubicBezTo>
                    <a:pt x="136" y="162"/>
                    <a:pt x="136" y="161"/>
                    <a:pt x="136" y="161"/>
                  </a:cubicBezTo>
                  <a:cubicBezTo>
                    <a:pt x="136" y="161"/>
                    <a:pt x="136" y="162"/>
                    <a:pt x="136" y="162"/>
                  </a:cubicBezTo>
                  <a:cubicBezTo>
                    <a:pt x="136" y="165"/>
                    <a:pt x="137" y="169"/>
                    <a:pt x="135" y="170"/>
                  </a:cubicBezTo>
                  <a:cubicBezTo>
                    <a:pt x="134" y="171"/>
                    <a:pt x="128" y="170"/>
                    <a:pt x="126" y="170"/>
                  </a:cubicBezTo>
                  <a:cubicBezTo>
                    <a:pt x="120" y="170"/>
                    <a:pt x="114" y="172"/>
                    <a:pt x="109" y="176"/>
                  </a:cubicBezTo>
                  <a:cubicBezTo>
                    <a:pt x="105" y="178"/>
                    <a:pt x="101" y="183"/>
                    <a:pt x="98" y="186"/>
                  </a:cubicBezTo>
                  <a:cubicBezTo>
                    <a:pt x="96" y="190"/>
                    <a:pt x="92" y="192"/>
                    <a:pt x="90" y="196"/>
                  </a:cubicBezTo>
                  <a:cubicBezTo>
                    <a:pt x="89" y="197"/>
                    <a:pt x="87" y="197"/>
                    <a:pt x="86" y="199"/>
                  </a:cubicBezTo>
                  <a:cubicBezTo>
                    <a:pt x="85" y="199"/>
                    <a:pt x="85" y="201"/>
                    <a:pt x="85" y="203"/>
                  </a:cubicBezTo>
                  <a:cubicBezTo>
                    <a:pt x="84" y="203"/>
                    <a:pt x="84" y="204"/>
                    <a:pt x="84" y="204"/>
                  </a:cubicBezTo>
                  <a:cubicBezTo>
                    <a:pt x="84" y="205"/>
                    <a:pt x="84" y="206"/>
                    <a:pt x="84" y="206"/>
                  </a:cubicBezTo>
                  <a:cubicBezTo>
                    <a:pt x="83" y="207"/>
                    <a:pt x="82" y="209"/>
                    <a:pt x="81" y="211"/>
                  </a:cubicBezTo>
                  <a:cubicBezTo>
                    <a:pt x="78" y="216"/>
                    <a:pt x="75" y="220"/>
                    <a:pt x="72" y="225"/>
                  </a:cubicBezTo>
                  <a:cubicBezTo>
                    <a:pt x="71" y="228"/>
                    <a:pt x="69" y="231"/>
                    <a:pt x="68" y="233"/>
                  </a:cubicBezTo>
                  <a:cubicBezTo>
                    <a:pt x="68" y="234"/>
                    <a:pt x="67" y="235"/>
                    <a:pt x="66" y="235"/>
                  </a:cubicBezTo>
                  <a:cubicBezTo>
                    <a:pt x="65" y="237"/>
                    <a:pt x="64" y="237"/>
                    <a:pt x="62" y="238"/>
                  </a:cubicBezTo>
                  <a:cubicBezTo>
                    <a:pt x="61" y="239"/>
                    <a:pt x="60" y="241"/>
                    <a:pt x="58" y="242"/>
                  </a:cubicBezTo>
                  <a:cubicBezTo>
                    <a:pt x="57" y="244"/>
                    <a:pt x="57" y="242"/>
                    <a:pt x="57" y="244"/>
                  </a:cubicBezTo>
                  <a:cubicBezTo>
                    <a:pt x="57" y="244"/>
                    <a:pt x="57" y="245"/>
                    <a:pt x="57" y="246"/>
                  </a:cubicBezTo>
                  <a:cubicBezTo>
                    <a:pt x="57" y="247"/>
                    <a:pt x="57" y="247"/>
                    <a:pt x="57" y="248"/>
                  </a:cubicBezTo>
                  <a:cubicBezTo>
                    <a:pt x="58" y="251"/>
                    <a:pt x="59" y="252"/>
                    <a:pt x="59" y="254"/>
                  </a:cubicBezTo>
                  <a:cubicBezTo>
                    <a:pt x="59" y="255"/>
                    <a:pt x="59" y="257"/>
                    <a:pt x="59" y="258"/>
                  </a:cubicBezTo>
                  <a:cubicBezTo>
                    <a:pt x="60" y="258"/>
                    <a:pt x="60" y="259"/>
                    <a:pt x="61" y="259"/>
                  </a:cubicBezTo>
                  <a:cubicBezTo>
                    <a:pt x="62" y="261"/>
                    <a:pt x="61" y="264"/>
                    <a:pt x="61" y="266"/>
                  </a:cubicBezTo>
                  <a:cubicBezTo>
                    <a:pt x="61" y="269"/>
                    <a:pt x="60" y="274"/>
                    <a:pt x="64" y="275"/>
                  </a:cubicBezTo>
                  <a:cubicBezTo>
                    <a:pt x="65" y="275"/>
                    <a:pt x="66" y="275"/>
                    <a:pt x="66" y="275"/>
                  </a:cubicBezTo>
                  <a:cubicBezTo>
                    <a:pt x="67" y="275"/>
                    <a:pt x="67" y="276"/>
                    <a:pt x="67" y="276"/>
                  </a:cubicBezTo>
                  <a:cubicBezTo>
                    <a:pt x="68" y="277"/>
                    <a:pt x="68" y="277"/>
                    <a:pt x="69" y="277"/>
                  </a:cubicBezTo>
                  <a:cubicBezTo>
                    <a:pt x="69" y="280"/>
                    <a:pt x="72" y="282"/>
                    <a:pt x="71" y="285"/>
                  </a:cubicBezTo>
                  <a:cubicBezTo>
                    <a:pt x="69" y="285"/>
                    <a:pt x="65" y="285"/>
                    <a:pt x="63" y="285"/>
                  </a:cubicBezTo>
                  <a:cubicBezTo>
                    <a:pt x="62" y="284"/>
                    <a:pt x="62" y="283"/>
                    <a:pt x="61" y="283"/>
                  </a:cubicBezTo>
                  <a:cubicBezTo>
                    <a:pt x="60" y="283"/>
                    <a:pt x="59" y="283"/>
                    <a:pt x="58" y="283"/>
                  </a:cubicBezTo>
                  <a:cubicBezTo>
                    <a:pt x="55" y="283"/>
                    <a:pt x="54" y="282"/>
                    <a:pt x="52" y="280"/>
                  </a:cubicBezTo>
                  <a:cubicBezTo>
                    <a:pt x="52" y="281"/>
                    <a:pt x="52" y="281"/>
                    <a:pt x="51" y="281"/>
                  </a:cubicBezTo>
                  <a:cubicBezTo>
                    <a:pt x="51" y="283"/>
                    <a:pt x="50" y="284"/>
                    <a:pt x="50" y="285"/>
                  </a:cubicBezTo>
                  <a:cubicBezTo>
                    <a:pt x="47" y="289"/>
                    <a:pt x="44" y="290"/>
                    <a:pt x="40" y="291"/>
                  </a:cubicBezTo>
                  <a:cubicBezTo>
                    <a:pt x="39" y="291"/>
                    <a:pt x="37" y="291"/>
                    <a:pt x="35" y="291"/>
                  </a:cubicBezTo>
                  <a:cubicBezTo>
                    <a:pt x="33" y="291"/>
                    <a:pt x="31" y="290"/>
                    <a:pt x="29" y="290"/>
                  </a:cubicBezTo>
                  <a:cubicBezTo>
                    <a:pt x="28" y="290"/>
                    <a:pt x="27" y="291"/>
                    <a:pt x="25" y="291"/>
                  </a:cubicBezTo>
                  <a:cubicBezTo>
                    <a:pt x="24" y="292"/>
                    <a:pt x="21" y="291"/>
                    <a:pt x="20" y="292"/>
                  </a:cubicBezTo>
                  <a:cubicBezTo>
                    <a:pt x="19" y="292"/>
                    <a:pt x="18" y="293"/>
                    <a:pt x="18" y="293"/>
                  </a:cubicBezTo>
                  <a:cubicBezTo>
                    <a:pt x="17" y="294"/>
                    <a:pt x="18" y="294"/>
                    <a:pt x="17" y="295"/>
                  </a:cubicBezTo>
                  <a:cubicBezTo>
                    <a:pt x="17" y="297"/>
                    <a:pt x="15" y="299"/>
                    <a:pt x="14" y="300"/>
                  </a:cubicBezTo>
                  <a:cubicBezTo>
                    <a:pt x="13" y="302"/>
                    <a:pt x="12" y="303"/>
                    <a:pt x="12" y="305"/>
                  </a:cubicBezTo>
                  <a:cubicBezTo>
                    <a:pt x="11" y="307"/>
                    <a:pt x="11" y="308"/>
                    <a:pt x="11" y="310"/>
                  </a:cubicBezTo>
                  <a:cubicBezTo>
                    <a:pt x="11" y="311"/>
                    <a:pt x="9" y="313"/>
                    <a:pt x="9" y="314"/>
                  </a:cubicBezTo>
                  <a:cubicBezTo>
                    <a:pt x="8" y="315"/>
                    <a:pt x="7" y="317"/>
                    <a:pt x="7" y="318"/>
                  </a:cubicBezTo>
                  <a:cubicBezTo>
                    <a:pt x="6" y="320"/>
                    <a:pt x="6" y="321"/>
                    <a:pt x="5" y="322"/>
                  </a:cubicBezTo>
                  <a:cubicBezTo>
                    <a:pt x="5" y="324"/>
                    <a:pt x="4" y="324"/>
                    <a:pt x="4" y="326"/>
                  </a:cubicBezTo>
                  <a:cubicBezTo>
                    <a:pt x="4" y="328"/>
                    <a:pt x="4" y="327"/>
                    <a:pt x="3" y="328"/>
                  </a:cubicBezTo>
                  <a:cubicBezTo>
                    <a:pt x="2" y="329"/>
                    <a:pt x="1" y="330"/>
                    <a:pt x="0" y="331"/>
                  </a:cubicBezTo>
                  <a:cubicBezTo>
                    <a:pt x="20" y="353"/>
                    <a:pt x="20" y="353"/>
                    <a:pt x="20" y="353"/>
                  </a:cubicBezTo>
                  <a:cubicBezTo>
                    <a:pt x="22" y="353"/>
                    <a:pt x="22" y="353"/>
                    <a:pt x="23" y="354"/>
                  </a:cubicBezTo>
                  <a:cubicBezTo>
                    <a:pt x="23" y="355"/>
                    <a:pt x="23" y="356"/>
                    <a:pt x="23" y="357"/>
                  </a:cubicBezTo>
                  <a:cubicBezTo>
                    <a:pt x="23" y="359"/>
                    <a:pt x="22" y="362"/>
                    <a:pt x="24" y="362"/>
                  </a:cubicBezTo>
                  <a:cubicBezTo>
                    <a:pt x="25" y="360"/>
                    <a:pt x="28" y="362"/>
                    <a:pt x="31" y="362"/>
                  </a:cubicBezTo>
                  <a:cubicBezTo>
                    <a:pt x="32" y="362"/>
                    <a:pt x="33" y="362"/>
                    <a:pt x="34" y="362"/>
                  </a:cubicBezTo>
                  <a:cubicBezTo>
                    <a:pt x="35" y="363"/>
                    <a:pt x="36" y="363"/>
                    <a:pt x="37" y="363"/>
                  </a:cubicBezTo>
                  <a:cubicBezTo>
                    <a:pt x="37" y="364"/>
                    <a:pt x="38" y="364"/>
                    <a:pt x="39" y="365"/>
                  </a:cubicBezTo>
                  <a:cubicBezTo>
                    <a:pt x="39" y="366"/>
                    <a:pt x="39" y="368"/>
                    <a:pt x="39" y="369"/>
                  </a:cubicBezTo>
                  <a:cubicBezTo>
                    <a:pt x="39" y="370"/>
                    <a:pt x="39" y="371"/>
                    <a:pt x="39" y="372"/>
                  </a:cubicBezTo>
                  <a:cubicBezTo>
                    <a:pt x="42" y="371"/>
                    <a:pt x="46" y="373"/>
                    <a:pt x="49" y="372"/>
                  </a:cubicBezTo>
                  <a:cubicBezTo>
                    <a:pt x="50" y="371"/>
                    <a:pt x="51" y="370"/>
                    <a:pt x="52" y="369"/>
                  </a:cubicBezTo>
                  <a:cubicBezTo>
                    <a:pt x="53" y="368"/>
                    <a:pt x="54" y="367"/>
                    <a:pt x="56" y="366"/>
                  </a:cubicBezTo>
                  <a:cubicBezTo>
                    <a:pt x="59" y="364"/>
                    <a:pt x="62" y="365"/>
                    <a:pt x="64" y="367"/>
                  </a:cubicBezTo>
                  <a:cubicBezTo>
                    <a:pt x="66" y="370"/>
                    <a:pt x="65" y="372"/>
                    <a:pt x="69" y="373"/>
                  </a:cubicBezTo>
                  <a:cubicBezTo>
                    <a:pt x="73" y="373"/>
                    <a:pt x="76" y="372"/>
                    <a:pt x="80" y="372"/>
                  </a:cubicBezTo>
                  <a:cubicBezTo>
                    <a:pt x="81" y="372"/>
                    <a:pt x="83" y="371"/>
                    <a:pt x="85" y="373"/>
                  </a:cubicBezTo>
                  <a:cubicBezTo>
                    <a:pt x="86" y="373"/>
                    <a:pt x="88" y="377"/>
                    <a:pt x="88" y="378"/>
                  </a:cubicBezTo>
                  <a:cubicBezTo>
                    <a:pt x="89" y="376"/>
                    <a:pt x="89" y="375"/>
                    <a:pt x="91" y="375"/>
                  </a:cubicBezTo>
                  <a:cubicBezTo>
                    <a:pt x="93" y="375"/>
                    <a:pt x="95" y="375"/>
                    <a:pt x="97" y="375"/>
                  </a:cubicBezTo>
                  <a:cubicBezTo>
                    <a:pt x="99" y="375"/>
                    <a:pt x="104" y="375"/>
                    <a:pt x="106" y="376"/>
                  </a:cubicBezTo>
                  <a:cubicBezTo>
                    <a:pt x="107" y="377"/>
                    <a:pt x="107" y="378"/>
                    <a:pt x="108" y="378"/>
                  </a:cubicBezTo>
                  <a:cubicBezTo>
                    <a:pt x="108" y="378"/>
                    <a:pt x="109" y="378"/>
                    <a:pt x="110" y="378"/>
                  </a:cubicBezTo>
                  <a:cubicBezTo>
                    <a:pt x="114" y="380"/>
                    <a:pt x="117" y="380"/>
                    <a:pt x="122" y="378"/>
                  </a:cubicBezTo>
                  <a:cubicBezTo>
                    <a:pt x="123" y="378"/>
                    <a:pt x="133" y="374"/>
                    <a:pt x="132" y="378"/>
                  </a:cubicBezTo>
                  <a:cubicBezTo>
                    <a:pt x="135" y="378"/>
                    <a:pt x="134" y="379"/>
                    <a:pt x="135" y="380"/>
                  </a:cubicBezTo>
                  <a:cubicBezTo>
                    <a:pt x="136" y="381"/>
                    <a:pt x="138" y="382"/>
                    <a:pt x="139" y="383"/>
                  </a:cubicBezTo>
                  <a:cubicBezTo>
                    <a:pt x="140" y="384"/>
                    <a:pt x="141" y="386"/>
                    <a:pt x="143" y="388"/>
                  </a:cubicBezTo>
                  <a:cubicBezTo>
                    <a:pt x="147" y="391"/>
                    <a:pt x="153" y="393"/>
                    <a:pt x="158" y="391"/>
                  </a:cubicBezTo>
                  <a:cubicBezTo>
                    <a:pt x="161" y="390"/>
                    <a:pt x="162" y="386"/>
                    <a:pt x="163" y="384"/>
                  </a:cubicBezTo>
                  <a:cubicBezTo>
                    <a:pt x="165" y="381"/>
                    <a:pt x="166" y="379"/>
                    <a:pt x="170" y="379"/>
                  </a:cubicBezTo>
                  <a:cubicBezTo>
                    <a:pt x="175" y="379"/>
                    <a:pt x="181" y="379"/>
                    <a:pt x="187" y="379"/>
                  </a:cubicBezTo>
                  <a:cubicBezTo>
                    <a:pt x="187" y="379"/>
                    <a:pt x="189" y="379"/>
                    <a:pt x="189" y="379"/>
                  </a:cubicBezTo>
                  <a:cubicBezTo>
                    <a:pt x="190" y="379"/>
                    <a:pt x="190" y="378"/>
                    <a:pt x="190" y="378"/>
                  </a:cubicBezTo>
                  <a:cubicBezTo>
                    <a:pt x="192" y="377"/>
                    <a:pt x="195" y="376"/>
                    <a:pt x="197" y="376"/>
                  </a:cubicBezTo>
                  <a:cubicBezTo>
                    <a:pt x="202" y="376"/>
                    <a:pt x="207" y="374"/>
                    <a:pt x="211" y="374"/>
                  </a:cubicBezTo>
                  <a:cubicBezTo>
                    <a:pt x="215" y="374"/>
                    <a:pt x="216" y="375"/>
                    <a:pt x="218" y="372"/>
                  </a:cubicBezTo>
                  <a:cubicBezTo>
                    <a:pt x="220" y="370"/>
                    <a:pt x="220" y="367"/>
                    <a:pt x="222" y="365"/>
                  </a:cubicBezTo>
                  <a:cubicBezTo>
                    <a:pt x="223" y="362"/>
                    <a:pt x="227" y="360"/>
                    <a:pt x="230" y="359"/>
                  </a:cubicBezTo>
                  <a:cubicBezTo>
                    <a:pt x="233" y="357"/>
                    <a:pt x="235" y="356"/>
                    <a:pt x="238" y="355"/>
                  </a:cubicBezTo>
                  <a:cubicBezTo>
                    <a:pt x="238" y="355"/>
                    <a:pt x="238" y="355"/>
                    <a:pt x="238" y="355"/>
                  </a:cubicBezTo>
                  <a:cubicBezTo>
                    <a:pt x="241" y="354"/>
                    <a:pt x="244" y="351"/>
                    <a:pt x="248" y="351"/>
                  </a:cubicBezTo>
                  <a:cubicBezTo>
                    <a:pt x="248" y="350"/>
                    <a:pt x="248" y="350"/>
                    <a:pt x="248" y="350"/>
                  </a:cubicBezTo>
                  <a:cubicBezTo>
                    <a:pt x="249" y="349"/>
                    <a:pt x="249" y="349"/>
                    <a:pt x="250" y="348"/>
                  </a:cubicBezTo>
                  <a:cubicBezTo>
                    <a:pt x="250" y="347"/>
                    <a:pt x="250" y="346"/>
                    <a:pt x="250" y="345"/>
                  </a:cubicBezTo>
                  <a:cubicBezTo>
                    <a:pt x="250" y="344"/>
                    <a:pt x="249" y="344"/>
                    <a:pt x="249" y="343"/>
                  </a:cubicBezTo>
                  <a:cubicBezTo>
                    <a:pt x="249" y="342"/>
                    <a:pt x="249" y="341"/>
                    <a:pt x="249" y="340"/>
                  </a:cubicBezTo>
                  <a:cubicBezTo>
                    <a:pt x="249" y="338"/>
                    <a:pt x="250" y="338"/>
                    <a:pt x="252" y="337"/>
                  </a:cubicBezTo>
                  <a:cubicBezTo>
                    <a:pt x="252" y="337"/>
                    <a:pt x="253" y="337"/>
                    <a:pt x="254" y="337"/>
                  </a:cubicBezTo>
                  <a:cubicBezTo>
                    <a:pt x="255" y="337"/>
                    <a:pt x="254" y="340"/>
                    <a:pt x="256" y="340"/>
                  </a:cubicBezTo>
                  <a:cubicBezTo>
                    <a:pt x="257" y="341"/>
                    <a:pt x="258" y="340"/>
                    <a:pt x="259" y="341"/>
                  </a:cubicBezTo>
                  <a:cubicBezTo>
                    <a:pt x="260" y="341"/>
                    <a:pt x="260" y="342"/>
                    <a:pt x="260" y="343"/>
                  </a:cubicBezTo>
                  <a:cubicBezTo>
                    <a:pt x="261" y="344"/>
                    <a:pt x="262" y="344"/>
                    <a:pt x="263" y="343"/>
                  </a:cubicBezTo>
                  <a:cubicBezTo>
                    <a:pt x="266" y="342"/>
                    <a:pt x="266" y="341"/>
                    <a:pt x="267" y="339"/>
                  </a:cubicBezTo>
                  <a:cubicBezTo>
                    <a:pt x="267" y="337"/>
                    <a:pt x="267" y="337"/>
                    <a:pt x="269" y="338"/>
                  </a:cubicBezTo>
                  <a:cubicBezTo>
                    <a:pt x="271" y="338"/>
                    <a:pt x="272" y="339"/>
                    <a:pt x="273" y="341"/>
                  </a:cubicBezTo>
                  <a:cubicBezTo>
                    <a:pt x="273" y="342"/>
                    <a:pt x="273" y="342"/>
                    <a:pt x="274" y="342"/>
                  </a:cubicBezTo>
                  <a:cubicBezTo>
                    <a:pt x="276" y="342"/>
                    <a:pt x="279" y="341"/>
                    <a:pt x="280" y="340"/>
                  </a:cubicBezTo>
                  <a:cubicBezTo>
                    <a:pt x="281" y="339"/>
                    <a:pt x="282" y="339"/>
                    <a:pt x="283" y="338"/>
                  </a:cubicBezTo>
                  <a:cubicBezTo>
                    <a:pt x="283" y="337"/>
                    <a:pt x="283" y="336"/>
                    <a:pt x="284" y="336"/>
                  </a:cubicBezTo>
                  <a:cubicBezTo>
                    <a:pt x="284" y="335"/>
                    <a:pt x="285" y="336"/>
                    <a:pt x="285" y="337"/>
                  </a:cubicBezTo>
                  <a:cubicBezTo>
                    <a:pt x="286" y="337"/>
                    <a:pt x="286" y="338"/>
                    <a:pt x="287" y="339"/>
                  </a:cubicBezTo>
                  <a:cubicBezTo>
                    <a:pt x="288" y="340"/>
                    <a:pt x="289" y="340"/>
                    <a:pt x="290" y="340"/>
                  </a:cubicBezTo>
                  <a:cubicBezTo>
                    <a:pt x="293" y="339"/>
                    <a:pt x="296" y="337"/>
                    <a:pt x="296" y="334"/>
                  </a:cubicBezTo>
                  <a:cubicBezTo>
                    <a:pt x="296" y="334"/>
                    <a:pt x="296" y="332"/>
                    <a:pt x="297" y="332"/>
                  </a:cubicBezTo>
                  <a:cubicBezTo>
                    <a:pt x="299" y="330"/>
                    <a:pt x="301" y="335"/>
                    <a:pt x="302" y="335"/>
                  </a:cubicBezTo>
                  <a:cubicBezTo>
                    <a:pt x="302" y="336"/>
                    <a:pt x="304" y="336"/>
                    <a:pt x="305" y="336"/>
                  </a:cubicBezTo>
                  <a:cubicBezTo>
                    <a:pt x="307" y="336"/>
                    <a:pt x="306" y="336"/>
                    <a:pt x="308" y="337"/>
                  </a:cubicBezTo>
                  <a:cubicBezTo>
                    <a:pt x="308" y="338"/>
                    <a:pt x="309" y="338"/>
                    <a:pt x="309" y="338"/>
                  </a:cubicBezTo>
                  <a:cubicBezTo>
                    <a:pt x="310" y="339"/>
                    <a:pt x="311" y="340"/>
                    <a:pt x="312" y="341"/>
                  </a:cubicBezTo>
                  <a:cubicBezTo>
                    <a:pt x="314" y="342"/>
                    <a:pt x="316" y="342"/>
                    <a:pt x="317" y="343"/>
                  </a:cubicBezTo>
                  <a:cubicBezTo>
                    <a:pt x="319" y="344"/>
                    <a:pt x="321" y="347"/>
                    <a:pt x="323" y="348"/>
                  </a:cubicBezTo>
                  <a:cubicBezTo>
                    <a:pt x="324" y="348"/>
                    <a:pt x="325" y="348"/>
                    <a:pt x="325" y="349"/>
                  </a:cubicBezTo>
                  <a:cubicBezTo>
                    <a:pt x="325" y="349"/>
                    <a:pt x="325" y="350"/>
                    <a:pt x="325" y="350"/>
                  </a:cubicBezTo>
                  <a:cubicBezTo>
                    <a:pt x="325" y="352"/>
                    <a:pt x="325" y="351"/>
                    <a:pt x="327" y="351"/>
                  </a:cubicBezTo>
                  <a:cubicBezTo>
                    <a:pt x="328" y="352"/>
                    <a:pt x="327" y="352"/>
                    <a:pt x="328" y="353"/>
                  </a:cubicBezTo>
                  <a:cubicBezTo>
                    <a:pt x="328" y="354"/>
                    <a:pt x="330" y="355"/>
                    <a:pt x="331" y="355"/>
                  </a:cubicBezTo>
                  <a:cubicBezTo>
                    <a:pt x="331" y="354"/>
                    <a:pt x="332" y="354"/>
                    <a:pt x="332" y="353"/>
                  </a:cubicBezTo>
                  <a:cubicBezTo>
                    <a:pt x="334" y="353"/>
                    <a:pt x="335" y="354"/>
                    <a:pt x="336" y="353"/>
                  </a:cubicBezTo>
                  <a:cubicBezTo>
                    <a:pt x="338" y="353"/>
                    <a:pt x="339" y="352"/>
                    <a:pt x="340" y="354"/>
                  </a:cubicBezTo>
                  <a:cubicBezTo>
                    <a:pt x="341" y="356"/>
                    <a:pt x="340" y="358"/>
                    <a:pt x="339" y="359"/>
                  </a:cubicBezTo>
                  <a:cubicBezTo>
                    <a:pt x="338" y="360"/>
                    <a:pt x="337" y="360"/>
                    <a:pt x="337" y="361"/>
                  </a:cubicBezTo>
                  <a:cubicBezTo>
                    <a:pt x="338" y="362"/>
                    <a:pt x="339" y="361"/>
                    <a:pt x="340" y="361"/>
                  </a:cubicBezTo>
                  <a:cubicBezTo>
                    <a:pt x="341" y="361"/>
                    <a:pt x="342" y="359"/>
                    <a:pt x="343" y="359"/>
                  </a:cubicBezTo>
                  <a:cubicBezTo>
                    <a:pt x="343" y="360"/>
                    <a:pt x="343" y="362"/>
                    <a:pt x="343" y="362"/>
                  </a:cubicBezTo>
                  <a:cubicBezTo>
                    <a:pt x="343" y="363"/>
                    <a:pt x="343" y="365"/>
                    <a:pt x="343" y="365"/>
                  </a:cubicBezTo>
                  <a:cubicBezTo>
                    <a:pt x="344" y="365"/>
                    <a:pt x="344" y="365"/>
                    <a:pt x="345" y="365"/>
                  </a:cubicBezTo>
                  <a:cubicBezTo>
                    <a:pt x="345" y="366"/>
                    <a:pt x="345" y="367"/>
                    <a:pt x="345" y="367"/>
                  </a:cubicBezTo>
                  <a:cubicBezTo>
                    <a:pt x="346" y="367"/>
                    <a:pt x="347" y="365"/>
                    <a:pt x="347" y="364"/>
                  </a:cubicBezTo>
                  <a:cubicBezTo>
                    <a:pt x="347" y="364"/>
                    <a:pt x="347" y="361"/>
                    <a:pt x="347" y="360"/>
                  </a:cubicBezTo>
                  <a:cubicBezTo>
                    <a:pt x="348" y="359"/>
                    <a:pt x="351" y="360"/>
                    <a:pt x="352" y="360"/>
                  </a:cubicBezTo>
                  <a:cubicBezTo>
                    <a:pt x="353" y="360"/>
                    <a:pt x="354" y="360"/>
                    <a:pt x="355" y="361"/>
                  </a:cubicBezTo>
                  <a:cubicBezTo>
                    <a:pt x="356" y="361"/>
                    <a:pt x="357" y="362"/>
                    <a:pt x="357" y="362"/>
                  </a:cubicBezTo>
                  <a:cubicBezTo>
                    <a:pt x="358" y="362"/>
                    <a:pt x="359" y="362"/>
                    <a:pt x="359" y="362"/>
                  </a:cubicBezTo>
                  <a:cubicBezTo>
                    <a:pt x="361" y="362"/>
                    <a:pt x="360" y="362"/>
                    <a:pt x="361" y="363"/>
                  </a:cubicBezTo>
                  <a:cubicBezTo>
                    <a:pt x="362" y="363"/>
                    <a:pt x="362" y="364"/>
                    <a:pt x="363" y="365"/>
                  </a:cubicBezTo>
                  <a:cubicBezTo>
                    <a:pt x="364" y="365"/>
                    <a:pt x="364" y="364"/>
                    <a:pt x="365" y="365"/>
                  </a:cubicBezTo>
                  <a:cubicBezTo>
                    <a:pt x="366" y="365"/>
                    <a:pt x="365" y="367"/>
                    <a:pt x="365" y="368"/>
                  </a:cubicBezTo>
                  <a:cubicBezTo>
                    <a:pt x="365" y="370"/>
                    <a:pt x="365" y="370"/>
                    <a:pt x="367" y="372"/>
                  </a:cubicBezTo>
                  <a:cubicBezTo>
                    <a:pt x="368" y="373"/>
                    <a:pt x="368" y="375"/>
                    <a:pt x="369" y="375"/>
                  </a:cubicBezTo>
                  <a:cubicBezTo>
                    <a:pt x="371" y="375"/>
                    <a:pt x="371" y="375"/>
                    <a:pt x="372" y="376"/>
                  </a:cubicBezTo>
                  <a:cubicBezTo>
                    <a:pt x="373" y="377"/>
                    <a:pt x="372" y="377"/>
                    <a:pt x="373" y="378"/>
                  </a:cubicBezTo>
                  <a:cubicBezTo>
                    <a:pt x="374" y="378"/>
                    <a:pt x="376" y="378"/>
                    <a:pt x="377" y="378"/>
                  </a:cubicBezTo>
                  <a:cubicBezTo>
                    <a:pt x="377" y="378"/>
                    <a:pt x="378" y="378"/>
                    <a:pt x="378" y="378"/>
                  </a:cubicBezTo>
                  <a:cubicBezTo>
                    <a:pt x="379" y="378"/>
                    <a:pt x="379" y="377"/>
                    <a:pt x="380" y="376"/>
                  </a:cubicBezTo>
                  <a:cubicBezTo>
                    <a:pt x="381" y="375"/>
                    <a:pt x="383" y="376"/>
                    <a:pt x="384" y="376"/>
                  </a:cubicBezTo>
                  <a:cubicBezTo>
                    <a:pt x="385" y="377"/>
                    <a:pt x="386" y="377"/>
                    <a:pt x="387" y="378"/>
                  </a:cubicBezTo>
                  <a:cubicBezTo>
                    <a:pt x="388" y="378"/>
                    <a:pt x="389" y="378"/>
                    <a:pt x="389" y="378"/>
                  </a:cubicBezTo>
                  <a:cubicBezTo>
                    <a:pt x="391" y="379"/>
                    <a:pt x="391" y="381"/>
                    <a:pt x="390" y="382"/>
                  </a:cubicBezTo>
                  <a:cubicBezTo>
                    <a:pt x="390" y="383"/>
                    <a:pt x="390" y="383"/>
                    <a:pt x="390" y="383"/>
                  </a:cubicBezTo>
                  <a:cubicBezTo>
                    <a:pt x="389" y="384"/>
                    <a:pt x="389" y="384"/>
                    <a:pt x="389" y="385"/>
                  </a:cubicBezTo>
                  <a:cubicBezTo>
                    <a:pt x="389" y="385"/>
                    <a:pt x="389" y="386"/>
                    <a:pt x="389" y="386"/>
                  </a:cubicBezTo>
                  <a:cubicBezTo>
                    <a:pt x="389" y="388"/>
                    <a:pt x="389" y="388"/>
                    <a:pt x="388" y="389"/>
                  </a:cubicBezTo>
                  <a:cubicBezTo>
                    <a:pt x="388" y="389"/>
                    <a:pt x="388" y="390"/>
                    <a:pt x="388" y="390"/>
                  </a:cubicBezTo>
                  <a:cubicBezTo>
                    <a:pt x="388" y="391"/>
                    <a:pt x="389" y="391"/>
                    <a:pt x="390" y="392"/>
                  </a:cubicBezTo>
                  <a:cubicBezTo>
                    <a:pt x="391" y="393"/>
                    <a:pt x="390" y="393"/>
                    <a:pt x="389" y="393"/>
                  </a:cubicBezTo>
                  <a:cubicBezTo>
                    <a:pt x="389" y="394"/>
                    <a:pt x="388" y="395"/>
                    <a:pt x="388" y="396"/>
                  </a:cubicBezTo>
                  <a:cubicBezTo>
                    <a:pt x="388" y="397"/>
                    <a:pt x="388" y="398"/>
                    <a:pt x="387" y="400"/>
                  </a:cubicBezTo>
                  <a:cubicBezTo>
                    <a:pt x="387" y="400"/>
                    <a:pt x="387" y="401"/>
                    <a:pt x="387" y="402"/>
                  </a:cubicBezTo>
                  <a:cubicBezTo>
                    <a:pt x="387" y="403"/>
                    <a:pt x="387" y="404"/>
                    <a:pt x="387" y="404"/>
                  </a:cubicBezTo>
                  <a:cubicBezTo>
                    <a:pt x="387" y="406"/>
                    <a:pt x="384" y="406"/>
                    <a:pt x="383" y="408"/>
                  </a:cubicBezTo>
                  <a:cubicBezTo>
                    <a:pt x="382" y="409"/>
                    <a:pt x="382" y="410"/>
                    <a:pt x="383" y="411"/>
                  </a:cubicBezTo>
                  <a:cubicBezTo>
                    <a:pt x="383" y="412"/>
                    <a:pt x="383" y="413"/>
                    <a:pt x="383" y="414"/>
                  </a:cubicBezTo>
                  <a:cubicBezTo>
                    <a:pt x="383" y="414"/>
                    <a:pt x="383" y="414"/>
                    <a:pt x="384" y="415"/>
                  </a:cubicBezTo>
                  <a:cubicBezTo>
                    <a:pt x="385" y="416"/>
                    <a:pt x="385" y="418"/>
                    <a:pt x="386" y="419"/>
                  </a:cubicBezTo>
                  <a:cubicBezTo>
                    <a:pt x="387" y="419"/>
                    <a:pt x="387" y="420"/>
                    <a:pt x="388" y="421"/>
                  </a:cubicBezTo>
                  <a:cubicBezTo>
                    <a:pt x="389" y="422"/>
                    <a:pt x="389" y="423"/>
                    <a:pt x="389" y="424"/>
                  </a:cubicBezTo>
                  <a:cubicBezTo>
                    <a:pt x="389" y="425"/>
                    <a:pt x="391" y="426"/>
                    <a:pt x="392" y="426"/>
                  </a:cubicBezTo>
                  <a:cubicBezTo>
                    <a:pt x="392" y="426"/>
                    <a:pt x="393" y="425"/>
                    <a:pt x="393" y="424"/>
                  </a:cubicBezTo>
                  <a:cubicBezTo>
                    <a:pt x="393" y="425"/>
                    <a:pt x="394" y="426"/>
                    <a:pt x="394" y="426"/>
                  </a:cubicBezTo>
                  <a:cubicBezTo>
                    <a:pt x="394" y="427"/>
                    <a:pt x="394" y="429"/>
                    <a:pt x="395" y="430"/>
                  </a:cubicBezTo>
                  <a:cubicBezTo>
                    <a:pt x="396" y="430"/>
                    <a:pt x="397" y="431"/>
                    <a:pt x="398" y="431"/>
                  </a:cubicBezTo>
                  <a:cubicBezTo>
                    <a:pt x="401" y="433"/>
                    <a:pt x="402" y="430"/>
                    <a:pt x="404" y="428"/>
                  </a:cubicBezTo>
                  <a:cubicBezTo>
                    <a:pt x="404" y="428"/>
                    <a:pt x="405" y="428"/>
                    <a:pt x="405" y="428"/>
                  </a:cubicBezTo>
                  <a:cubicBezTo>
                    <a:pt x="406" y="427"/>
                    <a:pt x="407" y="427"/>
                    <a:pt x="408" y="427"/>
                  </a:cubicBezTo>
                  <a:cubicBezTo>
                    <a:pt x="408" y="428"/>
                    <a:pt x="408" y="430"/>
                    <a:pt x="408" y="431"/>
                  </a:cubicBezTo>
                  <a:cubicBezTo>
                    <a:pt x="408" y="433"/>
                    <a:pt x="410" y="435"/>
                    <a:pt x="409" y="437"/>
                  </a:cubicBezTo>
                  <a:cubicBezTo>
                    <a:pt x="408" y="439"/>
                    <a:pt x="406" y="439"/>
                    <a:pt x="407" y="442"/>
                  </a:cubicBezTo>
                  <a:cubicBezTo>
                    <a:pt x="407" y="442"/>
                    <a:pt x="407" y="443"/>
                    <a:pt x="407" y="443"/>
                  </a:cubicBezTo>
                  <a:cubicBezTo>
                    <a:pt x="407" y="444"/>
                    <a:pt x="407" y="444"/>
                    <a:pt x="407" y="445"/>
                  </a:cubicBezTo>
                  <a:cubicBezTo>
                    <a:pt x="406" y="446"/>
                    <a:pt x="406" y="445"/>
                    <a:pt x="405" y="447"/>
                  </a:cubicBezTo>
                  <a:cubicBezTo>
                    <a:pt x="405" y="448"/>
                    <a:pt x="405" y="449"/>
                    <a:pt x="406" y="450"/>
                  </a:cubicBezTo>
                  <a:cubicBezTo>
                    <a:pt x="404" y="449"/>
                    <a:pt x="403" y="448"/>
                    <a:pt x="402" y="450"/>
                  </a:cubicBezTo>
                  <a:cubicBezTo>
                    <a:pt x="400" y="452"/>
                    <a:pt x="404" y="453"/>
                    <a:pt x="406" y="453"/>
                  </a:cubicBezTo>
                  <a:cubicBezTo>
                    <a:pt x="407" y="453"/>
                    <a:pt x="410" y="453"/>
                    <a:pt x="411" y="453"/>
                  </a:cubicBezTo>
                  <a:cubicBezTo>
                    <a:pt x="412" y="454"/>
                    <a:pt x="412" y="456"/>
                    <a:pt x="412" y="456"/>
                  </a:cubicBezTo>
                  <a:cubicBezTo>
                    <a:pt x="412" y="457"/>
                    <a:pt x="412" y="458"/>
                    <a:pt x="412" y="458"/>
                  </a:cubicBezTo>
                  <a:cubicBezTo>
                    <a:pt x="411" y="460"/>
                    <a:pt x="411" y="462"/>
                    <a:pt x="411" y="463"/>
                  </a:cubicBezTo>
                  <a:cubicBezTo>
                    <a:pt x="411" y="463"/>
                    <a:pt x="412" y="464"/>
                    <a:pt x="412" y="464"/>
                  </a:cubicBezTo>
                  <a:cubicBezTo>
                    <a:pt x="413" y="465"/>
                    <a:pt x="413" y="465"/>
                    <a:pt x="413" y="466"/>
                  </a:cubicBezTo>
                  <a:cubicBezTo>
                    <a:pt x="413" y="468"/>
                    <a:pt x="415" y="471"/>
                    <a:pt x="415" y="473"/>
                  </a:cubicBezTo>
                  <a:cubicBezTo>
                    <a:pt x="416" y="474"/>
                    <a:pt x="416" y="474"/>
                    <a:pt x="417" y="474"/>
                  </a:cubicBezTo>
                  <a:cubicBezTo>
                    <a:pt x="418" y="473"/>
                    <a:pt x="419" y="473"/>
                    <a:pt x="421" y="472"/>
                  </a:cubicBezTo>
                  <a:cubicBezTo>
                    <a:pt x="422" y="471"/>
                    <a:pt x="423" y="472"/>
                    <a:pt x="424" y="473"/>
                  </a:cubicBezTo>
                  <a:cubicBezTo>
                    <a:pt x="426" y="474"/>
                    <a:pt x="428" y="474"/>
                    <a:pt x="428" y="477"/>
                  </a:cubicBezTo>
                  <a:cubicBezTo>
                    <a:pt x="428" y="481"/>
                    <a:pt x="428" y="486"/>
                    <a:pt x="427" y="490"/>
                  </a:cubicBezTo>
                  <a:cubicBezTo>
                    <a:pt x="427" y="491"/>
                    <a:pt x="426" y="493"/>
                    <a:pt x="426" y="495"/>
                  </a:cubicBezTo>
                  <a:cubicBezTo>
                    <a:pt x="426" y="496"/>
                    <a:pt x="427" y="497"/>
                    <a:pt x="426" y="498"/>
                  </a:cubicBezTo>
                  <a:cubicBezTo>
                    <a:pt x="424" y="499"/>
                    <a:pt x="423" y="497"/>
                    <a:pt x="421" y="498"/>
                  </a:cubicBezTo>
                  <a:cubicBezTo>
                    <a:pt x="421" y="499"/>
                    <a:pt x="421" y="500"/>
                    <a:pt x="421" y="500"/>
                  </a:cubicBezTo>
                  <a:cubicBezTo>
                    <a:pt x="420" y="501"/>
                    <a:pt x="420" y="501"/>
                    <a:pt x="419" y="502"/>
                  </a:cubicBezTo>
                  <a:cubicBezTo>
                    <a:pt x="418" y="503"/>
                    <a:pt x="419" y="504"/>
                    <a:pt x="418" y="505"/>
                  </a:cubicBezTo>
                  <a:cubicBezTo>
                    <a:pt x="418" y="506"/>
                    <a:pt x="417" y="507"/>
                    <a:pt x="416" y="508"/>
                  </a:cubicBezTo>
                  <a:cubicBezTo>
                    <a:pt x="414" y="510"/>
                    <a:pt x="414" y="512"/>
                    <a:pt x="414" y="515"/>
                  </a:cubicBezTo>
                  <a:cubicBezTo>
                    <a:pt x="413" y="515"/>
                    <a:pt x="411" y="515"/>
                    <a:pt x="411" y="515"/>
                  </a:cubicBezTo>
                  <a:cubicBezTo>
                    <a:pt x="410" y="514"/>
                    <a:pt x="409" y="513"/>
                    <a:pt x="408" y="512"/>
                  </a:cubicBezTo>
                  <a:cubicBezTo>
                    <a:pt x="408" y="511"/>
                    <a:pt x="407" y="510"/>
                    <a:pt x="407" y="510"/>
                  </a:cubicBezTo>
                  <a:cubicBezTo>
                    <a:pt x="407" y="509"/>
                    <a:pt x="406" y="508"/>
                    <a:pt x="406" y="507"/>
                  </a:cubicBezTo>
                  <a:cubicBezTo>
                    <a:pt x="405" y="507"/>
                    <a:pt x="404" y="506"/>
                    <a:pt x="403" y="506"/>
                  </a:cubicBezTo>
                  <a:cubicBezTo>
                    <a:pt x="403" y="505"/>
                    <a:pt x="403" y="505"/>
                    <a:pt x="403" y="504"/>
                  </a:cubicBezTo>
                  <a:cubicBezTo>
                    <a:pt x="403" y="503"/>
                    <a:pt x="403" y="502"/>
                    <a:pt x="402" y="502"/>
                  </a:cubicBezTo>
                  <a:cubicBezTo>
                    <a:pt x="399" y="501"/>
                    <a:pt x="397" y="506"/>
                    <a:pt x="396" y="507"/>
                  </a:cubicBezTo>
                  <a:cubicBezTo>
                    <a:pt x="395" y="506"/>
                    <a:pt x="394" y="502"/>
                    <a:pt x="394" y="501"/>
                  </a:cubicBezTo>
                  <a:cubicBezTo>
                    <a:pt x="394" y="500"/>
                    <a:pt x="395" y="499"/>
                    <a:pt x="394" y="498"/>
                  </a:cubicBezTo>
                  <a:cubicBezTo>
                    <a:pt x="393" y="499"/>
                    <a:pt x="392" y="502"/>
                    <a:pt x="392" y="505"/>
                  </a:cubicBezTo>
                  <a:cubicBezTo>
                    <a:pt x="392" y="506"/>
                    <a:pt x="392" y="507"/>
                    <a:pt x="391" y="508"/>
                  </a:cubicBezTo>
                  <a:cubicBezTo>
                    <a:pt x="391" y="509"/>
                    <a:pt x="390" y="509"/>
                    <a:pt x="390" y="510"/>
                  </a:cubicBezTo>
                  <a:cubicBezTo>
                    <a:pt x="390" y="510"/>
                    <a:pt x="390" y="511"/>
                    <a:pt x="389" y="512"/>
                  </a:cubicBezTo>
                  <a:cubicBezTo>
                    <a:pt x="388" y="513"/>
                    <a:pt x="388" y="510"/>
                    <a:pt x="387" y="509"/>
                  </a:cubicBezTo>
                  <a:cubicBezTo>
                    <a:pt x="387" y="507"/>
                    <a:pt x="387" y="506"/>
                    <a:pt x="389" y="504"/>
                  </a:cubicBezTo>
                  <a:cubicBezTo>
                    <a:pt x="390" y="502"/>
                    <a:pt x="391" y="501"/>
                    <a:pt x="391" y="499"/>
                  </a:cubicBezTo>
                  <a:cubicBezTo>
                    <a:pt x="391" y="494"/>
                    <a:pt x="385" y="496"/>
                    <a:pt x="383" y="498"/>
                  </a:cubicBezTo>
                  <a:cubicBezTo>
                    <a:pt x="382" y="499"/>
                    <a:pt x="383" y="499"/>
                    <a:pt x="382" y="499"/>
                  </a:cubicBezTo>
                  <a:cubicBezTo>
                    <a:pt x="381" y="500"/>
                    <a:pt x="380" y="500"/>
                    <a:pt x="379" y="500"/>
                  </a:cubicBezTo>
                  <a:cubicBezTo>
                    <a:pt x="378" y="500"/>
                    <a:pt x="377" y="501"/>
                    <a:pt x="375" y="502"/>
                  </a:cubicBezTo>
                  <a:cubicBezTo>
                    <a:pt x="374" y="502"/>
                    <a:pt x="374" y="502"/>
                    <a:pt x="373" y="504"/>
                  </a:cubicBezTo>
                  <a:cubicBezTo>
                    <a:pt x="373" y="504"/>
                    <a:pt x="372" y="506"/>
                    <a:pt x="372" y="507"/>
                  </a:cubicBezTo>
                  <a:cubicBezTo>
                    <a:pt x="373" y="508"/>
                    <a:pt x="374" y="507"/>
                    <a:pt x="375" y="509"/>
                  </a:cubicBezTo>
                  <a:cubicBezTo>
                    <a:pt x="375" y="510"/>
                    <a:pt x="374" y="511"/>
                    <a:pt x="374" y="512"/>
                  </a:cubicBezTo>
                  <a:cubicBezTo>
                    <a:pt x="374" y="514"/>
                    <a:pt x="374" y="516"/>
                    <a:pt x="373" y="518"/>
                  </a:cubicBezTo>
                  <a:cubicBezTo>
                    <a:pt x="373" y="519"/>
                    <a:pt x="371" y="522"/>
                    <a:pt x="372" y="523"/>
                  </a:cubicBezTo>
                  <a:cubicBezTo>
                    <a:pt x="372" y="524"/>
                    <a:pt x="374" y="523"/>
                    <a:pt x="375" y="523"/>
                  </a:cubicBezTo>
                  <a:cubicBezTo>
                    <a:pt x="376" y="524"/>
                    <a:pt x="376" y="524"/>
                    <a:pt x="376" y="525"/>
                  </a:cubicBezTo>
                  <a:cubicBezTo>
                    <a:pt x="377" y="527"/>
                    <a:pt x="377" y="528"/>
                    <a:pt x="376" y="530"/>
                  </a:cubicBezTo>
                  <a:cubicBezTo>
                    <a:pt x="375" y="532"/>
                    <a:pt x="373" y="534"/>
                    <a:pt x="374" y="536"/>
                  </a:cubicBezTo>
                  <a:cubicBezTo>
                    <a:pt x="375" y="537"/>
                    <a:pt x="376" y="538"/>
                    <a:pt x="376" y="539"/>
                  </a:cubicBezTo>
                  <a:cubicBezTo>
                    <a:pt x="376" y="540"/>
                    <a:pt x="375" y="540"/>
                    <a:pt x="374" y="541"/>
                  </a:cubicBezTo>
                  <a:cubicBezTo>
                    <a:pt x="370" y="543"/>
                    <a:pt x="366" y="544"/>
                    <a:pt x="363" y="546"/>
                  </a:cubicBezTo>
                  <a:cubicBezTo>
                    <a:pt x="361" y="547"/>
                    <a:pt x="358" y="549"/>
                    <a:pt x="359" y="551"/>
                  </a:cubicBezTo>
                  <a:cubicBezTo>
                    <a:pt x="360" y="553"/>
                    <a:pt x="361" y="555"/>
                    <a:pt x="359" y="557"/>
                  </a:cubicBezTo>
                  <a:cubicBezTo>
                    <a:pt x="358" y="557"/>
                    <a:pt x="357" y="558"/>
                    <a:pt x="356" y="558"/>
                  </a:cubicBezTo>
                  <a:cubicBezTo>
                    <a:pt x="355" y="558"/>
                    <a:pt x="355" y="558"/>
                    <a:pt x="354" y="558"/>
                  </a:cubicBezTo>
                  <a:cubicBezTo>
                    <a:pt x="353" y="559"/>
                    <a:pt x="352" y="559"/>
                    <a:pt x="352" y="560"/>
                  </a:cubicBezTo>
                  <a:cubicBezTo>
                    <a:pt x="351" y="560"/>
                    <a:pt x="350" y="561"/>
                    <a:pt x="350" y="562"/>
                  </a:cubicBezTo>
                  <a:cubicBezTo>
                    <a:pt x="350" y="563"/>
                    <a:pt x="350" y="563"/>
                    <a:pt x="349" y="564"/>
                  </a:cubicBezTo>
                  <a:cubicBezTo>
                    <a:pt x="348" y="564"/>
                    <a:pt x="347" y="564"/>
                    <a:pt x="347" y="565"/>
                  </a:cubicBezTo>
                  <a:cubicBezTo>
                    <a:pt x="347" y="566"/>
                    <a:pt x="347" y="567"/>
                    <a:pt x="347" y="568"/>
                  </a:cubicBezTo>
                  <a:cubicBezTo>
                    <a:pt x="347" y="570"/>
                    <a:pt x="349" y="571"/>
                    <a:pt x="348" y="573"/>
                  </a:cubicBezTo>
                  <a:cubicBezTo>
                    <a:pt x="348" y="573"/>
                    <a:pt x="347" y="574"/>
                    <a:pt x="347" y="574"/>
                  </a:cubicBezTo>
                  <a:cubicBezTo>
                    <a:pt x="347" y="574"/>
                    <a:pt x="347" y="575"/>
                    <a:pt x="347" y="575"/>
                  </a:cubicBezTo>
                  <a:cubicBezTo>
                    <a:pt x="347" y="576"/>
                    <a:pt x="347" y="577"/>
                    <a:pt x="347" y="578"/>
                  </a:cubicBezTo>
                  <a:cubicBezTo>
                    <a:pt x="346" y="579"/>
                    <a:pt x="346" y="580"/>
                    <a:pt x="346" y="580"/>
                  </a:cubicBezTo>
                  <a:cubicBezTo>
                    <a:pt x="346" y="581"/>
                    <a:pt x="346" y="582"/>
                    <a:pt x="346" y="583"/>
                  </a:cubicBezTo>
                  <a:cubicBezTo>
                    <a:pt x="346" y="583"/>
                    <a:pt x="345" y="583"/>
                    <a:pt x="345" y="584"/>
                  </a:cubicBezTo>
                  <a:cubicBezTo>
                    <a:pt x="344" y="584"/>
                    <a:pt x="344" y="585"/>
                    <a:pt x="344" y="585"/>
                  </a:cubicBezTo>
                  <a:cubicBezTo>
                    <a:pt x="343" y="586"/>
                    <a:pt x="343" y="586"/>
                    <a:pt x="342" y="586"/>
                  </a:cubicBezTo>
                  <a:cubicBezTo>
                    <a:pt x="339" y="586"/>
                    <a:pt x="339" y="579"/>
                    <a:pt x="336" y="582"/>
                  </a:cubicBezTo>
                  <a:cubicBezTo>
                    <a:pt x="335" y="582"/>
                    <a:pt x="334" y="583"/>
                    <a:pt x="333" y="584"/>
                  </a:cubicBezTo>
                  <a:cubicBezTo>
                    <a:pt x="332" y="585"/>
                    <a:pt x="331" y="586"/>
                    <a:pt x="330" y="586"/>
                  </a:cubicBezTo>
                  <a:cubicBezTo>
                    <a:pt x="330" y="587"/>
                    <a:pt x="331" y="587"/>
                    <a:pt x="331" y="588"/>
                  </a:cubicBezTo>
                  <a:cubicBezTo>
                    <a:pt x="332" y="588"/>
                    <a:pt x="337" y="596"/>
                    <a:pt x="337" y="597"/>
                  </a:cubicBezTo>
                  <a:cubicBezTo>
                    <a:pt x="339" y="598"/>
                    <a:pt x="345" y="601"/>
                    <a:pt x="347" y="601"/>
                  </a:cubicBezTo>
                  <a:cubicBezTo>
                    <a:pt x="349" y="602"/>
                    <a:pt x="351" y="603"/>
                    <a:pt x="353" y="605"/>
                  </a:cubicBezTo>
                  <a:cubicBezTo>
                    <a:pt x="356" y="606"/>
                    <a:pt x="357" y="608"/>
                    <a:pt x="360" y="605"/>
                  </a:cubicBezTo>
                  <a:cubicBezTo>
                    <a:pt x="361" y="604"/>
                    <a:pt x="361" y="601"/>
                    <a:pt x="362" y="601"/>
                  </a:cubicBezTo>
                  <a:cubicBezTo>
                    <a:pt x="364" y="600"/>
                    <a:pt x="366" y="601"/>
                    <a:pt x="368" y="601"/>
                  </a:cubicBezTo>
                  <a:cubicBezTo>
                    <a:pt x="370" y="601"/>
                    <a:pt x="372" y="601"/>
                    <a:pt x="377" y="599"/>
                  </a:cubicBezTo>
                  <a:cubicBezTo>
                    <a:pt x="381" y="598"/>
                    <a:pt x="384" y="596"/>
                    <a:pt x="385" y="595"/>
                  </a:cubicBezTo>
                  <a:cubicBezTo>
                    <a:pt x="387" y="593"/>
                    <a:pt x="387" y="592"/>
                    <a:pt x="390" y="592"/>
                  </a:cubicBezTo>
                  <a:cubicBezTo>
                    <a:pt x="397" y="590"/>
                    <a:pt x="401" y="593"/>
                    <a:pt x="406" y="596"/>
                  </a:cubicBezTo>
                  <a:cubicBezTo>
                    <a:pt x="408" y="597"/>
                    <a:pt x="413" y="599"/>
                    <a:pt x="416" y="600"/>
                  </a:cubicBezTo>
                  <a:cubicBezTo>
                    <a:pt x="417" y="597"/>
                    <a:pt x="414" y="596"/>
                    <a:pt x="412" y="592"/>
                  </a:cubicBezTo>
                  <a:cubicBezTo>
                    <a:pt x="409" y="588"/>
                    <a:pt x="406" y="582"/>
                    <a:pt x="406" y="578"/>
                  </a:cubicBezTo>
                  <a:cubicBezTo>
                    <a:pt x="405" y="574"/>
                    <a:pt x="410" y="572"/>
                    <a:pt x="409" y="569"/>
                  </a:cubicBezTo>
                  <a:cubicBezTo>
                    <a:pt x="409" y="573"/>
                    <a:pt x="414" y="575"/>
                    <a:pt x="415" y="580"/>
                  </a:cubicBezTo>
                  <a:cubicBezTo>
                    <a:pt x="417" y="580"/>
                    <a:pt x="423" y="578"/>
                    <a:pt x="424" y="576"/>
                  </a:cubicBezTo>
                  <a:cubicBezTo>
                    <a:pt x="425" y="573"/>
                    <a:pt x="422" y="570"/>
                    <a:pt x="423" y="568"/>
                  </a:cubicBezTo>
                  <a:cubicBezTo>
                    <a:pt x="428" y="567"/>
                    <a:pt x="435" y="568"/>
                    <a:pt x="434" y="561"/>
                  </a:cubicBezTo>
                  <a:cubicBezTo>
                    <a:pt x="439" y="560"/>
                    <a:pt x="438" y="564"/>
                    <a:pt x="442" y="561"/>
                  </a:cubicBezTo>
                  <a:cubicBezTo>
                    <a:pt x="443" y="560"/>
                    <a:pt x="444" y="558"/>
                    <a:pt x="445" y="557"/>
                  </a:cubicBezTo>
                  <a:cubicBezTo>
                    <a:pt x="447" y="556"/>
                    <a:pt x="450" y="556"/>
                    <a:pt x="452" y="553"/>
                  </a:cubicBezTo>
                  <a:cubicBezTo>
                    <a:pt x="453" y="550"/>
                    <a:pt x="452" y="546"/>
                    <a:pt x="452" y="543"/>
                  </a:cubicBezTo>
                  <a:cubicBezTo>
                    <a:pt x="453" y="542"/>
                    <a:pt x="454" y="541"/>
                    <a:pt x="453" y="539"/>
                  </a:cubicBezTo>
                  <a:cubicBezTo>
                    <a:pt x="452" y="538"/>
                    <a:pt x="447" y="537"/>
                    <a:pt x="446" y="536"/>
                  </a:cubicBezTo>
                  <a:cubicBezTo>
                    <a:pt x="444" y="535"/>
                    <a:pt x="432" y="528"/>
                    <a:pt x="434" y="523"/>
                  </a:cubicBezTo>
                  <a:cubicBezTo>
                    <a:pt x="436" y="519"/>
                    <a:pt x="446" y="521"/>
                    <a:pt x="448" y="523"/>
                  </a:cubicBezTo>
                  <a:cubicBezTo>
                    <a:pt x="450" y="526"/>
                    <a:pt x="452" y="529"/>
                    <a:pt x="454" y="532"/>
                  </a:cubicBezTo>
                  <a:cubicBezTo>
                    <a:pt x="455" y="534"/>
                    <a:pt x="459" y="535"/>
                    <a:pt x="460" y="538"/>
                  </a:cubicBezTo>
                  <a:cubicBezTo>
                    <a:pt x="459" y="532"/>
                    <a:pt x="464" y="532"/>
                    <a:pt x="467" y="528"/>
                  </a:cubicBezTo>
                  <a:cubicBezTo>
                    <a:pt x="469" y="527"/>
                    <a:pt x="469" y="525"/>
                    <a:pt x="470" y="523"/>
                  </a:cubicBezTo>
                  <a:cubicBezTo>
                    <a:pt x="472" y="522"/>
                    <a:pt x="474" y="520"/>
                    <a:pt x="474" y="517"/>
                  </a:cubicBezTo>
                  <a:cubicBezTo>
                    <a:pt x="473" y="513"/>
                    <a:pt x="466" y="511"/>
                    <a:pt x="474" y="508"/>
                  </a:cubicBezTo>
                  <a:cubicBezTo>
                    <a:pt x="476" y="507"/>
                    <a:pt x="479" y="507"/>
                    <a:pt x="482" y="507"/>
                  </a:cubicBezTo>
                  <a:cubicBezTo>
                    <a:pt x="484" y="507"/>
                    <a:pt x="487" y="508"/>
                    <a:pt x="489" y="507"/>
                  </a:cubicBezTo>
                  <a:cubicBezTo>
                    <a:pt x="491" y="506"/>
                    <a:pt x="491" y="505"/>
                    <a:pt x="492" y="503"/>
                  </a:cubicBezTo>
                  <a:cubicBezTo>
                    <a:pt x="495" y="499"/>
                    <a:pt x="501" y="496"/>
                    <a:pt x="506" y="496"/>
                  </a:cubicBezTo>
                  <a:cubicBezTo>
                    <a:pt x="508" y="495"/>
                    <a:pt x="510" y="496"/>
                    <a:pt x="513" y="495"/>
                  </a:cubicBezTo>
                  <a:cubicBezTo>
                    <a:pt x="515" y="495"/>
                    <a:pt x="517" y="493"/>
                    <a:pt x="519" y="493"/>
                  </a:cubicBezTo>
                  <a:cubicBezTo>
                    <a:pt x="520" y="493"/>
                    <a:pt x="522" y="494"/>
                    <a:pt x="523" y="495"/>
                  </a:cubicBezTo>
                  <a:cubicBezTo>
                    <a:pt x="524" y="495"/>
                    <a:pt x="528" y="495"/>
                    <a:pt x="529" y="495"/>
                  </a:cubicBezTo>
                  <a:cubicBezTo>
                    <a:pt x="533" y="496"/>
                    <a:pt x="533" y="495"/>
                    <a:pt x="535" y="492"/>
                  </a:cubicBezTo>
                  <a:cubicBezTo>
                    <a:pt x="537" y="489"/>
                    <a:pt x="538" y="489"/>
                    <a:pt x="538" y="486"/>
                  </a:cubicBezTo>
                  <a:cubicBezTo>
                    <a:pt x="538" y="485"/>
                    <a:pt x="537" y="483"/>
                    <a:pt x="539" y="481"/>
                  </a:cubicBezTo>
                  <a:cubicBezTo>
                    <a:pt x="543" y="484"/>
                    <a:pt x="541" y="491"/>
                    <a:pt x="542" y="495"/>
                  </a:cubicBezTo>
                  <a:cubicBezTo>
                    <a:pt x="545" y="495"/>
                    <a:pt x="548" y="494"/>
                    <a:pt x="550" y="496"/>
                  </a:cubicBezTo>
                  <a:cubicBezTo>
                    <a:pt x="553" y="497"/>
                    <a:pt x="558" y="502"/>
                    <a:pt x="557" y="505"/>
                  </a:cubicBezTo>
                  <a:cubicBezTo>
                    <a:pt x="552" y="506"/>
                    <a:pt x="547" y="503"/>
                    <a:pt x="543" y="502"/>
                  </a:cubicBezTo>
                  <a:cubicBezTo>
                    <a:pt x="540" y="502"/>
                    <a:pt x="537" y="501"/>
                    <a:pt x="534" y="501"/>
                  </a:cubicBezTo>
                  <a:cubicBezTo>
                    <a:pt x="532" y="501"/>
                    <a:pt x="521" y="502"/>
                    <a:pt x="521" y="506"/>
                  </a:cubicBezTo>
                  <a:cubicBezTo>
                    <a:pt x="526" y="507"/>
                    <a:pt x="529" y="510"/>
                    <a:pt x="533" y="512"/>
                  </a:cubicBezTo>
                  <a:cubicBezTo>
                    <a:pt x="535" y="514"/>
                    <a:pt x="539" y="516"/>
                    <a:pt x="537" y="519"/>
                  </a:cubicBezTo>
                  <a:cubicBezTo>
                    <a:pt x="536" y="521"/>
                    <a:pt x="532" y="519"/>
                    <a:pt x="531" y="521"/>
                  </a:cubicBezTo>
                  <a:cubicBezTo>
                    <a:pt x="528" y="525"/>
                    <a:pt x="533" y="524"/>
                    <a:pt x="534" y="525"/>
                  </a:cubicBezTo>
                  <a:cubicBezTo>
                    <a:pt x="537" y="526"/>
                    <a:pt x="538" y="528"/>
                    <a:pt x="540" y="530"/>
                  </a:cubicBezTo>
                  <a:cubicBezTo>
                    <a:pt x="542" y="532"/>
                    <a:pt x="545" y="533"/>
                    <a:pt x="548" y="534"/>
                  </a:cubicBezTo>
                  <a:cubicBezTo>
                    <a:pt x="550" y="535"/>
                    <a:pt x="552" y="536"/>
                    <a:pt x="555" y="536"/>
                  </a:cubicBezTo>
                  <a:cubicBezTo>
                    <a:pt x="557" y="537"/>
                    <a:pt x="558" y="536"/>
                    <a:pt x="560" y="536"/>
                  </a:cubicBezTo>
                  <a:cubicBezTo>
                    <a:pt x="563" y="537"/>
                    <a:pt x="563" y="540"/>
                    <a:pt x="566" y="542"/>
                  </a:cubicBezTo>
                  <a:cubicBezTo>
                    <a:pt x="569" y="543"/>
                    <a:pt x="569" y="540"/>
                    <a:pt x="571" y="538"/>
                  </a:cubicBezTo>
                  <a:cubicBezTo>
                    <a:pt x="574" y="537"/>
                    <a:pt x="578" y="539"/>
                    <a:pt x="581" y="539"/>
                  </a:cubicBezTo>
                  <a:cubicBezTo>
                    <a:pt x="584" y="539"/>
                    <a:pt x="586" y="540"/>
                    <a:pt x="589" y="540"/>
                  </a:cubicBezTo>
                  <a:cubicBezTo>
                    <a:pt x="591" y="540"/>
                    <a:pt x="595" y="540"/>
                    <a:pt x="597" y="540"/>
                  </a:cubicBezTo>
                  <a:cubicBezTo>
                    <a:pt x="599" y="540"/>
                    <a:pt x="603" y="540"/>
                    <a:pt x="604" y="539"/>
                  </a:cubicBezTo>
                  <a:cubicBezTo>
                    <a:pt x="606" y="538"/>
                    <a:pt x="608" y="535"/>
                    <a:pt x="610" y="535"/>
                  </a:cubicBezTo>
                  <a:cubicBezTo>
                    <a:pt x="612" y="534"/>
                    <a:pt x="616" y="534"/>
                    <a:pt x="618" y="534"/>
                  </a:cubicBezTo>
                  <a:cubicBezTo>
                    <a:pt x="618" y="537"/>
                    <a:pt x="621" y="537"/>
                    <a:pt x="622" y="538"/>
                  </a:cubicBezTo>
                  <a:cubicBezTo>
                    <a:pt x="624" y="540"/>
                    <a:pt x="623" y="542"/>
                    <a:pt x="627" y="542"/>
                  </a:cubicBezTo>
                  <a:cubicBezTo>
                    <a:pt x="632" y="541"/>
                    <a:pt x="633" y="533"/>
                    <a:pt x="637" y="532"/>
                  </a:cubicBezTo>
                  <a:cubicBezTo>
                    <a:pt x="637" y="532"/>
                    <a:pt x="637" y="532"/>
                    <a:pt x="637" y="531"/>
                  </a:cubicBezTo>
                  <a:cubicBezTo>
                    <a:pt x="634" y="526"/>
                    <a:pt x="640" y="526"/>
                    <a:pt x="642" y="526"/>
                  </a:cubicBezTo>
                  <a:cubicBezTo>
                    <a:pt x="646" y="526"/>
                    <a:pt x="647" y="524"/>
                    <a:pt x="650" y="526"/>
                  </a:cubicBezTo>
                  <a:cubicBezTo>
                    <a:pt x="653" y="528"/>
                    <a:pt x="654" y="534"/>
                    <a:pt x="658" y="536"/>
                  </a:cubicBezTo>
                  <a:cubicBezTo>
                    <a:pt x="661" y="537"/>
                    <a:pt x="663" y="535"/>
                    <a:pt x="666" y="535"/>
                  </a:cubicBezTo>
                  <a:cubicBezTo>
                    <a:pt x="668" y="535"/>
                    <a:pt x="669" y="536"/>
                    <a:pt x="671" y="536"/>
                  </a:cubicBezTo>
                  <a:cubicBezTo>
                    <a:pt x="676" y="536"/>
                    <a:pt x="678" y="531"/>
                    <a:pt x="675" y="527"/>
                  </a:cubicBezTo>
                  <a:cubicBezTo>
                    <a:pt x="678" y="527"/>
                    <a:pt x="681" y="528"/>
                    <a:pt x="683" y="529"/>
                  </a:cubicBezTo>
                  <a:cubicBezTo>
                    <a:pt x="686" y="530"/>
                    <a:pt x="690" y="533"/>
                    <a:pt x="692" y="533"/>
                  </a:cubicBezTo>
                  <a:cubicBezTo>
                    <a:pt x="693" y="533"/>
                    <a:pt x="694" y="533"/>
                    <a:pt x="695" y="533"/>
                  </a:cubicBezTo>
                  <a:cubicBezTo>
                    <a:pt x="695" y="533"/>
                    <a:pt x="695" y="532"/>
                    <a:pt x="696" y="532"/>
                  </a:cubicBezTo>
                  <a:cubicBezTo>
                    <a:pt x="696" y="533"/>
                    <a:pt x="695" y="533"/>
                    <a:pt x="695" y="533"/>
                  </a:cubicBezTo>
                  <a:cubicBezTo>
                    <a:pt x="693" y="535"/>
                    <a:pt x="691" y="537"/>
                    <a:pt x="690" y="539"/>
                  </a:cubicBezTo>
                  <a:cubicBezTo>
                    <a:pt x="688" y="541"/>
                    <a:pt x="687" y="542"/>
                    <a:pt x="688" y="545"/>
                  </a:cubicBezTo>
                  <a:cubicBezTo>
                    <a:pt x="692" y="545"/>
                    <a:pt x="696" y="544"/>
                    <a:pt x="698" y="540"/>
                  </a:cubicBezTo>
                  <a:cubicBezTo>
                    <a:pt x="698" y="538"/>
                    <a:pt x="698" y="535"/>
                    <a:pt x="698" y="533"/>
                  </a:cubicBezTo>
                  <a:cubicBezTo>
                    <a:pt x="700" y="533"/>
                    <a:pt x="701" y="532"/>
                    <a:pt x="702" y="532"/>
                  </a:cubicBezTo>
                  <a:cubicBezTo>
                    <a:pt x="705" y="531"/>
                    <a:pt x="707" y="530"/>
                    <a:pt x="709" y="530"/>
                  </a:cubicBezTo>
                  <a:cubicBezTo>
                    <a:pt x="712" y="529"/>
                    <a:pt x="719" y="527"/>
                    <a:pt x="721" y="525"/>
                  </a:cubicBezTo>
                  <a:cubicBezTo>
                    <a:pt x="723" y="522"/>
                    <a:pt x="722" y="518"/>
                    <a:pt x="722" y="515"/>
                  </a:cubicBezTo>
                  <a:cubicBezTo>
                    <a:pt x="723" y="513"/>
                    <a:pt x="723" y="510"/>
                    <a:pt x="724" y="509"/>
                  </a:cubicBezTo>
                  <a:cubicBezTo>
                    <a:pt x="725" y="508"/>
                    <a:pt x="728" y="505"/>
                    <a:pt x="730" y="506"/>
                  </a:cubicBezTo>
                  <a:cubicBezTo>
                    <a:pt x="734" y="508"/>
                    <a:pt x="729" y="514"/>
                    <a:pt x="736" y="512"/>
                  </a:cubicBezTo>
                  <a:cubicBezTo>
                    <a:pt x="737" y="510"/>
                    <a:pt x="737" y="507"/>
                    <a:pt x="737" y="506"/>
                  </a:cubicBezTo>
                  <a:cubicBezTo>
                    <a:pt x="736" y="504"/>
                    <a:pt x="734" y="503"/>
                    <a:pt x="734" y="501"/>
                  </a:cubicBezTo>
                  <a:cubicBezTo>
                    <a:pt x="733" y="499"/>
                    <a:pt x="733" y="493"/>
                    <a:pt x="734" y="490"/>
                  </a:cubicBezTo>
                  <a:cubicBezTo>
                    <a:pt x="737" y="489"/>
                    <a:pt x="740" y="501"/>
                    <a:pt x="742" y="502"/>
                  </a:cubicBezTo>
                  <a:cubicBezTo>
                    <a:pt x="746" y="506"/>
                    <a:pt x="752" y="500"/>
                    <a:pt x="754" y="497"/>
                  </a:cubicBezTo>
                  <a:cubicBezTo>
                    <a:pt x="758" y="491"/>
                    <a:pt x="761" y="484"/>
                    <a:pt x="769" y="482"/>
                  </a:cubicBezTo>
                  <a:cubicBezTo>
                    <a:pt x="772" y="482"/>
                    <a:pt x="775" y="482"/>
                    <a:pt x="778" y="482"/>
                  </a:cubicBezTo>
                  <a:cubicBezTo>
                    <a:pt x="781" y="482"/>
                    <a:pt x="784" y="483"/>
                    <a:pt x="786" y="483"/>
                  </a:cubicBezTo>
                  <a:cubicBezTo>
                    <a:pt x="792" y="485"/>
                    <a:pt x="791" y="482"/>
                    <a:pt x="796" y="479"/>
                  </a:cubicBezTo>
                  <a:cubicBezTo>
                    <a:pt x="797" y="478"/>
                    <a:pt x="800" y="478"/>
                    <a:pt x="801" y="478"/>
                  </a:cubicBezTo>
                  <a:cubicBezTo>
                    <a:pt x="805" y="477"/>
                    <a:pt x="809" y="477"/>
                    <a:pt x="813" y="477"/>
                  </a:cubicBezTo>
                  <a:cubicBezTo>
                    <a:pt x="816" y="476"/>
                    <a:pt x="821" y="475"/>
                    <a:pt x="823" y="477"/>
                  </a:cubicBezTo>
                  <a:cubicBezTo>
                    <a:pt x="824" y="473"/>
                    <a:pt x="832" y="470"/>
                    <a:pt x="836" y="469"/>
                  </a:cubicBezTo>
                  <a:cubicBezTo>
                    <a:pt x="839" y="468"/>
                    <a:pt x="846" y="470"/>
                    <a:pt x="848" y="467"/>
                  </a:cubicBezTo>
                  <a:cubicBezTo>
                    <a:pt x="851" y="470"/>
                    <a:pt x="856" y="461"/>
                    <a:pt x="857" y="459"/>
                  </a:cubicBezTo>
                  <a:cubicBezTo>
                    <a:pt x="860" y="456"/>
                    <a:pt x="861" y="454"/>
                    <a:pt x="865" y="453"/>
                  </a:cubicBezTo>
                  <a:cubicBezTo>
                    <a:pt x="867" y="453"/>
                    <a:pt x="870" y="453"/>
                    <a:pt x="872" y="453"/>
                  </a:cubicBezTo>
                  <a:cubicBezTo>
                    <a:pt x="876" y="452"/>
                    <a:pt x="879" y="449"/>
                    <a:pt x="883" y="448"/>
                  </a:cubicBezTo>
                  <a:cubicBezTo>
                    <a:pt x="886" y="448"/>
                    <a:pt x="889" y="449"/>
                    <a:pt x="892" y="448"/>
                  </a:cubicBezTo>
                  <a:cubicBezTo>
                    <a:pt x="895" y="448"/>
                    <a:pt x="898" y="448"/>
                    <a:pt x="901" y="447"/>
                  </a:cubicBezTo>
                  <a:cubicBezTo>
                    <a:pt x="905" y="447"/>
                    <a:pt x="907" y="446"/>
                    <a:pt x="910" y="443"/>
                  </a:cubicBezTo>
                  <a:cubicBezTo>
                    <a:pt x="912" y="442"/>
                    <a:pt x="914" y="441"/>
                    <a:pt x="916" y="441"/>
                  </a:cubicBezTo>
                  <a:cubicBezTo>
                    <a:pt x="919" y="440"/>
                    <a:pt x="920" y="444"/>
                    <a:pt x="923" y="444"/>
                  </a:cubicBezTo>
                  <a:cubicBezTo>
                    <a:pt x="924" y="444"/>
                    <a:pt x="926" y="443"/>
                    <a:pt x="927" y="442"/>
                  </a:cubicBezTo>
                  <a:cubicBezTo>
                    <a:pt x="922" y="441"/>
                    <a:pt x="918" y="438"/>
                    <a:pt x="912" y="437"/>
                  </a:cubicBezTo>
                  <a:cubicBezTo>
                    <a:pt x="907" y="437"/>
                    <a:pt x="906" y="438"/>
                    <a:pt x="906" y="432"/>
                  </a:cubicBezTo>
                  <a:cubicBezTo>
                    <a:pt x="905" y="427"/>
                    <a:pt x="904" y="422"/>
                    <a:pt x="905" y="417"/>
                  </a:cubicBezTo>
                  <a:cubicBezTo>
                    <a:pt x="906" y="414"/>
                    <a:pt x="908" y="410"/>
                    <a:pt x="911" y="408"/>
                  </a:cubicBezTo>
                  <a:cubicBezTo>
                    <a:pt x="914" y="407"/>
                    <a:pt x="915" y="407"/>
                    <a:pt x="917" y="405"/>
                  </a:cubicBezTo>
                  <a:cubicBezTo>
                    <a:pt x="919" y="403"/>
                    <a:pt x="920" y="402"/>
                    <a:pt x="923" y="401"/>
                  </a:cubicBezTo>
                  <a:cubicBezTo>
                    <a:pt x="926" y="400"/>
                    <a:pt x="931" y="403"/>
                    <a:pt x="934" y="401"/>
                  </a:cubicBezTo>
                  <a:cubicBezTo>
                    <a:pt x="938" y="399"/>
                    <a:pt x="935" y="394"/>
                    <a:pt x="937" y="391"/>
                  </a:cubicBezTo>
                  <a:cubicBezTo>
                    <a:pt x="939" y="389"/>
                    <a:pt x="943" y="390"/>
                    <a:pt x="946" y="390"/>
                  </a:cubicBezTo>
                  <a:cubicBezTo>
                    <a:pt x="947" y="390"/>
                    <a:pt x="949" y="389"/>
                    <a:pt x="949" y="389"/>
                  </a:cubicBezTo>
                  <a:cubicBezTo>
                    <a:pt x="951" y="389"/>
                    <a:pt x="952" y="391"/>
                    <a:pt x="954" y="391"/>
                  </a:cubicBezTo>
                  <a:cubicBezTo>
                    <a:pt x="955" y="391"/>
                    <a:pt x="957" y="389"/>
                    <a:pt x="958" y="389"/>
                  </a:cubicBezTo>
                  <a:cubicBezTo>
                    <a:pt x="961" y="387"/>
                    <a:pt x="964" y="387"/>
                    <a:pt x="967" y="387"/>
                  </a:cubicBezTo>
                  <a:cubicBezTo>
                    <a:pt x="972" y="387"/>
                    <a:pt x="976" y="387"/>
                    <a:pt x="979" y="388"/>
                  </a:cubicBezTo>
                  <a:cubicBezTo>
                    <a:pt x="984" y="390"/>
                    <a:pt x="987" y="391"/>
                    <a:pt x="992" y="387"/>
                  </a:cubicBezTo>
                  <a:cubicBezTo>
                    <a:pt x="993" y="386"/>
                    <a:pt x="994" y="384"/>
                    <a:pt x="995" y="383"/>
                  </a:cubicBezTo>
                  <a:cubicBezTo>
                    <a:pt x="997" y="382"/>
                    <a:pt x="998" y="382"/>
                    <a:pt x="999" y="381"/>
                  </a:cubicBezTo>
                  <a:cubicBezTo>
                    <a:pt x="1001" y="379"/>
                    <a:pt x="1000" y="379"/>
                    <a:pt x="1001" y="377"/>
                  </a:cubicBezTo>
                  <a:cubicBezTo>
                    <a:pt x="1002" y="371"/>
                    <a:pt x="1000" y="365"/>
                    <a:pt x="1002" y="359"/>
                  </a:cubicBezTo>
                  <a:cubicBezTo>
                    <a:pt x="1003" y="357"/>
                    <a:pt x="1005" y="355"/>
                    <a:pt x="1006" y="353"/>
                  </a:cubicBezTo>
                  <a:cubicBezTo>
                    <a:pt x="1007" y="352"/>
                    <a:pt x="1010" y="352"/>
                    <a:pt x="1009" y="349"/>
                  </a:cubicBezTo>
                  <a:cubicBezTo>
                    <a:pt x="1005" y="349"/>
                    <a:pt x="1004" y="349"/>
                    <a:pt x="1002" y="346"/>
                  </a:cubicBezTo>
                  <a:cubicBezTo>
                    <a:pt x="1002" y="347"/>
                    <a:pt x="1001" y="347"/>
                    <a:pt x="1001" y="347"/>
                  </a:cubicBezTo>
                  <a:cubicBezTo>
                    <a:pt x="998" y="342"/>
                    <a:pt x="998" y="336"/>
                    <a:pt x="997" y="331"/>
                  </a:cubicBezTo>
                  <a:cubicBezTo>
                    <a:pt x="995" y="331"/>
                    <a:pt x="994" y="331"/>
                    <a:pt x="992" y="331"/>
                  </a:cubicBezTo>
                  <a:cubicBezTo>
                    <a:pt x="991" y="326"/>
                    <a:pt x="992" y="319"/>
                    <a:pt x="992" y="314"/>
                  </a:cubicBezTo>
                  <a:cubicBezTo>
                    <a:pt x="992" y="313"/>
                    <a:pt x="991" y="308"/>
                    <a:pt x="992" y="306"/>
                  </a:cubicBezTo>
                  <a:cubicBezTo>
                    <a:pt x="994" y="302"/>
                    <a:pt x="1014" y="306"/>
                    <a:pt x="1011" y="300"/>
                  </a:cubicBezTo>
                  <a:cubicBezTo>
                    <a:pt x="1010" y="297"/>
                    <a:pt x="1003" y="298"/>
                    <a:pt x="1001" y="298"/>
                  </a:cubicBezTo>
                  <a:cubicBezTo>
                    <a:pt x="995" y="298"/>
                    <a:pt x="993" y="295"/>
                    <a:pt x="988" y="291"/>
                  </a:cubicBezTo>
                  <a:cubicBezTo>
                    <a:pt x="983" y="287"/>
                    <a:pt x="982" y="283"/>
                    <a:pt x="990" y="282"/>
                  </a:cubicBezTo>
                  <a:cubicBezTo>
                    <a:pt x="996" y="282"/>
                    <a:pt x="1002" y="283"/>
                    <a:pt x="1008" y="282"/>
                  </a:cubicBezTo>
                  <a:cubicBezTo>
                    <a:pt x="1008" y="280"/>
                    <a:pt x="1008" y="278"/>
                    <a:pt x="1009" y="276"/>
                  </a:cubicBezTo>
                  <a:cubicBezTo>
                    <a:pt x="1012" y="269"/>
                    <a:pt x="1018" y="273"/>
                    <a:pt x="1024" y="269"/>
                  </a:cubicBezTo>
                  <a:cubicBezTo>
                    <a:pt x="1026" y="267"/>
                    <a:pt x="1026" y="266"/>
                    <a:pt x="1024" y="264"/>
                  </a:cubicBezTo>
                  <a:moveTo>
                    <a:pt x="134" y="165"/>
                  </a:moveTo>
                  <a:cubicBezTo>
                    <a:pt x="134" y="165"/>
                    <a:pt x="134" y="165"/>
                    <a:pt x="134" y="165"/>
                  </a:cubicBezTo>
                  <a:cubicBezTo>
                    <a:pt x="134" y="165"/>
                    <a:pt x="134" y="165"/>
                    <a:pt x="133" y="165"/>
                  </a:cubicBezTo>
                  <a:lnTo>
                    <a:pt x="134" y="16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6" name="Freeform 6">
              <a:extLst>
                <a:ext uri="{FF2B5EF4-FFF2-40B4-BE49-F238E27FC236}">
                  <a16:creationId xmlns:a16="http://schemas.microsoft.com/office/drawing/2014/main" id="{D1DEC52A-2C26-402A-AF73-656FD9503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5363" y="5638800"/>
              <a:ext cx="84138" cy="50800"/>
            </a:xfrm>
            <a:custGeom>
              <a:avLst/>
              <a:gdLst/>
              <a:ahLst/>
              <a:cxnLst>
                <a:cxn ang="0">
                  <a:pos x="17" y="3"/>
                </a:cxn>
                <a:cxn ang="0">
                  <a:pos x="15" y="1"/>
                </a:cxn>
                <a:cxn ang="0">
                  <a:pos x="13" y="0"/>
                </a:cxn>
                <a:cxn ang="0">
                  <a:pos x="10" y="4"/>
                </a:cxn>
                <a:cxn ang="0">
                  <a:pos x="9" y="5"/>
                </a:cxn>
                <a:cxn ang="0">
                  <a:pos x="8" y="6"/>
                </a:cxn>
                <a:cxn ang="0">
                  <a:pos x="7" y="6"/>
                </a:cxn>
                <a:cxn ang="0">
                  <a:pos x="7" y="7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9"/>
                </a:cxn>
                <a:cxn ang="0">
                  <a:pos x="9" y="22"/>
                </a:cxn>
                <a:cxn ang="0">
                  <a:pos x="15" y="22"/>
                </a:cxn>
                <a:cxn ang="0">
                  <a:pos x="18" y="22"/>
                </a:cxn>
                <a:cxn ang="0">
                  <a:pos x="20" y="21"/>
                </a:cxn>
                <a:cxn ang="0">
                  <a:pos x="22" y="21"/>
                </a:cxn>
                <a:cxn ang="0">
                  <a:pos x="25" y="21"/>
                </a:cxn>
                <a:cxn ang="0">
                  <a:pos x="29" y="22"/>
                </a:cxn>
                <a:cxn ang="0">
                  <a:pos x="32" y="24"/>
                </a:cxn>
                <a:cxn ang="0">
                  <a:pos x="39" y="26"/>
                </a:cxn>
                <a:cxn ang="0">
                  <a:pos x="44" y="25"/>
                </a:cxn>
                <a:cxn ang="0">
                  <a:pos x="44" y="19"/>
                </a:cxn>
                <a:cxn ang="0">
                  <a:pos x="43" y="16"/>
                </a:cxn>
                <a:cxn ang="0">
                  <a:pos x="42" y="13"/>
                </a:cxn>
                <a:cxn ang="0">
                  <a:pos x="38" y="10"/>
                </a:cxn>
                <a:cxn ang="0">
                  <a:pos x="35" y="9"/>
                </a:cxn>
                <a:cxn ang="0">
                  <a:pos x="33" y="9"/>
                </a:cxn>
                <a:cxn ang="0">
                  <a:pos x="27" y="5"/>
                </a:cxn>
                <a:cxn ang="0">
                  <a:pos x="23" y="4"/>
                </a:cxn>
                <a:cxn ang="0">
                  <a:pos x="20" y="3"/>
                </a:cxn>
                <a:cxn ang="0">
                  <a:pos x="17" y="3"/>
                </a:cxn>
              </a:cxnLst>
              <a:rect l="0" t="0" r="r" b="b"/>
              <a:pathLst>
                <a:path w="45" h="27">
                  <a:moveTo>
                    <a:pt x="17" y="3"/>
                  </a:moveTo>
                  <a:cubicBezTo>
                    <a:pt x="17" y="2"/>
                    <a:pt x="16" y="2"/>
                    <a:pt x="15" y="1"/>
                  </a:cubicBezTo>
                  <a:cubicBezTo>
                    <a:pt x="14" y="1"/>
                    <a:pt x="13" y="0"/>
                    <a:pt x="13" y="0"/>
                  </a:cubicBezTo>
                  <a:cubicBezTo>
                    <a:pt x="11" y="1"/>
                    <a:pt x="11" y="2"/>
                    <a:pt x="10" y="4"/>
                  </a:cubicBezTo>
                  <a:cubicBezTo>
                    <a:pt x="10" y="4"/>
                    <a:pt x="10" y="5"/>
                    <a:pt x="9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5" y="8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1" y="16"/>
                    <a:pt x="3" y="17"/>
                    <a:pt x="5" y="19"/>
                  </a:cubicBezTo>
                  <a:cubicBezTo>
                    <a:pt x="6" y="20"/>
                    <a:pt x="7" y="21"/>
                    <a:pt x="9" y="22"/>
                  </a:cubicBezTo>
                  <a:cubicBezTo>
                    <a:pt x="11" y="22"/>
                    <a:pt x="13" y="22"/>
                    <a:pt x="15" y="22"/>
                  </a:cubicBezTo>
                  <a:cubicBezTo>
                    <a:pt x="16" y="23"/>
                    <a:pt x="17" y="23"/>
                    <a:pt x="18" y="22"/>
                  </a:cubicBezTo>
                  <a:cubicBezTo>
                    <a:pt x="19" y="22"/>
                    <a:pt x="19" y="22"/>
                    <a:pt x="20" y="21"/>
                  </a:cubicBezTo>
                  <a:cubicBezTo>
                    <a:pt x="20" y="21"/>
                    <a:pt x="21" y="21"/>
                    <a:pt x="22" y="21"/>
                  </a:cubicBezTo>
                  <a:cubicBezTo>
                    <a:pt x="23" y="21"/>
                    <a:pt x="24" y="21"/>
                    <a:pt x="25" y="21"/>
                  </a:cubicBezTo>
                  <a:cubicBezTo>
                    <a:pt x="27" y="21"/>
                    <a:pt x="28" y="22"/>
                    <a:pt x="29" y="22"/>
                  </a:cubicBezTo>
                  <a:cubicBezTo>
                    <a:pt x="30" y="22"/>
                    <a:pt x="31" y="23"/>
                    <a:pt x="32" y="24"/>
                  </a:cubicBezTo>
                  <a:cubicBezTo>
                    <a:pt x="34" y="25"/>
                    <a:pt x="36" y="26"/>
                    <a:pt x="39" y="26"/>
                  </a:cubicBezTo>
                  <a:cubicBezTo>
                    <a:pt x="40" y="27"/>
                    <a:pt x="43" y="27"/>
                    <a:pt x="44" y="25"/>
                  </a:cubicBezTo>
                  <a:cubicBezTo>
                    <a:pt x="45" y="23"/>
                    <a:pt x="44" y="21"/>
                    <a:pt x="44" y="19"/>
                  </a:cubicBezTo>
                  <a:cubicBezTo>
                    <a:pt x="43" y="18"/>
                    <a:pt x="43" y="17"/>
                    <a:pt x="43" y="16"/>
                  </a:cubicBezTo>
                  <a:cubicBezTo>
                    <a:pt x="43" y="15"/>
                    <a:pt x="43" y="14"/>
                    <a:pt x="42" y="13"/>
                  </a:cubicBezTo>
                  <a:cubicBezTo>
                    <a:pt x="41" y="11"/>
                    <a:pt x="39" y="11"/>
                    <a:pt x="38" y="10"/>
                  </a:cubicBezTo>
                  <a:cubicBezTo>
                    <a:pt x="37" y="10"/>
                    <a:pt x="36" y="9"/>
                    <a:pt x="35" y="9"/>
                  </a:cubicBezTo>
                  <a:cubicBezTo>
                    <a:pt x="34" y="9"/>
                    <a:pt x="34" y="9"/>
                    <a:pt x="33" y="9"/>
                  </a:cubicBezTo>
                  <a:cubicBezTo>
                    <a:pt x="31" y="8"/>
                    <a:pt x="29" y="6"/>
                    <a:pt x="27" y="5"/>
                  </a:cubicBezTo>
                  <a:cubicBezTo>
                    <a:pt x="26" y="5"/>
                    <a:pt x="24" y="5"/>
                    <a:pt x="23" y="4"/>
                  </a:cubicBezTo>
                  <a:cubicBezTo>
                    <a:pt x="22" y="4"/>
                    <a:pt x="21" y="4"/>
                    <a:pt x="20" y="3"/>
                  </a:cubicBezTo>
                  <a:cubicBezTo>
                    <a:pt x="20" y="3"/>
                    <a:pt x="19" y="4"/>
                    <a:pt x="17" y="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7" name="Freeform 7">
              <a:extLst>
                <a:ext uri="{FF2B5EF4-FFF2-40B4-BE49-F238E27FC236}">
                  <a16:creationId xmlns:a16="http://schemas.microsoft.com/office/drawing/2014/main" id="{10F01633-4CF1-4BC9-9E59-6D28058B8F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5850" y="3716338"/>
              <a:ext cx="463550" cy="674688"/>
            </a:xfrm>
            <a:custGeom>
              <a:avLst/>
              <a:gdLst/>
              <a:ahLst/>
              <a:cxnLst>
                <a:cxn ang="0">
                  <a:pos x="182" y="8"/>
                </a:cxn>
                <a:cxn ang="0">
                  <a:pos x="163" y="8"/>
                </a:cxn>
                <a:cxn ang="0">
                  <a:pos x="124" y="24"/>
                </a:cxn>
                <a:cxn ang="0">
                  <a:pos x="114" y="53"/>
                </a:cxn>
                <a:cxn ang="0">
                  <a:pos x="94" y="68"/>
                </a:cxn>
                <a:cxn ang="0">
                  <a:pos x="127" y="72"/>
                </a:cxn>
                <a:cxn ang="0">
                  <a:pos x="110" y="90"/>
                </a:cxn>
                <a:cxn ang="0">
                  <a:pos x="100" y="105"/>
                </a:cxn>
                <a:cxn ang="0">
                  <a:pos x="75" y="113"/>
                </a:cxn>
                <a:cxn ang="0">
                  <a:pos x="33" y="106"/>
                </a:cxn>
                <a:cxn ang="0">
                  <a:pos x="31" y="131"/>
                </a:cxn>
                <a:cxn ang="0">
                  <a:pos x="14" y="139"/>
                </a:cxn>
                <a:cxn ang="0">
                  <a:pos x="40" y="142"/>
                </a:cxn>
                <a:cxn ang="0">
                  <a:pos x="35" y="153"/>
                </a:cxn>
                <a:cxn ang="0">
                  <a:pos x="24" y="179"/>
                </a:cxn>
                <a:cxn ang="0">
                  <a:pos x="37" y="189"/>
                </a:cxn>
                <a:cxn ang="0">
                  <a:pos x="45" y="197"/>
                </a:cxn>
                <a:cxn ang="0">
                  <a:pos x="74" y="214"/>
                </a:cxn>
                <a:cxn ang="0">
                  <a:pos x="55" y="240"/>
                </a:cxn>
                <a:cxn ang="0">
                  <a:pos x="39" y="257"/>
                </a:cxn>
                <a:cxn ang="0">
                  <a:pos x="70" y="260"/>
                </a:cxn>
                <a:cxn ang="0">
                  <a:pos x="40" y="289"/>
                </a:cxn>
                <a:cxn ang="0">
                  <a:pos x="4" y="292"/>
                </a:cxn>
                <a:cxn ang="0">
                  <a:pos x="24" y="304"/>
                </a:cxn>
                <a:cxn ang="0">
                  <a:pos x="23" y="310"/>
                </a:cxn>
                <a:cxn ang="0">
                  <a:pos x="10" y="331"/>
                </a:cxn>
                <a:cxn ang="0">
                  <a:pos x="51" y="325"/>
                </a:cxn>
                <a:cxn ang="0">
                  <a:pos x="19" y="346"/>
                </a:cxn>
                <a:cxn ang="0">
                  <a:pos x="56" y="341"/>
                </a:cxn>
                <a:cxn ang="0">
                  <a:pos x="60" y="357"/>
                </a:cxn>
                <a:cxn ang="0">
                  <a:pos x="104" y="344"/>
                </a:cxn>
                <a:cxn ang="0">
                  <a:pos x="134" y="322"/>
                </a:cxn>
                <a:cxn ang="0">
                  <a:pos x="173" y="302"/>
                </a:cxn>
                <a:cxn ang="0">
                  <a:pos x="208" y="294"/>
                </a:cxn>
                <a:cxn ang="0">
                  <a:pos x="219" y="277"/>
                </a:cxn>
                <a:cxn ang="0">
                  <a:pos x="238" y="240"/>
                </a:cxn>
                <a:cxn ang="0">
                  <a:pos x="230" y="195"/>
                </a:cxn>
                <a:cxn ang="0">
                  <a:pos x="245" y="187"/>
                </a:cxn>
                <a:cxn ang="0">
                  <a:pos x="225" y="161"/>
                </a:cxn>
                <a:cxn ang="0">
                  <a:pos x="231" y="134"/>
                </a:cxn>
                <a:cxn ang="0">
                  <a:pos x="234" y="126"/>
                </a:cxn>
                <a:cxn ang="0">
                  <a:pos x="218" y="123"/>
                </a:cxn>
                <a:cxn ang="0">
                  <a:pos x="201" y="112"/>
                </a:cxn>
                <a:cxn ang="0">
                  <a:pos x="184" y="95"/>
                </a:cxn>
                <a:cxn ang="0">
                  <a:pos x="172" y="114"/>
                </a:cxn>
                <a:cxn ang="0">
                  <a:pos x="153" y="114"/>
                </a:cxn>
                <a:cxn ang="0">
                  <a:pos x="137" y="104"/>
                </a:cxn>
                <a:cxn ang="0">
                  <a:pos x="130" y="90"/>
                </a:cxn>
                <a:cxn ang="0">
                  <a:pos x="149" y="73"/>
                </a:cxn>
                <a:cxn ang="0">
                  <a:pos x="147" y="63"/>
                </a:cxn>
                <a:cxn ang="0">
                  <a:pos x="165" y="46"/>
                </a:cxn>
                <a:cxn ang="0">
                  <a:pos x="184" y="28"/>
                </a:cxn>
                <a:cxn ang="0">
                  <a:pos x="191" y="16"/>
                </a:cxn>
                <a:cxn ang="0">
                  <a:pos x="240" y="128"/>
                </a:cxn>
                <a:cxn ang="0">
                  <a:pos x="216" y="17"/>
                </a:cxn>
                <a:cxn ang="0">
                  <a:pos x="214" y="18"/>
                </a:cxn>
              </a:cxnLst>
              <a:rect l="0" t="0" r="r" b="b"/>
              <a:pathLst>
                <a:path w="248" h="361">
                  <a:moveTo>
                    <a:pt x="203" y="10"/>
                  </a:moveTo>
                  <a:cubicBezTo>
                    <a:pt x="201" y="10"/>
                    <a:pt x="199" y="10"/>
                    <a:pt x="198" y="10"/>
                  </a:cubicBezTo>
                  <a:cubicBezTo>
                    <a:pt x="197" y="10"/>
                    <a:pt x="195" y="11"/>
                    <a:pt x="194" y="10"/>
                  </a:cubicBezTo>
                  <a:cubicBezTo>
                    <a:pt x="191" y="10"/>
                    <a:pt x="189" y="8"/>
                    <a:pt x="187" y="8"/>
                  </a:cubicBezTo>
                  <a:cubicBezTo>
                    <a:pt x="185" y="8"/>
                    <a:pt x="183" y="9"/>
                    <a:pt x="182" y="8"/>
                  </a:cubicBezTo>
                  <a:cubicBezTo>
                    <a:pt x="180" y="7"/>
                    <a:pt x="181" y="6"/>
                    <a:pt x="179" y="5"/>
                  </a:cubicBezTo>
                  <a:cubicBezTo>
                    <a:pt x="178" y="4"/>
                    <a:pt x="176" y="4"/>
                    <a:pt x="175" y="4"/>
                  </a:cubicBezTo>
                  <a:cubicBezTo>
                    <a:pt x="172" y="4"/>
                    <a:pt x="172" y="4"/>
                    <a:pt x="170" y="3"/>
                  </a:cubicBezTo>
                  <a:cubicBezTo>
                    <a:pt x="168" y="2"/>
                    <a:pt x="167" y="0"/>
                    <a:pt x="165" y="3"/>
                  </a:cubicBezTo>
                  <a:cubicBezTo>
                    <a:pt x="163" y="4"/>
                    <a:pt x="165" y="7"/>
                    <a:pt x="163" y="8"/>
                  </a:cubicBezTo>
                  <a:cubicBezTo>
                    <a:pt x="162" y="9"/>
                    <a:pt x="160" y="8"/>
                    <a:pt x="159" y="8"/>
                  </a:cubicBezTo>
                  <a:cubicBezTo>
                    <a:pt x="154" y="8"/>
                    <a:pt x="137" y="8"/>
                    <a:pt x="138" y="16"/>
                  </a:cubicBezTo>
                  <a:cubicBezTo>
                    <a:pt x="135" y="17"/>
                    <a:pt x="133" y="13"/>
                    <a:pt x="131" y="11"/>
                  </a:cubicBezTo>
                  <a:cubicBezTo>
                    <a:pt x="128" y="14"/>
                    <a:pt x="133" y="21"/>
                    <a:pt x="128" y="24"/>
                  </a:cubicBezTo>
                  <a:cubicBezTo>
                    <a:pt x="127" y="24"/>
                    <a:pt x="125" y="24"/>
                    <a:pt x="124" y="24"/>
                  </a:cubicBezTo>
                  <a:cubicBezTo>
                    <a:pt x="123" y="24"/>
                    <a:pt x="122" y="25"/>
                    <a:pt x="121" y="26"/>
                  </a:cubicBezTo>
                  <a:cubicBezTo>
                    <a:pt x="120" y="26"/>
                    <a:pt x="117" y="25"/>
                    <a:pt x="116" y="26"/>
                  </a:cubicBezTo>
                  <a:cubicBezTo>
                    <a:pt x="112" y="29"/>
                    <a:pt x="116" y="34"/>
                    <a:pt x="112" y="37"/>
                  </a:cubicBezTo>
                  <a:cubicBezTo>
                    <a:pt x="110" y="39"/>
                    <a:pt x="104" y="40"/>
                    <a:pt x="105" y="46"/>
                  </a:cubicBezTo>
                  <a:cubicBezTo>
                    <a:pt x="109" y="46"/>
                    <a:pt x="115" y="48"/>
                    <a:pt x="114" y="53"/>
                  </a:cubicBezTo>
                  <a:cubicBezTo>
                    <a:pt x="112" y="58"/>
                    <a:pt x="109" y="54"/>
                    <a:pt x="106" y="55"/>
                  </a:cubicBezTo>
                  <a:cubicBezTo>
                    <a:pt x="103" y="55"/>
                    <a:pt x="104" y="55"/>
                    <a:pt x="103" y="57"/>
                  </a:cubicBezTo>
                  <a:cubicBezTo>
                    <a:pt x="103" y="58"/>
                    <a:pt x="103" y="58"/>
                    <a:pt x="103" y="59"/>
                  </a:cubicBezTo>
                  <a:cubicBezTo>
                    <a:pt x="102" y="60"/>
                    <a:pt x="102" y="59"/>
                    <a:pt x="101" y="60"/>
                  </a:cubicBezTo>
                  <a:cubicBezTo>
                    <a:pt x="98" y="62"/>
                    <a:pt x="96" y="65"/>
                    <a:pt x="94" y="68"/>
                  </a:cubicBezTo>
                  <a:cubicBezTo>
                    <a:pt x="91" y="71"/>
                    <a:pt x="88" y="75"/>
                    <a:pt x="94" y="76"/>
                  </a:cubicBezTo>
                  <a:cubicBezTo>
                    <a:pt x="96" y="77"/>
                    <a:pt x="98" y="76"/>
                    <a:pt x="100" y="76"/>
                  </a:cubicBezTo>
                  <a:cubicBezTo>
                    <a:pt x="102" y="76"/>
                    <a:pt x="103" y="78"/>
                    <a:pt x="105" y="78"/>
                  </a:cubicBezTo>
                  <a:cubicBezTo>
                    <a:pt x="110" y="80"/>
                    <a:pt x="112" y="77"/>
                    <a:pt x="117" y="76"/>
                  </a:cubicBezTo>
                  <a:cubicBezTo>
                    <a:pt x="120" y="75"/>
                    <a:pt x="123" y="74"/>
                    <a:pt x="127" y="72"/>
                  </a:cubicBezTo>
                  <a:cubicBezTo>
                    <a:pt x="127" y="75"/>
                    <a:pt x="127" y="76"/>
                    <a:pt x="126" y="77"/>
                  </a:cubicBezTo>
                  <a:cubicBezTo>
                    <a:pt x="124" y="80"/>
                    <a:pt x="123" y="80"/>
                    <a:pt x="122" y="83"/>
                  </a:cubicBezTo>
                  <a:cubicBezTo>
                    <a:pt x="121" y="85"/>
                    <a:pt x="122" y="85"/>
                    <a:pt x="120" y="86"/>
                  </a:cubicBezTo>
                  <a:cubicBezTo>
                    <a:pt x="119" y="87"/>
                    <a:pt x="117" y="87"/>
                    <a:pt x="115" y="88"/>
                  </a:cubicBezTo>
                  <a:cubicBezTo>
                    <a:pt x="113" y="88"/>
                    <a:pt x="112" y="90"/>
                    <a:pt x="110" y="90"/>
                  </a:cubicBezTo>
                  <a:cubicBezTo>
                    <a:pt x="109" y="91"/>
                    <a:pt x="108" y="90"/>
                    <a:pt x="107" y="90"/>
                  </a:cubicBezTo>
                  <a:cubicBezTo>
                    <a:pt x="106" y="91"/>
                    <a:pt x="106" y="92"/>
                    <a:pt x="105" y="93"/>
                  </a:cubicBezTo>
                  <a:cubicBezTo>
                    <a:pt x="103" y="95"/>
                    <a:pt x="98" y="97"/>
                    <a:pt x="99" y="100"/>
                  </a:cubicBezTo>
                  <a:cubicBezTo>
                    <a:pt x="100" y="100"/>
                    <a:pt x="101" y="100"/>
                    <a:pt x="102" y="100"/>
                  </a:cubicBezTo>
                  <a:cubicBezTo>
                    <a:pt x="103" y="103"/>
                    <a:pt x="103" y="104"/>
                    <a:pt x="100" y="105"/>
                  </a:cubicBezTo>
                  <a:cubicBezTo>
                    <a:pt x="99" y="106"/>
                    <a:pt x="97" y="105"/>
                    <a:pt x="96" y="105"/>
                  </a:cubicBezTo>
                  <a:cubicBezTo>
                    <a:pt x="94" y="106"/>
                    <a:pt x="94" y="106"/>
                    <a:pt x="93" y="106"/>
                  </a:cubicBezTo>
                  <a:cubicBezTo>
                    <a:pt x="90" y="107"/>
                    <a:pt x="90" y="105"/>
                    <a:pt x="87" y="104"/>
                  </a:cubicBezTo>
                  <a:cubicBezTo>
                    <a:pt x="85" y="104"/>
                    <a:pt x="82" y="104"/>
                    <a:pt x="80" y="105"/>
                  </a:cubicBezTo>
                  <a:cubicBezTo>
                    <a:pt x="79" y="108"/>
                    <a:pt x="80" y="114"/>
                    <a:pt x="75" y="113"/>
                  </a:cubicBezTo>
                  <a:cubicBezTo>
                    <a:pt x="69" y="112"/>
                    <a:pt x="72" y="105"/>
                    <a:pt x="66" y="103"/>
                  </a:cubicBezTo>
                  <a:cubicBezTo>
                    <a:pt x="61" y="103"/>
                    <a:pt x="57" y="103"/>
                    <a:pt x="52" y="102"/>
                  </a:cubicBezTo>
                  <a:cubicBezTo>
                    <a:pt x="49" y="102"/>
                    <a:pt x="46" y="101"/>
                    <a:pt x="43" y="101"/>
                  </a:cubicBezTo>
                  <a:cubicBezTo>
                    <a:pt x="40" y="101"/>
                    <a:pt x="37" y="102"/>
                    <a:pt x="33" y="102"/>
                  </a:cubicBezTo>
                  <a:cubicBezTo>
                    <a:pt x="33" y="103"/>
                    <a:pt x="33" y="105"/>
                    <a:pt x="33" y="106"/>
                  </a:cubicBezTo>
                  <a:cubicBezTo>
                    <a:pt x="29" y="107"/>
                    <a:pt x="25" y="107"/>
                    <a:pt x="22" y="111"/>
                  </a:cubicBezTo>
                  <a:cubicBezTo>
                    <a:pt x="20" y="115"/>
                    <a:pt x="17" y="123"/>
                    <a:pt x="20" y="126"/>
                  </a:cubicBezTo>
                  <a:cubicBezTo>
                    <a:pt x="21" y="125"/>
                    <a:pt x="22" y="123"/>
                    <a:pt x="23" y="122"/>
                  </a:cubicBezTo>
                  <a:cubicBezTo>
                    <a:pt x="24" y="120"/>
                    <a:pt x="27" y="117"/>
                    <a:pt x="29" y="117"/>
                  </a:cubicBezTo>
                  <a:cubicBezTo>
                    <a:pt x="33" y="117"/>
                    <a:pt x="32" y="128"/>
                    <a:pt x="31" y="131"/>
                  </a:cubicBezTo>
                  <a:cubicBezTo>
                    <a:pt x="35" y="133"/>
                    <a:pt x="39" y="132"/>
                    <a:pt x="42" y="134"/>
                  </a:cubicBezTo>
                  <a:cubicBezTo>
                    <a:pt x="40" y="137"/>
                    <a:pt x="32" y="136"/>
                    <a:pt x="30" y="134"/>
                  </a:cubicBezTo>
                  <a:cubicBezTo>
                    <a:pt x="27" y="133"/>
                    <a:pt x="28" y="132"/>
                    <a:pt x="24" y="131"/>
                  </a:cubicBezTo>
                  <a:cubicBezTo>
                    <a:pt x="21" y="131"/>
                    <a:pt x="18" y="131"/>
                    <a:pt x="16" y="132"/>
                  </a:cubicBezTo>
                  <a:cubicBezTo>
                    <a:pt x="14" y="133"/>
                    <a:pt x="12" y="136"/>
                    <a:pt x="14" y="139"/>
                  </a:cubicBezTo>
                  <a:cubicBezTo>
                    <a:pt x="16" y="141"/>
                    <a:pt x="19" y="138"/>
                    <a:pt x="21" y="139"/>
                  </a:cubicBezTo>
                  <a:cubicBezTo>
                    <a:pt x="22" y="140"/>
                    <a:pt x="23" y="141"/>
                    <a:pt x="24" y="142"/>
                  </a:cubicBezTo>
                  <a:cubicBezTo>
                    <a:pt x="25" y="144"/>
                    <a:pt x="25" y="143"/>
                    <a:pt x="27" y="144"/>
                  </a:cubicBezTo>
                  <a:cubicBezTo>
                    <a:pt x="31" y="146"/>
                    <a:pt x="34" y="147"/>
                    <a:pt x="38" y="146"/>
                  </a:cubicBezTo>
                  <a:cubicBezTo>
                    <a:pt x="38" y="145"/>
                    <a:pt x="39" y="143"/>
                    <a:pt x="40" y="142"/>
                  </a:cubicBezTo>
                  <a:cubicBezTo>
                    <a:pt x="42" y="141"/>
                    <a:pt x="45" y="142"/>
                    <a:pt x="45" y="145"/>
                  </a:cubicBezTo>
                  <a:cubicBezTo>
                    <a:pt x="45" y="145"/>
                    <a:pt x="46" y="145"/>
                    <a:pt x="47" y="145"/>
                  </a:cubicBezTo>
                  <a:cubicBezTo>
                    <a:pt x="47" y="147"/>
                    <a:pt x="46" y="150"/>
                    <a:pt x="44" y="151"/>
                  </a:cubicBezTo>
                  <a:cubicBezTo>
                    <a:pt x="42" y="151"/>
                    <a:pt x="41" y="150"/>
                    <a:pt x="39" y="151"/>
                  </a:cubicBezTo>
                  <a:cubicBezTo>
                    <a:pt x="38" y="151"/>
                    <a:pt x="36" y="153"/>
                    <a:pt x="35" y="153"/>
                  </a:cubicBezTo>
                  <a:cubicBezTo>
                    <a:pt x="32" y="155"/>
                    <a:pt x="32" y="155"/>
                    <a:pt x="32" y="159"/>
                  </a:cubicBezTo>
                  <a:cubicBezTo>
                    <a:pt x="31" y="162"/>
                    <a:pt x="32" y="165"/>
                    <a:pt x="31" y="169"/>
                  </a:cubicBezTo>
                  <a:cubicBezTo>
                    <a:pt x="29" y="169"/>
                    <a:pt x="26" y="168"/>
                    <a:pt x="24" y="169"/>
                  </a:cubicBezTo>
                  <a:cubicBezTo>
                    <a:pt x="21" y="169"/>
                    <a:pt x="18" y="173"/>
                    <a:pt x="19" y="176"/>
                  </a:cubicBezTo>
                  <a:cubicBezTo>
                    <a:pt x="21" y="176"/>
                    <a:pt x="25" y="176"/>
                    <a:pt x="24" y="179"/>
                  </a:cubicBezTo>
                  <a:cubicBezTo>
                    <a:pt x="21" y="179"/>
                    <a:pt x="21" y="182"/>
                    <a:pt x="18" y="182"/>
                  </a:cubicBezTo>
                  <a:cubicBezTo>
                    <a:pt x="17" y="185"/>
                    <a:pt x="18" y="185"/>
                    <a:pt x="20" y="187"/>
                  </a:cubicBezTo>
                  <a:cubicBezTo>
                    <a:pt x="21" y="188"/>
                    <a:pt x="25" y="190"/>
                    <a:pt x="26" y="190"/>
                  </a:cubicBezTo>
                  <a:cubicBezTo>
                    <a:pt x="28" y="191"/>
                    <a:pt x="30" y="191"/>
                    <a:pt x="31" y="191"/>
                  </a:cubicBezTo>
                  <a:cubicBezTo>
                    <a:pt x="33" y="190"/>
                    <a:pt x="34" y="188"/>
                    <a:pt x="37" y="189"/>
                  </a:cubicBezTo>
                  <a:cubicBezTo>
                    <a:pt x="37" y="190"/>
                    <a:pt x="37" y="191"/>
                    <a:pt x="37" y="192"/>
                  </a:cubicBezTo>
                  <a:cubicBezTo>
                    <a:pt x="36" y="191"/>
                    <a:pt x="35" y="192"/>
                    <a:pt x="34" y="192"/>
                  </a:cubicBezTo>
                  <a:cubicBezTo>
                    <a:pt x="34" y="194"/>
                    <a:pt x="35" y="197"/>
                    <a:pt x="38" y="196"/>
                  </a:cubicBezTo>
                  <a:cubicBezTo>
                    <a:pt x="39" y="195"/>
                    <a:pt x="41" y="191"/>
                    <a:pt x="43" y="191"/>
                  </a:cubicBezTo>
                  <a:cubicBezTo>
                    <a:pt x="45" y="191"/>
                    <a:pt x="44" y="196"/>
                    <a:pt x="45" y="197"/>
                  </a:cubicBezTo>
                  <a:cubicBezTo>
                    <a:pt x="46" y="199"/>
                    <a:pt x="51" y="201"/>
                    <a:pt x="53" y="202"/>
                  </a:cubicBezTo>
                  <a:cubicBezTo>
                    <a:pt x="60" y="203"/>
                    <a:pt x="67" y="200"/>
                    <a:pt x="74" y="200"/>
                  </a:cubicBezTo>
                  <a:cubicBezTo>
                    <a:pt x="78" y="200"/>
                    <a:pt x="82" y="202"/>
                    <a:pt x="81" y="207"/>
                  </a:cubicBezTo>
                  <a:cubicBezTo>
                    <a:pt x="78" y="207"/>
                    <a:pt x="77" y="206"/>
                    <a:pt x="75" y="210"/>
                  </a:cubicBezTo>
                  <a:cubicBezTo>
                    <a:pt x="75" y="212"/>
                    <a:pt x="76" y="213"/>
                    <a:pt x="74" y="214"/>
                  </a:cubicBezTo>
                  <a:cubicBezTo>
                    <a:pt x="72" y="215"/>
                    <a:pt x="69" y="213"/>
                    <a:pt x="69" y="210"/>
                  </a:cubicBezTo>
                  <a:cubicBezTo>
                    <a:pt x="65" y="209"/>
                    <a:pt x="63" y="215"/>
                    <a:pt x="61" y="218"/>
                  </a:cubicBezTo>
                  <a:cubicBezTo>
                    <a:pt x="60" y="221"/>
                    <a:pt x="51" y="228"/>
                    <a:pt x="52" y="232"/>
                  </a:cubicBezTo>
                  <a:cubicBezTo>
                    <a:pt x="55" y="232"/>
                    <a:pt x="57" y="233"/>
                    <a:pt x="59" y="230"/>
                  </a:cubicBezTo>
                  <a:cubicBezTo>
                    <a:pt x="59" y="235"/>
                    <a:pt x="56" y="235"/>
                    <a:pt x="55" y="240"/>
                  </a:cubicBezTo>
                  <a:cubicBezTo>
                    <a:pt x="54" y="243"/>
                    <a:pt x="54" y="243"/>
                    <a:pt x="51" y="245"/>
                  </a:cubicBezTo>
                  <a:cubicBezTo>
                    <a:pt x="50" y="247"/>
                    <a:pt x="49" y="248"/>
                    <a:pt x="48" y="249"/>
                  </a:cubicBezTo>
                  <a:cubicBezTo>
                    <a:pt x="47" y="250"/>
                    <a:pt x="46" y="250"/>
                    <a:pt x="45" y="251"/>
                  </a:cubicBezTo>
                  <a:cubicBezTo>
                    <a:pt x="45" y="251"/>
                    <a:pt x="45" y="252"/>
                    <a:pt x="45" y="253"/>
                  </a:cubicBezTo>
                  <a:cubicBezTo>
                    <a:pt x="44" y="255"/>
                    <a:pt x="41" y="256"/>
                    <a:pt x="39" y="257"/>
                  </a:cubicBezTo>
                  <a:cubicBezTo>
                    <a:pt x="36" y="258"/>
                    <a:pt x="31" y="260"/>
                    <a:pt x="32" y="264"/>
                  </a:cubicBezTo>
                  <a:cubicBezTo>
                    <a:pt x="37" y="265"/>
                    <a:pt x="43" y="264"/>
                    <a:pt x="48" y="261"/>
                  </a:cubicBezTo>
                  <a:cubicBezTo>
                    <a:pt x="51" y="258"/>
                    <a:pt x="51" y="258"/>
                    <a:pt x="55" y="258"/>
                  </a:cubicBezTo>
                  <a:cubicBezTo>
                    <a:pt x="57" y="258"/>
                    <a:pt x="59" y="259"/>
                    <a:pt x="62" y="259"/>
                  </a:cubicBezTo>
                  <a:cubicBezTo>
                    <a:pt x="64" y="260"/>
                    <a:pt x="67" y="259"/>
                    <a:pt x="70" y="260"/>
                  </a:cubicBezTo>
                  <a:cubicBezTo>
                    <a:pt x="72" y="267"/>
                    <a:pt x="52" y="263"/>
                    <a:pt x="48" y="264"/>
                  </a:cubicBezTo>
                  <a:cubicBezTo>
                    <a:pt x="46" y="270"/>
                    <a:pt x="39" y="271"/>
                    <a:pt x="35" y="273"/>
                  </a:cubicBezTo>
                  <a:cubicBezTo>
                    <a:pt x="31" y="275"/>
                    <a:pt x="32" y="275"/>
                    <a:pt x="33" y="279"/>
                  </a:cubicBezTo>
                  <a:cubicBezTo>
                    <a:pt x="33" y="282"/>
                    <a:pt x="33" y="284"/>
                    <a:pt x="33" y="287"/>
                  </a:cubicBezTo>
                  <a:cubicBezTo>
                    <a:pt x="35" y="287"/>
                    <a:pt x="39" y="288"/>
                    <a:pt x="40" y="289"/>
                  </a:cubicBezTo>
                  <a:cubicBezTo>
                    <a:pt x="39" y="292"/>
                    <a:pt x="33" y="291"/>
                    <a:pt x="30" y="290"/>
                  </a:cubicBezTo>
                  <a:cubicBezTo>
                    <a:pt x="30" y="284"/>
                    <a:pt x="26" y="283"/>
                    <a:pt x="21" y="286"/>
                  </a:cubicBezTo>
                  <a:cubicBezTo>
                    <a:pt x="20" y="286"/>
                    <a:pt x="19" y="287"/>
                    <a:pt x="18" y="288"/>
                  </a:cubicBezTo>
                  <a:cubicBezTo>
                    <a:pt x="17" y="288"/>
                    <a:pt x="15" y="288"/>
                    <a:pt x="14" y="288"/>
                  </a:cubicBezTo>
                  <a:cubicBezTo>
                    <a:pt x="11" y="289"/>
                    <a:pt x="7" y="291"/>
                    <a:pt x="4" y="292"/>
                  </a:cubicBezTo>
                  <a:cubicBezTo>
                    <a:pt x="4" y="293"/>
                    <a:pt x="4" y="295"/>
                    <a:pt x="4" y="296"/>
                  </a:cubicBezTo>
                  <a:cubicBezTo>
                    <a:pt x="3" y="296"/>
                    <a:pt x="3" y="297"/>
                    <a:pt x="2" y="297"/>
                  </a:cubicBezTo>
                  <a:cubicBezTo>
                    <a:pt x="2" y="298"/>
                    <a:pt x="2" y="299"/>
                    <a:pt x="2" y="300"/>
                  </a:cubicBezTo>
                  <a:cubicBezTo>
                    <a:pt x="0" y="308"/>
                    <a:pt x="8" y="306"/>
                    <a:pt x="15" y="306"/>
                  </a:cubicBezTo>
                  <a:cubicBezTo>
                    <a:pt x="18" y="305"/>
                    <a:pt x="21" y="304"/>
                    <a:pt x="24" y="304"/>
                  </a:cubicBezTo>
                  <a:cubicBezTo>
                    <a:pt x="26" y="304"/>
                    <a:pt x="29" y="304"/>
                    <a:pt x="31" y="304"/>
                  </a:cubicBezTo>
                  <a:cubicBezTo>
                    <a:pt x="32" y="303"/>
                    <a:pt x="35" y="303"/>
                    <a:pt x="36" y="303"/>
                  </a:cubicBezTo>
                  <a:cubicBezTo>
                    <a:pt x="37" y="302"/>
                    <a:pt x="37" y="300"/>
                    <a:pt x="40" y="301"/>
                  </a:cubicBezTo>
                  <a:cubicBezTo>
                    <a:pt x="41" y="309"/>
                    <a:pt x="35" y="305"/>
                    <a:pt x="30" y="307"/>
                  </a:cubicBezTo>
                  <a:cubicBezTo>
                    <a:pt x="28" y="307"/>
                    <a:pt x="26" y="309"/>
                    <a:pt x="23" y="310"/>
                  </a:cubicBezTo>
                  <a:cubicBezTo>
                    <a:pt x="20" y="311"/>
                    <a:pt x="16" y="312"/>
                    <a:pt x="14" y="313"/>
                  </a:cubicBezTo>
                  <a:cubicBezTo>
                    <a:pt x="12" y="314"/>
                    <a:pt x="12" y="315"/>
                    <a:pt x="11" y="316"/>
                  </a:cubicBezTo>
                  <a:cubicBezTo>
                    <a:pt x="10" y="316"/>
                    <a:pt x="9" y="318"/>
                    <a:pt x="8" y="319"/>
                  </a:cubicBezTo>
                  <a:cubicBezTo>
                    <a:pt x="7" y="321"/>
                    <a:pt x="8" y="322"/>
                    <a:pt x="9" y="325"/>
                  </a:cubicBezTo>
                  <a:cubicBezTo>
                    <a:pt x="9" y="328"/>
                    <a:pt x="8" y="329"/>
                    <a:pt x="10" y="331"/>
                  </a:cubicBezTo>
                  <a:cubicBezTo>
                    <a:pt x="13" y="333"/>
                    <a:pt x="15" y="330"/>
                    <a:pt x="18" y="330"/>
                  </a:cubicBezTo>
                  <a:cubicBezTo>
                    <a:pt x="20" y="334"/>
                    <a:pt x="24" y="337"/>
                    <a:pt x="29" y="337"/>
                  </a:cubicBezTo>
                  <a:cubicBezTo>
                    <a:pt x="34" y="336"/>
                    <a:pt x="31" y="333"/>
                    <a:pt x="34" y="330"/>
                  </a:cubicBezTo>
                  <a:cubicBezTo>
                    <a:pt x="36" y="328"/>
                    <a:pt x="39" y="328"/>
                    <a:pt x="41" y="327"/>
                  </a:cubicBezTo>
                  <a:cubicBezTo>
                    <a:pt x="45" y="326"/>
                    <a:pt x="48" y="324"/>
                    <a:pt x="51" y="325"/>
                  </a:cubicBezTo>
                  <a:cubicBezTo>
                    <a:pt x="52" y="328"/>
                    <a:pt x="48" y="330"/>
                    <a:pt x="46" y="332"/>
                  </a:cubicBezTo>
                  <a:cubicBezTo>
                    <a:pt x="43" y="333"/>
                    <a:pt x="41" y="335"/>
                    <a:pt x="38" y="337"/>
                  </a:cubicBezTo>
                  <a:cubicBezTo>
                    <a:pt x="37" y="338"/>
                    <a:pt x="35" y="339"/>
                    <a:pt x="33" y="340"/>
                  </a:cubicBezTo>
                  <a:cubicBezTo>
                    <a:pt x="31" y="340"/>
                    <a:pt x="30" y="339"/>
                    <a:pt x="28" y="340"/>
                  </a:cubicBezTo>
                  <a:cubicBezTo>
                    <a:pt x="26" y="341"/>
                    <a:pt x="19" y="344"/>
                    <a:pt x="19" y="346"/>
                  </a:cubicBezTo>
                  <a:cubicBezTo>
                    <a:pt x="17" y="350"/>
                    <a:pt x="25" y="351"/>
                    <a:pt x="27" y="350"/>
                  </a:cubicBezTo>
                  <a:cubicBezTo>
                    <a:pt x="30" y="350"/>
                    <a:pt x="30" y="349"/>
                    <a:pt x="31" y="348"/>
                  </a:cubicBezTo>
                  <a:cubicBezTo>
                    <a:pt x="34" y="347"/>
                    <a:pt x="37" y="348"/>
                    <a:pt x="40" y="347"/>
                  </a:cubicBezTo>
                  <a:cubicBezTo>
                    <a:pt x="42" y="346"/>
                    <a:pt x="45" y="345"/>
                    <a:pt x="47" y="343"/>
                  </a:cubicBezTo>
                  <a:cubicBezTo>
                    <a:pt x="50" y="342"/>
                    <a:pt x="53" y="340"/>
                    <a:pt x="56" y="341"/>
                  </a:cubicBezTo>
                  <a:cubicBezTo>
                    <a:pt x="58" y="347"/>
                    <a:pt x="40" y="352"/>
                    <a:pt x="36" y="356"/>
                  </a:cubicBezTo>
                  <a:cubicBezTo>
                    <a:pt x="32" y="361"/>
                    <a:pt x="43" y="361"/>
                    <a:pt x="46" y="361"/>
                  </a:cubicBezTo>
                  <a:cubicBezTo>
                    <a:pt x="49" y="360"/>
                    <a:pt x="52" y="360"/>
                    <a:pt x="56" y="358"/>
                  </a:cubicBezTo>
                  <a:cubicBezTo>
                    <a:pt x="57" y="358"/>
                    <a:pt x="56" y="357"/>
                    <a:pt x="58" y="357"/>
                  </a:cubicBezTo>
                  <a:cubicBezTo>
                    <a:pt x="58" y="356"/>
                    <a:pt x="60" y="357"/>
                    <a:pt x="60" y="357"/>
                  </a:cubicBezTo>
                  <a:cubicBezTo>
                    <a:pt x="65" y="357"/>
                    <a:pt x="69" y="357"/>
                    <a:pt x="74" y="355"/>
                  </a:cubicBezTo>
                  <a:cubicBezTo>
                    <a:pt x="77" y="354"/>
                    <a:pt x="81" y="354"/>
                    <a:pt x="84" y="353"/>
                  </a:cubicBezTo>
                  <a:cubicBezTo>
                    <a:pt x="86" y="353"/>
                    <a:pt x="88" y="352"/>
                    <a:pt x="89" y="351"/>
                  </a:cubicBezTo>
                  <a:cubicBezTo>
                    <a:pt x="94" y="350"/>
                    <a:pt x="96" y="351"/>
                    <a:pt x="100" y="348"/>
                  </a:cubicBezTo>
                  <a:cubicBezTo>
                    <a:pt x="101" y="347"/>
                    <a:pt x="103" y="345"/>
                    <a:pt x="104" y="344"/>
                  </a:cubicBezTo>
                  <a:cubicBezTo>
                    <a:pt x="107" y="342"/>
                    <a:pt x="107" y="343"/>
                    <a:pt x="109" y="341"/>
                  </a:cubicBezTo>
                  <a:cubicBezTo>
                    <a:pt x="112" y="338"/>
                    <a:pt x="115" y="338"/>
                    <a:pt x="117" y="335"/>
                  </a:cubicBezTo>
                  <a:cubicBezTo>
                    <a:pt x="119" y="331"/>
                    <a:pt x="120" y="330"/>
                    <a:pt x="124" y="329"/>
                  </a:cubicBezTo>
                  <a:cubicBezTo>
                    <a:pt x="126" y="328"/>
                    <a:pt x="128" y="328"/>
                    <a:pt x="130" y="327"/>
                  </a:cubicBezTo>
                  <a:cubicBezTo>
                    <a:pt x="131" y="325"/>
                    <a:pt x="132" y="324"/>
                    <a:pt x="134" y="322"/>
                  </a:cubicBezTo>
                  <a:cubicBezTo>
                    <a:pt x="136" y="322"/>
                    <a:pt x="138" y="320"/>
                    <a:pt x="140" y="319"/>
                  </a:cubicBezTo>
                  <a:cubicBezTo>
                    <a:pt x="142" y="318"/>
                    <a:pt x="143" y="319"/>
                    <a:pt x="145" y="317"/>
                  </a:cubicBezTo>
                  <a:cubicBezTo>
                    <a:pt x="148" y="315"/>
                    <a:pt x="152" y="312"/>
                    <a:pt x="154" y="310"/>
                  </a:cubicBezTo>
                  <a:cubicBezTo>
                    <a:pt x="157" y="308"/>
                    <a:pt x="158" y="305"/>
                    <a:pt x="161" y="304"/>
                  </a:cubicBezTo>
                  <a:cubicBezTo>
                    <a:pt x="164" y="302"/>
                    <a:pt x="169" y="303"/>
                    <a:pt x="173" y="302"/>
                  </a:cubicBezTo>
                  <a:cubicBezTo>
                    <a:pt x="176" y="301"/>
                    <a:pt x="175" y="301"/>
                    <a:pt x="177" y="299"/>
                  </a:cubicBezTo>
                  <a:cubicBezTo>
                    <a:pt x="181" y="296"/>
                    <a:pt x="189" y="300"/>
                    <a:pt x="192" y="295"/>
                  </a:cubicBezTo>
                  <a:cubicBezTo>
                    <a:pt x="193" y="297"/>
                    <a:pt x="192" y="299"/>
                    <a:pt x="193" y="301"/>
                  </a:cubicBezTo>
                  <a:cubicBezTo>
                    <a:pt x="195" y="301"/>
                    <a:pt x="197" y="301"/>
                    <a:pt x="199" y="300"/>
                  </a:cubicBezTo>
                  <a:cubicBezTo>
                    <a:pt x="202" y="298"/>
                    <a:pt x="206" y="295"/>
                    <a:pt x="208" y="294"/>
                  </a:cubicBezTo>
                  <a:cubicBezTo>
                    <a:pt x="211" y="294"/>
                    <a:pt x="214" y="294"/>
                    <a:pt x="217" y="294"/>
                  </a:cubicBezTo>
                  <a:cubicBezTo>
                    <a:pt x="218" y="294"/>
                    <a:pt x="218" y="295"/>
                    <a:pt x="220" y="295"/>
                  </a:cubicBezTo>
                  <a:cubicBezTo>
                    <a:pt x="221" y="294"/>
                    <a:pt x="222" y="293"/>
                    <a:pt x="223" y="292"/>
                  </a:cubicBezTo>
                  <a:cubicBezTo>
                    <a:pt x="225" y="292"/>
                    <a:pt x="228" y="293"/>
                    <a:pt x="227" y="289"/>
                  </a:cubicBezTo>
                  <a:cubicBezTo>
                    <a:pt x="223" y="288"/>
                    <a:pt x="217" y="281"/>
                    <a:pt x="219" y="277"/>
                  </a:cubicBezTo>
                  <a:cubicBezTo>
                    <a:pt x="223" y="277"/>
                    <a:pt x="223" y="273"/>
                    <a:pt x="225" y="270"/>
                  </a:cubicBezTo>
                  <a:cubicBezTo>
                    <a:pt x="226" y="267"/>
                    <a:pt x="229" y="266"/>
                    <a:pt x="230" y="264"/>
                  </a:cubicBezTo>
                  <a:cubicBezTo>
                    <a:pt x="230" y="262"/>
                    <a:pt x="230" y="259"/>
                    <a:pt x="230" y="257"/>
                  </a:cubicBezTo>
                  <a:cubicBezTo>
                    <a:pt x="230" y="253"/>
                    <a:pt x="230" y="249"/>
                    <a:pt x="233" y="245"/>
                  </a:cubicBezTo>
                  <a:cubicBezTo>
                    <a:pt x="235" y="243"/>
                    <a:pt x="237" y="243"/>
                    <a:pt x="238" y="240"/>
                  </a:cubicBezTo>
                  <a:cubicBezTo>
                    <a:pt x="239" y="238"/>
                    <a:pt x="238" y="238"/>
                    <a:pt x="238" y="236"/>
                  </a:cubicBezTo>
                  <a:cubicBezTo>
                    <a:pt x="238" y="231"/>
                    <a:pt x="238" y="226"/>
                    <a:pt x="238" y="221"/>
                  </a:cubicBezTo>
                  <a:cubicBezTo>
                    <a:pt x="238" y="217"/>
                    <a:pt x="239" y="212"/>
                    <a:pt x="237" y="209"/>
                  </a:cubicBezTo>
                  <a:cubicBezTo>
                    <a:pt x="235" y="206"/>
                    <a:pt x="233" y="204"/>
                    <a:pt x="233" y="200"/>
                  </a:cubicBezTo>
                  <a:cubicBezTo>
                    <a:pt x="232" y="197"/>
                    <a:pt x="232" y="197"/>
                    <a:pt x="230" y="195"/>
                  </a:cubicBezTo>
                  <a:cubicBezTo>
                    <a:pt x="229" y="194"/>
                    <a:pt x="229" y="193"/>
                    <a:pt x="228" y="192"/>
                  </a:cubicBezTo>
                  <a:cubicBezTo>
                    <a:pt x="227" y="192"/>
                    <a:pt x="225" y="193"/>
                    <a:pt x="224" y="192"/>
                  </a:cubicBezTo>
                  <a:cubicBezTo>
                    <a:pt x="226" y="191"/>
                    <a:pt x="229" y="190"/>
                    <a:pt x="232" y="189"/>
                  </a:cubicBezTo>
                  <a:cubicBezTo>
                    <a:pt x="235" y="189"/>
                    <a:pt x="239" y="192"/>
                    <a:pt x="242" y="191"/>
                  </a:cubicBezTo>
                  <a:cubicBezTo>
                    <a:pt x="242" y="189"/>
                    <a:pt x="244" y="188"/>
                    <a:pt x="245" y="187"/>
                  </a:cubicBezTo>
                  <a:cubicBezTo>
                    <a:pt x="247" y="184"/>
                    <a:pt x="248" y="179"/>
                    <a:pt x="248" y="175"/>
                  </a:cubicBezTo>
                  <a:cubicBezTo>
                    <a:pt x="244" y="175"/>
                    <a:pt x="242" y="175"/>
                    <a:pt x="239" y="173"/>
                  </a:cubicBezTo>
                  <a:cubicBezTo>
                    <a:pt x="236" y="172"/>
                    <a:pt x="235" y="170"/>
                    <a:pt x="232" y="168"/>
                  </a:cubicBezTo>
                  <a:cubicBezTo>
                    <a:pt x="231" y="168"/>
                    <a:pt x="226" y="166"/>
                    <a:pt x="225" y="165"/>
                  </a:cubicBezTo>
                  <a:cubicBezTo>
                    <a:pt x="225" y="164"/>
                    <a:pt x="225" y="162"/>
                    <a:pt x="225" y="161"/>
                  </a:cubicBezTo>
                  <a:cubicBezTo>
                    <a:pt x="226" y="159"/>
                    <a:pt x="228" y="159"/>
                    <a:pt x="228" y="156"/>
                  </a:cubicBezTo>
                  <a:cubicBezTo>
                    <a:pt x="228" y="154"/>
                    <a:pt x="228" y="150"/>
                    <a:pt x="228" y="148"/>
                  </a:cubicBezTo>
                  <a:cubicBezTo>
                    <a:pt x="227" y="146"/>
                    <a:pt x="225" y="144"/>
                    <a:pt x="224" y="142"/>
                  </a:cubicBezTo>
                  <a:cubicBezTo>
                    <a:pt x="223" y="139"/>
                    <a:pt x="224" y="137"/>
                    <a:pt x="226" y="135"/>
                  </a:cubicBezTo>
                  <a:cubicBezTo>
                    <a:pt x="228" y="134"/>
                    <a:pt x="229" y="134"/>
                    <a:pt x="231" y="134"/>
                  </a:cubicBezTo>
                  <a:cubicBezTo>
                    <a:pt x="231" y="134"/>
                    <a:pt x="232" y="134"/>
                    <a:pt x="233" y="134"/>
                  </a:cubicBezTo>
                  <a:cubicBezTo>
                    <a:pt x="234" y="133"/>
                    <a:pt x="233" y="132"/>
                    <a:pt x="234" y="131"/>
                  </a:cubicBezTo>
                  <a:cubicBezTo>
                    <a:pt x="235" y="131"/>
                    <a:pt x="237" y="131"/>
                    <a:pt x="238" y="131"/>
                  </a:cubicBezTo>
                  <a:cubicBezTo>
                    <a:pt x="238" y="130"/>
                    <a:pt x="239" y="129"/>
                    <a:pt x="239" y="129"/>
                  </a:cubicBezTo>
                  <a:cubicBezTo>
                    <a:pt x="238" y="128"/>
                    <a:pt x="236" y="127"/>
                    <a:pt x="234" y="126"/>
                  </a:cubicBezTo>
                  <a:cubicBezTo>
                    <a:pt x="232" y="125"/>
                    <a:pt x="232" y="125"/>
                    <a:pt x="230" y="125"/>
                  </a:cubicBezTo>
                  <a:cubicBezTo>
                    <a:pt x="228" y="125"/>
                    <a:pt x="227" y="123"/>
                    <a:pt x="225" y="122"/>
                  </a:cubicBezTo>
                  <a:cubicBezTo>
                    <a:pt x="223" y="121"/>
                    <a:pt x="222" y="121"/>
                    <a:pt x="220" y="120"/>
                  </a:cubicBezTo>
                  <a:cubicBezTo>
                    <a:pt x="219" y="121"/>
                    <a:pt x="219" y="122"/>
                    <a:pt x="219" y="123"/>
                  </a:cubicBezTo>
                  <a:cubicBezTo>
                    <a:pt x="218" y="123"/>
                    <a:pt x="218" y="123"/>
                    <a:pt x="218" y="123"/>
                  </a:cubicBezTo>
                  <a:cubicBezTo>
                    <a:pt x="217" y="125"/>
                    <a:pt x="216" y="125"/>
                    <a:pt x="215" y="126"/>
                  </a:cubicBezTo>
                  <a:cubicBezTo>
                    <a:pt x="213" y="127"/>
                    <a:pt x="211" y="127"/>
                    <a:pt x="209" y="127"/>
                  </a:cubicBezTo>
                  <a:cubicBezTo>
                    <a:pt x="206" y="127"/>
                    <a:pt x="206" y="125"/>
                    <a:pt x="206" y="123"/>
                  </a:cubicBezTo>
                  <a:cubicBezTo>
                    <a:pt x="206" y="120"/>
                    <a:pt x="205" y="118"/>
                    <a:pt x="204" y="115"/>
                  </a:cubicBezTo>
                  <a:cubicBezTo>
                    <a:pt x="204" y="114"/>
                    <a:pt x="203" y="113"/>
                    <a:pt x="201" y="112"/>
                  </a:cubicBezTo>
                  <a:cubicBezTo>
                    <a:pt x="199" y="112"/>
                    <a:pt x="196" y="112"/>
                    <a:pt x="196" y="110"/>
                  </a:cubicBezTo>
                  <a:cubicBezTo>
                    <a:pt x="196" y="108"/>
                    <a:pt x="197" y="107"/>
                    <a:pt x="196" y="105"/>
                  </a:cubicBezTo>
                  <a:cubicBezTo>
                    <a:pt x="195" y="103"/>
                    <a:pt x="194" y="102"/>
                    <a:pt x="192" y="100"/>
                  </a:cubicBezTo>
                  <a:cubicBezTo>
                    <a:pt x="191" y="98"/>
                    <a:pt x="190" y="96"/>
                    <a:pt x="188" y="94"/>
                  </a:cubicBezTo>
                  <a:cubicBezTo>
                    <a:pt x="187" y="95"/>
                    <a:pt x="185" y="94"/>
                    <a:pt x="184" y="95"/>
                  </a:cubicBezTo>
                  <a:cubicBezTo>
                    <a:pt x="182" y="95"/>
                    <a:pt x="181" y="98"/>
                    <a:pt x="180" y="99"/>
                  </a:cubicBezTo>
                  <a:cubicBezTo>
                    <a:pt x="179" y="101"/>
                    <a:pt x="178" y="102"/>
                    <a:pt x="178" y="104"/>
                  </a:cubicBezTo>
                  <a:cubicBezTo>
                    <a:pt x="178" y="105"/>
                    <a:pt x="178" y="106"/>
                    <a:pt x="179" y="107"/>
                  </a:cubicBezTo>
                  <a:cubicBezTo>
                    <a:pt x="180" y="109"/>
                    <a:pt x="180" y="112"/>
                    <a:pt x="178" y="113"/>
                  </a:cubicBezTo>
                  <a:cubicBezTo>
                    <a:pt x="177" y="114"/>
                    <a:pt x="173" y="112"/>
                    <a:pt x="172" y="114"/>
                  </a:cubicBezTo>
                  <a:cubicBezTo>
                    <a:pt x="171" y="116"/>
                    <a:pt x="173" y="119"/>
                    <a:pt x="171" y="120"/>
                  </a:cubicBezTo>
                  <a:cubicBezTo>
                    <a:pt x="169" y="120"/>
                    <a:pt x="166" y="119"/>
                    <a:pt x="165" y="119"/>
                  </a:cubicBezTo>
                  <a:cubicBezTo>
                    <a:pt x="163" y="118"/>
                    <a:pt x="160" y="119"/>
                    <a:pt x="158" y="118"/>
                  </a:cubicBezTo>
                  <a:cubicBezTo>
                    <a:pt x="157" y="117"/>
                    <a:pt x="156" y="116"/>
                    <a:pt x="155" y="116"/>
                  </a:cubicBezTo>
                  <a:cubicBezTo>
                    <a:pt x="154" y="115"/>
                    <a:pt x="154" y="115"/>
                    <a:pt x="153" y="114"/>
                  </a:cubicBezTo>
                  <a:cubicBezTo>
                    <a:pt x="152" y="114"/>
                    <a:pt x="153" y="114"/>
                    <a:pt x="152" y="113"/>
                  </a:cubicBezTo>
                  <a:cubicBezTo>
                    <a:pt x="151" y="112"/>
                    <a:pt x="148" y="112"/>
                    <a:pt x="147" y="112"/>
                  </a:cubicBezTo>
                  <a:cubicBezTo>
                    <a:pt x="145" y="112"/>
                    <a:pt x="142" y="111"/>
                    <a:pt x="141" y="110"/>
                  </a:cubicBezTo>
                  <a:cubicBezTo>
                    <a:pt x="140" y="109"/>
                    <a:pt x="140" y="108"/>
                    <a:pt x="140" y="107"/>
                  </a:cubicBezTo>
                  <a:cubicBezTo>
                    <a:pt x="139" y="105"/>
                    <a:pt x="138" y="105"/>
                    <a:pt x="137" y="104"/>
                  </a:cubicBezTo>
                  <a:cubicBezTo>
                    <a:pt x="137" y="103"/>
                    <a:pt x="137" y="102"/>
                    <a:pt x="136" y="102"/>
                  </a:cubicBezTo>
                  <a:cubicBezTo>
                    <a:pt x="136" y="101"/>
                    <a:pt x="137" y="101"/>
                    <a:pt x="136" y="100"/>
                  </a:cubicBezTo>
                  <a:cubicBezTo>
                    <a:pt x="136" y="100"/>
                    <a:pt x="135" y="99"/>
                    <a:pt x="135" y="99"/>
                  </a:cubicBezTo>
                  <a:cubicBezTo>
                    <a:pt x="133" y="98"/>
                    <a:pt x="132" y="97"/>
                    <a:pt x="131" y="96"/>
                  </a:cubicBezTo>
                  <a:cubicBezTo>
                    <a:pt x="130" y="94"/>
                    <a:pt x="130" y="92"/>
                    <a:pt x="130" y="90"/>
                  </a:cubicBezTo>
                  <a:cubicBezTo>
                    <a:pt x="130" y="88"/>
                    <a:pt x="132" y="88"/>
                    <a:pt x="133" y="86"/>
                  </a:cubicBezTo>
                  <a:cubicBezTo>
                    <a:pt x="135" y="84"/>
                    <a:pt x="136" y="83"/>
                    <a:pt x="138" y="82"/>
                  </a:cubicBezTo>
                  <a:cubicBezTo>
                    <a:pt x="140" y="81"/>
                    <a:pt x="143" y="79"/>
                    <a:pt x="144" y="78"/>
                  </a:cubicBezTo>
                  <a:cubicBezTo>
                    <a:pt x="145" y="77"/>
                    <a:pt x="146" y="76"/>
                    <a:pt x="146" y="75"/>
                  </a:cubicBezTo>
                  <a:cubicBezTo>
                    <a:pt x="147" y="74"/>
                    <a:pt x="148" y="73"/>
                    <a:pt x="149" y="73"/>
                  </a:cubicBezTo>
                  <a:cubicBezTo>
                    <a:pt x="148" y="73"/>
                    <a:pt x="147" y="72"/>
                    <a:pt x="146" y="72"/>
                  </a:cubicBezTo>
                  <a:cubicBezTo>
                    <a:pt x="144" y="72"/>
                    <a:pt x="143" y="72"/>
                    <a:pt x="141" y="71"/>
                  </a:cubicBezTo>
                  <a:cubicBezTo>
                    <a:pt x="140" y="70"/>
                    <a:pt x="140" y="70"/>
                    <a:pt x="140" y="69"/>
                  </a:cubicBezTo>
                  <a:cubicBezTo>
                    <a:pt x="140" y="68"/>
                    <a:pt x="141" y="66"/>
                    <a:pt x="141" y="65"/>
                  </a:cubicBezTo>
                  <a:cubicBezTo>
                    <a:pt x="142" y="63"/>
                    <a:pt x="145" y="63"/>
                    <a:pt x="147" y="63"/>
                  </a:cubicBezTo>
                  <a:cubicBezTo>
                    <a:pt x="150" y="63"/>
                    <a:pt x="152" y="63"/>
                    <a:pt x="154" y="63"/>
                  </a:cubicBezTo>
                  <a:cubicBezTo>
                    <a:pt x="157" y="63"/>
                    <a:pt x="157" y="63"/>
                    <a:pt x="158" y="61"/>
                  </a:cubicBezTo>
                  <a:cubicBezTo>
                    <a:pt x="158" y="59"/>
                    <a:pt x="159" y="56"/>
                    <a:pt x="161" y="54"/>
                  </a:cubicBezTo>
                  <a:cubicBezTo>
                    <a:pt x="162" y="53"/>
                    <a:pt x="163" y="53"/>
                    <a:pt x="163" y="51"/>
                  </a:cubicBezTo>
                  <a:cubicBezTo>
                    <a:pt x="164" y="50"/>
                    <a:pt x="164" y="48"/>
                    <a:pt x="165" y="46"/>
                  </a:cubicBezTo>
                  <a:cubicBezTo>
                    <a:pt x="166" y="44"/>
                    <a:pt x="167" y="43"/>
                    <a:pt x="168" y="41"/>
                  </a:cubicBezTo>
                  <a:cubicBezTo>
                    <a:pt x="170" y="39"/>
                    <a:pt x="171" y="39"/>
                    <a:pt x="171" y="36"/>
                  </a:cubicBezTo>
                  <a:cubicBezTo>
                    <a:pt x="172" y="32"/>
                    <a:pt x="173" y="34"/>
                    <a:pt x="176" y="33"/>
                  </a:cubicBezTo>
                  <a:cubicBezTo>
                    <a:pt x="178" y="33"/>
                    <a:pt x="178" y="32"/>
                    <a:pt x="180" y="31"/>
                  </a:cubicBezTo>
                  <a:cubicBezTo>
                    <a:pt x="181" y="30"/>
                    <a:pt x="183" y="29"/>
                    <a:pt x="184" y="28"/>
                  </a:cubicBezTo>
                  <a:cubicBezTo>
                    <a:pt x="184" y="28"/>
                    <a:pt x="185" y="26"/>
                    <a:pt x="185" y="26"/>
                  </a:cubicBezTo>
                  <a:cubicBezTo>
                    <a:pt x="186" y="25"/>
                    <a:pt x="186" y="24"/>
                    <a:pt x="186" y="23"/>
                  </a:cubicBezTo>
                  <a:cubicBezTo>
                    <a:pt x="187" y="23"/>
                    <a:pt x="187" y="23"/>
                    <a:pt x="188" y="23"/>
                  </a:cubicBezTo>
                  <a:cubicBezTo>
                    <a:pt x="188" y="22"/>
                    <a:pt x="188" y="21"/>
                    <a:pt x="188" y="20"/>
                  </a:cubicBezTo>
                  <a:cubicBezTo>
                    <a:pt x="188" y="19"/>
                    <a:pt x="190" y="17"/>
                    <a:pt x="191" y="16"/>
                  </a:cubicBezTo>
                  <a:cubicBezTo>
                    <a:pt x="193" y="15"/>
                    <a:pt x="194" y="13"/>
                    <a:pt x="196" y="13"/>
                  </a:cubicBezTo>
                  <a:cubicBezTo>
                    <a:pt x="198" y="12"/>
                    <a:pt x="201" y="12"/>
                    <a:pt x="203" y="10"/>
                  </a:cubicBezTo>
                  <a:cubicBezTo>
                    <a:pt x="203" y="10"/>
                    <a:pt x="203" y="10"/>
                    <a:pt x="203" y="10"/>
                  </a:cubicBezTo>
                  <a:moveTo>
                    <a:pt x="240" y="128"/>
                  </a:moveTo>
                  <a:cubicBezTo>
                    <a:pt x="240" y="128"/>
                    <a:pt x="240" y="128"/>
                    <a:pt x="240" y="128"/>
                  </a:cubicBezTo>
                  <a:cubicBezTo>
                    <a:pt x="240" y="128"/>
                    <a:pt x="240" y="128"/>
                    <a:pt x="240" y="128"/>
                  </a:cubicBezTo>
                  <a:moveTo>
                    <a:pt x="203" y="10"/>
                  </a:moveTo>
                  <a:cubicBezTo>
                    <a:pt x="204" y="10"/>
                    <a:pt x="205" y="10"/>
                    <a:pt x="205" y="10"/>
                  </a:cubicBezTo>
                  <a:cubicBezTo>
                    <a:pt x="205" y="10"/>
                    <a:pt x="204" y="10"/>
                    <a:pt x="203" y="10"/>
                  </a:cubicBezTo>
                  <a:moveTo>
                    <a:pt x="216" y="17"/>
                  </a:moveTo>
                  <a:cubicBezTo>
                    <a:pt x="216" y="17"/>
                    <a:pt x="217" y="16"/>
                    <a:pt x="218" y="16"/>
                  </a:cubicBezTo>
                  <a:cubicBezTo>
                    <a:pt x="217" y="16"/>
                    <a:pt x="216" y="17"/>
                    <a:pt x="216" y="17"/>
                  </a:cubicBezTo>
                  <a:moveTo>
                    <a:pt x="214" y="18"/>
                  </a:moveTo>
                  <a:cubicBezTo>
                    <a:pt x="215" y="18"/>
                    <a:pt x="215" y="17"/>
                    <a:pt x="216" y="17"/>
                  </a:cubicBezTo>
                  <a:cubicBezTo>
                    <a:pt x="215" y="17"/>
                    <a:pt x="215" y="18"/>
                    <a:pt x="214" y="18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8" name="Freeform 9">
              <a:extLst>
                <a:ext uri="{FF2B5EF4-FFF2-40B4-BE49-F238E27FC236}">
                  <a16:creationId xmlns:a16="http://schemas.microsoft.com/office/drawing/2014/main" id="{F77DA605-D4A0-4867-BA4A-9B2EC306D6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2688" y="4314825"/>
              <a:ext cx="388938" cy="311150"/>
            </a:xfrm>
            <a:custGeom>
              <a:avLst/>
              <a:gdLst/>
              <a:ahLst/>
              <a:cxnLst>
                <a:cxn ang="0">
                  <a:pos x="207" y="85"/>
                </a:cxn>
                <a:cxn ang="0">
                  <a:pos x="198" y="80"/>
                </a:cxn>
                <a:cxn ang="0">
                  <a:pos x="191" y="69"/>
                </a:cxn>
                <a:cxn ang="0">
                  <a:pos x="189" y="63"/>
                </a:cxn>
                <a:cxn ang="0">
                  <a:pos x="188" y="61"/>
                </a:cxn>
                <a:cxn ang="0">
                  <a:pos x="169" y="57"/>
                </a:cxn>
                <a:cxn ang="0">
                  <a:pos x="170" y="46"/>
                </a:cxn>
                <a:cxn ang="0">
                  <a:pos x="175" y="34"/>
                </a:cxn>
                <a:cxn ang="0">
                  <a:pos x="178" y="28"/>
                </a:cxn>
                <a:cxn ang="0">
                  <a:pos x="175" y="22"/>
                </a:cxn>
                <a:cxn ang="0">
                  <a:pos x="168" y="18"/>
                </a:cxn>
                <a:cxn ang="0">
                  <a:pos x="156" y="17"/>
                </a:cxn>
                <a:cxn ang="0">
                  <a:pos x="150" y="15"/>
                </a:cxn>
                <a:cxn ang="0">
                  <a:pos x="140" y="10"/>
                </a:cxn>
                <a:cxn ang="0">
                  <a:pos x="143" y="0"/>
                </a:cxn>
                <a:cxn ang="0">
                  <a:pos x="135" y="2"/>
                </a:cxn>
                <a:cxn ang="0">
                  <a:pos x="119" y="0"/>
                </a:cxn>
                <a:cxn ang="0">
                  <a:pos x="104" y="1"/>
                </a:cxn>
                <a:cxn ang="0">
                  <a:pos x="97" y="6"/>
                </a:cxn>
                <a:cxn ang="0">
                  <a:pos x="92" y="11"/>
                </a:cxn>
                <a:cxn ang="0">
                  <a:pos x="87" y="14"/>
                </a:cxn>
                <a:cxn ang="0">
                  <a:pos x="81" y="21"/>
                </a:cxn>
                <a:cxn ang="0">
                  <a:pos x="61" y="12"/>
                </a:cxn>
                <a:cxn ang="0">
                  <a:pos x="49" y="15"/>
                </a:cxn>
                <a:cxn ang="0">
                  <a:pos x="43" y="8"/>
                </a:cxn>
                <a:cxn ang="0">
                  <a:pos x="31" y="8"/>
                </a:cxn>
                <a:cxn ang="0">
                  <a:pos x="24" y="15"/>
                </a:cxn>
                <a:cxn ang="0">
                  <a:pos x="16" y="19"/>
                </a:cxn>
                <a:cxn ang="0">
                  <a:pos x="5" y="23"/>
                </a:cxn>
                <a:cxn ang="0">
                  <a:pos x="3" y="32"/>
                </a:cxn>
                <a:cxn ang="0">
                  <a:pos x="3" y="45"/>
                </a:cxn>
                <a:cxn ang="0">
                  <a:pos x="31" y="56"/>
                </a:cxn>
                <a:cxn ang="0">
                  <a:pos x="39" y="71"/>
                </a:cxn>
                <a:cxn ang="0">
                  <a:pos x="61" y="89"/>
                </a:cxn>
                <a:cxn ang="0">
                  <a:pos x="79" y="95"/>
                </a:cxn>
                <a:cxn ang="0">
                  <a:pos x="83" y="110"/>
                </a:cxn>
                <a:cxn ang="0">
                  <a:pos x="95" y="127"/>
                </a:cxn>
                <a:cxn ang="0">
                  <a:pos x="114" y="123"/>
                </a:cxn>
                <a:cxn ang="0">
                  <a:pos x="124" y="114"/>
                </a:cxn>
                <a:cxn ang="0">
                  <a:pos x="125" y="141"/>
                </a:cxn>
                <a:cxn ang="0">
                  <a:pos x="153" y="157"/>
                </a:cxn>
                <a:cxn ang="0">
                  <a:pos x="171" y="161"/>
                </a:cxn>
                <a:cxn ang="0">
                  <a:pos x="179" y="152"/>
                </a:cxn>
                <a:cxn ang="0">
                  <a:pos x="171" y="141"/>
                </a:cxn>
                <a:cxn ang="0">
                  <a:pos x="171" y="133"/>
                </a:cxn>
                <a:cxn ang="0">
                  <a:pos x="177" y="127"/>
                </a:cxn>
                <a:cxn ang="0">
                  <a:pos x="185" y="114"/>
                </a:cxn>
                <a:cxn ang="0">
                  <a:pos x="193" y="111"/>
                </a:cxn>
                <a:cxn ang="0">
                  <a:pos x="198" y="106"/>
                </a:cxn>
                <a:cxn ang="0">
                  <a:pos x="201" y="100"/>
                </a:cxn>
                <a:cxn ang="0">
                  <a:pos x="207" y="91"/>
                </a:cxn>
              </a:cxnLst>
              <a:rect l="0" t="0" r="r" b="b"/>
              <a:pathLst>
                <a:path w="208" h="167">
                  <a:moveTo>
                    <a:pt x="196" y="13"/>
                  </a:moveTo>
                  <a:cubicBezTo>
                    <a:pt x="196" y="13"/>
                    <a:pt x="196" y="13"/>
                    <a:pt x="196" y="13"/>
                  </a:cubicBezTo>
                  <a:moveTo>
                    <a:pt x="207" y="85"/>
                  </a:moveTo>
                  <a:cubicBezTo>
                    <a:pt x="206" y="83"/>
                    <a:pt x="205" y="83"/>
                    <a:pt x="203" y="83"/>
                  </a:cubicBezTo>
                  <a:cubicBezTo>
                    <a:pt x="203" y="83"/>
                    <a:pt x="202" y="82"/>
                    <a:pt x="202" y="82"/>
                  </a:cubicBezTo>
                  <a:cubicBezTo>
                    <a:pt x="200" y="81"/>
                    <a:pt x="199" y="81"/>
                    <a:pt x="198" y="80"/>
                  </a:cubicBezTo>
                  <a:cubicBezTo>
                    <a:pt x="197" y="79"/>
                    <a:pt x="197" y="79"/>
                    <a:pt x="196" y="79"/>
                  </a:cubicBezTo>
                  <a:cubicBezTo>
                    <a:pt x="194" y="78"/>
                    <a:pt x="193" y="77"/>
                    <a:pt x="191" y="76"/>
                  </a:cubicBezTo>
                  <a:cubicBezTo>
                    <a:pt x="190" y="74"/>
                    <a:pt x="190" y="71"/>
                    <a:pt x="191" y="69"/>
                  </a:cubicBezTo>
                  <a:cubicBezTo>
                    <a:pt x="191" y="68"/>
                    <a:pt x="191" y="67"/>
                    <a:pt x="191" y="66"/>
                  </a:cubicBezTo>
                  <a:cubicBezTo>
                    <a:pt x="191" y="66"/>
                    <a:pt x="191" y="65"/>
                    <a:pt x="191" y="65"/>
                  </a:cubicBezTo>
                  <a:cubicBezTo>
                    <a:pt x="191" y="64"/>
                    <a:pt x="190" y="63"/>
                    <a:pt x="189" y="63"/>
                  </a:cubicBezTo>
                  <a:cubicBezTo>
                    <a:pt x="189" y="63"/>
                    <a:pt x="188" y="62"/>
                    <a:pt x="188" y="62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5" y="61"/>
                    <a:pt x="182" y="61"/>
                    <a:pt x="180" y="59"/>
                  </a:cubicBezTo>
                  <a:cubicBezTo>
                    <a:pt x="178" y="59"/>
                    <a:pt x="177" y="58"/>
                    <a:pt x="176" y="58"/>
                  </a:cubicBezTo>
                  <a:cubicBezTo>
                    <a:pt x="174" y="58"/>
                    <a:pt x="170" y="59"/>
                    <a:pt x="169" y="57"/>
                  </a:cubicBezTo>
                  <a:cubicBezTo>
                    <a:pt x="168" y="56"/>
                    <a:pt x="169" y="52"/>
                    <a:pt x="169" y="51"/>
                  </a:cubicBezTo>
                  <a:cubicBezTo>
                    <a:pt x="169" y="50"/>
                    <a:pt x="169" y="49"/>
                    <a:pt x="169" y="49"/>
                  </a:cubicBezTo>
                  <a:cubicBezTo>
                    <a:pt x="169" y="47"/>
                    <a:pt x="169" y="47"/>
                    <a:pt x="170" y="46"/>
                  </a:cubicBezTo>
                  <a:cubicBezTo>
                    <a:pt x="171" y="45"/>
                    <a:pt x="171" y="44"/>
                    <a:pt x="171" y="42"/>
                  </a:cubicBezTo>
                  <a:cubicBezTo>
                    <a:pt x="172" y="41"/>
                    <a:pt x="172" y="40"/>
                    <a:pt x="172" y="39"/>
                  </a:cubicBezTo>
                  <a:cubicBezTo>
                    <a:pt x="173" y="37"/>
                    <a:pt x="174" y="36"/>
                    <a:pt x="175" y="34"/>
                  </a:cubicBezTo>
                  <a:cubicBezTo>
                    <a:pt x="175" y="33"/>
                    <a:pt x="175" y="33"/>
                    <a:pt x="175" y="32"/>
                  </a:cubicBezTo>
                  <a:cubicBezTo>
                    <a:pt x="176" y="32"/>
                    <a:pt x="176" y="32"/>
                    <a:pt x="177" y="31"/>
                  </a:cubicBezTo>
                  <a:cubicBezTo>
                    <a:pt x="177" y="30"/>
                    <a:pt x="178" y="29"/>
                    <a:pt x="178" y="28"/>
                  </a:cubicBezTo>
                  <a:cubicBezTo>
                    <a:pt x="179" y="27"/>
                    <a:pt x="179" y="27"/>
                    <a:pt x="180" y="26"/>
                  </a:cubicBezTo>
                  <a:cubicBezTo>
                    <a:pt x="180" y="25"/>
                    <a:pt x="179" y="24"/>
                    <a:pt x="179" y="23"/>
                  </a:cubicBezTo>
                  <a:cubicBezTo>
                    <a:pt x="178" y="23"/>
                    <a:pt x="176" y="23"/>
                    <a:pt x="175" y="22"/>
                  </a:cubicBezTo>
                  <a:cubicBezTo>
                    <a:pt x="174" y="22"/>
                    <a:pt x="173" y="22"/>
                    <a:pt x="172" y="21"/>
                  </a:cubicBezTo>
                  <a:cubicBezTo>
                    <a:pt x="171" y="21"/>
                    <a:pt x="170" y="20"/>
                    <a:pt x="170" y="20"/>
                  </a:cubicBezTo>
                  <a:cubicBezTo>
                    <a:pt x="169" y="19"/>
                    <a:pt x="169" y="19"/>
                    <a:pt x="168" y="18"/>
                  </a:cubicBezTo>
                  <a:cubicBezTo>
                    <a:pt x="168" y="18"/>
                    <a:pt x="167" y="17"/>
                    <a:pt x="167" y="17"/>
                  </a:cubicBezTo>
                  <a:cubicBezTo>
                    <a:pt x="166" y="15"/>
                    <a:pt x="166" y="15"/>
                    <a:pt x="164" y="15"/>
                  </a:cubicBezTo>
                  <a:cubicBezTo>
                    <a:pt x="161" y="15"/>
                    <a:pt x="159" y="16"/>
                    <a:pt x="156" y="17"/>
                  </a:cubicBezTo>
                  <a:cubicBezTo>
                    <a:pt x="155" y="18"/>
                    <a:pt x="154" y="18"/>
                    <a:pt x="152" y="17"/>
                  </a:cubicBezTo>
                  <a:cubicBezTo>
                    <a:pt x="152" y="17"/>
                    <a:pt x="152" y="16"/>
                    <a:pt x="151" y="16"/>
                  </a:cubicBezTo>
                  <a:cubicBezTo>
                    <a:pt x="151" y="16"/>
                    <a:pt x="150" y="15"/>
                    <a:pt x="150" y="15"/>
                  </a:cubicBezTo>
                  <a:cubicBezTo>
                    <a:pt x="149" y="14"/>
                    <a:pt x="149" y="14"/>
                    <a:pt x="147" y="13"/>
                  </a:cubicBezTo>
                  <a:cubicBezTo>
                    <a:pt x="145" y="12"/>
                    <a:pt x="144" y="12"/>
                    <a:pt x="142" y="11"/>
                  </a:cubicBezTo>
                  <a:cubicBezTo>
                    <a:pt x="141" y="11"/>
                    <a:pt x="140" y="11"/>
                    <a:pt x="140" y="10"/>
                  </a:cubicBezTo>
                  <a:cubicBezTo>
                    <a:pt x="140" y="9"/>
                    <a:pt x="141" y="9"/>
                    <a:pt x="141" y="9"/>
                  </a:cubicBezTo>
                  <a:cubicBezTo>
                    <a:pt x="143" y="8"/>
                    <a:pt x="146" y="6"/>
                    <a:pt x="146" y="5"/>
                  </a:cubicBezTo>
                  <a:cubicBezTo>
                    <a:pt x="147" y="3"/>
                    <a:pt x="146" y="0"/>
                    <a:pt x="143" y="0"/>
                  </a:cubicBezTo>
                  <a:cubicBezTo>
                    <a:pt x="143" y="0"/>
                    <a:pt x="142" y="0"/>
                    <a:pt x="141" y="0"/>
                  </a:cubicBezTo>
                  <a:cubicBezTo>
                    <a:pt x="140" y="0"/>
                    <a:pt x="139" y="0"/>
                    <a:pt x="139" y="0"/>
                  </a:cubicBezTo>
                  <a:cubicBezTo>
                    <a:pt x="137" y="1"/>
                    <a:pt x="136" y="2"/>
                    <a:pt x="135" y="2"/>
                  </a:cubicBezTo>
                  <a:cubicBezTo>
                    <a:pt x="134" y="2"/>
                    <a:pt x="132" y="2"/>
                    <a:pt x="131" y="2"/>
                  </a:cubicBezTo>
                  <a:cubicBezTo>
                    <a:pt x="129" y="2"/>
                    <a:pt x="127" y="3"/>
                    <a:pt x="125" y="2"/>
                  </a:cubicBezTo>
                  <a:cubicBezTo>
                    <a:pt x="123" y="2"/>
                    <a:pt x="122" y="0"/>
                    <a:pt x="119" y="0"/>
                  </a:cubicBezTo>
                  <a:cubicBezTo>
                    <a:pt x="116" y="0"/>
                    <a:pt x="113" y="0"/>
                    <a:pt x="110" y="0"/>
                  </a:cubicBezTo>
                  <a:cubicBezTo>
                    <a:pt x="109" y="0"/>
                    <a:pt x="108" y="1"/>
                    <a:pt x="107" y="1"/>
                  </a:cubicBezTo>
                  <a:cubicBezTo>
                    <a:pt x="106" y="1"/>
                    <a:pt x="105" y="1"/>
                    <a:pt x="104" y="1"/>
                  </a:cubicBezTo>
                  <a:cubicBezTo>
                    <a:pt x="103" y="2"/>
                    <a:pt x="103" y="3"/>
                    <a:pt x="102" y="3"/>
                  </a:cubicBezTo>
                  <a:cubicBezTo>
                    <a:pt x="101" y="4"/>
                    <a:pt x="100" y="4"/>
                    <a:pt x="99" y="5"/>
                  </a:cubicBezTo>
                  <a:cubicBezTo>
                    <a:pt x="98" y="5"/>
                    <a:pt x="98" y="5"/>
                    <a:pt x="97" y="6"/>
                  </a:cubicBezTo>
                  <a:cubicBezTo>
                    <a:pt x="96" y="6"/>
                    <a:pt x="95" y="7"/>
                    <a:pt x="94" y="8"/>
                  </a:cubicBezTo>
                  <a:cubicBezTo>
                    <a:pt x="94" y="9"/>
                    <a:pt x="94" y="9"/>
                    <a:pt x="93" y="10"/>
                  </a:cubicBezTo>
                  <a:cubicBezTo>
                    <a:pt x="92" y="10"/>
                    <a:pt x="92" y="10"/>
                    <a:pt x="92" y="11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1" y="12"/>
                    <a:pt x="90" y="12"/>
                    <a:pt x="89" y="12"/>
                  </a:cubicBezTo>
                  <a:cubicBezTo>
                    <a:pt x="87" y="13"/>
                    <a:pt x="87" y="13"/>
                    <a:pt x="87" y="14"/>
                  </a:cubicBezTo>
                  <a:cubicBezTo>
                    <a:pt x="86" y="15"/>
                    <a:pt x="85" y="16"/>
                    <a:pt x="85" y="17"/>
                  </a:cubicBezTo>
                  <a:cubicBezTo>
                    <a:pt x="85" y="17"/>
                    <a:pt x="84" y="18"/>
                    <a:pt x="84" y="19"/>
                  </a:cubicBezTo>
                  <a:cubicBezTo>
                    <a:pt x="83" y="20"/>
                    <a:pt x="82" y="21"/>
                    <a:pt x="81" y="21"/>
                  </a:cubicBezTo>
                  <a:cubicBezTo>
                    <a:pt x="79" y="22"/>
                    <a:pt x="78" y="21"/>
                    <a:pt x="76" y="20"/>
                  </a:cubicBezTo>
                  <a:cubicBezTo>
                    <a:pt x="73" y="19"/>
                    <a:pt x="68" y="18"/>
                    <a:pt x="66" y="16"/>
                  </a:cubicBezTo>
                  <a:cubicBezTo>
                    <a:pt x="65" y="14"/>
                    <a:pt x="64" y="12"/>
                    <a:pt x="61" y="12"/>
                  </a:cubicBezTo>
                  <a:cubicBezTo>
                    <a:pt x="60" y="12"/>
                    <a:pt x="56" y="13"/>
                    <a:pt x="55" y="14"/>
                  </a:cubicBezTo>
                  <a:cubicBezTo>
                    <a:pt x="55" y="14"/>
                    <a:pt x="55" y="15"/>
                    <a:pt x="54" y="16"/>
                  </a:cubicBezTo>
                  <a:cubicBezTo>
                    <a:pt x="52" y="17"/>
                    <a:pt x="50" y="16"/>
                    <a:pt x="49" y="15"/>
                  </a:cubicBezTo>
                  <a:cubicBezTo>
                    <a:pt x="48" y="15"/>
                    <a:pt x="47" y="15"/>
                    <a:pt x="46" y="14"/>
                  </a:cubicBezTo>
                  <a:cubicBezTo>
                    <a:pt x="45" y="13"/>
                    <a:pt x="45" y="12"/>
                    <a:pt x="44" y="11"/>
                  </a:cubicBezTo>
                  <a:cubicBezTo>
                    <a:pt x="44" y="10"/>
                    <a:pt x="43" y="10"/>
                    <a:pt x="43" y="8"/>
                  </a:cubicBezTo>
                  <a:cubicBezTo>
                    <a:pt x="44" y="7"/>
                    <a:pt x="44" y="6"/>
                    <a:pt x="44" y="5"/>
                  </a:cubicBezTo>
                  <a:cubicBezTo>
                    <a:pt x="42" y="5"/>
                    <a:pt x="40" y="5"/>
                    <a:pt x="38" y="5"/>
                  </a:cubicBezTo>
                  <a:cubicBezTo>
                    <a:pt x="35" y="6"/>
                    <a:pt x="34" y="7"/>
                    <a:pt x="31" y="8"/>
                  </a:cubicBezTo>
                  <a:cubicBezTo>
                    <a:pt x="29" y="9"/>
                    <a:pt x="28" y="10"/>
                    <a:pt x="27" y="13"/>
                  </a:cubicBezTo>
                  <a:cubicBezTo>
                    <a:pt x="27" y="13"/>
                    <a:pt x="26" y="14"/>
                    <a:pt x="26" y="14"/>
                  </a:cubicBezTo>
                  <a:cubicBezTo>
                    <a:pt x="25" y="14"/>
                    <a:pt x="25" y="15"/>
                    <a:pt x="24" y="15"/>
                  </a:cubicBezTo>
                  <a:cubicBezTo>
                    <a:pt x="23" y="16"/>
                    <a:pt x="23" y="16"/>
                    <a:pt x="22" y="16"/>
                  </a:cubicBezTo>
                  <a:cubicBezTo>
                    <a:pt x="21" y="17"/>
                    <a:pt x="20" y="16"/>
                    <a:pt x="19" y="17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5" y="20"/>
                    <a:pt x="13" y="21"/>
                    <a:pt x="11" y="22"/>
                  </a:cubicBezTo>
                  <a:cubicBezTo>
                    <a:pt x="10" y="22"/>
                    <a:pt x="8" y="22"/>
                    <a:pt x="7" y="22"/>
                  </a:cubicBezTo>
                  <a:cubicBezTo>
                    <a:pt x="5" y="22"/>
                    <a:pt x="6" y="23"/>
                    <a:pt x="5" y="23"/>
                  </a:cubicBezTo>
                  <a:cubicBezTo>
                    <a:pt x="3" y="25"/>
                    <a:pt x="1" y="26"/>
                    <a:pt x="0" y="28"/>
                  </a:cubicBezTo>
                  <a:cubicBezTo>
                    <a:pt x="1" y="28"/>
                    <a:pt x="1" y="29"/>
                    <a:pt x="2" y="29"/>
                  </a:cubicBezTo>
                  <a:cubicBezTo>
                    <a:pt x="2" y="29"/>
                    <a:pt x="3" y="32"/>
                    <a:pt x="3" y="32"/>
                  </a:cubicBezTo>
                  <a:cubicBezTo>
                    <a:pt x="4" y="33"/>
                    <a:pt x="4" y="32"/>
                    <a:pt x="4" y="3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8"/>
                    <a:pt x="3" y="42"/>
                    <a:pt x="3" y="45"/>
                  </a:cubicBezTo>
                  <a:cubicBezTo>
                    <a:pt x="4" y="49"/>
                    <a:pt x="5" y="51"/>
                    <a:pt x="8" y="54"/>
                  </a:cubicBezTo>
                  <a:cubicBezTo>
                    <a:pt x="12" y="57"/>
                    <a:pt x="14" y="61"/>
                    <a:pt x="19" y="60"/>
                  </a:cubicBezTo>
                  <a:cubicBezTo>
                    <a:pt x="23" y="60"/>
                    <a:pt x="27" y="56"/>
                    <a:pt x="31" y="56"/>
                  </a:cubicBezTo>
                  <a:cubicBezTo>
                    <a:pt x="36" y="55"/>
                    <a:pt x="40" y="59"/>
                    <a:pt x="42" y="63"/>
                  </a:cubicBezTo>
                  <a:cubicBezTo>
                    <a:pt x="42" y="64"/>
                    <a:pt x="43" y="65"/>
                    <a:pt x="43" y="66"/>
                  </a:cubicBezTo>
                  <a:cubicBezTo>
                    <a:pt x="43" y="68"/>
                    <a:pt x="40" y="69"/>
                    <a:pt x="39" y="71"/>
                  </a:cubicBezTo>
                  <a:cubicBezTo>
                    <a:pt x="39" y="75"/>
                    <a:pt x="46" y="81"/>
                    <a:pt x="50" y="81"/>
                  </a:cubicBezTo>
                  <a:cubicBezTo>
                    <a:pt x="53" y="82"/>
                    <a:pt x="58" y="80"/>
                    <a:pt x="60" y="84"/>
                  </a:cubicBezTo>
                  <a:cubicBezTo>
                    <a:pt x="61" y="85"/>
                    <a:pt x="60" y="87"/>
                    <a:pt x="61" y="89"/>
                  </a:cubicBezTo>
                  <a:cubicBezTo>
                    <a:pt x="61" y="92"/>
                    <a:pt x="64" y="94"/>
                    <a:pt x="68" y="94"/>
                  </a:cubicBezTo>
                  <a:cubicBezTo>
                    <a:pt x="70" y="94"/>
                    <a:pt x="72" y="92"/>
                    <a:pt x="75" y="92"/>
                  </a:cubicBezTo>
                  <a:cubicBezTo>
                    <a:pt x="76" y="93"/>
                    <a:pt x="78" y="94"/>
                    <a:pt x="79" y="95"/>
                  </a:cubicBezTo>
                  <a:cubicBezTo>
                    <a:pt x="82" y="96"/>
                    <a:pt x="88" y="97"/>
                    <a:pt x="87" y="101"/>
                  </a:cubicBezTo>
                  <a:cubicBezTo>
                    <a:pt x="87" y="105"/>
                    <a:pt x="84" y="102"/>
                    <a:pt x="83" y="105"/>
                  </a:cubicBezTo>
                  <a:cubicBezTo>
                    <a:pt x="82" y="105"/>
                    <a:pt x="82" y="110"/>
                    <a:pt x="83" y="110"/>
                  </a:cubicBezTo>
                  <a:cubicBezTo>
                    <a:pt x="84" y="112"/>
                    <a:pt x="86" y="110"/>
                    <a:pt x="88" y="111"/>
                  </a:cubicBezTo>
                  <a:cubicBezTo>
                    <a:pt x="90" y="113"/>
                    <a:pt x="90" y="120"/>
                    <a:pt x="91" y="122"/>
                  </a:cubicBezTo>
                  <a:cubicBezTo>
                    <a:pt x="92" y="126"/>
                    <a:pt x="92" y="125"/>
                    <a:pt x="95" y="127"/>
                  </a:cubicBezTo>
                  <a:cubicBezTo>
                    <a:pt x="97" y="129"/>
                    <a:pt x="96" y="129"/>
                    <a:pt x="99" y="130"/>
                  </a:cubicBezTo>
                  <a:cubicBezTo>
                    <a:pt x="102" y="131"/>
                    <a:pt x="106" y="128"/>
                    <a:pt x="109" y="126"/>
                  </a:cubicBezTo>
                  <a:cubicBezTo>
                    <a:pt x="110" y="125"/>
                    <a:pt x="113" y="124"/>
                    <a:pt x="114" y="123"/>
                  </a:cubicBezTo>
                  <a:cubicBezTo>
                    <a:pt x="115" y="121"/>
                    <a:pt x="114" y="118"/>
                    <a:pt x="114" y="116"/>
                  </a:cubicBezTo>
                  <a:cubicBezTo>
                    <a:pt x="115" y="115"/>
                    <a:pt x="117" y="113"/>
                    <a:pt x="119" y="112"/>
                  </a:cubicBezTo>
                  <a:cubicBezTo>
                    <a:pt x="121" y="112"/>
                    <a:pt x="122" y="113"/>
                    <a:pt x="124" y="114"/>
                  </a:cubicBezTo>
                  <a:cubicBezTo>
                    <a:pt x="127" y="117"/>
                    <a:pt x="124" y="119"/>
                    <a:pt x="123" y="122"/>
                  </a:cubicBezTo>
                  <a:cubicBezTo>
                    <a:pt x="122" y="124"/>
                    <a:pt x="123" y="126"/>
                    <a:pt x="123" y="127"/>
                  </a:cubicBezTo>
                  <a:cubicBezTo>
                    <a:pt x="123" y="132"/>
                    <a:pt x="124" y="136"/>
                    <a:pt x="125" y="141"/>
                  </a:cubicBezTo>
                  <a:cubicBezTo>
                    <a:pt x="134" y="141"/>
                    <a:pt x="139" y="148"/>
                    <a:pt x="147" y="151"/>
                  </a:cubicBezTo>
                  <a:cubicBezTo>
                    <a:pt x="149" y="152"/>
                    <a:pt x="151" y="151"/>
                    <a:pt x="152" y="153"/>
                  </a:cubicBezTo>
                  <a:cubicBezTo>
                    <a:pt x="153" y="154"/>
                    <a:pt x="153" y="156"/>
                    <a:pt x="153" y="157"/>
                  </a:cubicBezTo>
                  <a:cubicBezTo>
                    <a:pt x="154" y="159"/>
                    <a:pt x="159" y="167"/>
                    <a:pt x="163" y="165"/>
                  </a:cubicBezTo>
                  <a:cubicBezTo>
                    <a:pt x="164" y="164"/>
                    <a:pt x="165" y="162"/>
                    <a:pt x="167" y="162"/>
                  </a:cubicBezTo>
                  <a:cubicBezTo>
                    <a:pt x="168" y="161"/>
                    <a:pt x="170" y="161"/>
                    <a:pt x="171" y="161"/>
                  </a:cubicBezTo>
                  <a:cubicBezTo>
                    <a:pt x="174" y="161"/>
                    <a:pt x="176" y="162"/>
                    <a:pt x="177" y="162"/>
                  </a:cubicBezTo>
                  <a:cubicBezTo>
                    <a:pt x="178" y="161"/>
                    <a:pt x="178" y="159"/>
                    <a:pt x="179" y="158"/>
                  </a:cubicBezTo>
                  <a:cubicBezTo>
                    <a:pt x="179" y="156"/>
                    <a:pt x="180" y="154"/>
                    <a:pt x="179" y="152"/>
                  </a:cubicBezTo>
                  <a:cubicBezTo>
                    <a:pt x="178" y="151"/>
                    <a:pt x="178" y="151"/>
                    <a:pt x="176" y="151"/>
                  </a:cubicBezTo>
                  <a:cubicBezTo>
                    <a:pt x="174" y="151"/>
                    <a:pt x="173" y="151"/>
                    <a:pt x="171" y="149"/>
                  </a:cubicBezTo>
                  <a:cubicBezTo>
                    <a:pt x="168" y="146"/>
                    <a:pt x="171" y="144"/>
                    <a:pt x="171" y="141"/>
                  </a:cubicBezTo>
                  <a:cubicBezTo>
                    <a:pt x="172" y="140"/>
                    <a:pt x="171" y="139"/>
                    <a:pt x="171" y="139"/>
                  </a:cubicBezTo>
                  <a:cubicBezTo>
                    <a:pt x="171" y="138"/>
                    <a:pt x="171" y="137"/>
                    <a:pt x="171" y="136"/>
                  </a:cubicBezTo>
                  <a:cubicBezTo>
                    <a:pt x="171" y="135"/>
                    <a:pt x="170" y="134"/>
                    <a:pt x="171" y="133"/>
                  </a:cubicBezTo>
                  <a:cubicBezTo>
                    <a:pt x="171" y="133"/>
                    <a:pt x="172" y="132"/>
                    <a:pt x="172" y="131"/>
                  </a:cubicBezTo>
                  <a:cubicBezTo>
                    <a:pt x="173" y="129"/>
                    <a:pt x="172" y="129"/>
                    <a:pt x="174" y="128"/>
                  </a:cubicBezTo>
                  <a:cubicBezTo>
                    <a:pt x="175" y="128"/>
                    <a:pt x="176" y="128"/>
                    <a:pt x="177" y="127"/>
                  </a:cubicBezTo>
                  <a:cubicBezTo>
                    <a:pt x="180" y="125"/>
                    <a:pt x="178" y="122"/>
                    <a:pt x="179" y="119"/>
                  </a:cubicBezTo>
                  <a:cubicBezTo>
                    <a:pt x="180" y="118"/>
                    <a:pt x="181" y="118"/>
                    <a:pt x="182" y="117"/>
                  </a:cubicBezTo>
                  <a:cubicBezTo>
                    <a:pt x="183" y="116"/>
                    <a:pt x="184" y="115"/>
                    <a:pt x="185" y="114"/>
                  </a:cubicBezTo>
                  <a:cubicBezTo>
                    <a:pt x="185" y="114"/>
                    <a:pt x="186" y="111"/>
                    <a:pt x="187" y="110"/>
                  </a:cubicBezTo>
                  <a:cubicBezTo>
                    <a:pt x="187" y="110"/>
                    <a:pt x="189" y="110"/>
                    <a:pt x="189" y="110"/>
                  </a:cubicBezTo>
                  <a:cubicBezTo>
                    <a:pt x="191" y="110"/>
                    <a:pt x="192" y="111"/>
                    <a:pt x="193" y="111"/>
                  </a:cubicBezTo>
                  <a:cubicBezTo>
                    <a:pt x="194" y="111"/>
                    <a:pt x="195" y="111"/>
                    <a:pt x="196" y="111"/>
                  </a:cubicBezTo>
                  <a:cubicBezTo>
                    <a:pt x="196" y="111"/>
                    <a:pt x="196" y="110"/>
                    <a:pt x="196" y="110"/>
                  </a:cubicBezTo>
                  <a:cubicBezTo>
                    <a:pt x="197" y="109"/>
                    <a:pt x="198" y="108"/>
                    <a:pt x="198" y="106"/>
                  </a:cubicBezTo>
                  <a:cubicBezTo>
                    <a:pt x="198" y="106"/>
                    <a:pt x="198" y="106"/>
                    <a:pt x="198" y="105"/>
                  </a:cubicBezTo>
                  <a:cubicBezTo>
                    <a:pt x="198" y="103"/>
                    <a:pt x="200" y="102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2" y="98"/>
                    <a:pt x="204" y="97"/>
                    <a:pt x="205" y="95"/>
                  </a:cubicBezTo>
                  <a:cubicBezTo>
                    <a:pt x="206" y="93"/>
                    <a:pt x="206" y="92"/>
                    <a:pt x="207" y="91"/>
                  </a:cubicBezTo>
                  <a:cubicBezTo>
                    <a:pt x="207" y="89"/>
                    <a:pt x="208" y="87"/>
                    <a:pt x="207" y="8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9" name="Freeform 10">
              <a:extLst>
                <a:ext uri="{FF2B5EF4-FFF2-40B4-BE49-F238E27FC236}">
                  <a16:creationId xmlns:a16="http://schemas.microsoft.com/office/drawing/2014/main" id="{92D169D0-6E5B-4848-90D1-36D0514AE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013" y="4519613"/>
              <a:ext cx="95250" cy="112713"/>
            </a:xfrm>
            <a:custGeom>
              <a:avLst/>
              <a:gdLst/>
              <a:ahLst/>
              <a:cxnLst>
                <a:cxn ang="0">
                  <a:pos x="29" y="15"/>
                </a:cxn>
                <a:cxn ang="0">
                  <a:pos x="28" y="11"/>
                </a:cxn>
                <a:cxn ang="0">
                  <a:pos x="27" y="6"/>
                </a:cxn>
                <a:cxn ang="0">
                  <a:pos x="28" y="0"/>
                </a:cxn>
                <a:cxn ang="0">
                  <a:pos x="28" y="1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7" y="4"/>
                </a:cxn>
                <a:cxn ang="0">
                  <a:pos x="14" y="7"/>
                </a:cxn>
                <a:cxn ang="0">
                  <a:pos x="11" y="9"/>
                </a:cxn>
                <a:cxn ang="0">
                  <a:pos x="9" y="17"/>
                </a:cxn>
                <a:cxn ang="0">
                  <a:pos x="6" y="18"/>
                </a:cxn>
                <a:cxn ang="0">
                  <a:pos x="4" y="21"/>
                </a:cxn>
                <a:cxn ang="0">
                  <a:pos x="3" y="23"/>
                </a:cxn>
                <a:cxn ang="0">
                  <a:pos x="3" y="26"/>
                </a:cxn>
                <a:cxn ang="0">
                  <a:pos x="3" y="29"/>
                </a:cxn>
                <a:cxn ang="0">
                  <a:pos x="3" y="31"/>
                </a:cxn>
                <a:cxn ang="0">
                  <a:pos x="3" y="39"/>
                </a:cxn>
                <a:cxn ang="0">
                  <a:pos x="8" y="41"/>
                </a:cxn>
                <a:cxn ang="0">
                  <a:pos x="11" y="42"/>
                </a:cxn>
                <a:cxn ang="0">
                  <a:pos x="11" y="48"/>
                </a:cxn>
                <a:cxn ang="0">
                  <a:pos x="9" y="52"/>
                </a:cxn>
                <a:cxn ang="0">
                  <a:pos x="14" y="54"/>
                </a:cxn>
                <a:cxn ang="0">
                  <a:pos x="26" y="57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9" y="46"/>
                </a:cxn>
                <a:cxn ang="0">
                  <a:pos x="42" y="42"/>
                </a:cxn>
                <a:cxn ang="0">
                  <a:pos x="44" y="38"/>
                </a:cxn>
                <a:cxn ang="0">
                  <a:pos x="51" y="35"/>
                </a:cxn>
                <a:cxn ang="0">
                  <a:pos x="48" y="33"/>
                </a:cxn>
                <a:cxn ang="0">
                  <a:pos x="43" y="32"/>
                </a:cxn>
                <a:cxn ang="0">
                  <a:pos x="39" y="28"/>
                </a:cxn>
                <a:cxn ang="0">
                  <a:pos x="37" y="25"/>
                </a:cxn>
                <a:cxn ang="0">
                  <a:pos x="34" y="24"/>
                </a:cxn>
                <a:cxn ang="0">
                  <a:pos x="32" y="20"/>
                </a:cxn>
                <a:cxn ang="0">
                  <a:pos x="29" y="15"/>
                </a:cxn>
              </a:cxnLst>
              <a:rect l="0" t="0" r="r" b="b"/>
              <a:pathLst>
                <a:path w="51" h="60">
                  <a:moveTo>
                    <a:pt x="29" y="15"/>
                  </a:moveTo>
                  <a:cubicBezTo>
                    <a:pt x="28" y="14"/>
                    <a:pt x="29" y="12"/>
                    <a:pt x="28" y="11"/>
                  </a:cubicBezTo>
                  <a:cubicBezTo>
                    <a:pt x="28" y="9"/>
                    <a:pt x="27" y="8"/>
                    <a:pt x="27" y="6"/>
                  </a:cubicBezTo>
                  <a:cubicBezTo>
                    <a:pt x="27" y="4"/>
                    <a:pt x="27" y="2"/>
                    <a:pt x="28" y="0"/>
                  </a:cubicBezTo>
                  <a:cubicBezTo>
                    <a:pt x="28" y="0"/>
                    <a:pt x="28" y="1"/>
                    <a:pt x="28" y="1"/>
                  </a:cubicBezTo>
                  <a:cubicBezTo>
                    <a:pt x="27" y="1"/>
                    <a:pt x="26" y="1"/>
                    <a:pt x="25" y="1"/>
                  </a:cubicBezTo>
                  <a:cubicBezTo>
                    <a:pt x="24" y="1"/>
                    <a:pt x="23" y="0"/>
                    <a:pt x="21" y="0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8" y="1"/>
                    <a:pt x="17" y="4"/>
                    <a:pt x="17" y="4"/>
                  </a:cubicBezTo>
                  <a:cubicBezTo>
                    <a:pt x="16" y="5"/>
                    <a:pt x="15" y="6"/>
                    <a:pt x="14" y="7"/>
                  </a:cubicBezTo>
                  <a:cubicBezTo>
                    <a:pt x="13" y="8"/>
                    <a:pt x="12" y="8"/>
                    <a:pt x="11" y="9"/>
                  </a:cubicBezTo>
                  <a:cubicBezTo>
                    <a:pt x="10" y="12"/>
                    <a:pt x="12" y="15"/>
                    <a:pt x="9" y="17"/>
                  </a:cubicBezTo>
                  <a:cubicBezTo>
                    <a:pt x="8" y="18"/>
                    <a:pt x="7" y="18"/>
                    <a:pt x="6" y="18"/>
                  </a:cubicBezTo>
                  <a:cubicBezTo>
                    <a:pt x="4" y="19"/>
                    <a:pt x="5" y="19"/>
                    <a:pt x="4" y="21"/>
                  </a:cubicBezTo>
                  <a:cubicBezTo>
                    <a:pt x="4" y="22"/>
                    <a:pt x="3" y="23"/>
                    <a:pt x="3" y="23"/>
                  </a:cubicBezTo>
                  <a:cubicBezTo>
                    <a:pt x="2" y="24"/>
                    <a:pt x="3" y="25"/>
                    <a:pt x="3" y="26"/>
                  </a:cubicBezTo>
                  <a:cubicBezTo>
                    <a:pt x="3" y="27"/>
                    <a:pt x="3" y="28"/>
                    <a:pt x="3" y="29"/>
                  </a:cubicBezTo>
                  <a:cubicBezTo>
                    <a:pt x="3" y="29"/>
                    <a:pt x="4" y="30"/>
                    <a:pt x="3" y="31"/>
                  </a:cubicBezTo>
                  <a:cubicBezTo>
                    <a:pt x="3" y="34"/>
                    <a:pt x="0" y="36"/>
                    <a:pt x="3" y="39"/>
                  </a:cubicBezTo>
                  <a:cubicBezTo>
                    <a:pt x="5" y="41"/>
                    <a:pt x="6" y="41"/>
                    <a:pt x="8" y="41"/>
                  </a:cubicBezTo>
                  <a:cubicBezTo>
                    <a:pt x="10" y="41"/>
                    <a:pt x="10" y="41"/>
                    <a:pt x="11" y="42"/>
                  </a:cubicBezTo>
                  <a:cubicBezTo>
                    <a:pt x="12" y="44"/>
                    <a:pt x="11" y="46"/>
                    <a:pt x="11" y="48"/>
                  </a:cubicBezTo>
                  <a:cubicBezTo>
                    <a:pt x="10" y="49"/>
                    <a:pt x="10" y="51"/>
                    <a:pt x="9" y="52"/>
                  </a:cubicBezTo>
                  <a:cubicBezTo>
                    <a:pt x="11" y="52"/>
                    <a:pt x="12" y="53"/>
                    <a:pt x="14" y="54"/>
                  </a:cubicBezTo>
                  <a:cubicBezTo>
                    <a:pt x="19" y="57"/>
                    <a:pt x="20" y="60"/>
                    <a:pt x="26" y="57"/>
                  </a:cubicBezTo>
                  <a:cubicBezTo>
                    <a:pt x="30" y="54"/>
                    <a:pt x="31" y="56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3"/>
                    <a:pt x="37" y="49"/>
                    <a:pt x="39" y="46"/>
                  </a:cubicBezTo>
                  <a:cubicBezTo>
                    <a:pt x="40" y="44"/>
                    <a:pt x="41" y="43"/>
                    <a:pt x="42" y="42"/>
                  </a:cubicBezTo>
                  <a:cubicBezTo>
                    <a:pt x="42" y="40"/>
                    <a:pt x="43" y="39"/>
                    <a:pt x="44" y="38"/>
                  </a:cubicBezTo>
                  <a:cubicBezTo>
                    <a:pt x="46" y="37"/>
                    <a:pt x="49" y="35"/>
                    <a:pt x="51" y="35"/>
                  </a:cubicBezTo>
                  <a:cubicBezTo>
                    <a:pt x="51" y="33"/>
                    <a:pt x="49" y="33"/>
                    <a:pt x="48" y="33"/>
                  </a:cubicBezTo>
                  <a:cubicBezTo>
                    <a:pt x="46" y="33"/>
                    <a:pt x="45" y="33"/>
                    <a:pt x="43" y="32"/>
                  </a:cubicBezTo>
                  <a:cubicBezTo>
                    <a:pt x="42" y="31"/>
                    <a:pt x="40" y="30"/>
                    <a:pt x="39" y="28"/>
                  </a:cubicBezTo>
                  <a:cubicBezTo>
                    <a:pt x="38" y="27"/>
                    <a:pt x="37" y="26"/>
                    <a:pt x="37" y="25"/>
                  </a:cubicBezTo>
                  <a:cubicBezTo>
                    <a:pt x="36" y="24"/>
                    <a:pt x="35" y="24"/>
                    <a:pt x="34" y="24"/>
                  </a:cubicBezTo>
                  <a:cubicBezTo>
                    <a:pt x="32" y="23"/>
                    <a:pt x="32" y="21"/>
                    <a:pt x="32" y="20"/>
                  </a:cubicBezTo>
                  <a:cubicBezTo>
                    <a:pt x="31" y="18"/>
                    <a:pt x="30" y="17"/>
                    <a:pt x="29" y="1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0" name="Freeform 11">
              <a:extLst>
                <a:ext uri="{FF2B5EF4-FFF2-40B4-BE49-F238E27FC236}">
                  <a16:creationId xmlns:a16="http://schemas.microsoft.com/office/drawing/2014/main" id="{F2D92B76-1928-48D4-8130-54BD99F64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4000" y="4889500"/>
              <a:ext cx="452438" cy="293688"/>
            </a:xfrm>
            <a:custGeom>
              <a:avLst/>
              <a:gdLst/>
              <a:ahLst/>
              <a:cxnLst>
                <a:cxn ang="0">
                  <a:pos x="231" y="65"/>
                </a:cxn>
                <a:cxn ang="0">
                  <a:pos x="214" y="71"/>
                </a:cxn>
                <a:cxn ang="0">
                  <a:pos x="204" y="60"/>
                </a:cxn>
                <a:cxn ang="0">
                  <a:pos x="194" y="60"/>
                </a:cxn>
                <a:cxn ang="0">
                  <a:pos x="186" y="51"/>
                </a:cxn>
                <a:cxn ang="0">
                  <a:pos x="183" y="47"/>
                </a:cxn>
                <a:cxn ang="0">
                  <a:pos x="186" y="39"/>
                </a:cxn>
                <a:cxn ang="0">
                  <a:pos x="192" y="36"/>
                </a:cxn>
                <a:cxn ang="0">
                  <a:pos x="195" y="30"/>
                </a:cxn>
                <a:cxn ang="0">
                  <a:pos x="197" y="18"/>
                </a:cxn>
                <a:cxn ang="0">
                  <a:pos x="188" y="17"/>
                </a:cxn>
                <a:cxn ang="0">
                  <a:pos x="174" y="10"/>
                </a:cxn>
                <a:cxn ang="0">
                  <a:pos x="161" y="9"/>
                </a:cxn>
                <a:cxn ang="0">
                  <a:pos x="145" y="1"/>
                </a:cxn>
                <a:cxn ang="0">
                  <a:pos x="133" y="1"/>
                </a:cxn>
                <a:cxn ang="0">
                  <a:pos x="121" y="8"/>
                </a:cxn>
                <a:cxn ang="0">
                  <a:pos x="110" y="18"/>
                </a:cxn>
                <a:cxn ang="0">
                  <a:pos x="94" y="17"/>
                </a:cxn>
                <a:cxn ang="0">
                  <a:pos x="90" y="21"/>
                </a:cxn>
                <a:cxn ang="0">
                  <a:pos x="51" y="27"/>
                </a:cxn>
                <a:cxn ang="0">
                  <a:pos x="39" y="56"/>
                </a:cxn>
                <a:cxn ang="0">
                  <a:pos x="8" y="90"/>
                </a:cxn>
                <a:cxn ang="0">
                  <a:pos x="5" y="118"/>
                </a:cxn>
                <a:cxn ang="0">
                  <a:pos x="41" y="118"/>
                </a:cxn>
                <a:cxn ang="0">
                  <a:pos x="46" y="130"/>
                </a:cxn>
                <a:cxn ang="0">
                  <a:pos x="52" y="144"/>
                </a:cxn>
                <a:cxn ang="0">
                  <a:pos x="57" y="153"/>
                </a:cxn>
                <a:cxn ang="0">
                  <a:pos x="68" y="151"/>
                </a:cxn>
                <a:cxn ang="0">
                  <a:pos x="88" y="145"/>
                </a:cxn>
                <a:cxn ang="0">
                  <a:pos x="108" y="135"/>
                </a:cxn>
                <a:cxn ang="0">
                  <a:pos x="113" y="129"/>
                </a:cxn>
                <a:cxn ang="0">
                  <a:pos x="119" y="114"/>
                </a:cxn>
                <a:cxn ang="0">
                  <a:pos x="127" y="120"/>
                </a:cxn>
                <a:cxn ang="0">
                  <a:pos x="138" y="133"/>
                </a:cxn>
                <a:cxn ang="0">
                  <a:pos x="148" y="137"/>
                </a:cxn>
                <a:cxn ang="0">
                  <a:pos x="147" y="143"/>
                </a:cxn>
                <a:cxn ang="0">
                  <a:pos x="158" y="156"/>
                </a:cxn>
                <a:cxn ang="0">
                  <a:pos x="157" y="147"/>
                </a:cxn>
                <a:cxn ang="0">
                  <a:pos x="163" y="134"/>
                </a:cxn>
                <a:cxn ang="0">
                  <a:pos x="174" y="121"/>
                </a:cxn>
                <a:cxn ang="0">
                  <a:pos x="173" y="106"/>
                </a:cxn>
                <a:cxn ang="0">
                  <a:pos x="185" y="111"/>
                </a:cxn>
                <a:cxn ang="0">
                  <a:pos x="196" y="118"/>
                </a:cxn>
                <a:cxn ang="0">
                  <a:pos x="209" y="115"/>
                </a:cxn>
                <a:cxn ang="0">
                  <a:pos x="223" y="123"/>
                </a:cxn>
                <a:cxn ang="0">
                  <a:pos x="222" y="109"/>
                </a:cxn>
                <a:cxn ang="0">
                  <a:pos x="220" y="97"/>
                </a:cxn>
                <a:cxn ang="0">
                  <a:pos x="236" y="98"/>
                </a:cxn>
                <a:cxn ang="0">
                  <a:pos x="238" y="91"/>
                </a:cxn>
                <a:cxn ang="0">
                  <a:pos x="240" y="71"/>
                </a:cxn>
              </a:cxnLst>
              <a:rect l="0" t="0" r="r" b="b"/>
              <a:pathLst>
                <a:path w="242" h="157">
                  <a:moveTo>
                    <a:pt x="240" y="71"/>
                  </a:moveTo>
                  <a:cubicBezTo>
                    <a:pt x="240" y="69"/>
                    <a:pt x="240" y="67"/>
                    <a:pt x="238" y="65"/>
                  </a:cubicBezTo>
                  <a:cubicBezTo>
                    <a:pt x="237" y="64"/>
                    <a:pt x="234" y="62"/>
                    <a:pt x="233" y="62"/>
                  </a:cubicBezTo>
                  <a:cubicBezTo>
                    <a:pt x="232" y="63"/>
                    <a:pt x="232" y="64"/>
                    <a:pt x="231" y="65"/>
                  </a:cubicBezTo>
                  <a:cubicBezTo>
                    <a:pt x="230" y="65"/>
                    <a:pt x="229" y="65"/>
                    <a:pt x="228" y="66"/>
                  </a:cubicBezTo>
                  <a:cubicBezTo>
                    <a:pt x="226" y="67"/>
                    <a:pt x="227" y="69"/>
                    <a:pt x="226" y="70"/>
                  </a:cubicBezTo>
                  <a:cubicBezTo>
                    <a:pt x="225" y="72"/>
                    <a:pt x="225" y="73"/>
                    <a:pt x="222" y="73"/>
                  </a:cubicBezTo>
                  <a:cubicBezTo>
                    <a:pt x="219" y="73"/>
                    <a:pt x="217" y="72"/>
                    <a:pt x="214" y="71"/>
                  </a:cubicBezTo>
                  <a:cubicBezTo>
                    <a:pt x="213" y="71"/>
                    <a:pt x="212" y="70"/>
                    <a:pt x="212" y="69"/>
                  </a:cubicBezTo>
                  <a:cubicBezTo>
                    <a:pt x="211" y="69"/>
                    <a:pt x="210" y="69"/>
                    <a:pt x="210" y="68"/>
                  </a:cubicBezTo>
                  <a:cubicBezTo>
                    <a:pt x="208" y="67"/>
                    <a:pt x="208" y="66"/>
                    <a:pt x="208" y="64"/>
                  </a:cubicBezTo>
                  <a:cubicBezTo>
                    <a:pt x="208" y="61"/>
                    <a:pt x="206" y="61"/>
                    <a:pt x="204" y="60"/>
                  </a:cubicBezTo>
                  <a:cubicBezTo>
                    <a:pt x="204" y="60"/>
                    <a:pt x="204" y="60"/>
                    <a:pt x="203" y="59"/>
                  </a:cubicBezTo>
                  <a:cubicBezTo>
                    <a:pt x="203" y="59"/>
                    <a:pt x="202" y="59"/>
                    <a:pt x="201" y="59"/>
                  </a:cubicBezTo>
                  <a:cubicBezTo>
                    <a:pt x="200" y="60"/>
                    <a:pt x="200" y="60"/>
                    <a:pt x="198" y="60"/>
                  </a:cubicBezTo>
                  <a:cubicBezTo>
                    <a:pt x="197" y="60"/>
                    <a:pt x="195" y="60"/>
                    <a:pt x="194" y="60"/>
                  </a:cubicBezTo>
                  <a:cubicBezTo>
                    <a:pt x="193" y="60"/>
                    <a:pt x="192" y="60"/>
                    <a:pt x="191" y="60"/>
                  </a:cubicBezTo>
                  <a:cubicBezTo>
                    <a:pt x="190" y="60"/>
                    <a:pt x="189" y="60"/>
                    <a:pt x="188" y="60"/>
                  </a:cubicBezTo>
                  <a:cubicBezTo>
                    <a:pt x="185" y="59"/>
                    <a:pt x="183" y="60"/>
                    <a:pt x="183" y="57"/>
                  </a:cubicBezTo>
                  <a:cubicBezTo>
                    <a:pt x="182" y="53"/>
                    <a:pt x="184" y="53"/>
                    <a:pt x="186" y="51"/>
                  </a:cubicBezTo>
                  <a:cubicBezTo>
                    <a:pt x="186" y="51"/>
                    <a:pt x="187" y="51"/>
                    <a:pt x="187" y="50"/>
                  </a:cubicBezTo>
                  <a:cubicBezTo>
                    <a:pt x="187" y="50"/>
                    <a:pt x="186" y="50"/>
                    <a:pt x="186" y="50"/>
                  </a:cubicBezTo>
                  <a:cubicBezTo>
                    <a:pt x="185" y="50"/>
                    <a:pt x="185" y="50"/>
                    <a:pt x="184" y="49"/>
                  </a:cubicBezTo>
                  <a:cubicBezTo>
                    <a:pt x="183" y="49"/>
                    <a:pt x="183" y="48"/>
                    <a:pt x="183" y="47"/>
                  </a:cubicBezTo>
                  <a:cubicBezTo>
                    <a:pt x="183" y="47"/>
                    <a:pt x="183" y="46"/>
                    <a:pt x="183" y="45"/>
                  </a:cubicBezTo>
                  <a:cubicBezTo>
                    <a:pt x="183" y="44"/>
                    <a:pt x="184" y="44"/>
                    <a:pt x="184" y="43"/>
                  </a:cubicBezTo>
                  <a:cubicBezTo>
                    <a:pt x="184" y="42"/>
                    <a:pt x="185" y="42"/>
                    <a:pt x="185" y="41"/>
                  </a:cubicBezTo>
                  <a:cubicBezTo>
                    <a:pt x="186" y="40"/>
                    <a:pt x="186" y="40"/>
                    <a:pt x="186" y="39"/>
                  </a:cubicBezTo>
                  <a:cubicBezTo>
                    <a:pt x="187" y="38"/>
                    <a:pt x="187" y="38"/>
                    <a:pt x="188" y="38"/>
                  </a:cubicBezTo>
                  <a:cubicBezTo>
                    <a:pt x="188" y="37"/>
                    <a:pt x="189" y="37"/>
                    <a:pt x="189" y="36"/>
                  </a:cubicBezTo>
                  <a:cubicBezTo>
                    <a:pt x="189" y="36"/>
                    <a:pt x="192" y="35"/>
                    <a:pt x="192" y="35"/>
                  </a:cubicBezTo>
                  <a:cubicBezTo>
                    <a:pt x="192" y="36"/>
                    <a:pt x="192" y="36"/>
                    <a:pt x="192" y="36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4" y="36"/>
                    <a:pt x="196" y="36"/>
                    <a:pt x="196" y="35"/>
                  </a:cubicBezTo>
                  <a:cubicBezTo>
                    <a:pt x="197" y="34"/>
                    <a:pt x="196" y="33"/>
                    <a:pt x="196" y="33"/>
                  </a:cubicBezTo>
                  <a:cubicBezTo>
                    <a:pt x="195" y="32"/>
                    <a:pt x="195" y="31"/>
                    <a:pt x="195" y="30"/>
                  </a:cubicBezTo>
                  <a:cubicBezTo>
                    <a:pt x="195" y="28"/>
                    <a:pt x="195" y="26"/>
                    <a:pt x="195" y="24"/>
                  </a:cubicBezTo>
                  <a:cubicBezTo>
                    <a:pt x="195" y="23"/>
                    <a:pt x="196" y="22"/>
                    <a:pt x="196" y="20"/>
                  </a:cubicBezTo>
                  <a:cubicBezTo>
                    <a:pt x="197" y="19"/>
                    <a:pt x="198" y="19"/>
                    <a:pt x="198" y="18"/>
                  </a:cubicBezTo>
                  <a:cubicBezTo>
                    <a:pt x="198" y="18"/>
                    <a:pt x="197" y="18"/>
                    <a:pt x="197" y="18"/>
                  </a:cubicBezTo>
                  <a:cubicBezTo>
                    <a:pt x="196" y="18"/>
                    <a:pt x="195" y="18"/>
                    <a:pt x="195" y="18"/>
                  </a:cubicBezTo>
                  <a:cubicBezTo>
                    <a:pt x="195" y="18"/>
                    <a:pt x="195" y="17"/>
                    <a:pt x="194" y="17"/>
                  </a:cubicBezTo>
                  <a:cubicBezTo>
                    <a:pt x="193" y="17"/>
                    <a:pt x="191" y="17"/>
                    <a:pt x="190" y="17"/>
                  </a:cubicBezTo>
                  <a:cubicBezTo>
                    <a:pt x="189" y="17"/>
                    <a:pt x="189" y="17"/>
                    <a:pt x="188" y="17"/>
                  </a:cubicBezTo>
                  <a:cubicBezTo>
                    <a:pt x="186" y="16"/>
                    <a:pt x="184" y="16"/>
                    <a:pt x="182" y="15"/>
                  </a:cubicBezTo>
                  <a:cubicBezTo>
                    <a:pt x="181" y="15"/>
                    <a:pt x="180" y="15"/>
                    <a:pt x="179" y="13"/>
                  </a:cubicBezTo>
                  <a:cubicBezTo>
                    <a:pt x="178" y="13"/>
                    <a:pt x="178" y="13"/>
                    <a:pt x="178" y="12"/>
                  </a:cubicBezTo>
                  <a:cubicBezTo>
                    <a:pt x="177" y="12"/>
                    <a:pt x="175" y="11"/>
                    <a:pt x="174" y="10"/>
                  </a:cubicBezTo>
                  <a:cubicBezTo>
                    <a:pt x="173" y="10"/>
                    <a:pt x="172" y="9"/>
                    <a:pt x="171" y="8"/>
                  </a:cubicBezTo>
                  <a:cubicBezTo>
                    <a:pt x="170" y="7"/>
                    <a:pt x="171" y="7"/>
                    <a:pt x="169" y="7"/>
                  </a:cubicBezTo>
                  <a:cubicBezTo>
                    <a:pt x="168" y="7"/>
                    <a:pt x="167" y="7"/>
                    <a:pt x="166" y="8"/>
                  </a:cubicBezTo>
                  <a:cubicBezTo>
                    <a:pt x="164" y="8"/>
                    <a:pt x="163" y="9"/>
                    <a:pt x="161" y="9"/>
                  </a:cubicBezTo>
                  <a:cubicBezTo>
                    <a:pt x="159" y="9"/>
                    <a:pt x="157" y="8"/>
                    <a:pt x="155" y="7"/>
                  </a:cubicBezTo>
                  <a:cubicBezTo>
                    <a:pt x="154" y="6"/>
                    <a:pt x="154" y="5"/>
                    <a:pt x="153" y="5"/>
                  </a:cubicBezTo>
                  <a:cubicBezTo>
                    <a:pt x="152" y="4"/>
                    <a:pt x="149" y="3"/>
                    <a:pt x="147" y="2"/>
                  </a:cubicBezTo>
                  <a:cubicBezTo>
                    <a:pt x="147" y="1"/>
                    <a:pt x="146" y="1"/>
                    <a:pt x="145" y="1"/>
                  </a:cubicBezTo>
                  <a:cubicBezTo>
                    <a:pt x="145" y="1"/>
                    <a:pt x="144" y="1"/>
                    <a:pt x="143" y="1"/>
                  </a:cubicBezTo>
                  <a:cubicBezTo>
                    <a:pt x="143" y="1"/>
                    <a:pt x="142" y="0"/>
                    <a:pt x="141" y="0"/>
                  </a:cubicBezTo>
                  <a:cubicBezTo>
                    <a:pt x="141" y="0"/>
                    <a:pt x="140" y="0"/>
                    <a:pt x="139" y="0"/>
                  </a:cubicBezTo>
                  <a:cubicBezTo>
                    <a:pt x="137" y="0"/>
                    <a:pt x="134" y="0"/>
                    <a:pt x="133" y="1"/>
                  </a:cubicBezTo>
                  <a:cubicBezTo>
                    <a:pt x="131" y="3"/>
                    <a:pt x="129" y="6"/>
                    <a:pt x="129" y="8"/>
                  </a:cubicBezTo>
                  <a:cubicBezTo>
                    <a:pt x="129" y="11"/>
                    <a:pt x="129" y="14"/>
                    <a:pt x="126" y="14"/>
                  </a:cubicBezTo>
                  <a:cubicBezTo>
                    <a:pt x="124" y="14"/>
                    <a:pt x="124" y="13"/>
                    <a:pt x="123" y="12"/>
                  </a:cubicBezTo>
                  <a:cubicBezTo>
                    <a:pt x="122" y="11"/>
                    <a:pt x="123" y="9"/>
                    <a:pt x="121" y="8"/>
                  </a:cubicBezTo>
                  <a:cubicBezTo>
                    <a:pt x="120" y="8"/>
                    <a:pt x="119" y="10"/>
                    <a:pt x="118" y="11"/>
                  </a:cubicBezTo>
                  <a:cubicBezTo>
                    <a:pt x="118" y="12"/>
                    <a:pt x="118" y="12"/>
                    <a:pt x="118" y="13"/>
                  </a:cubicBezTo>
                  <a:cubicBezTo>
                    <a:pt x="118" y="15"/>
                    <a:pt x="117" y="15"/>
                    <a:pt x="116" y="15"/>
                  </a:cubicBezTo>
                  <a:cubicBezTo>
                    <a:pt x="114" y="16"/>
                    <a:pt x="113" y="18"/>
                    <a:pt x="110" y="18"/>
                  </a:cubicBezTo>
                  <a:cubicBezTo>
                    <a:pt x="110" y="18"/>
                    <a:pt x="109" y="17"/>
                    <a:pt x="108" y="17"/>
                  </a:cubicBezTo>
                  <a:cubicBezTo>
                    <a:pt x="107" y="17"/>
                    <a:pt x="105" y="17"/>
                    <a:pt x="104" y="18"/>
                  </a:cubicBezTo>
                  <a:cubicBezTo>
                    <a:pt x="102" y="19"/>
                    <a:pt x="100" y="19"/>
                    <a:pt x="97" y="18"/>
                  </a:cubicBezTo>
                  <a:cubicBezTo>
                    <a:pt x="96" y="18"/>
                    <a:pt x="95" y="18"/>
                    <a:pt x="94" y="17"/>
                  </a:cubicBezTo>
                  <a:cubicBezTo>
                    <a:pt x="94" y="17"/>
                    <a:pt x="94" y="17"/>
                    <a:pt x="93" y="17"/>
                  </a:cubicBezTo>
                  <a:cubicBezTo>
                    <a:pt x="93" y="16"/>
                    <a:pt x="93" y="16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7"/>
                    <a:pt x="93" y="19"/>
                    <a:pt x="90" y="21"/>
                  </a:cubicBezTo>
                  <a:cubicBezTo>
                    <a:pt x="87" y="23"/>
                    <a:pt x="83" y="25"/>
                    <a:pt x="80" y="26"/>
                  </a:cubicBezTo>
                  <a:cubicBezTo>
                    <a:pt x="78" y="27"/>
                    <a:pt x="77" y="27"/>
                    <a:pt x="75" y="27"/>
                  </a:cubicBezTo>
                  <a:cubicBezTo>
                    <a:pt x="69" y="27"/>
                    <a:pt x="64" y="30"/>
                    <a:pt x="58" y="29"/>
                  </a:cubicBezTo>
                  <a:cubicBezTo>
                    <a:pt x="56" y="28"/>
                    <a:pt x="54" y="27"/>
                    <a:pt x="51" y="27"/>
                  </a:cubicBezTo>
                  <a:cubicBezTo>
                    <a:pt x="40" y="28"/>
                    <a:pt x="58" y="37"/>
                    <a:pt x="52" y="42"/>
                  </a:cubicBezTo>
                  <a:cubicBezTo>
                    <a:pt x="50" y="44"/>
                    <a:pt x="49" y="43"/>
                    <a:pt x="47" y="44"/>
                  </a:cubicBezTo>
                  <a:cubicBezTo>
                    <a:pt x="47" y="45"/>
                    <a:pt x="46" y="47"/>
                    <a:pt x="46" y="47"/>
                  </a:cubicBezTo>
                  <a:cubicBezTo>
                    <a:pt x="44" y="51"/>
                    <a:pt x="42" y="53"/>
                    <a:pt x="39" y="56"/>
                  </a:cubicBezTo>
                  <a:cubicBezTo>
                    <a:pt x="34" y="62"/>
                    <a:pt x="30" y="69"/>
                    <a:pt x="23" y="74"/>
                  </a:cubicBezTo>
                  <a:cubicBezTo>
                    <a:pt x="22" y="75"/>
                    <a:pt x="20" y="76"/>
                    <a:pt x="19" y="78"/>
                  </a:cubicBezTo>
                  <a:cubicBezTo>
                    <a:pt x="17" y="80"/>
                    <a:pt x="17" y="82"/>
                    <a:pt x="15" y="83"/>
                  </a:cubicBezTo>
                  <a:cubicBezTo>
                    <a:pt x="13" y="86"/>
                    <a:pt x="11" y="88"/>
                    <a:pt x="8" y="90"/>
                  </a:cubicBezTo>
                  <a:cubicBezTo>
                    <a:pt x="6" y="93"/>
                    <a:pt x="6" y="95"/>
                    <a:pt x="6" y="98"/>
                  </a:cubicBezTo>
                  <a:cubicBezTo>
                    <a:pt x="6" y="100"/>
                    <a:pt x="7" y="104"/>
                    <a:pt x="6" y="105"/>
                  </a:cubicBezTo>
                  <a:cubicBezTo>
                    <a:pt x="5" y="107"/>
                    <a:pt x="3" y="106"/>
                    <a:pt x="2" y="108"/>
                  </a:cubicBezTo>
                  <a:cubicBezTo>
                    <a:pt x="0" y="111"/>
                    <a:pt x="3" y="117"/>
                    <a:pt x="5" y="118"/>
                  </a:cubicBezTo>
                  <a:cubicBezTo>
                    <a:pt x="8" y="119"/>
                    <a:pt x="11" y="118"/>
                    <a:pt x="13" y="117"/>
                  </a:cubicBezTo>
                  <a:cubicBezTo>
                    <a:pt x="18" y="115"/>
                    <a:pt x="22" y="112"/>
                    <a:pt x="27" y="112"/>
                  </a:cubicBezTo>
                  <a:cubicBezTo>
                    <a:pt x="31" y="112"/>
                    <a:pt x="35" y="115"/>
                    <a:pt x="38" y="117"/>
                  </a:cubicBezTo>
                  <a:cubicBezTo>
                    <a:pt x="38" y="117"/>
                    <a:pt x="40" y="118"/>
                    <a:pt x="41" y="118"/>
                  </a:cubicBezTo>
                  <a:cubicBezTo>
                    <a:pt x="42" y="118"/>
                    <a:pt x="43" y="119"/>
                    <a:pt x="44" y="119"/>
                  </a:cubicBezTo>
                  <a:cubicBezTo>
                    <a:pt x="45" y="121"/>
                    <a:pt x="44" y="123"/>
                    <a:pt x="45" y="125"/>
                  </a:cubicBezTo>
                  <a:cubicBezTo>
                    <a:pt x="45" y="125"/>
                    <a:pt x="46" y="126"/>
                    <a:pt x="46" y="126"/>
                  </a:cubicBezTo>
                  <a:cubicBezTo>
                    <a:pt x="46" y="127"/>
                    <a:pt x="46" y="129"/>
                    <a:pt x="46" y="130"/>
                  </a:cubicBezTo>
                  <a:cubicBezTo>
                    <a:pt x="46" y="132"/>
                    <a:pt x="46" y="134"/>
                    <a:pt x="47" y="136"/>
                  </a:cubicBezTo>
                  <a:cubicBezTo>
                    <a:pt x="47" y="137"/>
                    <a:pt x="48" y="138"/>
                    <a:pt x="49" y="139"/>
                  </a:cubicBezTo>
                  <a:cubicBezTo>
                    <a:pt x="49" y="140"/>
                    <a:pt x="50" y="141"/>
                    <a:pt x="50" y="141"/>
                  </a:cubicBezTo>
                  <a:cubicBezTo>
                    <a:pt x="51" y="143"/>
                    <a:pt x="51" y="143"/>
                    <a:pt x="52" y="144"/>
                  </a:cubicBezTo>
                  <a:cubicBezTo>
                    <a:pt x="52" y="145"/>
                    <a:pt x="53" y="145"/>
                    <a:pt x="53" y="147"/>
                  </a:cubicBezTo>
                  <a:cubicBezTo>
                    <a:pt x="53" y="147"/>
                    <a:pt x="53" y="149"/>
                    <a:pt x="53" y="150"/>
                  </a:cubicBezTo>
                  <a:cubicBezTo>
                    <a:pt x="53" y="151"/>
                    <a:pt x="51" y="152"/>
                    <a:pt x="51" y="153"/>
                  </a:cubicBezTo>
                  <a:cubicBezTo>
                    <a:pt x="53" y="154"/>
                    <a:pt x="55" y="153"/>
                    <a:pt x="57" y="153"/>
                  </a:cubicBezTo>
                  <a:cubicBezTo>
                    <a:pt x="58" y="153"/>
                    <a:pt x="59" y="154"/>
                    <a:pt x="60" y="154"/>
                  </a:cubicBezTo>
                  <a:cubicBezTo>
                    <a:pt x="61" y="154"/>
                    <a:pt x="62" y="154"/>
                    <a:pt x="63" y="153"/>
                  </a:cubicBezTo>
                  <a:cubicBezTo>
                    <a:pt x="63" y="153"/>
                    <a:pt x="65" y="153"/>
                    <a:pt x="66" y="153"/>
                  </a:cubicBezTo>
                  <a:cubicBezTo>
                    <a:pt x="67" y="152"/>
                    <a:pt x="67" y="151"/>
                    <a:pt x="68" y="151"/>
                  </a:cubicBezTo>
                  <a:cubicBezTo>
                    <a:pt x="71" y="150"/>
                    <a:pt x="74" y="150"/>
                    <a:pt x="77" y="149"/>
                  </a:cubicBezTo>
                  <a:cubicBezTo>
                    <a:pt x="79" y="149"/>
                    <a:pt x="80" y="148"/>
                    <a:pt x="81" y="147"/>
                  </a:cubicBezTo>
                  <a:cubicBezTo>
                    <a:pt x="82" y="145"/>
                    <a:pt x="82" y="144"/>
                    <a:pt x="84" y="143"/>
                  </a:cubicBezTo>
                  <a:cubicBezTo>
                    <a:pt x="85" y="143"/>
                    <a:pt x="86" y="144"/>
                    <a:pt x="88" y="145"/>
                  </a:cubicBezTo>
                  <a:cubicBezTo>
                    <a:pt x="91" y="146"/>
                    <a:pt x="95" y="149"/>
                    <a:pt x="99" y="147"/>
                  </a:cubicBezTo>
                  <a:cubicBezTo>
                    <a:pt x="100" y="146"/>
                    <a:pt x="100" y="145"/>
                    <a:pt x="102" y="144"/>
                  </a:cubicBezTo>
                  <a:cubicBezTo>
                    <a:pt x="103" y="143"/>
                    <a:pt x="105" y="142"/>
                    <a:pt x="105" y="140"/>
                  </a:cubicBezTo>
                  <a:cubicBezTo>
                    <a:pt x="106" y="139"/>
                    <a:pt x="106" y="136"/>
                    <a:pt x="108" y="135"/>
                  </a:cubicBezTo>
                  <a:cubicBezTo>
                    <a:pt x="109" y="135"/>
                    <a:pt x="110" y="135"/>
                    <a:pt x="110" y="135"/>
                  </a:cubicBezTo>
                  <a:cubicBezTo>
                    <a:pt x="110" y="135"/>
                    <a:pt x="111" y="134"/>
                    <a:pt x="111" y="134"/>
                  </a:cubicBezTo>
                  <a:cubicBezTo>
                    <a:pt x="113" y="133"/>
                    <a:pt x="113" y="133"/>
                    <a:pt x="113" y="132"/>
                  </a:cubicBezTo>
                  <a:cubicBezTo>
                    <a:pt x="113" y="131"/>
                    <a:pt x="113" y="130"/>
                    <a:pt x="113" y="129"/>
                  </a:cubicBezTo>
                  <a:cubicBezTo>
                    <a:pt x="112" y="127"/>
                    <a:pt x="111" y="128"/>
                    <a:pt x="110" y="127"/>
                  </a:cubicBezTo>
                  <a:cubicBezTo>
                    <a:pt x="109" y="125"/>
                    <a:pt x="109" y="123"/>
                    <a:pt x="111" y="122"/>
                  </a:cubicBezTo>
                  <a:cubicBezTo>
                    <a:pt x="113" y="120"/>
                    <a:pt x="115" y="120"/>
                    <a:pt x="117" y="119"/>
                  </a:cubicBezTo>
                  <a:cubicBezTo>
                    <a:pt x="118" y="118"/>
                    <a:pt x="119" y="116"/>
                    <a:pt x="119" y="114"/>
                  </a:cubicBezTo>
                  <a:cubicBezTo>
                    <a:pt x="120" y="112"/>
                    <a:pt x="120" y="109"/>
                    <a:pt x="123" y="110"/>
                  </a:cubicBezTo>
                  <a:cubicBezTo>
                    <a:pt x="125" y="111"/>
                    <a:pt x="127" y="113"/>
                    <a:pt x="127" y="115"/>
                  </a:cubicBezTo>
                  <a:cubicBezTo>
                    <a:pt x="127" y="116"/>
                    <a:pt x="127" y="117"/>
                    <a:pt x="127" y="118"/>
                  </a:cubicBezTo>
                  <a:cubicBezTo>
                    <a:pt x="127" y="118"/>
                    <a:pt x="127" y="120"/>
                    <a:pt x="127" y="120"/>
                  </a:cubicBezTo>
                  <a:cubicBezTo>
                    <a:pt x="127" y="121"/>
                    <a:pt x="128" y="121"/>
                    <a:pt x="128" y="122"/>
                  </a:cubicBezTo>
                  <a:cubicBezTo>
                    <a:pt x="129" y="123"/>
                    <a:pt x="130" y="124"/>
                    <a:pt x="131" y="125"/>
                  </a:cubicBezTo>
                  <a:cubicBezTo>
                    <a:pt x="132" y="126"/>
                    <a:pt x="133" y="128"/>
                    <a:pt x="134" y="130"/>
                  </a:cubicBezTo>
                  <a:cubicBezTo>
                    <a:pt x="135" y="132"/>
                    <a:pt x="136" y="133"/>
                    <a:pt x="138" y="133"/>
                  </a:cubicBezTo>
                  <a:cubicBezTo>
                    <a:pt x="139" y="134"/>
                    <a:pt x="140" y="134"/>
                    <a:pt x="141" y="134"/>
                  </a:cubicBezTo>
                  <a:cubicBezTo>
                    <a:pt x="142" y="134"/>
                    <a:pt x="142" y="135"/>
                    <a:pt x="142" y="135"/>
                  </a:cubicBezTo>
                  <a:cubicBezTo>
                    <a:pt x="143" y="135"/>
                    <a:pt x="144" y="135"/>
                    <a:pt x="144" y="135"/>
                  </a:cubicBezTo>
                  <a:cubicBezTo>
                    <a:pt x="146" y="135"/>
                    <a:pt x="147" y="136"/>
                    <a:pt x="148" y="137"/>
                  </a:cubicBezTo>
                  <a:cubicBezTo>
                    <a:pt x="149" y="137"/>
                    <a:pt x="149" y="137"/>
                    <a:pt x="150" y="138"/>
                  </a:cubicBezTo>
                  <a:cubicBezTo>
                    <a:pt x="150" y="139"/>
                    <a:pt x="148" y="140"/>
                    <a:pt x="148" y="141"/>
                  </a:cubicBezTo>
                  <a:cubicBezTo>
                    <a:pt x="148" y="141"/>
                    <a:pt x="148" y="142"/>
                    <a:pt x="148" y="142"/>
                  </a:cubicBezTo>
                  <a:cubicBezTo>
                    <a:pt x="148" y="142"/>
                    <a:pt x="147" y="143"/>
                    <a:pt x="147" y="143"/>
                  </a:cubicBezTo>
                  <a:cubicBezTo>
                    <a:pt x="147" y="143"/>
                    <a:pt x="147" y="144"/>
                    <a:pt x="147" y="145"/>
                  </a:cubicBezTo>
                  <a:cubicBezTo>
                    <a:pt x="149" y="145"/>
                    <a:pt x="151" y="145"/>
                    <a:pt x="152" y="147"/>
                  </a:cubicBezTo>
                  <a:cubicBezTo>
                    <a:pt x="153" y="149"/>
                    <a:pt x="153" y="152"/>
                    <a:pt x="153" y="154"/>
                  </a:cubicBezTo>
                  <a:cubicBezTo>
                    <a:pt x="154" y="156"/>
                    <a:pt x="157" y="156"/>
                    <a:pt x="158" y="156"/>
                  </a:cubicBezTo>
                  <a:cubicBezTo>
                    <a:pt x="161" y="157"/>
                    <a:pt x="162" y="156"/>
                    <a:pt x="163" y="153"/>
                  </a:cubicBezTo>
                  <a:cubicBezTo>
                    <a:pt x="163" y="152"/>
                    <a:pt x="164" y="151"/>
                    <a:pt x="162" y="150"/>
                  </a:cubicBezTo>
                  <a:cubicBezTo>
                    <a:pt x="162" y="149"/>
                    <a:pt x="161" y="149"/>
                    <a:pt x="160" y="148"/>
                  </a:cubicBezTo>
                  <a:cubicBezTo>
                    <a:pt x="160" y="148"/>
                    <a:pt x="158" y="148"/>
                    <a:pt x="157" y="147"/>
                  </a:cubicBezTo>
                  <a:cubicBezTo>
                    <a:pt x="157" y="147"/>
                    <a:pt x="157" y="144"/>
                    <a:pt x="157" y="143"/>
                  </a:cubicBezTo>
                  <a:cubicBezTo>
                    <a:pt x="158" y="143"/>
                    <a:pt x="159" y="142"/>
                    <a:pt x="159" y="141"/>
                  </a:cubicBezTo>
                  <a:cubicBezTo>
                    <a:pt x="160" y="140"/>
                    <a:pt x="160" y="140"/>
                    <a:pt x="160" y="139"/>
                  </a:cubicBezTo>
                  <a:cubicBezTo>
                    <a:pt x="161" y="137"/>
                    <a:pt x="163" y="136"/>
                    <a:pt x="163" y="134"/>
                  </a:cubicBezTo>
                  <a:cubicBezTo>
                    <a:pt x="164" y="132"/>
                    <a:pt x="164" y="130"/>
                    <a:pt x="166" y="129"/>
                  </a:cubicBezTo>
                  <a:cubicBezTo>
                    <a:pt x="168" y="128"/>
                    <a:pt x="169" y="127"/>
                    <a:pt x="171" y="126"/>
                  </a:cubicBezTo>
                  <a:cubicBezTo>
                    <a:pt x="171" y="125"/>
                    <a:pt x="171" y="125"/>
                    <a:pt x="172" y="124"/>
                  </a:cubicBezTo>
                  <a:cubicBezTo>
                    <a:pt x="173" y="123"/>
                    <a:pt x="174" y="122"/>
                    <a:pt x="174" y="121"/>
                  </a:cubicBezTo>
                  <a:cubicBezTo>
                    <a:pt x="175" y="120"/>
                    <a:pt x="175" y="118"/>
                    <a:pt x="175" y="117"/>
                  </a:cubicBezTo>
                  <a:cubicBezTo>
                    <a:pt x="174" y="116"/>
                    <a:pt x="174" y="115"/>
                    <a:pt x="173" y="114"/>
                  </a:cubicBezTo>
                  <a:cubicBezTo>
                    <a:pt x="172" y="113"/>
                    <a:pt x="171" y="110"/>
                    <a:pt x="172" y="108"/>
                  </a:cubicBezTo>
                  <a:cubicBezTo>
                    <a:pt x="172" y="108"/>
                    <a:pt x="173" y="107"/>
                    <a:pt x="173" y="106"/>
                  </a:cubicBezTo>
                  <a:cubicBezTo>
                    <a:pt x="174" y="106"/>
                    <a:pt x="175" y="105"/>
                    <a:pt x="175" y="105"/>
                  </a:cubicBezTo>
                  <a:cubicBezTo>
                    <a:pt x="176" y="104"/>
                    <a:pt x="180" y="104"/>
                    <a:pt x="181" y="105"/>
                  </a:cubicBezTo>
                  <a:cubicBezTo>
                    <a:pt x="181" y="105"/>
                    <a:pt x="183" y="107"/>
                    <a:pt x="183" y="107"/>
                  </a:cubicBezTo>
                  <a:cubicBezTo>
                    <a:pt x="184" y="109"/>
                    <a:pt x="184" y="110"/>
                    <a:pt x="185" y="111"/>
                  </a:cubicBezTo>
                  <a:cubicBezTo>
                    <a:pt x="185" y="112"/>
                    <a:pt x="185" y="114"/>
                    <a:pt x="185" y="115"/>
                  </a:cubicBezTo>
                  <a:cubicBezTo>
                    <a:pt x="186" y="117"/>
                    <a:pt x="187" y="117"/>
                    <a:pt x="189" y="117"/>
                  </a:cubicBezTo>
                  <a:cubicBezTo>
                    <a:pt x="190" y="118"/>
                    <a:pt x="192" y="119"/>
                    <a:pt x="194" y="119"/>
                  </a:cubicBezTo>
                  <a:cubicBezTo>
                    <a:pt x="195" y="118"/>
                    <a:pt x="195" y="118"/>
                    <a:pt x="196" y="118"/>
                  </a:cubicBezTo>
                  <a:cubicBezTo>
                    <a:pt x="197" y="118"/>
                    <a:pt x="198" y="118"/>
                    <a:pt x="198" y="118"/>
                  </a:cubicBezTo>
                  <a:cubicBezTo>
                    <a:pt x="199" y="117"/>
                    <a:pt x="199" y="116"/>
                    <a:pt x="200" y="116"/>
                  </a:cubicBezTo>
                  <a:cubicBezTo>
                    <a:pt x="201" y="115"/>
                    <a:pt x="202" y="115"/>
                    <a:pt x="203" y="115"/>
                  </a:cubicBezTo>
                  <a:cubicBezTo>
                    <a:pt x="205" y="115"/>
                    <a:pt x="207" y="115"/>
                    <a:pt x="209" y="115"/>
                  </a:cubicBezTo>
                  <a:cubicBezTo>
                    <a:pt x="210" y="115"/>
                    <a:pt x="212" y="114"/>
                    <a:pt x="213" y="115"/>
                  </a:cubicBezTo>
                  <a:cubicBezTo>
                    <a:pt x="214" y="115"/>
                    <a:pt x="214" y="118"/>
                    <a:pt x="214" y="118"/>
                  </a:cubicBezTo>
                  <a:cubicBezTo>
                    <a:pt x="215" y="119"/>
                    <a:pt x="215" y="120"/>
                    <a:pt x="216" y="121"/>
                  </a:cubicBezTo>
                  <a:cubicBezTo>
                    <a:pt x="218" y="122"/>
                    <a:pt x="220" y="123"/>
                    <a:pt x="223" y="123"/>
                  </a:cubicBezTo>
                  <a:cubicBezTo>
                    <a:pt x="223" y="121"/>
                    <a:pt x="222" y="120"/>
                    <a:pt x="221" y="118"/>
                  </a:cubicBezTo>
                  <a:cubicBezTo>
                    <a:pt x="221" y="117"/>
                    <a:pt x="220" y="117"/>
                    <a:pt x="220" y="116"/>
                  </a:cubicBezTo>
                  <a:cubicBezTo>
                    <a:pt x="221" y="115"/>
                    <a:pt x="221" y="115"/>
                    <a:pt x="222" y="114"/>
                  </a:cubicBezTo>
                  <a:cubicBezTo>
                    <a:pt x="222" y="113"/>
                    <a:pt x="224" y="110"/>
                    <a:pt x="222" y="109"/>
                  </a:cubicBezTo>
                  <a:cubicBezTo>
                    <a:pt x="221" y="108"/>
                    <a:pt x="219" y="109"/>
                    <a:pt x="217" y="109"/>
                  </a:cubicBezTo>
                  <a:cubicBezTo>
                    <a:pt x="217" y="107"/>
                    <a:pt x="217" y="105"/>
                    <a:pt x="217" y="104"/>
                  </a:cubicBezTo>
                  <a:cubicBezTo>
                    <a:pt x="217" y="102"/>
                    <a:pt x="217" y="101"/>
                    <a:pt x="218" y="99"/>
                  </a:cubicBezTo>
                  <a:cubicBezTo>
                    <a:pt x="218" y="98"/>
                    <a:pt x="219" y="97"/>
                    <a:pt x="220" y="97"/>
                  </a:cubicBezTo>
                  <a:cubicBezTo>
                    <a:pt x="222" y="96"/>
                    <a:pt x="223" y="96"/>
                    <a:pt x="224" y="95"/>
                  </a:cubicBezTo>
                  <a:cubicBezTo>
                    <a:pt x="225" y="95"/>
                    <a:pt x="225" y="94"/>
                    <a:pt x="226" y="94"/>
                  </a:cubicBezTo>
                  <a:cubicBezTo>
                    <a:pt x="229" y="94"/>
                    <a:pt x="229" y="97"/>
                    <a:pt x="231" y="98"/>
                  </a:cubicBezTo>
                  <a:cubicBezTo>
                    <a:pt x="232" y="99"/>
                    <a:pt x="234" y="99"/>
                    <a:pt x="236" y="98"/>
                  </a:cubicBezTo>
                  <a:cubicBezTo>
                    <a:pt x="237" y="98"/>
                    <a:pt x="239" y="97"/>
                    <a:pt x="240" y="97"/>
                  </a:cubicBezTo>
                  <a:cubicBezTo>
                    <a:pt x="240" y="96"/>
                    <a:pt x="241" y="93"/>
                    <a:pt x="241" y="93"/>
                  </a:cubicBezTo>
                  <a:cubicBezTo>
                    <a:pt x="240" y="92"/>
                    <a:pt x="239" y="92"/>
                    <a:pt x="239" y="92"/>
                  </a:cubicBezTo>
                  <a:cubicBezTo>
                    <a:pt x="238" y="92"/>
                    <a:pt x="238" y="91"/>
                    <a:pt x="238" y="91"/>
                  </a:cubicBezTo>
                  <a:cubicBezTo>
                    <a:pt x="237" y="90"/>
                    <a:pt x="236" y="90"/>
                    <a:pt x="236" y="89"/>
                  </a:cubicBezTo>
                  <a:cubicBezTo>
                    <a:pt x="235" y="85"/>
                    <a:pt x="237" y="84"/>
                    <a:pt x="239" y="82"/>
                  </a:cubicBezTo>
                  <a:cubicBezTo>
                    <a:pt x="240" y="80"/>
                    <a:pt x="240" y="78"/>
                    <a:pt x="241" y="77"/>
                  </a:cubicBezTo>
                  <a:cubicBezTo>
                    <a:pt x="242" y="74"/>
                    <a:pt x="241" y="73"/>
                    <a:pt x="240" y="7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1" name="Line 12">
              <a:extLst>
                <a:ext uri="{FF2B5EF4-FFF2-40B4-BE49-F238E27FC236}">
                  <a16:creationId xmlns:a16="http://schemas.microsoft.com/office/drawing/2014/main" id="{EED619F1-42B9-469B-82D7-58C52BCECE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2" name="Line 13">
              <a:extLst>
                <a:ext uri="{FF2B5EF4-FFF2-40B4-BE49-F238E27FC236}">
                  <a16:creationId xmlns:a16="http://schemas.microsoft.com/office/drawing/2014/main" id="{3451879D-E216-49CE-809C-B74193E510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3" name="Freeform 14">
              <a:extLst>
                <a:ext uri="{FF2B5EF4-FFF2-40B4-BE49-F238E27FC236}">
                  <a16:creationId xmlns:a16="http://schemas.microsoft.com/office/drawing/2014/main" id="{133AFCF9-1CE1-4CCE-BBEB-00725F30C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725" y="4695825"/>
              <a:ext cx="779463" cy="398463"/>
            </a:xfrm>
            <a:custGeom>
              <a:avLst/>
              <a:gdLst/>
              <a:ahLst/>
              <a:cxnLst>
                <a:cxn ang="0">
                  <a:pos x="412" y="70"/>
                </a:cxn>
                <a:cxn ang="0">
                  <a:pos x="405" y="46"/>
                </a:cxn>
                <a:cxn ang="0">
                  <a:pos x="411" y="26"/>
                </a:cxn>
                <a:cxn ang="0">
                  <a:pos x="395" y="20"/>
                </a:cxn>
                <a:cxn ang="0">
                  <a:pos x="370" y="21"/>
                </a:cxn>
                <a:cxn ang="0">
                  <a:pos x="347" y="12"/>
                </a:cxn>
                <a:cxn ang="0">
                  <a:pos x="321" y="1"/>
                </a:cxn>
                <a:cxn ang="0">
                  <a:pos x="305" y="8"/>
                </a:cxn>
                <a:cxn ang="0">
                  <a:pos x="294" y="24"/>
                </a:cxn>
                <a:cxn ang="0">
                  <a:pos x="282" y="33"/>
                </a:cxn>
                <a:cxn ang="0">
                  <a:pos x="266" y="35"/>
                </a:cxn>
                <a:cxn ang="0">
                  <a:pos x="254" y="26"/>
                </a:cxn>
                <a:cxn ang="0">
                  <a:pos x="245" y="21"/>
                </a:cxn>
                <a:cxn ang="0">
                  <a:pos x="241" y="37"/>
                </a:cxn>
                <a:cxn ang="0">
                  <a:pos x="224" y="43"/>
                </a:cxn>
                <a:cxn ang="0">
                  <a:pos x="222" y="53"/>
                </a:cxn>
                <a:cxn ang="0">
                  <a:pos x="191" y="65"/>
                </a:cxn>
                <a:cxn ang="0">
                  <a:pos x="187" y="83"/>
                </a:cxn>
                <a:cxn ang="0">
                  <a:pos x="196" y="93"/>
                </a:cxn>
                <a:cxn ang="0">
                  <a:pos x="193" y="108"/>
                </a:cxn>
                <a:cxn ang="0">
                  <a:pos x="192" y="124"/>
                </a:cxn>
                <a:cxn ang="0">
                  <a:pos x="179" y="112"/>
                </a:cxn>
                <a:cxn ang="0">
                  <a:pos x="151" y="111"/>
                </a:cxn>
                <a:cxn ang="0">
                  <a:pos x="129" y="118"/>
                </a:cxn>
                <a:cxn ang="0">
                  <a:pos x="108" y="132"/>
                </a:cxn>
                <a:cxn ang="0">
                  <a:pos x="79" y="128"/>
                </a:cxn>
                <a:cxn ang="0">
                  <a:pos x="56" y="138"/>
                </a:cxn>
                <a:cxn ang="0">
                  <a:pos x="38" y="130"/>
                </a:cxn>
                <a:cxn ang="0">
                  <a:pos x="14" y="124"/>
                </a:cxn>
                <a:cxn ang="0">
                  <a:pos x="12" y="141"/>
                </a:cxn>
                <a:cxn ang="0">
                  <a:pos x="5" y="154"/>
                </a:cxn>
                <a:cxn ang="0">
                  <a:pos x="16" y="164"/>
                </a:cxn>
                <a:cxn ang="0">
                  <a:pos x="30" y="173"/>
                </a:cxn>
                <a:cxn ang="0">
                  <a:pos x="51" y="166"/>
                </a:cxn>
                <a:cxn ang="0">
                  <a:pos x="70" y="178"/>
                </a:cxn>
                <a:cxn ang="0">
                  <a:pos x="82" y="185"/>
                </a:cxn>
                <a:cxn ang="0">
                  <a:pos x="95" y="168"/>
                </a:cxn>
                <a:cxn ang="0">
                  <a:pos x="127" y="167"/>
                </a:cxn>
                <a:cxn ang="0">
                  <a:pos x="147" y="165"/>
                </a:cxn>
                <a:cxn ang="0">
                  <a:pos x="160" y="186"/>
                </a:cxn>
                <a:cxn ang="0">
                  <a:pos x="197" y="198"/>
                </a:cxn>
                <a:cxn ang="0">
                  <a:pos x="236" y="203"/>
                </a:cxn>
                <a:cxn ang="0">
                  <a:pos x="254" y="208"/>
                </a:cxn>
                <a:cxn ang="0">
                  <a:pos x="276" y="213"/>
                </a:cxn>
                <a:cxn ang="0">
                  <a:pos x="289" y="200"/>
                </a:cxn>
                <a:cxn ang="0">
                  <a:pos x="312" y="193"/>
                </a:cxn>
                <a:cxn ang="0">
                  <a:pos x="330" y="187"/>
                </a:cxn>
                <a:cxn ang="0">
                  <a:pos x="352" y="187"/>
                </a:cxn>
                <a:cxn ang="0">
                  <a:pos x="368" y="166"/>
                </a:cxn>
                <a:cxn ang="0">
                  <a:pos x="380" y="154"/>
                </a:cxn>
                <a:cxn ang="0">
                  <a:pos x="381" y="141"/>
                </a:cxn>
                <a:cxn ang="0">
                  <a:pos x="388" y="124"/>
                </a:cxn>
                <a:cxn ang="0">
                  <a:pos x="383" y="112"/>
                </a:cxn>
                <a:cxn ang="0">
                  <a:pos x="395" y="108"/>
                </a:cxn>
                <a:cxn ang="0">
                  <a:pos x="410" y="96"/>
                </a:cxn>
              </a:cxnLst>
              <a:rect l="0" t="0" r="r" b="b"/>
              <a:pathLst>
                <a:path w="417" h="213">
                  <a:moveTo>
                    <a:pt x="416" y="79"/>
                  </a:moveTo>
                  <a:cubicBezTo>
                    <a:pt x="415" y="77"/>
                    <a:pt x="415" y="76"/>
                    <a:pt x="415" y="75"/>
                  </a:cubicBezTo>
                  <a:cubicBezTo>
                    <a:pt x="415" y="75"/>
                    <a:pt x="414" y="75"/>
                    <a:pt x="414" y="74"/>
                  </a:cubicBezTo>
                  <a:cubicBezTo>
                    <a:pt x="414" y="74"/>
                    <a:pt x="414" y="74"/>
                    <a:pt x="414" y="73"/>
                  </a:cubicBezTo>
                  <a:cubicBezTo>
                    <a:pt x="414" y="73"/>
                    <a:pt x="414" y="72"/>
                    <a:pt x="413" y="71"/>
                  </a:cubicBezTo>
                  <a:cubicBezTo>
                    <a:pt x="413" y="71"/>
                    <a:pt x="412" y="71"/>
                    <a:pt x="412" y="70"/>
                  </a:cubicBezTo>
                  <a:cubicBezTo>
                    <a:pt x="411" y="69"/>
                    <a:pt x="410" y="67"/>
                    <a:pt x="410" y="66"/>
                  </a:cubicBezTo>
                  <a:cubicBezTo>
                    <a:pt x="409" y="63"/>
                    <a:pt x="410" y="60"/>
                    <a:pt x="409" y="57"/>
                  </a:cubicBezTo>
                  <a:cubicBezTo>
                    <a:pt x="409" y="56"/>
                    <a:pt x="409" y="55"/>
                    <a:pt x="408" y="54"/>
                  </a:cubicBezTo>
                  <a:cubicBezTo>
                    <a:pt x="408" y="54"/>
                    <a:pt x="407" y="53"/>
                    <a:pt x="406" y="53"/>
                  </a:cubicBezTo>
                  <a:cubicBezTo>
                    <a:pt x="406" y="52"/>
                    <a:pt x="405" y="50"/>
                    <a:pt x="405" y="49"/>
                  </a:cubicBezTo>
                  <a:cubicBezTo>
                    <a:pt x="404" y="48"/>
                    <a:pt x="405" y="47"/>
                    <a:pt x="405" y="46"/>
                  </a:cubicBezTo>
                  <a:cubicBezTo>
                    <a:pt x="406" y="44"/>
                    <a:pt x="407" y="42"/>
                    <a:pt x="408" y="41"/>
                  </a:cubicBezTo>
                  <a:cubicBezTo>
                    <a:pt x="409" y="40"/>
                    <a:pt x="410" y="39"/>
                    <a:pt x="410" y="38"/>
                  </a:cubicBezTo>
                  <a:cubicBezTo>
                    <a:pt x="411" y="37"/>
                    <a:pt x="412" y="35"/>
                    <a:pt x="412" y="33"/>
                  </a:cubicBezTo>
                  <a:cubicBezTo>
                    <a:pt x="412" y="32"/>
                    <a:pt x="412" y="30"/>
                    <a:pt x="412" y="29"/>
                  </a:cubicBezTo>
                  <a:cubicBezTo>
                    <a:pt x="412" y="28"/>
                    <a:pt x="411" y="27"/>
                    <a:pt x="411" y="26"/>
                  </a:cubicBezTo>
                  <a:cubicBezTo>
                    <a:pt x="411" y="26"/>
                    <a:pt x="411" y="26"/>
                    <a:pt x="411" y="26"/>
                  </a:cubicBezTo>
                  <a:cubicBezTo>
                    <a:pt x="411" y="26"/>
                    <a:pt x="411" y="26"/>
                    <a:pt x="410" y="26"/>
                  </a:cubicBezTo>
                  <a:cubicBezTo>
                    <a:pt x="410" y="26"/>
                    <a:pt x="410" y="25"/>
                    <a:pt x="409" y="25"/>
                  </a:cubicBezTo>
                  <a:cubicBezTo>
                    <a:pt x="409" y="25"/>
                    <a:pt x="409" y="24"/>
                    <a:pt x="408" y="24"/>
                  </a:cubicBezTo>
                  <a:cubicBezTo>
                    <a:pt x="407" y="23"/>
                    <a:pt x="405" y="23"/>
                    <a:pt x="404" y="23"/>
                  </a:cubicBezTo>
                  <a:cubicBezTo>
                    <a:pt x="402" y="23"/>
                    <a:pt x="396" y="25"/>
                    <a:pt x="395" y="22"/>
                  </a:cubicBezTo>
                  <a:cubicBezTo>
                    <a:pt x="395" y="22"/>
                    <a:pt x="395" y="21"/>
                    <a:pt x="395" y="20"/>
                  </a:cubicBezTo>
                  <a:cubicBezTo>
                    <a:pt x="394" y="19"/>
                    <a:pt x="394" y="19"/>
                    <a:pt x="393" y="18"/>
                  </a:cubicBezTo>
                  <a:cubicBezTo>
                    <a:pt x="392" y="17"/>
                    <a:pt x="390" y="18"/>
                    <a:pt x="389" y="16"/>
                  </a:cubicBezTo>
                  <a:cubicBezTo>
                    <a:pt x="388" y="15"/>
                    <a:pt x="387" y="14"/>
                    <a:pt x="385" y="15"/>
                  </a:cubicBezTo>
                  <a:cubicBezTo>
                    <a:pt x="383" y="15"/>
                    <a:pt x="384" y="17"/>
                    <a:pt x="383" y="19"/>
                  </a:cubicBezTo>
                  <a:cubicBezTo>
                    <a:pt x="382" y="20"/>
                    <a:pt x="380" y="21"/>
                    <a:pt x="379" y="21"/>
                  </a:cubicBezTo>
                  <a:cubicBezTo>
                    <a:pt x="376" y="22"/>
                    <a:pt x="373" y="21"/>
                    <a:pt x="370" y="21"/>
                  </a:cubicBezTo>
                  <a:cubicBezTo>
                    <a:pt x="368" y="21"/>
                    <a:pt x="367" y="21"/>
                    <a:pt x="365" y="20"/>
                  </a:cubicBezTo>
                  <a:cubicBezTo>
                    <a:pt x="362" y="19"/>
                    <a:pt x="359" y="18"/>
                    <a:pt x="357" y="17"/>
                  </a:cubicBezTo>
                  <a:cubicBezTo>
                    <a:pt x="355" y="16"/>
                    <a:pt x="356" y="14"/>
                    <a:pt x="355" y="13"/>
                  </a:cubicBezTo>
                  <a:cubicBezTo>
                    <a:pt x="354" y="11"/>
                    <a:pt x="353" y="10"/>
                    <a:pt x="351" y="11"/>
                  </a:cubicBezTo>
                  <a:cubicBezTo>
                    <a:pt x="350" y="11"/>
                    <a:pt x="350" y="11"/>
                    <a:pt x="349" y="12"/>
                  </a:cubicBezTo>
                  <a:cubicBezTo>
                    <a:pt x="348" y="12"/>
                    <a:pt x="347" y="12"/>
                    <a:pt x="347" y="12"/>
                  </a:cubicBezTo>
                  <a:cubicBezTo>
                    <a:pt x="345" y="12"/>
                    <a:pt x="343" y="12"/>
                    <a:pt x="342" y="12"/>
                  </a:cubicBezTo>
                  <a:cubicBezTo>
                    <a:pt x="341" y="11"/>
                    <a:pt x="341" y="10"/>
                    <a:pt x="340" y="9"/>
                  </a:cubicBezTo>
                  <a:cubicBezTo>
                    <a:pt x="338" y="7"/>
                    <a:pt x="334" y="6"/>
                    <a:pt x="332" y="5"/>
                  </a:cubicBezTo>
                  <a:cubicBezTo>
                    <a:pt x="330" y="4"/>
                    <a:pt x="329" y="4"/>
                    <a:pt x="327" y="3"/>
                  </a:cubicBezTo>
                  <a:cubicBezTo>
                    <a:pt x="327" y="3"/>
                    <a:pt x="326" y="2"/>
                    <a:pt x="326" y="2"/>
                  </a:cubicBezTo>
                  <a:cubicBezTo>
                    <a:pt x="326" y="0"/>
                    <a:pt x="322" y="0"/>
                    <a:pt x="321" y="1"/>
                  </a:cubicBezTo>
                  <a:cubicBezTo>
                    <a:pt x="321" y="2"/>
                    <a:pt x="322" y="4"/>
                    <a:pt x="320" y="4"/>
                  </a:cubicBezTo>
                  <a:cubicBezTo>
                    <a:pt x="318" y="5"/>
                    <a:pt x="316" y="5"/>
                    <a:pt x="314" y="3"/>
                  </a:cubicBezTo>
                  <a:cubicBezTo>
                    <a:pt x="313" y="2"/>
                    <a:pt x="314" y="0"/>
                    <a:pt x="312" y="0"/>
                  </a:cubicBezTo>
                  <a:cubicBezTo>
                    <a:pt x="311" y="0"/>
                    <a:pt x="310" y="0"/>
                    <a:pt x="309" y="0"/>
                  </a:cubicBezTo>
                  <a:cubicBezTo>
                    <a:pt x="308" y="0"/>
                    <a:pt x="308" y="0"/>
                    <a:pt x="308" y="1"/>
                  </a:cubicBezTo>
                  <a:cubicBezTo>
                    <a:pt x="307" y="3"/>
                    <a:pt x="305" y="5"/>
                    <a:pt x="305" y="8"/>
                  </a:cubicBezTo>
                  <a:cubicBezTo>
                    <a:pt x="305" y="9"/>
                    <a:pt x="304" y="11"/>
                    <a:pt x="305" y="13"/>
                  </a:cubicBezTo>
                  <a:cubicBezTo>
                    <a:pt x="305" y="15"/>
                    <a:pt x="306" y="16"/>
                    <a:pt x="306" y="17"/>
                  </a:cubicBezTo>
                  <a:cubicBezTo>
                    <a:pt x="305" y="19"/>
                    <a:pt x="303" y="19"/>
                    <a:pt x="302" y="18"/>
                  </a:cubicBezTo>
                  <a:cubicBezTo>
                    <a:pt x="300" y="17"/>
                    <a:pt x="298" y="17"/>
                    <a:pt x="297" y="18"/>
                  </a:cubicBezTo>
                  <a:cubicBezTo>
                    <a:pt x="297" y="18"/>
                    <a:pt x="297" y="20"/>
                    <a:pt x="296" y="20"/>
                  </a:cubicBezTo>
                  <a:cubicBezTo>
                    <a:pt x="296" y="22"/>
                    <a:pt x="294" y="22"/>
                    <a:pt x="294" y="24"/>
                  </a:cubicBezTo>
                  <a:cubicBezTo>
                    <a:pt x="293" y="27"/>
                    <a:pt x="293" y="30"/>
                    <a:pt x="291" y="32"/>
                  </a:cubicBezTo>
                  <a:cubicBezTo>
                    <a:pt x="290" y="33"/>
                    <a:pt x="289" y="34"/>
                    <a:pt x="288" y="34"/>
                  </a:cubicBezTo>
                  <a:cubicBezTo>
                    <a:pt x="287" y="34"/>
                    <a:pt x="286" y="34"/>
                    <a:pt x="286" y="34"/>
                  </a:cubicBezTo>
                  <a:cubicBezTo>
                    <a:pt x="285" y="34"/>
                    <a:pt x="284" y="35"/>
                    <a:pt x="284" y="34"/>
                  </a:cubicBezTo>
                  <a:cubicBezTo>
                    <a:pt x="283" y="34"/>
                    <a:pt x="283" y="34"/>
                    <a:pt x="283" y="34"/>
                  </a:cubicBezTo>
                  <a:cubicBezTo>
                    <a:pt x="283" y="33"/>
                    <a:pt x="282" y="33"/>
                    <a:pt x="282" y="33"/>
                  </a:cubicBezTo>
                  <a:cubicBezTo>
                    <a:pt x="281" y="32"/>
                    <a:pt x="281" y="32"/>
                    <a:pt x="281" y="31"/>
                  </a:cubicBezTo>
                  <a:cubicBezTo>
                    <a:pt x="280" y="30"/>
                    <a:pt x="279" y="29"/>
                    <a:pt x="278" y="29"/>
                  </a:cubicBezTo>
                  <a:cubicBezTo>
                    <a:pt x="275" y="29"/>
                    <a:pt x="275" y="33"/>
                    <a:pt x="274" y="34"/>
                  </a:cubicBezTo>
                  <a:cubicBezTo>
                    <a:pt x="274" y="34"/>
                    <a:pt x="273" y="34"/>
                    <a:pt x="272" y="34"/>
                  </a:cubicBezTo>
                  <a:cubicBezTo>
                    <a:pt x="271" y="34"/>
                    <a:pt x="270" y="35"/>
                    <a:pt x="269" y="35"/>
                  </a:cubicBezTo>
                  <a:cubicBezTo>
                    <a:pt x="268" y="35"/>
                    <a:pt x="267" y="35"/>
                    <a:pt x="266" y="35"/>
                  </a:cubicBezTo>
                  <a:cubicBezTo>
                    <a:pt x="265" y="35"/>
                    <a:pt x="264" y="35"/>
                    <a:pt x="263" y="35"/>
                  </a:cubicBezTo>
                  <a:cubicBezTo>
                    <a:pt x="263" y="35"/>
                    <a:pt x="263" y="35"/>
                    <a:pt x="262" y="35"/>
                  </a:cubicBezTo>
                  <a:cubicBezTo>
                    <a:pt x="261" y="34"/>
                    <a:pt x="260" y="35"/>
                    <a:pt x="259" y="34"/>
                  </a:cubicBezTo>
                  <a:cubicBezTo>
                    <a:pt x="259" y="34"/>
                    <a:pt x="257" y="33"/>
                    <a:pt x="257" y="32"/>
                  </a:cubicBezTo>
                  <a:cubicBezTo>
                    <a:pt x="256" y="31"/>
                    <a:pt x="256" y="30"/>
                    <a:pt x="256" y="29"/>
                  </a:cubicBezTo>
                  <a:cubicBezTo>
                    <a:pt x="256" y="28"/>
                    <a:pt x="256" y="26"/>
                    <a:pt x="254" y="26"/>
                  </a:cubicBezTo>
                  <a:cubicBezTo>
                    <a:pt x="254" y="25"/>
                    <a:pt x="253" y="24"/>
                    <a:pt x="252" y="23"/>
                  </a:cubicBezTo>
                  <a:cubicBezTo>
                    <a:pt x="252" y="23"/>
                    <a:pt x="251" y="22"/>
                    <a:pt x="250" y="21"/>
                  </a:cubicBezTo>
                  <a:cubicBezTo>
                    <a:pt x="249" y="20"/>
                    <a:pt x="247" y="20"/>
                    <a:pt x="246" y="19"/>
                  </a:cubicBezTo>
                  <a:cubicBezTo>
                    <a:pt x="245" y="19"/>
                    <a:pt x="245" y="18"/>
                    <a:pt x="244" y="18"/>
                  </a:cubicBezTo>
                  <a:cubicBezTo>
                    <a:pt x="244" y="19"/>
                    <a:pt x="244" y="19"/>
                    <a:pt x="244" y="19"/>
                  </a:cubicBezTo>
                  <a:cubicBezTo>
                    <a:pt x="244" y="20"/>
                    <a:pt x="245" y="21"/>
                    <a:pt x="245" y="21"/>
                  </a:cubicBezTo>
                  <a:cubicBezTo>
                    <a:pt x="245" y="21"/>
                    <a:pt x="244" y="21"/>
                    <a:pt x="244" y="22"/>
                  </a:cubicBezTo>
                  <a:cubicBezTo>
                    <a:pt x="244" y="22"/>
                    <a:pt x="244" y="23"/>
                    <a:pt x="244" y="24"/>
                  </a:cubicBezTo>
                  <a:cubicBezTo>
                    <a:pt x="244" y="25"/>
                    <a:pt x="243" y="25"/>
                    <a:pt x="243" y="26"/>
                  </a:cubicBezTo>
                  <a:cubicBezTo>
                    <a:pt x="243" y="27"/>
                    <a:pt x="243" y="29"/>
                    <a:pt x="243" y="30"/>
                  </a:cubicBezTo>
                  <a:cubicBezTo>
                    <a:pt x="243" y="32"/>
                    <a:pt x="242" y="33"/>
                    <a:pt x="242" y="34"/>
                  </a:cubicBezTo>
                  <a:cubicBezTo>
                    <a:pt x="242" y="35"/>
                    <a:pt x="242" y="36"/>
                    <a:pt x="241" y="37"/>
                  </a:cubicBezTo>
                  <a:cubicBezTo>
                    <a:pt x="241" y="38"/>
                    <a:pt x="240" y="40"/>
                    <a:pt x="239" y="41"/>
                  </a:cubicBezTo>
                  <a:cubicBezTo>
                    <a:pt x="238" y="42"/>
                    <a:pt x="232" y="41"/>
                    <a:pt x="231" y="40"/>
                  </a:cubicBezTo>
                  <a:cubicBezTo>
                    <a:pt x="230" y="39"/>
                    <a:pt x="230" y="38"/>
                    <a:pt x="229" y="38"/>
                  </a:cubicBezTo>
                  <a:cubicBezTo>
                    <a:pt x="228" y="38"/>
                    <a:pt x="227" y="38"/>
                    <a:pt x="226" y="38"/>
                  </a:cubicBezTo>
                  <a:cubicBezTo>
                    <a:pt x="226" y="38"/>
                    <a:pt x="225" y="40"/>
                    <a:pt x="225" y="41"/>
                  </a:cubicBezTo>
                  <a:cubicBezTo>
                    <a:pt x="224" y="41"/>
                    <a:pt x="224" y="42"/>
                    <a:pt x="224" y="43"/>
                  </a:cubicBezTo>
                  <a:cubicBezTo>
                    <a:pt x="223" y="44"/>
                    <a:pt x="224" y="45"/>
                    <a:pt x="224" y="46"/>
                  </a:cubicBezTo>
                  <a:cubicBezTo>
                    <a:pt x="223" y="46"/>
                    <a:pt x="223" y="47"/>
                    <a:pt x="223" y="48"/>
                  </a:cubicBezTo>
                  <a:cubicBezTo>
                    <a:pt x="223" y="48"/>
                    <a:pt x="223" y="48"/>
                    <a:pt x="223" y="47"/>
                  </a:cubicBezTo>
                  <a:cubicBezTo>
                    <a:pt x="223" y="48"/>
                    <a:pt x="223" y="49"/>
                    <a:pt x="223" y="50"/>
                  </a:cubicBezTo>
                  <a:cubicBezTo>
                    <a:pt x="222" y="50"/>
                    <a:pt x="222" y="51"/>
                    <a:pt x="222" y="52"/>
                  </a:cubicBezTo>
                  <a:cubicBezTo>
                    <a:pt x="222" y="52"/>
                    <a:pt x="222" y="53"/>
                    <a:pt x="222" y="53"/>
                  </a:cubicBezTo>
                  <a:cubicBezTo>
                    <a:pt x="222" y="54"/>
                    <a:pt x="222" y="54"/>
                    <a:pt x="221" y="55"/>
                  </a:cubicBezTo>
                  <a:cubicBezTo>
                    <a:pt x="221" y="56"/>
                    <a:pt x="220" y="56"/>
                    <a:pt x="219" y="57"/>
                  </a:cubicBezTo>
                  <a:cubicBezTo>
                    <a:pt x="216" y="59"/>
                    <a:pt x="212" y="59"/>
                    <a:pt x="208" y="59"/>
                  </a:cubicBezTo>
                  <a:cubicBezTo>
                    <a:pt x="206" y="59"/>
                    <a:pt x="204" y="60"/>
                    <a:pt x="202" y="61"/>
                  </a:cubicBezTo>
                  <a:cubicBezTo>
                    <a:pt x="200" y="62"/>
                    <a:pt x="198" y="63"/>
                    <a:pt x="196" y="63"/>
                  </a:cubicBezTo>
                  <a:cubicBezTo>
                    <a:pt x="194" y="63"/>
                    <a:pt x="192" y="64"/>
                    <a:pt x="191" y="65"/>
                  </a:cubicBezTo>
                  <a:cubicBezTo>
                    <a:pt x="190" y="66"/>
                    <a:pt x="189" y="67"/>
                    <a:pt x="189" y="67"/>
                  </a:cubicBezTo>
                  <a:cubicBezTo>
                    <a:pt x="188" y="68"/>
                    <a:pt x="187" y="68"/>
                    <a:pt x="186" y="68"/>
                  </a:cubicBezTo>
                  <a:cubicBezTo>
                    <a:pt x="185" y="69"/>
                    <a:pt x="186" y="70"/>
                    <a:pt x="186" y="71"/>
                  </a:cubicBezTo>
                  <a:cubicBezTo>
                    <a:pt x="186" y="72"/>
                    <a:pt x="186" y="73"/>
                    <a:pt x="186" y="74"/>
                  </a:cubicBezTo>
                  <a:cubicBezTo>
                    <a:pt x="186" y="74"/>
                    <a:pt x="186" y="74"/>
                    <a:pt x="187" y="75"/>
                  </a:cubicBezTo>
                  <a:cubicBezTo>
                    <a:pt x="187" y="77"/>
                    <a:pt x="187" y="80"/>
                    <a:pt x="187" y="83"/>
                  </a:cubicBezTo>
                  <a:cubicBezTo>
                    <a:pt x="187" y="84"/>
                    <a:pt x="188" y="85"/>
                    <a:pt x="188" y="85"/>
                  </a:cubicBezTo>
                  <a:cubicBezTo>
                    <a:pt x="189" y="86"/>
                    <a:pt x="189" y="86"/>
                    <a:pt x="189" y="86"/>
                  </a:cubicBezTo>
                  <a:cubicBezTo>
                    <a:pt x="190" y="87"/>
                    <a:pt x="190" y="88"/>
                    <a:pt x="190" y="88"/>
                  </a:cubicBezTo>
                  <a:cubicBezTo>
                    <a:pt x="190" y="88"/>
                    <a:pt x="191" y="88"/>
                    <a:pt x="192" y="89"/>
                  </a:cubicBezTo>
                  <a:cubicBezTo>
                    <a:pt x="192" y="89"/>
                    <a:pt x="193" y="90"/>
                    <a:pt x="193" y="90"/>
                  </a:cubicBezTo>
                  <a:cubicBezTo>
                    <a:pt x="194" y="91"/>
                    <a:pt x="195" y="92"/>
                    <a:pt x="196" y="93"/>
                  </a:cubicBezTo>
                  <a:cubicBezTo>
                    <a:pt x="197" y="94"/>
                    <a:pt x="196" y="96"/>
                    <a:pt x="196" y="98"/>
                  </a:cubicBezTo>
                  <a:cubicBezTo>
                    <a:pt x="195" y="99"/>
                    <a:pt x="195" y="100"/>
                    <a:pt x="194" y="100"/>
                  </a:cubicBezTo>
                  <a:cubicBezTo>
                    <a:pt x="193" y="101"/>
                    <a:pt x="192" y="101"/>
                    <a:pt x="192" y="102"/>
                  </a:cubicBezTo>
                  <a:cubicBezTo>
                    <a:pt x="192" y="103"/>
                    <a:pt x="191" y="104"/>
                    <a:pt x="191" y="105"/>
                  </a:cubicBezTo>
                  <a:cubicBezTo>
                    <a:pt x="191" y="105"/>
                    <a:pt x="192" y="105"/>
                    <a:pt x="192" y="106"/>
                  </a:cubicBezTo>
                  <a:cubicBezTo>
                    <a:pt x="192" y="107"/>
                    <a:pt x="192" y="107"/>
                    <a:pt x="193" y="108"/>
                  </a:cubicBezTo>
                  <a:cubicBezTo>
                    <a:pt x="195" y="110"/>
                    <a:pt x="197" y="110"/>
                    <a:pt x="199" y="111"/>
                  </a:cubicBezTo>
                  <a:cubicBezTo>
                    <a:pt x="202" y="112"/>
                    <a:pt x="200" y="115"/>
                    <a:pt x="199" y="116"/>
                  </a:cubicBezTo>
                  <a:cubicBezTo>
                    <a:pt x="199" y="117"/>
                    <a:pt x="199" y="118"/>
                    <a:pt x="199" y="119"/>
                  </a:cubicBezTo>
                  <a:cubicBezTo>
                    <a:pt x="199" y="120"/>
                    <a:pt x="199" y="121"/>
                    <a:pt x="198" y="122"/>
                  </a:cubicBezTo>
                  <a:cubicBezTo>
                    <a:pt x="197" y="123"/>
                    <a:pt x="197" y="123"/>
                    <a:pt x="196" y="124"/>
                  </a:cubicBezTo>
                  <a:cubicBezTo>
                    <a:pt x="195" y="124"/>
                    <a:pt x="193" y="124"/>
                    <a:pt x="192" y="124"/>
                  </a:cubicBezTo>
                  <a:cubicBezTo>
                    <a:pt x="191" y="124"/>
                    <a:pt x="191" y="123"/>
                    <a:pt x="190" y="123"/>
                  </a:cubicBezTo>
                  <a:cubicBezTo>
                    <a:pt x="189" y="123"/>
                    <a:pt x="187" y="124"/>
                    <a:pt x="186" y="122"/>
                  </a:cubicBezTo>
                  <a:cubicBezTo>
                    <a:pt x="186" y="122"/>
                    <a:pt x="186" y="121"/>
                    <a:pt x="186" y="121"/>
                  </a:cubicBezTo>
                  <a:cubicBezTo>
                    <a:pt x="186" y="120"/>
                    <a:pt x="185" y="118"/>
                    <a:pt x="184" y="117"/>
                  </a:cubicBezTo>
                  <a:cubicBezTo>
                    <a:pt x="183" y="116"/>
                    <a:pt x="182" y="114"/>
                    <a:pt x="181" y="113"/>
                  </a:cubicBezTo>
                  <a:cubicBezTo>
                    <a:pt x="180" y="113"/>
                    <a:pt x="181" y="113"/>
                    <a:pt x="179" y="112"/>
                  </a:cubicBezTo>
                  <a:cubicBezTo>
                    <a:pt x="177" y="112"/>
                    <a:pt x="175" y="114"/>
                    <a:pt x="172" y="114"/>
                  </a:cubicBezTo>
                  <a:cubicBezTo>
                    <a:pt x="171" y="114"/>
                    <a:pt x="168" y="115"/>
                    <a:pt x="167" y="114"/>
                  </a:cubicBezTo>
                  <a:cubicBezTo>
                    <a:pt x="166" y="113"/>
                    <a:pt x="166" y="112"/>
                    <a:pt x="165" y="111"/>
                  </a:cubicBezTo>
                  <a:cubicBezTo>
                    <a:pt x="164" y="111"/>
                    <a:pt x="161" y="110"/>
                    <a:pt x="160" y="110"/>
                  </a:cubicBezTo>
                  <a:cubicBezTo>
                    <a:pt x="158" y="110"/>
                    <a:pt x="156" y="110"/>
                    <a:pt x="154" y="110"/>
                  </a:cubicBezTo>
                  <a:cubicBezTo>
                    <a:pt x="153" y="110"/>
                    <a:pt x="151" y="110"/>
                    <a:pt x="151" y="111"/>
                  </a:cubicBezTo>
                  <a:cubicBezTo>
                    <a:pt x="150" y="114"/>
                    <a:pt x="156" y="116"/>
                    <a:pt x="153" y="118"/>
                  </a:cubicBezTo>
                  <a:cubicBezTo>
                    <a:pt x="152" y="118"/>
                    <a:pt x="152" y="118"/>
                    <a:pt x="151" y="118"/>
                  </a:cubicBezTo>
                  <a:cubicBezTo>
                    <a:pt x="150" y="118"/>
                    <a:pt x="149" y="118"/>
                    <a:pt x="149" y="119"/>
                  </a:cubicBezTo>
                  <a:cubicBezTo>
                    <a:pt x="148" y="119"/>
                    <a:pt x="148" y="119"/>
                    <a:pt x="147" y="119"/>
                  </a:cubicBezTo>
                  <a:cubicBezTo>
                    <a:pt x="144" y="119"/>
                    <a:pt x="142" y="119"/>
                    <a:pt x="140" y="119"/>
                  </a:cubicBezTo>
                  <a:cubicBezTo>
                    <a:pt x="136" y="118"/>
                    <a:pt x="132" y="118"/>
                    <a:pt x="129" y="118"/>
                  </a:cubicBezTo>
                  <a:cubicBezTo>
                    <a:pt x="127" y="118"/>
                    <a:pt x="126" y="118"/>
                    <a:pt x="126" y="119"/>
                  </a:cubicBezTo>
                  <a:cubicBezTo>
                    <a:pt x="125" y="121"/>
                    <a:pt x="126" y="122"/>
                    <a:pt x="126" y="123"/>
                  </a:cubicBezTo>
                  <a:cubicBezTo>
                    <a:pt x="125" y="125"/>
                    <a:pt x="123" y="124"/>
                    <a:pt x="122" y="124"/>
                  </a:cubicBezTo>
                  <a:cubicBezTo>
                    <a:pt x="119" y="124"/>
                    <a:pt x="115" y="123"/>
                    <a:pt x="113" y="125"/>
                  </a:cubicBezTo>
                  <a:cubicBezTo>
                    <a:pt x="112" y="126"/>
                    <a:pt x="112" y="127"/>
                    <a:pt x="111" y="128"/>
                  </a:cubicBezTo>
                  <a:cubicBezTo>
                    <a:pt x="110" y="129"/>
                    <a:pt x="109" y="131"/>
                    <a:pt x="108" y="132"/>
                  </a:cubicBezTo>
                  <a:cubicBezTo>
                    <a:pt x="106" y="132"/>
                    <a:pt x="105" y="130"/>
                    <a:pt x="103" y="131"/>
                  </a:cubicBezTo>
                  <a:cubicBezTo>
                    <a:pt x="102" y="131"/>
                    <a:pt x="101" y="132"/>
                    <a:pt x="99" y="133"/>
                  </a:cubicBezTo>
                  <a:cubicBezTo>
                    <a:pt x="97" y="133"/>
                    <a:pt x="94" y="133"/>
                    <a:pt x="91" y="133"/>
                  </a:cubicBezTo>
                  <a:cubicBezTo>
                    <a:pt x="92" y="133"/>
                    <a:pt x="88" y="133"/>
                    <a:pt x="87" y="132"/>
                  </a:cubicBezTo>
                  <a:cubicBezTo>
                    <a:pt x="87" y="130"/>
                    <a:pt x="81" y="128"/>
                    <a:pt x="79" y="12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7" y="128"/>
                    <a:pt x="77" y="126"/>
                    <a:pt x="76" y="125"/>
                  </a:cubicBezTo>
                  <a:cubicBezTo>
                    <a:pt x="74" y="122"/>
                    <a:pt x="71" y="123"/>
                    <a:pt x="68" y="123"/>
                  </a:cubicBezTo>
                  <a:cubicBezTo>
                    <a:pt x="64" y="124"/>
                    <a:pt x="60" y="122"/>
                    <a:pt x="56" y="123"/>
                  </a:cubicBezTo>
                  <a:cubicBezTo>
                    <a:pt x="53" y="124"/>
                    <a:pt x="53" y="125"/>
                    <a:pt x="53" y="128"/>
                  </a:cubicBezTo>
                  <a:cubicBezTo>
                    <a:pt x="54" y="131"/>
                    <a:pt x="58" y="133"/>
                    <a:pt x="57" y="137"/>
                  </a:cubicBezTo>
                  <a:cubicBezTo>
                    <a:pt x="57" y="137"/>
                    <a:pt x="57" y="138"/>
                    <a:pt x="56" y="138"/>
                  </a:cubicBezTo>
                  <a:cubicBezTo>
                    <a:pt x="56" y="139"/>
                    <a:pt x="55" y="141"/>
                    <a:pt x="54" y="141"/>
                  </a:cubicBezTo>
                  <a:cubicBezTo>
                    <a:pt x="50" y="143"/>
                    <a:pt x="49" y="141"/>
                    <a:pt x="46" y="139"/>
                  </a:cubicBezTo>
                  <a:cubicBezTo>
                    <a:pt x="44" y="138"/>
                    <a:pt x="41" y="137"/>
                    <a:pt x="40" y="135"/>
                  </a:cubicBezTo>
                  <a:cubicBezTo>
                    <a:pt x="39" y="134"/>
                    <a:pt x="39" y="135"/>
                    <a:pt x="39" y="134"/>
                  </a:cubicBezTo>
                  <a:cubicBezTo>
                    <a:pt x="39" y="133"/>
                    <a:pt x="39" y="132"/>
                    <a:pt x="39" y="131"/>
                  </a:cubicBezTo>
                  <a:cubicBezTo>
                    <a:pt x="38" y="131"/>
                    <a:pt x="38" y="131"/>
                    <a:pt x="38" y="130"/>
                  </a:cubicBezTo>
                  <a:cubicBezTo>
                    <a:pt x="37" y="129"/>
                    <a:pt x="35" y="130"/>
                    <a:pt x="34" y="130"/>
                  </a:cubicBezTo>
                  <a:cubicBezTo>
                    <a:pt x="32" y="129"/>
                    <a:pt x="32" y="129"/>
                    <a:pt x="31" y="128"/>
                  </a:cubicBezTo>
                  <a:cubicBezTo>
                    <a:pt x="30" y="126"/>
                    <a:pt x="30" y="124"/>
                    <a:pt x="28" y="122"/>
                  </a:cubicBezTo>
                  <a:cubicBezTo>
                    <a:pt x="27" y="121"/>
                    <a:pt x="25" y="122"/>
                    <a:pt x="24" y="122"/>
                  </a:cubicBezTo>
                  <a:cubicBezTo>
                    <a:pt x="21" y="122"/>
                    <a:pt x="19" y="122"/>
                    <a:pt x="16" y="122"/>
                  </a:cubicBezTo>
                  <a:cubicBezTo>
                    <a:pt x="16" y="123"/>
                    <a:pt x="15" y="123"/>
                    <a:pt x="14" y="124"/>
                  </a:cubicBezTo>
                  <a:cubicBezTo>
                    <a:pt x="14" y="126"/>
                    <a:pt x="13" y="127"/>
                    <a:pt x="13" y="128"/>
                  </a:cubicBezTo>
                  <a:cubicBezTo>
                    <a:pt x="13" y="130"/>
                    <a:pt x="13" y="132"/>
                    <a:pt x="13" y="134"/>
                  </a:cubicBezTo>
                  <a:cubicBezTo>
                    <a:pt x="13" y="135"/>
                    <a:pt x="13" y="136"/>
                    <a:pt x="14" y="137"/>
                  </a:cubicBezTo>
                  <a:cubicBezTo>
                    <a:pt x="14" y="137"/>
                    <a:pt x="15" y="138"/>
                    <a:pt x="14" y="139"/>
                  </a:cubicBezTo>
                  <a:cubicBezTo>
                    <a:pt x="14" y="140"/>
                    <a:pt x="12" y="140"/>
                    <a:pt x="10" y="141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2"/>
                    <a:pt x="12" y="143"/>
                    <a:pt x="13" y="143"/>
                  </a:cubicBezTo>
                  <a:cubicBezTo>
                    <a:pt x="13" y="144"/>
                    <a:pt x="13" y="144"/>
                    <a:pt x="13" y="145"/>
                  </a:cubicBezTo>
                  <a:cubicBezTo>
                    <a:pt x="14" y="146"/>
                    <a:pt x="13" y="148"/>
                    <a:pt x="13" y="150"/>
                  </a:cubicBezTo>
                  <a:cubicBezTo>
                    <a:pt x="12" y="151"/>
                    <a:pt x="12" y="153"/>
                    <a:pt x="10" y="154"/>
                  </a:cubicBezTo>
                  <a:cubicBezTo>
                    <a:pt x="10" y="155"/>
                    <a:pt x="9" y="155"/>
                    <a:pt x="8" y="155"/>
                  </a:cubicBezTo>
                  <a:cubicBezTo>
                    <a:pt x="7" y="155"/>
                    <a:pt x="6" y="155"/>
                    <a:pt x="5" y="154"/>
                  </a:cubicBezTo>
                  <a:cubicBezTo>
                    <a:pt x="5" y="155"/>
                    <a:pt x="4" y="155"/>
                    <a:pt x="4" y="155"/>
                  </a:cubicBezTo>
                  <a:cubicBezTo>
                    <a:pt x="2" y="157"/>
                    <a:pt x="0" y="157"/>
                    <a:pt x="1" y="161"/>
                  </a:cubicBezTo>
                  <a:cubicBezTo>
                    <a:pt x="1" y="164"/>
                    <a:pt x="3" y="163"/>
                    <a:pt x="6" y="164"/>
                  </a:cubicBezTo>
                  <a:cubicBezTo>
                    <a:pt x="7" y="164"/>
                    <a:pt x="8" y="164"/>
                    <a:pt x="9" y="164"/>
                  </a:cubicBezTo>
                  <a:cubicBezTo>
                    <a:pt x="10" y="164"/>
                    <a:pt x="11" y="164"/>
                    <a:pt x="12" y="164"/>
                  </a:cubicBezTo>
                  <a:cubicBezTo>
                    <a:pt x="13" y="164"/>
                    <a:pt x="15" y="164"/>
                    <a:pt x="16" y="164"/>
                  </a:cubicBezTo>
                  <a:cubicBezTo>
                    <a:pt x="18" y="164"/>
                    <a:pt x="18" y="164"/>
                    <a:pt x="19" y="163"/>
                  </a:cubicBezTo>
                  <a:cubicBezTo>
                    <a:pt x="20" y="163"/>
                    <a:pt x="21" y="163"/>
                    <a:pt x="21" y="163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4" y="165"/>
                    <a:pt x="26" y="165"/>
                    <a:pt x="26" y="168"/>
                  </a:cubicBezTo>
                  <a:cubicBezTo>
                    <a:pt x="26" y="170"/>
                    <a:pt x="26" y="171"/>
                    <a:pt x="28" y="172"/>
                  </a:cubicBezTo>
                  <a:cubicBezTo>
                    <a:pt x="28" y="173"/>
                    <a:pt x="29" y="173"/>
                    <a:pt x="30" y="173"/>
                  </a:cubicBezTo>
                  <a:cubicBezTo>
                    <a:pt x="30" y="174"/>
                    <a:pt x="31" y="175"/>
                    <a:pt x="32" y="175"/>
                  </a:cubicBezTo>
                  <a:cubicBezTo>
                    <a:pt x="35" y="176"/>
                    <a:pt x="37" y="177"/>
                    <a:pt x="40" y="177"/>
                  </a:cubicBezTo>
                  <a:cubicBezTo>
                    <a:pt x="43" y="177"/>
                    <a:pt x="43" y="176"/>
                    <a:pt x="44" y="174"/>
                  </a:cubicBezTo>
                  <a:cubicBezTo>
                    <a:pt x="45" y="173"/>
                    <a:pt x="44" y="171"/>
                    <a:pt x="46" y="170"/>
                  </a:cubicBezTo>
                  <a:cubicBezTo>
                    <a:pt x="47" y="169"/>
                    <a:pt x="48" y="169"/>
                    <a:pt x="49" y="169"/>
                  </a:cubicBezTo>
                  <a:cubicBezTo>
                    <a:pt x="50" y="168"/>
                    <a:pt x="50" y="167"/>
                    <a:pt x="51" y="166"/>
                  </a:cubicBezTo>
                  <a:cubicBezTo>
                    <a:pt x="52" y="166"/>
                    <a:pt x="55" y="168"/>
                    <a:pt x="56" y="169"/>
                  </a:cubicBezTo>
                  <a:cubicBezTo>
                    <a:pt x="58" y="171"/>
                    <a:pt x="58" y="173"/>
                    <a:pt x="58" y="175"/>
                  </a:cubicBezTo>
                  <a:cubicBezTo>
                    <a:pt x="59" y="176"/>
                    <a:pt x="59" y="176"/>
                    <a:pt x="59" y="177"/>
                  </a:cubicBezTo>
                  <a:cubicBezTo>
                    <a:pt x="61" y="177"/>
                    <a:pt x="62" y="177"/>
                    <a:pt x="63" y="177"/>
                  </a:cubicBezTo>
                  <a:cubicBezTo>
                    <a:pt x="64" y="177"/>
                    <a:pt x="65" y="177"/>
                    <a:pt x="66" y="177"/>
                  </a:cubicBezTo>
                  <a:cubicBezTo>
                    <a:pt x="67" y="177"/>
                    <a:pt x="69" y="178"/>
                    <a:pt x="70" y="178"/>
                  </a:cubicBezTo>
                  <a:cubicBezTo>
                    <a:pt x="71" y="178"/>
                    <a:pt x="72" y="178"/>
                    <a:pt x="72" y="179"/>
                  </a:cubicBezTo>
                  <a:cubicBezTo>
                    <a:pt x="73" y="180"/>
                    <a:pt x="72" y="181"/>
                    <a:pt x="73" y="182"/>
                  </a:cubicBezTo>
                  <a:cubicBezTo>
                    <a:pt x="73" y="183"/>
                    <a:pt x="75" y="183"/>
                    <a:pt x="76" y="183"/>
                  </a:cubicBezTo>
                  <a:cubicBezTo>
                    <a:pt x="76" y="183"/>
                    <a:pt x="78" y="183"/>
                    <a:pt x="78" y="183"/>
                  </a:cubicBezTo>
                  <a:cubicBezTo>
                    <a:pt x="79" y="184"/>
                    <a:pt x="79" y="184"/>
                    <a:pt x="80" y="184"/>
                  </a:cubicBezTo>
                  <a:cubicBezTo>
                    <a:pt x="80" y="185"/>
                    <a:pt x="81" y="185"/>
                    <a:pt x="82" y="185"/>
                  </a:cubicBezTo>
                  <a:cubicBezTo>
                    <a:pt x="83" y="185"/>
                    <a:pt x="85" y="185"/>
                    <a:pt x="87" y="185"/>
                  </a:cubicBezTo>
                  <a:cubicBezTo>
                    <a:pt x="89" y="184"/>
                    <a:pt x="89" y="182"/>
                    <a:pt x="89" y="180"/>
                  </a:cubicBezTo>
                  <a:cubicBezTo>
                    <a:pt x="90" y="179"/>
                    <a:pt x="91" y="178"/>
                    <a:pt x="92" y="176"/>
                  </a:cubicBezTo>
                  <a:cubicBezTo>
                    <a:pt x="92" y="175"/>
                    <a:pt x="92" y="174"/>
                    <a:pt x="92" y="173"/>
                  </a:cubicBezTo>
                  <a:cubicBezTo>
                    <a:pt x="92" y="171"/>
                    <a:pt x="92" y="171"/>
                    <a:pt x="93" y="170"/>
                  </a:cubicBezTo>
                  <a:cubicBezTo>
                    <a:pt x="93" y="169"/>
                    <a:pt x="93" y="169"/>
                    <a:pt x="95" y="168"/>
                  </a:cubicBezTo>
                  <a:cubicBezTo>
                    <a:pt x="96" y="168"/>
                    <a:pt x="97" y="167"/>
                    <a:pt x="99" y="167"/>
                  </a:cubicBezTo>
                  <a:cubicBezTo>
                    <a:pt x="100" y="167"/>
                    <a:pt x="101" y="167"/>
                    <a:pt x="102" y="167"/>
                  </a:cubicBezTo>
                  <a:cubicBezTo>
                    <a:pt x="107" y="167"/>
                    <a:pt x="112" y="168"/>
                    <a:pt x="117" y="168"/>
                  </a:cubicBezTo>
                  <a:cubicBezTo>
                    <a:pt x="118" y="168"/>
                    <a:pt x="119" y="168"/>
                    <a:pt x="120" y="168"/>
                  </a:cubicBezTo>
                  <a:cubicBezTo>
                    <a:pt x="121" y="167"/>
                    <a:pt x="122" y="166"/>
                    <a:pt x="123" y="166"/>
                  </a:cubicBezTo>
                  <a:cubicBezTo>
                    <a:pt x="125" y="165"/>
                    <a:pt x="126" y="166"/>
                    <a:pt x="127" y="167"/>
                  </a:cubicBezTo>
                  <a:cubicBezTo>
                    <a:pt x="129" y="169"/>
                    <a:pt x="132" y="166"/>
                    <a:pt x="134" y="165"/>
                  </a:cubicBezTo>
                  <a:cubicBezTo>
                    <a:pt x="136" y="163"/>
                    <a:pt x="139" y="162"/>
                    <a:pt x="142" y="161"/>
                  </a:cubicBezTo>
                  <a:cubicBezTo>
                    <a:pt x="143" y="160"/>
                    <a:pt x="145" y="159"/>
                    <a:pt x="147" y="159"/>
                  </a:cubicBezTo>
                  <a:cubicBezTo>
                    <a:pt x="149" y="159"/>
                    <a:pt x="152" y="159"/>
                    <a:pt x="152" y="162"/>
                  </a:cubicBezTo>
                  <a:cubicBezTo>
                    <a:pt x="152" y="163"/>
                    <a:pt x="150" y="164"/>
                    <a:pt x="149" y="165"/>
                  </a:cubicBezTo>
                  <a:cubicBezTo>
                    <a:pt x="149" y="165"/>
                    <a:pt x="147" y="165"/>
                    <a:pt x="147" y="165"/>
                  </a:cubicBezTo>
                  <a:cubicBezTo>
                    <a:pt x="146" y="166"/>
                    <a:pt x="146" y="167"/>
                    <a:pt x="146" y="168"/>
                  </a:cubicBezTo>
                  <a:cubicBezTo>
                    <a:pt x="146" y="169"/>
                    <a:pt x="145" y="169"/>
                    <a:pt x="147" y="171"/>
                  </a:cubicBezTo>
                  <a:cubicBezTo>
                    <a:pt x="147" y="171"/>
                    <a:pt x="148" y="172"/>
                    <a:pt x="149" y="173"/>
                  </a:cubicBezTo>
                  <a:cubicBezTo>
                    <a:pt x="150" y="174"/>
                    <a:pt x="151" y="175"/>
                    <a:pt x="152" y="176"/>
                  </a:cubicBezTo>
                  <a:cubicBezTo>
                    <a:pt x="154" y="177"/>
                    <a:pt x="154" y="179"/>
                    <a:pt x="155" y="181"/>
                  </a:cubicBezTo>
                  <a:cubicBezTo>
                    <a:pt x="156" y="183"/>
                    <a:pt x="158" y="185"/>
                    <a:pt x="160" y="186"/>
                  </a:cubicBezTo>
                  <a:cubicBezTo>
                    <a:pt x="163" y="189"/>
                    <a:pt x="168" y="192"/>
                    <a:pt x="172" y="194"/>
                  </a:cubicBezTo>
                  <a:cubicBezTo>
                    <a:pt x="173" y="194"/>
                    <a:pt x="174" y="194"/>
                    <a:pt x="175" y="194"/>
                  </a:cubicBezTo>
                  <a:cubicBezTo>
                    <a:pt x="178" y="194"/>
                    <a:pt x="180" y="194"/>
                    <a:pt x="183" y="195"/>
                  </a:cubicBezTo>
                  <a:cubicBezTo>
                    <a:pt x="185" y="195"/>
                    <a:pt x="187" y="195"/>
                    <a:pt x="189" y="196"/>
                  </a:cubicBezTo>
                  <a:cubicBezTo>
                    <a:pt x="190" y="196"/>
                    <a:pt x="192" y="196"/>
                    <a:pt x="193" y="196"/>
                  </a:cubicBezTo>
                  <a:cubicBezTo>
                    <a:pt x="195" y="197"/>
                    <a:pt x="196" y="198"/>
                    <a:pt x="197" y="198"/>
                  </a:cubicBezTo>
                  <a:cubicBezTo>
                    <a:pt x="201" y="200"/>
                    <a:pt x="205" y="200"/>
                    <a:pt x="209" y="201"/>
                  </a:cubicBezTo>
                  <a:cubicBezTo>
                    <a:pt x="212" y="201"/>
                    <a:pt x="214" y="201"/>
                    <a:pt x="217" y="201"/>
                  </a:cubicBezTo>
                  <a:cubicBezTo>
                    <a:pt x="220" y="201"/>
                    <a:pt x="224" y="201"/>
                    <a:pt x="227" y="201"/>
                  </a:cubicBezTo>
                  <a:cubicBezTo>
                    <a:pt x="229" y="201"/>
                    <a:pt x="230" y="202"/>
                    <a:pt x="232" y="202"/>
                  </a:cubicBezTo>
                  <a:cubicBezTo>
                    <a:pt x="233" y="202"/>
                    <a:pt x="234" y="202"/>
                    <a:pt x="235" y="203"/>
                  </a:cubicBezTo>
                  <a:cubicBezTo>
                    <a:pt x="235" y="203"/>
                    <a:pt x="236" y="202"/>
                    <a:pt x="236" y="203"/>
                  </a:cubicBezTo>
                  <a:cubicBezTo>
                    <a:pt x="238" y="203"/>
                    <a:pt x="239" y="204"/>
                    <a:pt x="240" y="204"/>
                  </a:cubicBezTo>
                  <a:cubicBezTo>
                    <a:pt x="245" y="206"/>
                    <a:pt x="250" y="205"/>
                    <a:pt x="255" y="206"/>
                  </a:cubicBezTo>
                  <a:cubicBezTo>
                    <a:pt x="255" y="206"/>
                    <a:pt x="255" y="206"/>
                    <a:pt x="255" y="206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5" y="207"/>
                    <a:pt x="255" y="208"/>
                    <a:pt x="254" y="208"/>
                  </a:cubicBezTo>
                  <a:cubicBezTo>
                    <a:pt x="255" y="208"/>
                    <a:pt x="256" y="208"/>
                    <a:pt x="257" y="208"/>
                  </a:cubicBezTo>
                  <a:cubicBezTo>
                    <a:pt x="259" y="209"/>
                    <a:pt x="262" y="209"/>
                    <a:pt x="264" y="209"/>
                  </a:cubicBezTo>
                  <a:cubicBezTo>
                    <a:pt x="264" y="210"/>
                    <a:pt x="266" y="209"/>
                    <a:pt x="267" y="210"/>
                  </a:cubicBezTo>
                  <a:cubicBezTo>
                    <a:pt x="267" y="210"/>
                    <a:pt x="267" y="210"/>
                    <a:pt x="267" y="210"/>
                  </a:cubicBezTo>
                  <a:cubicBezTo>
                    <a:pt x="268" y="211"/>
                    <a:pt x="269" y="211"/>
                    <a:pt x="270" y="211"/>
                  </a:cubicBezTo>
                  <a:cubicBezTo>
                    <a:pt x="272" y="212"/>
                    <a:pt x="274" y="213"/>
                    <a:pt x="276" y="213"/>
                  </a:cubicBezTo>
                  <a:cubicBezTo>
                    <a:pt x="279" y="212"/>
                    <a:pt x="278" y="209"/>
                    <a:pt x="279" y="207"/>
                  </a:cubicBezTo>
                  <a:cubicBezTo>
                    <a:pt x="280" y="207"/>
                    <a:pt x="280" y="206"/>
                    <a:pt x="281" y="205"/>
                  </a:cubicBezTo>
                  <a:cubicBezTo>
                    <a:pt x="281" y="205"/>
                    <a:pt x="282" y="204"/>
                    <a:pt x="283" y="204"/>
                  </a:cubicBezTo>
                  <a:cubicBezTo>
                    <a:pt x="283" y="203"/>
                    <a:pt x="284" y="204"/>
                    <a:pt x="285" y="204"/>
                  </a:cubicBezTo>
                  <a:cubicBezTo>
                    <a:pt x="286" y="204"/>
                    <a:pt x="287" y="203"/>
                    <a:pt x="288" y="202"/>
                  </a:cubicBezTo>
                  <a:cubicBezTo>
                    <a:pt x="288" y="201"/>
                    <a:pt x="288" y="201"/>
                    <a:pt x="289" y="200"/>
                  </a:cubicBezTo>
                  <a:cubicBezTo>
                    <a:pt x="289" y="200"/>
                    <a:pt x="290" y="200"/>
                    <a:pt x="290" y="199"/>
                  </a:cubicBezTo>
                  <a:cubicBezTo>
                    <a:pt x="290" y="199"/>
                    <a:pt x="291" y="198"/>
                    <a:pt x="291" y="197"/>
                  </a:cubicBezTo>
                  <a:cubicBezTo>
                    <a:pt x="292" y="195"/>
                    <a:pt x="295" y="195"/>
                    <a:pt x="297" y="195"/>
                  </a:cubicBezTo>
                  <a:cubicBezTo>
                    <a:pt x="300" y="194"/>
                    <a:pt x="302" y="194"/>
                    <a:pt x="304" y="193"/>
                  </a:cubicBezTo>
                  <a:cubicBezTo>
                    <a:pt x="306" y="192"/>
                    <a:pt x="307" y="191"/>
                    <a:pt x="309" y="192"/>
                  </a:cubicBezTo>
                  <a:cubicBezTo>
                    <a:pt x="310" y="192"/>
                    <a:pt x="311" y="193"/>
                    <a:pt x="312" y="193"/>
                  </a:cubicBezTo>
                  <a:cubicBezTo>
                    <a:pt x="314" y="193"/>
                    <a:pt x="316" y="193"/>
                    <a:pt x="318" y="193"/>
                  </a:cubicBezTo>
                  <a:cubicBezTo>
                    <a:pt x="318" y="194"/>
                    <a:pt x="318" y="194"/>
                    <a:pt x="319" y="194"/>
                  </a:cubicBezTo>
                  <a:cubicBezTo>
                    <a:pt x="320" y="194"/>
                    <a:pt x="322" y="193"/>
                    <a:pt x="323" y="194"/>
                  </a:cubicBezTo>
                  <a:cubicBezTo>
                    <a:pt x="325" y="194"/>
                    <a:pt x="325" y="195"/>
                    <a:pt x="326" y="195"/>
                  </a:cubicBezTo>
                  <a:cubicBezTo>
                    <a:pt x="326" y="192"/>
                    <a:pt x="328" y="190"/>
                    <a:pt x="329" y="188"/>
                  </a:cubicBezTo>
                  <a:cubicBezTo>
                    <a:pt x="329" y="187"/>
                    <a:pt x="329" y="187"/>
                    <a:pt x="330" y="187"/>
                  </a:cubicBezTo>
                  <a:cubicBezTo>
                    <a:pt x="330" y="187"/>
                    <a:pt x="331" y="187"/>
                    <a:pt x="331" y="187"/>
                  </a:cubicBezTo>
                  <a:cubicBezTo>
                    <a:pt x="332" y="186"/>
                    <a:pt x="331" y="187"/>
                    <a:pt x="332" y="186"/>
                  </a:cubicBezTo>
                  <a:cubicBezTo>
                    <a:pt x="333" y="185"/>
                    <a:pt x="335" y="182"/>
                    <a:pt x="336" y="183"/>
                  </a:cubicBezTo>
                  <a:cubicBezTo>
                    <a:pt x="338" y="184"/>
                    <a:pt x="336" y="187"/>
                    <a:pt x="338" y="189"/>
                  </a:cubicBezTo>
                  <a:cubicBezTo>
                    <a:pt x="340" y="190"/>
                    <a:pt x="343" y="189"/>
                    <a:pt x="345" y="190"/>
                  </a:cubicBezTo>
                  <a:cubicBezTo>
                    <a:pt x="348" y="190"/>
                    <a:pt x="351" y="190"/>
                    <a:pt x="352" y="187"/>
                  </a:cubicBezTo>
                  <a:cubicBezTo>
                    <a:pt x="353" y="185"/>
                    <a:pt x="353" y="183"/>
                    <a:pt x="353" y="181"/>
                  </a:cubicBezTo>
                  <a:cubicBezTo>
                    <a:pt x="353" y="178"/>
                    <a:pt x="354" y="176"/>
                    <a:pt x="356" y="175"/>
                  </a:cubicBezTo>
                  <a:cubicBezTo>
                    <a:pt x="357" y="174"/>
                    <a:pt x="359" y="175"/>
                    <a:pt x="360" y="173"/>
                  </a:cubicBezTo>
                  <a:cubicBezTo>
                    <a:pt x="361" y="173"/>
                    <a:pt x="361" y="172"/>
                    <a:pt x="362" y="172"/>
                  </a:cubicBezTo>
                  <a:cubicBezTo>
                    <a:pt x="363" y="171"/>
                    <a:pt x="363" y="171"/>
                    <a:pt x="364" y="170"/>
                  </a:cubicBezTo>
                  <a:cubicBezTo>
                    <a:pt x="365" y="167"/>
                    <a:pt x="366" y="167"/>
                    <a:pt x="368" y="166"/>
                  </a:cubicBezTo>
                  <a:cubicBezTo>
                    <a:pt x="370" y="165"/>
                    <a:pt x="370" y="164"/>
                    <a:pt x="372" y="164"/>
                  </a:cubicBezTo>
                  <a:cubicBezTo>
                    <a:pt x="374" y="164"/>
                    <a:pt x="375" y="163"/>
                    <a:pt x="376" y="163"/>
                  </a:cubicBezTo>
                  <a:cubicBezTo>
                    <a:pt x="378" y="163"/>
                    <a:pt x="379" y="163"/>
                    <a:pt x="379" y="161"/>
                  </a:cubicBezTo>
                  <a:cubicBezTo>
                    <a:pt x="379" y="160"/>
                    <a:pt x="379" y="160"/>
                    <a:pt x="379" y="159"/>
                  </a:cubicBezTo>
                  <a:cubicBezTo>
                    <a:pt x="379" y="158"/>
                    <a:pt x="380" y="157"/>
                    <a:pt x="380" y="156"/>
                  </a:cubicBezTo>
                  <a:cubicBezTo>
                    <a:pt x="380" y="156"/>
                    <a:pt x="380" y="155"/>
                    <a:pt x="380" y="154"/>
                  </a:cubicBezTo>
                  <a:cubicBezTo>
                    <a:pt x="380" y="152"/>
                    <a:pt x="380" y="152"/>
                    <a:pt x="379" y="152"/>
                  </a:cubicBezTo>
                  <a:cubicBezTo>
                    <a:pt x="377" y="151"/>
                    <a:pt x="377" y="151"/>
                    <a:pt x="376" y="149"/>
                  </a:cubicBezTo>
                  <a:cubicBezTo>
                    <a:pt x="376" y="149"/>
                    <a:pt x="376" y="148"/>
                    <a:pt x="376" y="147"/>
                  </a:cubicBezTo>
                  <a:cubicBezTo>
                    <a:pt x="376" y="147"/>
                    <a:pt x="375" y="146"/>
                    <a:pt x="376" y="145"/>
                  </a:cubicBezTo>
                  <a:cubicBezTo>
                    <a:pt x="376" y="144"/>
                    <a:pt x="378" y="142"/>
                    <a:pt x="379" y="142"/>
                  </a:cubicBezTo>
                  <a:cubicBezTo>
                    <a:pt x="379" y="142"/>
                    <a:pt x="381" y="141"/>
                    <a:pt x="381" y="141"/>
                  </a:cubicBezTo>
                  <a:cubicBezTo>
                    <a:pt x="382" y="138"/>
                    <a:pt x="378" y="139"/>
                    <a:pt x="378" y="138"/>
                  </a:cubicBezTo>
                  <a:cubicBezTo>
                    <a:pt x="376" y="136"/>
                    <a:pt x="377" y="131"/>
                    <a:pt x="379" y="130"/>
                  </a:cubicBezTo>
                  <a:cubicBezTo>
                    <a:pt x="379" y="130"/>
                    <a:pt x="380" y="129"/>
                    <a:pt x="381" y="129"/>
                  </a:cubicBezTo>
                  <a:cubicBezTo>
                    <a:pt x="382" y="129"/>
                    <a:pt x="383" y="130"/>
                    <a:pt x="384" y="130"/>
                  </a:cubicBezTo>
                  <a:cubicBezTo>
                    <a:pt x="385" y="129"/>
                    <a:pt x="385" y="129"/>
                    <a:pt x="386" y="128"/>
                  </a:cubicBezTo>
                  <a:cubicBezTo>
                    <a:pt x="386" y="127"/>
                    <a:pt x="387" y="125"/>
                    <a:pt x="388" y="124"/>
                  </a:cubicBezTo>
                  <a:cubicBezTo>
                    <a:pt x="389" y="123"/>
                    <a:pt x="390" y="122"/>
                    <a:pt x="390" y="121"/>
                  </a:cubicBezTo>
                  <a:cubicBezTo>
                    <a:pt x="390" y="121"/>
                    <a:pt x="390" y="119"/>
                    <a:pt x="390" y="118"/>
                  </a:cubicBezTo>
                  <a:cubicBezTo>
                    <a:pt x="390" y="117"/>
                    <a:pt x="390" y="117"/>
                    <a:pt x="389" y="116"/>
                  </a:cubicBezTo>
                  <a:cubicBezTo>
                    <a:pt x="389" y="115"/>
                    <a:pt x="389" y="115"/>
                    <a:pt x="389" y="114"/>
                  </a:cubicBezTo>
                  <a:cubicBezTo>
                    <a:pt x="388" y="114"/>
                    <a:pt x="388" y="113"/>
                    <a:pt x="388" y="113"/>
                  </a:cubicBezTo>
                  <a:cubicBezTo>
                    <a:pt x="386" y="112"/>
                    <a:pt x="384" y="113"/>
                    <a:pt x="383" y="112"/>
                  </a:cubicBezTo>
                  <a:cubicBezTo>
                    <a:pt x="381" y="111"/>
                    <a:pt x="380" y="110"/>
                    <a:pt x="379" y="109"/>
                  </a:cubicBezTo>
                  <a:cubicBezTo>
                    <a:pt x="379" y="109"/>
                    <a:pt x="378" y="108"/>
                    <a:pt x="379" y="107"/>
                  </a:cubicBezTo>
                  <a:cubicBezTo>
                    <a:pt x="379" y="106"/>
                    <a:pt x="382" y="107"/>
                    <a:pt x="383" y="107"/>
                  </a:cubicBezTo>
                  <a:cubicBezTo>
                    <a:pt x="386" y="107"/>
                    <a:pt x="385" y="105"/>
                    <a:pt x="387" y="103"/>
                  </a:cubicBezTo>
                  <a:cubicBezTo>
                    <a:pt x="388" y="102"/>
                    <a:pt x="392" y="103"/>
                    <a:pt x="393" y="105"/>
                  </a:cubicBezTo>
                  <a:cubicBezTo>
                    <a:pt x="394" y="106"/>
                    <a:pt x="394" y="108"/>
                    <a:pt x="395" y="108"/>
                  </a:cubicBezTo>
                  <a:cubicBezTo>
                    <a:pt x="396" y="109"/>
                    <a:pt x="397" y="108"/>
                    <a:pt x="398" y="108"/>
                  </a:cubicBezTo>
                  <a:cubicBezTo>
                    <a:pt x="400" y="108"/>
                    <a:pt x="401" y="106"/>
                    <a:pt x="404" y="106"/>
                  </a:cubicBezTo>
                  <a:cubicBezTo>
                    <a:pt x="405" y="106"/>
                    <a:pt x="405" y="106"/>
                    <a:pt x="406" y="105"/>
                  </a:cubicBezTo>
                  <a:cubicBezTo>
                    <a:pt x="407" y="105"/>
                    <a:pt x="408" y="105"/>
                    <a:pt x="409" y="104"/>
                  </a:cubicBezTo>
                  <a:cubicBezTo>
                    <a:pt x="410" y="103"/>
                    <a:pt x="413" y="102"/>
                    <a:pt x="414" y="100"/>
                  </a:cubicBezTo>
                  <a:cubicBezTo>
                    <a:pt x="415" y="97"/>
                    <a:pt x="412" y="98"/>
                    <a:pt x="410" y="96"/>
                  </a:cubicBezTo>
                  <a:cubicBezTo>
                    <a:pt x="408" y="94"/>
                    <a:pt x="411" y="91"/>
                    <a:pt x="413" y="88"/>
                  </a:cubicBezTo>
                  <a:cubicBezTo>
                    <a:pt x="414" y="87"/>
                    <a:pt x="415" y="86"/>
                    <a:pt x="416" y="85"/>
                  </a:cubicBezTo>
                  <a:cubicBezTo>
                    <a:pt x="416" y="85"/>
                    <a:pt x="416" y="85"/>
                    <a:pt x="416" y="84"/>
                  </a:cubicBezTo>
                  <a:cubicBezTo>
                    <a:pt x="416" y="84"/>
                    <a:pt x="417" y="83"/>
                    <a:pt x="417" y="83"/>
                  </a:cubicBezTo>
                  <a:cubicBezTo>
                    <a:pt x="417" y="82"/>
                    <a:pt x="417" y="80"/>
                    <a:pt x="416" y="79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4" name="Freeform 15">
              <a:extLst>
                <a:ext uri="{FF2B5EF4-FFF2-40B4-BE49-F238E27FC236}">
                  <a16:creationId xmlns:a16="http://schemas.microsoft.com/office/drawing/2014/main" id="{8D95C246-1F63-4C63-9AD4-CE2AD26CC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5313" y="4954588"/>
              <a:ext cx="25400" cy="30163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9" y="1"/>
                </a:cxn>
                <a:cxn ang="0">
                  <a:pos x="9" y="0"/>
                </a:cxn>
                <a:cxn ang="0">
                  <a:pos x="6" y="1"/>
                </a:cxn>
                <a:cxn ang="0">
                  <a:pos x="5" y="3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1" y="8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3" y="15"/>
                </a:cxn>
                <a:cxn ang="0">
                  <a:pos x="7" y="16"/>
                </a:cxn>
                <a:cxn ang="0">
                  <a:pos x="9" y="15"/>
                </a:cxn>
                <a:cxn ang="0">
                  <a:pos x="12" y="11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1" y="2"/>
                </a:cxn>
              </a:cxnLst>
              <a:rect l="0" t="0" r="r" b="b"/>
              <a:pathLst>
                <a:path w="13" h="16">
                  <a:moveTo>
                    <a:pt x="11" y="2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9" y="0"/>
                    <a:pt x="6" y="1"/>
                    <a:pt x="6" y="1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5"/>
                    <a:pt x="3" y="5"/>
                    <a:pt x="2" y="6"/>
                  </a:cubicBezTo>
                  <a:cubicBezTo>
                    <a:pt x="2" y="7"/>
                    <a:pt x="1" y="7"/>
                    <a:pt x="1" y="8"/>
                  </a:cubicBezTo>
                  <a:cubicBezTo>
                    <a:pt x="1" y="9"/>
                    <a:pt x="0" y="9"/>
                    <a:pt x="0" y="10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6"/>
                    <a:pt x="9" y="15"/>
                  </a:cubicBezTo>
                  <a:cubicBezTo>
                    <a:pt x="11" y="14"/>
                    <a:pt x="11" y="12"/>
                    <a:pt x="12" y="11"/>
                  </a:cubicBezTo>
                  <a:cubicBezTo>
                    <a:pt x="12" y="9"/>
                    <a:pt x="13" y="7"/>
                    <a:pt x="12" y="6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1" y="4"/>
                    <a:pt x="11" y="3"/>
                    <a:pt x="11" y="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5" name="Freeform 16">
              <a:extLst>
                <a:ext uri="{FF2B5EF4-FFF2-40B4-BE49-F238E27FC236}">
                  <a16:creationId xmlns:a16="http://schemas.microsoft.com/office/drawing/2014/main" id="{E2C438FD-66AA-445A-BC78-D218EE218A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9413" y="4360863"/>
              <a:ext cx="1379538" cy="1341438"/>
            </a:xfrm>
            <a:custGeom>
              <a:avLst/>
              <a:gdLst/>
              <a:ahLst/>
              <a:cxnLst>
                <a:cxn ang="0">
                  <a:pos x="737" y="191"/>
                </a:cxn>
                <a:cxn ang="0">
                  <a:pos x="702" y="174"/>
                </a:cxn>
                <a:cxn ang="0">
                  <a:pos x="633" y="143"/>
                </a:cxn>
                <a:cxn ang="0">
                  <a:pos x="577" y="126"/>
                </a:cxn>
                <a:cxn ang="0">
                  <a:pos x="539" y="101"/>
                </a:cxn>
                <a:cxn ang="0">
                  <a:pos x="509" y="70"/>
                </a:cxn>
                <a:cxn ang="0">
                  <a:pos x="472" y="38"/>
                </a:cxn>
                <a:cxn ang="0">
                  <a:pos x="432" y="4"/>
                </a:cxn>
                <a:cxn ang="0">
                  <a:pos x="374" y="39"/>
                </a:cxn>
                <a:cxn ang="0">
                  <a:pos x="323" y="113"/>
                </a:cxn>
                <a:cxn ang="0">
                  <a:pos x="290" y="145"/>
                </a:cxn>
                <a:cxn ang="0">
                  <a:pos x="210" y="138"/>
                </a:cxn>
                <a:cxn ang="0">
                  <a:pos x="190" y="179"/>
                </a:cxn>
                <a:cxn ang="0">
                  <a:pos x="171" y="211"/>
                </a:cxn>
                <a:cxn ang="0">
                  <a:pos x="129" y="219"/>
                </a:cxn>
                <a:cxn ang="0">
                  <a:pos x="81" y="208"/>
                </a:cxn>
                <a:cxn ang="0">
                  <a:pos x="38" y="213"/>
                </a:cxn>
                <a:cxn ang="0">
                  <a:pos x="10" y="238"/>
                </a:cxn>
                <a:cxn ang="0">
                  <a:pos x="32" y="250"/>
                </a:cxn>
                <a:cxn ang="0">
                  <a:pos x="17" y="266"/>
                </a:cxn>
                <a:cxn ang="0">
                  <a:pos x="52" y="283"/>
                </a:cxn>
                <a:cxn ang="0">
                  <a:pos x="90" y="299"/>
                </a:cxn>
                <a:cxn ang="0">
                  <a:pos x="133" y="320"/>
                </a:cxn>
                <a:cxn ang="0">
                  <a:pos x="153" y="355"/>
                </a:cxn>
                <a:cxn ang="0">
                  <a:pos x="172" y="389"/>
                </a:cxn>
                <a:cxn ang="0">
                  <a:pos x="214" y="405"/>
                </a:cxn>
                <a:cxn ang="0">
                  <a:pos x="211" y="434"/>
                </a:cxn>
                <a:cxn ang="0">
                  <a:pos x="198" y="438"/>
                </a:cxn>
                <a:cxn ang="0">
                  <a:pos x="233" y="507"/>
                </a:cxn>
                <a:cxn ang="0">
                  <a:pos x="203" y="491"/>
                </a:cxn>
                <a:cxn ang="0">
                  <a:pos x="189" y="565"/>
                </a:cxn>
                <a:cxn ang="0">
                  <a:pos x="166" y="637"/>
                </a:cxn>
                <a:cxn ang="0">
                  <a:pos x="197" y="661"/>
                </a:cxn>
                <a:cxn ang="0">
                  <a:pos x="265" y="684"/>
                </a:cxn>
                <a:cxn ang="0">
                  <a:pos x="324" y="681"/>
                </a:cxn>
                <a:cxn ang="0">
                  <a:pos x="346" y="687"/>
                </a:cxn>
                <a:cxn ang="0">
                  <a:pos x="372" y="700"/>
                </a:cxn>
                <a:cxn ang="0">
                  <a:pos x="382" y="707"/>
                </a:cxn>
                <a:cxn ang="0">
                  <a:pos x="431" y="685"/>
                </a:cxn>
                <a:cxn ang="0">
                  <a:pos x="464" y="634"/>
                </a:cxn>
                <a:cxn ang="0">
                  <a:pos x="511" y="626"/>
                </a:cxn>
                <a:cxn ang="0">
                  <a:pos x="536" y="632"/>
                </a:cxn>
                <a:cxn ang="0">
                  <a:pos x="566" y="642"/>
                </a:cxn>
                <a:cxn ang="0">
                  <a:pos x="621" y="658"/>
                </a:cxn>
                <a:cxn ang="0">
                  <a:pos x="650" y="627"/>
                </a:cxn>
                <a:cxn ang="0">
                  <a:pos x="687" y="597"/>
                </a:cxn>
                <a:cxn ang="0">
                  <a:pos x="660" y="562"/>
                </a:cxn>
                <a:cxn ang="0">
                  <a:pos x="652" y="515"/>
                </a:cxn>
                <a:cxn ang="0">
                  <a:pos x="667" y="480"/>
                </a:cxn>
                <a:cxn ang="0">
                  <a:pos x="663" y="436"/>
                </a:cxn>
                <a:cxn ang="0">
                  <a:pos x="658" y="409"/>
                </a:cxn>
                <a:cxn ang="0">
                  <a:pos x="614" y="391"/>
                </a:cxn>
                <a:cxn ang="0">
                  <a:pos x="658" y="330"/>
                </a:cxn>
                <a:cxn ang="0">
                  <a:pos x="703" y="303"/>
                </a:cxn>
                <a:cxn ang="0">
                  <a:pos x="704" y="300"/>
                </a:cxn>
                <a:cxn ang="0">
                  <a:pos x="716" y="221"/>
                </a:cxn>
              </a:cxnLst>
              <a:rect l="0" t="0" r="r" b="b"/>
              <a:pathLst>
                <a:path w="738" h="718">
                  <a:moveTo>
                    <a:pt x="437" y="718"/>
                  </a:moveTo>
                  <a:cubicBezTo>
                    <a:pt x="439" y="716"/>
                    <a:pt x="441" y="714"/>
                    <a:pt x="442" y="710"/>
                  </a:cubicBezTo>
                  <a:cubicBezTo>
                    <a:pt x="442" y="710"/>
                    <a:pt x="442" y="710"/>
                    <a:pt x="442" y="710"/>
                  </a:cubicBezTo>
                  <a:cubicBezTo>
                    <a:pt x="440" y="711"/>
                    <a:pt x="438" y="715"/>
                    <a:pt x="437" y="718"/>
                  </a:cubicBezTo>
                  <a:moveTo>
                    <a:pt x="350" y="705"/>
                  </a:moveTo>
                  <a:cubicBezTo>
                    <a:pt x="350" y="705"/>
                    <a:pt x="349" y="705"/>
                    <a:pt x="349" y="705"/>
                  </a:cubicBezTo>
                  <a:cubicBezTo>
                    <a:pt x="349" y="705"/>
                    <a:pt x="350" y="705"/>
                    <a:pt x="350" y="705"/>
                  </a:cubicBezTo>
                  <a:moveTo>
                    <a:pt x="737" y="191"/>
                  </a:moveTo>
                  <a:cubicBezTo>
                    <a:pt x="738" y="189"/>
                    <a:pt x="738" y="186"/>
                    <a:pt x="737" y="184"/>
                  </a:cubicBezTo>
                  <a:cubicBezTo>
                    <a:pt x="735" y="181"/>
                    <a:pt x="733" y="182"/>
                    <a:pt x="731" y="181"/>
                  </a:cubicBezTo>
                  <a:cubicBezTo>
                    <a:pt x="730" y="181"/>
                    <a:pt x="729" y="180"/>
                    <a:pt x="728" y="179"/>
                  </a:cubicBezTo>
                  <a:cubicBezTo>
                    <a:pt x="729" y="179"/>
                    <a:pt x="725" y="177"/>
                    <a:pt x="726" y="177"/>
                  </a:cubicBezTo>
                  <a:cubicBezTo>
                    <a:pt x="723" y="176"/>
                    <a:pt x="720" y="176"/>
                    <a:pt x="717" y="176"/>
                  </a:cubicBezTo>
                  <a:cubicBezTo>
                    <a:pt x="714" y="176"/>
                    <a:pt x="708" y="177"/>
                    <a:pt x="705" y="176"/>
                  </a:cubicBezTo>
                  <a:cubicBezTo>
                    <a:pt x="704" y="176"/>
                    <a:pt x="705" y="175"/>
                    <a:pt x="704" y="175"/>
                  </a:cubicBezTo>
                  <a:cubicBezTo>
                    <a:pt x="703" y="174"/>
                    <a:pt x="702" y="174"/>
                    <a:pt x="702" y="174"/>
                  </a:cubicBezTo>
                  <a:cubicBezTo>
                    <a:pt x="699" y="171"/>
                    <a:pt x="699" y="168"/>
                    <a:pt x="697" y="166"/>
                  </a:cubicBezTo>
                  <a:cubicBezTo>
                    <a:pt x="691" y="162"/>
                    <a:pt x="685" y="162"/>
                    <a:pt x="678" y="162"/>
                  </a:cubicBezTo>
                  <a:cubicBezTo>
                    <a:pt x="674" y="162"/>
                    <a:pt x="671" y="162"/>
                    <a:pt x="668" y="163"/>
                  </a:cubicBezTo>
                  <a:cubicBezTo>
                    <a:pt x="664" y="164"/>
                    <a:pt x="662" y="167"/>
                    <a:pt x="658" y="167"/>
                  </a:cubicBezTo>
                  <a:cubicBezTo>
                    <a:pt x="654" y="166"/>
                    <a:pt x="654" y="164"/>
                    <a:pt x="652" y="161"/>
                  </a:cubicBezTo>
                  <a:cubicBezTo>
                    <a:pt x="652" y="159"/>
                    <a:pt x="652" y="159"/>
                    <a:pt x="651" y="157"/>
                  </a:cubicBezTo>
                  <a:cubicBezTo>
                    <a:pt x="651" y="156"/>
                    <a:pt x="649" y="155"/>
                    <a:pt x="648" y="154"/>
                  </a:cubicBezTo>
                  <a:cubicBezTo>
                    <a:pt x="643" y="148"/>
                    <a:pt x="639" y="146"/>
                    <a:pt x="633" y="143"/>
                  </a:cubicBezTo>
                  <a:cubicBezTo>
                    <a:pt x="629" y="141"/>
                    <a:pt x="628" y="139"/>
                    <a:pt x="624" y="142"/>
                  </a:cubicBezTo>
                  <a:cubicBezTo>
                    <a:pt x="618" y="145"/>
                    <a:pt x="617" y="142"/>
                    <a:pt x="612" y="139"/>
                  </a:cubicBezTo>
                  <a:cubicBezTo>
                    <a:pt x="609" y="137"/>
                    <a:pt x="606" y="136"/>
                    <a:pt x="601" y="136"/>
                  </a:cubicBezTo>
                  <a:cubicBezTo>
                    <a:pt x="600" y="136"/>
                    <a:pt x="598" y="136"/>
                    <a:pt x="597" y="137"/>
                  </a:cubicBezTo>
                  <a:cubicBezTo>
                    <a:pt x="595" y="137"/>
                    <a:pt x="594" y="139"/>
                    <a:pt x="593" y="140"/>
                  </a:cubicBezTo>
                  <a:cubicBezTo>
                    <a:pt x="589" y="142"/>
                    <a:pt x="584" y="134"/>
                    <a:pt x="583" y="132"/>
                  </a:cubicBezTo>
                  <a:cubicBezTo>
                    <a:pt x="583" y="131"/>
                    <a:pt x="583" y="129"/>
                    <a:pt x="582" y="128"/>
                  </a:cubicBezTo>
                  <a:cubicBezTo>
                    <a:pt x="581" y="126"/>
                    <a:pt x="579" y="127"/>
                    <a:pt x="577" y="126"/>
                  </a:cubicBezTo>
                  <a:cubicBezTo>
                    <a:pt x="569" y="123"/>
                    <a:pt x="564" y="116"/>
                    <a:pt x="555" y="116"/>
                  </a:cubicBezTo>
                  <a:cubicBezTo>
                    <a:pt x="554" y="111"/>
                    <a:pt x="553" y="107"/>
                    <a:pt x="553" y="102"/>
                  </a:cubicBezTo>
                  <a:cubicBezTo>
                    <a:pt x="553" y="101"/>
                    <a:pt x="552" y="99"/>
                    <a:pt x="553" y="97"/>
                  </a:cubicBezTo>
                  <a:cubicBezTo>
                    <a:pt x="554" y="94"/>
                    <a:pt x="557" y="92"/>
                    <a:pt x="554" y="89"/>
                  </a:cubicBezTo>
                  <a:cubicBezTo>
                    <a:pt x="552" y="88"/>
                    <a:pt x="551" y="87"/>
                    <a:pt x="549" y="87"/>
                  </a:cubicBezTo>
                  <a:cubicBezTo>
                    <a:pt x="547" y="88"/>
                    <a:pt x="545" y="90"/>
                    <a:pt x="544" y="91"/>
                  </a:cubicBezTo>
                  <a:cubicBezTo>
                    <a:pt x="544" y="93"/>
                    <a:pt x="545" y="96"/>
                    <a:pt x="544" y="98"/>
                  </a:cubicBezTo>
                  <a:cubicBezTo>
                    <a:pt x="543" y="99"/>
                    <a:pt x="540" y="100"/>
                    <a:pt x="539" y="101"/>
                  </a:cubicBezTo>
                  <a:cubicBezTo>
                    <a:pt x="536" y="103"/>
                    <a:pt x="532" y="106"/>
                    <a:pt x="529" y="105"/>
                  </a:cubicBezTo>
                  <a:cubicBezTo>
                    <a:pt x="526" y="104"/>
                    <a:pt x="527" y="104"/>
                    <a:pt x="525" y="102"/>
                  </a:cubicBezTo>
                  <a:cubicBezTo>
                    <a:pt x="522" y="100"/>
                    <a:pt x="522" y="101"/>
                    <a:pt x="521" y="97"/>
                  </a:cubicBezTo>
                  <a:cubicBezTo>
                    <a:pt x="520" y="95"/>
                    <a:pt x="520" y="88"/>
                    <a:pt x="518" y="86"/>
                  </a:cubicBezTo>
                  <a:cubicBezTo>
                    <a:pt x="516" y="85"/>
                    <a:pt x="514" y="87"/>
                    <a:pt x="513" y="85"/>
                  </a:cubicBezTo>
                  <a:cubicBezTo>
                    <a:pt x="512" y="85"/>
                    <a:pt x="512" y="80"/>
                    <a:pt x="513" y="80"/>
                  </a:cubicBezTo>
                  <a:cubicBezTo>
                    <a:pt x="514" y="77"/>
                    <a:pt x="517" y="80"/>
                    <a:pt x="517" y="76"/>
                  </a:cubicBezTo>
                  <a:cubicBezTo>
                    <a:pt x="518" y="72"/>
                    <a:pt x="512" y="71"/>
                    <a:pt x="509" y="70"/>
                  </a:cubicBezTo>
                  <a:cubicBezTo>
                    <a:pt x="508" y="69"/>
                    <a:pt x="506" y="68"/>
                    <a:pt x="505" y="67"/>
                  </a:cubicBezTo>
                  <a:cubicBezTo>
                    <a:pt x="502" y="67"/>
                    <a:pt x="500" y="69"/>
                    <a:pt x="498" y="69"/>
                  </a:cubicBezTo>
                  <a:cubicBezTo>
                    <a:pt x="494" y="69"/>
                    <a:pt x="491" y="67"/>
                    <a:pt x="491" y="64"/>
                  </a:cubicBezTo>
                  <a:cubicBezTo>
                    <a:pt x="490" y="62"/>
                    <a:pt x="491" y="60"/>
                    <a:pt x="490" y="59"/>
                  </a:cubicBezTo>
                  <a:cubicBezTo>
                    <a:pt x="488" y="55"/>
                    <a:pt x="483" y="57"/>
                    <a:pt x="480" y="56"/>
                  </a:cubicBezTo>
                  <a:cubicBezTo>
                    <a:pt x="476" y="56"/>
                    <a:pt x="469" y="50"/>
                    <a:pt x="469" y="46"/>
                  </a:cubicBezTo>
                  <a:cubicBezTo>
                    <a:pt x="470" y="44"/>
                    <a:pt x="473" y="43"/>
                    <a:pt x="473" y="41"/>
                  </a:cubicBezTo>
                  <a:cubicBezTo>
                    <a:pt x="473" y="40"/>
                    <a:pt x="472" y="39"/>
                    <a:pt x="472" y="38"/>
                  </a:cubicBezTo>
                  <a:cubicBezTo>
                    <a:pt x="470" y="34"/>
                    <a:pt x="466" y="30"/>
                    <a:pt x="461" y="31"/>
                  </a:cubicBezTo>
                  <a:cubicBezTo>
                    <a:pt x="457" y="31"/>
                    <a:pt x="453" y="35"/>
                    <a:pt x="449" y="35"/>
                  </a:cubicBezTo>
                  <a:cubicBezTo>
                    <a:pt x="444" y="36"/>
                    <a:pt x="442" y="32"/>
                    <a:pt x="438" y="29"/>
                  </a:cubicBezTo>
                  <a:cubicBezTo>
                    <a:pt x="435" y="26"/>
                    <a:pt x="434" y="24"/>
                    <a:pt x="433" y="20"/>
                  </a:cubicBezTo>
                  <a:cubicBezTo>
                    <a:pt x="433" y="17"/>
                    <a:pt x="433" y="13"/>
                    <a:pt x="433" y="10"/>
                  </a:cubicBezTo>
                  <a:cubicBezTo>
                    <a:pt x="434" y="8"/>
                    <a:pt x="434" y="8"/>
                    <a:pt x="434" y="8"/>
                  </a:cubicBezTo>
                  <a:cubicBezTo>
                    <a:pt x="434" y="7"/>
                    <a:pt x="434" y="8"/>
                    <a:pt x="433" y="7"/>
                  </a:cubicBezTo>
                  <a:cubicBezTo>
                    <a:pt x="433" y="7"/>
                    <a:pt x="432" y="4"/>
                    <a:pt x="432" y="4"/>
                  </a:cubicBezTo>
                  <a:cubicBezTo>
                    <a:pt x="431" y="3"/>
                    <a:pt x="429" y="2"/>
                    <a:pt x="427" y="1"/>
                  </a:cubicBezTo>
                  <a:cubicBezTo>
                    <a:pt x="422" y="0"/>
                    <a:pt x="418" y="1"/>
                    <a:pt x="416" y="5"/>
                  </a:cubicBezTo>
                  <a:cubicBezTo>
                    <a:pt x="415" y="6"/>
                    <a:pt x="415" y="7"/>
                    <a:pt x="415" y="8"/>
                  </a:cubicBezTo>
                  <a:cubicBezTo>
                    <a:pt x="414" y="8"/>
                    <a:pt x="412" y="9"/>
                    <a:pt x="411" y="10"/>
                  </a:cubicBezTo>
                  <a:cubicBezTo>
                    <a:pt x="410" y="11"/>
                    <a:pt x="410" y="14"/>
                    <a:pt x="408" y="15"/>
                  </a:cubicBezTo>
                  <a:cubicBezTo>
                    <a:pt x="406" y="18"/>
                    <a:pt x="403" y="20"/>
                    <a:pt x="401" y="23"/>
                  </a:cubicBezTo>
                  <a:cubicBezTo>
                    <a:pt x="396" y="31"/>
                    <a:pt x="387" y="29"/>
                    <a:pt x="380" y="33"/>
                  </a:cubicBezTo>
                  <a:cubicBezTo>
                    <a:pt x="378" y="35"/>
                    <a:pt x="375" y="37"/>
                    <a:pt x="374" y="39"/>
                  </a:cubicBezTo>
                  <a:cubicBezTo>
                    <a:pt x="372" y="41"/>
                    <a:pt x="373" y="43"/>
                    <a:pt x="373" y="45"/>
                  </a:cubicBezTo>
                  <a:cubicBezTo>
                    <a:pt x="372" y="51"/>
                    <a:pt x="370" y="55"/>
                    <a:pt x="368" y="61"/>
                  </a:cubicBezTo>
                  <a:cubicBezTo>
                    <a:pt x="367" y="65"/>
                    <a:pt x="369" y="70"/>
                    <a:pt x="368" y="74"/>
                  </a:cubicBezTo>
                  <a:cubicBezTo>
                    <a:pt x="367" y="79"/>
                    <a:pt x="365" y="86"/>
                    <a:pt x="361" y="90"/>
                  </a:cubicBezTo>
                  <a:cubicBezTo>
                    <a:pt x="358" y="94"/>
                    <a:pt x="352" y="95"/>
                    <a:pt x="348" y="97"/>
                  </a:cubicBezTo>
                  <a:cubicBezTo>
                    <a:pt x="345" y="99"/>
                    <a:pt x="341" y="102"/>
                    <a:pt x="338" y="105"/>
                  </a:cubicBezTo>
                  <a:cubicBezTo>
                    <a:pt x="335" y="106"/>
                    <a:pt x="334" y="107"/>
                    <a:pt x="331" y="108"/>
                  </a:cubicBezTo>
                  <a:cubicBezTo>
                    <a:pt x="328" y="109"/>
                    <a:pt x="326" y="112"/>
                    <a:pt x="323" y="113"/>
                  </a:cubicBezTo>
                  <a:cubicBezTo>
                    <a:pt x="321" y="115"/>
                    <a:pt x="317" y="114"/>
                    <a:pt x="314" y="115"/>
                  </a:cubicBezTo>
                  <a:cubicBezTo>
                    <a:pt x="311" y="116"/>
                    <a:pt x="310" y="118"/>
                    <a:pt x="307" y="119"/>
                  </a:cubicBezTo>
                  <a:cubicBezTo>
                    <a:pt x="304" y="122"/>
                    <a:pt x="298" y="120"/>
                    <a:pt x="295" y="122"/>
                  </a:cubicBezTo>
                  <a:cubicBezTo>
                    <a:pt x="293" y="123"/>
                    <a:pt x="293" y="125"/>
                    <a:pt x="292" y="126"/>
                  </a:cubicBezTo>
                  <a:cubicBezTo>
                    <a:pt x="290" y="128"/>
                    <a:pt x="287" y="128"/>
                    <a:pt x="284" y="128"/>
                  </a:cubicBezTo>
                  <a:cubicBezTo>
                    <a:pt x="282" y="128"/>
                    <a:pt x="280" y="127"/>
                    <a:pt x="279" y="129"/>
                  </a:cubicBezTo>
                  <a:cubicBezTo>
                    <a:pt x="278" y="131"/>
                    <a:pt x="280" y="134"/>
                    <a:pt x="280" y="136"/>
                  </a:cubicBezTo>
                  <a:cubicBezTo>
                    <a:pt x="282" y="141"/>
                    <a:pt x="285" y="144"/>
                    <a:pt x="290" y="145"/>
                  </a:cubicBezTo>
                  <a:cubicBezTo>
                    <a:pt x="292" y="151"/>
                    <a:pt x="286" y="152"/>
                    <a:pt x="282" y="154"/>
                  </a:cubicBezTo>
                  <a:cubicBezTo>
                    <a:pt x="278" y="156"/>
                    <a:pt x="275" y="158"/>
                    <a:pt x="271" y="157"/>
                  </a:cubicBezTo>
                  <a:cubicBezTo>
                    <a:pt x="269" y="156"/>
                    <a:pt x="268" y="155"/>
                    <a:pt x="266" y="155"/>
                  </a:cubicBezTo>
                  <a:cubicBezTo>
                    <a:pt x="263" y="155"/>
                    <a:pt x="262" y="156"/>
                    <a:pt x="259" y="157"/>
                  </a:cubicBezTo>
                  <a:cubicBezTo>
                    <a:pt x="255" y="159"/>
                    <a:pt x="249" y="159"/>
                    <a:pt x="245" y="157"/>
                  </a:cubicBezTo>
                  <a:cubicBezTo>
                    <a:pt x="237" y="152"/>
                    <a:pt x="224" y="155"/>
                    <a:pt x="219" y="148"/>
                  </a:cubicBezTo>
                  <a:cubicBezTo>
                    <a:pt x="218" y="147"/>
                    <a:pt x="217" y="145"/>
                    <a:pt x="216" y="143"/>
                  </a:cubicBezTo>
                  <a:cubicBezTo>
                    <a:pt x="214" y="142"/>
                    <a:pt x="211" y="141"/>
                    <a:pt x="210" y="138"/>
                  </a:cubicBezTo>
                  <a:cubicBezTo>
                    <a:pt x="210" y="136"/>
                    <a:pt x="210" y="133"/>
                    <a:pt x="210" y="131"/>
                  </a:cubicBezTo>
                  <a:cubicBezTo>
                    <a:pt x="210" y="129"/>
                    <a:pt x="209" y="127"/>
                    <a:pt x="209" y="124"/>
                  </a:cubicBezTo>
                  <a:cubicBezTo>
                    <a:pt x="205" y="122"/>
                    <a:pt x="192" y="122"/>
                    <a:pt x="188" y="126"/>
                  </a:cubicBezTo>
                  <a:cubicBezTo>
                    <a:pt x="185" y="128"/>
                    <a:pt x="182" y="130"/>
                    <a:pt x="179" y="132"/>
                  </a:cubicBezTo>
                  <a:cubicBezTo>
                    <a:pt x="177" y="136"/>
                    <a:pt x="177" y="142"/>
                    <a:pt x="179" y="146"/>
                  </a:cubicBezTo>
                  <a:cubicBezTo>
                    <a:pt x="181" y="150"/>
                    <a:pt x="180" y="154"/>
                    <a:pt x="182" y="158"/>
                  </a:cubicBezTo>
                  <a:cubicBezTo>
                    <a:pt x="183" y="160"/>
                    <a:pt x="184" y="161"/>
                    <a:pt x="185" y="163"/>
                  </a:cubicBezTo>
                  <a:cubicBezTo>
                    <a:pt x="188" y="168"/>
                    <a:pt x="190" y="174"/>
                    <a:pt x="190" y="179"/>
                  </a:cubicBezTo>
                  <a:cubicBezTo>
                    <a:pt x="191" y="186"/>
                    <a:pt x="192" y="194"/>
                    <a:pt x="193" y="202"/>
                  </a:cubicBezTo>
                  <a:cubicBezTo>
                    <a:pt x="193" y="205"/>
                    <a:pt x="193" y="207"/>
                    <a:pt x="192" y="208"/>
                  </a:cubicBezTo>
                  <a:cubicBezTo>
                    <a:pt x="192" y="207"/>
                    <a:pt x="188" y="210"/>
                    <a:pt x="189" y="210"/>
                  </a:cubicBezTo>
                  <a:cubicBezTo>
                    <a:pt x="188" y="210"/>
                    <a:pt x="187" y="211"/>
                    <a:pt x="186" y="211"/>
                  </a:cubicBezTo>
                  <a:cubicBezTo>
                    <a:pt x="184" y="211"/>
                    <a:pt x="183" y="211"/>
                    <a:pt x="182" y="211"/>
                  </a:cubicBezTo>
                  <a:cubicBezTo>
                    <a:pt x="182" y="211"/>
                    <a:pt x="179" y="213"/>
                    <a:pt x="180" y="213"/>
                  </a:cubicBezTo>
                  <a:cubicBezTo>
                    <a:pt x="177" y="213"/>
                    <a:pt x="179" y="212"/>
                    <a:pt x="176" y="211"/>
                  </a:cubicBezTo>
                  <a:cubicBezTo>
                    <a:pt x="175" y="211"/>
                    <a:pt x="171" y="211"/>
                    <a:pt x="171" y="211"/>
                  </a:cubicBezTo>
                  <a:cubicBezTo>
                    <a:pt x="169" y="211"/>
                    <a:pt x="169" y="213"/>
                    <a:pt x="168" y="213"/>
                  </a:cubicBezTo>
                  <a:cubicBezTo>
                    <a:pt x="167" y="214"/>
                    <a:pt x="166" y="213"/>
                    <a:pt x="165" y="214"/>
                  </a:cubicBezTo>
                  <a:cubicBezTo>
                    <a:pt x="164" y="214"/>
                    <a:pt x="164" y="215"/>
                    <a:pt x="164" y="215"/>
                  </a:cubicBezTo>
                  <a:cubicBezTo>
                    <a:pt x="162" y="216"/>
                    <a:pt x="161" y="216"/>
                    <a:pt x="160" y="216"/>
                  </a:cubicBezTo>
                  <a:cubicBezTo>
                    <a:pt x="158" y="216"/>
                    <a:pt x="155" y="216"/>
                    <a:pt x="153" y="216"/>
                  </a:cubicBezTo>
                  <a:cubicBezTo>
                    <a:pt x="149" y="215"/>
                    <a:pt x="144" y="210"/>
                    <a:pt x="141" y="214"/>
                  </a:cubicBezTo>
                  <a:cubicBezTo>
                    <a:pt x="138" y="217"/>
                    <a:pt x="140" y="218"/>
                    <a:pt x="137" y="219"/>
                  </a:cubicBezTo>
                  <a:cubicBezTo>
                    <a:pt x="135" y="220"/>
                    <a:pt x="131" y="219"/>
                    <a:pt x="129" y="219"/>
                  </a:cubicBezTo>
                  <a:cubicBezTo>
                    <a:pt x="122" y="219"/>
                    <a:pt x="120" y="217"/>
                    <a:pt x="118" y="210"/>
                  </a:cubicBezTo>
                  <a:cubicBezTo>
                    <a:pt x="117" y="205"/>
                    <a:pt x="115" y="203"/>
                    <a:pt x="110" y="201"/>
                  </a:cubicBezTo>
                  <a:cubicBezTo>
                    <a:pt x="107" y="199"/>
                    <a:pt x="101" y="201"/>
                    <a:pt x="100" y="198"/>
                  </a:cubicBezTo>
                  <a:cubicBezTo>
                    <a:pt x="98" y="200"/>
                    <a:pt x="98" y="202"/>
                    <a:pt x="95" y="203"/>
                  </a:cubicBezTo>
                  <a:cubicBezTo>
                    <a:pt x="94" y="203"/>
                    <a:pt x="92" y="202"/>
                    <a:pt x="91" y="203"/>
                  </a:cubicBezTo>
                  <a:cubicBezTo>
                    <a:pt x="89" y="203"/>
                    <a:pt x="88" y="205"/>
                    <a:pt x="86" y="206"/>
                  </a:cubicBezTo>
                  <a:cubicBezTo>
                    <a:pt x="85" y="206"/>
                    <a:pt x="84" y="206"/>
                    <a:pt x="83" y="206"/>
                  </a:cubicBezTo>
                  <a:cubicBezTo>
                    <a:pt x="82" y="206"/>
                    <a:pt x="82" y="207"/>
                    <a:pt x="81" y="208"/>
                  </a:cubicBezTo>
                  <a:cubicBezTo>
                    <a:pt x="80" y="209"/>
                    <a:pt x="80" y="210"/>
                    <a:pt x="78" y="210"/>
                  </a:cubicBezTo>
                  <a:cubicBezTo>
                    <a:pt x="76" y="212"/>
                    <a:pt x="74" y="211"/>
                    <a:pt x="71" y="210"/>
                  </a:cubicBezTo>
                  <a:cubicBezTo>
                    <a:pt x="69" y="210"/>
                    <a:pt x="64" y="209"/>
                    <a:pt x="62" y="210"/>
                  </a:cubicBezTo>
                  <a:cubicBezTo>
                    <a:pt x="59" y="211"/>
                    <a:pt x="60" y="215"/>
                    <a:pt x="56" y="213"/>
                  </a:cubicBezTo>
                  <a:cubicBezTo>
                    <a:pt x="53" y="212"/>
                    <a:pt x="54" y="209"/>
                    <a:pt x="50" y="208"/>
                  </a:cubicBezTo>
                  <a:cubicBezTo>
                    <a:pt x="46" y="208"/>
                    <a:pt x="44" y="209"/>
                    <a:pt x="41" y="211"/>
                  </a:cubicBezTo>
                  <a:cubicBezTo>
                    <a:pt x="41" y="211"/>
                    <a:pt x="40" y="211"/>
                    <a:pt x="39" y="211"/>
                  </a:cubicBezTo>
                  <a:cubicBezTo>
                    <a:pt x="39" y="211"/>
                    <a:pt x="38" y="212"/>
                    <a:pt x="38" y="213"/>
                  </a:cubicBezTo>
                  <a:cubicBezTo>
                    <a:pt x="36" y="213"/>
                    <a:pt x="35" y="213"/>
                    <a:pt x="33" y="213"/>
                  </a:cubicBezTo>
                  <a:cubicBezTo>
                    <a:pt x="31" y="213"/>
                    <a:pt x="27" y="213"/>
                    <a:pt x="26" y="214"/>
                  </a:cubicBezTo>
                  <a:cubicBezTo>
                    <a:pt x="23" y="215"/>
                    <a:pt x="21" y="218"/>
                    <a:pt x="20" y="220"/>
                  </a:cubicBezTo>
                  <a:cubicBezTo>
                    <a:pt x="20" y="221"/>
                    <a:pt x="19" y="221"/>
                    <a:pt x="18" y="222"/>
                  </a:cubicBezTo>
                  <a:cubicBezTo>
                    <a:pt x="18" y="222"/>
                    <a:pt x="17" y="222"/>
                    <a:pt x="17" y="222"/>
                  </a:cubicBezTo>
                  <a:cubicBezTo>
                    <a:pt x="16" y="223"/>
                    <a:pt x="14" y="224"/>
                    <a:pt x="13" y="224"/>
                  </a:cubicBezTo>
                  <a:cubicBezTo>
                    <a:pt x="11" y="225"/>
                    <a:pt x="9" y="232"/>
                    <a:pt x="8" y="234"/>
                  </a:cubicBezTo>
                  <a:cubicBezTo>
                    <a:pt x="8" y="237"/>
                    <a:pt x="8" y="237"/>
                    <a:pt x="10" y="238"/>
                  </a:cubicBezTo>
                  <a:cubicBezTo>
                    <a:pt x="10" y="238"/>
                    <a:pt x="11" y="237"/>
                    <a:pt x="12" y="237"/>
                  </a:cubicBezTo>
                  <a:cubicBezTo>
                    <a:pt x="14" y="238"/>
                    <a:pt x="14" y="240"/>
                    <a:pt x="16" y="240"/>
                  </a:cubicBezTo>
                  <a:cubicBezTo>
                    <a:pt x="17" y="240"/>
                    <a:pt x="18" y="240"/>
                    <a:pt x="19" y="240"/>
                  </a:cubicBezTo>
                  <a:cubicBezTo>
                    <a:pt x="21" y="241"/>
                    <a:pt x="23" y="241"/>
                    <a:pt x="24" y="242"/>
                  </a:cubicBezTo>
                  <a:cubicBezTo>
                    <a:pt x="28" y="243"/>
                    <a:pt x="27" y="241"/>
                    <a:pt x="31" y="240"/>
                  </a:cubicBezTo>
                  <a:cubicBezTo>
                    <a:pt x="34" y="239"/>
                    <a:pt x="38" y="242"/>
                    <a:pt x="36" y="246"/>
                  </a:cubicBezTo>
                  <a:cubicBezTo>
                    <a:pt x="32" y="247"/>
                    <a:pt x="28" y="244"/>
                    <a:pt x="23" y="245"/>
                  </a:cubicBezTo>
                  <a:cubicBezTo>
                    <a:pt x="21" y="249"/>
                    <a:pt x="30" y="249"/>
                    <a:pt x="32" y="250"/>
                  </a:cubicBezTo>
                  <a:cubicBezTo>
                    <a:pt x="34" y="251"/>
                    <a:pt x="35" y="252"/>
                    <a:pt x="35" y="254"/>
                  </a:cubicBezTo>
                  <a:cubicBezTo>
                    <a:pt x="34" y="256"/>
                    <a:pt x="33" y="255"/>
                    <a:pt x="31" y="255"/>
                  </a:cubicBezTo>
                  <a:cubicBezTo>
                    <a:pt x="28" y="256"/>
                    <a:pt x="26" y="255"/>
                    <a:pt x="23" y="255"/>
                  </a:cubicBezTo>
                  <a:cubicBezTo>
                    <a:pt x="19" y="256"/>
                    <a:pt x="16" y="254"/>
                    <a:pt x="11" y="254"/>
                  </a:cubicBezTo>
                  <a:cubicBezTo>
                    <a:pt x="9" y="254"/>
                    <a:pt x="4" y="253"/>
                    <a:pt x="2" y="254"/>
                  </a:cubicBezTo>
                  <a:cubicBezTo>
                    <a:pt x="1" y="254"/>
                    <a:pt x="0" y="254"/>
                    <a:pt x="0" y="257"/>
                  </a:cubicBezTo>
                  <a:cubicBezTo>
                    <a:pt x="1" y="260"/>
                    <a:pt x="7" y="260"/>
                    <a:pt x="10" y="262"/>
                  </a:cubicBezTo>
                  <a:cubicBezTo>
                    <a:pt x="12" y="264"/>
                    <a:pt x="14" y="266"/>
                    <a:pt x="17" y="266"/>
                  </a:cubicBezTo>
                  <a:cubicBezTo>
                    <a:pt x="22" y="268"/>
                    <a:pt x="27" y="271"/>
                    <a:pt x="33" y="272"/>
                  </a:cubicBezTo>
                  <a:cubicBezTo>
                    <a:pt x="33" y="273"/>
                    <a:pt x="33" y="276"/>
                    <a:pt x="33" y="277"/>
                  </a:cubicBezTo>
                  <a:cubicBezTo>
                    <a:pt x="32" y="279"/>
                    <a:pt x="31" y="279"/>
                    <a:pt x="30" y="281"/>
                  </a:cubicBezTo>
                  <a:cubicBezTo>
                    <a:pt x="28" y="286"/>
                    <a:pt x="33" y="287"/>
                    <a:pt x="36" y="288"/>
                  </a:cubicBezTo>
                  <a:cubicBezTo>
                    <a:pt x="37" y="288"/>
                    <a:pt x="39" y="288"/>
                    <a:pt x="40" y="288"/>
                  </a:cubicBezTo>
                  <a:cubicBezTo>
                    <a:pt x="43" y="287"/>
                    <a:pt x="41" y="285"/>
                    <a:pt x="43" y="283"/>
                  </a:cubicBezTo>
                  <a:cubicBezTo>
                    <a:pt x="45" y="281"/>
                    <a:pt x="47" y="283"/>
                    <a:pt x="49" y="285"/>
                  </a:cubicBezTo>
                  <a:cubicBezTo>
                    <a:pt x="49" y="284"/>
                    <a:pt x="51" y="283"/>
                    <a:pt x="52" y="283"/>
                  </a:cubicBezTo>
                  <a:cubicBezTo>
                    <a:pt x="52" y="280"/>
                    <a:pt x="57" y="279"/>
                    <a:pt x="58" y="281"/>
                  </a:cubicBezTo>
                  <a:cubicBezTo>
                    <a:pt x="60" y="282"/>
                    <a:pt x="58" y="284"/>
                    <a:pt x="60" y="286"/>
                  </a:cubicBezTo>
                  <a:cubicBezTo>
                    <a:pt x="62" y="286"/>
                    <a:pt x="63" y="286"/>
                    <a:pt x="65" y="286"/>
                  </a:cubicBezTo>
                  <a:cubicBezTo>
                    <a:pt x="67" y="287"/>
                    <a:pt x="68" y="288"/>
                    <a:pt x="71" y="289"/>
                  </a:cubicBezTo>
                  <a:cubicBezTo>
                    <a:pt x="73" y="289"/>
                    <a:pt x="75" y="289"/>
                    <a:pt x="77" y="289"/>
                  </a:cubicBezTo>
                  <a:cubicBezTo>
                    <a:pt x="83" y="288"/>
                    <a:pt x="81" y="290"/>
                    <a:pt x="84" y="294"/>
                  </a:cubicBezTo>
                  <a:cubicBezTo>
                    <a:pt x="85" y="297"/>
                    <a:pt x="84" y="295"/>
                    <a:pt x="87" y="296"/>
                  </a:cubicBezTo>
                  <a:cubicBezTo>
                    <a:pt x="89" y="297"/>
                    <a:pt x="88" y="297"/>
                    <a:pt x="90" y="299"/>
                  </a:cubicBezTo>
                  <a:cubicBezTo>
                    <a:pt x="93" y="301"/>
                    <a:pt x="93" y="301"/>
                    <a:pt x="96" y="302"/>
                  </a:cubicBezTo>
                  <a:cubicBezTo>
                    <a:pt x="100" y="302"/>
                    <a:pt x="98" y="302"/>
                    <a:pt x="101" y="305"/>
                  </a:cubicBezTo>
                  <a:cubicBezTo>
                    <a:pt x="104" y="308"/>
                    <a:pt x="108" y="306"/>
                    <a:pt x="112" y="305"/>
                  </a:cubicBezTo>
                  <a:cubicBezTo>
                    <a:pt x="114" y="303"/>
                    <a:pt x="118" y="303"/>
                    <a:pt x="120" y="304"/>
                  </a:cubicBezTo>
                  <a:cubicBezTo>
                    <a:pt x="123" y="309"/>
                    <a:pt x="113" y="305"/>
                    <a:pt x="114" y="310"/>
                  </a:cubicBezTo>
                  <a:cubicBezTo>
                    <a:pt x="114" y="313"/>
                    <a:pt x="126" y="312"/>
                    <a:pt x="129" y="312"/>
                  </a:cubicBezTo>
                  <a:cubicBezTo>
                    <a:pt x="132" y="312"/>
                    <a:pt x="136" y="311"/>
                    <a:pt x="136" y="315"/>
                  </a:cubicBezTo>
                  <a:cubicBezTo>
                    <a:pt x="136" y="317"/>
                    <a:pt x="134" y="319"/>
                    <a:pt x="133" y="320"/>
                  </a:cubicBezTo>
                  <a:cubicBezTo>
                    <a:pt x="132" y="321"/>
                    <a:pt x="131" y="325"/>
                    <a:pt x="132" y="326"/>
                  </a:cubicBezTo>
                  <a:cubicBezTo>
                    <a:pt x="132" y="331"/>
                    <a:pt x="139" y="327"/>
                    <a:pt x="142" y="328"/>
                  </a:cubicBezTo>
                  <a:cubicBezTo>
                    <a:pt x="145" y="329"/>
                    <a:pt x="147" y="333"/>
                    <a:pt x="148" y="335"/>
                  </a:cubicBezTo>
                  <a:cubicBezTo>
                    <a:pt x="148" y="337"/>
                    <a:pt x="147" y="340"/>
                    <a:pt x="147" y="341"/>
                  </a:cubicBezTo>
                  <a:cubicBezTo>
                    <a:pt x="148" y="343"/>
                    <a:pt x="151" y="343"/>
                    <a:pt x="153" y="344"/>
                  </a:cubicBezTo>
                  <a:cubicBezTo>
                    <a:pt x="155" y="346"/>
                    <a:pt x="155" y="346"/>
                    <a:pt x="156" y="349"/>
                  </a:cubicBezTo>
                  <a:cubicBezTo>
                    <a:pt x="157" y="350"/>
                    <a:pt x="158" y="354"/>
                    <a:pt x="157" y="355"/>
                  </a:cubicBezTo>
                  <a:cubicBezTo>
                    <a:pt x="156" y="355"/>
                    <a:pt x="154" y="356"/>
                    <a:pt x="153" y="355"/>
                  </a:cubicBezTo>
                  <a:cubicBezTo>
                    <a:pt x="152" y="355"/>
                    <a:pt x="150" y="351"/>
                    <a:pt x="149" y="350"/>
                  </a:cubicBezTo>
                  <a:cubicBezTo>
                    <a:pt x="148" y="349"/>
                    <a:pt x="148" y="347"/>
                    <a:pt x="145" y="347"/>
                  </a:cubicBezTo>
                  <a:cubicBezTo>
                    <a:pt x="142" y="347"/>
                    <a:pt x="141" y="351"/>
                    <a:pt x="142" y="353"/>
                  </a:cubicBezTo>
                  <a:cubicBezTo>
                    <a:pt x="143" y="355"/>
                    <a:pt x="146" y="356"/>
                    <a:pt x="147" y="358"/>
                  </a:cubicBezTo>
                  <a:cubicBezTo>
                    <a:pt x="149" y="360"/>
                    <a:pt x="150" y="362"/>
                    <a:pt x="152" y="364"/>
                  </a:cubicBezTo>
                  <a:cubicBezTo>
                    <a:pt x="156" y="368"/>
                    <a:pt x="161" y="373"/>
                    <a:pt x="161" y="379"/>
                  </a:cubicBezTo>
                  <a:cubicBezTo>
                    <a:pt x="165" y="379"/>
                    <a:pt x="165" y="385"/>
                    <a:pt x="167" y="387"/>
                  </a:cubicBezTo>
                  <a:cubicBezTo>
                    <a:pt x="169" y="388"/>
                    <a:pt x="171" y="388"/>
                    <a:pt x="172" y="389"/>
                  </a:cubicBezTo>
                  <a:cubicBezTo>
                    <a:pt x="174" y="390"/>
                    <a:pt x="174" y="393"/>
                    <a:pt x="175" y="395"/>
                  </a:cubicBezTo>
                  <a:cubicBezTo>
                    <a:pt x="176" y="396"/>
                    <a:pt x="179" y="400"/>
                    <a:pt x="180" y="400"/>
                  </a:cubicBezTo>
                  <a:cubicBezTo>
                    <a:pt x="182" y="401"/>
                    <a:pt x="184" y="401"/>
                    <a:pt x="187" y="401"/>
                  </a:cubicBezTo>
                  <a:cubicBezTo>
                    <a:pt x="191" y="401"/>
                    <a:pt x="192" y="403"/>
                    <a:pt x="196" y="403"/>
                  </a:cubicBezTo>
                  <a:cubicBezTo>
                    <a:pt x="199" y="403"/>
                    <a:pt x="199" y="403"/>
                    <a:pt x="201" y="404"/>
                  </a:cubicBezTo>
                  <a:cubicBezTo>
                    <a:pt x="202" y="405"/>
                    <a:pt x="203" y="407"/>
                    <a:pt x="205" y="408"/>
                  </a:cubicBezTo>
                  <a:cubicBezTo>
                    <a:pt x="207" y="408"/>
                    <a:pt x="207" y="407"/>
                    <a:pt x="208" y="406"/>
                  </a:cubicBezTo>
                  <a:cubicBezTo>
                    <a:pt x="210" y="406"/>
                    <a:pt x="212" y="405"/>
                    <a:pt x="214" y="405"/>
                  </a:cubicBezTo>
                  <a:cubicBezTo>
                    <a:pt x="218" y="405"/>
                    <a:pt x="222" y="405"/>
                    <a:pt x="226" y="405"/>
                  </a:cubicBezTo>
                  <a:cubicBezTo>
                    <a:pt x="228" y="405"/>
                    <a:pt x="231" y="404"/>
                    <a:pt x="231" y="406"/>
                  </a:cubicBezTo>
                  <a:cubicBezTo>
                    <a:pt x="232" y="409"/>
                    <a:pt x="226" y="409"/>
                    <a:pt x="224" y="409"/>
                  </a:cubicBezTo>
                  <a:cubicBezTo>
                    <a:pt x="221" y="409"/>
                    <a:pt x="218" y="409"/>
                    <a:pt x="215" y="409"/>
                  </a:cubicBezTo>
                  <a:cubicBezTo>
                    <a:pt x="211" y="409"/>
                    <a:pt x="208" y="407"/>
                    <a:pt x="208" y="412"/>
                  </a:cubicBezTo>
                  <a:cubicBezTo>
                    <a:pt x="208" y="414"/>
                    <a:pt x="208" y="417"/>
                    <a:pt x="209" y="419"/>
                  </a:cubicBezTo>
                  <a:cubicBezTo>
                    <a:pt x="210" y="420"/>
                    <a:pt x="211" y="421"/>
                    <a:pt x="212" y="422"/>
                  </a:cubicBezTo>
                  <a:cubicBezTo>
                    <a:pt x="214" y="426"/>
                    <a:pt x="212" y="431"/>
                    <a:pt x="211" y="434"/>
                  </a:cubicBezTo>
                  <a:cubicBezTo>
                    <a:pt x="211" y="436"/>
                    <a:pt x="211" y="443"/>
                    <a:pt x="208" y="443"/>
                  </a:cubicBezTo>
                  <a:cubicBezTo>
                    <a:pt x="208" y="442"/>
                    <a:pt x="204" y="438"/>
                    <a:pt x="204" y="438"/>
                  </a:cubicBezTo>
                  <a:cubicBezTo>
                    <a:pt x="203" y="437"/>
                    <a:pt x="202" y="436"/>
                    <a:pt x="202" y="434"/>
                  </a:cubicBezTo>
                  <a:cubicBezTo>
                    <a:pt x="199" y="430"/>
                    <a:pt x="198" y="432"/>
                    <a:pt x="194" y="430"/>
                  </a:cubicBezTo>
                  <a:cubicBezTo>
                    <a:pt x="189" y="428"/>
                    <a:pt x="193" y="424"/>
                    <a:pt x="189" y="422"/>
                  </a:cubicBezTo>
                  <a:cubicBezTo>
                    <a:pt x="186" y="424"/>
                    <a:pt x="190" y="429"/>
                    <a:pt x="192" y="431"/>
                  </a:cubicBezTo>
                  <a:cubicBezTo>
                    <a:pt x="193" y="433"/>
                    <a:pt x="193" y="434"/>
                    <a:pt x="194" y="435"/>
                  </a:cubicBezTo>
                  <a:cubicBezTo>
                    <a:pt x="196" y="437"/>
                    <a:pt x="196" y="437"/>
                    <a:pt x="198" y="438"/>
                  </a:cubicBezTo>
                  <a:cubicBezTo>
                    <a:pt x="202" y="441"/>
                    <a:pt x="201" y="446"/>
                    <a:pt x="203" y="450"/>
                  </a:cubicBezTo>
                  <a:cubicBezTo>
                    <a:pt x="205" y="454"/>
                    <a:pt x="206" y="458"/>
                    <a:pt x="210" y="460"/>
                  </a:cubicBezTo>
                  <a:cubicBezTo>
                    <a:pt x="212" y="461"/>
                    <a:pt x="214" y="463"/>
                    <a:pt x="216" y="464"/>
                  </a:cubicBezTo>
                  <a:cubicBezTo>
                    <a:pt x="217" y="465"/>
                    <a:pt x="220" y="467"/>
                    <a:pt x="221" y="468"/>
                  </a:cubicBezTo>
                  <a:cubicBezTo>
                    <a:pt x="223" y="470"/>
                    <a:pt x="222" y="473"/>
                    <a:pt x="223" y="475"/>
                  </a:cubicBezTo>
                  <a:cubicBezTo>
                    <a:pt x="225" y="480"/>
                    <a:pt x="227" y="485"/>
                    <a:pt x="229" y="490"/>
                  </a:cubicBezTo>
                  <a:cubicBezTo>
                    <a:pt x="231" y="494"/>
                    <a:pt x="230" y="499"/>
                    <a:pt x="231" y="503"/>
                  </a:cubicBezTo>
                  <a:cubicBezTo>
                    <a:pt x="232" y="505"/>
                    <a:pt x="233" y="506"/>
                    <a:pt x="233" y="507"/>
                  </a:cubicBezTo>
                  <a:cubicBezTo>
                    <a:pt x="234" y="509"/>
                    <a:pt x="234" y="511"/>
                    <a:pt x="234" y="514"/>
                  </a:cubicBezTo>
                  <a:cubicBezTo>
                    <a:pt x="234" y="510"/>
                    <a:pt x="232" y="505"/>
                    <a:pt x="229" y="502"/>
                  </a:cubicBezTo>
                  <a:cubicBezTo>
                    <a:pt x="227" y="498"/>
                    <a:pt x="225" y="494"/>
                    <a:pt x="223" y="491"/>
                  </a:cubicBezTo>
                  <a:cubicBezTo>
                    <a:pt x="221" y="487"/>
                    <a:pt x="221" y="482"/>
                    <a:pt x="219" y="479"/>
                  </a:cubicBezTo>
                  <a:cubicBezTo>
                    <a:pt x="216" y="476"/>
                    <a:pt x="213" y="472"/>
                    <a:pt x="210" y="470"/>
                  </a:cubicBezTo>
                  <a:cubicBezTo>
                    <a:pt x="210" y="470"/>
                    <a:pt x="206" y="467"/>
                    <a:pt x="206" y="467"/>
                  </a:cubicBezTo>
                  <a:cubicBezTo>
                    <a:pt x="204" y="467"/>
                    <a:pt x="203" y="472"/>
                    <a:pt x="203" y="474"/>
                  </a:cubicBezTo>
                  <a:cubicBezTo>
                    <a:pt x="202" y="479"/>
                    <a:pt x="203" y="485"/>
                    <a:pt x="203" y="491"/>
                  </a:cubicBezTo>
                  <a:cubicBezTo>
                    <a:pt x="203" y="494"/>
                    <a:pt x="203" y="497"/>
                    <a:pt x="203" y="500"/>
                  </a:cubicBezTo>
                  <a:cubicBezTo>
                    <a:pt x="202" y="502"/>
                    <a:pt x="201" y="503"/>
                    <a:pt x="200" y="505"/>
                  </a:cubicBezTo>
                  <a:cubicBezTo>
                    <a:pt x="199" y="508"/>
                    <a:pt x="200" y="512"/>
                    <a:pt x="199" y="516"/>
                  </a:cubicBezTo>
                  <a:cubicBezTo>
                    <a:pt x="198" y="519"/>
                    <a:pt x="197" y="521"/>
                    <a:pt x="196" y="524"/>
                  </a:cubicBezTo>
                  <a:cubicBezTo>
                    <a:pt x="196" y="528"/>
                    <a:pt x="195" y="532"/>
                    <a:pt x="194" y="535"/>
                  </a:cubicBezTo>
                  <a:cubicBezTo>
                    <a:pt x="194" y="538"/>
                    <a:pt x="194" y="541"/>
                    <a:pt x="194" y="543"/>
                  </a:cubicBezTo>
                  <a:cubicBezTo>
                    <a:pt x="193" y="546"/>
                    <a:pt x="192" y="548"/>
                    <a:pt x="191" y="551"/>
                  </a:cubicBezTo>
                  <a:cubicBezTo>
                    <a:pt x="191" y="556"/>
                    <a:pt x="190" y="560"/>
                    <a:pt x="189" y="565"/>
                  </a:cubicBezTo>
                  <a:cubicBezTo>
                    <a:pt x="189" y="567"/>
                    <a:pt x="188" y="570"/>
                    <a:pt x="188" y="573"/>
                  </a:cubicBezTo>
                  <a:cubicBezTo>
                    <a:pt x="187" y="577"/>
                    <a:pt x="186" y="576"/>
                    <a:pt x="184" y="579"/>
                  </a:cubicBezTo>
                  <a:cubicBezTo>
                    <a:pt x="181" y="583"/>
                    <a:pt x="182" y="589"/>
                    <a:pt x="182" y="594"/>
                  </a:cubicBezTo>
                  <a:cubicBezTo>
                    <a:pt x="182" y="600"/>
                    <a:pt x="182" y="606"/>
                    <a:pt x="181" y="610"/>
                  </a:cubicBezTo>
                  <a:cubicBezTo>
                    <a:pt x="179" y="617"/>
                    <a:pt x="176" y="619"/>
                    <a:pt x="170" y="623"/>
                  </a:cubicBezTo>
                  <a:cubicBezTo>
                    <a:pt x="168" y="624"/>
                    <a:pt x="166" y="626"/>
                    <a:pt x="165" y="627"/>
                  </a:cubicBezTo>
                  <a:cubicBezTo>
                    <a:pt x="164" y="629"/>
                    <a:pt x="164" y="633"/>
                    <a:pt x="164" y="635"/>
                  </a:cubicBezTo>
                  <a:cubicBezTo>
                    <a:pt x="165" y="636"/>
                    <a:pt x="166" y="637"/>
                    <a:pt x="166" y="637"/>
                  </a:cubicBezTo>
                  <a:cubicBezTo>
                    <a:pt x="168" y="637"/>
                    <a:pt x="169" y="638"/>
                    <a:pt x="169" y="638"/>
                  </a:cubicBezTo>
                  <a:cubicBezTo>
                    <a:pt x="170" y="639"/>
                    <a:pt x="171" y="639"/>
                    <a:pt x="172" y="640"/>
                  </a:cubicBezTo>
                  <a:cubicBezTo>
                    <a:pt x="173" y="640"/>
                    <a:pt x="174" y="640"/>
                    <a:pt x="175" y="640"/>
                  </a:cubicBezTo>
                  <a:cubicBezTo>
                    <a:pt x="176" y="641"/>
                    <a:pt x="178" y="640"/>
                    <a:pt x="179" y="642"/>
                  </a:cubicBezTo>
                  <a:cubicBezTo>
                    <a:pt x="182" y="646"/>
                    <a:pt x="176" y="649"/>
                    <a:pt x="177" y="653"/>
                  </a:cubicBezTo>
                  <a:cubicBezTo>
                    <a:pt x="178" y="657"/>
                    <a:pt x="180" y="658"/>
                    <a:pt x="182" y="656"/>
                  </a:cubicBezTo>
                  <a:cubicBezTo>
                    <a:pt x="184" y="655"/>
                    <a:pt x="185" y="652"/>
                    <a:pt x="188" y="653"/>
                  </a:cubicBezTo>
                  <a:cubicBezTo>
                    <a:pt x="188" y="657"/>
                    <a:pt x="194" y="659"/>
                    <a:pt x="197" y="661"/>
                  </a:cubicBezTo>
                  <a:cubicBezTo>
                    <a:pt x="199" y="663"/>
                    <a:pt x="201" y="664"/>
                    <a:pt x="203" y="665"/>
                  </a:cubicBezTo>
                  <a:cubicBezTo>
                    <a:pt x="210" y="668"/>
                    <a:pt x="217" y="665"/>
                    <a:pt x="219" y="674"/>
                  </a:cubicBezTo>
                  <a:cubicBezTo>
                    <a:pt x="225" y="675"/>
                    <a:pt x="230" y="677"/>
                    <a:pt x="235" y="677"/>
                  </a:cubicBezTo>
                  <a:cubicBezTo>
                    <a:pt x="238" y="678"/>
                    <a:pt x="242" y="676"/>
                    <a:pt x="244" y="677"/>
                  </a:cubicBezTo>
                  <a:cubicBezTo>
                    <a:pt x="245" y="677"/>
                    <a:pt x="247" y="679"/>
                    <a:pt x="247" y="680"/>
                  </a:cubicBezTo>
                  <a:cubicBezTo>
                    <a:pt x="249" y="681"/>
                    <a:pt x="251" y="682"/>
                    <a:pt x="253" y="683"/>
                  </a:cubicBezTo>
                  <a:cubicBezTo>
                    <a:pt x="254" y="684"/>
                    <a:pt x="256" y="685"/>
                    <a:pt x="258" y="685"/>
                  </a:cubicBezTo>
                  <a:cubicBezTo>
                    <a:pt x="260" y="685"/>
                    <a:pt x="262" y="684"/>
                    <a:pt x="265" y="684"/>
                  </a:cubicBezTo>
                  <a:cubicBezTo>
                    <a:pt x="273" y="684"/>
                    <a:pt x="282" y="685"/>
                    <a:pt x="290" y="684"/>
                  </a:cubicBezTo>
                  <a:cubicBezTo>
                    <a:pt x="292" y="684"/>
                    <a:pt x="293" y="685"/>
                    <a:pt x="294" y="683"/>
                  </a:cubicBezTo>
                  <a:cubicBezTo>
                    <a:pt x="295" y="682"/>
                    <a:pt x="294" y="681"/>
                    <a:pt x="295" y="680"/>
                  </a:cubicBezTo>
                  <a:cubicBezTo>
                    <a:pt x="295" y="678"/>
                    <a:pt x="296" y="678"/>
                    <a:pt x="296" y="677"/>
                  </a:cubicBezTo>
                  <a:cubicBezTo>
                    <a:pt x="297" y="676"/>
                    <a:pt x="297" y="674"/>
                    <a:pt x="297" y="672"/>
                  </a:cubicBezTo>
                  <a:cubicBezTo>
                    <a:pt x="300" y="673"/>
                    <a:pt x="302" y="675"/>
                    <a:pt x="305" y="675"/>
                  </a:cubicBezTo>
                  <a:cubicBezTo>
                    <a:pt x="309" y="676"/>
                    <a:pt x="313" y="679"/>
                    <a:pt x="318" y="680"/>
                  </a:cubicBezTo>
                  <a:cubicBezTo>
                    <a:pt x="320" y="680"/>
                    <a:pt x="322" y="680"/>
                    <a:pt x="324" y="681"/>
                  </a:cubicBezTo>
                  <a:cubicBezTo>
                    <a:pt x="327" y="682"/>
                    <a:pt x="328" y="683"/>
                    <a:pt x="330" y="684"/>
                  </a:cubicBezTo>
                  <a:cubicBezTo>
                    <a:pt x="333" y="685"/>
                    <a:pt x="336" y="687"/>
                    <a:pt x="337" y="690"/>
                  </a:cubicBezTo>
                  <a:cubicBezTo>
                    <a:pt x="337" y="690"/>
                    <a:pt x="337" y="690"/>
                    <a:pt x="337" y="690"/>
                  </a:cubicBezTo>
                  <a:cubicBezTo>
                    <a:pt x="338" y="690"/>
                    <a:pt x="338" y="689"/>
                    <a:pt x="338" y="689"/>
                  </a:cubicBezTo>
                  <a:cubicBezTo>
                    <a:pt x="339" y="689"/>
                    <a:pt x="339" y="688"/>
                    <a:pt x="339" y="688"/>
                  </a:cubicBezTo>
                  <a:cubicBezTo>
                    <a:pt x="340" y="686"/>
                    <a:pt x="340" y="685"/>
                    <a:pt x="342" y="684"/>
                  </a:cubicBezTo>
                  <a:cubicBezTo>
                    <a:pt x="342" y="684"/>
                    <a:pt x="343" y="685"/>
                    <a:pt x="344" y="685"/>
                  </a:cubicBezTo>
                  <a:cubicBezTo>
                    <a:pt x="345" y="686"/>
                    <a:pt x="346" y="686"/>
                    <a:pt x="346" y="687"/>
                  </a:cubicBezTo>
                  <a:cubicBezTo>
                    <a:pt x="348" y="688"/>
                    <a:pt x="349" y="687"/>
                    <a:pt x="349" y="687"/>
                  </a:cubicBezTo>
                  <a:cubicBezTo>
                    <a:pt x="350" y="688"/>
                    <a:pt x="351" y="688"/>
                    <a:pt x="352" y="688"/>
                  </a:cubicBezTo>
                  <a:cubicBezTo>
                    <a:pt x="353" y="689"/>
                    <a:pt x="355" y="689"/>
                    <a:pt x="356" y="689"/>
                  </a:cubicBezTo>
                  <a:cubicBezTo>
                    <a:pt x="358" y="690"/>
                    <a:pt x="360" y="692"/>
                    <a:pt x="362" y="693"/>
                  </a:cubicBezTo>
                  <a:cubicBezTo>
                    <a:pt x="363" y="693"/>
                    <a:pt x="363" y="693"/>
                    <a:pt x="364" y="693"/>
                  </a:cubicBezTo>
                  <a:cubicBezTo>
                    <a:pt x="365" y="693"/>
                    <a:pt x="366" y="694"/>
                    <a:pt x="367" y="694"/>
                  </a:cubicBezTo>
                  <a:cubicBezTo>
                    <a:pt x="368" y="695"/>
                    <a:pt x="370" y="695"/>
                    <a:pt x="371" y="697"/>
                  </a:cubicBezTo>
                  <a:cubicBezTo>
                    <a:pt x="372" y="698"/>
                    <a:pt x="372" y="699"/>
                    <a:pt x="372" y="700"/>
                  </a:cubicBezTo>
                  <a:cubicBezTo>
                    <a:pt x="372" y="701"/>
                    <a:pt x="372" y="702"/>
                    <a:pt x="373" y="703"/>
                  </a:cubicBezTo>
                  <a:cubicBezTo>
                    <a:pt x="373" y="705"/>
                    <a:pt x="374" y="707"/>
                    <a:pt x="373" y="709"/>
                  </a:cubicBezTo>
                  <a:cubicBezTo>
                    <a:pt x="373" y="710"/>
                    <a:pt x="373" y="710"/>
                    <a:pt x="372" y="710"/>
                  </a:cubicBezTo>
                  <a:cubicBezTo>
                    <a:pt x="372" y="710"/>
                    <a:pt x="372" y="710"/>
                    <a:pt x="372" y="710"/>
                  </a:cubicBezTo>
                  <a:cubicBezTo>
                    <a:pt x="374" y="711"/>
                    <a:pt x="374" y="712"/>
                    <a:pt x="376" y="711"/>
                  </a:cubicBezTo>
                  <a:cubicBezTo>
                    <a:pt x="378" y="711"/>
                    <a:pt x="378" y="710"/>
                    <a:pt x="380" y="709"/>
                  </a:cubicBezTo>
                  <a:cubicBezTo>
                    <a:pt x="380" y="709"/>
                    <a:pt x="381" y="709"/>
                    <a:pt x="381" y="709"/>
                  </a:cubicBezTo>
                  <a:cubicBezTo>
                    <a:pt x="382" y="708"/>
                    <a:pt x="382" y="708"/>
                    <a:pt x="382" y="707"/>
                  </a:cubicBezTo>
                  <a:cubicBezTo>
                    <a:pt x="383" y="707"/>
                    <a:pt x="384" y="706"/>
                    <a:pt x="385" y="706"/>
                  </a:cubicBezTo>
                  <a:cubicBezTo>
                    <a:pt x="390" y="705"/>
                    <a:pt x="397" y="708"/>
                    <a:pt x="402" y="709"/>
                  </a:cubicBezTo>
                  <a:cubicBezTo>
                    <a:pt x="407" y="710"/>
                    <a:pt x="408" y="707"/>
                    <a:pt x="412" y="705"/>
                  </a:cubicBezTo>
                  <a:cubicBezTo>
                    <a:pt x="416" y="704"/>
                    <a:pt x="418" y="703"/>
                    <a:pt x="422" y="703"/>
                  </a:cubicBezTo>
                  <a:cubicBezTo>
                    <a:pt x="427" y="703"/>
                    <a:pt x="432" y="703"/>
                    <a:pt x="437" y="704"/>
                  </a:cubicBezTo>
                  <a:cubicBezTo>
                    <a:pt x="439" y="704"/>
                    <a:pt x="440" y="705"/>
                    <a:pt x="442" y="706"/>
                  </a:cubicBezTo>
                  <a:cubicBezTo>
                    <a:pt x="441" y="703"/>
                    <a:pt x="439" y="702"/>
                    <a:pt x="436" y="699"/>
                  </a:cubicBezTo>
                  <a:cubicBezTo>
                    <a:pt x="431" y="695"/>
                    <a:pt x="431" y="690"/>
                    <a:pt x="431" y="685"/>
                  </a:cubicBezTo>
                  <a:cubicBezTo>
                    <a:pt x="431" y="682"/>
                    <a:pt x="431" y="679"/>
                    <a:pt x="432" y="677"/>
                  </a:cubicBezTo>
                  <a:cubicBezTo>
                    <a:pt x="432" y="675"/>
                    <a:pt x="432" y="675"/>
                    <a:pt x="433" y="674"/>
                  </a:cubicBezTo>
                  <a:cubicBezTo>
                    <a:pt x="434" y="672"/>
                    <a:pt x="434" y="672"/>
                    <a:pt x="435" y="671"/>
                  </a:cubicBezTo>
                  <a:cubicBezTo>
                    <a:pt x="438" y="667"/>
                    <a:pt x="438" y="664"/>
                    <a:pt x="440" y="659"/>
                  </a:cubicBezTo>
                  <a:cubicBezTo>
                    <a:pt x="442" y="655"/>
                    <a:pt x="445" y="654"/>
                    <a:pt x="448" y="651"/>
                  </a:cubicBezTo>
                  <a:cubicBezTo>
                    <a:pt x="450" y="649"/>
                    <a:pt x="451" y="648"/>
                    <a:pt x="452" y="646"/>
                  </a:cubicBezTo>
                  <a:cubicBezTo>
                    <a:pt x="453" y="644"/>
                    <a:pt x="453" y="641"/>
                    <a:pt x="455" y="639"/>
                  </a:cubicBezTo>
                  <a:cubicBezTo>
                    <a:pt x="458" y="636"/>
                    <a:pt x="460" y="635"/>
                    <a:pt x="464" y="634"/>
                  </a:cubicBezTo>
                  <a:cubicBezTo>
                    <a:pt x="469" y="634"/>
                    <a:pt x="471" y="630"/>
                    <a:pt x="474" y="627"/>
                  </a:cubicBezTo>
                  <a:cubicBezTo>
                    <a:pt x="478" y="623"/>
                    <a:pt x="481" y="621"/>
                    <a:pt x="487" y="621"/>
                  </a:cubicBezTo>
                  <a:cubicBezTo>
                    <a:pt x="489" y="621"/>
                    <a:pt x="489" y="622"/>
                    <a:pt x="491" y="622"/>
                  </a:cubicBezTo>
                  <a:cubicBezTo>
                    <a:pt x="492" y="623"/>
                    <a:pt x="493" y="624"/>
                    <a:pt x="494" y="624"/>
                  </a:cubicBezTo>
                  <a:cubicBezTo>
                    <a:pt x="495" y="624"/>
                    <a:pt x="496" y="624"/>
                    <a:pt x="497" y="624"/>
                  </a:cubicBezTo>
                  <a:cubicBezTo>
                    <a:pt x="500" y="624"/>
                    <a:pt x="503" y="624"/>
                    <a:pt x="505" y="624"/>
                  </a:cubicBezTo>
                  <a:cubicBezTo>
                    <a:pt x="506" y="625"/>
                    <a:pt x="506" y="626"/>
                    <a:pt x="507" y="626"/>
                  </a:cubicBezTo>
                  <a:cubicBezTo>
                    <a:pt x="508" y="626"/>
                    <a:pt x="510" y="626"/>
                    <a:pt x="511" y="626"/>
                  </a:cubicBezTo>
                  <a:cubicBezTo>
                    <a:pt x="513" y="626"/>
                    <a:pt x="515" y="626"/>
                    <a:pt x="517" y="626"/>
                  </a:cubicBezTo>
                  <a:cubicBezTo>
                    <a:pt x="518" y="626"/>
                    <a:pt x="519" y="626"/>
                    <a:pt x="520" y="626"/>
                  </a:cubicBezTo>
                  <a:cubicBezTo>
                    <a:pt x="521" y="626"/>
                    <a:pt x="522" y="625"/>
                    <a:pt x="523" y="625"/>
                  </a:cubicBezTo>
                  <a:cubicBezTo>
                    <a:pt x="524" y="625"/>
                    <a:pt x="524" y="624"/>
                    <a:pt x="526" y="624"/>
                  </a:cubicBezTo>
                  <a:cubicBezTo>
                    <a:pt x="526" y="626"/>
                    <a:pt x="525" y="631"/>
                    <a:pt x="526" y="633"/>
                  </a:cubicBezTo>
                  <a:cubicBezTo>
                    <a:pt x="527" y="635"/>
                    <a:pt x="529" y="634"/>
                    <a:pt x="532" y="634"/>
                  </a:cubicBezTo>
                  <a:cubicBezTo>
                    <a:pt x="532" y="634"/>
                    <a:pt x="534" y="635"/>
                    <a:pt x="534" y="634"/>
                  </a:cubicBezTo>
                  <a:cubicBezTo>
                    <a:pt x="536" y="634"/>
                    <a:pt x="535" y="634"/>
                    <a:pt x="536" y="632"/>
                  </a:cubicBezTo>
                  <a:cubicBezTo>
                    <a:pt x="537" y="631"/>
                    <a:pt x="537" y="630"/>
                    <a:pt x="538" y="629"/>
                  </a:cubicBezTo>
                  <a:cubicBezTo>
                    <a:pt x="539" y="628"/>
                    <a:pt x="541" y="630"/>
                    <a:pt x="541" y="627"/>
                  </a:cubicBezTo>
                  <a:cubicBezTo>
                    <a:pt x="546" y="630"/>
                    <a:pt x="542" y="632"/>
                    <a:pt x="543" y="635"/>
                  </a:cubicBezTo>
                  <a:cubicBezTo>
                    <a:pt x="545" y="635"/>
                    <a:pt x="545" y="637"/>
                    <a:pt x="547" y="637"/>
                  </a:cubicBezTo>
                  <a:cubicBezTo>
                    <a:pt x="549" y="638"/>
                    <a:pt x="549" y="636"/>
                    <a:pt x="551" y="635"/>
                  </a:cubicBezTo>
                  <a:cubicBezTo>
                    <a:pt x="552" y="635"/>
                    <a:pt x="557" y="635"/>
                    <a:pt x="558" y="635"/>
                  </a:cubicBezTo>
                  <a:cubicBezTo>
                    <a:pt x="560" y="636"/>
                    <a:pt x="560" y="636"/>
                    <a:pt x="560" y="639"/>
                  </a:cubicBezTo>
                  <a:cubicBezTo>
                    <a:pt x="562" y="640"/>
                    <a:pt x="565" y="640"/>
                    <a:pt x="566" y="642"/>
                  </a:cubicBezTo>
                  <a:cubicBezTo>
                    <a:pt x="567" y="644"/>
                    <a:pt x="566" y="647"/>
                    <a:pt x="568" y="648"/>
                  </a:cubicBezTo>
                  <a:cubicBezTo>
                    <a:pt x="569" y="650"/>
                    <a:pt x="572" y="651"/>
                    <a:pt x="574" y="652"/>
                  </a:cubicBezTo>
                  <a:cubicBezTo>
                    <a:pt x="576" y="653"/>
                    <a:pt x="577" y="653"/>
                    <a:pt x="580" y="653"/>
                  </a:cubicBezTo>
                  <a:cubicBezTo>
                    <a:pt x="582" y="653"/>
                    <a:pt x="584" y="654"/>
                    <a:pt x="585" y="654"/>
                  </a:cubicBezTo>
                  <a:cubicBezTo>
                    <a:pt x="588" y="654"/>
                    <a:pt x="592" y="653"/>
                    <a:pt x="594" y="654"/>
                  </a:cubicBezTo>
                  <a:cubicBezTo>
                    <a:pt x="596" y="656"/>
                    <a:pt x="596" y="657"/>
                    <a:pt x="599" y="658"/>
                  </a:cubicBezTo>
                  <a:cubicBezTo>
                    <a:pt x="602" y="659"/>
                    <a:pt x="605" y="658"/>
                    <a:pt x="608" y="658"/>
                  </a:cubicBezTo>
                  <a:cubicBezTo>
                    <a:pt x="612" y="658"/>
                    <a:pt x="616" y="658"/>
                    <a:pt x="621" y="658"/>
                  </a:cubicBezTo>
                  <a:cubicBezTo>
                    <a:pt x="628" y="658"/>
                    <a:pt x="634" y="656"/>
                    <a:pt x="639" y="650"/>
                  </a:cubicBezTo>
                  <a:cubicBezTo>
                    <a:pt x="640" y="651"/>
                    <a:pt x="641" y="651"/>
                    <a:pt x="641" y="650"/>
                  </a:cubicBezTo>
                  <a:cubicBezTo>
                    <a:pt x="642" y="649"/>
                    <a:pt x="641" y="646"/>
                    <a:pt x="641" y="645"/>
                  </a:cubicBezTo>
                  <a:cubicBezTo>
                    <a:pt x="640" y="643"/>
                    <a:pt x="636" y="641"/>
                    <a:pt x="638" y="638"/>
                  </a:cubicBezTo>
                  <a:cubicBezTo>
                    <a:pt x="639" y="638"/>
                    <a:pt x="643" y="637"/>
                    <a:pt x="644" y="637"/>
                  </a:cubicBezTo>
                  <a:cubicBezTo>
                    <a:pt x="645" y="637"/>
                    <a:pt x="646" y="637"/>
                    <a:pt x="647" y="637"/>
                  </a:cubicBezTo>
                  <a:cubicBezTo>
                    <a:pt x="648" y="636"/>
                    <a:pt x="648" y="635"/>
                    <a:pt x="650" y="635"/>
                  </a:cubicBezTo>
                  <a:cubicBezTo>
                    <a:pt x="650" y="633"/>
                    <a:pt x="649" y="630"/>
                    <a:pt x="650" y="627"/>
                  </a:cubicBezTo>
                  <a:cubicBezTo>
                    <a:pt x="651" y="624"/>
                    <a:pt x="654" y="624"/>
                    <a:pt x="657" y="622"/>
                  </a:cubicBezTo>
                  <a:cubicBezTo>
                    <a:pt x="658" y="620"/>
                    <a:pt x="659" y="618"/>
                    <a:pt x="659" y="616"/>
                  </a:cubicBezTo>
                  <a:cubicBezTo>
                    <a:pt x="661" y="612"/>
                    <a:pt x="659" y="613"/>
                    <a:pt x="664" y="612"/>
                  </a:cubicBezTo>
                  <a:cubicBezTo>
                    <a:pt x="667" y="612"/>
                    <a:pt x="670" y="611"/>
                    <a:pt x="673" y="610"/>
                  </a:cubicBezTo>
                  <a:cubicBezTo>
                    <a:pt x="676" y="610"/>
                    <a:pt x="678" y="610"/>
                    <a:pt x="681" y="608"/>
                  </a:cubicBezTo>
                  <a:cubicBezTo>
                    <a:pt x="683" y="606"/>
                    <a:pt x="684" y="605"/>
                    <a:pt x="685" y="602"/>
                  </a:cubicBezTo>
                  <a:cubicBezTo>
                    <a:pt x="685" y="602"/>
                    <a:pt x="686" y="602"/>
                    <a:pt x="687" y="601"/>
                  </a:cubicBezTo>
                  <a:cubicBezTo>
                    <a:pt x="687" y="600"/>
                    <a:pt x="687" y="598"/>
                    <a:pt x="687" y="597"/>
                  </a:cubicBezTo>
                  <a:cubicBezTo>
                    <a:pt x="687" y="595"/>
                    <a:pt x="687" y="592"/>
                    <a:pt x="688" y="589"/>
                  </a:cubicBezTo>
                  <a:cubicBezTo>
                    <a:pt x="690" y="589"/>
                    <a:pt x="691" y="585"/>
                    <a:pt x="693" y="583"/>
                  </a:cubicBezTo>
                  <a:cubicBezTo>
                    <a:pt x="694" y="582"/>
                    <a:pt x="697" y="581"/>
                    <a:pt x="698" y="578"/>
                  </a:cubicBezTo>
                  <a:cubicBezTo>
                    <a:pt x="699" y="577"/>
                    <a:pt x="699" y="568"/>
                    <a:pt x="697" y="567"/>
                  </a:cubicBezTo>
                  <a:cubicBezTo>
                    <a:pt x="695" y="566"/>
                    <a:pt x="690" y="568"/>
                    <a:pt x="688" y="569"/>
                  </a:cubicBezTo>
                  <a:cubicBezTo>
                    <a:pt x="685" y="570"/>
                    <a:pt x="679" y="573"/>
                    <a:pt x="675" y="571"/>
                  </a:cubicBezTo>
                  <a:cubicBezTo>
                    <a:pt x="673" y="570"/>
                    <a:pt x="673" y="567"/>
                    <a:pt x="671" y="566"/>
                  </a:cubicBezTo>
                  <a:cubicBezTo>
                    <a:pt x="668" y="563"/>
                    <a:pt x="663" y="564"/>
                    <a:pt x="660" y="562"/>
                  </a:cubicBezTo>
                  <a:cubicBezTo>
                    <a:pt x="658" y="561"/>
                    <a:pt x="651" y="554"/>
                    <a:pt x="652" y="552"/>
                  </a:cubicBezTo>
                  <a:cubicBezTo>
                    <a:pt x="653" y="550"/>
                    <a:pt x="655" y="553"/>
                    <a:pt x="656" y="550"/>
                  </a:cubicBezTo>
                  <a:cubicBezTo>
                    <a:pt x="657" y="548"/>
                    <a:pt x="653" y="545"/>
                    <a:pt x="652" y="543"/>
                  </a:cubicBezTo>
                  <a:cubicBezTo>
                    <a:pt x="649" y="538"/>
                    <a:pt x="653" y="536"/>
                    <a:pt x="658" y="534"/>
                  </a:cubicBezTo>
                  <a:cubicBezTo>
                    <a:pt x="663" y="532"/>
                    <a:pt x="663" y="527"/>
                    <a:pt x="662" y="522"/>
                  </a:cubicBezTo>
                  <a:cubicBezTo>
                    <a:pt x="659" y="522"/>
                    <a:pt x="659" y="519"/>
                    <a:pt x="658" y="517"/>
                  </a:cubicBezTo>
                  <a:cubicBezTo>
                    <a:pt x="658" y="517"/>
                    <a:pt x="655" y="516"/>
                    <a:pt x="655" y="516"/>
                  </a:cubicBezTo>
                  <a:cubicBezTo>
                    <a:pt x="654" y="515"/>
                    <a:pt x="652" y="515"/>
                    <a:pt x="652" y="515"/>
                  </a:cubicBezTo>
                  <a:cubicBezTo>
                    <a:pt x="647" y="511"/>
                    <a:pt x="648" y="504"/>
                    <a:pt x="641" y="502"/>
                  </a:cubicBezTo>
                  <a:cubicBezTo>
                    <a:pt x="640" y="499"/>
                    <a:pt x="642" y="500"/>
                    <a:pt x="644" y="499"/>
                  </a:cubicBezTo>
                  <a:cubicBezTo>
                    <a:pt x="645" y="499"/>
                    <a:pt x="647" y="500"/>
                    <a:pt x="649" y="499"/>
                  </a:cubicBezTo>
                  <a:cubicBezTo>
                    <a:pt x="651" y="498"/>
                    <a:pt x="649" y="499"/>
                    <a:pt x="651" y="497"/>
                  </a:cubicBezTo>
                  <a:cubicBezTo>
                    <a:pt x="654" y="495"/>
                    <a:pt x="657" y="494"/>
                    <a:pt x="660" y="491"/>
                  </a:cubicBezTo>
                  <a:cubicBezTo>
                    <a:pt x="660" y="491"/>
                    <a:pt x="661" y="490"/>
                    <a:pt x="662" y="490"/>
                  </a:cubicBezTo>
                  <a:cubicBezTo>
                    <a:pt x="663" y="489"/>
                    <a:pt x="665" y="489"/>
                    <a:pt x="666" y="488"/>
                  </a:cubicBezTo>
                  <a:cubicBezTo>
                    <a:pt x="668" y="486"/>
                    <a:pt x="666" y="482"/>
                    <a:pt x="667" y="480"/>
                  </a:cubicBezTo>
                  <a:cubicBezTo>
                    <a:pt x="668" y="477"/>
                    <a:pt x="671" y="476"/>
                    <a:pt x="669" y="473"/>
                  </a:cubicBezTo>
                  <a:cubicBezTo>
                    <a:pt x="668" y="471"/>
                    <a:pt x="666" y="471"/>
                    <a:pt x="665" y="470"/>
                  </a:cubicBezTo>
                  <a:cubicBezTo>
                    <a:pt x="663" y="468"/>
                    <a:pt x="662" y="465"/>
                    <a:pt x="662" y="463"/>
                  </a:cubicBezTo>
                  <a:cubicBezTo>
                    <a:pt x="661" y="461"/>
                    <a:pt x="661" y="459"/>
                    <a:pt x="661" y="457"/>
                  </a:cubicBezTo>
                  <a:cubicBezTo>
                    <a:pt x="660" y="455"/>
                    <a:pt x="657" y="454"/>
                    <a:pt x="656" y="453"/>
                  </a:cubicBezTo>
                  <a:cubicBezTo>
                    <a:pt x="653" y="450"/>
                    <a:pt x="657" y="450"/>
                    <a:pt x="655" y="446"/>
                  </a:cubicBezTo>
                  <a:cubicBezTo>
                    <a:pt x="654" y="444"/>
                    <a:pt x="657" y="443"/>
                    <a:pt x="659" y="438"/>
                  </a:cubicBezTo>
                  <a:cubicBezTo>
                    <a:pt x="661" y="437"/>
                    <a:pt x="662" y="436"/>
                    <a:pt x="663" y="436"/>
                  </a:cubicBezTo>
                  <a:cubicBezTo>
                    <a:pt x="663" y="435"/>
                    <a:pt x="665" y="434"/>
                    <a:pt x="665" y="433"/>
                  </a:cubicBezTo>
                  <a:cubicBezTo>
                    <a:pt x="665" y="432"/>
                    <a:pt x="665" y="430"/>
                    <a:pt x="665" y="430"/>
                  </a:cubicBezTo>
                  <a:cubicBezTo>
                    <a:pt x="665" y="428"/>
                    <a:pt x="664" y="428"/>
                    <a:pt x="664" y="427"/>
                  </a:cubicBezTo>
                  <a:cubicBezTo>
                    <a:pt x="663" y="426"/>
                    <a:pt x="663" y="426"/>
                    <a:pt x="662" y="424"/>
                  </a:cubicBezTo>
                  <a:cubicBezTo>
                    <a:pt x="662" y="424"/>
                    <a:pt x="661" y="423"/>
                    <a:pt x="661" y="422"/>
                  </a:cubicBezTo>
                  <a:cubicBezTo>
                    <a:pt x="660" y="421"/>
                    <a:pt x="659" y="420"/>
                    <a:pt x="659" y="419"/>
                  </a:cubicBezTo>
                  <a:cubicBezTo>
                    <a:pt x="658" y="417"/>
                    <a:pt x="658" y="415"/>
                    <a:pt x="658" y="413"/>
                  </a:cubicBezTo>
                  <a:cubicBezTo>
                    <a:pt x="658" y="412"/>
                    <a:pt x="658" y="410"/>
                    <a:pt x="658" y="409"/>
                  </a:cubicBezTo>
                  <a:cubicBezTo>
                    <a:pt x="658" y="409"/>
                    <a:pt x="657" y="408"/>
                    <a:pt x="657" y="408"/>
                  </a:cubicBezTo>
                  <a:cubicBezTo>
                    <a:pt x="656" y="406"/>
                    <a:pt x="657" y="404"/>
                    <a:pt x="656" y="402"/>
                  </a:cubicBezTo>
                  <a:cubicBezTo>
                    <a:pt x="655" y="402"/>
                    <a:pt x="654" y="401"/>
                    <a:pt x="653" y="401"/>
                  </a:cubicBezTo>
                  <a:cubicBezTo>
                    <a:pt x="652" y="401"/>
                    <a:pt x="650" y="400"/>
                    <a:pt x="650" y="400"/>
                  </a:cubicBezTo>
                  <a:cubicBezTo>
                    <a:pt x="647" y="398"/>
                    <a:pt x="643" y="395"/>
                    <a:pt x="639" y="395"/>
                  </a:cubicBezTo>
                  <a:cubicBezTo>
                    <a:pt x="634" y="395"/>
                    <a:pt x="630" y="398"/>
                    <a:pt x="625" y="400"/>
                  </a:cubicBezTo>
                  <a:cubicBezTo>
                    <a:pt x="623" y="401"/>
                    <a:pt x="620" y="402"/>
                    <a:pt x="617" y="401"/>
                  </a:cubicBezTo>
                  <a:cubicBezTo>
                    <a:pt x="615" y="400"/>
                    <a:pt x="612" y="394"/>
                    <a:pt x="614" y="391"/>
                  </a:cubicBezTo>
                  <a:cubicBezTo>
                    <a:pt x="615" y="389"/>
                    <a:pt x="617" y="390"/>
                    <a:pt x="618" y="388"/>
                  </a:cubicBezTo>
                  <a:cubicBezTo>
                    <a:pt x="619" y="387"/>
                    <a:pt x="618" y="383"/>
                    <a:pt x="618" y="381"/>
                  </a:cubicBezTo>
                  <a:cubicBezTo>
                    <a:pt x="618" y="378"/>
                    <a:pt x="618" y="376"/>
                    <a:pt x="620" y="373"/>
                  </a:cubicBezTo>
                  <a:cubicBezTo>
                    <a:pt x="623" y="371"/>
                    <a:pt x="625" y="369"/>
                    <a:pt x="627" y="366"/>
                  </a:cubicBezTo>
                  <a:cubicBezTo>
                    <a:pt x="629" y="365"/>
                    <a:pt x="629" y="363"/>
                    <a:pt x="631" y="361"/>
                  </a:cubicBezTo>
                  <a:cubicBezTo>
                    <a:pt x="632" y="359"/>
                    <a:pt x="634" y="358"/>
                    <a:pt x="635" y="357"/>
                  </a:cubicBezTo>
                  <a:cubicBezTo>
                    <a:pt x="642" y="352"/>
                    <a:pt x="646" y="345"/>
                    <a:pt x="651" y="339"/>
                  </a:cubicBezTo>
                  <a:cubicBezTo>
                    <a:pt x="654" y="336"/>
                    <a:pt x="656" y="334"/>
                    <a:pt x="658" y="330"/>
                  </a:cubicBezTo>
                  <a:cubicBezTo>
                    <a:pt x="658" y="330"/>
                    <a:pt x="659" y="328"/>
                    <a:pt x="659" y="327"/>
                  </a:cubicBezTo>
                  <a:cubicBezTo>
                    <a:pt x="661" y="326"/>
                    <a:pt x="662" y="327"/>
                    <a:pt x="664" y="325"/>
                  </a:cubicBezTo>
                  <a:cubicBezTo>
                    <a:pt x="670" y="320"/>
                    <a:pt x="652" y="311"/>
                    <a:pt x="663" y="310"/>
                  </a:cubicBezTo>
                  <a:cubicBezTo>
                    <a:pt x="666" y="310"/>
                    <a:pt x="668" y="311"/>
                    <a:pt x="670" y="312"/>
                  </a:cubicBezTo>
                  <a:cubicBezTo>
                    <a:pt x="676" y="313"/>
                    <a:pt x="681" y="310"/>
                    <a:pt x="687" y="310"/>
                  </a:cubicBezTo>
                  <a:cubicBezTo>
                    <a:pt x="689" y="310"/>
                    <a:pt x="690" y="310"/>
                    <a:pt x="692" y="309"/>
                  </a:cubicBezTo>
                  <a:cubicBezTo>
                    <a:pt x="695" y="308"/>
                    <a:pt x="699" y="306"/>
                    <a:pt x="702" y="304"/>
                  </a:cubicBezTo>
                  <a:cubicBezTo>
                    <a:pt x="702" y="304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0"/>
                  </a:cubicBezTo>
                  <a:cubicBezTo>
                    <a:pt x="704" y="300"/>
                    <a:pt x="704" y="300"/>
                    <a:pt x="704" y="300"/>
                  </a:cubicBezTo>
                  <a:cubicBezTo>
                    <a:pt x="704" y="300"/>
                    <a:pt x="704" y="299"/>
                    <a:pt x="704" y="298"/>
                  </a:cubicBezTo>
                  <a:cubicBezTo>
                    <a:pt x="703" y="297"/>
                    <a:pt x="702" y="295"/>
                    <a:pt x="702" y="293"/>
                  </a:cubicBezTo>
                  <a:cubicBezTo>
                    <a:pt x="702" y="285"/>
                    <a:pt x="702" y="278"/>
                    <a:pt x="702" y="270"/>
                  </a:cubicBezTo>
                  <a:cubicBezTo>
                    <a:pt x="702" y="264"/>
                    <a:pt x="701" y="259"/>
                    <a:pt x="705" y="254"/>
                  </a:cubicBezTo>
                  <a:cubicBezTo>
                    <a:pt x="710" y="249"/>
                    <a:pt x="708" y="244"/>
                    <a:pt x="710" y="238"/>
                  </a:cubicBezTo>
                  <a:cubicBezTo>
                    <a:pt x="711" y="233"/>
                    <a:pt x="710" y="228"/>
                    <a:pt x="713" y="224"/>
                  </a:cubicBezTo>
                  <a:cubicBezTo>
                    <a:pt x="714" y="222"/>
                    <a:pt x="715" y="222"/>
                    <a:pt x="716" y="221"/>
                  </a:cubicBezTo>
                  <a:cubicBezTo>
                    <a:pt x="719" y="219"/>
                    <a:pt x="719" y="218"/>
                    <a:pt x="720" y="216"/>
                  </a:cubicBezTo>
                  <a:cubicBezTo>
                    <a:pt x="722" y="210"/>
                    <a:pt x="724" y="207"/>
                    <a:pt x="729" y="203"/>
                  </a:cubicBezTo>
                  <a:cubicBezTo>
                    <a:pt x="733" y="200"/>
                    <a:pt x="736" y="196"/>
                    <a:pt x="737" y="19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6" name="Freeform 17">
              <a:extLst>
                <a:ext uri="{FF2B5EF4-FFF2-40B4-BE49-F238E27FC236}">
                  <a16:creationId xmlns:a16="http://schemas.microsoft.com/office/drawing/2014/main" id="{44DC2ED9-4997-4C16-A9BF-324FA81AF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0375" y="5575300"/>
              <a:ext cx="120650" cy="241300"/>
            </a:xfrm>
            <a:custGeom>
              <a:avLst/>
              <a:gdLst/>
              <a:ahLst/>
              <a:cxnLst>
                <a:cxn ang="0">
                  <a:pos x="61" y="5"/>
                </a:cxn>
                <a:cxn ang="0">
                  <a:pos x="60" y="2"/>
                </a:cxn>
                <a:cxn ang="0">
                  <a:pos x="53" y="3"/>
                </a:cxn>
                <a:cxn ang="0">
                  <a:pos x="51" y="18"/>
                </a:cxn>
                <a:cxn ang="0">
                  <a:pos x="51" y="23"/>
                </a:cxn>
                <a:cxn ang="0">
                  <a:pos x="49" y="27"/>
                </a:cxn>
                <a:cxn ang="0">
                  <a:pos x="41" y="25"/>
                </a:cxn>
                <a:cxn ang="0">
                  <a:pos x="35" y="30"/>
                </a:cxn>
                <a:cxn ang="0">
                  <a:pos x="29" y="32"/>
                </a:cxn>
                <a:cxn ang="0">
                  <a:pos x="22" y="34"/>
                </a:cxn>
                <a:cxn ang="0">
                  <a:pos x="15" y="39"/>
                </a:cxn>
                <a:cxn ang="0">
                  <a:pos x="13" y="47"/>
                </a:cxn>
                <a:cxn ang="0">
                  <a:pos x="12" y="51"/>
                </a:cxn>
                <a:cxn ang="0">
                  <a:pos x="17" y="58"/>
                </a:cxn>
                <a:cxn ang="0">
                  <a:pos x="10" y="62"/>
                </a:cxn>
                <a:cxn ang="0">
                  <a:pos x="5" y="64"/>
                </a:cxn>
                <a:cxn ang="0">
                  <a:pos x="0" y="74"/>
                </a:cxn>
                <a:cxn ang="0">
                  <a:pos x="4" y="77"/>
                </a:cxn>
                <a:cxn ang="0">
                  <a:pos x="8" y="80"/>
                </a:cxn>
                <a:cxn ang="0">
                  <a:pos x="13" y="82"/>
                </a:cxn>
                <a:cxn ang="0">
                  <a:pos x="17" y="83"/>
                </a:cxn>
                <a:cxn ang="0">
                  <a:pos x="16" y="95"/>
                </a:cxn>
                <a:cxn ang="0">
                  <a:pos x="14" y="100"/>
                </a:cxn>
                <a:cxn ang="0">
                  <a:pos x="18" y="101"/>
                </a:cxn>
                <a:cxn ang="0">
                  <a:pos x="21" y="102"/>
                </a:cxn>
                <a:cxn ang="0">
                  <a:pos x="22" y="106"/>
                </a:cxn>
                <a:cxn ang="0">
                  <a:pos x="19" y="108"/>
                </a:cxn>
                <a:cxn ang="0">
                  <a:pos x="21" y="115"/>
                </a:cxn>
                <a:cxn ang="0">
                  <a:pos x="29" y="122"/>
                </a:cxn>
                <a:cxn ang="0">
                  <a:pos x="33" y="126"/>
                </a:cxn>
                <a:cxn ang="0">
                  <a:pos x="39" y="129"/>
                </a:cxn>
                <a:cxn ang="0">
                  <a:pos x="41" y="121"/>
                </a:cxn>
                <a:cxn ang="0">
                  <a:pos x="44" y="116"/>
                </a:cxn>
                <a:cxn ang="0">
                  <a:pos x="45" y="113"/>
                </a:cxn>
                <a:cxn ang="0">
                  <a:pos x="49" y="109"/>
                </a:cxn>
                <a:cxn ang="0">
                  <a:pos x="52" y="99"/>
                </a:cxn>
                <a:cxn ang="0">
                  <a:pos x="53" y="87"/>
                </a:cxn>
                <a:cxn ang="0">
                  <a:pos x="54" y="82"/>
                </a:cxn>
                <a:cxn ang="0">
                  <a:pos x="59" y="76"/>
                </a:cxn>
                <a:cxn ang="0">
                  <a:pos x="60" y="74"/>
                </a:cxn>
                <a:cxn ang="0">
                  <a:pos x="63" y="52"/>
                </a:cxn>
                <a:cxn ang="0">
                  <a:pos x="63" y="40"/>
                </a:cxn>
                <a:cxn ang="0">
                  <a:pos x="60" y="32"/>
                </a:cxn>
                <a:cxn ang="0">
                  <a:pos x="59" y="23"/>
                </a:cxn>
                <a:cxn ang="0">
                  <a:pos x="60" y="22"/>
                </a:cxn>
                <a:cxn ang="0">
                  <a:pos x="63" y="18"/>
                </a:cxn>
                <a:cxn ang="0">
                  <a:pos x="63" y="13"/>
                </a:cxn>
                <a:cxn ang="0">
                  <a:pos x="61" y="20"/>
                </a:cxn>
              </a:cxnLst>
              <a:rect l="0" t="0" r="r" b="b"/>
              <a:pathLst>
                <a:path w="64" h="129">
                  <a:moveTo>
                    <a:pt x="61" y="20"/>
                  </a:moveTo>
                  <a:cubicBezTo>
                    <a:pt x="61" y="15"/>
                    <a:pt x="61" y="10"/>
                    <a:pt x="61" y="5"/>
                  </a:cubicBezTo>
                  <a:cubicBezTo>
                    <a:pt x="61" y="4"/>
                    <a:pt x="62" y="3"/>
                    <a:pt x="61" y="2"/>
                  </a:cubicBezTo>
                  <a:cubicBezTo>
                    <a:pt x="61" y="2"/>
                    <a:pt x="60" y="2"/>
                    <a:pt x="60" y="2"/>
                  </a:cubicBezTo>
                  <a:cubicBezTo>
                    <a:pt x="60" y="2"/>
                    <a:pt x="59" y="1"/>
                    <a:pt x="59" y="1"/>
                  </a:cubicBezTo>
                  <a:cubicBezTo>
                    <a:pt x="57" y="0"/>
                    <a:pt x="54" y="1"/>
                    <a:pt x="53" y="3"/>
                  </a:cubicBezTo>
                  <a:cubicBezTo>
                    <a:pt x="51" y="6"/>
                    <a:pt x="52" y="10"/>
                    <a:pt x="51" y="13"/>
                  </a:cubicBezTo>
                  <a:cubicBezTo>
                    <a:pt x="51" y="15"/>
                    <a:pt x="51" y="16"/>
                    <a:pt x="51" y="18"/>
                  </a:cubicBezTo>
                  <a:cubicBezTo>
                    <a:pt x="51" y="19"/>
                    <a:pt x="51" y="20"/>
                    <a:pt x="51" y="20"/>
                  </a:cubicBezTo>
                  <a:cubicBezTo>
                    <a:pt x="51" y="21"/>
                    <a:pt x="51" y="22"/>
                    <a:pt x="51" y="23"/>
                  </a:cubicBezTo>
                  <a:cubicBezTo>
                    <a:pt x="52" y="25"/>
                    <a:pt x="52" y="26"/>
                    <a:pt x="51" y="27"/>
                  </a:cubicBezTo>
                  <a:cubicBezTo>
                    <a:pt x="50" y="28"/>
                    <a:pt x="50" y="28"/>
                    <a:pt x="49" y="27"/>
                  </a:cubicBezTo>
                  <a:cubicBezTo>
                    <a:pt x="47" y="26"/>
                    <a:pt x="47" y="25"/>
                    <a:pt x="46" y="25"/>
                  </a:cubicBezTo>
                  <a:cubicBezTo>
                    <a:pt x="45" y="24"/>
                    <a:pt x="42" y="24"/>
                    <a:pt x="41" y="25"/>
                  </a:cubicBezTo>
                  <a:cubicBezTo>
                    <a:pt x="40" y="25"/>
                    <a:pt x="39" y="27"/>
                    <a:pt x="38" y="28"/>
                  </a:cubicBezTo>
                  <a:cubicBezTo>
                    <a:pt x="37" y="29"/>
                    <a:pt x="36" y="30"/>
                    <a:pt x="35" y="30"/>
                  </a:cubicBezTo>
                  <a:cubicBezTo>
                    <a:pt x="34" y="31"/>
                    <a:pt x="32" y="30"/>
                    <a:pt x="31" y="30"/>
                  </a:cubicBezTo>
                  <a:cubicBezTo>
                    <a:pt x="30" y="31"/>
                    <a:pt x="30" y="31"/>
                    <a:pt x="29" y="32"/>
                  </a:cubicBezTo>
                  <a:cubicBezTo>
                    <a:pt x="28" y="32"/>
                    <a:pt x="27" y="33"/>
                    <a:pt x="26" y="33"/>
                  </a:cubicBezTo>
                  <a:cubicBezTo>
                    <a:pt x="24" y="34"/>
                    <a:pt x="23" y="33"/>
                    <a:pt x="22" y="34"/>
                  </a:cubicBezTo>
                  <a:cubicBezTo>
                    <a:pt x="20" y="35"/>
                    <a:pt x="20" y="36"/>
                    <a:pt x="19" y="37"/>
                  </a:cubicBezTo>
                  <a:cubicBezTo>
                    <a:pt x="18" y="38"/>
                    <a:pt x="17" y="39"/>
                    <a:pt x="15" y="39"/>
                  </a:cubicBezTo>
                  <a:cubicBezTo>
                    <a:pt x="12" y="41"/>
                    <a:pt x="16" y="41"/>
                    <a:pt x="16" y="43"/>
                  </a:cubicBezTo>
                  <a:cubicBezTo>
                    <a:pt x="13" y="43"/>
                    <a:pt x="13" y="45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2" y="49"/>
                    <a:pt x="12" y="51"/>
                  </a:cubicBezTo>
                  <a:cubicBezTo>
                    <a:pt x="12" y="52"/>
                    <a:pt x="13" y="54"/>
                    <a:pt x="14" y="54"/>
                  </a:cubicBezTo>
                  <a:cubicBezTo>
                    <a:pt x="15" y="55"/>
                    <a:pt x="17" y="57"/>
                    <a:pt x="17" y="58"/>
                  </a:cubicBezTo>
                  <a:cubicBezTo>
                    <a:pt x="15" y="59"/>
                    <a:pt x="13" y="58"/>
                    <a:pt x="11" y="58"/>
                  </a:cubicBezTo>
                  <a:cubicBezTo>
                    <a:pt x="10" y="59"/>
                    <a:pt x="10" y="61"/>
                    <a:pt x="10" y="62"/>
                  </a:cubicBezTo>
                  <a:cubicBezTo>
                    <a:pt x="10" y="64"/>
                    <a:pt x="10" y="64"/>
                    <a:pt x="8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5"/>
                    <a:pt x="4" y="67"/>
                    <a:pt x="3" y="68"/>
                  </a:cubicBezTo>
                  <a:cubicBezTo>
                    <a:pt x="3" y="69"/>
                    <a:pt x="0" y="73"/>
                    <a:pt x="0" y="74"/>
                  </a:cubicBezTo>
                  <a:cubicBezTo>
                    <a:pt x="1" y="75"/>
                    <a:pt x="2" y="74"/>
                    <a:pt x="3" y="75"/>
                  </a:cubicBezTo>
                  <a:cubicBezTo>
                    <a:pt x="3" y="76"/>
                    <a:pt x="3" y="76"/>
                    <a:pt x="4" y="77"/>
                  </a:cubicBezTo>
                  <a:cubicBezTo>
                    <a:pt x="4" y="77"/>
                    <a:pt x="5" y="76"/>
                    <a:pt x="6" y="77"/>
                  </a:cubicBezTo>
                  <a:cubicBezTo>
                    <a:pt x="7" y="77"/>
                    <a:pt x="7" y="79"/>
                    <a:pt x="8" y="80"/>
                  </a:cubicBezTo>
                  <a:cubicBezTo>
                    <a:pt x="9" y="80"/>
                    <a:pt x="10" y="81"/>
                    <a:pt x="10" y="81"/>
                  </a:cubicBezTo>
                  <a:cubicBezTo>
                    <a:pt x="11" y="81"/>
                    <a:pt x="12" y="82"/>
                    <a:pt x="13" y="82"/>
                  </a:cubicBezTo>
                  <a:cubicBezTo>
                    <a:pt x="13" y="82"/>
                    <a:pt x="13" y="82"/>
                    <a:pt x="13" y="83"/>
                  </a:cubicBezTo>
                  <a:cubicBezTo>
                    <a:pt x="14" y="83"/>
                    <a:pt x="16" y="83"/>
                    <a:pt x="17" y="83"/>
                  </a:cubicBezTo>
                  <a:cubicBezTo>
                    <a:pt x="18" y="84"/>
                    <a:pt x="17" y="87"/>
                    <a:pt x="17" y="88"/>
                  </a:cubicBezTo>
                  <a:cubicBezTo>
                    <a:pt x="17" y="90"/>
                    <a:pt x="18" y="93"/>
                    <a:pt x="16" y="95"/>
                  </a:cubicBezTo>
                  <a:cubicBezTo>
                    <a:pt x="15" y="95"/>
                    <a:pt x="15" y="95"/>
                    <a:pt x="14" y="97"/>
                  </a:cubicBezTo>
                  <a:cubicBezTo>
                    <a:pt x="14" y="98"/>
                    <a:pt x="14" y="99"/>
                    <a:pt x="14" y="100"/>
                  </a:cubicBezTo>
                  <a:cubicBezTo>
                    <a:pt x="14" y="100"/>
                    <a:pt x="15" y="101"/>
                    <a:pt x="15" y="101"/>
                  </a:cubicBezTo>
                  <a:cubicBezTo>
                    <a:pt x="16" y="101"/>
                    <a:pt x="17" y="101"/>
                    <a:pt x="18" y="101"/>
                  </a:cubicBezTo>
                  <a:cubicBezTo>
                    <a:pt x="18" y="101"/>
                    <a:pt x="18" y="102"/>
                    <a:pt x="19" y="102"/>
                  </a:cubicBezTo>
                  <a:cubicBezTo>
                    <a:pt x="20" y="102"/>
                    <a:pt x="21" y="102"/>
                    <a:pt x="21" y="102"/>
                  </a:cubicBezTo>
                  <a:cubicBezTo>
                    <a:pt x="22" y="102"/>
                    <a:pt x="23" y="102"/>
                    <a:pt x="24" y="102"/>
                  </a:cubicBezTo>
                  <a:cubicBezTo>
                    <a:pt x="25" y="104"/>
                    <a:pt x="23" y="105"/>
                    <a:pt x="22" y="106"/>
                  </a:cubicBezTo>
                  <a:cubicBezTo>
                    <a:pt x="22" y="107"/>
                    <a:pt x="21" y="107"/>
                    <a:pt x="21" y="107"/>
                  </a:cubicBezTo>
                  <a:cubicBezTo>
                    <a:pt x="20" y="107"/>
                    <a:pt x="20" y="107"/>
                    <a:pt x="19" y="108"/>
                  </a:cubicBezTo>
                  <a:cubicBezTo>
                    <a:pt x="19" y="108"/>
                    <a:pt x="19" y="109"/>
                    <a:pt x="19" y="110"/>
                  </a:cubicBezTo>
                  <a:cubicBezTo>
                    <a:pt x="18" y="113"/>
                    <a:pt x="19" y="113"/>
                    <a:pt x="21" y="115"/>
                  </a:cubicBezTo>
                  <a:cubicBezTo>
                    <a:pt x="22" y="116"/>
                    <a:pt x="22" y="118"/>
                    <a:pt x="24" y="120"/>
                  </a:cubicBezTo>
                  <a:cubicBezTo>
                    <a:pt x="25" y="121"/>
                    <a:pt x="27" y="122"/>
                    <a:pt x="29" y="122"/>
                  </a:cubicBezTo>
                  <a:cubicBezTo>
                    <a:pt x="30" y="122"/>
                    <a:pt x="34" y="121"/>
                    <a:pt x="34" y="123"/>
                  </a:cubicBezTo>
                  <a:cubicBezTo>
                    <a:pt x="34" y="124"/>
                    <a:pt x="33" y="125"/>
                    <a:pt x="33" y="126"/>
                  </a:cubicBezTo>
                  <a:cubicBezTo>
                    <a:pt x="33" y="127"/>
                    <a:pt x="35" y="128"/>
                    <a:pt x="36" y="128"/>
                  </a:cubicBezTo>
                  <a:cubicBezTo>
                    <a:pt x="37" y="129"/>
                    <a:pt x="38" y="129"/>
                    <a:pt x="39" y="129"/>
                  </a:cubicBezTo>
                  <a:cubicBezTo>
                    <a:pt x="40" y="129"/>
                    <a:pt x="41" y="129"/>
                    <a:pt x="41" y="127"/>
                  </a:cubicBezTo>
                  <a:cubicBezTo>
                    <a:pt x="41" y="125"/>
                    <a:pt x="40" y="122"/>
                    <a:pt x="41" y="121"/>
                  </a:cubicBezTo>
                  <a:cubicBezTo>
                    <a:pt x="42" y="120"/>
                    <a:pt x="42" y="120"/>
                    <a:pt x="43" y="119"/>
                  </a:cubicBezTo>
                  <a:cubicBezTo>
                    <a:pt x="43" y="118"/>
                    <a:pt x="43" y="117"/>
                    <a:pt x="44" y="116"/>
                  </a:cubicBezTo>
                  <a:cubicBezTo>
                    <a:pt x="44" y="115"/>
                    <a:pt x="44" y="114"/>
                    <a:pt x="45" y="114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2"/>
                    <a:pt x="46" y="112"/>
                    <a:pt x="47" y="112"/>
                  </a:cubicBezTo>
                  <a:cubicBezTo>
                    <a:pt x="49" y="111"/>
                    <a:pt x="48" y="110"/>
                    <a:pt x="49" y="109"/>
                  </a:cubicBezTo>
                  <a:cubicBezTo>
                    <a:pt x="49" y="107"/>
                    <a:pt x="50" y="106"/>
                    <a:pt x="51" y="104"/>
                  </a:cubicBezTo>
                  <a:cubicBezTo>
                    <a:pt x="51" y="102"/>
                    <a:pt x="52" y="101"/>
                    <a:pt x="52" y="99"/>
                  </a:cubicBezTo>
                  <a:cubicBezTo>
                    <a:pt x="52" y="98"/>
                    <a:pt x="52" y="97"/>
                    <a:pt x="52" y="96"/>
                  </a:cubicBezTo>
                  <a:cubicBezTo>
                    <a:pt x="52" y="93"/>
                    <a:pt x="53" y="90"/>
                    <a:pt x="53" y="87"/>
                  </a:cubicBezTo>
                  <a:cubicBezTo>
                    <a:pt x="53" y="86"/>
                    <a:pt x="52" y="85"/>
                    <a:pt x="53" y="84"/>
                  </a:cubicBezTo>
                  <a:cubicBezTo>
                    <a:pt x="53" y="83"/>
                    <a:pt x="54" y="83"/>
                    <a:pt x="54" y="82"/>
                  </a:cubicBezTo>
                  <a:cubicBezTo>
                    <a:pt x="54" y="82"/>
                    <a:pt x="54" y="81"/>
                    <a:pt x="54" y="81"/>
                  </a:cubicBezTo>
                  <a:cubicBezTo>
                    <a:pt x="54" y="78"/>
                    <a:pt x="58" y="78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3"/>
                    <a:pt x="61" y="72"/>
                    <a:pt x="61" y="71"/>
                  </a:cubicBezTo>
                  <a:cubicBezTo>
                    <a:pt x="61" y="64"/>
                    <a:pt x="63" y="58"/>
                    <a:pt x="63" y="52"/>
                  </a:cubicBezTo>
                  <a:cubicBezTo>
                    <a:pt x="63" y="49"/>
                    <a:pt x="63" y="47"/>
                    <a:pt x="63" y="44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39"/>
                    <a:pt x="64" y="37"/>
                    <a:pt x="63" y="36"/>
                  </a:cubicBezTo>
                  <a:cubicBezTo>
                    <a:pt x="62" y="34"/>
                    <a:pt x="60" y="34"/>
                    <a:pt x="60" y="32"/>
                  </a:cubicBezTo>
                  <a:cubicBezTo>
                    <a:pt x="59" y="30"/>
                    <a:pt x="59" y="29"/>
                    <a:pt x="59" y="27"/>
                  </a:cubicBezTo>
                  <a:cubicBezTo>
                    <a:pt x="59" y="26"/>
                    <a:pt x="59" y="24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1"/>
                    <a:pt x="61" y="20"/>
                    <a:pt x="61" y="20"/>
                  </a:cubicBezTo>
                  <a:cubicBezTo>
                    <a:pt x="62" y="19"/>
                    <a:pt x="63" y="19"/>
                    <a:pt x="63" y="18"/>
                  </a:cubicBezTo>
                  <a:cubicBezTo>
                    <a:pt x="63" y="17"/>
                    <a:pt x="63" y="16"/>
                    <a:pt x="63" y="15"/>
                  </a:cubicBezTo>
                  <a:cubicBezTo>
                    <a:pt x="63" y="14"/>
                    <a:pt x="62" y="14"/>
                    <a:pt x="63" y="13"/>
                  </a:cubicBezTo>
                  <a:cubicBezTo>
                    <a:pt x="61" y="12"/>
                    <a:pt x="61" y="11"/>
                    <a:pt x="61" y="9"/>
                  </a:cubicBezTo>
                  <a:lnTo>
                    <a:pt x="61" y="2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7" name="Freeform 18">
              <a:extLst>
                <a:ext uri="{FF2B5EF4-FFF2-40B4-BE49-F238E27FC236}">
                  <a16:creationId xmlns:a16="http://schemas.microsoft.com/office/drawing/2014/main" id="{526D1BC7-76A2-47B2-85F8-5B45005E00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6388" y="4992688"/>
              <a:ext cx="1143000" cy="1347788"/>
            </a:xfrm>
            <a:custGeom>
              <a:avLst/>
              <a:gdLst/>
              <a:ahLst/>
              <a:cxnLst>
                <a:cxn ang="0">
                  <a:pos x="600" y="532"/>
                </a:cxn>
                <a:cxn ang="0">
                  <a:pos x="571" y="505"/>
                </a:cxn>
                <a:cxn ang="0">
                  <a:pos x="530" y="474"/>
                </a:cxn>
                <a:cxn ang="0">
                  <a:pos x="479" y="433"/>
                </a:cxn>
                <a:cxn ang="0">
                  <a:pos x="489" y="411"/>
                </a:cxn>
                <a:cxn ang="0">
                  <a:pos x="432" y="405"/>
                </a:cxn>
                <a:cxn ang="0">
                  <a:pos x="398" y="374"/>
                </a:cxn>
                <a:cxn ang="0">
                  <a:pos x="378" y="341"/>
                </a:cxn>
                <a:cxn ang="0">
                  <a:pos x="358" y="280"/>
                </a:cxn>
                <a:cxn ang="0">
                  <a:pos x="319" y="243"/>
                </a:cxn>
                <a:cxn ang="0">
                  <a:pos x="296" y="196"/>
                </a:cxn>
                <a:cxn ang="0">
                  <a:pos x="314" y="171"/>
                </a:cxn>
                <a:cxn ang="0">
                  <a:pos x="320" y="143"/>
                </a:cxn>
                <a:cxn ang="0">
                  <a:pos x="329" y="129"/>
                </a:cxn>
                <a:cxn ang="0">
                  <a:pos x="354" y="109"/>
                </a:cxn>
                <a:cxn ang="0">
                  <a:pos x="375" y="120"/>
                </a:cxn>
                <a:cxn ang="0">
                  <a:pos x="373" y="95"/>
                </a:cxn>
                <a:cxn ang="0">
                  <a:pos x="361" y="68"/>
                </a:cxn>
                <a:cxn ang="0">
                  <a:pos x="347" y="37"/>
                </a:cxn>
                <a:cxn ang="0">
                  <a:pos x="303" y="6"/>
                </a:cxn>
                <a:cxn ang="0">
                  <a:pos x="247" y="11"/>
                </a:cxn>
                <a:cxn ang="0">
                  <a:pos x="220" y="18"/>
                </a:cxn>
                <a:cxn ang="0">
                  <a:pos x="198" y="39"/>
                </a:cxn>
                <a:cxn ang="0">
                  <a:pos x="186" y="63"/>
                </a:cxn>
                <a:cxn ang="0">
                  <a:pos x="153" y="50"/>
                </a:cxn>
                <a:cxn ang="0">
                  <a:pos x="131" y="86"/>
                </a:cxn>
                <a:cxn ang="0">
                  <a:pos x="120" y="86"/>
                </a:cxn>
                <a:cxn ang="0">
                  <a:pos x="99" y="60"/>
                </a:cxn>
                <a:cxn ang="0">
                  <a:pos x="74" y="89"/>
                </a:cxn>
                <a:cxn ang="0">
                  <a:pos x="23" y="98"/>
                </a:cxn>
                <a:cxn ang="0">
                  <a:pos x="11" y="159"/>
                </a:cxn>
                <a:cxn ang="0">
                  <a:pos x="20" y="224"/>
                </a:cxn>
                <a:cxn ang="0">
                  <a:pos x="55" y="262"/>
                </a:cxn>
                <a:cxn ang="0">
                  <a:pos x="85" y="238"/>
                </a:cxn>
                <a:cxn ang="0">
                  <a:pos x="140" y="218"/>
                </a:cxn>
                <a:cxn ang="0">
                  <a:pos x="168" y="236"/>
                </a:cxn>
                <a:cxn ang="0">
                  <a:pos x="190" y="257"/>
                </a:cxn>
                <a:cxn ang="0">
                  <a:pos x="199" y="303"/>
                </a:cxn>
                <a:cxn ang="0">
                  <a:pos x="213" y="336"/>
                </a:cxn>
                <a:cxn ang="0">
                  <a:pos x="237" y="363"/>
                </a:cxn>
                <a:cxn ang="0">
                  <a:pos x="264" y="398"/>
                </a:cxn>
                <a:cxn ang="0">
                  <a:pos x="292" y="428"/>
                </a:cxn>
                <a:cxn ang="0">
                  <a:pos x="319" y="461"/>
                </a:cxn>
                <a:cxn ang="0">
                  <a:pos x="365" y="477"/>
                </a:cxn>
                <a:cxn ang="0">
                  <a:pos x="391" y="505"/>
                </a:cxn>
                <a:cxn ang="0">
                  <a:pos x="408" y="513"/>
                </a:cxn>
                <a:cxn ang="0">
                  <a:pos x="427" y="547"/>
                </a:cxn>
                <a:cxn ang="0">
                  <a:pos x="462" y="570"/>
                </a:cxn>
                <a:cxn ang="0">
                  <a:pos x="475" y="628"/>
                </a:cxn>
                <a:cxn ang="0">
                  <a:pos x="458" y="691"/>
                </a:cxn>
                <a:cxn ang="0">
                  <a:pos x="445" y="719"/>
                </a:cxn>
                <a:cxn ang="0">
                  <a:pos x="478" y="708"/>
                </a:cxn>
                <a:cxn ang="0">
                  <a:pos x="510" y="649"/>
                </a:cxn>
                <a:cxn ang="0">
                  <a:pos x="533" y="631"/>
                </a:cxn>
                <a:cxn ang="0">
                  <a:pos x="511" y="590"/>
                </a:cxn>
                <a:cxn ang="0">
                  <a:pos x="518" y="543"/>
                </a:cxn>
                <a:cxn ang="0">
                  <a:pos x="548" y="534"/>
                </a:cxn>
                <a:cxn ang="0">
                  <a:pos x="581" y="549"/>
                </a:cxn>
                <a:cxn ang="0">
                  <a:pos x="612" y="557"/>
                </a:cxn>
              </a:cxnLst>
              <a:rect l="0" t="0" r="r" b="b"/>
              <a:pathLst>
                <a:path w="612" h="721">
                  <a:moveTo>
                    <a:pt x="532" y="476"/>
                  </a:moveTo>
                  <a:cubicBezTo>
                    <a:pt x="533" y="475"/>
                    <a:pt x="533" y="475"/>
                    <a:pt x="533" y="475"/>
                  </a:cubicBezTo>
                  <a:cubicBezTo>
                    <a:pt x="533" y="475"/>
                    <a:pt x="532" y="475"/>
                    <a:pt x="532" y="476"/>
                  </a:cubicBezTo>
                  <a:moveTo>
                    <a:pt x="612" y="551"/>
                  </a:moveTo>
                  <a:cubicBezTo>
                    <a:pt x="612" y="550"/>
                    <a:pt x="611" y="550"/>
                    <a:pt x="611" y="550"/>
                  </a:cubicBezTo>
                  <a:cubicBezTo>
                    <a:pt x="611" y="549"/>
                    <a:pt x="611" y="548"/>
                    <a:pt x="611" y="548"/>
                  </a:cubicBezTo>
                  <a:cubicBezTo>
                    <a:pt x="610" y="547"/>
                    <a:pt x="610" y="547"/>
                    <a:pt x="609" y="546"/>
                  </a:cubicBezTo>
                  <a:cubicBezTo>
                    <a:pt x="609" y="545"/>
                    <a:pt x="609" y="544"/>
                    <a:pt x="609" y="543"/>
                  </a:cubicBezTo>
                  <a:cubicBezTo>
                    <a:pt x="608" y="542"/>
                    <a:pt x="608" y="542"/>
                    <a:pt x="607" y="541"/>
                  </a:cubicBezTo>
                  <a:cubicBezTo>
                    <a:pt x="606" y="540"/>
                    <a:pt x="606" y="538"/>
                    <a:pt x="605" y="537"/>
                  </a:cubicBezTo>
                  <a:cubicBezTo>
                    <a:pt x="604" y="536"/>
                    <a:pt x="603" y="535"/>
                    <a:pt x="602" y="534"/>
                  </a:cubicBezTo>
                  <a:cubicBezTo>
                    <a:pt x="601" y="533"/>
                    <a:pt x="601" y="533"/>
                    <a:pt x="600" y="532"/>
                  </a:cubicBezTo>
                  <a:cubicBezTo>
                    <a:pt x="600" y="532"/>
                    <a:pt x="599" y="531"/>
                    <a:pt x="599" y="531"/>
                  </a:cubicBezTo>
                  <a:cubicBezTo>
                    <a:pt x="598" y="530"/>
                    <a:pt x="598" y="529"/>
                    <a:pt x="597" y="528"/>
                  </a:cubicBezTo>
                  <a:cubicBezTo>
                    <a:pt x="596" y="527"/>
                    <a:pt x="596" y="527"/>
                    <a:pt x="595" y="526"/>
                  </a:cubicBezTo>
                  <a:cubicBezTo>
                    <a:pt x="594" y="525"/>
                    <a:pt x="594" y="524"/>
                    <a:pt x="593" y="523"/>
                  </a:cubicBezTo>
                  <a:cubicBezTo>
                    <a:pt x="592" y="522"/>
                    <a:pt x="591" y="522"/>
                    <a:pt x="591" y="522"/>
                  </a:cubicBezTo>
                  <a:cubicBezTo>
                    <a:pt x="589" y="520"/>
                    <a:pt x="588" y="518"/>
                    <a:pt x="587" y="517"/>
                  </a:cubicBezTo>
                  <a:cubicBezTo>
                    <a:pt x="587" y="516"/>
                    <a:pt x="585" y="515"/>
                    <a:pt x="584" y="514"/>
                  </a:cubicBezTo>
                  <a:cubicBezTo>
                    <a:pt x="582" y="512"/>
                    <a:pt x="580" y="510"/>
                    <a:pt x="578" y="509"/>
                  </a:cubicBezTo>
                  <a:cubicBezTo>
                    <a:pt x="577" y="509"/>
                    <a:pt x="576" y="508"/>
                    <a:pt x="575" y="507"/>
                  </a:cubicBezTo>
                  <a:cubicBezTo>
                    <a:pt x="575" y="507"/>
                    <a:pt x="575" y="507"/>
                    <a:pt x="575" y="507"/>
                  </a:cubicBezTo>
                  <a:cubicBezTo>
                    <a:pt x="575" y="507"/>
                    <a:pt x="574" y="507"/>
                    <a:pt x="574" y="507"/>
                  </a:cubicBezTo>
                  <a:cubicBezTo>
                    <a:pt x="573" y="506"/>
                    <a:pt x="572" y="505"/>
                    <a:pt x="571" y="505"/>
                  </a:cubicBezTo>
                  <a:cubicBezTo>
                    <a:pt x="570" y="504"/>
                    <a:pt x="569" y="504"/>
                    <a:pt x="568" y="503"/>
                  </a:cubicBezTo>
                  <a:cubicBezTo>
                    <a:pt x="566" y="502"/>
                    <a:pt x="565" y="501"/>
                    <a:pt x="563" y="500"/>
                  </a:cubicBezTo>
                  <a:cubicBezTo>
                    <a:pt x="562" y="499"/>
                    <a:pt x="560" y="499"/>
                    <a:pt x="559" y="498"/>
                  </a:cubicBezTo>
                  <a:cubicBezTo>
                    <a:pt x="558" y="497"/>
                    <a:pt x="557" y="497"/>
                    <a:pt x="556" y="496"/>
                  </a:cubicBezTo>
                  <a:cubicBezTo>
                    <a:pt x="555" y="495"/>
                    <a:pt x="554" y="494"/>
                    <a:pt x="552" y="494"/>
                  </a:cubicBezTo>
                  <a:cubicBezTo>
                    <a:pt x="552" y="493"/>
                    <a:pt x="551" y="493"/>
                    <a:pt x="550" y="492"/>
                  </a:cubicBezTo>
                  <a:cubicBezTo>
                    <a:pt x="549" y="491"/>
                    <a:pt x="548" y="490"/>
                    <a:pt x="547" y="489"/>
                  </a:cubicBezTo>
                  <a:cubicBezTo>
                    <a:pt x="546" y="488"/>
                    <a:pt x="545" y="487"/>
                    <a:pt x="544" y="486"/>
                  </a:cubicBezTo>
                  <a:cubicBezTo>
                    <a:pt x="544" y="485"/>
                    <a:pt x="543" y="484"/>
                    <a:pt x="543" y="483"/>
                  </a:cubicBezTo>
                  <a:cubicBezTo>
                    <a:pt x="542" y="481"/>
                    <a:pt x="540" y="481"/>
                    <a:pt x="538" y="479"/>
                  </a:cubicBezTo>
                  <a:cubicBezTo>
                    <a:pt x="537" y="479"/>
                    <a:pt x="532" y="477"/>
                    <a:pt x="532" y="476"/>
                  </a:cubicBezTo>
                  <a:cubicBezTo>
                    <a:pt x="532" y="476"/>
                    <a:pt x="530" y="475"/>
                    <a:pt x="530" y="474"/>
                  </a:cubicBezTo>
                  <a:cubicBezTo>
                    <a:pt x="528" y="473"/>
                    <a:pt x="526" y="471"/>
                    <a:pt x="523" y="471"/>
                  </a:cubicBezTo>
                  <a:cubicBezTo>
                    <a:pt x="521" y="470"/>
                    <a:pt x="519" y="470"/>
                    <a:pt x="517" y="469"/>
                  </a:cubicBezTo>
                  <a:cubicBezTo>
                    <a:pt x="512" y="469"/>
                    <a:pt x="509" y="466"/>
                    <a:pt x="506" y="463"/>
                  </a:cubicBezTo>
                  <a:cubicBezTo>
                    <a:pt x="504" y="462"/>
                    <a:pt x="503" y="460"/>
                    <a:pt x="501" y="460"/>
                  </a:cubicBezTo>
                  <a:cubicBezTo>
                    <a:pt x="499" y="459"/>
                    <a:pt x="497" y="459"/>
                    <a:pt x="495" y="459"/>
                  </a:cubicBezTo>
                  <a:cubicBezTo>
                    <a:pt x="493" y="458"/>
                    <a:pt x="491" y="457"/>
                    <a:pt x="490" y="457"/>
                  </a:cubicBezTo>
                  <a:cubicBezTo>
                    <a:pt x="489" y="455"/>
                    <a:pt x="488" y="454"/>
                    <a:pt x="487" y="452"/>
                  </a:cubicBezTo>
                  <a:cubicBezTo>
                    <a:pt x="486" y="450"/>
                    <a:pt x="485" y="449"/>
                    <a:pt x="483" y="448"/>
                  </a:cubicBezTo>
                  <a:cubicBezTo>
                    <a:pt x="482" y="447"/>
                    <a:pt x="481" y="447"/>
                    <a:pt x="480" y="446"/>
                  </a:cubicBezTo>
                  <a:cubicBezTo>
                    <a:pt x="478" y="445"/>
                    <a:pt x="477" y="444"/>
                    <a:pt x="477" y="443"/>
                  </a:cubicBezTo>
                  <a:cubicBezTo>
                    <a:pt x="476" y="442"/>
                    <a:pt x="477" y="440"/>
                    <a:pt x="477" y="439"/>
                  </a:cubicBezTo>
                  <a:cubicBezTo>
                    <a:pt x="477" y="437"/>
                    <a:pt x="478" y="435"/>
                    <a:pt x="479" y="433"/>
                  </a:cubicBezTo>
                  <a:cubicBezTo>
                    <a:pt x="480" y="432"/>
                    <a:pt x="481" y="431"/>
                    <a:pt x="482" y="430"/>
                  </a:cubicBezTo>
                  <a:cubicBezTo>
                    <a:pt x="482" y="429"/>
                    <a:pt x="483" y="428"/>
                    <a:pt x="484" y="427"/>
                  </a:cubicBezTo>
                  <a:cubicBezTo>
                    <a:pt x="485" y="427"/>
                    <a:pt x="486" y="426"/>
                    <a:pt x="486" y="426"/>
                  </a:cubicBezTo>
                  <a:cubicBezTo>
                    <a:pt x="487" y="426"/>
                    <a:pt x="487" y="426"/>
                    <a:pt x="488" y="426"/>
                  </a:cubicBezTo>
                  <a:cubicBezTo>
                    <a:pt x="488" y="426"/>
                    <a:pt x="488" y="425"/>
                    <a:pt x="489" y="425"/>
                  </a:cubicBezTo>
                  <a:cubicBezTo>
                    <a:pt x="489" y="424"/>
                    <a:pt x="490" y="425"/>
                    <a:pt x="490" y="424"/>
                  </a:cubicBezTo>
                  <a:cubicBezTo>
                    <a:pt x="491" y="424"/>
                    <a:pt x="491" y="424"/>
                    <a:pt x="491" y="423"/>
                  </a:cubicBezTo>
                  <a:cubicBezTo>
                    <a:pt x="492" y="422"/>
                    <a:pt x="493" y="422"/>
                    <a:pt x="494" y="421"/>
                  </a:cubicBezTo>
                  <a:cubicBezTo>
                    <a:pt x="495" y="420"/>
                    <a:pt x="495" y="418"/>
                    <a:pt x="495" y="417"/>
                  </a:cubicBezTo>
                  <a:cubicBezTo>
                    <a:pt x="495" y="417"/>
                    <a:pt x="494" y="416"/>
                    <a:pt x="494" y="416"/>
                  </a:cubicBezTo>
                  <a:cubicBezTo>
                    <a:pt x="494" y="415"/>
                    <a:pt x="493" y="415"/>
                    <a:pt x="493" y="414"/>
                  </a:cubicBezTo>
                  <a:cubicBezTo>
                    <a:pt x="492" y="412"/>
                    <a:pt x="490" y="412"/>
                    <a:pt x="489" y="411"/>
                  </a:cubicBezTo>
                  <a:cubicBezTo>
                    <a:pt x="487" y="409"/>
                    <a:pt x="486" y="408"/>
                    <a:pt x="483" y="408"/>
                  </a:cubicBezTo>
                  <a:cubicBezTo>
                    <a:pt x="482" y="408"/>
                    <a:pt x="481" y="409"/>
                    <a:pt x="479" y="409"/>
                  </a:cubicBezTo>
                  <a:cubicBezTo>
                    <a:pt x="477" y="410"/>
                    <a:pt x="474" y="410"/>
                    <a:pt x="473" y="409"/>
                  </a:cubicBezTo>
                  <a:cubicBezTo>
                    <a:pt x="471" y="408"/>
                    <a:pt x="470" y="408"/>
                    <a:pt x="467" y="409"/>
                  </a:cubicBezTo>
                  <a:cubicBezTo>
                    <a:pt x="466" y="409"/>
                    <a:pt x="464" y="409"/>
                    <a:pt x="463" y="409"/>
                  </a:cubicBezTo>
                  <a:cubicBezTo>
                    <a:pt x="462" y="409"/>
                    <a:pt x="461" y="410"/>
                    <a:pt x="460" y="410"/>
                  </a:cubicBezTo>
                  <a:cubicBezTo>
                    <a:pt x="459" y="410"/>
                    <a:pt x="458" y="410"/>
                    <a:pt x="458" y="410"/>
                  </a:cubicBezTo>
                  <a:cubicBezTo>
                    <a:pt x="456" y="410"/>
                    <a:pt x="454" y="411"/>
                    <a:pt x="452" y="411"/>
                  </a:cubicBezTo>
                  <a:cubicBezTo>
                    <a:pt x="451" y="411"/>
                    <a:pt x="449" y="411"/>
                    <a:pt x="448" y="411"/>
                  </a:cubicBezTo>
                  <a:cubicBezTo>
                    <a:pt x="444" y="411"/>
                    <a:pt x="439" y="411"/>
                    <a:pt x="436" y="408"/>
                  </a:cubicBezTo>
                  <a:cubicBezTo>
                    <a:pt x="435" y="407"/>
                    <a:pt x="435" y="406"/>
                    <a:pt x="434" y="406"/>
                  </a:cubicBezTo>
                  <a:cubicBezTo>
                    <a:pt x="433" y="405"/>
                    <a:pt x="433" y="405"/>
                    <a:pt x="432" y="405"/>
                  </a:cubicBezTo>
                  <a:cubicBezTo>
                    <a:pt x="431" y="403"/>
                    <a:pt x="430" y="403"/>
                    <a:pt x="428" y="402"/>
                  </a:cubicBezTo>
                  <a:cubicBezTo>
                    <a:pt x="427" y="401"/>
                    <a:pt x="426" y="401"/>
                    <a:pt x="425" y="400"/>
                  </a:cubicBezTo>
                  <a:cubicBezTo>
                    <a:pt x="424" y="399"/>
                    <a:pt x="424" y="398"/>
                    <a:pt x="423" y="398"/>
                  </a:cubicBezTo>
                  <a:cubicBezTo>
                    <a:pt x="422" y="397"/>
                    <a:pt x="420" y="398"/>
                    <a:pt x="419" y="398"/>
                  </a:cubicBezTo>
                  <a:cubicBezTo>
                    <a:pt x="418" y="397"/>
                    <a:pt x="418" y="396"/>
                    <a:pt x="416" y="396"/>
                  </a:cubicBezTo>
                  <a:cubicBezTo>
                    <a:pt x="416" y="395"/>
                    <a:pt x="415" y="393"/>
                    <a:pt x="414" y="391"/>
                  </a:cubicBezTo>
                  <a:cubicBezTo>
                    <a:pt x="414" y="390"/>
                    <a:pt x="414" y="388"/>
                    <a:pt x="413" y="387"/>
                  </a:cubicBezTo>
                  <a:cubicBezTo>
                    <a:pt x="413" y="386"/>
                    <a:pt x="412" y="386"/>
                    <a:pt x="411" y="385"/>
                  </a:cubicBezTo>
                  <a:cubicBezTo>
                    <a:pt x="410" y="385"/>
                    <a:pt x="411" y="385"/>
                    <a:pt x="410" y="384"/>
                  </a:cubicBezTo>
                  <a:cubicBezTo>
                    <a:pt x="408" y="383"/>
                    <a:pt x="407" y="382"/>
                    <a:pt x="405" y="381"/>
                  </a:cubicBezTo>
                  <a:cubicBezTo>
                    <a:pt x="403" y="379"/>
                    <a:pt x="401" y="378"/>
                    <a:pt x="399" y="375"/>
                  </a:cubicBezTo>
                  <a:cubicBezTo>
                    <a:pt x="399" y="375"/>
                    <a:pt x="398" y="374"/>
                    <a:pt x="398" y="374"/>
                  </a:cubicBezTo>
                  <a:cubicBezTo>
                    <a:pt x="397" y="372"/>
                    <a:pt x="397" y="371"/>
                    <a:pt x="395" y="370"/>
                  </a:cubicBezTo>
                  <a:cubicBezTo>
                    <a:pt x="395" y="370"/>
                    <a:pt x="391" y="367"/>
                    <a:pt x="391" y="366"/>
                  </a:cubicBezTo>
                  <a:cubicBezTo>
                    <a:pt x="391" y="366"/>
                    <a:pt x="391" y="366"/>
                    <a:pt x="391" y="366"/>
                  </a:cubicBezTo>
                  <a:cubicBezTo>
                    <a:pt x="391" y="366"/>
                    <a:pt x="390" y="366"/>
                    <a:pt x="390" y="366"/>
                  </a:cubicBezTo>
                  <a:cubicBezTo>
                    <a:pt x="390" y="366"/>
                    <a:pt x="390" y="365"/>
                    <a:pt x="390" y="365"/>
                  </a:cubicBezTo>
                  <a:cubicBezTo>
                    <a:pt x="389" y="365"/>
                    <a:pt x="389" y="364"/>
                    <a:pt x="389" y="364"/>
                  </a:cubicBezTo>
                  <a:cubicBezTo>
                    <a:pt x="388" y="363"/>
                    <a:pt x="388" y="363"/>
                    <a:pt x="387" y="363"/>
                  </a:cubicBezTo>
                  <a:cubicBezTo>
                    <a:pt x="387" y="362"/>
                    <a:pt x="387" y="361"/>
                    <a:pt x="386" y="361"/>
                  </a:cubicBezTo>
                  <a:cubicBezTo>
                    <a:pt x="386" y="360"/>
                    <a:pt x="385" y="359"/>
                    <a:pt x="385" y="358"/>
                  </a:cubicBezTo>
                  <a:cubicBezTo>
                    <a:pt x="384" y="357"/>
                    <a:pt x="383" y="356"/>
                    <a:pt x="383" y="355"/>
                  </a:cubicBezTo>
                  <a:cubicBezTo>
                    <a:pt x="382" y="354"/>
                    <a:pt x="382" y="352"/>
                    <a:pt x="381" y="352"/>
                  </a:cubicBezTo>
                  <a:cubicBezTo>
                    <a:pt x="381" y="348"/>
                    <a:pt x="379" y="345"/>
                    <a:pt x="378" y="341"/>
                  </a:cubicBezTo>
                  <a:cubicBezTo>
                    <a:pt x="377" y="338"/>
                    <a:pt x="376" y="335"/>
                    <a:pt x="376" y="332"/>
                  </a:cubicBezTo>
                  <a:cubicBezTo>
                    <a:pt x="375" y="329"/>
                    <a:pt x="375" y="325"/>
                    <a:pt x="374" y="323"/>
                  </a:cubicBezTo>
                  <a:cubicBezTo>
                    <a:pt x="373" y="321"/>
                    <a:pt x="373" y="320"/>
                    <a:pt x="372" y="319"/>
                  </a:cubicBezTo>
                  <a:cubicBezTo>
                    <a:pt x="372" y="318"/>
                    <a:pt x="372" y="317"/>
                    <a:pt x="372" y="316"/>
                  </a:cubicBezTo>
                  <a:cubicBezTo>
                    <a:pt x="372" y="316"/>
                    <a:pt x="371" y="315"/>
                    <a:pt x="371" y="315"/>
                  </a:cubicBezTo>
                  <a:cubicBezTo>
                    <a:pt x="370" y="311"/>
                    <a:pt x="370" y="307"/>
                    <a:pt x="369" y="303"/>
                  </a:cubicBezTo>
                  <a:cubicBezTo>
                    <a:pt x="368" y="301"/>
                    <a:pt x="366" y="299"/>
                    <a:pt x="365" y="297"/>
                  </a:cubicBezTo>
                  <a:cubicBezTo>
                    <a:pt x="364" y="296"/>
                    <a:pt x="364" y="295"/>
                    <a:pt x="364" y="294"/>
                  </a:cubicBezTo>
                  <a:cubicBezTo>
                    <a:pt x="364" y="293"/>
                    <a:pt x="363" y="291"/>
                    <a:pt x="362" y="290"/>
                  </a:cubicBezTo>
                  <a:cubicBezTo>
                    <a:pt x="361" y="288"/>
                    <a:pt x="360" y="287"/>
                    <a:pt x="360" y="285"/>
                  </a:cubicBezTo>
                  <a:cubicBezTo>
                    <a:pt x="360" y="285"/>
                    <a:pt x="359" y="284"/>
                    <a:pt x="359" y="283"/>
                  </a:cubicBezTo>
                  <a:cubicBezTo>
                    <a:pt x="358" y="282"/>
                    <a:pt x="358" y="282"/>
                    <a:pt x="358" y="280"/>
                  </a:cubicBezTo>
                  <a:cubicBezTo>
                    <a:pt x="358" y="279"/>
                    <a:pt x="358" y="279"/>
                    <a:pt x="357" y="279"/>
                  </a:cubicBezTo>
                  <a:cubicBezTo>
                    <a:pt x="355" y="278"/>
                    <a:pt x="354" y="280"/>
                    <a:pt x="352" y="277"/>
                  </a:cubicBezTo>
                  <a:cubicBezTo>
                    <a:pt x="350" y="275"/>
                    <a:pt x="351" y="271"/>
                    <a:pt x="349" y="269"/>
                  </a:cubicBezTo>
                  <a:cubicBezTo>
                    <a:pt x="347" y="268"/>
                    <a:pt x="346" y="267"/>
                    <a:pt x="345" y="266"/>
                  </a:cubicBezTo>
                  <a:cubicBezTo>
                    <a:pt x="344" y="265"/>
                    <a:pt x="343" y="265"/>
                    <a:pt x="342" y="265"/>
                  </a:cubicBezTo>
                  <a:cubicBezTo>
                    <a:pt x="342" y="264"/>
                    <a:pt x="342" y="264"/>
                    <a:pt x="341" y="264"/>
                  </a:cubicBezTo>
                  <a:cubicBezTo>
                    <a:pt x="341" y="264"/>
                    <a:pt x="340" y="263"/>
                    <a:pt x="340" y="263"/>
                  </a:cubicBezTo>
                  <a:cubicBezTo>
                    <a:pt x="338" y="262"/>
                    <a:pt x="337" y="260"/>
                    <a:pt x="336" y="259"/>
                  </a:cubicBezTo>
                  <a:cubicBezTo>
                    <a:pt x="335" y="257"/>
                    <a:pt x="333" y="256"/>
                    <a:pt x="331" y="254"/>
                  </a:cubicBezTo>
                  <a:cubicBezTo>
                    <a:pt x="330" y="253"/>
                    <a:pt x="328" y="251"/>
                    <a:pt x="327" y="250"/>
                  </a:cubicBezTo>
                  <a:cubicBezTo>
                    <a:pt x="326" y="248"/>
                    <a:pt x="324" y="248"/>
                    <a:pt x="323" y="247"/>
                  </a:cubicBezTo>
                  <a:cubicBezTo>
                    <a:pt x="321" y="246"/>
                    <a:pt x="320" y="244"/>
                    <a:pt x="319" y="243"/>
                  </a:cubicBezTo>
                  <a:cubicBezTo>
                    <a:pt x="318" y="242"/>
                    <a:pt x="317" y="241"/>
                    <a:pt x="316" y="241"/>
                  </a:cubicBezTo>
                  <a:cubicBezTo>
                    <a:pt x="315" y="241"/>
                    <a:pt x="315" y="241"/>
                    <a:pt x="314" y="241"/>
                  </a:cubicBezTo>
                  <a:cubicBezTo>
                    <a:pt x="314" y="240"/>
                    <a:pt x="314" y="240"/>
                    <a:pt x="313" y="240"/>
                  </a:cubicBezTo>
                  <a:cubicBezTo>
                    <a:pt x="313" y="239"/>
                    <a:pt x="312" y="239"/>
                    <a:pt x="311" y="238"/>
                  </a:cubicBezTo>
                  <a:cubicBezTo>
                    <a:pt x="309" y="237"/>
                    <a:pt x="308" y="236"/>
                    <a:pt x="307" y="234"/>
                  </a:cubicBezTo>
                  <a:cubicBezTo>
                    <a:pt x="305" y="231"/>
                    <a:pt x="304" y="228"/>
                    <a:pt x="302" y="225"/>
                  </a:cubicBezTo>
                  <a:cubicBezTo>
                    <a:pt x="302" y="224"/>
                    <a:pt x="302" y="224"/>
                    <a:pt x="302" y="224"/>
                  </a:cubicBezTo>
                  <a:cubicBezTo>
                    <a:pt x="302" y="223"/>
                    <a:pt x="301" y="223"/>
                    <a:pt x="301" y="223"/>
                  </a:cubicBezTo>
                  <a:cubicBezTo>
                    <a:pt x="300" y="221"/>
                    <a:pt x="299" y="219"/>
                    <a:pt x="299" y="218"/>
                  </a:cubicBezTo>
                  <a:cubicBezTo>
                    <a:pt x="299" y="214"/>
                    <a:pt x="300" y="210"/>
                    <a:pt x="299" y="206"/>
                  </a:cubicBezTo>
                  <a:cubicBezTo>
                    <a:pt x="298" y="203"/>
                    <a:pt x="296" y="201"/>
                    <a:pt x="296" y="198"/>
                  </a:cubicBezTo>
                  <a:cubicBezTo>
                    <a:pt x="296" y="198"/>
                    <a:pt x="296" y="197"/>
                    <a:pt x="296" y="196"/>
                  </a:cubicBezTo>
                  <a:cubicBezTo>
                    <a:pt x="296" y="196"/>
                    <a:pt x="297" y="196"/>
                    <a:pt x="297" y="195"/>
                  </a:cubicBezTo>
                  <a:cubicBezTo>
                    <a:pt x="297" y="194"/>
                    <a:pt x="297" y="192"/>
                    <a:pt x="297" y="191"/>
                  </a:cubicBezTo>
                  <a:cubicBezTo>
                    <a:pt x="297" y="190"/>
                    <a:pt x="296" y="190"/>
                    <a:pt x="296" y="189"/>
                  </a:cubicBezTo>
                  <a:cubicBezTo>
                    <a:pt x="296" y="189"/>
                    <a:pt x="296" y="188"/>
                    <a:pt x="296" y="187"/>
                  </a:cubicBezTo>
                  <a:cubicBezTo>
                    <a:pt x="296" y="186"/>
                    <a:pt x="296" y="186"/>
                    <a:pt x="297" y="185"/>
                  </a:cubicBezTo>
                  <a:cubicBezTo>
                    <a:pt x="297" y="184"/>
                    <a:pt x="297" y="183"/>
                    <a:pt x="298" y="182"/>
                  </a:cubicBezTo>
                  <a:cubicBezTo>
                    <a:pt x="298" y="181"/>
                    <a:pt x="298" y="181"/>
                    <a:pt x="299" y="181"/>
                  </a:cubicBezTo>
                  <a:cubicBezTo>
                    <a:pt x="299" y="181"/>
                    <a:pt x="299" y="181"/>
                    <a:pt x="300" y="181"/>
                  </a:cubicBezTo>
                  <a:cubicBezTo>
                    <a:pt x="300" y="180"/>
                    <a:pt x="301" y="180"/>
                    <a:pt x="302" y="180"/>
                  </a:cubicBezTo>
                  <a:cubicBezTo>
                    <a:pt x="305" y="179"/>
                    <a:pt x="305" y="176"/>
                    <a:pt x="306" y="173"/>
                  </a:cubicBezTo>
                  <a:cubicBezTo>
                    <a:pt x="307" y="172"/>
                    <a:pt x="307" y="172"/>
                    <a:pt x="308" y="171"/>
                  </a:cubicBezTo>
                  <a:cubicBezTo>
                    <a:pt x="310" y="171"/>
                    <a:pt x="312" y="171"/>
                    <a:pt x="314" y="171"/>
                  </a:cubicBezTo>
                  <a:cubicBezTo>
                    <a:pt x="316" y="171"/>
                    <a:pt x="318" y="170"/>
                    <a:pt x="321" y="171"/>
                  </a:cubicBezTo>
                  <a:cubicBezTo>
                    <a:pt x="321" y="171"/>
                    <a:pt x="322" y="171"/>
                    <a:pt x="323" y="170"/>
                  </a:cubicBezTo>
                  <a:cubicBezTo>
                    <a:pt x="324" y="170"/>
                    <a:pt x="324" y="169"/>
                    <a:pt x="324" y="168"/>
                  </a:cubicBezTo>
                  <a:cubicBezTo>
                    <a:pt x="324" y="166"/>
                    <a:pt x="322" y="165"/>
                    <a:pt x="320" y="164"/>
                  </a:cubicBezTo>
                  <a:cubicBezTo>
                    <a:pt x="318" y="163"/>
                    <a:pt x="317" y="163"/>
                    <a:pt x="316" y="161"/>
                  </a:cubicBezTo>
                  <a:cubicBezTo>
                    <a:pt x="316" y="159"/>
                    <a:pt x="315" y="158"/>
                    <a:pt x="315" y="156"/>
                  </a:cubicBezTo>
                  <a:cubicBezTo>
                    <a:pt x="315" y="154"/>
                    <a:pt x="315" y="155"/>
                    <a:pt x="317" y="154"/>
                  </a:cubicBezTo>
                  <a:cubicBezTo>
                    <a:pt x="318" y="154"/>
                    <a:pt x="319" y="153"/>
                    <a:pt x="319" y="152"/>
                  </a:cubicBezTo>
                  <a:cubicBezTo>
                    <a:pt x="321" y="151"/>
                    <a:pt x="322" y="149"/>
                    <a:pt x="323" y="148"/>
                  </a:cubicBezTo>
                  <a:cubicBezTo>
                    <a:pt x="324" y="147"/>
                    <a:pt x="326" y="147"/>
                    <a:pt x="327" y="146"/>
                  </a:cubicBezTo>
                  <a:cubicBezTo>
                    <a:pt x="328" y="145"/>
                    <a:pt x="328" y="145"/>
                    <a:pt x="328" y="144"/>
                  </a:cubicBezTo>
                  <a:cubicBezTo>
                    <a:pt x="325" y="143"/>
                    <a:pt x="323" y="144"/>
                    <a:pt x="320" y="143"/>
                  </a:cubicBezTo>
                  <a:cubicBezTo>
                    <a:pt x="317" y="141"/>
                    <a:pt x="312" y="142"/>
                    <a:pt x="308" y="142"/>
                  </a:cubicBezTo>
                  <a:cubicBezTo>
                    <a:pt x="308" y="140"/>
                    <a:pt x="310" y="138"/>
                    <a:pt x="310" y="137"/>
                  </a:cubicBezTo>
                  <a:cubicBezTo>
                    <a:pt x="311" y="136"/>
                    <a:pt x="311" y="136"/>
                    <a:pt x="311" y="135"/>
                  </a:cubicBezTo>
                  <a:cubicBezTo>
                    <a:pt x="312" y="135"/>
                    <a:pt x="312" y="135"/>
                    <a:pt x="313" y="134"/>
                  </a:cubicBezTo>
                  <a:cubicBezTo>
                    <a:pt x="315" y="133"/>
                    <a:pt x="314" y="132"/>
                    <a:pt x="314" y="130"/>
                  </a:cubicBezTo>
                  <a:cubicBezTo>
                    <a:pt x="315" y="128"/>
                    <a:pt x="316" y="128"/>
                    <a:pt x="317" y="130"/>
                  </a:cubicBezTo>
                  <a:cubicBezTo>
                    <a:pt x="318" y="131"/>
                    <a:pt x="316" y="133"/>
                    <a:pt x="318" y="134"/>
                  </a:cubicBezTo>
                  <a:cubicBezTo>
                    <a:pt x="319" y="134"/>
                    <a:pt x="320" y="134"/>
                    <a:pt x="321" y="134"/>
                  </a:cubicBezTo>
                  <a:cubicBezTo>
                    <a:pt x="321" y="134"/>
                    <a:pt x="321" y="134"/>
                    <a:pt x="322" y="134"/>
                  </a:cubicBezTo>
                  <a:cubicBezTo>
                    <a:pt x="322" y="134"/>
                    <a:pt x="322" y="134"/>
                    <a:pt x="322" y="133"/>
                  </a:cubicBezTo>
                  <a:cubicBezTo>
                    <a:pt x="324" y="133"/>
                    <a:pt x="325" y="132"/>
                    <a:pt x="326" y="131"/>
                  </a:cubicBezTo>
                  <a:cubicBezTo>
                    <a:pt x="327" y="130"/>
                    <a:pt x="329" y="130"/>
                    <a:pt x="329" y="129"/>
                  </a:cubicBezTo>
                  <a:cubicBezTo>
                    <a:pt x="330" y="128"/>
                    <a:pt x="330" y="128"/>
                    <a:pt x="331" y="127"/>
                  </a:cubicBezTo>
                  <a:cubicBezTo>
                    <a:pt x="331" y="127"/>
                    <a:pt x="332" y="127"/>
                    <a:pt x="333" y="127"/>
                  </a:cubicBezTo>
                  <a:cubicBezTo>
                    <a:pt x="334" y="126"/>
                    <a:pt x="336" y="127"/>
                    <a:pt x="338" y="126"/>
                  </a:cubicBezTo>
                  <a:cubicBezTo>
                    <a:pt x="339" y="126"/>
                    <a:pt x="340" y="124"/>
                    <a:pt x="341" y="124"/>
                  </a:cubicBezTo>
                  <a:cubicBezTo>
                    <a:pt x="342" y="123"/>
                    <a:pt x="343" y="123"/>
                    <a:pt x="345" y="123"/>
                  </a:cubicBezTo>
                  <a:cubicBezTo>
                    <a:pt x="346" y="122"/>
                    <a:pt x="347" y="121"/>
                    <a:pt x="347" y="120"/>
                  </a:cubicBezTo>
                  <a:cubicBezTo>
                    <a:pt x="348" y="119"/>
                    <a:pt x="348" y="118"/>
                    <a:pt x="349" y="118"/>
                  </a:cubicBezTo>
                  <a:cubicBezTo>
                    <a:pt x="350" y="118"/>
                    <a:pt x="351" y="118"/>
                    <a:pt x="351" y="118"/>
                  </a:cubicBezTo>
                  <a:cubicBezTo>
                    <a:pt x="352" y="118"/>
                    <a:pt x="355" y="118"/>
                    <a:pt x="355" y="117"/>
                  </a:cubicBezTo>
                  <a:cubicBezTo>
                    <a:pt x="357" y="115"/>
                    <a:pt x="354" y="114"/>
                    <a:pt x="354" y="112"/>
                  </a:cubicBezTo>
                  <a:cubicBezTo>
                    <a:pt x="353" y="112"/>
                    <a:pt x="353" y="112"/>
                    <a:pt x="353" y="112"/>
                  </a:cubicBezTo>
                  <a:cubicBezTo>
                    <a:pt x="352" y="110"/>
                    <a:pt x="353" y="111"/>
                    <a:pt x="354" y="109"/>
                  </a:cubicBezTo>
                  <a:cubicBezTo>
                    <a:pt x="354" y="108"/>
                    <a:pt x="354" y="107"/>
                    <a:pt x="355" y="106"/>
                  </a:cubicBezTo>
                  <a:cubicBezTo>
                    <a:pt x="355" y="105"/>
                    <a:pt x="356" y="104"/>
                    <a:pt x="358" y="104"/>
                  </a:cubicBezTo>
                  <a:cubicBezTo>
                    <a:pt x="359" y="105"/>
                    <a:pt x="359" y="106"/>
                    <a:pt x="359" y="107"/>
                  </a:cubicBezTo>
                  <a:cubicBezTo>
                    <a:pt x="360" y="108"/>
                    <a:pt x="361" y="108"/>
                    <a:pt x="362" y="109"/>
                  </a:cubicBezTo>
                  <a:cubicBezTo>
                    <a:pt x="363" y="109"/>
                    <a:pt x="364" y="109"/>
                    <a:pt x="365" y="109"/>
                  </a:cubicBezTo>
                  <a:cubicBezTo>
                    <a:pt x="366" y="108"/>
                    <a:pt x="366" y="108"/>
                    <a:pt x="367" y="108"/>
                  </a:cubicBezTo>
                  <a:cubicBezTo>
                    <a:pt x="368" y="107"/>
                    <a:pt x="370" y="104"/>
                    <a:pt x="371" y="105"/>
                  </a:cubicBezTo>
                  <a:cubicBezTo>
                    <a:pt x="372" y="105"/>
                    <a:pt x="372" y="107"/>
                    <a:pt x="372" y="108"/>
                  </a:cubicBezTo>
                  <a:cubicBezTo>
                    <a:pt x="373" y="108"/>
                    <a:pt x="373" y="110"/>
                    <a:pt x="373" y="110"/>
                  </a:cubicBezTo>
                  <a:cubicBezTo>
                    <a:pt x="375" y="111"/>
                    <a:pt x="378" y="111"/>
                    <a:pt x="377" y="114"/>
                  </a:cubicBezTo>
                  <a:cubicBezTo>
                    <a:pt x="376" y="115"/>
                    <a:pt x="375" y="115"/>
                    <a:pt x="375" y="116"/>
                  </a:cubicBezTo>
                  <a:cubicBezTo>
                    <a:pt x="374" y="117"/>
                    <a:pt x="374" y="119"/>
                    <a:pt x="375" y="120"/>
                  </a:cubicBezTo>
                  <a:cubicBezTo>
                    <a:pt x="375" y="120"/>
                    <a:pt x="380" y="120"/>
                    <a:pt x="381" y="120"/>
                  </a:cubicBezTo>
                  <a:cubicBezTo>
                    <a:pt x="383" y="119"/>
                    <a:pt x="384" y="118"/>
                    <a:pt x="385" y="117"/>
                  </a:cubicBezTo>
                  <a:cubicBezTo>
                    <a:pt x="386" y="116"/>
                    <a:pt x="386" y="116"/>
                    <a:pt x="387" y="115"/>
                  </a:cubicBezTo>
                  <a:cubicBezTo>
                    <a:pt x="387" y="115"/>
                    <a:pt x="387" y="115"/>
                    <a:pt x="388" y="114"/>
                  </a:cubicBezTo>
                  <a:cubicBezTo>
                    <a:pt x="389" y="112"/>
                    <a:pt x="389" y="111"/>
                    <a:pt x="389" y="108"/>
                  </a:cubicBezTo>
                  <a:cubicBezTo>
                    <a:pt x="389" y="107"/>
                    <a:pt x="389" y="107"/>
                    <a:pt x="389" y="105"/>
                  </a:cubicBezTo>
                  <a:cubicBezTo>
                    <a:pt x="388" y="105"/>
                    <a:pt x="389" y="105"/>
                    <a:pt x="388" y="104"/>
                  </a:cubicBezTo>
                  <a:cubicBezTo>
                    <a:pt x="388" y="103"/>
                    <a:pt x="386" y="103"/>
                    <a:pt x="385" y="102"/>
                  </a:cubicBezTo>
                  <a:cubicBezTo>
                    <a:pt x="384" y="101"/>
                    <a:pt x="384" y="100"/>
                    <a:pt x="383" y="100"/>
                  </a:cubicBezTo>
                  <a:cubicBezTo>
                    <a:pt x="382" y="100"/>
                    <a:pt x="381" y="100"/>
                    <a:pt x="380" y="100"/>
                  </a:cubicBezTo>
                  <a:cubicBezTo>
                    <a:pt x="379" y="100"/>
                    <a:pt x="377" y="100"/>
                    <a:pt x="376" y="99"/>
                  </a:cubicBezTo>
                  <a:cubicBezTo>
                    <a:pt x="374" y="98"/>
                    <a:pt x="374" y="97"/>
                    <a:pt x="373" y="95"/>
                  </a:cubicBezTo>
                  <a:cubicBezTo>
                    <a:pt x="372" y="94"/>
                    <a:pt x="371" y="92"/>
                    <a:pt x="370" y="91"/>
                  </a:cubicBezTo>
                  <a:cubicBezTo>
                    <a:pt x="370" y="91"/>
                    <a:pt x="370" y="91"/>
                    <a:pt x="370" y="90"/>
                  </a:cubicBezTo>
                  <a:cubicBezTo>
                    <a:pt x="370" y="89"/>
                    <a:pt x="371" y="89"/>
                    <a:pt x="371" y="89"/>
                  </a:cubicBezTo>
                  <a:cubicBezTo>
                    <a:pt x="372" y="88"/>
                    <a:pt x="372" y="89"/>
                    <a:pt x="372" y="87"/>
                  </a:cubicBezTo>
                  <a:cubicBezTo>
                    <a:pt x="372" y="87"/>
                    <a:pt x="372" y="86"/>
                    <a:pt x="372" y="86"/>
                  </a:cubicBezTo>
                  <a:cubicBezTo>
                    <a:pt x="369" y="85"/>
                    <a:pt x="364" y="86"/>
                    <a:pt x="367" y="82"/>
                  </a:cubicBezTo>
                  <a:cubicBezTo>
                    <a:pt x="368" y="81"/>
                    <a:pt x="368" y="80"/>
                    <a:pt x="370" y="79"/>
                  </a:cubicBezTo>
                  <a:cubicBezTo>
                    <a:pt x="371" y="78"/>
                    <a:pt x="372" y="76"/>
                    <a:pt x="374" y="75"/>
                  </a:cubicBezTo>
                  <a:cubicBezTo>
                    <a:pt x="375" y="75"/>
                    <a:pt x="378" y="75"/>
                    <a:pt x="377" y="73"/>
                  </a:cubicBezTo>
                  <a:cubicBezTo>
                    <a:pt x="376" y="72"/>
                    <a:pt x="373" y="71"/>
                    <a:pt x="372" y="70"/>
                  </a:cubicBezTo>
                  <a:cubicBezTo>
                    <a:pt x="370" y="70"/>
                    <a:pt x="369" y="69"/>
                    <a:pt x="368" y="69"/>
                  </a:cubicBezTo>
                  <a:cubicBezTo>
                    <a:pt x="365" y="69"/>
                    <a:pt x="363" y="68"/>
                    <a:pt x="361" y="68"/>
                  </a:cubicBezTo>
                  <a:cubicBezTo>
                    <a:pt x="361" y="67"/>
                    <a:pt x="361" y="66"/>
                    <a:pt x="362" y="65"/>
                  </a:cubicBezTo>
                  <a:cubicBezTo>
                    <a:pt x="362" y="64"/>
                    <a:pt x="363" y="64"/>
                    <a:pt x="364" y="63"/>
                  </a:cubicBezTo>
                  <a:cubicBezTo>
                    <a:pt x="366" y="62"/>
                    <a:pt x="366" y="62"/>
                    <a:pt x="366" y="61"/>
                  </a:cubicBezTo>
                  <a:cubicBezTo>
                    <a:pt x="366" y="59"/>
                    <a:pt x="366" y="58"/>
                    <a:pt x="367" y="57"/>
                  </a:cubicBezTo>
                  <a:cubicBezTo>
                    <a:pt x="369" y="55"/>
                    <a:pt x="371" y="54"/>
                    <a:pt x="374" y="54"/>
                  </a:cubicBezTo>
                  <a:cubicBezTo>
                    <a:pt x="376" y="54"/>
                    <a:pt x="378" y="54"/>
                    <a:pt x="380" y="53"/>
                  </a:cubicBezTo>
                  <a:cubicBezTo>
                    <a:pt x="382" y="42"/>
                    <a:pt x="382" y="42"/>
                    <a:pt x="382" y="42"/>
                  </a:cubicBezTo>
                  <a:cubicBezTo>
                    <a:pt x="382" y="42"/>
                    <a:pt x="382" y="42"/>
                    <a:pt x="381" y="42"/>
                  </a:cubicBezTo>
                  <a:cubicBezTo>
                    <a:pt x="378" y="42"/>
                    <a:pt x="374" y="42"/>
                    <a:pt x="371" y="42"/>
                  </a:cubicBezTo>
                  <a:cubicBezTo>
                    <a:pt x="368" y="42"/>
                    <a:pt x="366" y="42"/>
                    <a:pt x="363" y="42"/>
                  </a:cubicBezTo>
                  <a:cubicBezTo>
                    <a:pt x="359" y="41"/>
                    <a:pt x="355" y="41"/>
                    <a:pt x="351" y="39"/>
                  </a:cubicBezTo>
                  <a:cubicBezTo>
                    <a:pt x="350" y="39"/>
                    <a:pt x="349" y="38"/>
                    <a:pt x="347" y="37"/>
                  </a:cubicBezTo>
                  <a:cubicBezTo>
                    <a:pt x="346" y="37"/>
                    <a:pt x="344" y="37"/>
                    <a:pt x="343" y="37"/>
                  </a:cubicBezTo>
                  <a:cubicBezTo>
                    <a:pt x="341" y="36"/>
                    <a:pt x="339" y="36"/>
                    <a:pt x="337" y="36"/>
                  </a:cubicBezTo>
                  <a:cubicBezTo>
                    <a:pt x="334" y="35"/>
                    <a:pt x="332" y="35"/>
                    <a:pt x="329" y="35"/>
                  </a:cubicBezTo>
                  <a:cubicBezTo>
                    <a:pt x="328" y="35"/>
                    <a:pt x="327" y="35"/>
                    <a:pt x="326" y="35"/>
                  </a:cubicBezTo>
                  <a:cubicBezTo>
                    <a:pt x="322" y="33"/>
                    <a:pt x="317" y="30"/>
                    <a:pt x="314" y="27"/>
                  </a:cubicBezTo>
                  <a:cubicBezTo>
                    <a:pt x="312" y="26"/>
                    <a:pt x="310" y="24"/>
                    <a:pt x="309" y="22"/>
                  </a:cubicBezTo>
                  <a:cubicBezTo>
                    <a:pt x="308" y="20"/>
                    <a:pt x="308" y="18"/>
                    <a:pt x="306" y="17"/>
                  </a:cubicBezTo>
                  <a:cubicBezTo>
                    <a:pt x="305" y="16"/>
                    <a:pt x="304" y="15"/>
                    <a:pt x="303" y="14"/>
                  </a:cubicBezTo>
                  <a:cubicBezTo>
                    <a:pt x="302" y="13"/>
                    <a:pt x="301" y="12"/>
                    <a:pt x="301" y="12"/>
                  </a:cubicBezTo>
                  <a:cubicBezTo>
                    <a:pt x="299" y="10"/>
                    <a:pt x="300" y="10"/>
                    <a:pt x="300" y="9"/>
                  </a:cubicBezTo>
                  <a:cubicBezTo>
                    <a:pt x="300" y="8"/>
                    <a:pt x="300" y="7"/>
                    <a:pt x="301" y="6"/>
                  </a:cubicBezTo>
                  <a:cubicBezTo>
                    <a:pt x="301" y="6"/>
                    <a:pt x="303" y="6"/>
                    <a:pt x="303" y="6"/>
                  </a:cubicBezTo>
                  <a:cubicBezTo>
                    <a:pt x="304" y="5"/>
                    <a:pt x="306" y="4"/>
                    <a:pt x="306" y="3"/>
                  </a:cubicBezTo>
                  <a:cubicBezTo>
                    <a:pt x="306" y="0"/>
                    <a:pt x="303" y="0"/>
                    <a:pt x="301" y="0"/>
                  </a:cubicBezTo>
                  <a:cubicBezTo>
                    <a:pt x="299" y="0"/>
                    <a:pt x="297" y="1"/>
                    <a:pt x="296" y="2"/>
                  </a:cubicBezTo>
                  <a:cubicBezTo>
                    <a:pt x="293" y="3"/>
                    <a:pt x="290" y="4"/>
                    <a:pt x="288" y="6"/>
                  </a:cubicBezTo>
                  <a:cubicBezTo>
                    <a:pt x="286" y="7"/>
                    <a:pt x="283" y="10"/>
                    <a:pt x="281" y="8"/>
                  </a:cubicBezTo>
                  <a:cubicBezTo>
                    <a:pt x="280" y="7"/>
                    <a:pt x="279" y="6"/>
                    <a:pt x="277" y="7"/>
                  </a:cubicBezTo>
                  <a:cubicBezTo>
                    <a:pt x="276" y="7"/>
                    <a:pt x="275" y="8"/>
                    <a:pt x="274" y="9"/>
                  </a:cubicBezTo>
                  <a:cubicBezTo>
                    <a:pt x="273" y="9"/>
                    <a:pt x="272" y="9"/>
                    <a:pt x="271" y="9"/>
                  </a:cubicBezTo>
                  <a:cubicBezTo>
                    <a:pt x="266" y="9"/>
                    <a:pt x="261" y="8"/>
                    <a:pt x="256" y="8"/>
                  </a:cubicBezTo>
                  <a:cubicBezTo>
                    <a:pt x="255" y="8"/>
                    <a:pt x="254" y="8"/>
                    <a:pt x="253" y="8"/>
                  </a:cubicBezTo>
                  <a:cubicBezTo>
                    <a:pt x="251" y="8"/>
                    <a:pt x="250" y="9"/>
                    <a:pt x="249" y="9"/>
                  </a:cubicBezTo>
                  <a:cubicBezTo>
                    <a:pt x="247" y="10"/>
                    <a:pt x="247" y="10"/>
                    <a:pt x="247" y="11"/>
                  </a:cubicBezTo>
                  <a:cubicBezTo>
                    <a:pt x="246" y="12"/>
                    <a:pt x="246" y="12"/>
                    <a:pt x="246" y="14"/>
                  </a:cubicBezTo>
                  <a:cubicBezTo>
                    <a:pt x="246" y="15"/>
                    <a:pt x="246" y="16"/>
                    <a:pt x="246" y="17"/>
                  </a:cubicBezTo>
                  <a:cubicBezTo>
                    <a:pt x="245" y="19"/>
                    <a:pt x="244" y="20"/>
                    <a:pt x="243" y="21"/>
                  </a:cubicBezTo>
                  <a:cubicBezTo>
                    <a:pt x="243" y="23"/>
                    <a:pt x="243" y="25"/>
                    <a:pt x="241" y="26"/>
                  </a:cubicBezTo>
                  <a:cubicBezTo>
                    <a:pt x="239" y="26"/>
                    <a:pt x="237" y="26"/>
                    <a:pt x="236" y="26"/>
                  </a:cubicBezTo>
                  <a:cubicBezTo>
                    <a:pt x="235" y="26"/>
                    <a:pt x="234" y="26"/>
                    <a:pt x="234" y="25"/>
                  </a:cubicBezTo>
                  <a:cubicBezTo>
                    <a:pt x="233" y="25"/>
                    <a:pt x="233" y="25"/>
                    <a:pt x="232" y="24"/>
                  </a:cubicBezTo>
                  <a:cubicBezTo>
                    <a:pt x="232" y="24"/>
                    <a:pt x="230" y="24"/>
                    <a:pt x="230" y="24"/>
                  </a:cubicBezTo>
                  <a:cubicBezTo>
                    <a:pt x="229" y="24"/>
                    <a:pt x="227" y="24"/>
                    <a:pt x="227" y="23"/>
                  </a:cubicBezTo>
                  <a:cubicBezTo>
                    <a:pt x="226" y="22"/>
                    <a:pt x="227" y="21"/>
                    <a:pt x="226" y="20"/>
                  </a:cubicBezTo>
                  <a:cubicBezTo>
                    <a:pt x="226" y="19"/>
                    <a:pt x="225" y="19"/>
                    <a:pt x="224" y="19"/>
                  </a:cubicBezTo>
                  <a:cubicBezTo>
                    <a:pt x="223" y="19"/>
                    <a:pt x="221" y="18"/>
                    <a:pt x="220" y="18"/>
                  </a:cubicBezTo>
                  <a:cubicBezTo>
                    <a:pt x="219" y="18"/>
                    <a:pt x="218" y="18"/>
                    <a:pt x="217" y="18"/>
                  </a:cubicBezTo>
                  <a:cubicBezTo>
                    <a:pt x="216" y="18"/>
                    <a:pt x="215" y="18"/>
                    <a:pt x="213" y="18"/>
                  </a:cubicBezTo>
                  <a:cubicBezTo>
                    <a:pt x="213" y="19"/>
                    <a:pt x="213" y="20"/>
                    <a:pt x="213" y="22"/>
                  </a:cubicBezTo>
                  <a:cubicBezTo>
                    <a:pt x="212" y="23"/>
                    <a:pt x="212" y="25"/>
                    <a:pt x="211" y="27"/>
                  </a:cubicBezTo>
                  <a:cubicBezTo>
                    <a:pt x="209" y="29"/>
                    <a:pt x="207" y="30"/>
                    <a:pt x="208" y="34"/>
                  </a:cubicBezTo>
                  <a:cubicBezTo>
                    <a:pt x="208" y="35"/>
                    <a:pt x="209" y="35"/>
                    <a:pt x="210" y="36"/>
                  </a:cubicBezTo>
                  <a:cubicBezTo>
                    <a:pt x="210" y="36"/>
                    <a:pt x="210" y="37"/>
                    <a:pt x="211" y="37"/>
                  </a:cubicBezTo>
                  <a:cubicBezTo>
                    <a:pt x="211" y="37"/>
                    <a:pt x="212" y="37"/>
                    <a:pt x="213" y="38"/>
                  </a:cubicBezTo>
                  <a:cubicBezTo>
                    <a:pt x="213" y="38"/>
                    <a:pt x="212" y="41"/>
                    <a:pt x="212" y="42"/>
                  </a:cubicBezTo>
                  <a:cubicBezTo>
                    <a:pt x="211" y="42"/>
                    <a:pt x="209" y="43"/>
                    <a:pt x="208" y="43"/>
                  </a:cubicBezTo>
                  <a:cubicBezTo>
                    <a:pt x="206" y="44"/>
                    <a:pt x="204" y="44"/>
                    <a:pt x="203" y="43"/>
                  </a:cubicBezTo>
                  <a:cubicBezTo>
                    <a:pt x="201" y="42"/>
                    <a:pt x="201" y="39"/>
                    <a:pt x="198" y="39"/>
                  </a:cubicBezTo>
                  <a:cubicBezTo>
                    <a:pt x="197" y="39"/>
                    <a:pt x="197" y="40"/>
                    <a:pt x="196" y="40"/>
                  </a:cubicBezTo>
                  <a:cubicBezTo>
                    <a:pt x="195" y="41"/>
                    <a:pt x="194" y="41"/>
                    <a:pt x="192" y="42"/>
                  </a:cubicBezTo>
                  <a:cubicBezTo>
                    <a:pt x="191" y="42"/>
                    <a:pt x="190" y="43"/>
                    <a:pt x="190" y="44"/>
                  </a:cubicBezTo>
                  <a:cubicBezTo>
                    <a:pt x="189" y="46"/>
                    <a:pt x="189" y="47"/>
                    <a:pt x="189" y="49"/>
                  </a:cubicBezTo>
                  <a:cubicBezTo>
                    <a:pt x="189" y="50"/>
                    <a:pt x="189" y="52"/>
                    <a:pt x="189" y="54"/>
                  </a:cubicBezTo>
                  <a:cubicBezTo>
                    <a:pt x="191" y="54"/>
                    <a:pt x="193" y="53"/>
                    <a:pt x="194" y="54"/>
                  </a:cubicBezTo>
                  <a:cubicBezTo>
                    <a:pt x="196" y="55"/>
                    <a:pt x="194" y="58"/>
                    <a:pt x="194" y="59"/>
                  </a:cubicBezTo>
                  <a:cubicBezTo>
                    <a:pt x="193" y="60"/>
                    <a:pt x="193" y="60"/>
                    <a:pt x="192" y="61"/>
                  </a:cubicBezTo>
                  <a:cubicBezTo>
                    <a:pt x="192" y="62"/>
                    <a:pt x="193" y="62"/>
                    <a:pt x="193" y="63"/>
                  </a:cubicBezTo>
                  <a:cubicBezTo>
                    <a:pt x="194" y="65"/>
                    <a:pt x="195" y="66"/>
                    <a:pt x="195" y="68"/>
                  </a:cubicBezTo>
                  <a:cubicBezTo>
                    <a:pt x="192" y="68"/>
                    <a:pt x="190" y="67"/>
                    <a:pt x="188" y="66"/>
                  </a:cubicBezTo>
                  <a:cubicBezTo>
                    <a:pt x="187" y="65"/>
                    <a:pt x="187" y="64"/>
                    <a:pt x="186" y="63"/>
                  </a:cubicBezTo>
                  <a:cubicBezTo>
                    <a:pt x="186" y="63"/>
                    <a:pt x="186" y="60"/>
                    <a:pt x="185" y="60"/>
                  </a:cubicBezTo>
                  <a:cubicBezTo>
                    <a:pt x="184" y="59"/>
                    <a:pt x="182" y="60"/>
                    <a:pt x="181" y="60"/>
                  </a:cubicBezTo>
                  <a:cubicBezTo>
                    <a:pt x="179" y="60"/>
                    <a:pt x="177" y="60"/>
                    <a:pt x="175" y="60"/>
                  </a:cubicBezTo>
                  <a:cubicBezTo>
                    <a:pt x="174" y="60"/>
                    <a:pt x="173" y="60"/>
                    <a:pt x="172" y="61"/>
                  </a:cubicBezTo>
                  <a:cubicBezTo>
                    <a:pt x="171" y="61"/>
                    <a:pt x="171" y="62"/>
                    <a:pt x="170" y="63"/>
                  </a:cubicBezTo>
                  <a:cubicBezTo>
                    <a:pt x="170" y="63"/>
                    <a:pt x="169" y="63"/>
                    <a:pt x="168" y="63"/>
                  </a:cubicBezTo>
                  <a:cubicBezTo>
                    <a:pt x="167" y="63"/>
                    <a:pt x="167" y="63"/>
                    <a:pt x="166" y="64"/>
                  </a:cubicBezTo>
                  <a:cubicBezTo>
                    <a:pt x="164" y="64"/>
                    <a:pt x="162" y="63"/>
                    <a:pt x="161" y="62"/>
                  </a:cubicBezTo>
                  <a:cubicBezTo>
                    <a:pt x="159" y="62"/>
                    <a:pt x="158" y="62"/>
                    <a:pt x="157" y="60"/>
                  </a:cubicBezTo>
                  <a:cubicBezTo>
                    <a:pt x="157" y="59"/>
                    <a:pt x="157" y="57"/>
                    <a:pt x="157" y="56"/>
                  </a:cubicBezTo>
                  <a:cubicBezTo>
                    <a:pt x="156" y="55"/>
                    <a:pt x="156" y="54"/>
                    <a:pt x="155" y="52"/>
                  </a:cubicBezTo>
                  <a:cubicBezTo>
                    <a:pt x="155" y="52"/>
                    <a:pt x="153" y="50"/>
                    <a:pt x="153" y="50"/>
                  </a:cubicBezTo>
                  <a:cubicBezTo>
                    <a:pt x="152" y="49"/>
                    <a:pt x="148" y="49"/>
                    <a:pt x="147" y="50"/>
                  </a:cubicBezTo>
                  <a:cubicBezTo>
                    <a:pt x="147" y="50"/>
                    <a:pt x="146" y="51"/>
                    <a:pt x="145" y="51"/>
                  </a:cubicBezTo>
                  <a:cubicBezTo>
                    <a:pt x="145" y="52"/>
                    <a:pt x="144" y="53"/>
                    <a:pt x="144" y="53"/>
                  </a:cubicBezTo>
                  <a:cubicBezTo>
                    <a:pt x="143" y="55"/>
                    <a:pt x="144" y="58"/>
                    <a:pt x="145" y="59"/>
                  </a:cubicBezTo>
                  <a:cubicBezTo>
                    <a:pt x="146" y="60"/>
                    <a:pt x="146" y="61"/>
                    <a:pt x="147" y="62"/>
                  </a:cubicBezTo>
                  <a:cubicBezTo>
                    <a:pt x="147" y="63"/>
                    <a:pt x="147" y="65"/>
                    <a:pt x="146" y="66"/>
                  </a:cubicBezTo>
                  <a:cubicBezTo>
                    <a:pt x="146" y="67"/>
                    <a:pt x="145" y="68"/>
                    <a:pt x="144" y="69"/>
                  </a:cubicBezTo>
                  <a:cubicBezTo>
                    <a:pt x="143" y="70"/>
                    <a:pt x="143" y="70"/>
                    <a:pt x="143" y="71"/>
                  </a:cubicBezTo>
                  <a:cubicBezTo>
                    <a:pt x="141" y="72"/>
                    <a:pt x="140" y="73"/>
                    <a:pt x="138" y="74"/>
                  </a:cubicBezTo>
                  <a:cubicBezTo>
                    <a:pt x="136" y="75"/>
                    <a:pt x="136" y="77"/>
                    <a:pt x="135" y="79"/>
                  </a:cubicBezTo>
                  <a:cubicBezTo>
                    <a:pt x="135" y="81"/>
                    <a:pt x="133" y="82"/>
                    <a:pt x="132" y="84"/>
                  </a:cubicBezTo>
                  <a:cubicBezTo>
                    <a:pt x="132" y="85"/>
                    <a:pt x="132" y="85"/>
                    <a:pt x="131" y="86"/>
                  </a:cubicBezTo>
                  <a:cubicBezTo>
                    <a:pt x="131" y="87"/>
                    <a:pt x="130" y="88"/>
                    <a:pt x="129" y="88"/>
                  </a:cubicBezTo>
                  <a:cubicBezTo>
                    <a:pt x="129" y="89"/>
                    <a:pt x="129" y="92"/>
                    <a:pt x="129" y="92"/>
                  </a:cubicBezTo>
                  <a:cubicBezTo>
                    <a:pt x="130" y="93"/>
                    <a:pt x="132" y="93"/>
                    <a:pt x="132" y="93"/>
                  </a:cubicBezTo>
                  <a:cubicBezTo>
                    <a:pt x="133" y="94"/>
                    <a:pt x="134" y="94"/>
                    <a:pt x="134" y="95"/>
                  </a:cubicBezTo>
                  <a:cubicBezTo>
                    <a:pt x="136" y="96"/>
                    <a:pt x="135" y="97"/>
                    <a:pt x="135" y="98"/>
                  </a:cubicBezTo>
                  <a:cubicBezTo>
                    <a:pt x="134" y="101"/>
                    <a:pt x="133" y="102"/>
                    <a:pt x="130" y="101"/>
                  </a:cubicBezTo>
                  <a:cubicBezTo>
                    <a:pt x="129" y="101"/>
                    <a:pt x="126" y="101"/>
                    <a:pt x="125" y="99"/>
                  </a:cubicBezTo>
                  <a:cubicBezTo>
                    <a:pt x="124" y="97"/>
                    <a:pt x="125" y="94"/>
                    <a:pt x="124" y="92"/>
                  </a:cubicBezTo>
                  <a:cubicBezTo>
                    <a:pt x="123" y="90"/>
                    <a:pt x="121" y="90"/>
                    <a:pt x="119" y="90"/>
                  </a:cubicBezTo>
                  <a:cubicBezTo>
                    <a:pt x="119" y="89"/>
                    <a:pt x="119" y="88"/>
                    <a:pt x="119" y="88"/>
                  </a:cubicBezTo>
                  <a:cubicBezTo>
                    <a:pt x="119" y="88"/>
                    <a:pt x="120" y="87"/>
                    <a:pt x="120" y="87"/>
                  </a:cubicBezTo>
                  <a:cubicBezTo>
                    <a:pt x="120" y="87"/>
                    <a:pt x="120" y="86"/>
                    <a:pt x="120" y="86"/>
                  </a:cubicBezTo>
                  <a:cubicBezTo>
                    <a:pt x="120" y="85"/>
                    <a:pt x="122" y="84"/>
                    <a:pt x="122" y="83"/>
                  </a:cubicBezTo>
                  <a:cubicBezTo>
                    <a:pt x="121" y="82"/>
                    <a:pt x="121" y="82"/>
                    <a:pt x="120" y="82"/>
                  </a:cubicBezTo>
                  <a:cubicBezTo>
                    <a:pt x="119" y="81"/>
                    <a:pt x="118" y="80"/>
                    <a:pt x="116" y="80"/>
                  </a:cubicBezTo>
                  <a:cubicBezTo>
                    <a:pt x="116" y="80"/>
                    <a:pt x="115" y="80"/>
                    <a:pt x="114" y="80"/>
                  </a:cubicBezTo>
                  <a:cubicBezTo>
                    <a:pt x="114" y="80"/>
                    <a:pt x="114" y="79"/>
                    <a:pt x="113" y="79"/>
                  </a:cubicBezTo>
                  <a:cubicBezTo>
                    <a:pt x="112" y="79"/>
                    <a:pt x="111" y="79"/>
                    <a:pt x="110" y="78"/>
                  </a:cubicBezTo>
                  <a:cubicBezTo>
                    <a:pt x="108" y="78"/>
                    <a:pt x="107" y="77"/>
                    <a:pt x="106" y="75"/>
                  </a:cubicBezTo>
                  <a:cubicBezTo>
                    <a:pt x="105" y="73"/>
                    <a:pt x="104" y="71"/>
                    <a:pt x="103" y="70"/>
                  </a:cubicBezTo>
                  <a:cubicBezTo>
                    <a:pt x="102" y="69"/>
                    <a:pt x="101" y="68"/>
                    <a:pt x="100" y="67"/>
                  </a:cubicBezTo>
                  <a:cubicBezTo>
                    <a:pt x="100" y="66"/>
                    <a:pt x="99" y="66"/>
                    <a:pt x="99" y="65"/>
                  </a:cubicBezTo>
                  <a:cubicBezTo>
                    <a:pt x="99" y="65"/>
                    <a:pt x="99" y="63"/>
                    <a:pt x="99" y="63"/>
                  </a:cubicBezTo>
                  <a:cubicBezTo>
                    <a:pt x="99" y="62"/>
                    <a:pt x="99" y="61"/>
                    <a:pt x="99" y="60"/>
                  </a:cubicBezTo>
                  <a:cubicBezTo>
                    <a:pt x="99" y="58"/>
                    <a:pt x="97" y="56"/>
                    <a:pt x="95" y="55"/>
                  </a:cubicBezTo>
                  <a:cubicBezTo>
                    <a:pt x="92" y="54"/>
                    <a:pt x="92" y="57"/>
                    <a:pt x="91" y="59"/>
                  </a:cubicBezTo>
                  <a:cubicBezTo>
                    <a:pt x="91" y="61"/>
                    <a:pt x="90" y="63"/>
                    <a:pt x="89" y="64"/>
                  </a:cubicBezTo>
                  <a:cubicBezTo>
                    <a:pt x="87" y="65"/>
                    <a:pt x="85" y="65"/>
                    <a:pt x="83" y="67"/>
                  </a:cubicBezTo>
                  <a:cubicBezTo>
                    <a:pt x="81" y="68"/>
                    <a:pt x="81" y="70"/>
                    <a:pt x="82" y="72"/>
                  </a:cubicBezTo>
                  <a:cubicBezTo>
                    <a:pt x="83" y="73"/>
                    <a:pt x="84" y="72"/>
                    <a:pt x="85" y="74"/>
                  </a:cubicBezTo>
                  <a:cubicBezTo>
                    <a:pt x="85" y="75"/>
                    <a:pt x="85" y="76"/>
                    <a:pt x="85" y="77"/>
                  </a:cubicBezTo>
                  <a:cubicBezTo>
                    <a:pt x="85" y="78"/>
                    <a:pt x="85" y="78"/>
                    <a:pt x="83" y="79"/>
                  </a:cubicBezTo>
                  <a:cubicBezTo>
                    <a:pt x="83" y="79"/>
                    <a:pt x="82" y="80"/>
                    <a:pt x="82" y="80"/>
                  </a:cubicBezTo>
                  <a:cubicBezTo>
                    <a:pt x="82" y="80"/>
                    <a:pt x="81" y="80"/>
                    <a:pt x="80" y="80"/>
                  </a:cubicBezTo>
                  <a:cubicBezTo>
                    <a:pt x="78" y="81"/>
                    <a:pt x="78" y="84"/>
                    <a:pt x="77" y="85"/>
                  </a:cubicBezTo>
                  <a:cubicBezTo>
                    <a:pt x="77" y="87"/>
                    <a:pt x="75" y="88"/>
                    <a:pt x="74" y="89"/>
                  </a:cubicBezTo>
                  <a:cubicBezTo>
                    <a:pt x="72" y="90"/>
                    <a:pt x="72" y="91"/>
                    <a:pt x="71" y="92"/>
                  </a:cubicBezTo>
                  <a:cubicBezTo>
                    <a:pt x="67" y="94"/>
                    <a:pt x="63" y="91"/>
                    <a:pt x="60" y="90"/>
                  </a:cubicBezTo>
                  <a:cubicBezTo>
                    <a:pt x="58" y="89"/>
                    <a:pt x="57" y="88"/>
                    <a:pt x="56" y="88"/>
                  </a:cubicBezTo>
                  <a:cubicBezTo>
                    <a:pt x="54" y="89"/>
                    <a:pt x="54" y="90"/>
                    <a:pt x="53" y="92"/>
                  </a:cubicBezTo>
                  <a:cubicBezTo>
                    <a:pt x="52" y="93"/>
                    <a:pt x="51" y="94"/>
                    <a:pt x="49" y="94"/>
                  </a:cubicBezTo>
                  <a:cubicBezTo>
                    <a:pt x="46" y="95"/>
                    <a:pt x="43" y="95"/>
                    <a:pt x="40" y="96"/>
                  </a:cubicBezTo>
                  <a:cubicBezTo>
                    <a:pt x="39" y="96"/>
                    <a:pt x="39" y="97"/>
                    <a:pt x="38" y="98"/>
                  </a:cubicBezTo>
                  <a:cubicBezTo>
                    <a:pt x="37" y="98"/>
                    <a:pt x="35" y="98"/>
                    <a:pt x="35" y="98"/>
                  </a:cubicBezTo>
                  <a:cubicBezTo>
                    <a:pt x="34" y="99"/>
                    <a:pt x="33" y="99"/>
                    <a:pt x="32" y="99"/>
                  </a:cubicBezTo>
                  <a:cubicBezTo>
                    <a:pt x="31" y="99"/>
                    <a:pt x="30" y="98"/>
                    <a:pt x="29" y="98"/>
                  </a:cubicBezTo>
                  <a:cubicBezTo>
                    <a:pt x="27" y="98"/>
                    <a:pt x="25" y="99"/>
                    <a:pt x="23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8"/>
                    <a:pt x="21" y="99"/>
                    <a:pt x="19" y="100"/>
                  </a:cubicBezTo>
                  <a:cubicBezTo>
                    <a:pt x="17" y="105"/>
                    <a:pt x="14" y="106"/>
                    <a:pt x="15" y="108"/>
                  </a:cubicBezTo>
                  <a:cubicBezTo>
                    <a:pt x="17" y="112"/>
                    <a:pt x="13" y="112"/>
                    <a:pt x="16" y="115"/>
                  </a:cubicBezTo>
                  <a:cubicBezTo>
                    <a:pt x="17" y="116"/>
                    <a:pt x="20" y="117"/>
                    <a:pt x="21" y="119"/>
                  </a:cubicBezTo>
                  <a:cubicBezTo>
                    <a:pt x="21" y="121"/>
                    <a:pt x="21" y="123"/>
                    <a:pt x="22" y="125"/>
                  </a:cubicBezTo>
                  <a:cubicBezTo>
                    <a:pt x="22" y="127"/>
                    <a:pt x="23" y="130"/>
                    <a:pt x="25" y="132"/>
                  </a:cubicBezTo>
                  <a:cubicBezTo>
                    <a:pt x="26" y="133"/>
                    <a:pt x="28" y="133"/>
                    <a:pt x="29" y="135"/>
                  </a:cubicBezTo>
                  <a:cubicBezTo>
                    <a:pt x="31" y="138"/>
                    <a:pt x="28" y="139"/>
                    <a:pt x="27" y="142"/>
                  </a:cubicBezTo>
                  <a:cubicBezTo>
                    <a:pt x="26" y="144"/>
                    <a:pt x="28" y="148"/>
                    <a:pt x="26" y="150"/>
                  </a:cubicBezTo>
                  <a:cubicBezTo>
                    <a:pt x="25" y="151"/>
                    <a:pt x="23" y="151"/>
                    <a:pt x="22" y="152"/>
                  </a:cubicBezTo>
                  <a:cubicBezTo>
                    <a:pt x="21" y="152"/>
                    <a:pt x="20" y="153"/>
                    <a:pt x="20" y="153"/>
                  </a:cubicBezTo>
                  <a:cubicBezTo>
                    <a:pt x="17" y="156"/>
                    <a:pt x="14" y="157"/>
                    <a:pt x="11" y="159"/>
                  </a:cubicBezTo>
                  <a:cubicBezTo>
                    <a:pt x="9" y="161"/>
                    <a:pt x="11" y="160"/>
                    <a:pt x="9" y="161"/>
                  </a:cubicBezTo>
                  <a:cubicBezTo>
                    <a:pt x="7" y="162"/>
                    <a:pt x="5" y="161"/>
                    <a:pt x="4" y="161"/>
                  </a:cubicBezTo>
                  <a:cubicBezTo>
                    <a:pt x="2" y="162"/>
                    <a:pt x="0" y="161"/>
                    <a:pt x="1" y="164"/>
                  </a:cubicBezTo>
                  <a:cubicBezTo>
                    <a:pt x="8" y="166"/>
                    <a:pt x="7" y="173"/>
                    <a:pt x="12" y="177"/>
                  </a:cubicBezTo>
                  <a:cubicBezTo>
                    <a:pt x="12" y="177"/>
                    <a:pt x="14" y="177"/>
                    <a:pt x="15" y="178"/>
                  </a:cubicBezTo>
                  <a:cubicBezTo>
                    <a:pt x="15" y="178"/>
                    <a:pt x="18" y="179"/>
                    <a:pt x="18" y="179"/>
                  </a:cubicBezTo>
                  <a:cubicBezTo>
                    <a:pt x="19" y="181"/>
                    <a:pt x="19" y="184"/>
                    <a:pt x="22" y="184"/>
                  </a:cubicBezTo>
                  <a:cubicBezTo>
                    <a:pt x="23" y="189"/>
                    <a:pt x="23" y="194"/>
                    <a:pt x="18" y="196"/>
                  </a:cubicBezTo>
                  <a:cubicBezTo>
                    <a:pt x="13" y="198"/>
                    <a:pt x="9" y="200"/>
                    <a:pt x="12" y="205"/>
                  </a:cubicBezTo>
                  <a:cubicBezTo>
                    <a:pt x="13" y="207"/>
                    <a:pt x="17" y="210"/>
                    <a:pt x="16" y="212"/>
                  </a:cubicBezTo>
                  <a:cubicBezTo>
                    <a:pt x="15" y="215"/>
                    <a:pt x="13" y="212"/>
                    <a:pt x="12" y="214"/>
                  </a:cubicBezTo>
                  <a:cubicBezTo>
                    <a:pt x="11" y="216"/>
                    <a:pt x="18" y="223"/>
                    <a:pt x="20" y="224"/>
                  </a:cubicBezTo>
                  <a:cubicBezTo>
                    <a:pt x="23" y="226"/>
                    <a:pt x="28" y="225"/>
                    <a:pt x="31" y="228"/>
                  </a:cubicBezTo>
                  <a:cubicBezTo>
                    <a:pt x="33" y="229"/>
                    <a:pt x="33" y="232"/>
                    <a:pt x="35" y="233"/>
                  </a:cubicBezTo>
                  <a:cubicBezTo>
                    <a:pt x="39" y="235"/>
                    <a:pt x="45" y="232"/>
                    <a:pt x="48" y="231"/>
                  </a:cubicBezTo>
                  <a:cubicBezTo>
                    <a:pt x="50" y="230"/>
                    <a:pt x="55" y="228"/>
                    <a:pt x="57" y="229"/>
                  </a:cubicBezTo>
                  <a:cubicBezTo>
                    <a:pt x="59" y="230"/>
                    <a:pt x="59" y="239"/>
                    <a:pt x="58" y="240"/>
                  </a:cubicBezTo>
                  <a:cubicBezTo>
                    <a:pt x="57" y="243"/>
                    <a:pt x="54" y="244"/>
                    <a:pt x="53" y="245"/>
                  </a:cubicBezTo>
                  <a:cubicBezTo>
                    <a:pt x="51" y="247"/>
                    <a:pt x="50" y="251"/>
                    <a:pt x="48" y="251"/>
                  </a:cubicBezTo>
                  <a:cubicBezTo>
                    <a:pt x="47" y="254"/>
                    <a:pt x="47" y="257"/>
                    <a:pt x="47" y="259"/>
                  </a:cubicBezTo>
                  <a:cubicBezTo>
                    <a:pt x="47" y="260"/>
                    <a:pt x="47" y="262"/>
                    <a:pt x="47" y="263"/>
                  </a:cubicBezTo>
                  <a:cubicBezTo>
                    <a:pt x="47" y="263"/>
                    <a:pt x="47" y="263"/>
                    <a:pt x="46" y="263"/>
                  </a:cubicBezTo>
                  <a:cubicBezTo>
                    <a:pt x="48" y="263"/>
                    <a:pt x="50" y="263"/>
                    <a:pt x="52" y="263"/>
                  </a:cubicBezTo>
                  <a:cubicBezTo>
                    <a:pt x="54" y="263"/>
                    <a:pt x="54" y="262"/>
                    <a:pt x="55" y="262"/>
                  </a:cubicBezTo>
                  <a:cubicBezTo>
                    <a:pt x="56" y="261"/>
                    <a:pt x="56" y="261"/>
                    <a:pt x="57" y="260"/>
                  </a:cubicBezTo>
                  <a:cubicBezTo>
                    <a:pt x="58" y="259"/>
                    <a:pt x="57" y="259"/>
                    <a:pt x="59" y="259"/>
                  </a:cubicBezTo>
                  <a:cubicBezTo>
                    <a:pt x="62" y="258"/>
                    <a:pt x="65" y="259"/>
                    <a:pt x="68" y="259"/>
                  </a:cubicBezTo>
                  <a:cubicBezTo>
                    <a:pt x="69" y="258"/>
                    <a:pt x="71" y="258"/>
                    <a:pt x="72" y="257"/>
                  </a:cubicBezTo>
                  <a:cubicBezTo>
                    <a:pt x="74" y="257"/>
                    <a:pt x="74" y="256"/>
                    <a:pt x="75" y="255"/>
                  </a:cubicBezTo>
                  <a:cubicBezTo>
                    <a:pt x="76" y="254"/>
                    <a:pt x="78" y="254"/>
                    <a:pt x="79" y="253"/>
                  </a:cubicBezTo>
                  <a:cubicBezTo>
                    <a:pt x="79" y="253"/>
                    <a:pt x="79" y="252"/>
                    <a:pt x="80" y="252"/>
                  </a:cubicBezTo>
                  <a:cubicBezTo>
                    <a:pt x="80" y="251"/>
                    <a:pt x="81" y="251"/>
                    <a:pt x="81" y="251"/>
                  </a:cubicBezTo>
                  <a:cubicBezTo>
                    <a:pt x="82" y="250"/>
                    <a:pt x="83" y="248"/>
                    <a:pt x="84" y="246"/>
                  </a:cubicBezTo>
                  <a:cubicBezTo>
                    <a:pt x="84" y="245"/>
                    <a:pt x="84" y="244"/>
                    <a:pt x="84" y="243"/>
                  </a:cubicBezTo>
                  <a:cubicBezTo>
                    <a:pt x="84" y="243"/>
                    <a:pt x="85" y="242"/>
                    <a:pt x="85" y="242"/>
                  </a:cubicBezTo>
                  <a:cubicBezTo>
                    <a:pt x="85" y="240"/>
                    <a:pt x="85" y="239"/>
                    <a:pt x="85" y="238"/>
                  </a:cubicBezTo>
                  <a:cubicBezTo>
                    <a:pt x="86" y="237"/>
                    <a:pt x="86" y="237"/>
                    <a:pt x="87" y="236"/>
                  </a:cubicBezTo>
                  <a:cubicBezTo>
                    <a:pt x="88" y="235"/>
                    <a:pt x="89" y="233"/>
                    <a:pt x="91" y="232"/>
                  </a:cubicBezTo>
                  <a:cubicBezTo>
                    <a:pt x="92" y="231"/>
                    <a:pt x="94" y="231"/>
                    <a:pt x="95" y="230"/>
                  </a:cubicBezTo>
                  <a:cubicBezTo>
                    <a:pt x="97" y="229"/>
                    <a:pt x="97" y="226"/>
                    <a:pt x="97" y="225"/>
                  </a:cubicBezTo>
                  <a:cubicBezTo>
                    <a:pt x="98" y="223"/>
                    <a:pt x="97" y="222"/>
                    <a:pt x="99" y="221"/>
                  </a:cubicBezTo>
                  <a:cubicBezTo>
                    <a:pt x="100" y="219"/>
                    <a:pt x="103" y="218"/>
                    <a:pt x="105" y="217"/>
                  </a:cubicBezTo>
                  <a:cubicBezTo>
                    <a:pt x="106" y="216"/>
                    <a:pt x="108" y="214"/>
                    <a:pt x="109" y="213"/>
                  </a:cubicBezTo>
                  <a:cubicBezTo>
                    <a:pt x="110" y="212"/>
                    <a:pt x="111" y="212"/>
                    <a:pt x="112" y="212"/>
                  </a:cubicBezTo>
                  <a:cubicBezTo>
                    <a:pt x="113" y="212"/>
                    <a:pt x="113" y="212"/>
                    <a:pt x="114" y="211"/>
                  </a:cubicBezTo>
                  <a:cubicBezTo>
                    <a:pt x="116" y="210"/>
                    <a:pt x="117" y="210"/>
                    <a:pt x="119" y="209"/>
                  </a:cubicBezTo>
                  <a:cubicBezTo>
                    <a:pt x="119" y="206"/>
                    <a:pt x="126" y="209"/>
                    <a:pt x="128" y="210"/>
                  </a:cubicBezTo>
                  <a:cubicBezTo>
                    <a:pt x="132" y="213"/>
                    <a:pt x="136" y="215"/>
                    <a:pt x="140" y="218"/>
                  </a:cubicBezTo>
                  <a:cubicBezTo>
                    <a:pt x="141" y="218"/>
                    <a:pt x="143" y="218"/>
                    <a:pt x="142" y="220"/>
                  </a:cubicBezTo>
                  <a:cubicBezTo>
                    <a:pt x="143" y="220"/>
                    <a:pt x="143" y="221"/>
                    <a:pt x="143" y="221"/>
                  </a:cubicBezTo>
                  <a:cubicBezTo>
                    <a:pt x="145" y="221"/>
                    <a:pt x="146" y="221"/>
                    <a:pt x="148" y="222"/>
                  </a:cubicBezTo>
                  <a:cubicBezTo>
                    <a:pt x="148" y="222"/>
                    <a:pt x="149" y="222"/>
                    <a:pt x="149" y="223"/>
                  </a:cubicBezTo>
                  <a:cubicBezTo>
                    <a:pt x="150" y="223"/>
                    <a:pt x="151" y="222"/>
                    <a:pt x="152" y="223"/>
                  </a:cubicBezTo>
                  <a:cubicBezTo>
                    <a:pt x="152" y="223"/>
                    <a:pt x="153" y="224"/>
                    <a:pt x="154" y="224"/>
                  </a:cubicBezTo>
                  <a:cubicBezTo>
                    <a:pt x="154" y="225"/>
                    <a:pt x="154" y="225"/>
                    <a:pt x="156" y="225"/>
                  </a:cubicBezTo>
                  <a:cubicBezTo>
                    <a:pt x="157" y="226"/>
                    <a:pt x="158" y="226"/>
                    <a:pt x="159" y="227"/>
                  </a:cubicBezTo>
                  <a:cubicBezTo>
                    <a:pt x="160" y="228"/>
                    <a:pt x="160" y="228"/>
                    <a:pt x="161" y="229"/>
                  </a:cubicBezTo>
                  <a:cubicBezTo>
                    <a:pt x="161" y="229"/>
                    <a:pt x="161" y="229"/>
                    <a:pt x="162" y="229"/>
                  </a:cubicBezTo>
                  <a:cubicBezTo>
                    <a:pt x="162" y="229"/>
                    <a:pt x="163" y="230"/>
                    <a:pt x="163" y="230"/>
                  </a:cubicBezTo>
                  <a:cubicBezTo>
                    <a:pt x="165" y="231"/>
                    <a:pt x="166" y="234"/>
                    <a:pt x="168" y="236"/>
                  </a:cubicBezTo>
                  <a:cubicBezTo>
                    <a:pt x="168" y="236"/>
                    <a:pt x="168" y="236"/>
                    <a:pt x="168" y="236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0" y="238"/>
                    <a:pt x="171" y="238"/>
                    <a:pt x="171" y="238"/>
                  </a:cubicBezTo>
                  <a:cubicBezTo>
                    <a:pt x="172" y="239"/>
                    <a:pt x="172" y="239"/>
                    <a:pt x="173" y="240"/>
                  </a:cubicBezTo>
                  <a:cubicBezTo>
                    <a:pt x="174" y="240"/>
                    <a:pt x="175" y="240"/>
                    <a:pt x="176" y="240"/>
                  </a:cubicBezTo>
                  <a:cubicBezTo>
                    <a:pt x="177" y="240"/>
                    <a:pt x="178" y="240"/>
                    <a:pt x="179" y="240"/>
                  </a:cubicBezTo>
                  <a:cubicBezTo>
                    <a:pt x="180" y="240"/>
                    <a:pt x="181" y="240"/>
                    <a:pt x="181" y="240"/>
                  </a:cubicBezTo>
                  <a:cubicBezTo>
                    <a:pt x="183" y="241"/>
                    <a:pt x="184" y="242"/>
                    <a:pt x="185" y="243"/>
                  </a:cubicBezTo>
                  <a:cubicBezTo>
                    <a:pt x="186" y="243"/>
                    <a:pt x="187" y="244"/>
                    <a:pt x="188" y="245"/>
                  </a:cubicBezTo>
                  <a:cubicBezTo>
                    <a:pt x="188" y="245"/>
                    <a:pt x="188" y="247"/>
                    <a:pt x="188" y="248"/>
                  </a:cubicBezTo>
                  <a:cubicBezTo>
                    <a:pt x="188" y="250"/>
                    <a:pt x="188" y="251"/>
                    <a:pt x="189" y="253"/>
                  </a:cubicBezTo>
                  <a:cubicBezTo>
                    <a:pt x="189" y="254"/>
                    <a:pt x="189" y="256"/>
                    <a:pt x="190" y="257"/>
                  </a:cubicBezTo>
                  <a:cubicBezTo>
                    <a:pt x="190" y="258"/>
                    <a:pt x="191" y="258"/>
                    <a:pt x="191" y="259"/>
                  </a:cubicBezTo>
                  <a:cubicBezTo>
                    <a:pt x="191" y="260"/>
                    <a:pt x="191" y="262"/>
                    <a:pt x="191" y="263"/>
                  </a:cubicBezTo>
                  <a:cubicBezTo>
                    <a:pt x="191" y="263"/>
                    <a:pt x="191" y="264"/>
                    <a:pt x="191" y="265"/>
                  </a:cubicBezTo>
                  <a:cubicBezTo>
                    <a:pt x="191" y="265"/>
                    <a:pt x="190" y="266"/>
                    <a:pt x="190" y="266"/>
                  </a:cubicBezTo>
                  <a:cubicBezTo>
                    <a:pt x="190" y="268"/>
                    <a:pt x="190" y="270"/>
                    <a:pt x="190" y="272"/>
                  </a:cubicBezTo>
                  <a:cubicBezTo>
                    <a:pt x="190" y="274"/>
                    <a:pt x="190" y="277"/>
                    <a:pt x="191" y="278"/>
                  </a:cubicBezTo>
                  <a:cubicBezTo>
                    <a:pt x="192" y="280"/>
                    <a:pt x="193" y="281"/>
                    <a:pt x="193" y="282"/>
                  </a:cubicBezTo>
                  <a:cubicBezTo>
                    <a:pt x="194" y="283"/>
                    <a:pt x="194" y="284"/>
                    <a:pt x="194" y="285"/>
                  </a:cubicBezTo>
                  <a:cubicBezTo>
                    <a:pt x="195" y="287"/>
                    <a:pt x="195" y="289"/>
                    <a:pt x="197" y="290"/>
                  </a:cubicBezTo>
                  <a:cubicBezTo>
                    <a:pt x="197" y="292"/>
                    <a:pt x="199" y="293"/>
                    <a:pt x="199" y="294"/>
                  </a:cubicBezTo>
                  <a:cubicBezTo>
                    <a:pt x="200" y="295"/>
                    <a:pt x="200" y="296"/>
                    <a:pt x="200" y="298"/>
                  </a:cubicBezTo>
                  <a:cubicBezTo>
                    <a:pt x="200" y="299"/>
                    <a:pt x="199" y="301"/>
                    <a:pt x="199" y="303"/>
                  </a:cubicBezTo>
                  <a:cubicBezTo>
                    <a:pt x="199" y="304"/>
                    <a:pt x="199" y="304"/>
                    <a:pt x="199" y="305"/>
                  </a:cubicBezTo>
                  <a:cubicBezTo>
                    <a:pt x="199" y="308"/>
                    <a:pt x="199" y="312"/>
                    <a:pt x="199" y="314"/>
                  </a:cubicBezTo>
                  <a:cubicBezTo>
                    <a:pt x="198" y="315"/>
                    <a:pt x="198" y="316"/>
                    <a:pt x="197" y="316"/>
                  </a:cubicBezTo>
                  <a:cubicBezTo>
                    <a:pt x="196" y="317"/>
                    <a:pt x="196" y="317"/>
                    <a:pt x="196" y="319"/>
                  </a:cubicBezTo>
                  <a:cubicBezTo>
                    <a:pt x="196" y="320"/>
                    <a:pt x="197" y="322"/>
                    <a:pt x="197" y="323"/>
                  </a:cubicBezTo>
                  <a:cubicBezTo>
                    <a:pt x="198" y="326"/>
                    <a:pt x="199" y="324"/>
                    <a:pt x="200" y="323"/>
                  </a:cubicBezTo>
                  <a:cubicBezTo>
                    <a:pt x="201" y="322"/>
                    <a:pt x="203" y="322"/>
                    <a:pt x="205" y="323"/>
                  </a:cubicBezTo>
                  <a:cubicBezTo>
                    <a:pt x="207" y="323"/>
                    <a:pt x="209" y="322"/>
                    <a:pt x="209" y="324"/>
                  </a:cubicBezTo>
                  <a:cubicBezTo>
                    <a:pt x="210" y="325"/>
                    <a:pt x="209" y="325"/>
                    <a:pt x="210" y="326"/>
                  </a:cubicBezTo>
                  <a:cubicBezTo>
                    <a:pt x="210" y="327"/>
                    <a:pt x="211" y="327"/>
                    <a:pt x="211" y="327"/>
                  </a:cubicBezTo>
                  <a:cubicBezTo>
                    <a:pt x="212" y="328"/>
                    <a:pt x="211" y="330"/>
                    <a:pt x="211" y="331"/>
                  </a:cubicBezTo>
                  <a:cubicBezTo>
                    <a:pt x="211" y="333"/>
                    <a:pt x="211" y="335"/>
                    <a:pt x="213" y="336"/>
                  </a:cubicBezTo>
                  <a:cubicBezTo>
                    <a:pt x="215" y="337"/>
                    <a:pt x="220" y="336"/>
                    <a:pt x="221" y="338"/>
                  </a:cubicBezTo>
                  <a:cubicBezTo>
                    <a:pt x="221" y="338"/>
                    <a:pt x="222" y="340"/>
                    <a:pt x="222" y="341"/>
                  </a:cubicBezTo>
                  <a:cubicBezTo>
                    <a:pt x="222" y="342"/>
                    <a:pt x="221" y="343"/>
                    <a:pt x="221" y="344"/>
                  </a:cubicBezTo>
                  <a:cubicBezTo>
                    <a:pt x="222" y="346"/>
                    <a:pt x="223" y="345"/>
                    <a:pt x="224" y="346"/>
                  </a:cubicBezTo>
                  <a:cubicBezTo>
                    <a:pt x="226" y="346"/>
                    <a:pt x="227" y="346"/>
                    <a:pt x="228" y="347"/>
                  </a:cubicBezTo>
                  <a:cubicBezTo>
                    <a:pt x="228" y="348"/>
                    <a:pt x="229" y="349"/>
                    <a:pt x="229" y="350"/>
                  </a:cubicBezTo>
                  <a:cubicBezTo>
                    <a:pt x="230" y="351"/>
                    <a:pt x="229" y="353"/>
                    <a:pt x="230" y="354"/>
                  </a:cubicBezTo>
                  <a:cubicBezTo>
                    <a:pt x="230" y="354"/>
                    <a:pt x="231" y="354"/>
                    <a:pt x="231" y="355"/>
                  </a:cubicBezTo>
                  <a:cubicBezTo>
                    <a:pt x="231" y="355"/>
                    <a:pt x="231" y="356"/>
                    <a:pt x="232" y="356"/>
                  </a:cubicBezTo>
                  <a:cubicBezTo>
                    <a:pt x="232" y="357"/>
                    <a:pt x="233" y="357"/>
                    <a:pt x="233" y="358"/>
                  </a:cubicBezTo>
                  <a:cubicBezTo>
                    <a:pt x="233" y="360"/>
                    <a:pt x="233" y="360"/>
                    <a:pt x="234" y="361"/>
                  </a:cubicBezTo>
                  <a:cubicBezTo>
                    <a:pt x="235" y="362"/>
                    <a:pt x="236" y="363"/>
                    <a:pt x="237" y="363"/>
                  </a:cubicBezTo>
                  <a:cubicBezTo>
                    <a:pt x="239" y="364"/>
                    <a:pt x="240" y="367"/>
                    <a:pt x="243" y="367"/>
                  </a:cubicBezTo>
                  <a:cubicBezTo>
                    <a:pt x="244" y="367"/>
                    <a:pt x="246" y="367"/>
                    <a:pt x="247" y="368"/>
                  </a:cubicBezTo>
                  <a:cubicBezTo>
                    <a:pt x="247" y="369"/>
                    <a:pt x="247" y="370"/>
                    <a:pt x="248" y="371"/>
                  </a:cubicBezTo>
                  <a:cubicBezTo>
                    <a:pt x="249" y="371"/>
                    <a:pt x="250" y="372"/>
                    <a:pt x="251" y="372"/>
                  </a:cubicBezTo>
                  <a:cubicBezTo>
                    <a:pt x="251" y="373"/>
                    <a:pt x="251" y="373"/>
                    <a:pt x="252" y="373"/>
                  </a:cubicBezTo>
                  <a:cubicBezTo>
                    <a:pt x="252" y="373"/>
                    <a:pt x="252" y="373"/>
                    <a:pt x="252" y="373"/>
                  </a:cubicBezTo>
                  <a:cubicBezTo>
                    <a:pt x="252" y="374"/>
                    <a:pt x="252" y="374"/>
                    <a:pt x="253" y="375"/>
                  </a:cubicBezTo>
                  <a:cubicBezTo>
                    <a:pt x="253" y="375"/>
                    <a:pt x="253" y="375"/>
                    <a:pt x="253" y="376"/>
                  </a:cubicBezTo>
                  <a:cubicBezTo>
                    <a:pt x="254" y="378"/>
                    <a:pt x="255" y="381"/>
                    <a:pt x="255" y="384"/>
                  </a:cubicBezTo>
                  <a:cubicBezTo>
                    <a:pt x="255" y="386"/>
                    <a:pt x="256" y="386"/>
                    <a:pt x="257" y="387"/>
                  </a:cubicBezTo>
                  <a:cubicBezTo>
                    <a:pt x="258" y="389"/>
                    <a:pt x="260" y="392"/>
                    <a:pt x="260" y="394"/>
                  </a:cubicBezTo>
                  <a:cubicBezTo>
                    <a:pt x="262" y="395"/>
                    <a:pt x="263" y="397"/>
                    <a:pt x="264" y="398"/>
                  </a:cubicBezTo>
                  <a:cubicBezTo>
                    <a:pt x="265" y="398"/>
                    <a:pt x="267" y="398"/>
                    <a:pt x="268" y="399"/>
                  </a:cubicBezTo>
                  <a:cubicBezTo>
                    <a:pt x="269" y="400"/>
                    <a:pt x="270" y="401"/>
                    <a:pt x="271" y="402"/>
                  </a:cubicBezTo>
                  <a:cubicBezTo>
                    <a:pt x="272" y="403"/>
                    <a:pt x="274" y="404"/>
                    <a:pt x="276" y="405"/>
                  </a:cubicBezTo>
                  <a:cubicBezTo>
                    <a:pt x="276" y="406"/>
                    <a:pt x="277" y="407"/>
                    <a:pt x="277" y="408"/>
                  </a:cubicBezTo>
                  <a:cubicBezTo>
                    <a:pt x="278" y="408"/>
                    <a:pt x="279" y="409"/>
                    <a:pt x="280" y="410"/>
                  </a:cubicBezTo>
                  <a:cubicBezTo>
                    <a:pt x="281" y="413"/>
                    <a:pt x="280" y="416"/>
                    <a:pt x="281" y="419"/>
                  </a:cubicBezTo>
                  <a:cubicBezTo>
                    <a:pt x="282" y="419"/>
                    <a:pt x="282" y="419"/>
                    <a:pt x="283" y="420"/>
                  </a:cubicBezTo>
                  <a:cubicBezTo>
                    <a:pt x="283" y="420"/>
                    <a:pt x="284" y="420"/>
                    <a:pt x="284" y="420"/>
                  </a:cubicBezTo>
                  <a:cubicBezTo>
                    <a:pt x="285" y="421"/>
                    <a:pt x="286" y="422"/>
                    <a:pt x="287" y="423"/>
                  </a:cubicBezTo>
                  <a:cubicBezTo>
                    <a:pt x="287" y="424"/>
                    <a:pt x="287" y="424"/>
                    <a:pt x="288" y="424"/>
                  </a:cubicBezTo>
                  <a:cubicBezTo>
                    <a:pt x="288" y="425"/>
                    <a:pt x="289" y="426"/>
                    <a:pt x="289" y="426"/>
                  </a:cubicBezTo>
                  <a:cubicBezTo>
                    <a:pt x="290" y="427"/>
                    <a:pt x="291" y="427"/>
                    <a:pt x="292" y="428"/>
                  </a:cubicBezTo>
                  <a:cubicBezTo>
                    <a:pt x="293" y="430"/>
                    <a:pt x="294" y="432"/>
                    <a:pt x="295" y="433"/>
                  </a:cubicBezTo>
                  <a:cubicBezTo>
                    <a:pt x="296" y="434"/>
                    <a:pt x="297" y="434"/>
                    <a:pt x="297" y="435"/>
                  </a:cubicBezTo>
                  <a:cubicBezTo>
                    <a:pt x="297" y="436"/>
                    <a:pt x="297" y="437"/>
                    <a:pt x="297" y="438"/>
                  </a:cubicBezTo>
                  <a:cubicBezTo>
                    <a:pt x="298" y="440"/>
                    <a:pt x="298" y="439"/>
                    <a:pt x="301" y="440"/>
                  </a:cubicBezTo>
                  <a:cubicBezTo>
                    <a:pt x="302" y="440"/>
                    <a:pt x="303" y="441"/>
                    <a:pt x="304" y="442"/>
                  </a:cubicBezTo>
                  <a:cubicBezTo>
                    <a:pt x="304" y="442"/>
                    <a:pt x="305" y="445"/>
                    <a:pt x="306" y="443"/>
                  </a:cubicBezTo>
                  <a:cubicBezTo>
                    <a:pt x="306" y="443"/>
                    <a:pt x="306" y="444"/>
                    <a:pt x="306" y="444"/>
                  </a:cubicBezTo>
                  <a:cubicBezTo>
                    <a:pt x="308" y="444"/>
                    <a:pt x="310" y="444"/>
                    <a:pt x="311" y="444"/>
                  </a:cubicBezTo>
                  <a:cubicBezTo>
                    <a:pt x="313" y="445"/>
                    <a:pt x="312" y="447"/>
                    <a:pt x="313" y="448"/>
                  </a:cubicBezTo>
                  <a:cubicBezTo>
                    <a:pt x="313" y="449"/>
                    <a:pt x="314" y="450"/>
                    <a:pt x="315" y="450"/>
                  </a:cubicBezTo>
                  <a:cubicBezTo>
                    <a:pt x="316" y="451"/>
                    <a:pt x="317" y="451"/>
                    <a:pt x="318" y="452"/>
                  </a:cubicBezTo>
                  <a:cubicBezTo>
                    <a:pt x="319" y="454"/>
                    <a:pt x="317" y="460"/>
                    <a:pt x="319" y="461"/>
                  </a:cubicBezTo>
                  <a:cubicBezTo>
                    <a:pt x="322" y="457"/>
                    <a:pt x="327" y="457"/>
                    <a:pt x="332" y="457"/>
                  </a:cubicBezTo>
                  <a:cubicBezTo>
                    <a:pt x="333" y="457"/>
                    <a:pt x="334" y="456"/>
                    <a:pt x="336" y="456"/>
                  </a:cubicBezTo>
                  <a:cubicBezTo>
                    <a:pt x="337" y="456"/>
                    <a:pt x="338" y="456"/>
                    <a:pt x="339" y="456"/>
                  </a:cubicBezTo>
                  <a:cubicBezTo>
                    <a:pt x="341" y="456"/>
                    <a:pt x="343" y="458"/>
                    <a:pt x="345" y="460"/>
                  </a:cubicBezTo>
                  <a:cubicBezTo>
                    <a:pt x="347" y="462"/>
                    <a:pt x="348" y="463"/>
                    <a:pt x="350" y="462"/>
                  </a:cubicBezTo>
                  <a:cubicBezTo>
                    <a:pt x="351" y="462"/>
                    <a:pt x="352" y="462"/>
                    <a:pt x="353" y="462"/>
                  </a:cubicBezTo>
                  <a:cubicBezTo>
                    <a:pt x="353" y="461"/>
                    <a:pt x="354" y="460"/>
                    <a:pt x="354" y="460"/>
                  </a:cubicBezTo>
                  <a:cubicBezTo>
                    <a:pt x="355" y="460"/>
                    <a:pt x="357" y="460"/>
                    <a:pt x="358" y="460"/>
                  </a:cubicBezTo>
                  <a:cubicBezTo>
                    <a:pt x="359" y="461"/>
                    <a:pt x="359" y="463"/>
                    <a:pt x="360" y="464"/>
                  </a:cubicBezTo>
                  <a:cubicBezTo>
                    <a:pt x="360" y="465"/>
                    <a:pt x="361" y="466"/>
                    <a:pt x="361" y="467"/>
                  </a:cubicBezTo>
                  <a:cubicBezTo>
                    <a:pt x="362" y="469"/>
                    <a:pt x="363" y="470"/>
                    <a:pt x="363" y="473"/>
                  </a:cubicBezTo>
                  <a:cubicBezTo>
                    <a:pt x="364" y="474"/>
                    <a:pt x="364" y="475"/>
                    <a:pt x="365" y="477"/>
                  </a:cubicBezTo>
                  <a:cubicBezTo>
                    <a:pt x="365" y="477"/>
                    <a:pt x="366" y="478"/>
                    <a:pt x="366" y="479"/>
                  </a:cubicBezTo>
                  <a:cubicBezTo>
                    <a:pt x="366" y="480"/>
                    <a:pt x="365" y="481"/>
                    <a:pt x="365" y="482"/>
                  </a:cubicBezTo>
                  <a:cubicBezTo>
                    <a:pt x="365" y="483"/>
                    <a:pt x="365" y="484"/>
                    <a:pt x="365" y="484"/>
                  </a:cubicBezTo>
                  <a:cubicBezTo>
                    <a:pt x="367" y="485"/>
                    <a:pt x="368" y="485"/>
                    <a:pt x="370" y="486"/>
                  </a:cubicBezTo>
                  <a:cubicBezTo>
                    <a:pt x="370" y="486"/>
                    <a:pt x="371" y="486"/>
                    <a:pt x="371" y="487"/>
                  </a:cubicBezTo>
                  <a:cubicBezTo>
                    <a:pt x="373" y="489"/>
                    <a:pt x="372" y="491"/>
                    <a:pt x="373" y="493"/>
                  </a:cubicBezTo>
                  <a:cubicBezTo>
                    <a:pt x="374" y="494"/>
                    <a:pt x="375" y="495"/>
                    <a:pt x="377" y="494"/>
                  </a:cubicBezTo>
                  <a:cubicBezTo>
                    <a:pt x="378" y="494"/>
                    <a:pt x="378" y="493"/>
                    <a:pt x="379" y="492"/>
                  </a:cubicBezTo>
                  <a:cubicBezTo>
                    <a:pt x="380" y="491"/>
                    <a:pt x="382" y="492"/>
                    <a:pt x="384" y="492"/>
                  </a:cubicBezTo>
                  <a:cubicBezTo>
                    <a:pt x="385" y="493"/>
                    <a:pt x="386" y="492"/>
                    <a:pt x="387" y="492"/>
                  </a:cubicBezTo>
                  <a:cubicBezTo>
                    <a:pt x="393" y="490"/>
                    <a:pt x="394" y="495"/>
                    <a:pt x="394" y="499"/>
                  </a:cubicBezTo>
                  <a:cubicBezTo>
                    <a:pt x="394" y="502"/>
                    <a:pt x="394" y="504"/>
                    <a:pt x="391" y="505"/>
                  </a:cubicBezTo>
                  <a:cubicBezTo>
                    <a:pt x="391" y="505"/>
                    <a:pt x="391" y="505"/>
                    <a:pt x="390" y="505"/>
                  </a:cubicBezTo>
                  <a:cubicBezTo>
                    <a:pt x="389" y="505"/>
                    <a:pt x="389" y="506"/>
                    <a:pt x="388" y="507"/>
                  </a:cubicBezTo>
                  <a:cubicBezTo>
                    <a:pt x="388" y="507"/>
                    <a:pt x="386" y="508"/>
                    <a:pt x="386" y="509"/>
                  </a:cubicBezTo>
                  <a:cubicBezTo>
                    <a:pt x="386" y="509"/>
                    <a:pt x="387" y="509"/>
                    <a:pt x="388" y="509"/>
                  </a:cubicBezTo>
                  <a:cubicBezTo>
                    <a:pt x="388" y="510"/>
                    <a:pt x="388" y="510"/>
                    <a:pt x="388" y="510"/>
                  </a:cubicBezTo>
                  <a:cubicBezTo>
                    <a:pt x="389" y="510"/>
                    <a:pt x="389" y="512"/>
                    <a:pt x="389" y="512"/>
                  </a:cubicBezTo>
                  <a:cubicBezTo>
                    <a:pt x="390" y="513"/>
                    <a:pt x="392" y="513"/>
                    <a:pt x="393" y="514"/>
                  </a:cubicBezTo>
                  <a:cubicBezTo>
                    <a:pt x="394" y="514"/>
                    <a:pt x="396" y="515"/>
                    <a:pt x="398" y="515"/>
                  </a:cubicBezTo>
                  <a:cubicBezTo>
                    <a:pt x="399" y="515"/>
                    <a:pt x="400" y="512"/>
                    <a:pt x="401" y="512"/>
                  </a:cubicBezTo>
                  <a:cubicBezTo>
                    <a:pt x="402" y="511"/>
                    <a:pt x="402" y="511"/>
                    <a:pt x="403" y="511"/>
                  </a:cubicBezTo>
                  <a:cubicBezTo>
                    <a:pt x="404" y="511"/>
                    <a:pt x="406" y="511"/>
                    <a:pt x="407" y="512"/>
                  </a:cubicBezTo>
                  <a:cubicBezTo>
                    <a:pt x="408" y="512"/>
                    <a:pt x="408" y="512"/>
                    <a:pt x="408" y="513"/>
                  </a:cubicBezTo>
                  <a:cubicBezTo>
                    <a:pt x="409" y="513"/>
                    <a:pt x="409" y="513"/>
                    <a:pt x="409" y="513"/>
                  </a:cubicBezTo>
                  <a:cubicBezTo>
                    <a:pt x="410" y="513"/>
                    <a:pt x="411" y="514"/>
                    <a:pt x="412" y="514"/>
                  </a:cubicBezTo>
                  <a:cubicBezTo>
                    <a:pt x="414" y="514"/>
                    <a:pt x="415" y="514"/>
                    <a:pt x="417" y="516"/>
                  </a:cubicBezTo>
                  <a:cubicBezTo>
                    <a:pt x="418" y="517"/>
                    <a:pt x="418" y="518"/>
                    <a:pt x="418" y="520"/>
                  </a:cubicBezTo>
                  <a:cubicBezTo>
                    <a:pt x="418" y="521"/>
                    <a:pt x="418" y="522"/>
                    <a:pt x="419" y="522"/>
                  </a:cubicBezTo>
                  <a:cubicBezTo>
                    <a:pt x="419" y="523"/>
                    <a:pt x="419" y="524"/>
                    <a:pt x="420" y="525"/>
                  </a:cubicBezTo>
                  <a:cubicBezTo>
                    <a:pt x="420" y="525"/>
                    <a:pt x="421" y="525"/>
                    <a:pt x="422" y="526"/>
                  </a:cubicBezTo>
                  <a:cubicBezTo>
                    <a:pt x="423" y="526"/>
                    <a:pt x="422" y="528"/>
                    <a:pt x="422" y="529"/>
                  </a:cubicBezTo>
                  <a:cubicBezTo>
                    <a:pt x="422" y="531"/>
                    <a:pt x="422" y="532"/>
                    <a:pt x="422" y="534"/>
                  </a:cubicBezTo>
                  <a:cubicBezTo>
                    <a:pt x="421" y="537"/>
                    <a:pt x="419" y="538"/>
                    <a:pt x="416" y="538"/>
                  </a:cubicBezTo>
                  <a:cubicBezTo>
                    <a:pt x="416" y="540"/>
                    <a:pt x="418" y="541"/>
                    <a:pt x="419" y="542"/>
                  </a:cubicBezTo>
                  <a:cubicBezTo>
                    <a:pt x="422" y="543"/>
                    <a:pt x="425" y="545"/>
                    <a:pt x="427" y="547"/>
                  </a:cubicBezTo>
                  <a:cubicBezTo>
                    <a:pt x="428" y="547"/>
                    <a:pt x="429" y="547"/>
                    <a:pt x="430" y="548"/>
                  </a:cubicBezTo>
                  <a:cubicBezTo>
                    <a:pt x="431" y="548"/>
                    <a:pt x="432" y="549"/>
                    <a:pt x="432" y="550"/>
                  </a:cubicBezTo>
                  <a:cubicBezTo>
                    <a:pt x="433" y="550"/>
                    <a:pt x="434" y="551"/>
                    <a:pt x="435" y="551"/>
                  </a:cubicBezTo>
                  <a:cubicBezTo>
                    <a:pt x="436" y="552"/>
                    <a:pt x="436" y="554"/>
                    <a:pt x="437" y="555"/>
                  </a:cubicBezTo>
                  <a:cubicBezTo>
                    <a:pt x="438" y="556"/>
                    <a:pt x="439" y="557"/>
                    <a:pt x="441" y="557"/>
                  </a:cubicBezTo>
                  <a:cubicBezTo>
                    <a:pt x="441" y="557"/>
                    <a:pt x="444" y="557"/>
                    <a:pt x="444" y="556"/>
                  </a:cubicBezTo>
                  <a:cubicBezTo>
                    <a:pt x="445" y="556"/>
                    <a:pt x="445" y="556"/>
                    <a:pt x="445" y="555"/>
                  </a:cubicBezTo>
                  <a:cubicBezTo>
                    <a:pt x="446" y="555"/>
                    <a:pt x="446" y="554"/>
                    <a:pt x="447" y="553"/>
                  </a:cubicBezTo>
                  <a:cubicBezTo>
                    <a:pt x="447" y="553"/>
                    <a:pt x="447" y="552"/>
                    <a:pt x="447" y="551"/>
                  </a:cubicBezTo>
                  <a:cubicBezTo>
                    <a:pt x="447" y="550"/>
                    <a:pt x="448" y="548"/>
                    <a:pt x="449" y="548"/>
                  </a:cubicBezTo>
                  <a:cubicBezTo>
                    <a:pt x="453" y="553"/>
                    <a:pt x="457" y="558"/>
                    <a:pt x="460" y="564"/>
                  </a:cubicBezTo>
                  <a:cubicBezTo>
                    <a:pt x="461" y="566"/>
                    <a:pt x="462" y="568"/>
                    <a:pt x="462" y="570"/>
                  </a:cubicBezTo>
                  <a:cubicBezTo>
                    <a:pt x="462" y="573"/>
                    <a:pt x="463" y="577"/>
                    <a:pt x="464" y="580"/>
                  </a:cubicBezTo>
                  <a:cubicBezTo>
                    <a:pt x="464" y="583"/>
                    <a:pt x="464" y="587"/>
                    <a:pt x="466" y="589"/>
                  </a:cubicBezTo>
                  <a:cubicBezTo>
                    <a:pt x="467" y="590"/>
                    <a:pt x="468" y="591"/>
                    <a:pt x="469" y="593"/>
                  </a:cubicBezTo>
                  <a:cubicBezTo>
                    <a:pt x="469" y="594"/>
                    <a:pt x="469" y="595"/>
                    <a:pt x="469" y="596"/>
                  </a:cubicBezTo>
                  <a:cubicBezTo>
                    <a:pt x="470" y="597"/>
                    <a:pt x="470" y="599"/>
                    <a:pt x="471" y="600"/>
                  </a:cubicBezTo>
                  <a:cubicBezTo>
                    <a:pt x="471" y="602"/>
                    <a:pt x="471" y="603"/>
                    <a:pt x="472" y="605"/>
                  </a:cubicBezTo>
                  <a:cubicBezTo>
                    <a:pt x="472" y="606"/>
                    <a:pt x="473" y="607"/>
                    <a:pt x="473" y="608"/>
                  </a:cubicBezTo>
                  <a:cubicBezTo>
                    <a:pt x="473" y="611"/>
                    <a:pt x="473" y="614"/>
                    <a:pt x="474" y="616"/>
                  </a:cubicBezTo>
                  <a:cubicBezTo>
                    <a:pt x="474" y="617"/>
                    <a:pt x="474" y="617"/>
                    <a:pt x="474" y="617"/>
                  </a:cubicBezTo>
                  <a:cubicBezTo>
                    <a:pt x="474" y="618"/>
                    <a:pt x="474" y="619"/>
                    <a:pt x="474" y="619"/>
                  </a:cubicBezTo>
                  <a:cubicBezTo>
                    <a:pt x="474" y="620"/>
                    <a:pt x="474" y="621"/>
                    <a:pt x="474" y="622"/>
                  </a:cubicBezTo>
                  <a:cubicBezTo>
                    <a:pt x="475" y="624"/>
                    <a:pt x="475" y="625"/>
                    <a:pt x="475" y="628"/>
                  </a:cubicBezTo>
                  <a:cubicBezTo>
                    <a:pt x="475" y="630"/>
                    <a:pt x="475" y="634"/>
                    <a:pt x="475" y="637"/>
                  </a:cubicBezTo>
                  <a:cubicBezTo>
                    <a:pt x="476" y="641"/>
                    <a:pt x="481" y="643"/>
                    <a:pt x="482" y="647"/>
                  </a:cubicBezTo>
                  <a:cubicBezTo>
                    <a:pt x="482" y="648"/>
                    <a:pt x="482" y="650"/>
                    <a:pt x="481" y="652"/>
                  </a:cubicBezTo>
                  <a:cubicBezTo>
                    <a:pt x="481" y="653"/>
                    <a:pt x="481" y="655"/>
                    <a:pt x="480" y="657"/>
                  </a:cubicBezTo>
                  <a:cubicBezTo>
                    <a:pt x="479" y="658"/>
                    <a:pt x="479" y="659"/>
                    <a:pt x="477" y="659"/>
                  </a:cubicBezTo>
                  <a:cubicBezTo>
                    <a:pt x="474" y="659"/>
                    <a:pt x="472" y="659"/>
                    <a:pt x="470" y="660"/>
                  </a:cubicBezTo>
                  <a:cubicBezTo>
                    <a:pt x="468" y="660"/>
                    <a:pt x="466" y="661"/>
                    <a:pt x="464" y="662"/>
                  </a:cubicBezTo>
                  <a:cubicBezTo>
                    <a:pt x="462" y="662"/>
                    <a:pt x="461" y="663"/>
                    <a:pt x="460" y="663"/>
                  </a:cubicBezTo>
                  <a:cubicBezTo>
                    <a:pt x="459" y="668"/>
                    <a:pt x="464" y="670"/>
                    <a:pt x="464" y="675"/>
                  </a:cubicBezTo>
                  <a:cubicBezTo>
                    <a:pt x="465" y="677"/>
                    <a:pt x="463" y="678"/>
                    <a:pt x="463" y="680"/>
                  </a:cubicBezTo>
                  <a:cubicBezTo>
                    <a:pt x="461" y="682"/>
                    <a:pt x="461" y="685"/>
                    <a:pt x="460" y="688"/>
                  </a:cubicBezTo>
                  <a:cubicBezTo>
                    <a:pt x="459" y="689"/>
                    <a:pt x="459" y="690"/>
                    <a:pt x="458" y="691"/>
                  </a:cubicBezTo>
                  <a:cubicBezTo>
                    <a:pt x="456" y="692"/>
                    <a:pt x="455" y="692"/>
                    <a:pt x="454" y="693"/>
                  </a:cubicBezTo>
                  <a:cubicBezTo>
                    <a:pt x="454" y="693"/>
                    <a:pt x="453" y="693"/>
                    <a:pt x="453" y="694"/>
                  </a:cubicBezTo>
                  <a:cubicBezTo>
                    <a:pt x="452" y="694"/>
                    <a:pt x="452" y="694"/>
                    <a:pt x="452" y="694"/>
                  </a:cubicBezTo>
                  <a:cubicBezTo>
                    <a:pt x="451" y="694"/>
                    <a:pt x="451" y="695"/>
                    <a:pt x="451" y="695"/>
                  </a:cubicBezTo>
                  <a:cubicBezTo>
                    <a:pt x="450" y="696"/>
                    <a:pt x="449" y="697"/>
                    <a:pt x="447" y="698"/>
                  </a:cubicBezTo>
                  <a:cubicBezTo>
                    <a:pt x="446" y="699"/>
                    <a:pt x="446" y="699"/>
                    <a:pt x="445" y="700"/>
                  </a:cubicBezTo>
                  <a:cubicBezTo>
                    <a:pt x="445" y="701"/>
                    <a:pt x="445" y="702"/>
                    <a:pt x="445" y="703"/>
                  </a:cubicBezTo>
                  <a:cubicBezTo>
                    <a:pt x="445" y="704"/>
                    <a:pt x="446" y="707"/>
                    <a:pt x="445" y="708"/>
                  </a:cubicBezTo>
                  <a:cubicBezTo>
                    <a:pt x="444" y="709"/>
                    <a:pt x="443" y="709"/>
                    <a:pt x="443" y="710"/>
                  </a:cubicBezTo>
                  <a:cubicBezTo>
                    <a:pt x="442" y="711"/>
                    <a:pt x="441" y="713"/>
                    <a:pt x="441" y="714"/>
                  </a:cubicBezTo>
                  <a:cubicBezTo>
                    <a:pt x="442" y="716"/>
                    <a:pt x="443" y="717"/>
                    <a:pt x="444" y="718"/>
                  </a:cubicBezTo>
                  <a:cubicBezTo>
                    <a:pt x="445" y="718"/>
                    <a:pt x="444" y="718"/>
                    <a:pt x="445" y="719"/>
                  </a:cubicBezTo>
                  <a:cubicBezTo>
                    <a:pt x="446" y="719"/>
                    <a:pt x="447" y="720"/>
                    <a:pt x="447" y="720"/>
                  </a:cubicBezTo>
                  <a:cubicBezTo>
                    <a:pt x="448" y="720"/>
                    <a:pt x="448" y="721"/>
                    <a:pt x="449" y="721"/>
                  </a:cubicBezTo>
                  <a:cubicBezTo>
                    <a:pt x="451" y="721"/>
                    <a:pt x="453" y="721"/>
                    <a:pt x="455" y="721"/>
                  </a:cubicBezTo>
                  <a:cubicBezTo>
                    <a:pt x="458" y="721"/>
                    <a:pt x="460" y="720"/>
                    <a:pt x="463" y="720"/>
                  </a:cubicBezTo>
                  <a:cubicBezTo>
                    <a:pt x="464" y="720"/>
                    <a:pt x="465" y="720"/>
                    <a:pt x="466" y="720"/>
                  </a:cubicBezTo>
                  <a:cubicBezTo>
                    <a:pt x="468" y="720"/>
                    <a:pt x="469" y="719"/>
                    <a:pt x="470" y="719"/>
                  </a:cubicBezTo>
                  <a:cubicBezTo>
                    <a:pt x="471" y="719"/>
                    <a:pt x="471" y="719"/>
                    <a:pt x="472" y="719"/>
                  </a:cubicBezTo>
                  <a:cubicBezTo>
                    <a:pt x="473" y="718"/>
                    <a:pt x="474" y="717"/>
                    <a:pt x="474" y="717"/>
                  </a:cubicBezTo>
                  <a:cubicBezTo>
                    <a:pt x="475" y="716"/>
                    <a:pt x="475" y="715"/>
                    <a:pt x="475" y="714"/>
                  </a:cubicBezTo>
                  <a:cubicBezTo>
                    <a:pt x="476" y="714"/>
                    <a:pt x="476" y="713"/>
                    <a:pt x="477" y="712"/>
                  </a:cubicBezTo>
                  <a:cubicBezTo>
                    <a:pt x="477" y="712"/>
                    <a:pt x="477" y="711"/>
                    <a:pt x="477" y="710"/>
                  </a:cubicBezTo>
                  <a:cubicBezTo>
                    <a:pt x="478" y="709"/>
                    <a:pt x="478" y="709"/>
                    <a:pt x="478" y="708"/>
                  </a:cubicBezTo>
                  <a:cubicBezTo>
                    <a:pt x="479" y="705"/>
                    <a:pt x="478" y="704"/>
                    <a:pt x="480" y="702"/>
                  </a:cubicBezTo>
                  <a:cubicBezTo>
                    <a:pt x="481" y="700"/>
                    <a:pt x="483" y="698"/>
                    <a:pt x="485" y="697"/>
                  </a:cubicBezTo>
                  <a:cubicBezTo>
                    <a:pt x="485" y="695"/>
                    <a:pt x="489" y="692"/>
                    <a:pt x="491" y="691"/>
                  </a:cubicBezTo>
                  <a:cubicBezTo>
                    <a:pt x="493" y="690"/>
                    <a:pt x="495" y="688"/>
                    <a:pt x="498" y="686"/>
                  </a:cubicBezTo>
                  <a:cubicBezTo>
                    <a:pt x="502" y="683"/>
                    <a:pt x="500" y="678"/>
                    <a:pt x="500" y="674"/>
                  </a:cubicBezTo>
                  <a:cubicBezTo>
                    <a:pt x="501" y="671"/>
                    <a:pt x="500" y="668"/>
                    <a:pt x="500" y="665"/>
                  </a:cubicBezTo>
                  <a:cubicBezTo>
                    <a:pt x="500" y="663"/>
                    <a:pt x="500" y="661"/>
                    <a:pt x="500" y="660"/>
                  </a:cubicBezTo>
                  <a:cubicBezTo>
                    <a:pt x="500" y="659"/>
                    <a:pt x="500" y="657"/>
                    <a:pt x="501" y="656"/>
                  </a:cubicBezTo>
                  <a:cubicBezTo>
                    <a:pt x="501" y="656"/>
                    <a:pt x="502" y="655"/>
                    <a:pt x="503" y="655"/>
                  </a:cubicBezTo>
                  <a:cubicBezTo>
                    <a:pt x="503" y="654"/>
                    <a:pt x="504" y="653"/>
                    <a:pt x="505" y="652"/>
                  </a:cubicBezTo>
                  <a:cubicBezTo>
                    <a:pt x="505" y="651"/>
                    <a:pt x="505" y="651"/>
                    <a:pt x="506" y="651"/>
                  </a:cubicBezTo>
                  <a:cubicBezTo>
                    <a:pt x="507" y="650"/>
                    <a:pt x="508" y="649"/>
                    <a:pt x="510" y="649"/>
                  </a:cubicBezTo>
                  <a:cubicBezTo>
                    <a:pt x="512" y="648"/>
                    <a:pt x="515" y="648"/>
                    <a:pt x="517" y="647"/>
                  </a:cubicBezTo>
                  <a:cubicBezTo>
                    <a:pt x="517" y="647"/>
                    <a:pt x="517" y="646"/>
                    <a:pt x="517" y="646"/>
                  </a:cubicBezTo>
                  <a:cubicBezTo>
                    <a:pt x="517" y="646"/>
                    <a:pt x="519" y="646"/>
                    <a:pt x="518" y="646"/>
                  </a:cubicBezTo>
                  <a:cubicBezTo>
                    <a:pt x="520" y="646"/>
                    <a:pt x="520" y="646"/>
                    <a:pt x="521" y="646"/>
                  </a:cubicBezTo>
                  <a:cubicBezTo>
                    <a:pt x="523" y="646"/>
                    <a:pt x="525" y="646"/>
                    <a:pt x="526" y="645"/>
                  </a:cubicBezTo>
                  <a:cubicBezTo>
                    <a:pt x="527" y="645"/>
                    <a:pt x="528" y="644"/>
                    <a:pt x="529" y="644"/>
                  </a:cubicBezTo>
                  <a:cubicBezTo>
                    <a:pt x="530" y="644"/>
                    <a:pt x="530" y="644"/>
                    <a:pt x="531" y="643"/>
                  </a:cubicBezTo>
                  <a:cubicBezTo>
                    <a:pt x="531" y="643"/>
                    <a:pt x="532" y="643"/>
                    <a:pt x="532" y="642"/>
                  </a:cubicBezTo>
                  <a:cubicBezTo>
                    <a:pt x="532" y="641"/>
                    <a:pt x="532" y="640"/>
                    <a:pt x="532" y="639"/>
                  </a:cubicBezTo>
                  <a:cubicBezTo>
                    <a:pt x="532" y="638"/>
                    <a:pt x="531" y="636"/>
                    <a:pt x="531" y="635"/>
                  </a:cubicBezTo>
                  <a:cubicBezTo>
                    <a:pt x="531" y="634"/>
                    <a:pt x="531" y="633"/>
                    <a:pt x="532" y="632"/>
                  </a:cubicBezTo>
                  <a:cubicBezTo>
                    <a:pt x="532" y="632"/>
                    <a:pt x="533" y="631"/>
                    <a:pt x="533" y="631"/>
                  </a:cubicBezTo>
                  <a:cubicBezTo>
                    <a:pt x="534" y="629"/>
                    <a:pt x="534" y="626"/>
                    <a:pt x="534" y="624"/>
                  </a:cubicBezTo>
                  <a:cubicBezTo>
                    <a:pt x="534" y="622"/>
                    <a:pt x="534" y="620"/>
                    <a:pt x="534" y="617"/>
                  </a:cubicBezTo>
                  <a:cubicBezTo>
                    <a:pt x="534" y="616"/>
                    <a:pt x="534" y="614"/>
                    <a:pt x="534" y="613"/>
                  </a:cubicBezTo>
                  <a:cubicBezTo>
                    <a:pt x="534" y="611"/>
                    <a:pt x="533" y="609"/>
                    <a:pt x="533" y="607"/>
                  </a:cubicBezTo>
                  <a:cubicBezTo>
                    <a:pt x="532" y="605"/>
                    <a:pt x="531" y="604"/>
                    <a:pt x="529" y="604"/>
                  </a:cubicBezTo>
                  <a:cubicBezTo>
                    <a:pt x="529" y="603"/>
                    <a:pt x="528" y="601"/>
                    <a:pt x="527" y="600"/>
                  </a:cubicBezTo>
                  <a:cubicBezTo>
                    <a:pt x="526" y="598"/>
                    <a:pt x="526" y="597"/>
                    <a:pt x="524" y="597"/>
                  </a:cubicBezTo>
                  <a:cubicBezTo>
                    <a:pt x="523" y="597"/>
                    <a:pt x="522" y="597"/>
                    <a:pt x="521" y="597"/>
                  </a:cubicBezTo>
                  <a:cubicBezTo>
                    <a:pt x="520" y="596"/>
                    <a:pt x="520" y="596"/>
                    <a:pt x="520" y="595"/>
                  </a:cubicBezTo>
                  <a:cubicBezTo>
                    <a:pt x="519" y="594"/>
                    <a:pt x="518" y="594"/>
                    <a:pt x="517" y="593"/>
                  </a:cubicBezTo>
                  <a:cubicBezTo>
                    <a:pt x="516" y="592"/>
                    <a:pt x="516" y="591"/>
                    <a:pt x="515" y="590"/>
                  </a:cubicBezTo>
                  <a:cubicBezTo>
                    <a:pt x="514" y="590"/>
                    <a:pt x="512" y="591"/>
                    <a:pt x="511" y="590"/>
                  </a:cubicBezTo>
                  <a:cubicBezTo>
                    <a:pt x="510" y="590"/>
                    <a:pt x="509" y="590"/>
                    <a:pt x="508" y="590"/>
                  </a:cubicBezTo>
                  <a:cubicBezTo>
                    <a:pt x="506" y="590"/>
                    <a:pt x="506" y="589"/>
                    <a:pt x="504" y="589"/>
                  </a:cubicBezTo>
                  <a:cubicBezTo>
                    <a:pt x="503" y="585"/>
                    <a:pt x="503" y="581"/>
                    <a:pt x="503" y="577"/>
                  </a:cubicBezTo>
                  <a:cubicBezTo>
                    <a:pt x="503" y="575"/>
                    <a:pt x="503" y="574"/>
                    <a:pt x="503" y="572"/>
                  </a:cubicBezTo>
                  <a:cubicBezTo>
                    <a:pt x="504" y="571"/>
                    <a:pt x="504" y="568"/>
                    <a:pt x="505" y="567"/>
                  </a:cubicBezTo>
                  <a:cubicBezTo>
                    <a:pt x="506" y="566"/>
                    <a:pt x="507" y="566"/>
                    <a:pt x="508" y="565"/>
                  </a:cubicBezTo>
                  <a:cubicBezTo>
                    <a:pt x="509" y="564"/>
                    <a:pt x="509" y="562"/>
                    <a:pt x="509" y="561"/>
                  </a:cubicBezTo>
                  <a:cubicBezTo>
                    <a:pt x="509" y="558"/>
                    <a:pt x="510" y="555"/>
                    <a:pt x="511" y="553"/>
                  </a:cubicBezTo>
                  <a:cubicBezTo>
                    <a:pt x="512" y="552"/>
                    <a:pt x="513" y="551"/>
                    <a:pt x="514" y="550"/>
                  </a:cubicBezTo>
                  <a:cubicBezTo>
                    <a:pt x="515" y="550"/>
                    <a:pt x="515" y="550"/>
                    <a:pt x="515" y="549"/>
                  </a:cubicBezTo>
                  <a:cubicBezTo>
                    <a:pt x="516" y="549"/>
                    <a:pt x="516" y="548"/>
                    <a:pt x="516" y="548"/>
                  </a:cubicBezTo>
                  <a:cubicBezTo>
                    <a:pt x="517" y="546"/>
                    <a:pt x="518" y="544"/>
                    <a:pt x="518" y="543"/>
                  </a:cubicBezTo>
                  <a:cubicBezTo>
                    <a:pt x="519" y="541"/>
                    <a:pt x="519" y="540"/>
                    <a:pt x="520" y="538"/>
                  </a:cubicBezTo>
                  <a:cubicBezTo>
                    <a:pt x="521" y="537"/>
                    <a:pt x="521" y="536"/>
                    <a:pt x="522" y="535"/>
                  </a:cubicBezTo>
                  <a:cubicBezTo>
                    <a:pt x="523" y="534"/>
                    <a:pt x="523" y="534"/>
                    <a:pt x="523" y="533"/>
                  </a:cubicBezTo>
                  <a:cubicBezTo>
                    <a:pt x="524" y="532"/>
                    <a:pt x="524" y="532"/>
                    <a:pt x="525" y="531"/>
                  </a:cubicBezTo>
                  <a:cubicBezTo>
                    <a:pt x="526" y="530"/>
                    <a:pt x="526" y="529"/>
                    <a:pt x="527" y="528"/>
                  </a:cubicBezTo>
                  <a:cubicBezTo>
                    <a:pt x="528" y="527"/>
                    <a:pt x="530" y="526"/>
                    <a:pt x="531" y="525"/>
                  </a:cubicBezTo>
                  <a:cubicBezTo>
                    <a:pt x="533" y="524"/>
                    <a:pt x="535" y="521"/>
                    <a:pt x="537" y="522"/>
                  </a:cubicBezTo>
                  <a:cubicBezTo>
                    <a:pt x="538" y="523"/>
                    <a:pt x="539" y="524"/>
                    <a:pt x="539" y="525"/>
                  </a:cubicBezTo>
                  <a:cubicBezTo>
                    <a:pt x="540" y="525"/>
                    <a:pt x="540" y="526"/>
                    <a:pt x="541" y="527"/>
                  </a:cubicBezTo>
                  <a:cubicBezTo>
                    <a:pt x="542" y="528"/>
                    <a:pt x="542" y="528"/>
                    <a:pt x="543" y="530"/>
                  </a:cubicBezTo>
                  <a:cubicBezTo>
                    <a:pt x="543" y="531"/>
                    <a:pt x="545" y="533"/>
                    <a:pt x="546" y="534"/>
                  </a:cubicBezTo>
                  <a:cubicBezTo>
                    <a:pt x="547" y="534"/>
                    <a:pt x="547" y="534"/>
                    <a:pt x="548" y="534"/>
                  </a:cubicBezTo>
                  <a:cubicBezTo>
                    <a:pt x="548" y="535"/>
                    <a:pt x="548" y="536"/>
                    <a:pt x="549" y="536"/>
                  </a:cubicBezTo>
                  <a:cubicBezTo>
                    <a:pt x="551" y="537"/>
                    <a:pt x="552" y="538"/>
                    <a:pt x="554" y="539"/>
                  </a:cubicBezTo>
                  <a:cubicBezTo>
                    <a:pt x="555" y="540"/>
                    <a:pt x="557" y="540"/>
                    <a:pt x="558" y="540"/>
                  </a:cubicBezTo>
                  <a:cubicBezTo>
                    <a:pt x="559" y="541"/>
                    <a:pt x="559" y="541"/>
                    <a:pt x="561" y="542"/>
                  </a:cubicBezTo>
                  <a:cubicBezTo>
                    <a:pt x="561" y="542"/>
                    <a:pt x="562" y="542"/>
                    <a:pt x="562" y="542"/>
                  </a:cubicBezTo>
                  <a:cubicBezTo>
                    <a:pt x="563" y="543"/>
                    <a:pt x="564" y="542"/>
                    <a:pt x="565" y="542"/>
                  </a:cubicBezTo>
                  <a:cubicBezTo>
                    <a:pt x="567" y="542"/>
                    <a:pt x="568" y="542"/>
                    <a:pt x="570" y="542"/>
                  </a:cubicBezTo>
                  <a:cubicBezTo>
                    <a:pt x="571" y="542"/>
                    <a:pt x="571" y="542"/>
                    <a:pt x="572" y="542"/>
                  </a:cubicBezTo>
                  <a:cubicBezTo>
                    <a:pt x="572" y="542"/>
                    <a:pt x="572" y="541"/>
                    <a:pt x="573" y="541"/>
                  </a:cubicBezTo>
                  <a:cubicBezTo>
                    <a:pt x="574" y="541"/>
                    <a:pt x="575" y="543"/>
                    <a:pt x="575" y="544"/>
                  </a:cubicBezTo>
                  <a:cubicBezTo>
                    <a:pt x="576" y="545"/>
                    <a:pt x="576" y="546"/>
                    <a:pt x="578" y="547"/>
                  </a:cubicBezTo>
                  <a:cubicBezTo>
                    <a:pt x="579" y="547"/>
                    <a:pt x="580" y="548"/>
                    <a:pt x="581" y="549"/>
                  </a:cubicBezTo>
                  <a:cubicBezTo>
                    <a:pt x="581" y="551"/>
                    <a:pt x="582" y="553"/>
                    <a:pt x="582" y="555"/>
                  </a:cubicBezTo>
                  <a:cubicBezTo>
                    <a:pt x="582" y="559"/>
                    <a:pt x="583" y="562"/>
                    <a:pt x="583" y="566"/>
                  </a:cubicBezTo>
                  <a:cubicBezTo>
                    <a:pt x="583" y="568"/>
                    <a:pt x="582" y="572"/>
                    <a:pt x="584" y="574"/>
                  </a:cubicBezTo>
                  <a:cubicBezTo>
                    <a:pt x="585" y="575"/>
                    <a:pt x="588" y="576"/>
                    <a:pt x="589" y="577"/>
                  </a:cubicBezTo>
                  <a:cubicBezTo>
                    <a:pt x="591" y="578"/>
                    <a:pt x="593" y="579"/>
                    <a:pt x="595" y="580"/>
                  </a:cubicBezTo>
                  <a:cubicBezTo>
                    <a:pt x="597" y="580"/>
                    <a:pt x="598" y="581"/>
                    <a:pt x="600" y="582"/>
                  </a:cubicBezTo>
                  <a:cubicBezTo>
                    <a:pt x="601" y="582"/>
                    <a:pt x="604" y="582"/>
                    <a:pt x="605" y="582"/>
                  </a:cubicBezTo>
                  <a:cubicBezTo>
                    <a:pt x="606" y="581"/>
                    <a:pt x="605" y="579"/>
                    <a:pt x="605" y="578"/>
                  </a:cubicBezTo>
                  <a:cubicBezTo>
                    <a:pt x="605" y="577"/>
                    <a:pt x="606" y="576"/>
                    <a:pt x="606" y="574"/>
                  </a:cubicBezTo>
                  <a:cubicBezTo>
                    <a:pt x="606" y="572"/>
                    <a:pt x="606" y="570"/>
                    <a:pt x="606" y="568"/>
                  </a:cubicBezTo>
                  <a:cubicBezTo>
                    <a:pt x="607" y="565"/>
                    <a:pt x="608" y="562"/>
                    <a:pt x="610" y="560"/>
                  </a:cubicBezTo>
                  <a:cubicBezTo>
                    <a:pt x="611" y="559"/>
                    <a:pt x="612" y="559"/>
                    <a:pt x="612" y="557"/>
                  </a:cubicBezTo>
                  <a:cubicBezTo>
                    <a:pt x="612" y="556"/>
                    <a:pt x="612" y="555"/>
                    <a:pt x="612" y="555"/>
                  </a:cubicBezTo>
                  <a:cubicBezTo>
                    <a:pt x="612" y="554"/>
                    <a:pt x="612" y="552"/>
                    <a:pt x="612" y="55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8" name="Freeform 19">
              <a:extLst>
                <a:ext uri="{FF2B5EF4-FFF2-40B4-BE49-F238E27FC236}">
                  <a16:creationId xmlns:a16="http://schemas.microsoft.com/office/drawing/2014/main" id="{551B438B-B9B3-4321-8EE5-567B637DB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6280150"/>
              <a:ext cx="320675" cy="239713"/>
            </a:xfrm>
            <a:custGeom>
              <a:avLst/>
              <a:gdLst/>
              <a:ahLst/>
              <a:cxnLst>
                <a:cxn ang="0">
                  <a:pos x="135" y="7"/>
                </a:cxn>
                <a:cxn ang="0">
                  <a:pos x="121" y="12"/>
                </a:cxn>
                <a:cxn ang="0">
                  <a:pos x="110" y="16"/>
                </a:cxn>
                <a:cxn ang="0">
                  <a:pos x="103" y="19"/>
                </a:cxn>
                <a:cxn ang="0">
                  <a:pos x="86" y="19"/>
                </a:cxn>
                <a:cxn ang="0">
                  <a:pos x="77" y="17"/>
                </a:cxn>
                <a:cxn ang="0">
                  <a:pos x="67" y="19"/>
                </a:cxn>
                <a:cxn ang="0">
                  <a:pos x="58" y="14"/>
                </a:cxn>
                <a:cxn ang="0">
                  <a:pos x="53" y="6"/>
                </a:cxn>
                <a:cxn ang="0">
                  <a:pos x="37" y="1"/>
                </a:cxn>
                <a:cxn ang="0">
                  <a:pos x="32" y="14"/>
                </a:cxn>
                <a:cxn ang="0">
                  <a:pos x="22" y="9"/>
                </a:cxn>
                <a:cxn ang="0">
                  <a:pos x="15" y="3"/>
                </a:cxn>
                <a:cxn ang="0">
                  <a:pos x="6" y="14"/>
                </a:cxn>
                <a:cxn ang="0">
                  <a:pos x="7" y="28"/>
                </a:cxn>
                <a:cxn ang="0">
                  <a:pos x="1" y="34"/>
                </a:cxn>
                <a:cxn ang="0">
                  <a:pos x="6" y="47"/>
                </a:cxn>
                <a:cxn ang="0">
                  <a:pos x="13" y="51"/>
                </a:cxn>
                <a:cxn ang="0">
                  <a:pos x="35" y="57"/>
                </a:cxn>
                <a:cxn ang="0">
                  <a:pos x="52" y="69"/>
                </a:cxn>
                <a:cxn ang="0">
                  <a:pos x="69" y="88"/>
                </a:cxn>
                <a:cxn ang="0">
                  <a:pos x="77" y="88"/>
                </a:cxn>
                <a:cxn ang="0">
                  <a:pos x="83" y="90"/>
                </a:cxn>
                <a:cxn ang="0">
                  <a:pos x="92" y="94"/>
                </a:cxn>
                <a:cxn ang="0">
                  <a:pos x="103" y="109"/>
                </a:cxn>
                <a:cxn ang="0">
                  <a:pos x="109" y="125"/>
                </a:cxn>
                <a:cxn ang="0">
                  <a:pos x="122" y="126"/>
                </a:cxn>
                <a:cxn ang="0">
                  <a:pos x="144" y="121"/>
                </a:cxn>
                <a:cxn ang="0">
                  <a:pos x="142" y="106"/>
                </a:cxn>
                <a:cxn ang="0">
                  <a:pos x="150" y="98"/>
                </a:cxn>
                <a:cxn ang="0">
                  <a:pos x="147" y="87"/>
                </a:cxn>
                <a:cxn ang="0">
                  <a:pos x="148" y="79"/>
                </a:cxn>
                <a:cxn ang="0">
                  <a:pos x="141" y="61"/>
                </a:cxn>
                <a:cxn ang="0">
                  <a:pos x="156" y="52"/>
                </a:cxn>
                <a:cxn ang="0">
                  <a:pos x="163" y="45"/>
                </a:cxn>
                <a:cxn ang="0">
                  <a:pos x="154" y="42"/>
                </a:cxn>
                <a:cxn ang="0">
                  <a:pos x="159" y="31"/>
                </a:cxn>
                <a:cxn ang="0">
                  <a:pos x="164" y="19"/>
                </a:cxn>
                <a:cxn ang="0">
                  <a:pos x="167" y="10"/>
                </a:cxn>
                <a:cxn ang="0">
                  <a:pos x="168" y="1"/>
                </a:cxn>
                <a:cxn ang="0">
                  <a:pos x="144" y="12"/>
                </a:cxn>
              </a:cxnLst>
              <a:rect l="0" t="0" r="r" b="b"/>
              <a:pathLst>
                <a:path w="171" h="128">
                  <a:moveTo>
                    <a:pt x="144" y="12"/>
                  </a:moveTo>
                  <a:cubicBezTo>
                    <a:pt x="141" y="11"/>
                    <a:pt x="138" y="8"/>
                    <a:pt x="135" y="7"/>
                  </a:cubicBezTo>
                  <a:cubicBezTo>
                    <a:pt x="133" y="7"/>
                    <a:pt x="132" y="8"/>
                    <a:pt x="130" y="8"/>
                  </a:cubicBezTo>
                  <a:cubicBezTo>
                    <a:pt x="126" y="8"/>
                    <a:pt x="123" y="10"/>
                    <a:pt x="121" y="12"/>
                  </a:cubicBezTo>
                  <a:cubicBezTo>
                    <a:pt x="120" y="13"/>
                    <a:pt x="118" y="14"/>
                    <a:pt x="117" y="15"/>
                  </a:cubicBezTo>
                  <a:cubicBezTo>
                    <a:pt x="115" y="16"/>
                    <a:pt x="113" y="15"/>
                    <a:pt x="110" y="16"/>
                  </a:cubicBezTo>
                  <a:cubicBezTo>
                    <a:pt x="109" y="17"/>
                    <a:pt x="108" y="17"/>
                    <a:pt x="106" y="17"/>
                  </a:cubicBezTo>
                  <a:cubicBezTo>
                    <a:pt x="105" y="18"/>
                    <a:pt x="105" y="19"/>
                    <a:pt x="103" y="19"/>
                  </a:cubicBezTo>
                  <a:cubicBezTo>
                    <a:pt x="100" y="21"/>
                    <a:pt x="95" y="19"/>
                    <a:pt x="91" y="19"/>
                  </a:cubicBezTo>
                  <a:cubicBezTo>
                    <a:pt x="90" y="19"/>
                    <a:pt x="87" y="20"/>
                    <a:pt x="86" y="19"/>
                  </a:cubicBezTo>
                  <a:cubicBezTo>
                    <a:pt x="85" y="19"/>
                    <a:pt x="86" y="18"/>
                    <a:pt x="85" y="18"/>
                  </a:cubicBezTo>
                  <a:cubicBezTo>
                    <a:pt x="82" y="17"/>
                    <a:pt x="80" y="17"/>
                    <a:pt x="77" y="17"/>
                  </a:cubicBezTo>
                  <a:cubicBezTo>
                    <a:pt x="74" y="17"/>
                    <a:pt x="71" y="17"/>
                    <a:pt x="68" y="18"/>
                  </a:cubicBezTo>
                  <a:cubicBezTo>
                    <a:pt x="67" y="19"/>
                    <a:pt x="68" y="19"/>
                    <a:pt x="67" y="19"/>
                  </a:cubicBezTo>
                  <a:cubicBezTo>
                    <a:pt x="65" y="20"/>
                    <a:pt x="64" y="19"/>
                    <a:pt x="63" y="18"/>
                  </a:cubicBezTo>
                  <a:cubicBezTo>
                    <a:pt x="61" y="17"/>
                    <a:pt x="59" y="15"/>
                    <a:pt x="58" y="14"/>
                  </a:cubicBezTo>
                  <a:cubicBezTo>
                    <a:pt x="57" y="13"/>
                    <a:pt x="57" y="11"/>
                    <a:pt x="56" y="10"/>
                  </a:cubicBezTo>
                  <a:cubicBezTo>
                    <a:pt x="55" y="9"/>
                    <a:pt x="54" y="8"/>
                    <a:pt x="53" y="6"/>
                  </a:cubicBezTo>
                  <a:cubicBezTo>
                    <a:pt x="51" y="3"/>
                    <a:pt x="49" y="1"/>
                    <a:pt x="44" y="0"/>
                  </a:cubicBezTo>
                  <a:cubicBezTo>
                    <a:pt x="42" y="0"/>
                    <a:pt x="39" y="0"/>
                    <a:pt x="37" y="1"/>
                  </a:cubicBezTo>
                  <a:cubicBezTo>
                    <a:pt x="36" y="2"/>
                    <a:pt x="37" y="6"/>
                    <a:pt x="36" y="7"/>
                  </a:cubicBezTo>
                  <a:cubicBezTo>
                    <a:pt x="36" y="11"/>
                    <a:pt x="34" y="12"/>
                    <a:pt x="32" y="14"/>
                  </a:cubicBezTo>
                  <a:cubicBezTo>
                    <a:pt x="31" y="14"/>
                    <a:pt x="28" y="16"/>
                    <a:pt x="27" y="16"/>
                  </a:cubicBezTo>
                  <a:cubicBezTo>
                    <a:pt x="26" y="16"/>
                    <a:pt x="23" y="10"/>
                    <a:pt x="22" y="9"/>
                  </a:cubicBezTo>
                  <a:cubicBezTo>
                    <a:pt x="21" y="7"/>
                    <a:pt x="20" y="3"/>
                    <a:pt x="19" y="2"/>
                  </a:cubicBezTo>
                  <a:cubicBezTo>
                    <a:pt x="18" y="1"/>
                    <a:pt x="16" y="2"/>
                    <a:pt x="15" y="3"/>
                  </a:cubicBezTo>
                  <a:cubicBezTo>
                    <a:pt x="14" y="5"/>
                    <a:pt x="15" y="6"/>
                    <a:pt x="13" y="8"/>
                  </a:cubicBezTo>
                  <a:cubicBezTo>
                    <a:pt x="10" y="10"/>
                    <a:pt x="7" y="11"/>
                    <a:pt x="6" y="14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21"/>
                    <a:pt x="8" y="25"/>
                    <a:pt x="7" y="28"/>
                  </a:cubicBezTo>
                  <a:cubicBezTo>
                    <a:pt x="7" y="30"/>
                    <a:pt x="5" y="30"/>
                    <a:pt x="4" y="31"/>
                  </a:cubicBezTo>
                  <a:cubicBezTo>
                    <a:pt x="3" y="31"/>
                    <a:pt x="2" y="33"/>
                    <a:pt x="1" y="34"/>
                  </a:cubicBezTo>
                  <a:cubicBezTo>
                    <a:pt x="0" y="37"/>
                    <a:pt x="2" y="41"/>
                    <a:pt x="3" y="43"/>
                  </a:cubicBezTo>
                  <a:cubicBezTo>
                    <a:pt x="4" y="46"/>
                    <a:pt x="4" y="46"/>
                    <a:pt x="6" y="47"/>
                  </a:cubicBezTo>
                  <a:cubicBezTo>
                    <a:pt x="8" y="47"/>
                    <a:pt x="9" y="47"/>
                    <a:pt x="11" y="48"/>
                  </a:cubicBezTo>
                  <a:cubicBezTo>
                    <a:pt x="11" y="49"/>
                    <a:pt x="12" y="50"/>
                    <a:pt x="13" y="51"/>
                  </a:cubicBezTo>
                  <a:cubicBezTo>
                    <a:pt x="16" y="54"/>
                    <a:pt x="19" y="52"/>
                    <a:pt x="23" y="52"/>
                  </a:cubicBezTo>
                  <a:cubicBezTo>
                    <a:pt x="28" y="52"/>
                    <a:pt x="32" y="52"/>
                    <a:pt x="35" y="57"/>
                  </a:cubicBezTo>
                  <a:cubicBezTo>
                    <a:pt x="37" y="60"/>
                    <a:pt x="40" y="60"/>
                    <a:pt x="43" y="62"/>
                  </a:cubicBezTo>
                  <a:cubicBezTo>
                    <a:pt x="46" y="63"/>
                    <a:pt x="50" y="66"/>
                    <a:pt x="52" y="69"/>
                  </a:cubicBezTo>
                  <a:cubicBezTo>
                    <a:pt x="54" y="74"/>
                    <a:pt x="58" y="81"/>
                    <a:pt x="62" y="84"/>
                  </a:cubicBezTo>
                  <a:cubicBezTo>
                    <a:pt x="64" y="85"/>
                    <a:pt x="67" y="86"/>
                    <a:pt x="69" y="88"/>
                  </a:cubicBezTo>
                  <a:cubicBezTo>
                    <a:pt x="71" y="88"/>
                    <a:pt x="72" y="89"/>
                    <a:pt x="74" y="89"/>
                  </a:cubicBezTo>
                  <a:cubicBezTo>
                    <a:pt x="75" y="89"/>
                    <a:pt x="75" y="88"/>
                    <a:pt x="77" y="88"/>
                  </a:cubicBezTo>
                  <a:cubicBezTo>
                    <a:pt x="78" y="88"/>
                    <a:pt x="79" y="89"/>
                    <a:pt x="80" y="90"/>
                  </a:cubicBezTo>
                  <a:cubicBezTo>
                    <a:pt x="81" y="90"/>
                    <a:pt x="82" y="90"/>
                    <a:pt x="83" y="90"/>
                  </a:cubicBezTo>
                  <a:cubicBezTo>
                    <a:pt x="85" y="90"/>
                    <a:pt x="86" y="90"/>
                    <a:pt x="88" y="90"/>
                  </a:cubicBezTo>
                  <a:cubicBezTo>
                    <a:pt x="91" y="90"/>
                    <a:pt x="91" y="92"/>
                    <a:pt x="92" y="94"/>
                  </a:cubicBezTo>
                  <a:cubicBezTo>
                    <a:pt x="94" y="97"/>
                    <a:pt x="97" y="98"/>
                    <a:pt x="100" y="101"/>
                  </a:cubicBezTo>
                  <a:cubicBezTo>
                    <a:pt x="103" y="103"/>
                    <a:pt x="103" y="106"/>
                    <a:pt x="103" y="109"/>
                  </a:cubicBezTo>
                  <a:cubicBezTo>
                    <a:pt x="103" y="113"/>
                    <a:pt x="103" y="117"/>
                    <a:pt x="105" y="121"/>
                  </a:cubicBezTo>
                  <a:cubicBezTo>
                    <a:pt x="106" y="124"/>
                    <a:pt x="106" y="125"/>
                    <a:pt x="109" y="125"/>
                  </a:cubicBezTo>
                  <a:cubicBezTo>
                    <a:pt x="111" y="125"/>
                    <a:pt x="114" y="124"/>
                    <a:pt x="116" y="124"/>
                  </a:cubicBezTo>
                  <a:cubicBezTo>
                    <a:pt x="118" y="124"/>
                    <a:pt x="120" y="125"/>
                    <a:pt x="122" y="126"/>
                  </a:cubicBezTo>
                  <a:cubicBezTo>
                    <a:pt x="127" y="128"/>
                    <a:pt x="132" y="127"/>
                    <a:pt x="136" y="128"/>
                  </a:cubicBezTo>
                  <a:cubicBezTo>
                    <a:pt x="140" y="128"/>
                    <a:pt x="146" y="125"/>
                    <a:pt x="144" y="121"/>
                  </a:cubicBezTo>
                  <a:cubicBezTo>
                    <a:pt x="143" y="117"/>
                    <a:pt x="138" y="114"/>
                    <a:pt x="140" y="110"/>
                  </a:cubicBezTo>
                  <a:cubicBezTo>
                    <a:pt x="140" y="108"/>
                    <a:pt x="141" y="107"/>
                    <a:pt x="142" y="106"/>
                  </a:cubicBezTo>
                  <a:cubicBezTo>
                    <a:pt x="144" y="103"/>
                    <a:pt x="146" y="103"/>
                    <a:pt x="148" y="101"/>
                  </a:cubicBezTo>
                  <a:cubicBezTo>
                    <a:pt x="149" y="100"/>
                    <a:pt x="149" y="99"/>
                    <a:pt x="150" y="98"/>
                  </a:cubicBezTo>
                  <a:cubicBezTo>
                    <a:pt x="152" y="97"/>
                    <a:pt x="153" y="97"/>
                    <a:pt x="153" y="94"/>
                  </a:cubicBezTo>
                  <a:cubicBezTo>
                    <a:pt x="153" y="89"/>
                    <a:pt x="149" y="91"/>
                    <a:pt x="147" y="87"/>
                  </a:cubicBezTo>
                  <a:cubicBezTo>
                    <a:pt x="146" y="86"/>
                    <a:pt x="146" y="84"/>
                    <a:pt x="146" y="83"/>
                  </a:cubicBezTo>
                  <a:cubicBezTo>
                    <a:pt x="146" y="81"/>
                    <a:pt x="147" y="81"/>
                    <a:pt x="148" y="79"/>
                  </a:cubicBezTo>
                  <a:cubicBezTo>
                    <a:pt x="149" y="76"/>
                    <a:pt x="143" y="72"/>
                    <a:pt x="142" y="70"/>
                  </a:cubicBezTo>
                  <a:cubicBezTo>
                    <a:pt x="139" y="66"/>
                    <a:pt x="140" y="65"/>
                    <a:pt x="141" y="61"/>
                  </a:cubicBezTo>
                  <a:cubicBezTo>
                    <a:pt x="142" y="57"/>
                    <a:pt x="147" y="52"/>
                    <a:pt x="151" y="52"/>
                  </a:cubicBezTo>
                  <a:cubicBezTo>
                    <a:pt x="153" y="52"/>
                    <a:pt x="154" y="52"/>
                    <a:pt x="156" y="52"/>
                  </a:cubicBezTo>
                  <a:cubicBezTo>
                    <a:pt x="157" y="53"/>
                    <a:pt x="158" y="55"/>
                    <a:pt x="160" y="54"/>
                  </a:cubicBezTo>
                  <a:cubicBezTo>
                    <a:pt x="165" y="53"/>
                    <a:pt x="167" y="48"/>
                    <a:pt x="163" y="45"/>
                  </a:cubicBezTo>
                  <a:cubicBezTo>
                    <a:pt x="162" y="44"/>
                    <a:pt x="160" y="43"/>
                    <a:pt x="158" y="43"/>
                  </a:cubicBezTo>
                  <a:cubicBezTo>
                    <a:pt x="157" y="42"/>
                    <a:pt x="155" y="43"/>
                    <a:pt x="154" y="42"/>
                  </a:cubicBezTo>
                  <a:cubicBezTo>
                    <a:pt x="152" y="41"/>
                    <a:pt x="152" y="37"/>
                    <a:pt x="152" y="35"/>
                  </a:cubicBezTo>
                  <a:cubicBezTo>
                    <a:pt x="153" y="31"/>
                    <a:pt x="156" y="31"/>
                    <a:pt x="159" y="31"/>
                  </a:cubicBezTo>
                  <a:cubicBezTo>
                    <a:pt x="165" y="29"/>
                    <a:pt x="162" y="27"/>
                    <a:pt x="163" y="22"/>
                  </a:cubicBezTo>
                  <a:cubicBezTo>
                    <a:pt x="163" y="21"/>
                    <a:pt x="164" y="20"/>
                    <a:pt x="164" y="19"/>
                  </a:cubicBezTo>
                  <a:cubicBezTo>
                    <a:pt x="164" y="17"/>
                    <a:pt x="163" y="15"/>
                    <a:pt x="164" y="14"/>
                  </a:cubicBezTo>
                  <a:cubicBezTo>
                    <a:pt x="164" y="12"/>
                    <a:pt x="166" y="11"/>
                    <a:pt x="167" y="10"/>
                  </a:cubicBezTo>
                  <a:cubicBezTo>
                    <a:pt x="169" y="9"/>
                    <a:pt x="170" y="6"/>
                    <a:pt x="171" y="5"/>
                  </a:cubicBezTo>
                  <a:cubicBezTo>
                    <a:pt x="171" y="3"/>
                    <a:pt x="170" y="1"/>
                    <a:pt x="168" y="1"/>
                  </a:cubicBezTo>
                  <a:cubicBezTo>
                    <a:pt x="166" y="1"/>
                    <a:pt x="165" y="4"/>
                    <a:pt x="164" y="5"/>
                  </a:cubicBezTo>
                  <a:lnTo>
                    <a:pt x="144" y="1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9" name="Freeform 20">
              <a:extLst>
                <a:ext uri="{FF2B5EF4-FFF2-40B4-BE49-F238E27FC236}">
                  <a16:creationId xmlns:a16="http://schemas.microsoft.com/office/drawing/2014/main" id="{1152CA71-3BE9-414C-8189-7BF49B5DB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0688" y="5835650"/>
              <a:ext cx="161925" cy="334963"/>
            </a:xfrm>
            <a:custGeom>
              <a:avLst/>
              <a:gdLst/>
              <a:ahLst/>
              <a:cxnLst>
                <a:cxn ang="0">
                  <a:pos x="69" y="8"/>
                </a:cxn>
                <a:cxn ang="0">
                  <a:pos x="74" y="14"/>
                </a:cxn>
                <a:cxn ang="0">
                  <a:pos x="77" y="21"/>
                </a:cxn>
                <a:cxn ang="0">
                  <a:pos x="77" y="28"/>
                </a:cxn>
                <a:cxn ang="0">
                  <a:pos x="85" y="34"/>
                </a:cxn>
                <a:cxn ang="0">
                  <a:pos x="87" y="46"/>
                </a:cxn>
                <a:cxn ang="0">
                  <a:pos x="86" y="56"/>
                </a:cxn>
                <a:cxn ang="0">
                  <a:pos x="85" y="65"/>
                </a:cxn>
                <a:cxn ang="0">
                  <a:pos x="83" y="72"/>
                </a:cxn>
                <a:cxn ang="0">
                  <a:pos x="77" y="76"/>
                </a:cxn>
                <a:cxn ang="0">
                  <a:pos x="75" y="80"/>
                </a:cxn>
                <a:cxn ang="0">
                  <a:pos x="79" y="90"/>
                </a:cxn>
                <a:cxn ang="0">
                  <a:pos x="76" y="114"/>
                </a:cxn>
                <a:cxn ang="0">
                  <a:pos x="75" y="126"/>
                </a:cxn>
                <a:cxn ang="0">
                  <a:pos x="74" y="132"/>
                </a:cxn>
                <a:cxn ang="0">
                  <a:pos x="73" y="138"/>
                </a:cxn>
                <a:cxn ang="0">
                  <a:pos x="72" y="145"/>
                </a:cxn>
                <a:cxn ang="0">
                  <a:pos x="70" y="152"/>
                </a:cxn>
                <a:cxn ang="0">
                  <a:pos x="69" y="153"/>
                </a:cxn>
                <a:cxn ang="0">
                  <a:pos x="68" y="162"/>
                </a:cxn>
                <a:cxn ang="0">
                  <a:pos x="64" y="162"/>
                </a:cxn>
                <a:cxn ang="0">
                  <a:pos x="57" y="156"/>
                </a:cxn>
                <a:cxn ang="0">
                  <a:pos x="53" y="155"/>
                </a:cxn>
                <a:cxn ang="0">
                  <a:pos x="40" y="150"/>
                </a:cxn>
                <a:cxn ang="0">
                  <a:pos x="41" y="157"/>
                </a:cxn>
                <a:cxn ang="0">
                  <a:pos x="34" y="175"/>
                </a:cxn>
                <a:cxn ang="0">
                  <a:pos x="21" y="178"/>
                </a:cxn>
                <a:cxn ang="0">
                  <a:pos x="17" y="179"/>
                </a:cxn>
                <a:cxn ang="0">
                  <a:pos x="14" y="165"/>
                </a:cxn>
                <a:cxn ang="0">
                  <a:pos x="8" y="155"/>
                </a:cxn>
                <a:cxn ang="0">
                  <a:pos x="6" y="151"/>
                </a:cxn>
                <a:cxn ang="0">
                  <a:pos x="9" y="138"/>
                </a:cxn>
                <a:cxn ang="0">
                  <a:pos x="14" y="131"/>
                </a:cxn>
                <a:cxn ang="0">
                  <a:pos x="12" y="120"/>
                </a:cxn>
                <a:cxn ang="0">
                  <a:pos x="17" y="116"/>
                </a:cxn>
                <a:cxn ang="0">
                  <a:pos x="19" y="110"/>
                </a:cxn>
                <a:cxn ang="0">
                  <a:pos x="18" y="104"/>
                </a:cxn>
                <a:cxn ang="0">
                  <a:pos x="13" y="102"/>
                </a:cxn>
                <a:cxn ang="0">
                  <a:pos x="10" y="105"/>
                </a:cxn>
                <a:cxn ang="0">
                  <a:pos x="11" y="98"/>
                </a:cxn>
                <a:cxn ang="0">
                  <a:pos x="13" y="88"/>
                </a:cxn>
                <a:cxn ang="0">
                  <a:pos x="17" y="85"/>
                </a:cxn>
                <a:cxn ang="0">
                  <a:pos x="17" y="68"/>
                </a:cxn>
                <a:cxn ang="0">
                  <a:pos x="12" y="58"/>
                </a:cxn>
                <a:cxn ang="0">
                  <a:pos x="11" y="52"/>
                </a:cxn>
                <a:cxn ang="0">
                  <a:pos x="8" y="48"/>
                </a:cxn>
                <a:cxn ang="0">
                  <a:pos x="3" y="43"/>
                </a:cxn>
                <a:cxn ang="0">
                  <a:pos x="6" y="32"/>
                </a:cxn>
                <a:cxn ang="0">
                  <a:pos x="7" y="24"/>
                </a:cxn>
                <a:cxn ang="0">
                  <a:pos x="9" y="16"/>
                </a:cxn>
                <a:cxn ang="0">
                  <a:pos x="13" y="12"/>
                </a:cxn>
                <a:cxn ang="0">
                  <a:pos x="10" y="19"/>
                </a:cxn>
                <a:cxn ang="0">
                  <a:pos x="17" y="22"/>
                </a:cxn>
                <a:cxn ang="0">
                  <a:pos x="27" y="23"/>
                </a:cxn>
                <a:cxn ang="0">
                  <a:pos x="32" y="25"/>
                </a:cxn>
                <a:cxn ang="0">
                  <a:pos x="38" y="22"/>
                </a:cxn>
                <a:cxn ang="0">
                  <a:pos x="47" y="14"/>
                </a:cxn>
                <a:cxn ang="0">
                  <a:pos x="52" y="10"/>
                </a:cxn>
                <a:cxn ang="0">
                  <a:pos x="56" y="2"/>
                </a:cxn>
              </a:cxnLst>
              <a:rect l="0" t="0" r="r" b="b"/>
              <a:pathLst>
                <a:path w="87" h="179">
                  <a:moveTo>
                    <a:pt x="67" y="5"/>
                  </a:moveTo>
                  <a:cubicBezTo>
                    <a:pt x="67" y="6"/>
                    <a:pt x="68" y="8"/>
                    <a:pt x="69" y="8"/>
                  </a:cubicBezTo>
                  <a:cubicBezTo>
                    <a:pt x="71" y="9"/>
                    <a:pt x="73" y="9"/>
                    <a:pt x="73" y="11"/>
                  </a:cubicBezTo>
                  <a:cubicBezTo>
                    <a:pt x="74" y="12"/>
                    <a:pt x="73" y="13"/>
                    <a:pt x="74" y="14"/>
                  </a:cubicBezTo>
                  <a:cubicBezTo>
                    <a:pt x="74" y="15"/>
                    <a:pt x="75" y="14"/>
                    <a:pt x="76" y="15"/>
                  </a:cubicBezTo>
                  <a:cubicBezTo>
                    <a:pt x="77" y="16"/>
                    <a:pt x="77" y="19"/>
                    <a:pt x="77" y="21"/>
                  </a:cubicBezTo>
                  <a:cubicBezTo>
                    <a:pt x="77" y="22"/>
                    <a:pt x="77" y="23"/>
                    <a:pt x="76" y="25"/>
                  </a:cubicBezTo>
                  <a:cubicBezTo>
                    <a:pt x="76" y="26"/>
                    <a:pt x="76" y="27"/>
                    <a:pt x="77" y="28"/>
                  </a:cubicBezTo>
                  <a:cubicBezTo>
                    <a:pt x="79" y="30"/>
                    <a:pt x="81" y="29"/>
                    <a:pt x="83" y="30"/>
                  </a:cubicBezTo>
                  <a:cubicBezTo>
                    <a:pt x="85" y="31"/>
                    <a:pt x="85" y="32"/>
                    <a:pt x="85" y="34"/>
                  </a:cubicBezTo>
                  <a:cubicBezTo>
                    <a:pt x="85" y="37"/>
                    <a:pt x="87" y="40"/>
                    <a:pt x="87" y="43"/>
                  </a:cubicBezTo>
                  <a:cubicBezTo>
                    <a:pt x="87" y="44"/>
                    <a:pt x="87" y="45"/>
                    <a:pt x="87" y="46"/>
                  </a:cubicBezTo>
                  <a:cubicBezTo>
                    <a:pt x="87" y="48"/>
                    <a:pt x="86" y="49"/>
                    <a:pt x="86" y="50"/>
                  </a:cubicBezTo>
                  <a:cubicBezTo>
                    <a:pt x="86" y="52"/>
                    <a:pt x="86" y="54"/>
                    <a:pt x="86" y="56"/>
                  </a:cubicBezTo>
                  <a:cubicBezTo>
                    <a:pt x="86" y="58"/>
                    <a:pt x="86" y="60"/>
                    <a:pt x="86" y="62"/>
                  </a:cubicBezTo>
                  <a:cubicBezTo>
                    <a:pt x="85" y="63"/>
                    <a:pt x="85" y="64"/>
                    <a:pt x="85" y="65"/>
                  </a:cubicBezTo>
                  <a:cubicBezTo>
                    <a:pt x="85" y="66"/>
                    <a:pt x="85" y="67"/>
                    <a:pt x="85" y="68"/>
                  </a:cubicBezTo>
                  <a:cubicBezTo>
                    <a:pt x="84" y="69"/>
                    <a:pt x="83" y="71"/>
                    <a:pt x="83" y="72"/>
                  </a:cubicBezTo>
                  <a:cubicBezTo>
                    <a:pt x="82" y="73"/>
                    <a:pt x="81" y="74"/>
                    <a:pt x="81" y="74"/>
                  </a:cubicBezTo>
                  <a:cubicBezTo>
                    <a:pt x="79" y="75"/>
                    <a:pt x="77" y="74"/>
                    <a:pt x="77" y="76"/>
                  </a:cubicBezTo>
                  <a:cubicBezTo>
                    <a:pt x="76" y="76"/>
                    <a:pt x="77" y="77"/>
                    <a:pt x="76" y="78"/>
                  </a:cubicBezTo>
                  <a:cubicBezTo>
                    <a:pt x="76" y="79"/>
                    <a:pt x="76" y="79"/>
                    <a:pt x="75" y="80"/>
                  </a:cubicBezTo>
                  <a:cubicBezTo>
                    <a:pt x="75" y="81"/>
                    <a:pt x="75" y="84"/>
                    <a:pt x="76" y="86"/>
                  </a:cubicBezTo>
                  <a:cubicBezTo>
                    <a:pt x="77" y="87"/>
                    <a:pt x="78" y="88"/>
                    <a:pt x="79" y="90"/>
                  </a:cubicBezTo>
                  <a:cubicBezTo>
                    <a:pt x="79" y="91"/>
                    <a:pt x="80" y="92"/>
                    <a:pt x="80" y="94"/>
                  </a:cubicBezTo>
                  <a:cubicBezTo>
                    <a:pt x="79" y="101"/>
                    <a:pt x="77" y="107"/>
                    <a:pt x="76" y="114"/>
                  </a:cubicBezTo>
                  <a:cubicBezTo>
                    <a:pt x="76" y="117"/>
                    <a:pt x="76" y="119"/>
                    <a:pt x="76" y="122"/>
                  </a:cubicBezTo>
                  <a:cubicBezTo>
                    <a:pt x="76" y="123"/>
                    <a:pt x="76" y="125"/>
                    <a:pt x="75" y="126"/>
                  </a:cubicBezTo>
                  <a:cubicBezTo>
                    <a:pt x="75" y="128"/>
                    <a:pt x="75" y="129"/>
                    <a:pt x="75" y="130"/>
                  </a:cubicBezTo>
                  <a:cubicBezTo>
                    <a:pt x="75" y="131"/>
                    <a:pt x="74" y="131"/>
                    <a:pt x="74" y="132"/>
                  </a:cubicBezTo>
                  <a:cubicBezTo>
                    <a:pt x="74" y="133"/>
                    <a:pt x="74" y="134"/>
                    <a:pt x="73" y="135"/>
                  </a:cubicBezTo>
                  <a:cubicBezTo>
                    <a:pt x="73" y="136"/>
                    <a:pt x="73" y="137"/>
                    <a:pt x="73" y="138"/>
                  </a:cubicBezTo>
                  <a:cubicBezTo>
                    <a:pt x="72" y="140"/>
                    <a:pt x="73" y="142"/>
                    <a:pt x="72" y="143"/>
                  </a:cubicBezTo>
                  <a:cubicBezTo>
                    <a:pt x="72" y="144"/>
                    <a:pt x="72" y="145"/>
                    <a:pt x="72" y="145"/>
                  </a:cubicBezTo>
                  <a:cubicBezTo>
                    <a:pt x="71" y="147"/>
                    <a:pt x="71" y="148"/>
                    <a:pt x="71" y="150"/>
                  </a:cubicBezTo>
                  <a:cubicBezTo>
                    <a:pt x="71" y="151"/>
                    <a:pt x="70" y="151"/>
                    <a:pt x="70" y="152"/>
                  </a:cubicBezTo>
                  <a:cubicBezTo>
                    <a:pt x="70" y="152"/>
                    <a:pt x="69" y="152"/>
                    <a:pt x="69" y="153"/>
                  </a:cubicBezTo>
                  <a:cubicBezTo>
                    <a:pt x="69" y="153"/>
                    <a:pt x="69" y="153"/>
                    <a:pt x="69" y="153"/>
                  </a:cubicBezTo>
                  <a:cubicBezTo>
                    <a:pt x="68" y="155"/>
                    <a:pt x="68" y="156"/>
                    <a:pt x="68" y="158"/>
                  </a:cubicBezTo>
                  <a:cubicBezTo>
                    <a:pt x="68" y="158"/>
                    <a:pt x="68" y="161"/>
                    <a:pt x="68" y="162"/>
                  </a:cubicBezTo>
                  <a:cubicBezTo>
                    <a:pt x="67" y="162"/>
                    <a:pt x="67" y="161"/>
                    <a:pt x="66" y="161"/>
                  </a:cubicBezTo>
                  <a:cubicBezTo>
                    <a:pt x="65" y="161"/>
                    <a:pt x="65" y="162"/>
                    <a:pt x="64" y="162"/>
                  </a:cubicBezTo>
                  <a:cubicBezTo>
                    <a:pt x="63" y="163"/>
                    <a:pt x="61" y="163"/>
                    <a:pt x="60" y="161"/>
                  </a:cubicBezTo>
                  <a:cubicBezTo>
                    <a:pt x="59" y="159"/>
                    <a:pt x="59" y="158"/>
                    <a:pt x="57" y="156"/>
                  </a:cubicBezTo>
                  <a:cubicBezTo>
                    <a:pt x="57" y="155"/>
                    <a:pt x="57" y="155"/>
                    <a:pt x="55" y="155"/>
                  </a:cubicBezTo>
                  <a:cubicBezTo>
                    <a:pt x="55" y="154"/>
                    <a:pt x="54" y="155"/>
                    <a:pt x="53" y="155"/>
                  </a:cubicBezTo>
                  <a:cubicBezTo>
                    <a:pt x="49" y="154"/>
                    <a:pt x="47" y="152"/>
                    <a:pt x="44" y="150"/>
                  </a:cubicBezTo>
                  <a:cubicBezTo>
                    <a:pt x="44" y="150"/>
                    <a:pt x="41" y="149"/>
                    <a:pt x="40" y="150"/>
                  </a:cubicBezTo>
                  <a:cubicBezTo>
                    <a:pt x="39" y="152"/>
                    <a:pt x="42" y="153"/>
                    <a:pt x="42" y="154"/>
                  </a:cubicBezTo>
                  <a:cubicBezTo>
                    <a:pt x="43" y="155"/>
                    <a:pt x="42" y="156"/>
                    <a:pt x="41" y="157"/>
                  </a:cubicBezTo>
                  <a:cubicBezTo>
                    <a:pt x="39" y="160"/>
                    <a:pt x="41" y="162"/>
                    <a:pt x="41" y="166"/>
                  </a:cubicBezTo>
                  <a:cubicBezTo>
                    <a:pt x="41" y="170"/>
                    <a:pt x="38" y="173"/>
                    <a:pt x="34" y="175"/>
                  </a:cubicBezTo>
                  <a:cubicBezTo>
                    <a:pt x="31" y="176"/>
                    <a:pt x="28" y="176"/>
                    <a:pt x="25" y="177"/>
                  </a:cubicBezTo>
                  <a:cubicBezTo>
                    <a:pt x="24" y="177"/>
                    <a:pt x="23" y="178"/>
                    <a:pt x="21" y="178"/>
                  </a:cubicBezTo>
                  <a:cubicBezTo>
                    <a:pt x="21" y="178"/>
                    <a:pt x="20" y="177"/>
                    <a:pt x="19" y="178"/>
                  </a:cubicBezTo>
                  <a:cubicBezTo>
                    <a:pt x="18" y="178"/>
                    <a:pt x="18" y="179"/>
                    <a:pt x="17" y="179"/>
                  </a:cubicBezTo>
                  <a:cubicBezTo>
                    <a:pt x="16" y="176"/>
                    <a:pt x="16" y="173"/>
                    <a:pt x="15" y="170"/>
                  </a:cubicBezTo>
                  <a:cubicBezTo>
                    <a:pt x="15" y="168"/>
                    <a:pt x="15" y="167"/>
                    <a:pt x="14" y="165"/>
                  </a:cubicBezTo>
                  <a:cubicBezTo>
                    <a:pt x="13" y="163"/>
                    <a:pt x="11" y="161"/>
                    <a:pt x="10" y="158"/>
                  </a:cubicBezTo>
                  <a:cubicBezTo>
                    <a:pt x="10" y="157"/>
                    <a:pt x="9" y="157"/>
                    <a:pt x="8" y="155"/>
                  </a:cubicBezTo>
                  <a:cubicBezTo>
                    <a:pt x="7" y="154"/>
                    <a:pt x="6" y="154"/>
                    <a:pt x="5" y="153"/>
                  </a:cubicBezTo>
                  <a:cubicBezTo>
                    <a:pt x="4" y="152"/>
                    <a:pt x="5" y="152"/>
                    <a:pt x="6" y="151"/>
                  </a:cubicBezTo>
                  <a:cubicBezTo>
                    <a:pt x="8" y="149"/>
                    <a:pt x="9" y="144"/>
                    <a:pt x="9" y="141"/>
                  </a:cubicBezTo>
                  <a:cubicBezTo>
                    <a:pt x="9" y="140"/>
                    <a:pt x="8" y="139"/>
                    <a:pt x="9" y="138"/>
                  </a:cubicBezTo>
                  <a:cubicBezTo>
                    <a:pt x="9" y="137"/>
                    <a:pt x="9" y="137"/>
                    <a:pt x="10" y="137"/>
                  </a:cubicBezTo>
                  <a:cubicBezTo>
                    <a:pt x="12" y="135"/>
                    <a:pt x="13" y="133"/>
                    <a:pt x="14" y="131"/>
                  </a:cubicBezTo>
                  <a:cubicBezTo>
                    <a:pt x="14" y="129"/>
                    <a:pt x="15" y="126"/>
                    <a:pt x="14" y="124"/>
                  </a:cubicBezTo>
                  <a:cubicBezTo>
                    <a:pt x="14" y="123"/>
                    <a:pt x="13" y="122"/>
                    <a:pt x="12" y="120"/>
                  </a:cubicBezTo>
                  <a:cubicBezTo>
                    <a:pt x="12" y="117"/>
                    <a:pt x="15" y="116"/>
                    <a:pt x="15" y="113"/>
                  </a:cubicBezTo>
                  <a:cubicBezTo>
                    <a:pt x="15" y="114"/>
                    <a:pt x="16" y="116"/>
                    <a:pt x="17" y="116"/>
                  </a:cubicBezTo>
                  <a:cubicBezTo>
                    <a:pt x="17" y="115"/>
                    <a:pt x="17" y="115"/>
                    <a:pt x="18" y="114"/>
                  </a:cubicBezTo>
                  <a:cubicBezTo>
                    <a:pt x="19" y="112"/>
                    <a:pt x="19" y="111"/>
                    <a:pt x="19" y="110"/>
                  </a:cubicBezTo>
                  <a:cubicBezTo>
                    <a:pt x="20" y="108"/>
                    <a:pt x="24" y="106"/>
                    <a:pt x="22" y="104"/>
                  </a:cubicBezTo>
                  <a:cubicBezTo>
                    <a:pt x="21" y="104"/>
                    <a:pt x="19" y="104"/>
                    <a:pt x="18" y="104"/>
                  </a:cubicBezTo>
                  <a:cubicBezTo>
                    <a:pt x="16" y="104"/>
                    <a:pt x="17" y="103"/>
                    <a:pt x="16" y="102"/>
                  </a:cubicBezTo>
                  <a:cubicBezTo>
                    <a:pt x="15" y="100"/>
                    <a:pt x="15" y="101"/>
                    <a:pt x="13" y="102"/>
                  </a:cubicBezTo>
                  <a:cubicBezTo>
                    <a:pt x="13" y="102"/>
                    <a:pt x="12" y="102"/>
                    <a:pt x="12" y="103"/>
                  </a:cubicBezTo>
                  <a:cubicBezTo>
                    <a:pt x="11" y="103"/>
                    <a:pt x="11" y="104"/>
                    <a:pt x="10" y="105"/>
                  </a:cubicBezTo>
                  <a:cubicBezTo>
                    <a:pt x="9" y="105"/>
                    <a:pt x="9" y="104"/>
                    <a:pt x="9" y="103"/>
                  </a:cubicBezTo>
                  <a:cubicBezTo>
                    <a:pt x="10" y="101"/>
                    <a:pt x="11" y="100"/>
                    <a:pt x="11" y="98"/>
                  </a:cubicBezTo>
                  <a:cubicBezTo>
                    <a:pt x="11" y="97"/>
                    <a:pt x="11" y="94"/>
                    <a:pt x="12" y="93"/>
                  </a:cubicBezTo>
                  <a:cubicBezTo>
                    <a:pt x="13" y="91"/>
                    <a:pt x="13" y="90"/>
                    <a:pt x="13" y="88"/>
                  </a:cubicBezTo>
                  <a:cubicBezTo>
                    <a:pt x="15" y="87"/>
                    <a:pt x="20" y="89"/>
                    <a:pt x="21" y="87"/>
                  </a:cubicBezTo>
                  <a:cubicBezTo>
                    <a:pt x="22" y="85"/>
                    <a:pt x="18" y="85"/>
                    <a:pt x="17" y="85"/>
                  </a:cubicBezTo>
                  <a:cubicBezTo>
                    <a:pt x="16" y="82"/>
                    <a:pt x="17" y="78"/>
                    <a:pt x="17" y="74"/>
                  </a:cubicBezTo>
                  <a:cubicBezTo>
                    <a:pt x="17" y="73"/>
                    <a:pt x="17" y="69"/>
                    <a:pt x="17" y="68"/>
                  </a:cubicBezTo>
                  <a:cubicBezTo>
                    <a:pt x="16" y="67"/>
                    <a:pt x="14" y="66"/>
                    <a:pt x="13" y="66"/>
                  </a:cubicBezTo>
                  <a:cubicBezTo>
                    <a:pt x="12" y="63"/>
                    <a:pt x="13" y="61"/>
                    <a:pt x="12" y="58"/>
                  </a:cubicBezTo>
                  <a:cubicBezTo>
                    <a:pt x="12" y="56"/>
                    <a:pt x="12" y="55"/>
                    <a:pt x="11" y="53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1"/>
                    <a:pt x="9" y="51"/>
                    <a:pt x="9" y="50"/>
                  </a:cubicBezTo>
                  <a:cubicBezTo>
                    <a:pt x="8" y="49"/>
                    <a:pt x="8" y="48"/>
                    <a:pt x="8" y="48"/>
                  </a:cubicBezTo>
                  <a:cubicBezTo>
                    <a:pt x="7" y="46"/>
                    <a:pt x="7" y="47"/>
                    <a:pt x="5" y="47"/>
                  </a:cubicBezTo>
                  <a:cubicBezTo>
                    <a:pt x="3" y="46"/>
                    <a:pt x="0" y="45"/>
                    <a:pt x="3" y="43"/>
                  </a:cubicBezTo>
                  <a:cubicBezTo>
                    <a:pt x="4" y="41"/>
                    <a:pt x="5" y="41"/>
                    <a:pt x="5" y="39"/>
                  </a:cubicBezTo>
                  <a:cubicBezTo>
                    <a:pt x="5" y="36"/>
                    <a:pt x="5" y="34"/>
                    <a:pt x="6" y="32"/>
                  </a:cubicBezTo>
                  <a:cubicBezTo>
                    <a:pt x="6" y="30"/>
                    <a:pt x="5" y="28"/>
                    <a:pt x="6" y="27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8" y="23"/>
                    <a:pt x="8" y="21"/>
                    <a:pt x="8" y="20"/>
                  </a:cubicBezTo>
                  <a:cubicBezTo>
                    <a:pt x="9" y="19"/>
                    <a:pt x="9" y="17"/>
                    <a:pt x="9" y="16"/>
                  </a:cubicBezTo>
                  <a:cubicBezTo>
                    <a:pt x="9" y="14"/>
                    <a:pt x="9" y="13"/>
                    <a:pt x="11" y="12"/>
                  </a:cubicBezTo>
                  <a:cubicBezTo>
                    <a:pt x="11" y="12"/>
                    <a:pt x="12" y="11"/>
                    <a:pt x="13" y="12"/>
                  </a:cubicBezTo>
                  <a:cubicBezTo>
                    <a:pt x="13" y="13"/>
                    <a:pt x="11" y="15"/>
                    <a:pt x="11" y="15"/>
                  </a:cubicBezTo>
                  <a:cubicBezTo>
                    <a:pt x="9" y="17"/>
                    <a:pt x="10" y="17"/>
                    <a:pt x="10" y="19"/>
                  </a:cubicBezTo>
                  <a:cubicBezTo>
                    <a:pt x="10" y="21"/>
                    <a:pt x="10" y="20"/>
                    <a:pt x="11" y="21"/>
                  </a:cubicBezTo>
                  <a:cubicBezTo>
                    <a:pt x="13" y="22"/>
                    <a:pt x="15" y="22"/>
                    <a:pt x="17" y="22"/>
                  </a:cubicBezTo>
                  <a:cubicBezTo>
                    <a:pt x="19" y="22"/>
                    <a:pt x="21" y="21"/>
                    <a:pt x="24" y="21"/>
                  </a:cubicBezTo>
                  <a:cubicBezTo>
                    <a:pt x="25" y="22"/>
                    <a:pt x="26" y="23"/>
                    <a:pt x="27" y="23"/>
                  </a:cubicBezTo>
                  <a:cubicBezTo>
                    <a:pt x="27" y="23"/>
                    <a:pt x="28" y="23"/>
                    <a:pt x="29" y="23"/>
                  </a:cubicBezTo>
                  <a:cubicBezTo>
                    <a:pt x="29" y="24"/>
                    <a:pt x="31" y="25"/>
                    <a:pt x="32" y="25"/>
                  </a:cubicBezTo>
                  <a:cubicBezTo>
                    <a:pt x="32" y="25"/>
                    <a:pt x="33" y="24"/>
                    <a:pt x="34" y="23"/>
                  </a:cubicBezTo>
                  <a:cubicBezTo>
                    <a:pt x="35" y="22"/>
                    <a:pt x="36" y="22"/>
                    <a:pt x="38" y="22"/>
                  </a:cubicBezTo>
                  <a:cubicBezTo>
                    <a:pt x="41" y="21"/>
                    <a:pt x="40" y="18"/>
                    <a:pt x="42" y="16"/>
                  </a:cubicBezTo>
                  <a:cubicBezTo>
                    <a:pt x="44" y="14"/>
                    <a:pt x="45" y="14"/>
                    <a:pt x="47" y="14"/>
                  </a:cubicBezTo>
                  <a:cubicBezTo>
                    <a:pt x="48" y="13"/>
                    <a:pt x="49" y="12"/>
                    <a:pt x="50" y="11"/>
                  </a:cubicBezTo>
                  <a:cubicBezTo>
                    <a:pt x="51" y="11"/>
                    <a:pt x="52" y="10"/>
                    <a:pt x="52" y="10"/>
                  </a:cubicBezTo>
                  <a:cubicBezTo>
                    <a:pt x="53" y="9"/>
                    <a:pt x="53" y="8"/>
                    <a:pt x="53" y="7"/>
                  </a:cubicBezTo>
                  <a:cubicBezTo>
                    <a:pt x="53" y="4"/>
                    <a:pt x="54" y="3"/>
                    <a:pt x="56" y="2"/>
                  </a:cubicBezTo>
                  <a:cubicBezTo>
                    <a:pt x="59" y="0"/>
                    <a:pt x="65" y="1"/>
                    <a:pt x="67" y="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0" name="Freeform 21">
              <a:extLst>
                <a:ext uri="{FF2B5EF4-FFF2-40B4-BE49-F238E27FC236}">
                  <a16:creationId xmlns:a16="http://schemas.microsoft.com/office/drawing/2014/main" id="{54AE3AE2-B19E-43EF-8FFC-C48272B498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9500" y="3751263"/>
              <a:ext cx="1041400" cy="944563"/>
            </a:xfrm>
            <a:custGeom>
              <a:avLst/>
              <a:gdLst/>
              <a:ahLst/>
              <a:cxnLst>
                <a:cxn ang="0">
                  <a:pos x="549" y="385"/>
                </a:cxn>
                <a:cxn ang="0">
                  <a:pos x="543" y="329"/>
                </a:cxn>
                <a:cxn ang="0">
                  <a:pos x="531" y="290"/>
                </a:cxn>
                <a:cxn ang="0">
                  <a:pos x="533" y="257"/>
                </a:cxn>
                <a:cxn ang="0">
                  <a:pos x="522" y="235"/>
                </a:cxn>
                <a:cxn ang="0">
                  <a:pos x="532" y="203"/>
                </a:cxn>
                <a:cxn ang="0">
                  <a:pos x="552" y="184"/>
                </a:cxn>
                <a:cxn ang="0">
                  <a:pos x="546" y="161"/>
                </a:cxn>
                <a:cxn ang="0">
                  <a:pos x="524" y="97"/>
                </a:cxn>
                <a:cxn ang="0">
                  <a:pos x="518" y="61"/>
                </a:cxn>
                <a:cxn ang="0">
                  <a:pos x="473" y="42"/>
                </a:cxn>
                <a:cxn ang="0">
                  <a:pos x="315" y="39"/>
                </a:cxn>
                <a:cxn ang="0">
                  <a:pos x="293" y="41"/>
                </a:cxn>
                <a:cxn ang="0">
                  <a:pos x="243" y="1"/>
                </a:cxn>
                <a:cxn ang="0">
                  <a:pos x="187" y="10"/>
                </a:cxn>
                <a:cxn ang="0">
                  <a:pos x="156" y="17"/>
                </a:cxn>
                <a:cxn ang="0">
                  <a:pos x="114" y="50"/>
                </a:cxn>
                <a:cxn ang="0">
                  <a:pos x="77" y="63"/>
                </a:cxn>
                <a:cxn ang="0">
                  <a:pos x="36" y="71"/>
                </a:cxn>
                <a:cxn ang="0">
                  <a:pos x="14" y="81"/>
                </a:cxn>
                <a:cxn ang="0">
                  <a:pos x="16" y="93"/>
                </a:cxn>
                <a:cxn ang="0">
                  <a:pos x="33" y="138"/>
                </a:cxn>
                <a:cxn ang="0">
                  <a:pos x="16" y="170"/>
                </a:cxn>
                <a:cxn ang="0">
                  <a:pos x="31" y="187"/>
                </a:cxn>
                <a:cxn ang="0">
                  <a:pos x="37" y="212"/>
                </a:cxn>
                <a:cxn ang="0">
                  <a:pos x="43" y="231"/>
                </a:cxn>
                <a:cxn ang="0">
                  <a:pos x="38" y="260"/>
                </a:cxn>
                <a:cxn ang="0">
                  <a:pos x="44" y="276"/>
                </a:cxn>
                <a:cxn ang="0">
                  <a:pos x="47" y="292"/>
                </a:cxn>
                <a:cxn ang="0">
                  <a:pos x="60" y="310"/>
                </a:cxn>
                <a:cxn ang="0">
                  <a:pos x="61" y="338"/>
                </a:cxn>
                <a:cxn ang="0">
                  <a:pos x="88" y="356"/>
                </a:cxn>
                <a:cxn ang="0">
                  <a:pos x="118" y="367"/>
                </a:cxn>
                <a:cxn ang="0">
                  <a:pos x="138" y="375"/>
                </a:cxn>
                <a:cxn ang="0">
                  <a:pos x="140" y="398"/>
                </a:cxn>
                <a:cxn ang="0">
                  <a:pos x="157" y="412"/>
                </a:cxn>
                <a:cxn ang="0">
                  <a:pos x="167" y="393"/>
                </a:cxn>
                <a:cxn ang="0">
                  <a:pos x="191" y="400"/>
                </a:cxn>
                <a:cxn ang="0">
                  <a:pos x="208" y="414"/>
                </a:cxn>
                <a:cxn ang="0">
                  <a:pos x="231" y="426"/>
                </a:cxn>
                <a:cxn ang="0">
                  <a:pos x="269" y="455"/>
                </a:cxn>
                <a:cxn ang="0">
                  <a:pos x="286" y="475"/>
                </a:cxn>
                <a:cxn ang="0">
                  <a:pos x="308" y="466"/>
                </a:cxn>
                <a:cxn ang="0">
                  <a:pos x="321" y="487"/>
                </a:cxn>
                <a:cxn ang="0">
                  <a:pos x="338" y="483"/>
                </a:cxn>
                <a:cxn ang="0">
                  <a:pos x="376" y="480"/>
                </a:cxn>
                <a:cxn ang="0">
                  <a:pos x="393" y="473"/>
                </a:cxn>
                <a:cxn ang="0">
                  <a:pos x="427" y="479"/>
                </a:cxn>
                <a:cxn ang="0">
                  <a:pos x="445" y="490"/>
                </a:cxn>
                <a:cxn ang="0">
                  <a:pos x="477" y="503"/>
                </a:cxn>
                <a:cxn ang="0">
                  <a:pos x="477" y="486"/>
                </a:cxn>
                <a:cxn ang="0">
                  <a:pos x="474" y="462"/>
                </a:cxn>
                <a:cxn ang="0">
                  <a:pos x="500" y="424"/>
                </a:cxn>
                <a:cxn ang="0">
                  <a:pos x="551" y="390"/>
                </a:cxn>
                <a:cxn ang="0">
                  <a:pos x="545" y="359"/>
                </a:cxn>
              </a:cxnLst>
              <a:rect l="0" t="0" r="r" b="b"/>
              <a:pathLst>
                <a:path w="557" h="505">
                  <a:moveTo>
                    <a:pt x="552" y="381"/>
                  </a:moveTo>
                  <a:cubicBezTo>
                    <a:pt x="552" y="381"/>
                    <a:pt x="552" y="382"/>
                    <a:pt x="552" y="382"/>
                  </a:cubicBezTo>
                  <a:cubicBezTo>
                    <a:pt x="552" y="382"/>
                    <a:pt x="552" y="381"/>
                    <a:pt x="552" y="381"/>
                  </a:cubicBezTo>
                  <a:moveTo>
                    <a:pt x="549" y="385"/>
                  </a:moveTo>
                  <a:cubicBezTo>
                    <a:pt x="550" y="385"/>
                    <a:pt x="550" y="385"/>
                    <a:pt x="550" y="385"/>
                  </a:cubicBezTo>
                  <a:cubicBezTo>
                    <a:pt x="550" y="385"/>
                    <a:pt x="550" y="385"/>
                    <a:pt x="550" y="385"/>
                  </a:cubicBezTo>
                  <a:lnTo>
                    <a:pt x="549" y="385"/>
                  </a:lnTo>
                  <a:close/>
                  <a:moveTo>
                    <a:pt x="557" y="352"/>
                  </a:moveTo>
                  <a:cubicBezTo>
                    <a:pt x="556" y="350"/>
                    <a:pt x="556" y="351"/>
                    <a:pt x="555" y="350"/>
                  </a:cubicBezTo>
                  <a:cubicBezTo>
                    <a:pt x="554" y="348"/>
                    <a:pt x="554" y="346"/>
                    <a:pt x="554" y="344"/>
                  </a:cubicBezTo>
                  <a:cubicBezTo>
                    <a:pt x="552" y="342"/>
                    <a:pt x="550" y="339"/>
                    <a:pt x="548" y="336"/>
                  </a:cubicBezTo>
                  <a:cubicBezTo>
                    <a:pt x="548" y="335"/>
                    <a:pt x="547" y="332"/>
                    <a:pt x="546" y="331"/>
                  </a:cubicBezTo>
                  <a:cubicBezTo>
                    <a:pt x="546" y="331"/>
                    <a:pt x="545" y="331"/>
                    <a:pt x="544" y="331"/>
                  </a:cubicBezTo>
                  <a:cubicBezTo>
                    <a:pt x="543" y="331"/>
                    <a:pt x="543" y="330"/>
                    <a:pt x="543" y="329"/>
                  </a:cubicBezTo>
                  <a:cubicBezTo>
                    <a:pt x="543" y="329"/>
                    <a:pt x="543" y="328"/>
                    <a:pt x="543" y="328"/>
                  </a:cubicBezTo>
                  <a:cubicBezTo>
                    <a:pt x="542" y="327"/>
                    <a:pt x="542" y="327"/>
                    <a:pt x="542" y="326"/>
                  </a:cubicBezTo>
                  <a:cubicBezTo>
                    <a:pt x="541" y="324"/>
                    <a:pt x="540" y="323"/>
                    <a:pt x="540" y="321"/>
                  </a:cubicBezTo>
                  <a:cubicBezTo>
                    <a:pt x="538" y="317"/>
                    <a:pt x="536" y="314"/>
                    <a:pt x="535" y="310"/>
                  </a:cubicBezTo>
                  <a:cubicBezTo>
                    <a:pt x="534" y="307"/>
                    <a:pt x="533" y="304"/>
                    <a:pt x="533" y="301"/>
                  </a:cubicBezTo>
                  <a:cubicBezTo>
                    <a:pt x="533" y="299"/>
                    <a:pt x="533" y="298"/>
                    <a:pt x="533" y="296"/>
                  </a:cubicBezTo>
                  <a:cubicBezTo>
                    <a:pt x="532" y="294"/>
                    <a:pt x="532" y="291"/>
                    <a:pt x="531" y="290"/>
                  </a:cubicBezTo>
                  <a:cubicBezTo>
                    <a:pt x="530" y="288"/>
                    <a:pt x="529" y="290"/>
                    <a:pt x="527" y="289"/>
                  </a:cubicBezTo>
                  <a:cubicBezTo>
                    <a:pt x="524" y="288"/>
                    <a:pt x="525" y="285"/>
                    <a:pt x="525" y="282"/>
                  </a:cubicBezTo>
                  <a:cubicBezTo>
                    <a:pt x="525" y="280"/>
                    <a:pt x="525" y="278"/>
                    <a:pt x="525" y="276"/>
                  </a:cubicBezTo>
                  <a:cubicBezTo>
                    <a:pt x="526" y="274"/>
                    <a:pt x="527" y="274"/>
                    <a:pt x="528" y="272"/>
                  </a:cubicBezTo>
                  <a:cubicBezTo>
                    <a:pt x="528" y="271"/>
                    <a:pt x="528" y="269"/>
                    <a:pt x="528" y="268"/>
                  </a:cubicBezTo>
                  <a:cubicBezTo>
                    <a:pt x="529" y="266"/>
                    <a:pt x="529" y="266"/>
                    <a:pt x="530" y="264"/>
                  </a:cubicBezTo>
                  <a:cubicBezTo>
                    <a:pt x="531" y="262"/>
                    <a:pt x="532" y="260"/>
                    <a:pt x="533" y="257"/>
                  </a:cubicBezTo>
                  <a:cubicBezTo>
                    <a:pt x="533" y="255"/>
                    <a:pt x="532" y="254"/>
                    <a:pt x="534" y="253"/>
                  </a:cubicBezTo>
                  <a:cubicBezTo>
                    <a:pt x="534" y="252"/>
                    <a:pt x="535" y="253"/>
                    <a:pt x="535" y="252"/>
                  </a:cubicBezTo>
                  <a:cubicBezTo>
                    <a:pt x="535" y="251"/>
                    <a:pt x="535" y="249"/>
                    <a:pt x="535" y="249"/>
                  </a:cubicBezTo>
                  <a:cubicBezTo>
                    <a:pt x="535" y="247"/>
                    <a:pt x="534" y="247"/>
                    <a:pt x="533" y="245"/>
                  </a:cubicBezTo>
                  <a:cubicBezTo>
                    <a:pt x="532" y="244"/>
                    <a:pt x="531" y="243"/>
                    <a:pt x="530" y="242"/>
                  </a:cubicBezTo>
                  <a:cubicBezTo>
                    <a:pt x="528" y="240"/>
                    <a:pt x="528" y="240"/>
                    <a:pt x="526" y="240"/>
                  </a:cubicBezTo>
                  <a:cubicBezTo>
                    <a:pt x="524" y="239"/>
                    <a:pt x="523" y="237"/>
                    <a:pt x="522" y="235"/>
                  </a:cubicBezTo>
                  <a:cubicBezTo>
                    <a:pt x="520" y="232"/>
                    <a:pt x="520" y="231"/>
                    <a:pt x="516" y="232"/>
                  </a:cubicBezTo>
                  <a:cubicBezTo>
                    <a:pt x="512" y="232"/>
                    <a:pt x="513" y="227"/>
                    <a:pt x="514" y="224"/>
                  </a:cubicBezTo>
                  <a:cubicBezTo>
                    <a:pt x="515" y="223"/>
                    <a:pt x="515" y="221"/>
                    <a:pt x="515" y="219"/>
                  </a:cubicBezTo>
                  <a:cubicBezTo>
                    <a:pt x="516" y="218"/>
                    <a:pt x="518" y="217"/>
                    <a:pt x="520" y="216"/>
                  </a:cubicBezTo>
                  <a:cubicBezTo>
                    <a:pt x="523" y="214"/>
                    <a:pt x="526" y="213"/>
                    <a:pt x="528" y="210"/>
                  </a:cubicBezTo>
                  <a:cubicBezTo>
                    <a:pt x="530" y="209"/>
                    <a:pt x="529" y="210"/>
                    <a:pt x="530" y="208"/>
                  </a:cubicBezTo>
                  <a:cubicBezTo>
                    <a:pt x="531" y="206"/>
                    <a:pt x="531" y="205"/>
                    <a:pt x="532" y="203"/>
                  </a:cubicBezTo>
                  <a:cubicBezTo>
                    <a:pt x="532" y="203"/>
                    <a:pt x="532" y="201"/>
                    <a:pt x="533" y="201"/>
                  </a:cubicBezTo>
                  <a:cubicBezTo>
                    <a:pt x="533" y="200"/>
                    <a:pt x="534" y="200"/>
                    <a:pt x="535" y="199"/>
                  </a:cubicBezTo>
                  <a:cubicBezTo>
                    <a:pt x="536" y="198"/>
                    <a:pt x="537" y="197"/>
                    <a:pt x="539" y="196"/>
                  </a:cubicBezTo>
                  <a:cubicBezTo>
                    <a:pt x="542" y="195"/>
                    <a:pt x="544" y="196"/>
                    <a:pt x="547" y="196"/>
                  </a:cubicBezTo>
                  <a:cubicBezTo>
                    <a:pt x="550" y="195"/>
                    <a:pt x="549" y="195"/>
                    <a:pt x="550" y="193"/>
                  </a:cubicBezTo>
                  <a:cubicBezTo>
                    <a:pt x="551" y="192"/>
                    <a:pt x="552" y="190"/>
                    <a:pt x="552" y="188"/>
                  </a:cubicBezTo>
                  <a:cubicBezTo>
                    <a:pt x="552" y="187"/>
                    <a:pt x="552" y="185"/>
                    <a:pt x="552" y="184"/>
                  </a:cubicBezTo>
                  <a:cubicBezTo>
                    <a:pt x="553" y="183"/>
                    <a:pt x="554" y="182"/>
                    <a:pt x="554" y="181"/>
                  </a:cubicBezTo>
                  <a:cubicBezTo>
                    <a:pt x="555" y="179"/>
                    <a:pt x="555" y="178"/>
                    <a:pt x="555" y="176"/>
                  </a:cubicBezTo>
                  <a:cubicBezTo>
                    <a:pt x="555" y="174"/>
                    <a:pt x="555" y="172"/>
                    <a:pt x="555" y="170"/>
                  </a:cubicBezTo>
                  <a:cubicBezTo>
                    <a:pt x="555" y="168"/>
                    <a:pt x="556" y="164"/>
                    <a:pt x="552" y="165"/>
                  </a:cubicBezTo>
                  <a:cubicBezTo>
                    <a:pt x="551" y="165"/>
                    <a:pt x="551" y="167"/>
                    <a:pt x="550" y="166"/>
                  </a:cubicBezTo>
                  <a:cubicBezTo>
                    <a:pt x="549" y="166"/>
                    <a:pt x="549" y="165"/>
                    <a:pt x="548" y="165"/>
                  </a:cubicBezTo>
                  <a:cubicBezTo>
                    <a:pt x="547" y="163"/>
                    <a:pt x="547" y="163"/>
                    <a:pt x="546" y="161"/>
                  </a:cubicBezTo>
                  <a:cubicBezTo>
                    <a:pt x="546" y="159"/>
                    <a:pt x="547" y="156"/>
                    <a:pt x="547" y="154"/>
                  </a:cubicBezTo>
                  <a:cubicBezTo>
                    <a:pt x="546" y="153"/>
                    <a:pt x="545" y="153"/>
                    <a:pt x="545" y="151"/>
                  </a:cubicBezTo>
                  <a:cubicBezTo>
                    <a:pt x="543" y="149"/>
                    <a:pt x="542" y="145"/>
                    <a:pt x="540" y="142"/>
                  </a:cubicBezTo>
                  <a:cubicBezTo>
                    <a:pt x="538" y="136"/>
                    <a:pt x="537" y="131"/>
                    <a:pt x="534" y="125"/>
                  </a:cubicBezTo>
                  <a:cubicBezTo>
                    <a:pt x="532" y="120"/>
                    <a:pt x="529" y="116"/>
                    <a:pt x="527" y="111"/>
                  </a:cubicBezTo>
                  <a:cubicBezTo>
                    <a:pt x="526" y="108"/>
                    <a:pt x="523" y="106"/>
                    <a:pt x="523" y="102"/>
                  </a:cubicBezTo>
                  <a:cubicBezTo>
                    <a:pt x="523" y="99"/>
                    <a:pt x="523" y="99"/>
                    <a:pt x="524" y="97"/>
                  </a:cubicBezTo>
                  <a:cubicBezTo>
                    <a:pt x="525" y="95"/>
                    <a:pt x="526" y="94"/>
                    <a:pt x="526" y="92"/>
                  </a:cubicBezTo>
                  <a:cubicBezTo>
                    <a:pt x="525" y="88"/>
                    <a:pt x="521" y="85"/>
                    <a:pt x="521" y="81"/>
                  </a:cubicBezTo>
                  <a:cubicBezTo>
                    <a:pt x="520" y="80"/>
                    <a:pt x="521" y="78"/>
                    <a:pt x="521" y="77"/>
                  </a:cubicBezTo>
                  <a:cubicBezTo>
                    <a:pt x="521" y="77"/>
                    <a:pt x="520" y="76"/>
                    <a:pt x="521" y="75"/>
                  </a:cubicBezTo>
                  <a:cubicBezTo>
                    <a:pt x="521" y="74"/>
                    <a:pt x="522" y="75"/>
                    <a:pt x="522" y="74"/>
                  </a:cubicBezTo>
                  <a:cubicBezTo>
                    <a:pt x="523" y="72"/>
                    <a:pt x="523" y="67"/>
                    <a:pt x="522" y="65"/>
                  </a:cubicBezTo>
                  <a:cubicBezTo>
                    <a:pt x="521" y="63"/>
                    <a:pt x="519" y="62"/>
                    <a:pt x="518" y="61"/>
                  </a:cubicBezTo>
                  <a:cubicBezTo>
                    <a:pt x="518" y="60"/>
                    <a:pt x="516" y="59"/>
                    <a:pt x="516" y="57"/>
                  </a:cubicBezTo>
                  <a:cubicBezTo>
                    <a:pt x="516" y="56"/>
                    <a:pt x="516" y="55"/>
                    <a:pt x="516" y="54"/>
                  </a:cubicBezTo>
                  <a:cubicBezTo>
                    <a:pt x="515" y="54"/>
                    <a:pt x="513" y="52"/>
                    <a:pt x="512" y="51"/>
                  </a:cubicBezTo>
                  <a:cubicBezTo>
                    <a:pt x="508" y="49"/>
                    <a:pt x="504" y="50"/>
                    <a:pt x="500" y="49"/>
                  </a:cubicBezTo>
                  <a:cubicBezTo>
                    <a:pt x="495" y="48"/>
                    <a:pt x="491" y="45"/>
                    <a:pt x="486" y="43"/>
                  </a:cubicBezTo>
                  <a:cubicBezTo>
                    <a:pt x="484" y="43"/>
                    <a:pt x="482" y="42"/>
                    <a:pt x="480" y="42"/>
                  </a:cubicBezTo>
                  <a:cubicBezTo>
                    <a:pt x="478" y="42"/>
                    <a:pt x="475" y="42"/>
                    <a:pt x="473" y="42"/>
                  </a:cubicBezTo>
                  <a:cubicBezTo>
                    <a:pt x="466" y="42"/>
                    <a:pt x="460" y="42"/>
                    <a:pt x="453" y="42"/>
                  </a:cubicBezTo>
                  <a:cubicBezTo>
                    <a:pt x="445" y="42"/>
                    <a:pt x="436" y="41"/>
                    <a:pt x="428" y="41"/>
                  </a:cubicBezTo>
                  <a:cubicBezTo>
                    <a:pt x="416" y="41"/>
                    <a:pt x="404" y="42"/>
                    <a:pt x="392" y="41"/>
                  </a:cubicBezTo>
                  <a:cubicBezTo>
                    <a:pt x="375" y="41"/>
                    <a:pt x="359" y="40"/>
                    <a:pt x="343" y="39"/>
                  </a:cubicBezTo>
                  <a:cubicBezTo>
                    <a:pt x="336" y="38"/>
                    <a:pt x="329" y="37"/>
                    <a:pt x="322" y="36"/>
                  </a:cubicBezTo>
                  <a:cubicBezTo>
                    <a:pt x="321" y="35"/>
                    <a:pt x="320" y="35"/>
                    <a:pt x="319" y="35"/>
                  </a:cubicBezTo>
                  <a:cubicBezTo>
                    <a:pt x="319" y="37"/>
                    <a:pt x="317" y="38"/>
                    <a:pt x="315" y="39"/>
                  </a:cubicBezTo>
                  <a:cubicBezTo>
                    <a:pt x="314" y="41"/>
                    <a:pt x="310" y="41"/>
                    <a:pt x="309" y="43"/>
                  </a:cubicBezTo>
                  <a:cubicBezTo>
                    <a:pt x="308" y="45"/>
                    <a:pt x="309" y="46"/>
                    <a:pt x="307" y="48"/>
                  </a:cubicBezTo>
                  <a:cubicBezTo>
                    <a:pt x="306" y="49"/>
                    <a:pt x="303" y="48"/>
                    <a:pt x="301" y="48"/>
                  </a:cubicBezTo>
                  <a:cubicBezTo>
                    <a:pt x="298" y="49"/>
                    <a:pt x="295" y="51"/>
                    <a:pt x="292" y="50"/>
                  </a:cubicBezTo>
                  <a:cubicBezTo>
                    <a:pt x="292" y="49"/>
                    <a:pt x="292" y="48"/>
                    <a:pt x="292" y="47"/>
                  </a:cubicBezTo>
                  <a:cubicBezTo>
                    <a:pt x="293" y="45"/>
                    <a:pt x="296" y="43"/>
                    <a:pt x="296" y="42"/>
                  </a:cubicBezTo>
                  <a:cubicBezTo>
                    <a:pt x="296" y="40"/>
                    <a:pt x="295" y="39"/>
                    <a:pt x="293" y="41"/>
                  </a:cubicBezTo>
                  <a:cubicBezTo>
                    <a:pt x="292" y="41"/>
                    <a:pt x="292" y="44"/>
                    <a:pt x="291" y="44"/>
                  </a:cubicBezTo>
                  <a:cubicBezTo>
                    <a:pt x="290" y="45"/>
                    <a:pt x="289" y="43"/>
                    <a:pt x="287" y="43"/>
                  </a:cubicBezTo>
                  <a:cubicBezTo>
                    <a:pt x="286" y="43"/>
                    <a:pt x="283" y="44"/>
                    <a:pt x="282" y="44"/>
                  </a:cubicBezTo>
                  <a:cubicBezTo>
                    <a:pt x="280" y="44"/>
                    <a:pt x="269" y="46"/>
                    <a:pt x="253" y="35"/>
                  </a:cubicBezTo>
                  <a:cubicBezTo>
                    <a:pt x="252" y="27"/>
                    <a:pt x="252" y="27"/>
                    <a:pt x="252" y="27"/>
                  </a:cubicBezTo>
                  <a:cubicBezTo>
                    <a:pt x="253" y="20"/>
                    <a:pt x="246" y="10"/>
                    <a:pt x="245" y="7"/>
                  </a:cubicBezTo>
                  <a:cubicBezTo>
                    <a:pt x="245" y="5"/>
                    <a:pt x="243" y="3"/>
                    <a:pt x="243" y="1"/>
                  </a:cubicBezTo>
                  <a:cubicBezTo>
                    <a:pt x="237" y="0"/>
                    <a:pt x="230" y="1"/>
                    <a:pt x="225" y="1"/>
                  </a:cubicBezTo>
                  <a:cubicBezTo>
                    <a:pt x="220" y="1"/>
                    <a:pt x="214" y="1"/>
                    <a:pt x="210" y="1"/>
                  </a:cubicBezTo>
                  <a:cubicBezTo>
                    <a:pt x="208" y="1"/>
                    <a:pt x="206" y="1"/>
                    <a:pt x="205" y="2"/>
                  </a:cubicBezTo>
                  <a:cubicBezTo>
                    <a:pt x="202" y="2"/>
                    <a:pt x="201" y="4"/>
                    <a:pt x="199" y="5"/>
                  </a:cubicBezTo>
                  <a:cubicBezTo>
                    <a:pt x="196" y="8"/>
                    <a:pt x="193" y="9"/>
                    <a:pt x="192" y="13"/>
                  </a:cubicBezTo>
                  <a:cubicBezTo>
                    <a:pt x="191" y="13"/>
                    <a:pt x="190" y="13"/>
                    <a:pt x="189" y="13"/>
                  </a:cubicBezTo>
                  <a:cubicBezTo>
                    <a:pt x="188" y="12"/>
                    <a:pt x="187" y="10"/>
                    <a:pt x="187" y="10"/>
                  </a:cubicBezTo>
                  <a:cubicBezTo>
                    <a:pt x="184" y="8"/>
                    <a:pt x="181" y="11"/>
                    <a:pt x="178" y="12"/>
                  </a:cubicBezTo>
                  <a:cubicBezTo>
                    <a:pt x="178" y="12"/>
                    <a:pt x="176" y="12"/>
                    <a:pt x="176" y="12"/>
                  </a:cubicBezTo>
                  <a:cubicBezTo>
                    <a:pt x="174" y="13"/>
                    <a:pt x="174" y="16"/>
                    <a:pt x="172" y="16"/>
                  </a:cubicBezTo>
                  <a:cubicBezTo>
                    <a:pt x="171" y="17"/>
                    <a:pt x="168" y="18"/>
                    <a:pt x="166" y="17"/>
                  </a:cubicBezTo>
                  <a:cubicBezTo>
                    <a:pt x="164" y="17"/>
                    <a:pt x="164" y="16"/>
                    <a:pt x="163" y="15"/>
                  </a:cubicBezTo>
                  <a:cubicBezTo>
                    <a:pt x="162" y="14"/>
                    <a:pt x="157" y="14"/>
                    <a:pt x="156" y="15"/>
                  </a:cubicBezTo>
                  <a:cubicBezTo>
                    <a:pt x="155" y="15"/>
                    <a:pt x="156" y="17"/>
                    <a:pt x="156" y="17"/>
                  </a:cubicBezTo>
                  <a:cubicBezTo>
                    <a:pt x="156" y="18"/>
                    <a:pt x="155" y="18"/>
                    <a:pt x="155" y="19"/>
                  </a:cubicBezTo>
                  <a:cubicBezTo>
                    <a:pt x="152" y="21"/>
                    <a:pt x="148" y="21"/>
                    <a:pt x="145" y="24"/>
                  </a:cubicBezTo>
                  <a:cubicBezTo>
                    <a:pt x="144" y="24"/>
                    <a:pt x="143" y="26"/>
                    <a:pt x="143" y="27"/>
                  </a:cubicBezTo>
                  <a:cubicBezTo>
                    <a:pt x="141" y="28"/>
                    <a:pt x="139" y="30"/>
                    <a:pt x="137" y="32"/>
                  </a:cubicBezTo>
                  <a:cubicBezTo>
                    <a:pt x="135" y="34"/>
                    <a:pt x="135" y="37"/>
                    <a:pt x="133" y="40"/>
                  </a:cubicBezTo>
                  <a:cubicBezTo>
                    <a:pt x="131" y="43"/>
                    <a:pt x="129" y="47"/>
                    <a:pt x="125" y="47"/>
                  </a:cubicBezTo>
                  <a:cubicBezTo>
                    <a:pt x="121" y="47"/>
                    <a:pt x="117" y="47"/>
                    <a:pt x="114" y="50"/>
                  </a:cubicBezTo>
                  <a:cubicBezTo>
                    <a:pt x="113" y="50"/>
                    <a:pt x="113" y="51"/>
                    <a:pt x="112" y="51"/>
                  </a:cubicBezTo>
                  <a:cubicBezTo>
                    <a:pt x="109" y="53"/>
                    <a:pt x="105" y="53"/>
                    <a:pt x="102" y="54"/>
                  </a:cubicBezTo>
                  <a:cubicBezTo>
                    <a:pt x="101" y="54"/>
                    <a:pt x="101" y="54"/>
                    <a:pt x="100" y="55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8"/>
                    <a:pt x="98" y="57"/>
                    <a:pt x="97" y="58"/>
                  </a:cubicBezTo>
                  <a:cubicBezTo>
                    <a:pt x="95" y="58"/>
                    <a:pt x="95" y="59"/>
                    <a:pt x="93" y="59"/>
                  </a:cubicBezTo>
                  <a:cubicBezTo>
                    <a:pt x="88" y="62"/>
                    <a:pt x="83" y="63"/>
                    <a:pt x="77" y="63"/>
                  </a:cubicBezTo>
                  <a:cubicBezTo>
                    <a:pt x="72" y="63"/>
                    <a:pt x="69" y="63"/>
                    <a:pt x="65" y="65"/>
                  </a:cubicBezTo>
                  <a:cubicBezTo>
                    <a:pt x="61" y="67"/>
                    <a:pt x="57" y="69"/>
                    <a:pt x="54" y="71"/>
                  </a:cubicBezTo>
                  <a:cubicBezTo>
                    <a:pt x="50" y="73"/>
                    <a:pt x="46" y="74"/>
                    <a:pt x="43" y="76"/>
                  </a:cubicBezTo>
                  <a:cubicBezTo>
                    <a:pt x="46" y="75"/>
                    <a:pt x="46" y="70"/>
                    <a:pt x="48" y="69"/>
                  </a:cubicBezTo>
                  <a:cubicBezTo>
                    <a:pt x="45" y="68"/>
                    <a:pt x="43" y="68"/>
                    <a:pt x="40" y="70"/>
                  </a:cubicBezTo>
                  <a:cubicBezTo>
                    <a:pt x="39" y="70"/>
                    <a:pt x="38" y="71"/>
                    <a:pt x="38" y="71"/>
                  </a:cubicBezTo>
                  <a:cubicBezTo>
                    <a:pt x="37" y="72"/>
                    <a:pt x="36" y="71"/>
                    <a:pt x="36" y="71"/>
                  </a:cubicBezTo>
                  <a:cubicBezTo>
                    <a:pt x="34" y="72"/>
                    <a:pt x="31" y="72"/>
                    <a:pt x="29" y="73"/>
                  </a:cubicBezTo>
                  <a:cubicBezTo>
                    <a:pt x="29" y="73"/>
                    <a:pt x="28" y="74"/>
                    <a:pt x="27" y="74"/>
                  </a:cubicBezTo>
                  <a:cubicBezTo>
                    <a:pt x="25" y="75"/>
                    <a:pt x="21" y="76"/>
                    <a:pt x="18" y="77"/>
                  </a:cubicBezTo>
                  <a:cubicBezTo>
                    <a:pt x="18" y="77"/>
                    <a:pt x="18" y="78"/>
                    <a:pt x="19" y="78"/>
                  </a:cubicBezTo>
                  <a:cubicBezTo>
                    <a:pt x="19" y="79"/>
                    <a:pt x="20" y="79"/>
                    <a:pt x="20" y="80"/>
                  </a:cubicBezTo>
                  <a:cubicBezTo>
                    <a:pt x="19" y="80"/>
                    <a:pt x="18" y="80"/>
                    <a:pt x="17" y="80"/>
                  </a:cubicBezTo>
                  <a:cubicBezTo>
                    <a:pt x="16" y="80"/>
                    <a:pt x="15" y="80"/>
                    <a:pt x="14" y="81"/>
                  </a:cubicBezTo>
                  <a:cubicBezTo>
                    <a:pt x="12" y="81"/>
                    <a:pt x="11" y="82"/>
                    <a:pt x="9" y="82"/>
                  </a:cubicBezTo>
                  <a:cubicBezTo>
                    <a:pt x="6" y="82"/>
                    <a:pt x="3" y="81"/>
                    <a:pt x="0" y="83"/>
                  </a:cubicBezTo>
                  <a:cubicBezTo>
                    <a:pt x="0" y="84"/>
                    <a:pt x="1" y="85"/>
                    <a:pt x="1" y="85"/>
                  </a:cubicBezTo>
                  <a:cubicBezTo>
                    <a:pt x="1" y="86"/>
                    <a:pt x="1" y="87"/>
                    <a:pt x="1" y="87"/>
                  </a:cubicBezTo>
                  <a:cubicBezTo>
                    <a:pt x="2" y="88"/>
                    <a:pt x="5" y="89"/>
                    <a:pt x="7" y="90"/>
                  </a:cubicBezTo>
                  <a:cubicBezTo>
                    <a:pt x="8" y="91"/>
                    <a:pt x="9" y="92"/>
                    <a:pt x="10" y="93"/>
                  </a:cubicBezTo>
                  <a:cubicBezTo>
                    <a:pt x="11" y="93"/>
                    <a:pt x="14" y="94"/>
                    <a:pt x="16" y="93"/>
                  </a:cubicBezTo>
                  <a:cubicBezTo>
                    <a:pt x="18" y="93"/>
                    <a:pt x="20" y="90"/>
                    <a:pt x="21" y="89"/>
                  </a:cubicBezTo>
                  <a:cubicBezTo>
                    <a:pt x="22" y="88"/>
                    <a:pt x="23" y="93"/>
                    <a:pt x="23" y="94"/>
                  </a:cubicBezTo>
                  <a:cubicBezTo>
                    <a:pt x="23" y="96"/>
                    <a:pt x="22" y="99"/>
                    <a:pt x="23" y="101"/>
                  </a:cubicBezTo>
                  <a:cubicBezTo>
                    <a:pt x="23" y="103"/>
                    <a:pt x="24" y="106"/>
                    <a:pt x="24" y="108"/>
                  </a:cubicBezTo>
                  <a:cubicBezTo>
                    <a:pt x="26" y="113"/>
                    <a:pt x="27" y="117"/>
                    <a:pt x="29" y="122"/>
                  </a:cubicBezTo>
                  <a:cubicBezTo>
                    <a:pt x="30" y="124"/>
                    <a:pt x="32" y="127"/>
                    <a:pt x="33" y="130"/>
                  </a:cubicBezTo>
                  <a:cubicBezTo>
                    <a:pt x="34" y="132"/>
                    <a:pt x="33" y="136"/>
                    <a:pt x="33" y="138"/>
                  </a:cubicBezTo>
                  <a:cubicBezTo>
                    <a:pt x="33" y="141"/>
                    <a:pt x="33" y="143"/>
                    <a:pt x="32" y="145"/>
                  </a:cubicBezTo>
                  <a:cubicBezTo>
                    <a:pt x="31" y="148"/>
                    <a:pt x="30" y="149"/>
                    <a:pt x="28" y="151"/>
                  </a:cubicBezTo>
                  <a:cubicBezTo>
                    <a:pt x="27" y="152"/>
                    <a:pt x="26" y="155"/>
                    <a:pt x="25" y="156"/>
                  </a:cubicBezTo>
                  <a:cubicBezTo>
                    <a:pt x="25" y="156"/>
                    <a:pt x="24" y="156"/>
                    <a:pt x="23" y="157"/>
                  </a:cubicBezTo>
                  <a:cubicBezTo>
                    <a:pt x="23" y="158"/>
                    <a:pt x="22" y="159"/>
                    <a:pt x="22" y="160"/>
                  </a:cubicBezTo>
                  <a:cubicBezTo>
                    <a:pt x="21" y="162"/>
                    <a:pt x="20" y="163"/>
                    <a:pt x="19" y="164"/>
                  </a:cubicBezTo>
                  <a:cubicBezTo>
                    <a:pt x="18" y="166"/>
                    <a:pt x="17" y="168"/>
                    <a:pt x="16" y="170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5" y="172"/>
                    <a:pt x="15" y="172"/>
                  </a:cubicBezTo>
                  <a:cubicBezTo>
                    <a:pt x="15" y="174"/>
                    <a:pt x="17" y="174"/>
                    <a:pt x="17" y="175"/>
                  </a:cubicBezTo>
                  <a:cubicBezTo>
                    <a:pt x="19" y="176"/>
                    <a:pt x="20" y="177"/>
                    <a:pt x="21" y="178"/>
                  </a:cubicBezTo>
                  <a:cubicBezTo>
                    <a:pt x="22" y="180"/>
                    <a:pt x="23" y="181"/>
                    <a:pt x="25" y="182"/>
                  </a:cubicBezTo>
                  <a:cubicBezTo>
                    <a:pt x="26" y="183"/>
                    <a:pt x="27" y="183"/>
                    <a:pt x="28" y="184"/>
                  </a:cubicBezTo>
                  <a:cubicBezTo>
                    <a:pt x="29" y="185"/>
                    <a:pt x="30" y="185"/>
                    <a:pt x="31" y="187"/>
                  </a:cubicBezTo>
                  <a:cubicBezTo>
                    <a:pt x="33" y="188"/>
                    <a:pt x="33" y="190"/>
                    <a:pt x="34" y="192"/>
                  </a:cubicBezTo>
                  <a:cubicBezTo>
                    <a:pt x="34" y="192"/>
                    <a:pt x="34" y="193"/>
                    <a:pt x="34" y="193"/>
                  </a:cubicBezTo>
                  <a:cubicBezTo>
                    <a:pt x="36" y="196"/>
                    <a:pt x="40" y="196"/>
                    <a:pt x="41" y="199"/>
                  </a:cubicBezTo>
                  <a:cubicBezTo>
                    <a:pt x="41" y="200"/>
                    <a:pt x="40" y="202"/>
                    <a:pt x="40" y="203"/>
                  </a:cubicBezTo>
                  <a:cubicBezTo>
                    <a:pt x="40" y="204"/>
                    <a:pt x="40" y="205"/>
                    <a:pt x="39" y="206"/>
                  </a:cubicBezTo>
                  <a:cubicBezTo>
                    <a:pt x="39" y="208"/>
                    <a:pt x="38" y="208"/>
                    <a:pt x="37" y="210"/>
                  </a:cubicBezTo>
                  <a:cubicBezTo>
                    <a:pt x="36" y="211"/>
                    <a:pt x="36" y="210"/>
                    <a:pt x="37" y="212"/>
                  </a:cubicBezTo>
                  <a:cubicBezTo>
                    <a:pt x="37" y="214"/>
                    <a:pt x="37" y="215"/>
                    <a:pt x="37" y="217"/>
                  </a:cubicBezTo>
                  <a:cubicBezTo>
                    <a:pt x="37" y="218"/>
                    <a:pt x="38" y="221"/>
                    <a:pt x="38" y="222"/>
                  </a:cubicBezTo>
                  <a:cubicBezTo>
                    <a:pt x="39" y="223"/>
                    <a:pt x="39" y="223"/>
                    <a:pt x="39" y="223"/>
                  </a:cubicBezTo>
                  <a:cubicBezTo>
                    <a:pt x="40" y="223"/>
                    <a:pt x="40" y="224"/>
                    <a:pt x="40" y="224"/>
                  </a:cubicBezTo>
                  <a:cubicBezTo>
                    <a:pt x="40" y="224"/>
                    <a:pt x="41" y="224"/>
                    <a:pt x="42" y="225"/>
                  </a:cubicBezTo>
                  <a:cubicBezTo>
                    <a:pt x="42" y="225"/>
                    <a:pt x="42" y="227"/>
                    <a:pt x="42" y="227"/>
                  </a:cubicBezTo>
                  <a:cubicBezTo>
                    <a:pt x="42" y="229"/>
                    <a:pt x="43" y="230"/>
                    <a:pt x="43" y="231"/>
                  </a:cubicBezTo>
                  <a:cubicBezTo>
                    <a:pt x="43" y="232"/>
                    <a:pt x="42" y="232"/>
                    <a:pt x="43" y="233"/>
                  </a:cubicBezTo>
                  <a:cubicBezTo>
                    <a:pt x="43" y="234"/>
                    <a:pt x="46" y="235"/>
                    <a:pt x="46" y="236"/>
                  </a:cubicBezTo>
                  <a:cubicBezTo>
                    <a:pt x="49" y="238"/>
                    <a:pt x="47" y="241"/>
                    <a:pt x="47" y="244"/>
                  </a:cubicBezTo>
                  <a:cubicBezTo>
                    <a:pt x="46" y="247"/>
                    <a:pt x="46" y="249"/>
                    <a:pt x="46" y="252"/>
                  </a:cubicBezTo>
                  <a:cubicBezTo>
                    <a:pt x="46" y="252"/>
                    <a:pt x="46" y="252"/>
                    <a:pt x="46" y="253"/>
                  </a:cubicBezTo>
                  <a:cubicBezTo>
                    <a:pt x="45" y="255"/>
                    <a:pt x="43" y="255"/>
                    <a:pt x="41" y="255"/>
                  </a:cubicBezTo>
                  <a:cubicBezTo>
                    <a:pt x="37" y="256"/>
                    <a:pt x="38" y="257"/>
                    <a:pt x="38" y="260"/>
                  </a:cubicBezTo>
                  <a:cubicBezTo>
                    <a:pt x="38" y="261"/>
                    <a:pt x="38" y="264"/>
                    <a:pt x="38" y="265"/>
                  </a:cubicBezTo>
                  <a:cubicBezTo>
                    <a:pt x="39" y="266"/>
                    <a:pt x="40" y="265"/>
                    <a:pt x="41" y="265"/>
                  </a:cubicBezTo>
                  <a:cubicBezTo>
                    <a:pt x="40" y="265"/>
                    <a:pt x="39" y="266"/>
                    <a:pt x="38" y="267"/>
                  </a:cubicBezTo>
                  <a:cubicBezTo>
                    <a:pt x="39" y="269"/>
                    <a:pt x="41" y="271"/>
                    <a:pt x="42" y="273"/>
                  </a:cubicBezTo>
                  <a:cubicBezTo>
                    <a:pt x="42" y="273"/>
                    <a:pt x="42" y="274"/>
                    <a:pt x="42" y="274"/>
                  </a:cubicBezTo>
                  <a:cubicBezTo>
                    <a:pt x="42" y="275"/>
                    <a:pt x="43" y="275"/>
                    <a:pt x="43" y="275"/>
                  </a:cubicBezTo>
                  <a:cubicBezTo>
                    <a:pt x="43" y="275"/>
                    <a:pt x="44" y="277"/>
                    <a:pt x="44" y="276"/>
                  </a:cubicBezTo>
                  <a:cubicBezTo>
                    <a:pt x="44" y="278"/>
                    <a:pt x="45" y="280"/>
                    <a:pt x="45" y="282"/>
                  </a:cubicBezTo>
                  <a:cubicBezTo>
                    <a:pt x="45" y="283"/>
                    <a:pt x="44" y="283"/>
                    <a:pt x="44" y="284"/>
                  </a:cubicBezTo>
                  <a:cubicBezTo>
                    <a:pt x="44" y="284"/>
                    <a:pt x="43" y="284"/>
                    <a:pt x="43" y="284"/>
                  </a:cubicBezTo>
                  <a:cubicBezTo>
                    <a:pt x="43" y="285"/>
                    <a:pt x="42" y="285"/>
                    <a:pt x="41" y="285"/>
                  </a:cubicBezTo>
                  <a:cubicBezTo>
                    <a:pt x="40" y="286"/>
                    <a:pt x="41" y="287"/>
                    <a:pt x="42" y="288"/>
                  </a:cubicBezTo>
                  <a:cubicBezTo>
                    <a:pt x="42" y="288"/>
                    <a:pt x="42" y="288"/>
                    <a:pt x="43" y="289"/>
                  </a:cubicBezTo>
                  <a:cubicBezTo>
                    <a:pt x="45" y="290"/>
                    <a:pt x="46" y="291"/>
                    <a:pt x="47" y="292"/>
                  </a:cubicBezTo>
                  <a:cubicBezTo>
                    <a:pt x="48" y="293"/>
                    <a:pt x="50" y="293"/>
                    <a:pt x="51" y="294"/>
                  </a:cubicBezTo>
                  <a:cubicBezTo>
                    <a:pt x="52" y="295"/>
                    <a:pt x="52" y="295"/>
                    <a:pt x="53" y="296"/>
                  </a:cubicBezTo>
                  <a:cubicBezTo>
                    <a:pt x="54" y="298"/>
                    <a:pt x="54" y="299"/>
                    <a:pt x="54" y="301"/>
                  </a:cubicBezTo>
                  <a:cubicBezTo>
                    <a:pt x="55" y="302"/>
                    <a:pt x="55" y="303"/>
                    <a:pt x="55" y="303"/>
                  </a:cubicBezTo>
                  <a:cubicBezTo>
                    <a:pt x="55" y="304"/>
                    <a:pt x="56" y="304"/>
                    <a:pt x="56" y="304"/>
                  </a:cubicBezTo>
                  <a:cubicBezTo>
                    <a:pt x="57" y="305"/>
                    <a:pt x="58" y="306"/>
                    <a:pt x="58" y="307"/>
                  </a:cubicBezTo>
                  <a:cubicBezTo>
                    <a:pt x="59" y="308"/>
                    <a:pt x="59" y="309"/>
                    <a:pt x="60" y="310"/>
                  </a:cubicBezTo>
                  <a:cubicBezTo>
                    <a:pt x="60" y="312"/>
                    <a:pt x="60" y="311"/>
                    <a:pt x="60" y="313"/>
                  </a:cubicBezTo>
                  <a:cubicBezTo>
                    <a:pt x="59" y="315"/>
                    <a:pt x="59" y="317"/>
                    <a:pt x="58" y="319"/>
                  </a:cubicBezTo>
                  <a:cubicBezTo>
                    <a:pt x="57" y="321"/>
                    <a:pt x="57" y="322"/>
                    <a:pt x="57" y="324"/>
                  </a:cubicBezTo>
                  <a:cubicBezTo>
                    <a:pt x="56" y="326"/>
                    <a:pt x="57" y="328"/>
                    <a:pt x="56" y="330"/>
                  </a:cubicBezTo>
                  <a:cubicBezTo>
                    <a:pt x="56" y="332"/>
                    <a:pt x="54" y="333"/>
                    <a:pt x="54" y="336"/>
                  </a:cubicBezTo>
                  <a:cubicBezTo>
                    <a:pt x="54" y="337"/>
                    <a:pt x="54" y="337"/>
                    <a:pt x="54" y="338"/>
                  </a:cubicBezTo>
                  <a:cubicBezTo>
                    <a:pt x="56" y="338"/>
                    <a:pt x="59" y="338"/>
                    <a:pt x="61" y="338"/>
                  </a:cubicBezTo>
                  <a:cubicBezTo>
                    <a:pt x="65" y="338"/>
                    <a:pt x="68" y="338"/>
                    <a:pt x="72" y="338"/>
                  </a:cubicBezTo>
                  <a:cubicBezTo>
                    <a:pt x="75" y="338"/>
                    <a:pt x="75" y="338"/>
                    <a:pt x="76" y="340"/>
                  </a:cubicBezTo>
                  <a:cubicBezTo>
                    <a:pt x="76" y="340"/>
                    <a:pt x="77" y="340"/>
                    <a:pt x="77" y="341"/>
                  </a:cubicBezTo>
                  <a:cubicBezTo>
                    <a:pt x="78" y="341"/>
                    <a:pt x="78" y="341"/>
                    <a:pt x="78" y="342"/>
                  </a:cubicBezTo>
                  <a:cubicBezTo>
                    <a:pt x="78" y="342"/>
                    <a:pt x="79" y="343"/>
                    <a:pt x="79" y="343"/>
                  </a:cubicBezTo>
                  <a:cubicBezTo>
                    <a:pt x="81" y="346"/>
                    <a:pt x="82" y="348"/>
                    <a:pt x="84" y="350"/>
                  </a:cubicBezTo>
                  <a:cubicBezTo>
                    <a:pt x="85" y="352"/>
                    <a:pt x="86" y="355"/>
                    <a:pt x="88" y="356"/>
                  </a:cubicBezTo>
                  <a:cubicBezTo>
                    <a:pt x="89" y="356"/>
                    <a:pt x="90" y="356"/>
                    <a:pt x="91" y="356"/>
                  </a:cubicBezTo>
                  <a:cubicBezTo>
                    <a:pt x="93" y="356"/>
                    <a:pt x="95" y="358"/>
                    <a:pt x="97" y="358"/>
                  </a:cubicBezTo>
                  <a:cubicBezTo>
                    <a:pt x="99" y="359"/>
                    <a:pt x="102" y="361"/>
                    <a:pt x="104" y="362"/>
                  </a:cubicBezTo>
                  <a:cubicBezTo>
                    <a:pt x="106" y="362"/>
                    <a:pt x="107" y="363"/>
                    <a:pt x="108" y="363"/>
                  </a:cubicBezTo>
                  <a:cubicBezTo>
                    <a:pt x="110" y="364"/>
                    <a:pt x="111" y="364"/>
                    <a:pt x="113" y="365"/>
                  </a:cubicBezTo>
                  <a:cubicBezTo>
                    <a:pt x="114" y="365"/>
                    <a:pt x="114" y="366"/>
                    <a:pt x="115" y="366"/>
                  </a:cubicBezTo>
                  <a:cubicBezTo>
                    <a:pt x="116" y="367"/>
                    <a:pt x="117" y="366"/>
                    <a:pt x="118" y="367"/>
                  </a:cubicBezTo>
                  <a:cubicBezTo>
                    <a:pt x="118" y="367"/>
                    <a:pt x="119" y="368"/>
                    <a:pt x="120" y="369"/>
                  </a:cubicBezTo>
                  <a:cubicBezTo>
                    <a:pt x="120" y="369"/>
                    <a:pt x="122" y="369"/>
                    <a:pt x="122" y="369"/>
                  </a:cubicBezTo>
                  <a:cubicBezTo>
                    <a:pt x="124" y="370"/>
                    <a:pt x="125" y="370"/>
                    <a:pt x="127" y="370"/>
                  </a:cubicBezTo>
                  <a:cubicBezTo>
                    <a:pt x="129" y="370"/>
                    <a:pt x="131" y="369"/>
                    <a:pt x="133" y="370"/>
                  </a:cubicBezTo>
                  <a:cubicBezTo>
                    <a:pt x="135" y="370"/>
                    <a:pt x="135" y="370"/>
                    <a:pt x="136" y="371"/>
                  </a:cubicBezTo>
                  <a:cubicBezTo>
                    <a:pt x="138" y="372"/>
                    <a:pt x="137" y="370"/>
                    <a:pt x="138" y="372"/>
                  </a:cubicBezTo>
                  <a:cubicBezTo>
                    <a:pt x="138" y="372"/>
                    <a:pt x="138" y="374"/>
                    <a:pt x="138" y="375"/>
                  </a:cubicBezTo>
                  <a:cubicBezTo>
                    <a:pt x="137" y="376"/>
                    <a:pt x="136" y="377"/>
                    <a:pt x="136" y="378"/>
                  </a:cubicBezTo>
                  <a:cubicBezTo>
                    <a:pt x="135" y="379"/>
                    <a:pt x="134" y="380"/>
                    <a:pt x="133" y="381"/>
                  </a:cubicBezTo>
                  <a:cubicBezTo>
                    <a:pt x="132" y="382"/>
                    <a:pt x="130" y="383"/>
                    <a:pt x="129" y="385"/>
                  </a:cubicBezTo>
                  <a:cubicBezTo>
                    <a:pt x="128" y="386"/>
                    <a:pt x="128" y="388"/>
                    <a:pt x="128" y="389"/>
                  </a:cubicBezTo>
                  <a:cubicBezTo>
                    <a:pt x="129" y="392"/>
                    <a:pt x="131" y="392"/>
                    <a:pt x="133" y="393"/>
                  </a:cubicBezTo>
                  <a:cubicBezTo>
                    <a:pt x="135" y="394"/>
                    <a:pt x="136" y="395"/>
                    <a:pt x="137" y="396"/>
                  </a:cubicBezTo>
                  <a:cubicBezTo>
                    <a:pt x="138" y="397"/>
                    <a:pt x="139" y="397"/>
                    <a:pt x="140" y="398"/>
                  </a:cubicBezTo>
                  <a:cubicBezTo>
                    <a:pt x="140" y="398"/>
                    <a:pt x="141" y="400"/>
                    <a:pt x="141" y="400"/>
                  </a:cubicBezTo>
                  <a:cubicBezTo>
                    <a:pt x="142" y="401"/>
                    <a:pt x="142" y="401"/>
                    <a:pt x="143" y="402"/>
                  </a:cubicBezTo>
                  <a:cubicBezTo>
                    <a:pt x="144" y="404"/>
                    <a:pt x="145" y="405"/>
                    <a:pt x="145" y="407"/>
                  </a:cubicBezTo>
                  <a:cubicBezTo>
                    <a:pt x="145" y="409"/>
                    <a:pt x="146" y="410"/>
                    <a:pt x="147" y="412"/>
                  </a:cubicBezTo>
                  <a:cubicBezTo>
                    <a:pt x="148" y="413"/>
                    <a:pt x="148" y="414"/>
                    <a:pt x="149" y="415"/>
                  </a:cubicBezTo>
                  <a:cubicBezTo>
                    <a:pt x="152" y="417"/>
                    <a:pt x="154" y="415"/>
                    <a:pt x="156" y="413"/>
                  </a:cubicBezTo>
                  <a:cubicBezTo>
                    <a:pt x="156" y="412"/>
                    <a:pt x="157" y="412"/>
                    <a:pt x="157" y="412"/>
                  </a:cubicBezTo>
                  <a:cubicBezTo>
                    <a:pt x="158" y="410"/>
                    <a:pt x="158" y="411"/>
                    <a:pt x="160" y="410"/>
                  </a:cubicBezTo>
                  <a:cubicBezTo>
                    <a:pt x="162" y="408"/>
                    <a:pt x="161" y="407"/>
                    <a:pt x="163" y="406"/>
                  </a:cubicBezTo>
                  <a:cubicBezTo>
                    <a:pt x="164" y="405"/>
                    <a:pt x="165" y="405"/>
                    <a:pt x="166" y="405"/>
                  </a:cubicBezTo>
                  <a:cubicBezTo>
                    <a:pt x="167" y="404"/>
                    <a:pt x="169" y="403"/>
                    <a:pt x="171" y="403"/>
                  </a:cubicBezTo>
                  <a:cubicBezTo>
                    <a:pt x="173" y="402"/>
                    <a:pt x="174" y="402"/>
                    <a:pt x="174" y="400"/>
                  </a:cubicBezTo>
                  <a:cubicBezTo>
                    <a:pt x="173" y="397"/>
                    <a:pt x="171" y="397"/>
                    <a:pt x="169" y="395"/>
                  </a:cubicBezTo>
                  <a:cubicBezTo>
                    <a:pt x="168" y="394"/>
                    <a:pt x="168" y="394"/>
                    <a:pt x="167" y="393"/>
                  </a:cubicBezTo>
                  <a:cubicBezTo>
                    <a:pt x="166" y="391"/>
                    <a:pt x="165" y="390"/>
                    <a:pt x="165" y="388"/>
                  </a:cubicBezTo>
                  <a:cubicBezTo>
                    <a:pt x="169" y="388"/>
                    <a:pt x="174" y="388"/>
                    <a:pt x="177" y="390"/>
                  </a:cubicBezTo>
                  <a:cubicBezTo>
                    <a:pt x="177" y="390"/>
                    <a:pt x="178" y="391"/>
                    <a:pt x="177" y="392"/>
                  </a:cubicBezTo>
                  <a:cubicBezTo>
                    <a:pt x="179" y="393"/>
                    <a:pt x="179" y="392"/>
                    <a:pt x="180" y="393"/>
                  </a:cubicBezTo>
                  <a:cubicBezTo>
                    <a:pt x="181" y="394"/>
                    <a:pt x="183" y="395"/>
                    <a:pt x="184" y="395"/>
                  </a:cubicBezTo>
                  <a:cubicBezTo>
                    <a:pt x="184" y="397"/>
                    <a:pt x="185" y="397"/>
                    <a:pt x="187" y="398"/>
                  </a:cubicBezTo>
                  <a:cubicBezTo>
                    <a:pt x="189" y="398"/>
                    <a:pt x="190" y="400"/>
                    <a:pt x="191" y="400"/>
                  </a:cubicBezTo>
                  <a:cubicBezTo>
                    <a:pt x="192" y="401"/>
                    <a:pt x="192" y="400"/>
                    <a:pt x="193" y="401"/>
                  </a:cubicBezTo>
                  <a:cubicBezTo>
                    <a:pt x="194" y="401"/>
                    <a:pt x="193" y="402"/>
                    <a:pt x="194" y="402"/>
                  </a:cubicBezTo>
                  <a:cubicBezTo>
                    <a:pt x="196" y="403"/>
                    <a:pt x="200" y="402"/>
                    <a:pt x="201" y="402"/>
                  </a:cubicBezTo>
                  <a:cubicBezTo>
                    <a:pt x="204" y="402"/>
                    <a:pt x="208" y="399"/>
                    <a:pt x="210" y="402"/>
                  </a:cubicBezTo>
                  <a:cubicBezTo>
                    <a:pt x="210" y="403"/>
                    <a:pt x="210" y="406"/>
                    <a:pt x="210" y="407"/>
                  </a:cubicBezTo>
                  <a:cubicBezTo>
                    <a:pt x="209" y="409"/>
                    <a:pt x="207" y="409"/>
                    <a:pt x="206" y="411"/>
                  </a:cubicBezTo>
                  <a:cubicBezTo>
                    <a:pt x="206" y="412"/>
                    <a:pt x="207" y="413"/>
                    <a:pt x="208" y="414"/>
                  </a:cubicBezTo>
                  <a:cubicBezTo>
                    <a:pt x="209" y="415"/>
                    <a:pt x="210" y="417"/>
                    <a:pt x="212" y="417"/>
                  </a:cubicBezTo>
                  <a:cubicBezTo>
                    <a:pt x="213" y="418"/>
                    <a:pt x="214" y="420"/>
                    <a:pt x="215" y="421"/>
                  </a:cubicBezTo>
                  <a:cubicBezTo>
                    <a:pt x="217" y="422"/>
                    <a:pt x="219" y="421"/>
                    <a:pt x="220" y="421"/>
                  </a:cubicBezTo>
                  <a:cubicBezTo>
                    <a:pt x="221" y="422"/>
                    <a:pt x="221" y="422"/>
                    <a:pt x="222" y="423"/>
                  </a:cubicBezTo>
                  <a:cubicBezTo>
                    <a:pt x="222" y="423"/>
                    <a:pt x="222" y="423"/>
                    <a:pt x="223" y="423"/>
                  </a:cubicBezTo>
                  <a:cubicBezTo>
                    <a:pt x="225" y="424"/>
                    <a:pt x="226" y="423"/>
                    <a:pt x="227" y="424"/>
                  </a:cubicBezTo>
                  <a:cubicBezTo>
                    <a:pt x="229" y="424"/>
                    <a:pt x="229" y="425"/>
                    <a:pt x="231" y="426"/>
                  </a:cubicBezTo>
                  <a:cubicBezTo>
                    <a:pt x="233" y="426"/>
                    <a:pt x="235" y="426"/>
                    <a:pt x="237" y="427"/>
                  </a:cubicBezTo>
                  <a:cubicBezTo>
                    <a:pt x="239" y="427"/>
                    <a:pt x="240" y="428"/>
                    <a:pt x="243" y="428"/>
                  </a:cubicBezTo>
                  <a:cubicBezTo>
                    <a:pt x="243" y="429"/>
                    <a:pt x="243" y="429"/>
                    <a:pt x="243" y="429"/>
                  </a:cubicBezTo>
                  <a:cubicBezTo>
                    <a:pt x="245" y="429"/>
                    <a:pt x="247" y="430"/>
                    <a:pt x="249" y="431"/>
                  </a:cubicBezTo>
                  <a:cubicBezTo>
                    <a:pt x="253" y="433"/>
                    <a:pt x="256" y="433"/>
                    <a:pt x="260" y="434"/>
                  </a:cubicBezTo>
                  <a:cubicBezTo>
                    <a:pt x="257" y="440"/>
                    <a:pt x="259" y="446"/>
                    <a:pt x="264" y="449"/>
                  </a:cubicBezTo>
                  <a:cubicBezTo>
                    <a:pt x="267" y="451"/>
                    <a:pt x="269" y="452"/>
                    <a:pt x="269" y="455"/>
                  </a:cubicBezTo>
                  <a:cubicBezTo>
                    <a:pt x="269" y="457"/>
                    <a:pt x="269" y="459"/>
                    <a:pt x="269" y="460"/>
                  </a:cubicBezTo>
                  <a:cubicBezTo>
                    <a:pt x="268" y="462"/>
                    <a:pt x="267" y="463"/>
                    <a:pt x="268" y="465"/>
                  </a:cubicBezTo>
                  <a:cubicBezTo>
                    <a:pt x="268" y="465"/>
                    <a:pt x="269" y="465"/>
                    <a:pt x="270" y="465"/>
                  </a:cubicBezTo>
                  <a:cubicBezTo>
                    <a:pt x="271" y="465"/>
                    <a:pt x="271" y="465"/>
                    <a:pt x="271" y="466"/>
                  </a:cubicBezTo>
                  <a:cubicBezTo>
                    <a:pt x="272" y="467"/>
                    <a:pt x="272" y="469"/>
                    <a:pt x="272" y="470"/>
                  </a:cubicBezTo>
                  <a:cubicBezTo>
                    <a:pt x="273" y="473"/>
                    <a:pt x="272" y="475"/>
                    <a:pt x="276" y="475"/>
                  </a:cubicBezTo>
                  <a:cubicBezTo>
                    <a:pt x="279" y="476"/>
                    <a:pt x="283" y="476"/>
                    <a:pt x="286" y="475"/>
                  </a:cubicBezTo>
                  <a:cubicBezTo>
                    <a:pt x="290" y="475"/>
                    <a:pt x="289" y="473"/>
                    <a:pt x="289" y="469"/>
                  </a:cubicBezTo>
                  <a:cubicBezTo>
                    <a:pt x="290" y="466"/>
                    <a:pt x="291" y="465"/>
                    <a:pt x="294" y="464"/>
                  </a:cubicBezTo>
                  <a:cubicBezTo>
                    <a:pt x="296" y="464"/>
                    <a:pt x="296" y="463"/>
                    <a:pt x="298" y="463"/>
                  </a:cubicBezTo>
                  <a:cubicBezTo>
                    <a:pt x="298" y="463"/>
                    <a:pt x="299" y="463"/>
                    <a:pt x="299" y="462"/>
                  </a:cubicBezTo>
                  <a:cubicBezTo>
                    <a:pt x="301" y="462"/>
                    <a:pt x="301" y="461"/>
                    <a:pt x="302" y="460"/>
                  </a:cubicBezTo>
                  <a:cubicBezTo>
                    <a:pt x="304" y="458"/>
                    <a:pt x="307" y="460"/>
                    <a:pt x="307" y="463"/>
                  </a:cubicBezTo>
                  <a:cubicBezTo>
                    <a:pt x="307" y="464"/>
                    <a:pt x="307" y="465"/>
                    <a:pt x="308" y="466"/>
                  </a:cubicBezTo>
                  <a:cubicBezTo>
                    <a:pt x="309" y="467"/>
                    <a:pt x="311" y="466"/>
                    <a:pt x="311" y="468"/>
                  </a:cubicBezTo>
                  <a:cubicBezTo>
                    <a:pt x="312" y="468"/>
                    <a:pt x="315" y="470"/>
                    <a:pt x="315" y="471"/>
                  </a:cubicBezTo>
                  <a:cubicBezTo>
                    <a:pt x="316" y="472"/>
                    <a:pt x="316" y="473"/>
                    <a:pt x="316" y="473"/>
                  </a:cubicBezTo>
                  <a:cubicBezTo>
                    <a:pt x="317" y="474"/>
                    <a:pt x="318" y="475"/>
                    <a:pt x="318" y="476"/>
                  </a:cubicBezTo>
                  <a:cubicBezTo>
                    <a:pt x="319" y="477"/>
                    <a:pt x="319" y="477"/>
                    <a:pt x="319" y="479"/>
                  </a:cubicBezTo>
                  <a:cubicBezTo>
                    <a:pt x="319" y="481"/>
                    <a:pt x="319" y="483"/>
                    <a:pt x="319" y="485"/>
                  </a:cubicBezTo>
                  <a:cubicBezTo>
                    <a:pt x="319" y="487"/>
                    <a:pt x="319" y="486"/>
                    <a:pt x="321" y="487"/>
                  </a:cubicBezTo>
                  <a:cubicBezTo>
                    <a:pt x="321" y="488"/>
                    <a:pt x="322" y="488"/>
                    <a:pt x="323" y="488"/>
                  </a:cubicBezTo>
                  <a:cubicBezTo>
                    <a:pt x="323" y="489"/>
                    <a:pt x="324" y="490"/>
                    <a:pt x="325" y="490"/>
                  </a:cubicBezTo>
                  <a:cubicBezTo>
                    <a:pt x="326" y="491"/>
                    <a:pt x="326" y="491"/>
                    <a:pt x="327" y="491"/>
                  </a:cubicBezTo>
                  <a:cubicBezTo>
                    <a:pt x="328" y="491"/>
                    <a:pt x="329" y="492"/>
                    <a:pt x="329" y="493"/>
                  </a:cubicBezTo>
                  <a:cubicBezTo>
                    <a:pt x="331" y="493"/>
                    <a:pt x="333" y="493"/>
                    <a:pt x="334" y="493"/>
                  </a:cubicBezTo>
                  <a:cubicBezTo>
                    <a:pt x="334" y="491"/>
                    <a:pt x="334" y="490"/>
                    <a:pt x="334" y="488"/>
                  </a:cubicBezTo>
                  <a:cubicBezTo>
                    <a:pt x="334" y="485"/>
                    <a:pt x="335" y="484"/>
                    <a:pt x="338" y="483"/>
                  </a:cubicBezTo>
                  <a:cubicBezTo>
                    <a:pt x="341" y="480"/>
                    <a:pt x="345" y="482"/>
                    <a:pt x="349" y="481"/>
                  </a:cubicBezTo>
                  <a:cubicBezTo>
                    <a:pt x="350" y="479"/>
                    <a:pt x="349" y="478"/>
                    <a:pt x="349" y="476"/>
                  </a:cubicBezTo>
                  <a:cubicBezTo>
                    <a:pt x="351" y="476"/>
                    <a:pt x="354" y="476"/>
                    <a:pt x="356" y="476"/>
                  </a:cubicBezTo>
                  <a:cubicBezTo>
                    <a:pt x="359" y="476"/>
                    <a:pt x="361" y="473"/>
                    <a:pt x="365" y="473"/>
                  </a:cubicBezTo>
                  <a:cubicBezTo>
                    <a:pt x="366" y="474"/>
                    <a:pt x="366" y="475"/>
                    <a:pt x="368" y="475"/>
                  </a:cubicBezTo>
                  <a:cubicBezTo>
                    <a:pt x="369" y="476"/>
                    <a:pt x="370" y="475"/>
                    <a:pt x="371" y="475"/>
                  </a:cubicBezTo>
                  <a:cubicBezTo>
                    <a:pt x="373" y="476"/>
                    <a:pt x="374" y="479"/>
                    <a:pt x="376" y="480"/>
                  </a:cubicBezTo>
                  <a:cubicBezTo>
                    <a:pt x="376" y="480"/>
                    <a:pt x="378" y="480"/>
                    <a:pt x="378" y="480"/>
                  </a:cubicBezTo>
                  <a:cubicBezTo>
                    <a:pt x="379" y="481"/>
                    <a:pt x="380" y="481"/>
                    <a:pt x="381" y="481"/>
                  </a:cubicBezTo>
                  <a:cubicBezTo>
                    <a:pt x="381" y="482"/>
                    <a:pt x="381" y="483"/>
                    <a:pt x="382" y="483"/>
                  </a:cubicBezTo>
                  <a:cubicBezTo>
                    <a:pt x="382" y="483"/>
                    <a:pt x="385" y="483"/>
                    <a:pt x="385" y="483"/>
                  </a:cubicBezTo>
                  <a:cubicBezTo>
                    <a:pt x="386" y="483"/>
                    <a:pt x="389" y="481"/>
                    <a:pt x="389" y="480"/>
                  </a:cubicBezTo>
                  <a:cubicBezTo>
                    <a:pt x="390" y="478"/>
                    <a:pt x="389" y="477"/>
                    <a:pt x="390" y="475"/>
                  </a:cubicBezTo>
                  <a:cubicBezTo>
                    <a:pt x="391" y="474"/>
                    <a:pt x="392" y="473"/>
                    <a:pt x="393" y="473"/>
                  </a:cubicBezTo>
                  <a:cubicBezTo>
                    <a:pt x="395" y="473"/>
                    <a:pt x="398" y="475"/>
                    <a:pt x="399" y="471"/>
                  </a:cubicBezTo>
                  <a:cubicBezTo>
                    <a:pt x="399" y="471"/>
                    <a:pt x="400" y="470"/>
                    <a:pt x="401" y="470"/>
                  </a:cubicBezTo>
                  <a:cubicBezTo>
                    <a:pt x="402" y="470"/>
                    <a:pt x="402" y="471"/>
                    <a:pt x="403" y="471"/>
                  </a:cubicBezTo>
                  <a:cubicBezTo>
                    <a:pt x="405" y="471"/>
                    <a:pt x="408" y="471"/>
                    <a:pt x="410" y="471"/>
                  </a:cubicBezTo>
                  <a:cubicBezTo>
                    <a:pt x="413" y="472"/>
                    <a:pt x="417" y="473"/>
                    <a:pt x="420" y="474"/>
                  </a:cubicBezTo>
                  <a:cubicBezTo>
                    <a:pt x="422" y="475"/>
                    <a:pt x="423" y="476"/>
                    <a:pt x="425" y="477"/>
                  </a:cubicBezTo>
                  <a:cubicBezTo>
                    <a:pt x="426" y="478"/>
                    <a:pt x="425" y="478"/>
                    <a:pt x="427" y="479"/>
                  </a:cubicBezTo>
                  <a:cubicBezTo>
                    <a:pt x="428" y="479"/>
                    <a:pt x="429" y="478"/>
                    <a:pt x="430" y="478"/>
                  </a:cubicBezTo>
                  <a:cubicBezTo>
                    <a:pt x="431" y="479"/>
                    <a:pt x="432" y="480"/>
                    <a:pt x="433" y="481"/>
                  </a:cubicBezTo>
                  <a:cubicBezTo>
                    <a:pt x="433" y="482"/>
                    <a:pt x="433" y="482"/>
                    <a:pt x="434" y="483"/>
                  </a:cubicBezTo>
                  <a:cubicBezTo>
                    <a:pt x="434" y="483"/>
                    <a:pt x="435" y="485"/>
                    <a:pt x="435" y="485"/>
                  </a:cubicBezTo>
                  <a:cubicBezTo>
                    <a:pt x="436" y="485"/>
                    <a:pt x="436" y="485"/>
                    <a:pt x="437" y="485"/>
                  </a:cubicBezTo>
                  <a:cubicBezTo>
                    <a:pt x="439" y="486"/>
                    <a:pt x="441" y="487"/>
                    <a:pt x="442" y="488"/>
                  </a:cubicBezTo>
                  <a:cubicBezTo>
                    <a:pt x="444" y="489"/>
                    <a:pt x="444" y="489"/>
                    <a:pt x="445" y="490"/>
                  </a:cubicBezTo>
                  <a:cubicBezTo>
                    <a:pt x="446" y="492"/>
                    <a:pt x="447" y="492"/>
                    <a:pt x="448" y="493"/>
                  </a:cubicBezTo>
                  <a:cubicBezTo>
                    <a:pt x="452" y="494"/>
                    <a:pt x="455" y="494"/>
                    <a:pt x="459" y="496"/>
                  </a:cubicBezTo>
                  <a:cubicBezTo>
                    <a:pt x="460" y="496"/>
                    <a:pt x="462" y="497"/>
                    <a:pt x="464" y="498"/>
                  </a:cubicBezTo>
                  <a:cubicBezTo>
                    <a:pt x="464" y="498"/>
                    <a:pt x="465" y="499"/>
                    <a:pt x="466" y="499"/>
                  </a:cubicBezTo>
                  <a:cubicBezTo>
                    <a:pt x="466" y="500"/>
                    <a:pt x="467" y="500"/>
                    <a:pt x="468" y="500"/>
                  </a:cubicBezTo>
                  <a:cubicBezTo>
                    <a:pt x="470" y="501"/>
                    <a:pt x="471" y="503"/>
                    <a:pt x="474" y="503"/>
                  </a:cubicBezTo>
                  <a:cubicBezTo>
                    <a:pt x="475" y="503"/>
                    <a:pt x="476" y="503"/>
                    <a:pt x="477" y="503"/>
                  </a:cubicBezTo>
                  <a:cubicBezTo>
                    <a:pt x="478" y="503"/>
                    <a:pt x="478" y="504"/>
                    <a:pt x="479" y="505"/>
                  </a:cubicBezTo>
                  <a:cubicBezTo>
                    <a:pt x="481" y="505"/>
                    <a:pt x="485" y="505"/>
                    <a:pt x="487" y="505"/>
                  </a:cubicBezTo>
                  <a:cubicBezTo>
                    <a:pt x="488" y="502"/>
                    <a:pt x="485" y="500"/>
                    <a:pt x="485" y="497"/>
                  </a:cubicBezTo>
                  <a:cubicBezTo>
                    <a:pt x="484" y="497"/>
                    <a:pt x="484" y="497"/>
                    <a:pt x="483" y="496"/>
                  </a:cubicBezTo>
                  <a:cubicBezTo>
                    <a:pt x="483" y="496"/>
                    <a:pt x="483" y="495"/>
                    <a:pt x="482" y="495"/>
                  </a:cubicBezTo>
                  <a:cubicBezTo>
                    <a:pt x="482" y="495"/>
                    <a:pt x="481" y="495"/>
                    <a:pt x="480" y="495"/>
                  </a:cubicBezTo>
                  <a:cubicBezTo>
                    <a:pt x="476" y="494"/>
                    <a:pt x="477" y="489"/>
                    <a:pt x="477" y="486"/>
                  </a:cubicBezTo>
                  <a:cubicBezTo>
                    <a:pt x="477" y="484"/>
                    <a:pt x="478" y="481"/>
                    <a:pt x="477" y="479"/>
                  </a:cubicBezTo>
                  <a:cubicBezTo>
                    <a:pt x="476" y="479"/>
                    <a:pt x="476" y="478"/>
                    <a:pt x="475" y="478"/>
                  </a:cubicBezTo>
                  <a:cubicBezTo>
                    <a:pt x="475" y="477"/>
                    <a:pt x="475" y="475"/>
                    <a:pt x="475" y="474"/>
                  </a:cubicBezTo>
                  <a:cubicBezTo>
                    <a:pt x="475" y="472"/>
                    <a:pt x="474" y="471"/>
                    <a:pt x="473" y="468"/>
                  </a:cubicBezTo>
                  <a:cubicBezTo>
                    <a:pt x="473" y="467"/>
                    <a:pt x="473" y="467"/>
                    <a:pt x="473" y="466"/>
                  </a:cubicBezTo>
                  <a:cubicBezTo>
                    <a:pt x="473" y="465"/>
                    <a:pt x="473" y="464"/>
                    <a:pt x="473" y="464"/>
                  </a:cubicBezTo>
                  <a:cubicBezTo>
                    <a:pt x="473" y="462"/>
                    <a:pt x="473" y="464"/>
                    <a:pt x="474" y="462"/>
                  </a:cubicBezTo>
                  <a:cubicBezTo>
                    <a:pt x="476" y="461"/>
                    <a:pt x="477" y="459"/>
                    <a:pt x="478" y="458"/>
                  </a:cubicBezTo>
                  <a:cubicBezTo>
                    <a:pt x="480" y="457"/>
                    <a:pt x="481" y="457"/>
                    <a:pt x="482" y="455"/>
                  </a:cubicBezTo>
                  <a:cubicBezTo>
                    <a:pt x="483" y="455"/>
                    <a:pt x="484" y="454"/>
                    <a:pt x="484" y="453"/>
                  </a:cubicBezTo>
                  <a:cubicBezTo>
                    <a:pt x="485" y="451"/>
                    <a:pt x="487" y="448"/>
                    <a:pt x="488" y="445"/>
                  </a:cubicBezTo>
                  <a:cubicBezTo>
                    <a:pt x="491" y="440"/>
                    <a:pt x="494" y="436"/>
                    <a:pt x="497" y="431"/>
                  </a:cubicBezTo>
                  <a:cubicBezTo>
                    <a:pt x="498" y="429"/>
                    <a:pt x="499" y="427"/>
                    <a:pt x="500" y="426"/>
                  </a:cubicBezTo>
                  <a:cubicBezTo>
                    <a:pt x="500" y="426"/>
                    <a:pt x="500" y="425"/>
                    <a:pt x="500" y="424"/>
                  </a:cubicBezTo>
                  <a:cubicBezTo>
                    <a:pt x="500" y="424"/>
                    <a:pt x="500" y="423"/>
                    <a:pt x="501" y="423"/>
                  </a:cubicBezTo>
                  <a:cubicBezTo>
                    <a:pt x="501" y="421"/>
                    <a:pt x="501" y="419"/>
                    <a:pt x="502" y="419"/>
                  </a:cubicBezTo>
                  <a:cubicBezTo>
                    <a:pt x="503" y="417"/>
                    <a:pt x="505" y="417"/>
                    <a:pt x="506" y="416"/>
                  </a:cubicBezTo>
                  <a:cubicBezTo>
                    <a:pt x="508" y="412"/>
                    <a:pt x="512" y="410"/>
                    <a:pt x="514" y="406"/>
                  </a:cubicBezTo>
                  <a:cubicBezTo>
                    <a:pt x="517" y="403"/>
                    <a:pt x="521" y="398"/>
                    <a:pt x="525" y="396"/>
                  </a:cubicBezTo>
                  <a:cubicBezTo>
                    <a:pt x="530" y="392"/>
                    <a:pt x="536" y="390"/>
                    <a:pt x="542" y="390"/>
                  </a:cubicBezTo>
                  <a:cubicBezTo>
                    <a:pt x="544" y="390"/>
                    <a:pt x="550" y="391"/>
                    <a:pt x="551" y="390"/>
                  </a:cubicBezTo>
                  <a:cubicBezTo>
                    <a:pt x="553" y="389"/>
                    <a:pt x="552" y="385"/>
                    <a:pt x="552" y="382"/>
                  </a:cubicBezTo>
                  <a:cubicBezTo>
                    <a:pt x="552" y="383"/>
                    <a:pt x="552" y="383"/>
                    <a:pt x="551" y="384"/>
                  </a:cubicBezTo>
                  <a:cubicBezTo>
                    <a:pt x="551" y="383"/>
                    <a:pt x="552" y="382"/>
                    <a:pt x="552" y="382"/>
                  </a:cubicBezTo>
                  <a:cubicBezTo>
                    <a:pt x="552" y="377"/>
                    <a:pt x="552" y="372"/>
                    <a:pt x="552" y="367"/>
                  </a:cubicBezTo>
                  <a:cubicBezTo>
                    <a:pt x="552" y="365"/>
                    <a:pt x="552" y="364"/>
                    <a:pt x="551" y="362"/>
                  </a:cubicBezTo>
                  <a:cubicBezTo>
                    <a:pt x="550" y="361"/>
                    <a:pt x="548" y="360"/>
                    <a:pt x="548" y="360"/>
                  </a:cubicBezTo>
                  <a:cubicBezTo>
                    <a:pt x="547" y="360"/>
                    <a:pt x="545" y="359"/>
                    <a:pt x="545" y="359"/>
                  </a:cubicBezTo>
                  <a:cubicBezTo>
                    <a:pt x="541" y="354"/>
                    <a:pt x="556" y="355"/>
                    <a:pt x="556" y="355"/>
                  </a:cubicBezTo>
                  <a:cubicBezTo>
                    <a:pt x="557" y="354"/>
                    <a:pt x="557" y="353"/>
                    <a:pt x="557" y="35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1" name="Freeform 22">
              <a:extLst>
                <a:ext uri="{FF2B5EF4-FFF2-40B4-BE49-F238E27FC236}">
                  <a16:creationId xmlns:a16="http://schemas.microsoft.com/office/drawing/2014/main" id="{DF172E53-2E09-4123-BA9A-AFE6DEF2DB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94238" y="4368800"/>
              <a:ext cx="700088" cy="392113"/>
            </a:xfrm>
            <a:custGeom>
              <a:avLst/>
              <a:gdLst/>
              <a:ahLst/>
              <a:cxnLst>
                <a:cxn ang="0">
                  <a:pos x="261" y="202"/>
                </a:cxn>
                <a:cxn ang="0">
                  <a:pos x="275" y="194"/>
                </a:cxn>
                <a:cxn ang="0">
                  <a:pos x="288" y="192"/>
                </a:cxn>
                <a:cxn ang="0">
                  <a:pos x="306" y="190"/>
                </a:cxn>
                <a:cxn ang="0">
                  <a:pos x="322" y="178"/>
                </a:cxn>
                <a:cxn ang="0">
                  <a:pos x="334" y="162"/>
                </a:cxn>
                <a:cxn ang="0">
                  <a:pos x="344" y="152"/>
                </a:cxn>
                <a:cxn ang="0">
                  <a:pos x="354" y="140"/>
                </a:cxn>
                <a:cxn ang="0">
                  <a:pos x="368" y="137"/>
                </a:cxn>
                <a:cxn ang="0">
                  <a:pos x="373" y="135"/>
                </a:cxn>
                <a:cxn ang="0">
                  <a:pos x="354" y="101"/>
                </a:cxn>
                <a:cxn ang="0">
                  <a:pos x="332" y="94"/>
                </a:cxn>
                <a:cxn ang="0">
                  <a:pos x="317" y="87"/>
                </a:cxn>
                <a:cxn ang="0">
                  <a:pos x="306" y="72"/>
                </a:cxn>
                <a:cxn ang="0">
                  <a:pos x="289" y="65"/>
                </a:cxn>
                <a:cxn ang="0">
                  <a:pos x="272" y="63"/>
                </a:cxn>
                <a:cxn ang="0">
                  <a:pos x="268" y="76"/>
                </a:cxn>
                <a:cxn ang="0">
                  <a:pos x="252" y="82"/>
                </a:cxn>
                <a:cxn ang="0">
                  <a:pos x="242" y="66"/>
                </a:cxn>
                <a:cxn ang="0">
                  <a:pos x="241" y="48"/>
                </a:cxn>
                <a:cxn ang="0">
                  <a:pos x="232" y="40"/>
                </a:cxn>
                <a:cxn ang="0">
                  <a:pos x="218" y="35"/>
                </a:cxn>
                <a:cxn ang="0">
                  <a:pos x="193" y="26"/>
                </a:cxn>
                <a:cxn ang="0">
                  <a:pos x="181" y="10"/>
                </a:cxn>
                <a:cxn ang="0">
                  <a:pos x="157" y="13"/>
                </a:cxn>
                <a:cxn ang="0">
                  <a:pos x="145" y="19"/>
                </a:cxn>
                <a:cxn ang="0">
                  <a:pos x="137" y="4"/>
                </a:cxn>
                <a:cxn ang="0">
                  <a:pos x="126" y="9"/>
                </a:cxn>
                <a:cxn ang="0">
                  <a:pos x="115" y="20"/>
                </a:cxn>
                <a:cxn ang="0">
                  <a:pos x="102" y="26"/>
                </a:cxn>
                <a:cxn ang="0">
                  <a:pos x="86" y="30"/>
                </a:cxn>
                <a:cxn ang="0">
                  <a:pos x="78" y="41"/>
                </a:cxn>
                <a:cxn ang="0">
                  <a:pos x="71" y="41"/>
                </a:cxn>
                <a:cxn ang="0">
                  <a:pos x="61" y="48"/>
                </a:cxn>
                <a:cxn ang="0">
                  <a:pos x="51" y="56"/>
                </a:cxn>
                <a:cxn ang="0">
                  <a:pos x="39" y="55"/>
                </a:cxn>
                <a:cxn ang="0">
                  <a:pos x="28" y="59"/>
                </a:cxn>
                <a:cxn ang="0">
                  <a:pos x="15" y="73"/>
                </a:cxn>
                <a:cxn ang="0">
                  <a:pos x="11" y="75"/>
                </a:cxn>
                <a:cxn ang="0">
                  <a:pos x="2" y="68"/>
                </a:cxn>
                <a:cxn ang="0">
                  <a:pos x="11" y="88"/>
                </a:cxn>
                <a:cxn ang="0">
                  <a:pos x="23" y="102"/>
                </a:cxn>
                <a:cxn ang="0">
                  <a:pos x="18" y="117"/>
                </a:cxn>
                <a:cxn ang="0">
                  <a:pos x="29" y="137"/>
                </a:cxn>
                <a:cxn ang="0">
                  <a:pos x="40" y="148"/>
                </a:cxn>
                <a:cxn ang="0">
                  <a:pos x="54" y="164"/>
                </a:cxn>
                <a:cxn ang="0">
                  <a:pos x="66" y="171"/>
                </a:cxn>
                <a:cxn ang="0">
                  <a:pos x="83" y="186"/>
                </a:cxn>
                <a:cxn ang="0">
                  <a:pos x="91" y="194"/>
                </a:cxn>
                <a:cxn ang="0">
                  <a:pos x="102" y="207"/>
                </a:cxn>
                <a:cxn ang="0">
                  <a:pos x="114" y="210"/>
                </a:cxn>
                <a:cxn ang="0">
                  <a:pos x="127" y="208"/>
                </a:cxn>
                <a:cxn ang="0">
                  <a:pos x="136" y="207"/>
                </a:cxn>
                <a:cxn ang="0">
                  <a:pos x="151" y="192"/>
                </a:cxn>
                <a:cxn ang="0">
                  <a:pos x="157" y="175"/>
                </a:cxn>
                <a:cxn ang="0">
                  <a:pos x="172" y="178"/>
                </a:cxn>
                <a:cxn ang="0">
                  <a:pos x="194" y="187"/>
                </a:cxn>
                <a:cxn ang="0">
                  <a:pos x="215" y="196"/>
                </a:cxn>
                <a:cxn ang="0">
                  <a:pos x="238" y="193"/>
                </a:cxn>
                <a:cxn ang="0">
                  <a:pos x="254" y="200"/>
                </a:cxn>
                <a:cxn ang="0">
                  <a:pos x="261" y="202"/>
                </a:cxn>
              </a:cxnLst>
              <a:rect l="0" t="0" r="r" b="b"/>
              <a:pathLst>
                <a:path w="375" h="210">
                  <a:moveTo>
                    <a:pt x="159" y="8"/>
                  </a:move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7"/>
                    <a:pt x="159" y="7"/>
                  </a:cubicBezTo>
                  <a:cubicBezTo>
                    <a:pt x="159" y="7"/>
                    <a:pt x="159" y="8"/>
                    <a:pt x="159" y="8"/>
                  </a:cubicBezTo>
                  <a:moveTo>
                    <a:pt x="261" y="202"/>
                  </a:moveTo>
                  <a:cubicBezTo>
                    <a:pt x="262" y="202"/>
                    <a:pt x="263" y="203"/>
                    <a:pt x="264" y="202"/>
                  </a:cubicBezTo>
                  <a:cubicBezTo>
                    <a:pt x="267" y="202"/>
                    <a:pt x="268" y="201"/>
                    <a:pt x="270" y="200"/>
                  </a:cubicBezTo>
                  <a:cubicBezTo>
                    <a:pt x="271" y="199"/>
                    <a:pt x="271" y="198"/>
                    <a:pt x="272" y="197"/>
                  </a:cubicBezTo>
                  <a:cubicBezTo>
                    <a:pt x="272" y="196"/>
                    <a:pt x="273" y="196"/>
                    <a:pt x="273" y="196"/>
                  </a:cubicBezTo>
                  <a:cubicBezTo>
                    <a:pt x="274" y="195"/>
                    <a:pt x="274" y="194"/>
                    <a:pt x="275" y="194"/>
                  </a:cubicBezTo>
                  <a:cubicBezTo>
                    <a:pt x="276" y="193"/>
                    <a:pt x="277" y="192"/>
                    <a:pt x="278" y="191"/>
                  </a:cubicBezTo>
                  <a:cubicBezTo>
                    <a:pt x="279" y="191"/>
                    <a:pt x="279" y="189"/>
                    <a:pt x="280" y="188"/>
                  </a:cubicBezTo>
                  <a:cubicBezTo>
                    <a:pt x="282" y="188"/>
                    <a:pt x="282" y="189"/>
                    <a:pt x="282" y="190"/>
                  </a:cubicBezTo>
                  <a:cubicBezTo>
                    <a:pt x="283" y="190"/>
                    <a:pt x="284" y="190"/>
                    <a:pt x="285" y="191"/>
                  </a:cubicBezTo>
                  <a:cubicBezTo>
                    <a:pt x="286" y="191"/>
                    <a:pt x="287" y="192"/>
                    <a:pt x="288" y="192"/>
                  </a:cubicBezTo>
                  <a:cubicBezTo>
                    <a:pt x="292" y="194"/>
                    <a:pt x="296" y="193"/>
                    <a:pt x="300" y="192"/>
                  </a:cubicBezTo>
                  <a:cubicBezTo>
                    <a:pt x="301" y="192"/>
                    <a:pt x="302" y="193"/>
                    <a:pt x="303" y="192"/>
                  </a:cubicBezTo>
                  <a:cubicBezTo>
                    <a:pt x="303" y="192"/>
                    <a:pt x="303" y="192"/>
                    <a:pt x="303" y="191"/>
                  </a:cubicBezTo>
                  <a:cubicBezTo>
                    <a:pt x="303" y="191"/>
                    <a:pt x="304" y="191"/>
                    <a:pt x="304" y="191"/>
                  </a:cubicBezTo>
                  <a:cubicBezTo>
                    <a:pt x="305" y="190"/>
                    <a:pt x="305" y="190"/>
                    <a:pt x="306" y="190"/>
                  </a:cubicBezTo>
                  <a:cubicBezTo>
                    <a:pt x="308" y="189"/>
                    <a:pt x="310" y="188"/>
                    <a:pt x="311" y="187"/>
                  </a:cubicBezTo>
                  <a:cubicBezTo>
                    <a:pt x="312" y="186"/>
                    <a:pt x="314" y="185"/>
                    <a:pt x="315" y="184"/>
                  </a:cubicBezTo>
                  <a:cubicBezTo>
                    <a:pt x="316" y="184"/>
                    <a:pt x="317" y="183"/>
                    <a:pt x="318" y="182"/>
                  </a:cubicBezTo>
                  <a:cubicBezTo>
                    <a:pt x="319" y="181"/>
                    <a:pt x="319" y="181"/>
                    <a:pt x="319" y="180"/>
                  </a:cubicBezTo>
                  <a:cubicBezTo>
                    <a:pt x="320" y="179"/>
                    <a:pt x="320" y="179"/>
                    <a:pt x="322" y="178"/>
                  </a:cubicBezTo>
                  <a:cubicBezTo>
                    <a:pt x="323" y="178"/>
                    <a:pt x="323" y="178"/>
                    <a:pt x="324" y="178"/>
                  </a:cubicBezTo>
                  <a:cubicBezTo>
                    <a:pt x="325" y="177"/>
                    <a:pt x="326" y="178"/>
                    <a:pt x="326" y="178"/>
                  </a:cubicBezTo>
                  <a:cubicBezTo>
                    <a:pt x="327" y="177"/>
                    <a:pt x="327" y="176"/>
                    <a:pt x="327" y="175"/>
                  </a:cubicBezTo>
                  <a:cubicBezTo>
                    <a:pt x="329" y="173"/>
                    <a:pt x="331" y="171"/>
                    <a:pt x="331" y="168"/>
                  </a:cubicBezTo>
                  <a:cubicBezTo>
                    <a:pt x="331" y="165"/>
                    <a:pt x="333" y="164"/>
                    <a:pt x="334" y="162"/>
                  </a:cubicBezTo>
                  <a:cubicBezTo>
                    <a:pt x="334" y="161"/>
                    <a:pt x="334" y="159"/>
                    <a:pt x="334" y="159"/>
                  </a:cubicBezTo>
                  <a:cubicBezTo>
                    <a:pt x="335" y="158"/>
                    <a:pt x="335" y="157"/>
                    <a:pt x="336" y="156"/>
                  </a:cubicBezTo>
                  <a:cubicBezTo>
                    <a:pt x="336" y="155"/>
                    <a:pt x="336" y="153"/>
                    <a:pt x="337" y="153"/>
                  </a:cubicBezTo>
                  <a:cubicBezTo>
                    <a:pt x="338" y="153"/>
                    <a:pt x="340" y="153"/>
                    <a:pt x="341" y="153"/>
                  </a:cubicBezTo>
                  <a:cubicBezTo>
                    <a:pt x="342" y="153"/>
                    <a:pt x="343" y="152"/>
                    <a:pt x="344" y="152"/>
                  </a:cubicBezTo>
                  <a:cubicBezTo>
                    <a:pt x="344" y="151"/>
                    <a:pt x="345" y="150"/>
                    <a:pt x="345" y="150"/>
                  </a:cubicBezTo>
                  <a:cubicBezTo>
                    <a:pt x="345" y="149"/>
                    <a:pt x="345" y="149"/>
                    <a:pt x="346" y="149"/>
                  </a:cubicBezTo>
                  <a:cubicBezTo>
                    <a:pt x="347" y="147"/>
                    <a:pt x="347" y="145"/>
                    <a:pt x="350" y="143"/>
                  </a:cubicBezTo>
                  <a:cubicBezTo>
                    <a:pt x="351" y="143"/>
                    <a:pt x="352" y="143"/>
                    <a:pt x="352" y="142"/>
                  </a:cubicBezTo>
                  <a:cubicBezTo>
                    <a:pt x="353" y="141"/>
                    <a:pt x="353" y="141"/>
                    <a:pt x="354" y="140"/>
                  </a:cubicBezTo>
                  <a:cubicBezTo>
                    <a:pt x="355" y="140"/>
                    <a:pt x="356" y="139"/>
                    <a:pt x="357" y="138"/>
                  </a:cubicBezTo>
                  <a:cubicBezTo>
                    <a:pt x="358" y="137"/>
                    <a:pt x="357" y="136"/>
                    <a:pt x="359" y="136"/>
                  </a:cubicBezTo>
                  <a:cubicBezTo>
                    <a:pt x="360" y="136"/>
                    <a:pt x="361" y="137"/>
                    <a:pt x="363" y="138"/>
                  </a:cubicBezTo>
                  <a:cubicBezTo>
                    <a:pt x="364" y="138"/>
                    <a:pt x="365" y="138"/>
                    <a:pt x="366" y="137"/>
                  </a:cubicBezTo>
                  <a:cubicBezTo>
                    <a:pt x="368" y="137"/>
                    <a:pt x="367" y="137"/>
                    <a:pt x="368" y="137"/>
                  </a:cubicBezTo>
                  <a:cubicBezTo>
                    <a:pt x="369" y="136"/>
                    <a:pt x="369" y="136"/>
                    <a:pt x="370" y="136"/>
                  </a:cubicBezTo>
                  <a:cubicBezTo>
                    <a:pt x="371" y="135"/>
                    <a:pt x="373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4" y="135"/>
                    <a:pt x="373" y="135"/>
                    <a:pt x="373" y="135"/>
                  </a:cubicBezTo>
                  <a:cubicBezTo>
                    <a:pt x="372" y="133"/>
                    <a:pt x="373" y="132"/>
                    <a:pt x="374" y="130"/>
                  </a:cubicBezTo>
                  <a:cubicBezTo>
                    <a:pt x="374" y="129"/>
                    <a:pt x="374" y="127"/>
                    <a:pt x="374" y="125"/>
                  </a:cubicBezTo>
                  <a:cubicBezTo>
                    <a:pt x="374" y="122"/>
                    <a:pt x="372" y="121"/>
                    <a:pt x="369" y="119"/>
                  </a:cubicBezTo>
                  <a:cubicBezTo>
                    <a:pt x="364" y="116"/>
                    <a:pt x="362" y="110"/>
                    <a:pt x="365" y="104"/>
                  </a:cubicBezTo>
                  <a:cubicBezTo>
                    <a:pt x="361" y="103"/>
                    <a:pt x="358" y="103"/>
                    <a:pt x="354" y="101"/>
                  </a:cubicBezTo>
                  <a:cubicBezTo>
                    <a:pt x="352" y="100"/>
                    <a:pt x="350" y="99"/>
                    <a:pt x="348" y="99"/>
                  </a:cubicBezTo>
                  <a:cubicBezTo>
                    <a:pt x="348" y="99"/>
                    <a:pt x="348" y="99"/>
                    <a:pt x="348" y="98"/>
                  </a:cubicBezTo>
                  <a:cubicBezTo>
                    <a:pt x="345" y="98"/>
                    <a:pt x="344" y="97"/>
                    <a:pt x="342" y="97"/>
                  </a:cubicBezTo>
                  <a:cubicBezTo>
                    <a:pt x="340" y="96"/>
                    <a:pt x="338" y="96"/>
                    <a:pt x="336" y="96"/>
                  </a:cubicBezTo>
                  <a:cubicBezTo>
                    <a:pt x="334" y="95"/>
                    <a:pt x="334" y="94"/>
                    <a:pt x="332" y="94"/>
                  </a:cubicBezTo>
                  <a:cubicBezTo>
                    <a:pt x="331" y="93"/>
                    <a:pt x="330" y="94"/>
                    <a:pt x="328" y="93"/>
                  </a:cubicBezTo>
                  <a:cubicBezTo>
                    <a:pt x="327" y="93"/>
                    <a:pt x="327" y="93"/>
                    <a:pt x="327" y="93"/>
                  </a:cubicBezTo>
                  <a:cubicBezTo>
                    <a:pt x="326" y="92"/>
                    <a:pt x="326" y="92"/>
                    <a:pt x="325" y="91"/>
                  </a:cubicBezTo>
                  <a:cubicBezTo>
                    <a:pt x="324" y="91"/>
                    <a:pt x="322" y="92"/>
                    <a:pt x="320" y="91"/>
                  </a:cubicBezTo>
                  <a:cubicBezTo>
                    <a:pt x="319" y="90"/>
                    <a:pt x="318" y="88"/>
                    <a:pt x="317" y="87"/>
                  </a:cubicBezTo>
                  <a:cubicBezTo>
                    <a:pt x="315" y="87"/>
                    <a:pt x="314" y="85"/>
                    <a:pt x="313" y="84"/>
                  </a:cubicBezTo>
                  <a:cubicBezTo>
                    <a:pt x="312" y="83"/>
                    <a:pt x="311" y="82"/>
                    <a:pt x="311" y="81"/>
                  </a:cubicBezTo>
                  <a:cubicBezTo>
                    <a:pt x="312" y="79"/>
                    <a:pt x="314" y="79"/>
                    <a:pt x="315" y="77"/>
                  </a:cubicBezTo>
                  <a:cubicBezTo>
                    <a:pt x="315" y="76"/>
                    <a:pt x="315" y="73"/>
                    <a:pt x="315" y="72"/>
                  </a:cubicBezTo>
                  <a:cubicBezTo>
                    <a:pt x="313" y="69"/>
                    <a:pt x="309" y="72"/>
                    <a:pt x="306" y="72"/>
                  </a:cubicBezTo>
                  <a:cubicBezTo>
                    <a:pt x="305" y="72"/>
                    <a:pt x="301" y="73"/>
                    <a:pt x="299" y="72"/>
                  </a:cubicBezTo>
                  <a:cubicBezTo>
                    <a:pt x="298" y="72"/>
                    <a:pt x="299" y="71"/>
                    <a:pt x="298" y="71"/>
                  </a:cubicBezTo>
                  <a:cubicBezTo>
                    <a:pt x="297" y="70"/>
                    <a:pt x="297" y="71"/>
                    <a:pt x="296" y="70"/>
                  </a:cubicBezTo>
                  <a:cubicBezTo>
                    <a:pt x="295" y="70"/>
                    <a:pt x="294" y="68"/>
                    <a:pt x="292" y="68"/>
                  </a:cubicBezTo>
                  <a:cubicBezTo>
                    <a:pt x="290" y="67"/>
                    <a:pt x="289" y="67"/>
                    <a:pt x="289" y="65"/>
                  </a:cubicBezTo>
                  <a:cubicBezTo>
                    <a:pt x="288" y="65"/>
                    <a:pt x="286" y="64"/>
                    <a:pt x="285" y="63"/>
                  </a:cubicBezTo>
                  <a:cubicBezTo>
                    <a:pt x="284" y="62"/>
                    <a:pt x="284" y="63"/>
                    <a:pt x="282" y="62"/>
                  </a:cubicBezTo>
                  <a:cubicBezTo>
                    <a:pt x="283" y="61"/>
                    <a:pt x="282" y="60"/>
                    <a:pt x="282" y="60"/>
                  </a:cubicBezTo>
                  <a:cubicBezTo>
                    <a:pt x="279" y="58"/>
                    <a:pt x="274" y="58"/>
                    <a:pt x="270" y="58"/>
                  </a:cubicBezTo>
                  <a:cubicBezTo>
                    <a:pt x="270" y="60"/>
                    <a:pt x="271" y="61"/>
                    <a:pt x="272" y="63"/>
                  </a:cubicBezTo>
                  <a:cubicBezTo>
                    <a:pt x="273" y="64"/>
                    <a:pt x="273" y="64"/>
                    <a:pt x="274" y="65"/>
                  </a:cubicBezTo>
                  <a:cubicBezTo>
                    <a:pt x="276" y="67"/>
                    <a:pt x="278" y="67"/>
                    <a:pt x="279" y="70"/>
                  </a:cubicBezTo>
                  <a:cubicBezTo>
                    <a:pt x="279" y="72"/>
                    <a:pt x="278" y="72"/>
                    <a:pt x="276" y="73"/>
                  </a:cubicBezTo>
                  <a:cubicBezTo>
                    <a:pt x="274" y="73"/>
                    <a:pt x="272" y="74"/>
                    <a:pt x="271" y="75"/>
                  </a:cubicBezTo>
                  <a:cubicBezTo>
                    <a:pt x="270" y="75"/>
                    <a:pt x="269" y="75"/>
                    <a:pt x="268" y="76"/>
                  </a:cubicBezTo>
                  <a:cubicBezTo>
                    <a:pt x="266" y="77"/>
                    <a:pt x="267" y="78"/>
                    <a:pt x="265" y="80"/>
                  </a:cubicBezTo>
                  <a:cubicBezTo>
                    <a:pt x="263" y="81"/>
                    <a:pt x="263" y="80"/>
                    <a:pt x="262" y="82"/>
                  </a:cubicBezTo>
                  <a:cubicBezTo>
                    <a:pt x="262" y="82"/>
                    <a:pt x="261" y="82"/>
                    <a:pt x="261" y="83"/>
                  </a:cubicBezTo>
                  <a:cubicBezTo>
                    <a:pt x="259" y="85"/>
                    <a:pt x="257" y="87"/>
                    <a:pt x="254" y="85"/>
                  </a:cubicBezTo>
                  <a:cubicBezTo>
                    <a:pt x="253" y="84"/>
                    <a:pt x="253" y="83"/>
                    <a:pt x="252" y="82"/>
                  </a:cubicBezTo>
                  <a:cubicBezTo>
                    <a:pt x="251" y="80"/>
                    <a:pt x="250" y="79"/>
                    <a:pt x="250" y="77"/>
                  </a:cubicBezTo>
                  <a:cubicBezTo>
                    <a:pt x="250" y="75"/>
                    <a:pt x="249" y="74"/>
                    <a:pt x="248" y="72"/>
                  </a:cubicBezTo>
                  <a:cubicBezTo>
                    <a:pt x="247" y="71"/>
                    <a:pt x="247" y="71"/>
                    <a:pt x="246" y="70"/>
                  </a:cubicBezTo>
                  <a:cubicBezTo>
                    <a:pt x="246" y="70"/>
                    <a:pt x="245" y="68"/>
                    <a:pt x="245" y="68"/>
                  </a:cubicBezTo>
                  <a:cubicBezTo>
                    <a:pt x="244" y="67"/>
                    <a:pt x="243" y="67"/>
                    <a:pt x="242" y="66"/>
                  </a:cubicBezTo>
                  <a:cubicBezTo>
                    <a:pt x="241" y="65"/>
                    <a:pt x="240" y="64"/>
                    <a:pt x="238" y="63"/>
                  </a:cubicBezTo>
                  <a:cubicBezTo>
                    <a:pt x="236" y="62"/>
                    <a:pt x="234" y="62"/>
                    <a:pt x="233" y="59"/>
                  </a:cubicBezTo>
                  <a:cubicBezTo>
                    <a:pt x="233" y="58"/>
                    <a:pt x="233" y="56"/>
                    <a:pt x="234" y="55"/>
                  </a:cubicBezTo>
                  <a:cubicBezTo>
                    <a:pt x="235" y="53"/>
                    <a:pt x="237" y="52"/>
                    <a:pt x="238" y="51"/>
                  </a:cubicBezTo>
                  <a:cubicBezTo>
                    <a:pt x="239" y="50"/>
                    <a:pt x="240" y="49"/>
                    <a:pt x="241" y="48"/>
                  </a:cubicBezTo>
                  <a:cubicBezTo>
                    <a:pt x="241" y="47"/>
                    <a:pt x="242" y="46"/>
                    <a:pt x="243" y="45"/>
                  </a:cubicBezTo>
                  <a:cubicBezTo>
                    <a:pt x="243" y="44"/>
                    <a:pt x="243" y="42"/>
                    <a:pt x="243" y="42"/>
                  </a:cubicBezTo>
                  <a:cubicBezTo>
                    <a:pt x="242" y="40"/>
                    <a:pt x="243" y="42"/>
                    <a:pt x="241" y="41"/>
                  </a:cubicBezTo>
                  <a:cubicBezTo>
                    <a:pt x="240" y="40"/>
                    <a:pt x="240" y="40"/>
                    <a:pt x="238" y="40"/>
                  </a:cubicBezTo>
                  <a:cubicBezTo>
                    <a:pt x="236" y="39"/>
                    <a:pt x="234" y="40"/>
                    <a:pt x="232" y="40"/>
                  </a:cubicBezTo>
                  <a:cubicBezTo>
                    <a:pt x="230" y="40"/>
                    <a:pt x="229" y="40"/>
                    <a:pt x="227" y="39"/>
                  </a:cubicBezTo>
                  <a:cubicBezTo>
                    <a:pt x="227" y="39"/>
                    <a:pt x="225" y="39"/>
                    <a:pt x="225" y="39"/>
                  </a:cubicBezTo>
                  <a:cubicBezTo>
                    <a:pt x="224" y="38"/>
                    <a:pt x="223" y="37"/>
                    <a:pt x="223" y="37"/>
                  </a:cubicBezTo>
                  <a:cubicBezTo>
                    <a:pt x="222" y="36"/>
                    <a:pt x="221" y="37"/>
                    <a:pt x="220" y="36"/>
                  </a:cubicBezTo>
                  <a:cubicBezTo>
                    <a:pt x="219" y="36"/>
                    <a:pt x="219" y="35"/>
                    <a:pt x="218" y="35"/>
                  </a:cubicBezTo>
                  <a:cubicBezTo>
                    <a:pt x="216" y="34"/>
                    <a:pt x="215" y="34"/>
                    <a:pt x="213" y="33"/>
                  </a:cubicBezTo>
                  <a:cubicBezTo>
                    <a:pt x="212" y="33"/>
                    <a:pt x="211" y="32"/>
                    <a:pt x="209" y="32"/>
                  </a:cubicBezTo>
                  <a:cubicBezTo>
                    <a:pt x="207" y="31"/>
                    <a:pt x="204" y="29"/>
                    <a:pt x="202" y="28"/>
                  </a:cubicBezTo>
                  <a:cubicBezTo>
                    <a:pt x="200" y="28"/>
                    <a:pt x="198" y="26"/>
                    <a:pt x="196" y="26"/>
                  </a:cubicBezTo>
                  <a:cubicBezTo>
                    <a:pt x="195" y="26"/>
                    <a:pt x="194" y="26"/>
                    <a:pt x="193" y="26"/>
                  </a:cubicBezTo>
                  <a:cubicBezTo>
                    <a:pt x="191" y="25"/>
                    <a:pt x="190" y="22"/>
                    <a:pt x="189" y="20"/>
                  </a:cubicBezTo>
                  <a:cubicBezTo>
                    <a:pt x="187" y="18"/>
                    <a:pt x="186" y="16"/>
                    <a:pt x="184" y="13"/>
                  </a:cubicBezTo>
                  <a:cubicBezTo>
                    <a:pt x="184" y="13"/>
                    <a:pt x="183" y="12"/>
                    <a:pt x="183" y="12"/>
                  </a:cubicBezTo>
                  <a:cubicBezTo>
                    <a:pt x="183" y="11"/>
                    <a:pt x="183" y="11"/>
                    <a:pt x="182" y="11"/>
                  </a:cubicBezTo>
                  <a:cubicBezTo>
                    <a:pt x="182" y="10"/>
                    <a:pt x="181" y="10"/>
                    <a:pt x="181" y="10"/>
                  </a:cubicBezTo>
                  <a:cubicBezTo>
                    <a:pt x="180" y="8"/>
                    <a:pt x="180" y="8"/>
                    <a:pt x="177" y="8"/>
                  </a:cubicBezTo>
                  <a:cubicBezTo>
                    <a:pt x="173" y="8"/>
                    <a:pt x="170" y="8"/>
                    <a:pt x="166" y="8"/>
                  </a:cubicBezTo>
                  <a:cubicBezTo>
                    <a:pt x="164" y="8"/>
                    <a:pt x="161" y="8"/>
                    <a:pt x="159" y="8"/>
                  </a:cubicBezTo>
                  <a:cubicBezTo>
                    <a:pt x="160" y="8"/>
                    <a:pt x="160" y="8"/>
                    <a:pt x="160" y="9"/>
                  </a:cubicBezTo>
                  <a:cubicBezTo>
                    <a:pt x="161" y="11"/>
                    <a:pt x="158" y="12"/>
                    <a:pt x="157" y="13"/>
                  </a:cubicBezTo>
                  <a:cubicBezTo>
                    <a:pt x="157" y="14"/>
                    <a:pt x="157" y="17"/>
                    <a:pt x="158" y="18"/>
                  </a:cubicBezTo>
                  <a:cubicBezTo>
                    <a:pt x="156" y="16"/>
                    <a:pt x="154" y="19"/>
                    <a:pt x="153" y="20"/>
                  </a:cubicBezTo>
                  <a:cubicBezTo>
                    <a:pt x="152" y="21"/>
                    <a:pt x="151" y="22"/>
                    <a:pt x="150" y="22"/>
                  </a:cubicBezTo>
                  <a:cubicBezTo>
                    <a:pt x="149" y="22"/>
                    <a:pt x="146" y="22"/>
                    <a:pt x="146" y="22"/>
                  </a:cubicBezTo>
                  <a:cubicBezTo>
                    <a:pt x="145" y="21"/>
                    <a:pt x="145" y="20"/>
                    <a:pt x="145" y="19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4" y="17"/>
                    <a:pt x="142" y="16"/>
                    <a:pt x="141" y="16"/>
                  </a:cubicBezTo>
                  <a:cubicBezTo>
                    <a:pt x="139" y="15"/>
                    <a:pt x="139" y="15"/>
                    <a:pt x="140" y="13"/>
                  </a:cubicBezTo>
                  <a:cubicBezTo>
                    <a:pt x="141" y="12"/>
                    <a:pt x="141" y="11"/>
                    <a:pt x="142" y="10"/>
                  </a:cubicBezTo>
                  <a:cubicBezTo>
                    <a:pt x="142" y="8"/>
                    <a:pt x="139" y="4"/>
                    <a:pt x="137" y="4"/>
                  </a:cubicBezTo>
                  <a:cubicBezTo>
                    <a:pt x="136" y="3"/>
                    <a:pt x="135" y="2"/>
                    <a:pt x="134" y="1"/>
                  </a:cubicBezTo>
                  <a:cubicBezTo>
                    <a:pt x="133" y="0"/>
                    <a:pt x="133" y="0"/>
                    <a:pt x="131" y="1"/>
                  </a:cubicBezTo>
                  <a:cubicBezTo>
                    <a:pt x="130" y="1"/>
                    <a:pt x="129" y="3"/>
                    <a:pt x="128" y="4"/>
                  </a:cubicBezTo>
                  <a:cubicBezTo>
                    <a:pt x="126" y="5"/>
                    <a:pt x="123" y="6"/>
                    <a:pt x="121" y="6"/>
                  </a:cubicBezTo>
                  <a:cubicBezTo>
                    <a:pt x="122" y="7"/>
                    <a:pt x="124" y="8"/>
                    <a:pt x="126" y="9"/>
                  </a:cubicBezTo>
                  <a:cubicBezTo>
                    <a:pt x="126" y="10"/>
                    <a:pt x="130" y="12"/>
                    <a:pt x="129" y="13"/>
                  </a:cubicBezTo>
                  <a:cubicBezTo>
                    <a:pt x="129" y="14"/>
                    <a:pt x="128" y="14"/>
                    <a:pt x="127" y="15"/>
                  </a:cubicBezTo>
                  <a:cubicBezTo>
                    <a:pt x="125" y="16"/>
                    <a:pt x="123" y="17"/>
                    <a:pt x="121" y="17"/>
                  </a:cubicBezTo>
                  <a:cubicBezTo>
                    <a:pt x="120" y="18"/>
                    <a:pt x="118" y="19"/>
                    <a:pt x="117" y="20"/>
                  </a:cubicBezTo>
                  <a:cubicBezTo>
                    <a:pt x="116" y="20"/>
                    <a:pt x="116" y="21"/>
                    <a:pt x="115" y="20"/>
                  </a:cubicBezTo>
                  <a:cubicBezTo>
                    <a:pt x="114" y="19"/>
                    <a:pt x="113" y="21"/>
                    <a:pt x="112" y="21"/>
                  </a:cubicBezTo>
                  <a:cubicBezTo>
                    <a:pt x="111" y="22"/>
                    <a:pt x="110" y="21"/>
                    <a:pt x="109" y="21"/>
                  </a:cubicBezTo>
                  <a:cubicBezTo>
                    <a:pt x="108" y="21"/>
                    <a:pt x="105" y="22"/>
                    <a:pt x="105" y="23"/>
                  </a:cubicBezTo>
                  <a:cubicBezTo>
                    <a:pt x="105" y="23"/>
                    <a:pt x="105" y="24"/>
                    <a:pt x="105" y="24"/>
                  </a:cubicBezTo>
                  <a:cubicBezTo>
                    <a:pt x="104" y="25"/>
                    <a:pt x="103" y="26"/>
                    <a:pt x="102" y="26"/>
                  </a:cubicBezTo>
                  <a:cubicBezTo>
                    <a:pt x="101" y="27"/>
                    <a:pt x="101" y="28"/>
                    <a:pt x="100" y="28"/>
                  </a:cubicBezTo>
                  <a:cubicBezTo>
                    <a:pt x="99" y="28"/>
                    <a:pt x="98" y="28"/>
                    <a:pt x="97" y="28"/>
                  </a:cubicBezTo>
                  <a:cubicBezTo>
                    <a:pt x="96" y="28"/>
                    <a:pt x="94" y="29"/>
                    <a:pt x="93" y="29"/>
                  </a:cubicBezTo>
                  <a:cubicBezTo>
                    <a:pt x="91" y="29"/>
                    <a:pt x="90" y="30"/>
                    <a:pt x="88" y="30"/>
                  </a:cubicBezTo>
                  <a:cubicBezTo>
                    <a:pt x="87" y="30"/>
                    <a:pt x="87" y="30"/>
                    <a:pt x="86" y="30"/>
                  </a:cubicBezTo>
                  <a:cubicBezTo>
                    <a:pt x="85" y="30"/>
                    <a:pt x="84" y="31"/>
                    <a:pt x="83" y="32"/>
                  </a:cubicBezTo>
                  <a:cubicBezTo>
                    <a:pt x="83" y="32"/>
                    <a:pt x="82" y="32"/>
                    <a:pt x="82" y="33"/>
                  </a:cubicBezTo>
                  <a:cubicBezTo>
                    <a:pt x="81" y="34"/>
                    <a:pt x="81" y="36"/>
                    <a:pt x="81" y="37"/>
                  </a:cubicBezTo>
                  <a:cubicBezTo>
                    <a:pt x="81" y="38"/>
                    <a:pt x="82" y="40"/>
                    <a:pt x="81" y="40"/>
                  </a:cubicBezTo>
                  <a:cubicBezTo>
                    <a:pt x="80" y="41"/>
                    <a:pt x="79" y="41"/>
                    <a:pt x="78" y="41"/>
                  </a:cubicBezTo>
                  <a:cubicBezTo>
                    <a:pt x="78" y="41"/>
                    <a:pt x="76" y="41"/>
                    <a:pt x="75" y="41"/>
                  </a:cubicBezTo>
                  <a:cubicBezTo>
                    <a:pt x="75" y="40"/>
                    <a:pt x="75" y="38"/>
                    <a:pt x="74" y="38"/>
                  </a:cubicBezTo>
                  <a:cubicBezTo>
                    <a:pt x="74" y="37"/>
                    <a:pt x="72" y="36"/>
                    <a:pt x="71" y="38"/>
                  </a:cubicBezTo>
                  <a:cubicBezTo>
                    <a:pt x="71" y="38"/>
                    <a:pt x="71" y="39"/>
                    <a:pt x="71" y="40"/>
                  </a:cubicBezTo>
                  <a:cubicBezTo>
                    <a:pt x="71" y="40"/>
                    <a:pt x="71" y="40"/>
                    <a:pt x="71" y="41"/>
                  </a:cubicBezTo>
                  <a:cubicBezTo>
                    <a:pt x="70" y="42"/>
                    <a:pt x="70" y="43"/>
                    <a:pt x="70" y="44"/>
                  </a:cubicBezTo>
                  <a:cubicBezTo>
                    <a:pt x="68" y="44"/>
                    <a:pt x="66" y="41"/>
                    <a:pt x="65" y="43"/>
                  </a:cubicBezTo>
                  <a:cubicBezTo>
                    <a:pt x="64" y="43"/>
                    <a:pt x="64" y="44"/>
                    <a:pt x="64" y="45"/>
                  </a:cubicBezTo>
                  <a:cubicBezTo>
                    <a:pt x="64" y="46"/>
                    <a:pt x="63" y="46"/>
                    <a:pt x="63" y="47"/>
                  </a:cubicBezTo>
                  <a:cubicBezTo>
                    <a:pt x="63" y="47"/>
                    <a:pt x="62" y="48"/>
                    <a:pt x="61" y="48"/>
                  </a:cubicBezTo>
                  <a:cubicBezTo>
                    <a:pt x="61" y="48"/>
                    <a:pt x="61" y="49"/>
                    <a:pt x="61" y="49"/>
                  </a:cubicBezTo>
                  <a:cubicBezTo>
                    <a:pt x="61" y="49"/>
                    <a:pt x="60" y="49"/>
                    <a:pt x="60" y="49"/>
                  </a:cubicBezTo>
                  <a:cubicBezTo>
                    <a:pt x="57" y="49"/>
                    <a:pt x="57" y="49"/>
                    <a:pt x="55" y="51"/>
                  </a:cubicBezTo>
                  <a:cubicBezTo>
                    <a:pt x="55" y="52"/>
                    <a:pt x="54" y="53"/>
                    <a:pt x="53" y="54"/>
                  </a:cubicBezTo>
                  <a:cubicBezTo>
                    <a:pt x="52" y="55"/>
                    <a:pt x="51" y="55"/>
                    <a:pt x="51" y="56"/>
                  </a:cubicBezTo>
                  <a:cubicBezTo>
                    <a:pt x="50" y="57"/>
                    <a:pt x="50" y="58"/>
                    <a:pt x="49" y="57"/>
                  </a:cubicBezTo>
                  <a:cubicBezTo>
                    <a:pt x="49" y="57"/>
                    <a:pt x="48" y="56"/>
                    <a:pt x="48" y="56"/>
                  </a:cubicBezTo>
                  <a:cubicBezTo>
                    <a:pt x="46" y="55"/>
                    <a:pt x="45" y="56"/>
                    <a:pt x="44" y="56"/>
                  </a:cubicBezTo>
                  <a:cubicBezTo>
                    <a:pt x="43" y="56"/>
                    <a:pt x="43" y="55"/>
                    <a:pt x="42" y="55"/>
                  </a:cubicBezTo>
                  <a:cubicBezTo>
                    <a:pt x="42" y="55"/>
                    <a:pt x="40" y="55"/>
                    <a:pt x="39" y="55"/>
                  </a:cubicBezTo>
                  <a:cubicBezTo>
                    <a:pt x="39" y="55"/>
                    <a:pt x="39" y="57"/>
                    <a:pt x="38" y="57"/>
                  </a:cubicBezTo>
                  <a:cubicBezTo>
                    <a:pt x="37" y="59"/>
                    <a:pt x="36" y="59"/>
                    <a:pt x="34" y="59"/>
                  </a:cubicBezTo>
                  <a:cubicBezTo>
                    <a:pt x="33" y="59"/>
                    <a:pt x="33" y="60"/>
                    <a:pt x="32" y="59"/>
                  </a:cubicBezTo>
                  <a:cubicBezTo>
                    <a:pt x="31" y="59"/>
                    <a:pt x="31" y="58"/>
                    <a:pt x="30" y="58"/>
                  </a:cubicBezTo>
                  <a:cubicBezTo>
                    <a:pt x="29" y="57"/>
                    <a:pt x="29" y="59"/>
                    <a:pt x="28" y="59"/>
                  </a:cubicBezTo>
                  <a:cubicBezTo>
                    <a:pt x="27" y="60"/>
                    <a:pt x="26" y="60"/>
                    <a:pt x="26" y="61"/>
                  </a:cubicBezTo>
                  <a:cubicBezTo>
                    <a:pt x="24" y="61"/>
                    <a:pt x="23" y="63"/>
                    <a:pt x="22" y="64"/>
                  </a:cubicBezTo>
                  <a:cubicBezTo>
                    <a:pt x="20" y="65"/>
                    <a:pt x="18" y="66"/>
                    <a:pt x="17" y="68"/>
                  </a:cubicBezTo>
                  <a:cubicBezTo>
                    <a:pt x="16" y="69"/>
                    <a:pt x="15" y="70"/>
                    <a:pt x="15" y="70"/>
                  </a:cubicBezTo>
                  <a:cubicBezTo>
                    <a:pt x="15" y="71"/>
                    <a:pt x="15" y="72"/>
                    <a:pt x="15" y="73"/>
                  </a:cubicBezTo>
                  <a:cubicBezTo>
                    <a:pt x="15" y="74"/>
                    <a:pt x="14" y="74"/>
                    <a:pt x="13" y="76"/>
                  </a:cubicBezTo>
                  <a:cubicBezTo>
                    <a:pt x="13" y="77"/>
                    <a:pt x="13" y="78"/>
                    <a:pt x="12" y="79"/>
                  </a:cubicBezTo>
                  <a:cubicBezTo>
                    <a:pt x="12" y="78"/>
                    <a:pt x="12" y="78"/>
                    <a:pt x="12" y="77"/>
                  </a:cubicBezTo>
                  <a:cubicBezTo>
                    <a:pt x="11" y="76"/>
                    <a:pt x="11" y="77"/>
                    <a:pt x="11" y="76"/>
                  </a:cubicBezTo>
                  <a:cubicBezTo>
                    <a:pt x="11" y="76"/>
                    <a:pt x="11" y="75"/>
                    <a:pt x="11" y="75"/>
                  </a:cubicBezTo>
                  <a:cubicBezTo>
                    <a:pt x="10" y="74"/>
                    <a:pt x="9" y="74"/>
                    <a:pt x="9" y="73"/>
                  </a:cubicBezTo>
                  <a:cubicBezTo>
                    <a:pt x="8" y="72"/>
                    <a:pt x="8" y="71"/>
                    <a:pt x="8" y="70"/>
                  </a:cubicBezTo>
                  <a:cubicBezTo>
                    <a:pt x="8" y="68"/>
                    <a:pt x="7" y="64"/>
                    <a:pt x="5" y="65"/>
                  </a:cubicBezTo>
                  <a:cubicBezTo>
                    <a:pt x="3" y="66"/>
                    <a:pt x="3" y="66"/>
                    <a:pt x="2" y="67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9"/>
                    <a:pt x="2" y="69"/>
                    <a:pt x="1" y="69"/>
                  </a:cubicBezTo>
                  <a:cubicBezTo>
                    <a:pt x="0" y="73"/>
                    <a:pt x="6" y="73"/>
                    <a:pt x="6" y="76"/>
                  </a:cubicBezTo>
                  <a:cubicBezTo>
                    <a:pt x="7" y="78"/>
                    <a:pt x="7" y="80"/>
                    <a:pt x="7" y="81"/>
                  </a:cubicBezTo>
                  <a:cubicBezTo>
                    <a:pt x="7" y="83"/>
                    <a:pt x="7" y="84"/>
                    <a:pt x="8" y="86"/>
                  </a:cubicBezTo>
                  <a:cubicBezTo>
                    <a:pt x="8" y="88"/>
                    <a:pt x="9" y="87"/>
                    <a:pt x="11" y="88"/>
                  </a:cubicBezTo>
                  <a:cubicBezTo>
                    <a:pt x="13" y="89"/>
                    <a:pt x="12" y="91"/>
                    <a:pt x="14" y="92"/>
                  </a:cubicBezTo>
                  <a:cubicBezTo>
                    <a:pt x="14" y="93"/>
                    <a:pt x="16" y="93"/>
                    <a:pt x="17" y="94"/>
                  </a:cubicBezTo>
                  <a:cubicBezTo>
                    <a:pt x="18" y="95"/>
                    <a:pt x="18" y="96"/>
                    <a:pt x="20" y="96"/>
                  </a:cubicBezTo>
                  <a:cubicBezTo>
                    <a:pt x="21" y="97"/>
                    <a:pt x="23" y="97"/>
                    <a:pt x="24" y="99"/>
                  </a:cubicBezTo>
                  <a:cubicBezTo>
                    <a:pt x="24" y="100"/>
                    <a:pt x="23" y="101"/>
                    <a:pt x="23" y="102"/>
                  </a:cubicBezTo>
                  <a:cubicBezTo>
                    <a:pt x="23" y="103"/>
                    <a:pt x="23" y="104"/>
                    <a:pt x="23" y="105"/>
                  </a:cubicBezTo>
                  <a:cubicBezTo>
                    <a:pt x="23" y="106"/>
                    <a:pt x="22" y="107"/>
                    <a:pt x="21" y="108"/>
                  </a:cubicBezTo>
                  <a:cubicBezTo>
                    <a:pt x="21" y="108"/>
                    <a:pt x="20" y="109"/>
                    <a:pt x="20" y="110"/>
                  </a:cubicBezTo>
                  <a:cubicBezTo>
                    <a:pt x="19" y="111"/>
                    <a:pt x="18" y="112"/>
                    <a:pt x="18" y="113"/>
                  </a:cubicBezTo>
                  <a:cubicBezTo>
                    <a:pt x="17" y="114"/>
                    <a:pt x="17" y="116"/>
                    <a:pt x="18" y="117"/>
                  </a:cubicBezTo>
                  <a:cubicBezTo>
                    <a:pt x="20" y="118"/>
                    <a:pt x="21" y="119"/>
                    <a:pt x="22" y="120"/>
                  </a:cubicBezTo>
                  <a:cubicBezTo>
                    <a:pt x="23" y="121"/>
                    <a:pt x="24" y="123"/>
                    <a:pt x="24" y="124"/>
                  </a:cubicBezTo>
                  <a:cubicBezTo>
                    <a:pt x="25" y="126"/>
                    <a:pt x="26" y="128"/>
                    <a:pt x="27" y="130"/>
                  </a:cubicBezTo>
                  <a:cubicBezTo>
                    <a:pt x="27" y="131"/>
                    <a:pt x="27" y="131"/>
                    <a:pt x="28" y="132"/>
                  </a:cubicBezTo>
                  <a:cubicBezTo>
                    <a:pt x="28" y="133"/>
                    <a:pt x="28" y="136"/>
                    <a:pt x="29" y="137"/>
                  </a:cubicBezTo>
                  <a:cubicBezTo>
                    <a:pt x="29" y="139"/>
                    <a:pt x="29" y="139"/>
                    <a:pt x="30" y="140"/>
                  </a:cubicBezTo>
                  <a:cubicBezTo>
                    <a:pt x="31" y="141"/>
                    <a:pt x="32" y="142"/>
                    <a:pt x="33" y="144"/>
                  </a:cubicBezTo>
                  <a:cubicBezTo>
                    <a:pt x="33" y="145"/>
                    <a:pt x="33" y="145"/>
                    <a:pt x="34" y="145"/>
                  </a:cubicBezTo>
                  <a:cubicBezTo>
                    <a:pt x="34" y="146"/>
                    <a:pt x="36" y="146"/>
                    <a:pt x="37" y="147"/>
                  </a:cubicBezTo>
                  <a:cubicBezTo>
                    <a:pt x="38" y="147"/>
                    <a:pt x="38" y="148"/>
                    <a:pt x="40" y="148"/>
                  </a:cubicBezTo>
                  <a:cubicBezTo>
                    <a:pt x="40" y="148"/>
                    <a:pt x="42" y="147"/>
                    <a:pt x="42" y="147"/>
                  </a:cubicBezTo>
                  <a:cubicBezTo>
                    <a:pt x="43" y="148"/>
                    <a:pt x="43" y="148"/>
                    <a:pt x="44" y="148"/>
                  </a:cubicBezTo>
                  <a:cubicBezTo>
                    <a:pt x="45" y="150"/>
                    <a:pt x="47" y="151"/>
                    <a:pt x="48" y="152"/>
                  </a:cubicBezTo>
                  <a:cubicBezTo>
                    <a:pt x="49" y="153"/>
                    <a:pt x="50" y="155"/>
                    <a:pt x="51" y="156"/>
                  </a:cubicBezTo>
                  <a:cubicBezTo>
                    <a:pt x="53" y="159"/>
                    <a:pt x="54" y="161"/>
                    <a:pt x="54" y="164"/>
                  </a:cubicBezTo>
                  <a:cubicBezTo>
                    <a:pt x="54" y="164"/>
                    <a:pt x="54" y="164"/>
                    <a:pt x="54" y="165"/>
                  </a:cubicBezTo>
                  <a:cubicBezTo>
                    <a:pt x="55" y="166"/>
                    <a:pt x="58" y="166"/>
                    <a:pt x="59" y="167"/>
                  </a:cubicBezTo>
                  <a:cubicBezTo>
                    <a:pt x="60" y="167"/>
                    <a:pt x="62" y="168"/>
                    <a:pt x="63" y="169"/>
                  </a:cubicBezTo>
                  <a:cubicBezTo>
                    <a:pt x="63" y="169"/>
                    <a:pt x="63" y="169"/>
                    <a:pt x="63" y="170"/>
                  </a:cubicBezTo>
                  <a:cubicBezTo>
                    <a:pt x="64" y="170"/>
                    <a:pt x="65" y="171"/>
                    <a:pt x="66" y="171"/>
                  </a:cubicBezTo>
                  <a:cubicBezTo>
                    <a:pt x="66" y="172"/>
                    <a:pt x="67" y="173"/>
                    <a:pt x="67" y="174"/>
                  </a:cubicBezTo>
                  <a:cubicBezTo>
                    <a:pt x="68" y="175"/>
                    <a:pt x="69" y="176"/>
                    <a:pt x="69" y="177"/>
                  </a:cubicBezTo>
                  <a:cubicBezTo>
                    <a:pt x="71" y="183"/>
                    <a:pt x="77" y="176"/>
                    <a:pt x="79" y="181"/>
                  </a:cubicBezTo>
                  <a:cubicBezTo>
                    <a:pt x="79" y="182"/>
                    <a:pt x="79" y="183"/>
                    <a:pt x="80" y="184"/>
                  </a:cubicBezTo>
                  <a:cubicBezTo>
                    <a:pt x="81" y="184"/>
                    <a:pt x="82" y="185"/>
                    <a:pt x="83" y="186"/>
                  </a:cubicBezTo>
                  <a:cubicBezTo>
                    <a:pt x="84" y="187"/>
                    <a:pt x="85" y="188"/>
                    <a:pt x="86" y="188"/>
                  </a:cubicBezTo>
                  <a:cubicBezTo>
                    <a:pt x="86" y="189"/>
                    <a:pt x="87" y="189"/>
                    <a:pt x="88" y="190"/>
                  </a:cubicBezTo>
                  <a:cubicBezTo>
                    <a:pt x="88" y="190"/>
                    <a:pt x="89" y="192"/>
                    <a:pt x="89" y="193"/>
                  </a:cubicBezTo>
                  <a:cubicBezTo>
                    <a:pt x="89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1" y="194"/>
                  </a:cubicBezTo>
                  <a:cubicBezTo>
                    <a:pt x="92" y="195"/>
                    <a:pt x="94" y="195"/>
                    <a:pt x="95" y="196"/>
                  </a:cubicBezTo>
                  <a:cubicBezTo>
                    <a:pt x="96" y="197"/>
                    <a:pt x="97" y="198"/>
                    <a:pt x="97" y="198"/>
                  </a:cubicBezTo>
                  <a:cubicBezTo>
                    <a:pt x="98" y="199"/>
                    <a:pt x="99" y="200"/>
                    <a:pt x="99" y="201"/>
                  </a:cubicBezTo>
                  <a:cubicBezTo>
                    <a:pt x="101" y="201"/>
                    <a:pt x="101" y="203"/>
                    <a:pt x="101" y="204"/>
                  </a:cubicBezTo>
                  <a:cubicBezTo>
                    <a:pt x="101" y="205"/>
                    <a:pt x="101" y="206"/>
                    <a:pt x="102" y="207"/>
                  </a:cubicBezTo>
                  <a:cubicBezTo>
                    <a:pt x="102" y="208"/>
                    <a:pt x="104" y="209"/>
                    <a:pt x="104" y="209"/>
                  </a:cubicBezTo>
                  <a:cubicBezTo>
                    <a:pt x="105" y="210"/>
                    <a:pt x="106" y="209"/>
                    <a:pt x="107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9" y="210"/>
                    <a:pt x="110" y="210"/>
                    <a:pt x="111" y="210"/>
                  </a:cubicBezTo>
                  <a:cubicBezTo>
                    <a:pt x="112" y="210"/>
                    <a:pt x="113" y="210"/>
                    <a:pt x="114" y="210"/>
                  </a:cubicBezTo>
                  <a:cubicBezTo>
                    <a:pt x="115" y="210"/>
                    <a:pt x="116" y="209"/>
                    <a:pt x="117" y="209"/>
                  </a:cubicBezTo>
                  <a:cubicBezTo>
                    <a:pt x="118" y="209"/>
                    <a:pt x="119" y="209"/>
                    <a:pt x="119" y="209"/>
                  </a:cubicBezTo>
                  <a:cubicBezTo>
                    <a:pt x="120" y="208"/>
                    <a:pt x="120" y="204"/>
                    <a:pt x="123" y="204"/>
                  </a:cubicBezTo>
                  <a:cubicBezTo>
                    <a:pt x="124" y="204"/>
                    <a:pt x="125" y="205"/>
                    <a:pt x="126" y="206"/>
                  </a:cubicBezTo>
                  <a:cubicBezTo>
                    <a:pt x="126" y="207"/>
                    <a:pt x="126" y="207"/>
                    <a:pt x="127" y="208"/>
                  </a:cubicBezTo>
                  <a:cubicBezTo>
                    <a:pt x="127" y="208"/>
                    <a:pt x="128" y="208"/>
                    <a:pt x="128" y="209"/>
                  </a:cubicBezTo>
                  <a:cubicBezTo>
                    <a:pt x="128" y="209"/>
                    <a:pt x="128" y="209"/>
                    <a:pt x="129" y="209"/>
                  </a:cubicBezTo>
                  <a:cubicBezTo>
                    <a:pt x="129" y="210"/>
                    <a:pt x="130" y="209"/>
                    <a:pt x="131" y="209"/>
                  </a:cubicBezTo>
                  <a:cubicBezTo>
                    <a:pt x="131" y="209"/>
                    <a:pt x="132" y="209"/>
                    <a:pt x="133" y="209"/>
                  </a:cubicBezTo>
                  <a:cubicBezTo>
                    <a:pt x="134" y="209"/>
                    <a:pt x="135" y="208"/>
                    <a:pt x="136" y="207"/>
                  </a:cubicBezTo>
                  <a:cubicBezTo>
                    <a:pt x="138" y="205"/>
                    <a:pt x="138" y="202"/>
                    <a:pt x="139" y="199"/>
                  </a:cubicBezTo>
                  <a:cubicBezTo>
                    <a:pt x="139" y="197"/>
                    <a:pt x="141" y="197"/>
                    <a:pt x="141" y="195"/>
                  </a:cubicBezTo>
                  <a:cubicBezTo>
                    <a:pt x="142" y="195"/>
                    <a:pt x="142" y="193"/>
                    <a:pt x="142" y="193"/>
                  </a:cubicBezTo>
                  <a:cubicBezTo>
                    <a:pt x="143" y="192"/>
                    <a:pt x="145" y="192"/>
                    <a:pt x="147" y="193"/>
                  </a:cubicBezTo>
                  <a:cubicBezTo>
                    <a:pt x="148" y="194"/>
                    <a:pt x="150" y="194"/>
                    <a:pt x="151" y="192"/>
                  </a:cubicBezTo>
                  <a:cubicBezTo>
                    <a:pt x="151" y="191"/>
                    <a:pt x="150" y="190"/>
                    <a:pt x="150" y="188"/>
                  </a:cubicBezTo>
                  <a:cubicBezTo>
                    <a:pt x="149" y="186"/>
                    <a:pt x="150" y="184"/>
                    <a:pt x="150" y="183"/>
                  </a:cubicBezTo>
                  <a:cubicBezTo>
                    <a:pt x="150" y="180"/>
                    <a:pt x="152" y="178"/>
                    <a:pt x="153" y="176"/>
                  </a:cubicBezTo>
                  <a:cubicBezTo>
                    <a:pt x="153" y="175"/>
                    <a:pt x="153" y="175"/>
                    <a:pt x="154" y="175"/>
                  </a:cubicBezTo>
                  <a:cubicBezTo>
                    <a:pt x="155" y="175"/>
                    <a:pt x="156" y="175"/>
                    <a:pt x="157" y="175"/>
                  </a:cubicBezTo>
                  <a:cubicBezTo>
                    <a:pt x="159" y="175"/>
                    <a:pt x="158" y="177"/>
                    <a:pt x="159" y="178"/>
                  </a:cubicBezTo>
                  <a:cubicBezTo>
                    <a:pt x="161" y="180"/>
                    <a:pt x="163" y="180"/>
                    <a:pt x="165" y="179"/>
                  </a:cubicBezTo>
                  <a:cubicBezTo>
                    <a:pt x="167" y="179"/>
                    <a:pt x="166" y="177"/>
                    <a:pt x="166" y="176"/>
                  </a:cubicBezTo>
                  <a:cubicBezTo>
                    <a:pt x="167" y="175"/>
                    <a:pt x="171" y="175"/>
                    <a:pt x="171" y="177"/>
                  </a:cubicBezTo>
                  <a:cubicBezTo>
                    <a:pt x="171" y="177"/>
                    <a:pt x="172" y="178"/>
                    <a:pt x="172" y="178"/>
                  </a:cubicBezTo>
                  <a:cubicBezTo>
                    <a:pt x="174" y="179"/>
                    <a:pt x="175" y="179"/>
                    <a:pt x="177" y="180"/>
                  </a:cubicBezTo>
                  <a:cubicBezTo>
                    <a:pt x="179" y="181"/>
                    <a:pt x="183" y="182"/>
                    <a:pt x="185" y="184"/>
                  </a:cubicBezTo>
                  <a:cubicBezTo>
                    <a:pt x="186" y="185"/>
                    <a:pt x="186" y="186"/>
                    <a:pt x="187" y="187"/>
                  </a:cubicBezTo>
                  <a:cubicBezTo>
                    <a:pt x="188" y="187"/>
                    <a:pt x="190" y="187"/>
                    <a:pt x="192" y="187"/>
                  </a:cubicBezTo>
                  <a:cubicBezTo>
                    <a:pt x="192" y="187"/>
                    <a:pt x="193" y="187"/>
                    <a:pt x="194" y="187"/>
                  </a:cubicBezTo>
                  <a:cubicBezTo>
                    <a:pt x="195" y="186"/>
                    <a:pt x="195" y="186"/>
                    <a:pt x="196" y="186"/>
                  </a:cubicBezTo>
                  <a:cubicBezTo>
                    <a:pt x="198" y="185"/>
                    <a:pt x="199" y="186"/>
                    <a:pt x="200" y="188"/>
                  </a:cubicBezTo>
                  <a:cubicBezTo>
                    <a:pt x="201" y="189"/>
                    <a:pt x="200" y="191"/>
                    <a:pt x="202" y="192"/>
                  </a:cubicBezTo>
                  <a:cubicBezTo>
                    <a:pt x="204" y="193"/>
                    <a:pt x="207" y="194"/>
                    <a:pt x="210" y="195"/>
                  </a:cubicBezTo>
                  <a:cubicBezTo>
                    <a:pt x="212" y="196"/>
                    <a:pt x="213" y="196"/>
                    <a:pt x="215" y="196"/>
                  </a:cubicBezTo>
                  <a:cubicBezTo>
                    <a:pt x="218" y="196"/>
                    <a:pt x="221" y="197"/>
                    <a:pt x="224" y="196"/>
                  </a:cubicBezTo>
                  <a:cubicBezTo>
                    <a:pt x="225" y="196"/>
                    <a:pt x="227" y="195"/>
                    <a:pt x="228" y="194"/>
                  </a:cubicBezTo>
                  <a:cubicBezTo>
                    <a:pt x="229" y="192"/>
                    <a:pt x="228" y="190"/>
                    <a:pt x="230" y="190"/>
                  </a:cubicBezTo>
                  <a:cubicBezTo>
                    <a:pt x="232" y="189"/>
                    <a:pt x="233" y="190"/>
                    <a:pt x="234" y="191"/>
                  </a:cubicBezTo>
                  <a:cubicBezTo>
                    <a:pt x="235" y="193"/>
                    <a:pt x="237" y="192"/>
                    <a:pt x="238" y="193"/>
                  </a:cubicBezTo>
                  <a:cubicBezTo>
                    <a:pt x="239" y="194"/>
                    <a:pt x="239" y="194"/>
                    <a:pt x="240" y="195"/>
                  </a:cubicBezTo>
                  <a:cubicBezTo>
                    <a:pt x="240" y="196"/>
                    <a:pt x="240" y="197"/>
                    <a:pt x="240" y="197"/>
                  </a:cubicBezTo>
                  <a:cubicBezTo>
                    <a:pt x="241" y="200"/>
                    <a:pt x="247" y="198"/>
                    <a:pt x="249" y="198"/>
                  </a:cubicBezTo>
                  <a:cubicBezTo>
                    <a:pt x="250" y="198"/>
                    <a:pt x="252" y="198"/>
                    <a:pt x="253" y="199"/>
                  </a:cubicBezTo>
                  <a:cubicBezTo>
                    <a:pt x="254" y="199"/>
                    <a:pt x="254" y="200"/>
                    <a:pt x="254" y="200"/>
                  </a:cubicBezTo>
                  <a:cubicBezTo>
                    <a:pt x="255" y="200"/>
                    <a:pt x="255" y="201"/>
                    <a:pt x="255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2"/>
                    <a:pt x="256" y="202"/>
                    <a:pt x="257" y="203"/>
                  </a:cubicBezTo>
                  <a:cubicBezTo>
                    <a:pt x="258" y="203"/>
                    <a:pt x="259" y="202"/>
                    <a:pt x="261" y="20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2" name="Freeform 23">
              <a:extLst>
                <a:ext uri="{FF2B5EF4-FFF2-40B4-BE49-F238E27FC236}">
                  <a16:creationId xmlns:a16="http://schemas.microsoft.com/office/drawing/2014/main" id="{310FDF36-4BFD-4935-B3C8-DA5E979C0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9375" y="4606925"/>
              <a:ext cx="604838" cy="287338"/>
            </a:xfrm>
            <a:custGeom>
              <a:avLst/>
              <a:gdLst/>
              <a:ahLst/>
              <a:cxnLst>
                <a:cxn ang="0">
                  <a:pos x="23" y="143"/>
                </a:cxn>
                <a:cxn ang="0">
                  <a:pos x="37" y="152"/>
                </a:cxn>
                <a:cxn ang="0">
                  <a:pos x="76" y="151"/>
                </a:cxn>
                <a:cxn ang="0">
                  <a:pos x="90" y="147"/>
                </a:cxn>
                <a:cxn ang="0">
                  <a:pos x="93" y="130"/>
                </a:cxn>
                <a:cxn ang="0">
                  <a:pos x="118" y="125"/>
                </a:cxn>
                <a:cxn ang="0">
                  <a:pos x="133" y="115"/>
                </a:cxn>
                <a:cxn ang="0">
                  <a:pos x="144" y="116"/>
                </a:cxn>
                <a:cxn ang="0">
                  <a:pos x="161" y="116"/>
                </a:cxn>
                <a:cxn ang="0">
                  <a:pos x="173" y="111"/>
                </a:cxn>
                <a:cxn ang="0">
                  <a:pos x="182" y="94"/>
                </a:cxn>
                <a:cxn ang="0">
                  <a:pos x="207" y="89"/>
                </a:cxn>
                <a:cxn ang="0">
                  <a:pos x="221" y="91"/>
                </a:cxn>
                <a:cxn ang="0">
                  <a:pos x="236" y="88"/>
                </a:cxn>
                <a:cxn ang="0">
                  <a:pos x="248" y="102"/>
                </a:cxn>
                <a:cxn ang="0">
                  <a:pos x="262" y="102"/>
                </a:cxn>
                <a:cxn ang="0">
                  <a:pos x="275" y="90"/>
                </a:cxn>
                <a:cxn ang="0">
                  <a:pos x="281" y="76"/>
                </a:cxn>
                <a:cxn ang="0">
                  <a:pos x="289" y="57"/>
                </a:cxn>
                <a:cxn ang="0">
                  <a:pos x="301" y="52"/>
                </a:cxn>
                <a:cxn ang="0">
                  <a:pos x="323" y="43"/>
                </a:cxn>
                <a:cxn ang="0">
                  <a:pos x="320" y="40"/>
                </a:cxn>
                <a:cxn ang="0">
                  <a:pos x="298" y="30"/>
                </a:cxn>
                <a:cxn ang="0">
                  <a:pos x="289" y="23"/>
                </a:cxn>
                <a:cxn ang="0">
                  <a:pos x="276" y="16"/>
                </a:cxn>
                <a:cxn ang="0">
                  <a:pos x="255" y="13"/>
                </a:cxn>
                <a:cxn ang="0">
                  <a:pos x="241" y="25"/>
                </a:cxn>
                <a:cxn ang="0">
                  <a:pos x="232" y="22"/>
                </a:cxn>
                <a:cxn ang="0">
                  <a:pos x="212" y="18"/>
                </a:cxn>
                <a:cxn ang="0">
                  <a:pos x="190" y="30"/>
                </a:cxn>
                <a:cxn ang="0">
                  <a:pos x="181" y="32"/>
                </a:cxn>
                <a:cxn ang="0">
                  <a:pos x="175" y="21"/>
                </a:cxn>
                <a:cxn ang="0">
                  <a:pos x="167" y="10"/>
                </a:cxn>
                <a:cxn ang="0">
                  <a:pos x="155" y="4"/>
                </a:cxn>
                <a:cxn ang="0">
                  <a:pos x="142" y="17"/>
                </a:cxn>
                <a:cxn ang="0">
                  <a:pos x="126" y="7"/>
                </a:cxn>
                <a:cxn ang="0">
                  <a:pos x="117" y="9"/>
                </a:cxn>
                <a:cxn ang="0">
                  <a:pos x="105" y="12"/>
                </a:cxn>
                <a:cxn ang="0">
                  <a:pos x="96" y="22"/>
                </a:cxn>
                <a:cxn ang="0">
                  <a:pos x="87" y="28"/>
                </a:cxn>
                <a:cxn ang="0">
                  <a:pos x="78" y="47"/>
                </a:cxn>
                <a:cxn ang="0">
                  <a:pos x="70" y="52"/>
                </a:cxn>
                <a:cxn ang="0">
                  <a:pos x="57" y="62"/>
                </a:cxn>
                <a:cxn ang="0">
                  <a:pos x="51" y="64"/>
                </a:cxn>
                <a:cxn ang="0">
                  <a:pos x="31" y="60"/>
                </a:cxn>
                <a:cxn ang="0">
                  <a:pos x="23" y="69"/>
                </a:cxn>
                <a:cxn ang="0">
                  <a:pos x="8" y="75"/>
                </a:cxn>
                <a:cxn ang="0">
                  <a:pos x="4" y="88"/>
                </a:cxn>
                <a:cxn ang="0">
                  <a:pos x="4" y="101"/>
                </a:cxn>
                <a:cxn ang="0">
                  <a:pos x="9" y="118"/>
                </a:cxn>
                <a:cxn ang="0">
                  <a:pos x="12" y="126"/>
                </a:cxn>
                <a:cxn ang="0">
                  <a:pos x="9" y="135"/>
                </a:cxn>
              </a:cxnLst>
              <a:rect l="0" t="0" r="r" b="b"/>
              <a:pathLst>
                <a:path w="324" h="153">
                  <a:moveTo>
                    <a:pt x="9" y="135"/>
                  </a:moveTo>
                  <a:cubicBezTo>
                    <a:pt x="10" y="135"/>
                    <a:pt x="11" y="135"/>
                    <a:pt x="12" y="136"/>
                  </a:cubicBezTo>
                  <a:cubicBezTo>
                    <a:pt x="14" y="136"/>
                    <a:pt x="16" y="137"/>
                    <a:pt x="17" y="138"/>
                  </a:cubicBezTo>
                  <a:cubicBezTo>
                    <a:pt x="19" y="139"/>
                    <a:pt x="20" y="142"/>
                    <a:pt x="23" y="143"/>
                  </a:cubicBezTo>
                  <a:cubicBezTo>
                    <a:pt x="24" y="143"/>
                    <a:pt x="25" y="143"/>
                    <a:pt x="26" y="143"/>
                  </a:cubicBezTo>
                  <a:cubicBezTo>
                    <a:pt x="28" y="144"/>
                    <a:pt x="29" y="146"/>
                    <a:pt x="30" y="147"/>
                  </a:cubicBezTo>
                  <a:cubicBezTo>
                    <a:pt x="30" y="149"/>
                    <a:pt x="31" y="151"/>
                    <a:pt x="32" y="152"/>
                  </a:cubicBezTo>
                  <a:cubicBezTo>
                    <a:pt x="33" y="153"/>
                    <a:pt x="35" y="152"/>
                    <a:pt x="37" y="152"/>
                  </a:cubicBezTo>
                  <a:cubicBezTo>
                    <a:pt x="44" y="152"/>
                    <a:pt x="51" y="152"/>
                    <a:pt x="59" y="152"/>
                  </a:cubicBezTo>
                  <a:cubicBezTo>
                    <a:pt x="63" y="152"/>
                    <a:pt x="69" y="153"/>
                    <a:pt x="73" y="152"/>
                  </a:cubicBezTo>
                  <a:cubicBezTo>
                    <a:pt x="73" y="152"/>
                    <a:pt x="75" y="151"/>
                    <a:pt x="75" y="151"/>
                  </a:cubicBezTo>
                  <a:cubicBezTo>
                    <a:pt x="75" y="152"/>
                    <a:pt x="76" y="151"/>
                    <a:pt x="76" y="151"/>
                  </a:cubicBezTo>
                  <a:cubicBezTo>
                    <a:pt x="76" y="151"/>
                    <a:pt x="76" y="150"/>
                    <a:pt x="76" y="150"/>
                  </a:cubicBezTo>
                  <a:cubicBezTo>
                    <a:pt x="78" y="149"/>
                    <a:pt x="79" y="149"/>
                    <a:pt x="80" y="149"/>
                  </a:cubicBezTo>
                  <a:cubicBezTo>
                    <a:pt x="82" y="148"/>
                    <a:pt x="83" y="148"/>
                    <a:pt x="85" y="148"/>
                  </a:cubicBezTo>
                  <a:cubicBezTo>
                    <a:pt x="86" y="148"/>
                    <a:pt x="89" y="148"/>
                    <a:pt x="90" y="147"/>
                  </a:cubicBezTo>
                  <a:cubicBezTo>
                    <a:pt x="92" y="147"/>
                    <a:pt x="93" y="145"/>
                    <a:pt x="93" y="144"/>
                  </a:cubicBezTo>
                  <a:cubicBezTo>
                    <a:pt x="92" y="141"/>
                    <a:pt x="89" y="142"/>
                    <a:pt x="89" y="139"/>
                  </a:cubicBezTo>
                  <a:cubicBezTo>
                    <a:pt x="90" y="138"/>
                    <a:pt x="91" y="137"/>
                    <a:pt x="92" y="136"/>
                  </a:cubicBezTo>
                  <a:cubicBezTo>
                    <a:pt x="92" y="134"/>
                    <a:pt x="92" y="132"/>
                    <a:pt x="93" y="130"/>
                  </a:cubicBezTo>
                  <a:cubicBezTo>
                    <a:pt x="93" y="130"/>
                    <a:pt x="95" y="128"/>
                    <a:pt x="96" y="128"/>
                  </a:cubicBezTo>
                  <a:cubicBezTo>
                    <a:pt x="97" y="127"/>
                    <a:pt x="100" y="128"/>
                    <a:pt x="101" y="128"/>
                  </a:cubicBezTo>
                  <a:cubicBezTo>
                    <a:pt x="105" y="127"/>
                    <a:pt x="109" y="126"/>
                    <a:pt x="113" y="126"/>
                  </a:cubicBezTo>
                  <a:cubicBezTo>
                    <a:pt x="114" y="125"/>
                    <a:pt x="116" y="126"/>
                    <a:pt x="118" y="125"/>
                  </a:cubicBezTo>
                  <a:cubicBezTo>
                    <a:pt x="119" y="125"/>
                    <a:pt x="121" y="125"/>
                    <a:pt x="122" y="124"/>
                  </a:cubicBezTo>
                  <a:cubicBezTo>
                    <a:pt x="123" y="124"/>
                    <a:pt x="126" y="125"/>
                    <a:pt x="127" y="124"/>
                  </a:cubicBezTo>
                  <a:cubicBezTo>
                    <a:pt x="128" y="124"/>
                    <a:pt x="130" y="122"/>
                    <a:pt x="130" y="121"/>
                  </a:cubicBezTo>
                  <a:cubicBezTo>
                    <a:pt x="131" y="119"/>
                    <a:pt x="132" y="116"/>
                    <a:pt x="133" y="115"/>
                  </a:cubicBezTo>
                  <a:cubicBezTo>
                    <a:pt x="134" y="114"/>
                    <a:pt x="136" y="114"/>
                    <a:pt x="137" y="114"/>
                  </a:cubicBezTo>
                  <a:cubicBezTo>
                    <a:pt x="138" y="114"/>
                    <a:pt x="141" y="114"/>
                    <a:pt x="141" y="115"/>
                  </a:cubicBezTo>
                  <a:cubicBezTo>
                    <a:pt x="142" y="115"/>
                    <a:pt x="141" y="116"/>
                    <a:pt x="142" y="116"/>
                  </a:cubicBezTo>
                  <a:cubicBezTo>
                    <a:pt x="142" y="117"/>
                    <a:pt x="143" y="116"/>
                    <a:pt x="144" y="116"/>
                  </a:cubicBezTo>
                  <a:cubicBezTo>
                    <a:pt x="146" y="116"/>
                    <a:pt x="149" y="116"/>
                    <a:pt x="150" y="117"/>
                  </a:cubicBezTo>
                  <a:cubicBezTo>
                    <a:pt x="152" y="118"/>
                    <a:pt x="152" y="121"/>
                    <a:pt x="153" y="122"/>
                  </a:cubicBezTo>
                  <a:cubicBezTo>
                    <a:pt x="155" y="121"/>
                    <a:pt x="155" y="119"/>
                    <a:pt x="157" y="117"/>
                  </a:cubicBezTo>
                  <a:cubicBezTo>
                    <a:pt x="158" y="117"/>
                    <a:pt x="159" y="117"/>
                    <a:pt x="161" y="116"/>
                  </a:cubicBezTo>
                  <a:cubicBezTo>
                    <a:pt x="161" y="115"/>
                    <a:pt x="162" y="115"/>
                    <a:pt x="163" y="114"/>
                  </a:cubicBezTo>
                  <a:cubicBezTo>
                    <a:pt x="163" y="114"/>
                    <a:pt x="164" y="114"/>
                    <a:pt x="165" y="114"/>
                  </a:cubicBezTo>
                  <a:cubicBezTo>
                    <a:pt x="167" y="114"/>
                    <a:pt x="168" y="112"/>
                    <a:pt x="170" y="111"/>
                  </a:cubicBezTo>
                  <a:cubicBezTo>
                    <a:pt x="171" y="111"/>
                    <a:pt x="172" y="111"/>
                    <a:pt x="173" y="111"/>
                  </a:cubicBezTo>
                  <a:cubicBezTo>
                    <a:pt x="174" y="111"/>
                    <a:pt x="175" y="110"/>
                    <a:pt x="175" y="109"/>
                  </a:cubicBezTo>
                  <a:cubicBezTo>
                    <a:pt x="177" y="108"/>
                    <a:pt x="178" y="106"/>
                    <a:pt x="179" y="104"/>
                  </a:cubicBezTo>
                  <a:cubicBezTo>
                    <a:pt x="180" y="102"/>
                    <a:pt x="180" y="101"/>
                    <a:pt x="180" y="99"/>
                  </a:cubicBezTo>
                  <a:cubicBezTo>
                    <a:pt x="181" y="97"/>
                    <a:pt x="182" y="96"/>
                    <a:pt x="182" y="94"/>
                  </a:cubicBezTo>
                  <a:cubicBezTo>
                    <a:pt x="183" y="92"/>
                    <a:pt x="182" y="90"/>
                    <a:pt x="183" y="89"/>
                  </a:cubicBezTo>
                  <a:cubicBezTo>
                    <a:pt x="184" y="86"/>
                    <a:pt x="190" y="88"/>
                    <a:pt x="192" y="88"/>
                  </a:cubicBezTo>
                  <a:cubicBezTo>
                    <a:pt x="196" y="88"/>
                    <a:pt x="199" y="88"/>
                    <a:pt x="203" y="88"/>
                  </a:cubicBezTo>
                  <a:cubicBezTo>
                    <a:pt x="205" y="88"/>
                    <a:pt x="206" y="88"/>
                    <a:pt x="207" y="89"/>
                  </a:cubicBezTo>
                  <a:cubicBezTo>
                    <a:pt x="208" y="89"/>
                    <a:pt x="208" y="90"/>
                    <a:pt x="209" y="91"/>
                  </a:cubicBezTo>
                  <a:cubicBezTo>
                    <a:pt x="209" y="91"/>
                    <a:pt x="210" y="91"/>
                    <a:pt x="211" y="91"/>
                  </a:cubicBezTo>
                  <a:cubicBezTo>
                    <a:pt x="213" y="91"/>
                    <a:pt x="215" y="91"/>
                    <a:pt x="216" y="91"/>
                  </a:cubicBezTo>
                  <a:cubicBezTo>
                    <a:pt x="218" y="91"/>
                    <a:pt x="219" y="92"/>
                    <a:pt x="221" y="91"/>
                  </a:cubicBezTo>
                  <a:cubicBezTo>
                    <a:pt x="222" y="91"/>
                    <a:pt x="223" y="89"/>
                    <a:pt x="225" y="89"/>
                  </a:cubicBezTo>
                  <a:cubicBezTo>
                    <a:pt x="226" y="89"/>
                    <a:pt x="227" y="89"/>
                    <a:pt x="228" y="88"/>
                  </a:cubicBezTo>
                  <a:cubicBezTo>
                    <a:pt x="229" y="88"/>
                    <a:pt x="230" y="88"/>
                    <a:pt x="232" y="88"/>
                  </a:cubicBezTo>
                  <a:cubicBezTo>
                    <a:pt x="233" y="88"/>
                    <a:pt x="235" y="87"/>
                    <a:pt x="236" y="88"/>
                  </a:cubicBezTo>
                  <a:cubicBezTo>
                    <a:pt x="237" y="88"/>
                    <a:pt x="237" y="89"/>
                    <a:pt x="237" y="89"/>
                  </a:cubicBezTo>
                  <a:cubicBezTo>
                    <a:pt x="238" y="89"/>
                    <a:pt x="239" y="89"/>
                    <a:pt x="240" y="90"/>
                  </a:cubicBezTo>
                  <a:cubicBezTo>
                    <a:pt x="243" y="92"/>
                    <a:pt x="243" y="96"/>
                    <a:pt x="244" y="99"/>
                  </a:cubicBezTo>
                  <a:cubicBezTo>
                    <a:pt x="245" y="100"/>
                    <a:pt x="247" y="101"/>
                    <a:pt x="248" y="102"/>
                  </a:cubicBezTo>
                  <a:cubicBezTo>
                    <a:pt x="250" y="103"/>
                    <a:pt x="250" y="103"/>
                    <a:pt x="252" y="104"/>
                  </a:cubicBezTo>
                  <a:cubicBezTo>
                    <a:pt x="252" y="105"/>
                    <a:pt x="253" y="106"/>
                    <a:pt x="254" y="107"/>
                  </a:cubicBezTo>
                  <a:cubicBezTo>
                    <a:pt x="256" y="107"/>
                    <a:pt x="257" y="105"/>
                    <a:pt x="258" y="103"/>
                  </a:cubicBezTo>
                  <a:cubicBezTo>
                    <a:pt x="260" y="102"/>
                    <a:pt x="260" y="102"/>
                    <a:pt x="262" y="102"/>
                  </a:cubicBezTo>
                  <a:cubicBezTo>
                    <a:pt x="264" y="102"/>
                    <a:pt x="266" y="103"/>
                    <a:pt x="268" y="102"/>
                  </a:cubicBezTo>
                  <a:cubicBezTo>
                    <a:pt x="269" y="101"/>
                    <a:pt x="270" y="99"/>
                    <a:pt x="270" y="98"/>
                  </a:cubicBezTo>
                  <a:cubicBezTo>
                    <a:pt x="271" y="97"/>
                    <a:pt x="271" y="95"/>
                    <a:pt x="272" y="94"/>
                  </a:cubicBezTo>
                  <a:cubicBezTo>
                    <a:pt x="273" y="92"/>
                    <a:pt x="274" y="91"/>
                    <a:pt x="275" y="90"/>
                  </a:cubicBezTo>
                  <a:cubicBezTo>
                    <a:pt x="276" y="89"/>
                    <a:pt x="276" y="90"/>
                    <a:pt x="276" y="88"/>
                  </a:cubicBezTo>
                  <a:cubicBezTo>
                    <a:pt x="276" y="86"/>
                    <a:pt x="277" y="86"/>
                    <a:pt x="277" y="84"/>
                  </a:cubicBezTo>
                  <a:cubicBezTo>
                    <a:pt x="278" y="83"/>
                    <a:pt x="278" y="82"/>
                    <a:pt x="279" y="80"/>
                  </a:cubicBezTo>
                  <a:cubicBezTo>
                    <a:pt x="279" y="79"/>
                    <a:pt x="280" y="77"/>
                    <a:pt x="281" y="76"/>
                  </a:cubicBezTo>
                  <a:cubicBezTo>
                    <a:pt x="281" y="75"/>
                    <a:pt x="283" y="73"/>
                    <a:pt x="283" y="72"/>
                  </a:cubicBezTo>
                  <a:cubicBezTo>
                    <a:pt x="283" y="70"/>
                    <a:pt x="283" y="69"/>
                    <a:pt x="284" y="67"/>
                  </a:cubicBezTo>
                  <a:cubicBezTo>
                    <a:pt x="284" y="65"/>
                    <a:pt x="285" y="64"/>
                    <a:pt x="286" y="62"/>
                  </a:cubicBezTo>
                  <a:cubicBezTo>
                    <a:pt x="287" y="61"/>
                    <a:pt x="289" y="59"/>
                    <a:pt x="289" y="57"/>
                  </a:cubicBezTo>
                  <a:cubicBezTo>
                    <a:pt x="290" y="56"/>
                    <a:pt x="289" y="56"/>
                    <a:pt x="290" y="55"/>
                  </a:cubicBezTo>
                  <a:cubicBezTo>
                    <a:pt x="290" y="55"/>
                    <a:pt x="291" y="54"/>
                    <a:pt x="292" y="54"/>
                  </a:cubicBezTo>
                  <a:cubicBezTo>
                    <a:pt x="293" y="53"/>
                    <a:pt x="296" y="54"/>
                    <a:pt x="297" y="53"/>
                  </a:cubicBezTo>
                  <a:cubicBezTo>
                    <a:pt x="299" y="53"/>
                    <a:pt x="300" y="52"/>
                    <a:pt x="301" y="52"/>
                  </a:cubicBezTo>
                  <a:cubicBezTo>
                    <a:pt x="303" y="52"/>
                    <a:pt x="305" y="53"/>
                    <a:pt x="307" y="53"/>
                  </a:cubicBezTo>
                  <a:cubicBezTo>
                    <a:pt x="309" y="53"/>
                    <a:pt x="311" y="53"/>
                    <a:pt x="312" y="53"/>
                  </a:cubicBezTo>
                  <a:cubicBezTo>
                    <a:pt x="316" y="52"/>
                    <a:pt x="319" y="51"/>
                    <a:pt x="322" y="47"/>
                  </a:cubicBezTo>
                  <a:cubicBezTo>
                    <a:pt x="322" y="46"/>
                    <a:pt x="323" y="45"/>
                    <a:pt x="323" y="43"/>
                  </a:cubicBezTo>
                  <a:cubicBezTo>
                    <a:pt x="324" y="43"/>
                    <a:pt x="324" y="43"/>
                    <a:pt x="324" y="42"/>
                  </a:cubicBezTo>
                  <a:cubicBezTo>
                    <a:pt x="324" y="42"/>
                    <a:pt x="324" y="42"/>
                    <a:pt x="324" y="42"/>
                  </a:cubicBezTo>
                  <a:cubicBezTo>
                    <a:pt x="323" y="42"/>
                    <a:pt x="322" y="42"/>
                    <a:pt x="322" y="41"/>
                  </a:cubicBezTo>
                  <a:cubicBezTo>
                    <a:pt x="321" y="41"/>
                    <a:pt x="320" y="40"/>
                    <a:pt x="320" y="40"/>
                  </a:cubicBezTo>
                  <a:cubicBezTo>
                    <a:pt x="318" y="39"/>
                    <a:pt x="316" y="38"/>
                    <a:pt x="315" y="38"/>
                  </a:cubicBezTo>
                  <a:cubicBezTo>
                    <a:pt x="311" y="36"/>
                    <a:pt x="308" y="36"/>
                    <a:pt x="304" y="35"/>
                  </a:cubicBezTo>
                  <a:cubicBezTo>
                    <a:pt x="303" y="34"/>
                    <a:pt x="302" y="34"/>
                    <a:pt x="301" y="32"/>
                  </a:cubicBezTo>
                  <a:cubicBezTo>
                    <a:pt x="300" y="31"/>
                    <a:pt x="300" y="31"/>
                    <a:pt x="298" y="30"/>
                  </a:cubicBezTo>
                  <a:cubicBezTo>
                    <a:pt x="297" y="29"/>
                    <a:pt x="295" y="28"/>
                    <a:pt x="293" y="27"/>
                  </a:cubicBezTo>
                  <a:cubicBezTo>
                    <a:pt x="292" y="27"/>
                    <a:pt x="292" y="27"/>
                    <a:pt x="291" y="27"/>
                  </a:cubicBezTo>
                  <a:cubicBezTo>
                    <a:pt x="291" y="27"/>
                    <a:pt x="290" y="25"/>
                    <a:pt x="290" y="25"/>
                  </a:cubicBezTo>
                  <a:cubicBezTo>
                    <a:pt x="289" y="24"/>
                    <a:pt x="289" y="24"/>
                    <a:pt x="289" y="23"/>
                  </a:cubicBezTo>
                  <a:cubicBezTo>
                    <a:pt x="288" y="22"/>
                    <a:pt x="287" y="21"/>
                    <a:pt x="286" y="20"/>
                  </a:cubicBezTo>
                  <a:cubicBezTo>
                    <a:pt x="285" y="20"/>
                    <a:pt x="284" y="21"/>
                    <a:pt x="283" y="21"/>
                  </a:cubicBezTo>
                  <a:cubicBezTo>
                    <a:pt x="281" y="20"/>
                    <a:pt x="282" y="20"/>
                    <a:pt x="281" y="19"/>
                  </a:cubicBezTo>
                  <a:cubicBezTo>
                    <a:pt x="279" y="18"/>
                    <a:pt x="278" y="17"/>
                    <a:pt x="276" y="16"/>
                  </a:cubicBezTo>
                  <a:cubicBezTo>
                    <a:pt x="273" y="15"/>
                    <a:pt x="269" y="14"/>
                    <a:pt x="266" y="13"/>
                  </a:cubicBezTo>
                  <a:cubicBezTo>
                    <a:pt x="264" y="13"/>
                    <a:pt x="261" y="13"/>
                    <a:pt x="259" y="13"/>
                  </a:cubicBezTo>
                  <a:cubicBezTo>
                    <a:pt x="258" y="13"/>
                    <a:pt x="258" y="12"/>
                    <a:pt x="257" y="12"/>
                  </a:cubicBezTo>
                  <a:cubicBezTo>
                    <a:pt x="256" y="12"/>
                    <a:pt x="255" y="13"/>
                    <a:pt x="255" y="13"/>
                  </a:cubicBezTo>
                  <a:cubicBezTo>
                    <a:pt x="254" y="17"/>
                    <a:pt x="251" y="15"/>
                    <a:pt x="249" y="15"/>
                  </a:cubicBezTo>
                  <a:cubicBezTo>
                    <a:pt x="248" y="15"/>
                    <a:pt x="247" y="16"/>
                    <a:pt x="246" y="17"/>
                  </a:cubicBezTo>
                  <a:cubicBezTo>
                    <a:pt x="245" y="19"/>
                    <a:pt x="246" y="20"/>
                    <a:pt x="245" y="22"/>
                  </a:cubicBezTo>
                  <a:cubicBezTo>
                    <a:pt x="245" y="23"/>
                    <a:pt x="242" y="25"/>
                    <a:pt x="241" y="25"/>
                  </a:cubicBezTo>
                  <a:cubicBezTo>
                    <a:pt x="241" y="25"/>
                    <a:pt x="238" y="25"/>
                    <a:pt x="238" y="25"/>
                  </a:cubicBezTo>
                  <a:cubicBezTo>
                    <a:pt x="237" y="25"/>
                    <a:pt x="237" y="24"/>
                    <a:pt x="237" y="23"/>
                  </a:cubicBezTo>
                  <a:cubicBezTo>
                    <a:pt x="236" y="23"/>
                    <a:pt x="235" y="23"/>
                    <a:pt x="234" y="22"/>
                  </a:cubicBezTo>
                  <a:cubicBezTo>
                    <a:pt x="234" y="22"/>
                    <a:pt x="232" y="22"/>
                    <a:pt x="232" y="22"/>
                  </a:cubicBezTo>
                  <a:cubicBezTo>
                    <a:pt x="230" y="21"/>
                    <a:pt x="229" y="18"/>
                    <a:pt x="227" y="17"/>
                  </a:cubicBezTo>
                  <a:cubicBezTo>
                    <a:pt x="226" y="17"/>
                    <a:pt x="225" y="18"/>
                    <a:pt x="224" y="17"/>
                  </a:cubicBezTo>
                  <a:cubicBezTo>
                    <a:pt x="222" y="17"/>
                    <a:pt x="222" y="16"/>
                    <a:pt x="221" y="15"/>
                  </a:cubicBezTo>
                  <a:cubicBezTo>
                    <a:pt x="217" y="15"/>
                    <a:pt x="215" y="18"/>
                    <a:pt x="212" y="18"/>
                  </a:cubicBezTo>
                  <a:cubicBezTo>
                    <a:pt x="210" y="18"/>
                    <a:pt x="207" y="18"/>
                    <a:pt x="205" y="18"/>
                  </a:cubicBezTo>
                  <a:cubicBezTo>
                    <a:pt x="205" y="20"/>
                    <a:pt x="206" y="21"/>
                    <a:pt x="205" y="23"/>
                  </a:cubicBezTo>
                  <a:cubicBezTo>
                    <a:pt x="201" y="24"/>
                    <a:pt x="197" y="22"/>
                    <a:pt x="194" y="25"/>
                  </a:cubicBezTo>
                  <a:cubicBezTo>
                    <a:pt x="191" y="26"/>
                    <a:pt x="190" y="27"/>
                    <a:pt x="190" y="30"/>
                  </a:cubicBezTo>
                  <a:cubicBezTo>
                    <a:pt x="190" y="32"/>
                    <a:pt x="190" y="33"/>
                    <a:pt x="190" y="35"/>
                  </a:cubicBezTo>
                  <a:cubicBezTo>
                    <a:pt x="189" y="35"/>
                    <a:pt x="187" y="35"/>
                    <a:pt x="185" y="35"/>
                  </a:cubicBezTo>
                  <a:cubicBezTo>
                    <a:pt x="185" y="34"/>
                    <a:pt x="184" y="33"/>
                    <a:pt x="183" y="33"/>
                  </a:cubicBezTo>
                  <a:cubicBezTo>
                    <a:pt x="182" y="33"/>
                    <a:pt x="182" y="33"/>
                    <a:pt x="181" y="32"/>
                  </a:cubicBezTo>
                  <a:cubicBezTo>
                    <a:pt x="180" y="32"/>
                    <a:pt x="179" y="31"/>
                    <a:pt x="179" y="30"/>
                  </a:cubicBezTo>
                  <a:cubicBezTo>
                    <a:pt x="178" y="30"/>
                    <a:pt x="177" y="30"/>
                    <a:pt x="177" y="29"/>
                  </a:cubicBezTo>
                  <a:cubicBezTo>
                    <a:pt x="175" y="28"/>
                    <a:pt x="175" y="29"/>
                    <a:pt x="175" y="27"/>
                  </a:cubicBezTo>
                  <a:cubicBezTo>
                    <a:pt x="175" y="25"/>
                    <a:pt x="175" y="23"/>
                    <a:pt x="175" y="21"/>
                  </a:cubicBezTo>
                  <a:cubicBezTo>
                    <a:pt x="175" y="19"/>
                    <a:pt x="175" y="19"/>
                    <a:pt x="174" y="18"/>
                  </a:cubicBezTo>
                  <a:cubicBezTo>
                    <a:pt x="174" y="17"/>
                    <a:pt x="173" y="16"/>
                    <a:pt x="172" y="15"/>
                  </a:cubicBezTo>
                  <a:cubicBezTo>
                    <a:pt x="172" y="15"/>
                    <a:pt x="172" y="14"/>
                    <a:pt x="171" y="13"/>
                  </a:cubicBezTo>
                  <a:cubicBezTo>
                    <a:pt x="171" y="12"/>
                    <a:pt x="168" y="10"/>
                    <a:pt x="167" y="10"/>
                  </a:cubicBezTo>
                  <a:cubicBezTo>
                    <a:pt x="167" y="8"/>
                    <a:pt x="165" y="9"/>
                    <a:pt x="164" y="8"/>
                  </a:cubicBezTo>
                  <a:cubicBezTo>
                    <a:pt x="163" y="7"/>
                    <a:pt x="163" y="6"/>
                    <a:pt x="163" y="5"/>
                  </a:cubicBezTo>
                  <a:cubicBezTo>
                    <a:pt x="163" y="2"/>
                    <a:pt x="160" y="0"/>
                    <a:pt x="158" y="2"/>
                  </a:cubicBezTo>
                  <a:cubicBezTo>
                    <a:pt x="157" y="3"/>
                    <a:pt x="157" y="4"/>
                    <a:pt x="155" y="4"/>
                  </a:cubicBezTo>
                  <a:cubicBezTo>
                    <a:pt x="155" y="5"/>
                    <a:pt x="154" y="5"/>
                    <a:pt x="154" y="5"/>
                  </a:cubicBezTo>
                  <a:cubicBezTo>
                    <a:pt x="152" y="5"/>
                    <a:pt x="152" y="6"/>
                    <a:pt x="150" y="6"/>
                  </a:cubicBezTo>
                  <a:cubicBezTo>
                    <a:pt x="147" y="7"/>
                    <a:pt x="146" y="8"/>
                    <a:pt x="145" y="11"/>
                  </a:cubicBezTo>
                  <a:cubicBezTo>
                    <a:pt x="145" y="15"/>
                    <a:pt x="146" y="17"/>
                    <a:pt x="142" y="17"/>
                  </a:cubicBezTo>
                  <a:cubicBezTo>
                    <a:pt x="139" y="18"/>
                    <a:pt x="135" y="18"/>
                    <a:pt x="132" y="17"/>
                  </a:cubicBezTo>
                  <a:cubicBezTo>
                    <a:pt x="128" y="17"/>
                    <a:pt x="129" y="15"/>
                    <a:pt x="128" y="12"/>
                  </a:cubicBezTo>
                  <a:cubicBezTo>
                    <a:pt x="128" y="11"/>
                    <a:pt x="128" y="9"/>
                    <a:pt x="127" y="8"/>
                  </a:cubicBezTo>
                  <a:cubicBezTo>
                    <a:pt x="127" y="7"/>
                    <a:pt x="127" y="7"/>
                    <a:pt x="126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2" y="7"/>
                    <a:pt x="121" y="8"/>
                  </a:cubicBezTo>
                  <a:cubicBezTo>
                    <a:pt x="120" y="8"/>
                    <a:pt x="120" y="8"/>
                    <a:pt x="119" y="9"/>
                  </a:cubicBezTo>
                  <a:cubicBezTo>
                    <a:pt x="118" y="9"/>
                    <a:pt x="119" y="9"/>
                    <a:pt x="117" y="9"/>
                  </a:cubicBezTo>
                  <a:cubicBezTo>
                    <a:pt x="116" y="10"/>
                    <a:pt x="115" y="10"/>
                    <a:pt x="114" y="10"/>
                  </a:cubicBezTo>
                  <a:cubicBezTo>
                    <a:pt x="112" y="9"/>
                    <a:pt x="111" y="8"/>
                    <a:pt x="110" y="8"/>
                  </a:cubicBezTo>
                  <a:cubicBezTo>
                    <a:pt x="108" y="8"/>
                    <a:pt x="109" y="9"/>
                    <a:pt x="108" y="10"/>
                  </a:cubicBezTo>
                  <a:cubicBezTo>
                    <a:pt x="107" y="11"/>
                    <a:pt x="106" y="12"/>
                    <a:pt x="105" y="12"/>
                  </a:cubicBezTo>
                  <a:cubicBezTo>
                    <a:pt x="104" y="13"/>
                    <a:pt x="104" y="13"/>
                    <a:pt x="103" y="14"/>
                  </a:cubicBezTo>
                  <a:cubicBezTo>
                    <a:pt x="103" y="15"/>
                    <a:pt x="102" y="15"/>
                    <a:pt x="101" y="15"/>
                  </a:cubicBezTo>
                  <a:cubicBezTo>
                    <a:pt x="98" y="17"/>
                    <a:pt x="98" y="19"/>
                    <a:pt x="97" y="21"/>
                  </a:cubicBezTo>
                  <a:cubicBezTo>
                    <a:pt x="96" y="21"/>
                    <a:pt x="96" y="21"/>
                    <a:pt x="96" y="22"/>
                  </a:cubicBezTo>
                  <a:cubicBezTo>
                    <a:pt x="96" y="22"/>
                    <a:pt x="95" y="23"/>
                    <a:pt x="95" y="24"/>
                  </a:cubicBezTo>
                  <a:cubicBezTo>
                    <a:pt x="94" y="24"/>
                    <a:pt x="93" y="25"/>
                    <a:pt x="92" y="25"/>
                  </a:cubicBezTo>
                  <a:cubicBezTo>
                    <a:pt x="91" y="25"/>
                    <a:pt x="89" y="25"/>
                    <a:pt x="88" y="25"/>
                  </a:cubicBezTo>
                  <a:cubicBezTo>
                    <a:pt x="87" y="25"/>
                    <a:pt x="87" y="27"/>
                    <a:pt x="87" y="28"/>
                  </a:cubicBezTo>
                  <a:cubicBezTo>
                    <a:pt x="86" y="29"/>
                    <a:pt x="86" y="30"/>
                    <a:pt x="85" y="31"/>
                  </a:cubicBezTo>
                  <a:cubicBezTo>
                    <a:pt x="85" y="31"/>
                    <a:pt x="85" y="33"/>
                    <a:pt x="85" y="34"/>
                  </a:cubicBezTo>
                  <a:cubicBezTo>
                    <a:pt x="84" y="36"/>
                    <a:pt x="82" y="37"/>
                    <a:pt x="82" y="40"/>
                  </a:cubicBezTo>
                  <a:cubicBezTo>
                    <a:pt x="82" y="43"/>
                    <a:pt x="80" y="45"/>
                    <a:pt x="78" y="47"/>
                  </a:cubicBezTo>
                  <a:cubicBezTo>
                    <a:pt x="78" y="48"/>
                    <a:pt x="78" y="49"/>
                    <a:pt x="77" y="50"/>
                  </a:cubicBezTo>
                  <a:cubicBezTo>
                    <a:pt x="77" y="50"/>
                    <a:pt x="76" y="49"/>
                    <a:pt x="75" y="50"/>
                  </a:cubicBezTo>
                  <a:cubicBezTo>
                    <a:pt x="74" y="50"/>
                    <a:pt x="74" y="50"/>
                    <a:pt x="73" y="50"/>
                  </a:cubicBezTo>
                  <a:cubicBezTo>
                    <a:pt x="71" y="51"/>
                    <a:pt x="71" y="51"/>
                    <a:pt x="70" y="52"/>
                  </a:cubicBezTo>
                  <a:cubicBezTo>
                    <a:pt x="70" y="53"/>
                    <a:pt x="70" y="53"/>
                    <a:pt x="69" y="54"/>
                  </a:cubicBezTo>
                  <a:cubicBezTo>
                    <a:pt x="68" y="55"/>
                    <a:pt x="67" y="56"/>
                    <a:pt x="66" y="56"/>
                  </a:cubicBezTo>
                  <a:cubicBezTo>
                    <a:pt x="65" y="57"/>
                    <a:pt x="63" y="58"/>
                    <a:pt x="62" y="59"/>
                  </a:cubicBezTo>
                  <a:cubicBezTo>
                    <a:pt x="61" y="60"/>
                    <a:pt x="59" y="61"/>
                    <a:pt x="57" y="62"/>
                  </a:cubicBezTo>
                  <a:cubicBezTo>
                    <a:pt x="56" y="62"/>
                    <a:pt x="56" y="62"/>
                    <a:pt x="55" y="63"/>
                  </a:cubicBezTo>
                  <a:cubicBezTo>
                    <a:pt x="55" y="63"/>
                    <a:pt x="54" y="63"/>
                    <a:pt x="54" y="63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3" y="65"/>
                    <a:pt x="52" y="64"/>
                    <a:pt x="51" y="64"/>
                  </a:cubicBezTo>
                  <a:cubicBezTo>
                    <a:pt x="47" y="65"/>
                    <a:pt x="43" y="66"/>
                    <a:pt x="39" y="64"/>
                  </a:cubicBezTo>
                  <a:cubicBezTo>
                    <a:pt x="38" y="64"/>
                    <a:pt x="37" y="63"/>
                    <a:pt x="36" y="63"/>
                  </a:cubicBezTo>
                  <a:cubicBezTo>
                    <a:pt x="35" y="62"/>
                    <a:pt x="34" y="62"/>
                    <a:pt x="33" y="62"/>
                  </a:cubicBezTo>
                  <a:cubicBezTo>
                    <a:pt x="33" y="61"/>
                    <a:pt x="33" y="60"/>
                    <a:pt x="31" y="60"/>
                  </a:cubicBezTo>
                  <a:cubicBezTo>
                    <a:pt x="30" y="61"/>
                    <a:pt x="30" y="63"/>
                    <a:pt x="29" y="63"/>
                  </a:cubicBezTo>
                  <a:cubicBezTo>
                    <a:pt x="28" y="64"/>
                    <a:pt x="27" y="65"/>
                    <a:pt x="26" y="66"/>
                  </a:cubicBezTo>
                  <a:cubicBezTo>
                    <a:pt x="25" y="66"/>
                    <a:pt x="25" y="67"/>
                    <a:pt x="24" y="68"/>
                  </a:cubicBezTo>
                  <a:cubicBezTo>
                    <a:pt x="24" y="68"/>
                    <a:pt x="23" y="68"/>
                    <a:pt x="23" y="69"/>
                  </a:cubicBezTo>
                  <a:cubicBezTo>
                    <a:pt x="22" y="70"/>
                    <a:pt x="22" y="71"/>
                    <a:pt x="21" y="72"/>
                  </a:cubicBezTo>
                  <a:cubicBezTo>
                    <a:pt x="19" y="73"/>
                    <a:pt x="18" y="74"/>
                    <a:pt x="15" y="74"/>
                  </a:cubicBezTo>
                  <a:cubicBezTo>
                    <a:pt x="14" y="75"/>
                    <a:pt x="13" y="74"/>
                    <a:pt x="12" y="74"/>
                  </a:cubicBezTo>
                  <a:cubicBezTo>
                    <a:pt x="10" y="74"/>
                    <a:pt x="9" y="75"/>
                    <a:pt x="8" y="75"/>
                  </a:cubicBezTo>
                  <a:cubicBezTo>
                    <a:pt x="8" y="75"/>
                    <a:pt x="8" y="75"/>
                    <a:pt x="8" y="76"/>
                  </a:cubicBezTo>
                  <a:cubicBezTo>
                    <a:pt x="8" y="77"/>
                    <a:pt x="8" y="79"/>
                    <a:pt x="8" y="80"/>
                  </a:cubicBezTo>
                  <a:cubicBezTo>
                    <a:pt x="8" y="82"/>
                    <a:pt x="7" y="84"/>
                    <a:pt x="6" y="85"/>
                  </a:cubicBezTo>
                  <a:cubicBezTo>
                    <a:pt x="6" y="86"/>
                    <a:pt x="5" y="87"/>
                    <a:pt x="4" y="88"/>
                  </a:cubicBezTo>
                  <a:cubicBezTo>
                    <a:pt x="3" y="89"/>
                    <a:pt x="2" y="91"/>
                    <a:pt x="1" y="93"/>
                  </a:cubicBezTo>
                  <a:cubicBezTo>
                    <a:pt x="1" y="94"/>
                    <a:pt x="0" y="95"/>
                    <a:pt x="1" y="96"/>
                  </a:cubicBezTo>
                  <a:cubicBezTo>
                    <a:pt x="1" y="97"/>
                    <a:pt x="2" y="99"/>
                    <a:pt x="2" y="100"/>
                  </a:cubicBezTo>
                  <a:cubicBezTo>
                    <a:pt x="3" y="100"/>
                    <a:pt x="4" y="101"/>
                    <a:pt x="4" y="101"/>
                  </a:cubicBezTo>
                  <a:cubicBezTo>
                    <a:pt x="5" y="102"/>
                    <a:pt x="5" y="103"/>
                    <a:pt x="5" y="104"/>
                  </a:cubicBezTo>
                  <a:cubicBezTo>
                    <a:pt x="6" y="107"/>
                    <a:pt x="5" y="110"/>
                    <a:pt x="6" y="113"/>
                  </a:cubicBezTo>
                  <a:cubicBezTo>
                    <a:pt x="6" y="114"/>
                    <a:pt x="7" y="116"/>
                    <a:pt x="8" y="117"/>
                  </a:cubicBezTo>
                  <a:cubicBezTo>
                    <a:pt x="8" y="118"/>
                    <a:pt x="9" y="118"/>
                    <a:pt x="9" y="118"/>
                  </a:cubicBezTo>
                  <a:cubicBezTo>
                    <a:pt x="10" y="119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3"/>
                    <a:pt x="11" y="124"/>
                    <a:pt x="12" y="126"/>
                  </a:cubicBezTo>
                  <a:cubicBezTo>
                    <a:pt x="13" y="127"/>
                    <a:pt x="13" y="129"/>
                    <a:pt x="13" y="130"/>
                  </a:cubicBezTo>
                  <a:cubicBezTo>
                    <a:pt x="13" y="130"/>
                    <a:pt x="12" y="131"/>
                    <a:pt x="12" y="131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1" y="133"/>
                    <a:pt x="10" y="134"/>
                    <a:pt x="9" y="13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3" name="Freeform 24">
              <a:extLst>
                <a:ext uri="{FF2B5EF4-FFF2-40B4-BE49-F238E27FC236}">
                  <a16:creationId xmlns:a16="http://schemas.microsoft.com/office/drawing/2014/main" id="{967F5EFA-1391-448C-9EC9-245221CFCD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0000" y="4768850"/>
              <a:ext cx="660400" cy="425450"/>
            </a:xfrm>
            <a:custGeom>
              <a:avLst/>
              <a:gdLst/>
              <a:ahLst/>
              <a:cxnLst>
                <a:cxn ang="0">
                  <a:pos x="3" y="150"/>
                </a:cxn>
                <a:cxn ang="0">
                  <a:pos x="12" y="165"/>
                </a:cxn>
                <a:cxn ang="0">
                  <a:pos x="27" y="181"/>
                </a:cxn>
                <a:cxn ang="0">
                  <a:pos x="42" y="192"/>
                </a:cxn>
                <a:cxn ang="0">
                  <a:pos x="44" y="198"/>
                </a:cxn>
                <a:cxn ang="0">
                  <a:pos x="58" y="213"/>
                </a:cxn>
                <a:cxn ang="0">
                  <a:pos x="71" y="221"/>
                </a:cxn>
                <a:cxn ang="0">
                  <a:pos x="88" y="225"/>
                </a:cxn>
                <a:cxn ang="0">
                  <a:pos x="104" y="226"/>
                </a:cxn>
                <a:cxn ang="0">
                  <a:pos x="123" y="219"/>
                </a:cxn>
                <a:cxn ang="0">
                  <a:pos x="132" y="214"/>
                </a:cxn>
                <a:cxn ang="0">
                  <a:pos x="150" y="211"/>
                </a:cxn>
                <a:cxn ang="0">
                  <a:pos x="165" y="200"/>
                </a:cxn>
                <a:cxn ang="0">
                  <a:pos x="172" y="196"/>
                </a:cxn>
                <a:cxn ang="0">
                  <a:pos x="197" y="196"/>
                </a:cxn>
                <a:cxn ang="0">
                  <a:pos x="234" y="193"/>
                </a:cxn>
                <a:cxn ang="0">
                  <a:pos x="251" y="191"/>
                </a:cxn>
                <a:cxn ang="0">
                  <a:pos x="255" y="185"/>
                </a:cxn>
                <a:cxn ang="0">
                  <a:pos x="259" y="180"/>
                </a:cxn>
                <a:cxn ang="0">
                  <a:pos x="262" y="174"/>
                </a:cxn>
                <a:cxn ang="0">
                  <a:pos x="267" y="162"/>
                </a:cxn>
                <a:cxn ang="0">
                  <a:pos x="275" y="154"/>
                </a:cxn>
                <a:cxn ang="0">
                  <a:pos x="281" y="148"/>
                </a:cxn>
                <a:cxn ang="0">
                  <a:pos x="285" y="133"/>
                </a:cxn>
                <a:cxn ang="0">
                  <a:pos x="292" y="121"/>
                </a:cxn>
                <a:cxn ang="0">
                  <a:pos x="302" y="101"/>
                </a:cxn>
                <a:cxn ang="0">
                  <a:pos x="307" y="91"/>
                </a:cxn>
                <a:cxn ang="0">
                  <a:pos x="311" y="85"/>
                </a:cxn>
                <a:cxn ang="0">
                  <a:pos x="315" y="78"/>
                </a:cxn>
                <a:cxn ang="0">
                  <a:pos x="327" y="70"/>
                </a:cxn>
                <a:cxn ang="0">
                  <a:pos x="341" y="64"/>
                </a:cxn>
                <a:cxn ang="0">
                  <a:pos x="353" y="52"/>
                </a:cxn>
                <a:cxn ang="0">
                  <a:pos x="348" y="38"/>
                </a:cxn>
                <a:cxn ang="0">
                  <a:pos x="337" y="30"/>
                </a:cxn>
                <a:cxn ang="0">
                  <a:pos x="312" y="12"/>
                </a:cxn>
                <a:cxn ang="0">
                  <a:pos x="296" y="21"/>
                </a:cxn>
                <a:cxn ang="0">
                  <a:pos x="282" y="4"/>
                </a:cxn>
                <a:cxn ang="0">
                  <a:pos x="270" y="2"/>
                </a:cxn>
                <a:cxn ang="0">
                  <a:pos x="253" y="5"/>
                </a:cxn>
                <a:cxn ang="0">
                  <a:pos x="234" y="2"/>
                </a:cxn>
                <a:cxn ang="0">
                  <a:pos x="221" y="18"/>
                </a:cxn>
                <a:cxn ang="0">
                  <a:pos x="207" y="28"/>
                </a:cxn>
                <a:cxn ang="0">
                  <a:pos x="195" y="36"/>
                </a:cxn>
                <a:cxn ang="0">
                  <a:pos x="183" y="29"/>
                </a:cxn>
                <a:cxn ang="0">
                  <a:pos x="169" y="38"/>
                </a:cxn>
                <a:cxn ang="0">
                  <a:pos x="143" y="42"/>
                </a:cxn>
                <a:cxn ang="0">
                  <a:pos x="131" y="53"/>
                </a:cxn>
                <a:cxn ang="0">
                  <a:pos x="122" y="63"/>
                </a:cxn>
                <a:cxn ang="0">
                  <a:pos x="115" y="66"/>
                </a:cxn>
                <a:cxn ang="0">
                  <a:pos x="72" y="61"/>
                </a:cxn>
                <a:cxn ang="0">
                  <a:pos x="54" y="50"/>
                </a:cxn>
                <a:cxn ang="0">
                  <a:pos x="52" y="61"/>
                </a:cxn>
                <a:cxn ang="0">
                  <a:pos x="36" y="69"/>
                </a:cxn>
                <a:cxn ang="0">
                  <a:pos x="21" y="68"/>
                </a:cxn>
                <a:cxn ang="0">
                  <a:pos x="26" y="74"/>
                </a:cxn>
                <a:cxn ang="0">
                  <a:pos x="28" y="82"/>
                </a:cxn>
                <a:cxn ang="0">
                  <a:pos x="19" y="90"/>
                </a:cxn>
                <a:cxn ang="0">
                  <a:pos x="17" y="103"/>
                </a:cxn>
                <a:cxn ang="0">
                  <a:pos x="17" y="113"/>
                </a:cxn>
                <a:cxn ang="0">
                  <a:pos x="17" y="122"/>
                </a:cxn>
                <a:cxn ang="0">
                  <a:pos x="2" y="131"/>
                </a:cxn>
                <a:cxn ang="0">
                  <a:pos x="53" y="47"/>
                </a:cxn>
              </a:cxnLst>
              <a:rect l="0" t="0" r="r" b="b"/>
              <a:pathLst>
                <a:path w="353" h="228">
                  <a:moveTo>
                    <a:pt x="2" y="136"/>
                  </a:moveTo>
                  <a:cubicBezTo>
                    <a:pt x="4" y="138"/>
                    <a:pt x="5" y="139"/>
                    <a:pt x="5" y="141"/>
                  </a:cubicBezTo>
                  <a:cubicBezTo>
                    <a:pt x="5" y="143"/>
                    <a:pt x="4" y="144"/>
                    <a:pt x="4" y="146"/>
                  </a:cubicBezTo>
                  <a:cubicBezTo>
                    <a:pt x="3" y="147"/>
                    <a:pt x="3" y="148"/>
                    <a:pt x="3" y="150"/>
                  </a:cubicBezTo>
                  <a:cubicBezTo>
                    <a:pt x="3" y="152"/>
                    <a:pt x="3" y="152"/>
                    <a:pt x="5" y="153"/>
                  </a:cubicBezTo>
                  <a:cubicBezTo>
                    <a:pt x="6" y="154"/>
                    <a:pt x="7" y="154"/>
                    <a:pt x="8" y="155"/>
                  </a:cubicBezTo>
                  <a:cubicBezTo>
                    <a:pt x="9" y="159"/>
                    <a:pt x="6" y="162"/>
                    <a:pt x="10" y="165"/>
                  </a:cubicBezTo>
                  <a:cubicBezTo>
                    <a:pt x="10" y="165"/>
                    <a:pt x="11" y="165"/>
                    <a:pt x="12" y="165"/>
                  </a:cubicBezTo>
                  <a:cubicBezTo>
                    <a:pt x="12" y="165"/>
                    <a:pt x="13" y="167"/>
                    <a:pt x="13" y="167"/>
                  </a:cubicBezTo>
                  <a:cubicBezTo>
                    <a:pt x="14" y="168"/>
                    <a:pt x="15" y="169"/>
                    <a:pt x="17" y="170"/>
                  </a:cubicBezTo>
                  <a:cubicBezTo>
                    <a:pt x="20" y="172"/>
                    <a:pt x="23" y="174"/>
                    <a:pt x="25" y="177"/>
                  </a:cubicBezTo>
                  <a:cubicBezTo>
                    <a:pt x="26" y="178"/>
                    <a:pt x="26" y="180"/>
                    <a:pt x="27" y="181"/>
                  </a:cubicBezTo>
                  <a:cubicBezTo>
                    <a:pt x="28" y="182"/>
                    <a:pt x="30" y="183"/>
                    <a:pt x="32" y="183"/>
                  </a:cubicBezTo>
                  <a:cubicBezTo>
                    <a:pt x="31" y="186"/>
                    <a:pt x="31" y="187"/>
                    <a:pt x="34" y="189"/>
                  </a:cubicBezTo>
                  <a:cubicBezTo>
                    <a:pt x="35" y="190"/>
                    <a:pt x="37" y="190"/>
                    <a:pt x="38" y="191"/>
                  </a:cubicBezTo>
                  <a:cubicBezTo>
                    <a:pt x="39" y="191"/>
                    <a:pt x="40" y="193"/>
                    <a:pt x="42" y="192"/>
                  </a:cubicBezTo>
                  <a:cubicBezTo>
                    <a:pt x="41" y="192"/>
                    <a:pt x="41" y="193"/>
                    <a:pt x="41" y="193"/>
                  </a:cubicBezTo>
                  <a:cubicBezTo>
                    <a:pt x="42" y="194"/>
                    <a:pt x="43" y="195"/>
                    <a:pt x="43" y="196"/>
                  </a:cubicBezTo>
                  <a:cubicBezTo>
                    <a:pt x="44" y="196"/>
                    <a:pt x="44" y="196"/>
                    <a:pt x="43" y="197"/>
                  </a:cubicBezTo>
                  <a:cubicBezTo>
                    <a:pt x="44" y="197"/>
                    <a:pt x="44" y="197"/>
                    <a:pt x="44" y="198"/>
                  </a:cubicBezTo>
                  <a:cubicBezTo>
                    <a:pt x="45" y="198"/>
                    <a:pt x="45" y="199"/>
                    <a:pt x="46" y="199"/>
                  </a:cubicBezTo>
                  <a:cubicBezTo>
                    <a:pt x="47" y="201"/>
                    <a:pt x="48" y="201"/>
                    <a:pt x="49" y="203"/>
                  </a:cubicBezTo>
                  <a:cubicBezTo>
                    <a:pt x="50" y="205"/>
                    <a:pt x="50" y="208"/>
                    <a:pt x="51" y="210"/>
                  </a:cubicBezTo>
                  <a:cubicBezTo>
                    <a:pt x="53" y="212"/>
                    <a:pt x="56" y="212"/>
                    <a:pt x="58" y="213"/>
                  </a:cubicBezTo>
                  <a:cubicBezTo>
                    <a:pt x="60" y="214"/>
                    <a:pt x="60" y="215"/>
                    <a:pt x="63" y="215"/>
                  </a:cubicBezTo>
                  <a:cubicBezTo>
                    <a:pt x="64" y="215"/>
                    <a:pt x="64" y="215"/>
                    <a:pt x="65" y="215"/>
                  </a:cubicBezTo>
                  <a:cubicBezTo>
                    <a:pt x="66" y="216"/>
                    <a:pt x="66" y="216"/>
                    <a:pt x="66" y="217"/>
                  </a:cubicBezTo>
                  <a:cubicBezTo>
                    <a:pt x="68" y="218"/>
                    <a:pt x="70" y="219"/>
                    <a:pt x="71" y="221"/>
                  </a:cubicBezTo>
                  <a:cubicBezTo>
                    <a:pt x="72" y="222"/>
                    <a:pt x="72" y="222"/>
                    <a:pt x="73" y="223"/>
                  </a:cubicBezTo>
                  <a:cubicBezTo>
                    <a:pt x="75" y="223"/>
                    <a:pt x="77" y="223"/>
                    <a:pt x="78" y="223"/>
                  </a:cubicBezTo>
                  <a:cubicBezTo>
                    <a:pt x="80" y="223"/>
                    <a:pt x="82" y="224"/>
                    <a:pt x="84" y="224"/>
                  </a:cubicBezTo>
                  <a:cubicBezTo>
                    <a:pt x="85" y="225"/>
                    <a:pt x="87" y="224"/>
                    <a:pt x="88" y="225"/>
                  </a:cubicBezTo>
                  <a:cubicBezTo>
                    <a:pt x="89" y="225"/>
                    <a:pt x="89" y="225"/>
                    <a:pt x="90" y="226"/>
                  </a:cubicBezTo>
                  <a:cubicBezTo>
                    <a:pt x="91" y="226"/>
                    <a:pt x="92" y="226"/>
                    <a:pt x="92" y="226"/>
                  </a:cubicBezTo>
                  <a:cubicBezTo>
                    <a:pt x="94" y="226"/>
                    <a:pt x="95" y="226"/>
                    <a:pt x="97" y="226"/>
                  </a:cubicBezTo>
                  <a:cubicBezTo>
                    <a:pt x="99" y="226"/>
                    <a:pt x="101" y="226"/>
                    <a:pt x="104" y="226"/>
                  </a:cubicBezTo>
                  <a:cubicBezTo>
                    <a:pt x="107" y="225"/>
                    <a:pt x="113" y="228"/>
                    <a:pt x="116" y="226"/>
                  </a:cubicBezTo>
                  <a:cubicBezTo>
                    <a:pt x="116" y="225"/>
                    <a:pt x="116" y="223"/>
                    <a:pt x="117" y="222"/>
                  </a:cubicBezTo>
                  <a:cubicBezTo>
                    <a:pt x="117" y="221"/>
                    <a:pt x="118" y="221"/>
                    <a:pt x="119" y="220"/>
                  </a:cubicBezTo>
                  <a:cubicBezTo>
                    <a:pt x="120" y="220"/>
                    <a:pt x="122" y="219"/>
                    <a:pt x="123" y="219"/>
                  </a:cubicBezTo>
                  <a:cubicBezTo>
                    <a:pt x="123" y="219"/>
                    <a:pt x="125" y="218"/>
                    <a:pt x="125" y="218"/>
                  </a:cubicBezTo>
                  <a:cubicBezTo>
                    <a:pt x="126" y="217"/>
                    <a:pt x="127" y="213"/>
                    <a:pt x="129" y="214"/>
                  </a:cubicBezTo>
                  <a:cubicBezTo>
                    <a:pt x="129" y="215"/>
                    <a:pt x="130" y="215"/>
                    <a:pt x="130" y="215"/>
                  </a:cubicBezTo>
                  <a:cubicBezTo>
                    <a:pt x="131" y="215"/>
                    <a:pt x="131" y="214"/>
                    <a:pt x="132" y="214"/>
                  </a:cubicBezTo>
                  <a:cubicBezTo>
                    <a:pt x="133" y="213"/>
                    <a:pt x="136" y="214"/>
                    <a:pt x="138" y="213"/>
                  </a:cubicBezTo>
                  <a:cubicBezTo>
                    <a:pt x="139" y="210"/>
                    <a:pt x="141" y="206"/>
                    <a:pt x="144" y="204"/>
                  </a:cubicBezTo>
                  <a:cubicBezTo>
                    <a:pt x="144" y="205"/>
                    <a:pt x="145" y="206"/>
                    <a:pt x="146" y="206"/>
                  </a:cubicBezTo>
                  <a:cubicBezTo>
                    <a:pt x="147" y="208"/>
                    <a:pt x="148" y="210"/>
                    <a:pt x="150" y="211"/>
                  </a:cubicBezTo>
                  <a:cubicBezTo>
                    <a:pt x="152" y="212"/>
                    <a:pt x="154" y="211"/>
                    <a:pt x="155" y="209"/>
                  </a:cubicBezTo>
                  <a:cubicBezTo>
                    <a:pt x="155" y="208"/>
                    <a:pt x="155" y="208"/>
                    <a:pt x="155" y="206"/>
                  </a:cubicBezTo>
                  <a:cubicBezTo>
                    <a:pt x="156" y="205"/>
                    <a:pt x="157" y="204"/>
                    <a:pt x="158" y="203"/>
                  </a:cubicBezTo>
                  <a:cubicBezTo>
                    <a:pt x="160" y="202"/>
                    <a:pt x="163" y="202"/>
                    <a:pt x="165" y="200"/>
                  </a:cubicBezTo>
                  <a:cubicBezTo>
                    <a:pt x="165" y="200"/>
                    <a:pt x="165" y="199"/>
                    <a:pt x="165" y="199"/>
                  </a:cubicBezTo>
                  <a:cubicBezTo>
                    <a:pt x="166" y="199"/>
                    <a:pt x="166" y="199"/>
                    <a:pt x="166" y="198"/>
                  </a:cubicBezTo>
                  <a:cubicBezTo>
                    <a:pt x="167" y="198"/>
                    <a:pt x="167" y="197"/>
                    <a:pt x="168" y="197"/>
                  </a:cubicBezTo>
                  <a:cubicBezTo>
                    <a:pt x="169" y="196"/>
                    <a:pt x="170" y="196"/>
                    <a:pt x="172" y="196"/>
                  </a:cubicBezTo>
                  <a:cubicBezTo>
                    <a:pt x="173" y="196"/>
                    <a:pt x="175" y="195"/>
                    <a:pt x="176" y="195"/>
                  </a:cubicBezTo>
                  <a:cubicBezTo>
                    <a:pt x="177" y="196"/>
                    <a:pt x="177" y="197"/>
                    <a:pt x="178" y="197"/>
                  </a:cubicBezTo>
                  <a:cubicBezTo>
                    <a:pt x="182" y="198"/>
                    <a:pt x="185" y="198"/>
                    <a:pt x="188" y="198"/>
                  </a:cubicBezTo>
                  <a:cubicBezTo>
                    <a:pt x="191" y="197"/>
                    <a:pt x="193" y="196"/>
                    <a:pt x="197" y="196"/>
                  </a:cubicBezTo>
                  <a:cubicBezTo>
                    <a:pt x="200" y="196"/>
                    <a:pt x="203" y="198"/>
                    <a:pt x="206" y="198"/>
                  </a:cubicBezTo>
                  <a:cubicBezTo>
                    <a:pt x="208" y="198"/>
                    <a:pt x="209" y="198"/>
                    <a:pt x="210" y="198"/>
                  </a:cubicBezTo>
                  <a:cubicBezTo>
                    <a:pt x="212" y="198"/>
                    <a:pt x="212" y="197"/>
                    <a:pt x="213" y="197"/>
                  </a:cubicBezTo>
                  <a:cubicBezTo>
                    <a:pt x="220" y="196"/>
                    <a:pt x="230" y="202"/>
                    <a:pt x="234" y="193"/>
                  </a:cubicBezTo>
                  <a:cubicBezTo>
                    <a:pt x="235" y="192"/>
                    <a:pt x="236" y="189"/>
                    <a:pt x="239" y="189"/>
                  </a:cubicBezTo>
                  <a:cubicBezTo>
                    <a:pt x="240" y="189"/>
                    <a:pt x="241" y="189"/>
                    <a:pt x="242" y="190"/>
                  </a:cubicBezTo>
                  <a:cubicBezTo>
                    <a:pt x="244" y="191"/>
                    <a:pt x="245" y="191"/>
                    <a:pt x="246" y="191"/>
                  </a:cubicBezTo>
                  <a:cubicBezTo>
                    <a:pt x="248" y="191"/>
                    <a:pt x="250" y="191"/>
                    <a:pt x="251" y="191"/>
                  </a:cubicBezTo>
                  <a:cubicBezTo>
                    <a:pt x="253" y="190"/>
                    <a:pt x="253" y="189"/>
                    <a:pt x="254" y="188"/>
                  </a:cubicBezTo>
                  <a:cubicBezTo>
                    <a:pt x="253" y="188"/>
                    <a:pt x="254" y="187"/>
                    <a:pt x="254" y="187"/>
                  </a:cubicBezTo>
                  <a:cubicBezTo>
                    <a:pt x="254" y="187"/>
                    <a:pt x="254" y="186"/>
                    <a:pt x="255" y="186"/>
                  </a:cubicBezTo>
                  <a:cubicBezTo>
                    <a:pt x="254" y="186"/>
                    <a:pt x="255" y="186"/>
                    <a:pt x="255" y="185"/>
                  </a:cubicBezTo>
                  <a:cubicBezTo>
                    <a:pt x="255" y="185"/>
                    <a:pt x="255" y="186"/>
                    <a:pt x="255" y="186"/>
                  </a:cubicBezTo>
                  <a:cubicBezTo>
                    <a:pt x="255" y="186"/>
                    <a:pt x="256" y="183"/>
                    <a:pt x="256" y="184"/>
                  </a:cubicBezTo>
                  <a:cubicBezTo>
                    <a:pt x="256" y="184"/>
                    <a:pt x="257" y="184"/>
                    <a:pt x="257" y="183"/>
                  </a:cubicBezTo>
                  <a:cubicBezTo>
                    <a:pt x="258" y="182"/>
                    <a:pt x="258" y="181"/>
                    <a:pt x="259" y="180"/>
                  </a:cubicBezTo>
                  <a:cubicBezTo>
                    <a:pt x="259" y="180"/>
                    <a:pt x="260" y="179"/>
                    <a:pt x="260" y="179"/>
                  </a:cubicBezTo>
                  <a:cubicBezTo>
                    <a:pt x="261" y="178"/>
                    <a:pt x="261" y="177"/>
                    <a:pt x="261" y="177"/>
                  </a:cubicBezTo>
                  <a:cubicBezTo>
                    <a:pt x="261" y="176"/>
                    <a:pt x="262" y="176"/>
                    <a:pt x="262" y="176"/>
                  </a:cubicBezTo>
                  <a:cubicBezTo>
                    <a:pt x="263" y="175"/>
                    <a:pt x="262" y="174"/>
                    <a:pt x="262" y="174"/>
                  </a:cubicBezTo>
                  <a:cubicBezTo>
                    <a:pt x="262" y="173"/>
                    <a:pt x="263" y="171"/>
                    <a:pt x="263" y="170"/>
                  </a:cubicBezTo>
                  <a:cubicBezTo>
                    <a:pt x="264" y="168"/>
                    <a:pt x="265" y="167"/>
                    <a:pt x="266" y="166"/>
                  </a:cubicBezTo>
                  <a:cubicBezTo>
                    <a:pt x="266" y="165"/>
                    <a:pt x="267" y="165"/>
                    <a:pt x="267" y="164"/>
                  </a:cubicBezTo>
                  <a:cubicBezTo>
                    <a:pt x="267" y="164"/>
                    <a:pt x="267" y="163"/>
                    <a:pt x="267" y="162"/>
                  </a:cubicBezTo>
                  <a:cubicBezTo>
                    <a:pt x="268" y="161"/>
                    <a:pt x="269" y="161"/>
                    <a:pt x="270" y="160"/>
                  </a:cubicBezTo>
                  <a:cubicBezTo>
                    <a:pt x="271" y="159"/>
                    <a:pt x="270" y="158"/>
                    <a:pt x="272" y="158"/>
                  </a:cubicBezTo>
                  <a:cubicBezTo>
                    <a:pt x="272" y="157"/>
                    <a:pt x="272" y="157"/>
                    <a:pt x="272" y="157"/>
                  </a:cubicBezTo>
                  <a:cubicBezTo>
                    <a:pt x="274" y="157"/>
                    <a:pt x="274" y="154"/>
                    <a:pt x="275" y="154"/>
                  </a:cubicBezTo>
                  <a:cubicBezTo>
                    <a:pt x="275" y="153"/>
                    <a:pt x="275" y="153"/>
                    <a:pt x="276" y="153"/>
                  </a:cubicBezTo>
                  <a:cubicBezTo>
                    <a:pt x="276" y="153"/>
                    <a:pt x="276" y="153"/>
                    <a:pt x="277" y="153"/>
                  </a:cubicBezTo>
                  <a:cubicBezTo>
                    <a:pt x="278" y="152"/>
                    <a:pt x="278" y="152"/>
                    <a:pt x="278" y="151"/>
                  </a:cubicBezTo>
                  <a:cubicBezTo>
                    <a:pt x="279" y="151"/>
                    <a:pt x="280" y="150"/>
                    <a:pt x="281" y="148"/>
                  </a:cubicBezTo>
                  <a:cubicBezTo>
                    <a:pt x="282" y="147"/>
                    <a:pt x="282" y="145"/>
                    <a:pt x="282" y="143"/>
                  </a:cubicBezTo>
                  <a:cubicBezTo>
                    <a:pt x="282" y="142"/>
                    <a:pt x="283" y="140"/>
                    <a:pt x="283" y="138"/>
                  </a:cubicBezTo>
                  <a:cubicBezTo>
                    <a:pt x="283" y="137"/>
                    <a:pt x="283" y="135"/>
                    <a:pt x="283" y="134"/>
                  </a:cubicBezTo>
                  <a:cubicBezTo>
                    <a:pt x="284" y="134"/>
                    <a:pt x="284" y="134"/>
                    <a:pt x="285" y="133"/>
                  </a:cubicBezTo>
                  <a:cubicBezTo>
                    <a:pt x="285" y="132"/>
                    <a:pt x="285" y="131"/>
                    <a:pt x="286" y="130"/>
                  </a:cubicBezTo>
                  <a:cubicBezTo>
                    <a:pt x="287" y="129"/>
                    <a:pt x="287" y="128"/>
                    <a:pt x="288" y="127"/>
                  </a:cubicBezTo>
                  <a:cubicBezTo>
                    <a:pt x="288" y="126"/>
                    <a:pt x="288" y="124"/>
                    <a:pt x="289" y="123"/>
                  </a:cubicBezTo>
                  <a:cubicBezTo>
                    <a:pt x="289" y="122"/>
                    <a:pt x="291" y="121"/>
                    <a:pt x="292" y="121"/>
                  </a:cubicBezTo>
                  <a:cubicBezTo>
                    <a:pt x="294" y="119"/>
                    <a:pt x="296" y="116"/>
                    <a:pt x="296" y="114"/>
                  </a:cubicBezTo>
                  <a:cubicBezTo>
                    <a:pt x="297" y="112"/>
                    <a:pt x="296" y="111"/>
                    <a:pt x="297" y="109"/>
                  </a:cubicBezTo>
                  <a:cubicBezTo>
                    <a:pt x="297" y="108"/>
                    <a:pt x="297" y="107"/>
                    <a:pt x="298" y="106"/>
                  </a:cubicBezTo>
                  <a:cubicBezTo>
                    <a:pt x="299" y="104"/>
                    <a:pt x="300" y="102"/>
                    <a:pt x="302" y="101"/>
                  </a:cubicBezTo>
                  <a:cubicBezTo>
                    <a:pt x="303" y="101"/>
                    <a:pt x="305" y="101"/>
                    <a:pt x="306" y="100"/>
                  </a:cubicBezTo>
                  <a:cubicBezTo>
                    <a:pt x="306" y="99"/>
                    <a:pt x="306" y="98"/>
                    <a:pt x="306" y="96"/>
                  </a:cubicBezTo>
                  <a:cubicBezTo>
                    <a:pt x="307" y="95"/>
                    <a:pt x="307" y="94"/>
                    <a:pt x="307" y="92"/>
                  </a:cubicBezTo>
                  <a:cubicBezTo>
                    <a:pt x="307" y="92"/>
                    <a:pt x="307" y="91"/>
                    <a:pt x="307" y="91"/>
                  </a:cubicBezTo>
                  <a:cubicBezTo>
                    <a:pt x="308" y="90"/>
                    <a:pt x="308" y="89"/>
                    <a:pt x="309" y="88"/>
                  </a:cubicBezTo>
                  <a:cubicBezTo>
                    <a:pt x="309" y="88"/>
                    <a:pt x="310" y="87"/>
                    <a:pt x="310" y="87"/>
                  </a:cubicBezTo>
                  <a:cubicBezTo>
                    <a:pt x="310" y="86"/>
                    <a:pt x="310" y="86"/>
                    <a:pt x="310" y="86"/>
                  </a:cubicBezTo>
                  <a:cubicBezTo>
                    <a:pt x="310" y="86"/>
                    <a:pt x="311" y="85"/>
                    <a:pt x="311" y="85"/>
                  </a:cubicBezTo>
                  <a:cubicBezTo>
                    <a:pt x="311" y="85"/>
                    <a:pt x="312" y="84"/>
                    <a:pt x="312" y="84"/>
                  </a:cubicBezTo>
                  <a:cubicBezTo>
                    <a:pt x="313" y="83"/>
                    <a:pt x="312" y="82"/>
                    <a:pt x="312" y="81"/>
                  </a:cubicBezTo>
                  <a:cubicBezTo>
                    <a:pt x="313" y="80"/>
                    <a:pt x="313" y="80"/>
                    <a:pt x="314" y="80"/>
                  </a:cubicBezTo>
                  <a:cubicBezTo>
                    <a:pt x="314" y="79"/>
                    <a:pt x="314" y="78"/>
                    <a:pt x="315" y="78"/>
                  </a:cubicBezTo>
                  <a:cubicBezTo>
                    <a:pt x="316" y="77"/>
                    <a:pt x="316" y="76"/>
                    <a:pt x="317" y="75"/>
                  </a:cubicBezTo>
                  <a:cubicBezTo>
                    <a:pt x="318" y="73"/>
                    <a:pt x="318" y="73"/>
                    <a:pt x="320" y="73"/>
                  </a:cubicBezTo>
                  <a:cubicBezTo>
                    <a:pt x="321" y="73"/>
                    <a:pt x="323" y="73"/>
                    <a:pt x="324" y="73"/>
                  </a:cubicBezTo>
                  <a:cubicBezTo>
                    <a:pt x="326" y="72"/>
                    <a:pt x="326" y="71"/>
                    <a:pt x="327" y="70"/>
                  </a:cubicBezTo>
                  <a:cubicBezTo>
                    <a:pt x="328" y="68"/>
                    <a:pt x="329" y="68"/>
                    <a:pt x="330" y="68"/>
                  </a:cubicBezTo>
                  <a:cubicBezTo>
                    <a:pt x="332" y="68"/>
                    <a:pt x="332" y="67"/>
                    <a:pt x="333" y="67"/>
                  </a:cubicBezTo>
                  <a:cubicBezTo>
                    <a:pt x="335" y="67"/>
                    <a:pt x="338" y="68"/>
                    <a:pt x="340" y="67"/>
                  </a:cubicBezTo>
                  <a:cubicBezTo>
                    <a:pt x="341" y="66"/>
                    <a:pt x="341" y="65"/>
                    <a:pt x="341" y="64"/>
                  </a:cubicBezTo>
                  <a:cubicBezTo>
                    <a:pt x="343" y="62"/>
                    <a:pt x="346" y="60"/>
                    <a:pt x="348" y="60"/>
                  </a:cubicBezTo>
                  <a:cubicBezTo>
                    <a:pt x="348" y="59"/>
                    <a:pt x="349" y="58"/>
                    <a:pt x="349" y="58"/>
                  </a:cubicBezTo>
                  <a:cubicBezTo>
                    <a:pt x="350" y="57"/>
                    <a:pt x="349" y="56"/>
                    <a:pt x="350" y="55"/>
                  </a:cubicBezTo>
                  <a:cubicBezTo>
                    <a:pt x="350" y="53"/>
                    <a:pt x="351" y="52"/>
                    <a:pt x="353" y="52"/>
                  </a:cubicBezTo>
                  <a:cubicBezTo>
                    <a:pt x="353" y="50"/>
                    <a:pt x="353" y="47"/>
                    <a:pt x="353" y="45"/>
                  </a:cubicBezTo>
                  <a:cubicBezTo>
                    <a:pt x="353" y="44"/>
                    <a:pt x="353" y="42"/>
                    <a:pt x="353" y="41"/>
                  </a:cubicBezTo>
                  <a:cubicBezTo>
                    <a:pt x="352" y="40"/>
                    <a:pt x="351" y="40"/>
                    <a:pt x="351" y="39"/>
                  </a:cubicBezTo>
                  <a:cubicBezTo>
                    <a:pt x="350" y="39"/>
                    <a:pt x="349" y="39"/>
                    <a:pt x="348" y="38"/>
                  </a:cubicBezTo>
                  <a:cubicBezTo>
                    <a:pt x="347" y="38"/>
                    <a:pt x="346" y="38"/>
                    <a:pt x="345" y="38"/>
                  </a:cubicBezTo>
                  <a:cubicBezTo>
                    <a:pt x="342" y="38"/>
                    <a:pt x="339" y="36"/>
                    <a:pt x="338" y="38"/>
                  </a:cubicBezTo>
                  <a:cubicBezTo>
                    <a:pt x="336" y="38"/>
                    <a:pt x="337" y="35"/>
                    <a:pt x="337" y="33"/>
                  </a:cubicBezTo>
                  <a:cubicBezTo>
                    <a:pt x="337" y="32"/>
                    <a:pt x="337" y="31"/>
                    <a:pt x="337" y="30"/>
                  </a:cubicBezTo>
                  <a:cubicBezTo>
                    <a:pt x="336" y="29"/>
                    <a:pt x="336" y="29"/>
                    <a:pt x="334" y="29"/>
                  </a:cubicBezTo>
                  <a:cubicBezTo>
                    <a:pt x="314" y="7"/>
                    <a:pt x="314" y="7"/>
                    <a:pt x="314" y="7"/>
                  </a:cubicBezTo>
                  <a:cubicBezTo>
                    <a:pt x="314" y="7"/>
                    <a:pt x="314" y="7"/>
                    <a:pt x="314" y="8"/>
                  </a:cubicBezTo>
                  <a:cubicBezTo>
                    <a:pt x="313" y="9"/>
                    <a:pt x="313" y="11"/>
                    <a:pt x="312" y="12"/>
                  </a:cubicBezTo>
                  <a:cubicBezTo>
                    <a:pt x="312" y="13"/>
                    <a:pt x="311" y="15"/>
                    <a:pt x="310" y="16"/>
                  </a:cubicBezTo>
                  <a:cubicBezTo>
                    <a:pt x="308" y="17"/>
                    <a:pt x="306" y="16"/>
                    <a:pt x="304" y="16"/>
                  </a:cubicBezTo>
                  <a:cubicBezTo>
                    <a:pt x="302" y="16"/>
                    <a:pt x="302" y="16"/>
                    <a:pt x="300" y="17"/>
                  </a:cubicBezTo>
                  <a:cubicBezTo>
                    <a:pt x="299" y="19"/>
                    <a:pt x="298" y="21"/>
                    <a:pt x="296" y="21"/>
                  </a:cubicBezTo>
                  <a:cubicBezTo>
                    <a:pt x="295" y="20"/>
                    <a:pt x="294" y="19"/>
                    <a:pt x="294" y="18"/>
                  </a:cubicBezTo>
                  <a:cubicBezTo>
                    <a:pt x="292" y="17"/>
                    <a:pt x="292" y="17"/>
                    <a:pt x="290" y="16"/>
                  </a:cubicBezTo>
                  <a:cubicBezTo>
                    <a:pt x="289" y="15"/>
                    <a:pt x="287" y="14"/>
                    <a:pt x="286" y="13"/>
                  </a:cubicBezTo>
                  <a:cubicBezTo>
                    <a:pt x="285" y="10"/>
                    <a:pt x="285" y="6"/>
                    <a:pt x="282" y="4"/>
                  </a:cubicBezTo>
                  <a:cubicBezTo>
                    <a:pt x="281" y="3"/>
                    <a:pt x="280" y="3"/>
                    <a:pt x="279" y="3"/>
                  </a:cubicBezTo>
                  <a:cubicBezTo>
                    <a:pt x="279" y="3"/>
                    <a:pt x="279" y="2"/>
                    <a:pt x="278" y="2"/>
                  </a:cubicBezTo>
                  <a:cubicBezTo>
                    <a:pt x="277" y="1"/>
                    <a:pt x="275" y="2"/>
                    <a:pt x="274" y="2"/>
                  </a:cubicBezTo>
                  <a:cubicBezTo>
                    <a:pt x="272" y="2"/>
                    <a:pt x="271" y="2"/>
                    <a:pt x="270" y="2"/>
                  </a:cubicBezTo>
                  <a:cubicBezTo>
                    <a:pt x="269" y="3"/>
                    <a:pt x="268" y="3"/>
                    <a:pt x="267" y="3"/>
                  </a:cubicBezTo>
                  <a:cubicBezTo>
                    <a:pt x="265" y="3"/>
                    <a:pt x="264" y="5"/>
                    <a:pt x="263" y="5"/>
                  </a:cubicBezTo>
                  <a:cubicBezTo>
                    <a:pt x="261" y="6"/>
                    <a:pt x="260" y="5"/>
                    <a:pt x="258" y="5"/>
                  </a:cubicBezTo>
                  <a:cubicBezTo>
                    <a:pt x="257" y="5"/>
                    <a:pt x="255" y="5"/>
                    <a:pt x="253" y="5"/>
                  </a:cubicBezTo>
                  <a:cubicBezTo>
                    <a:pt x="252" y="5"/>
                    <a:pt x="251" y="5"/>
                    <a:pt x="251" y="5"/>
                  </a:cubicBezTo>
                  <a:cubicBezTo>
                    <a:pt x="250" y="4"/>
                    <a:pt x="250" y="3"/>
                    <a:pt x="249" y="3"/>
                  </a:cubicBezTo>
                  <a:cubicBezTo>
                    <a:pt x="248" y="2"/>
                    <a:pt x="247" y="2"/>
                    <a:pt x="245" y="2"/>
                  </a:cubicBezTo>
                  <a:cubicBezTo>
                    <a:pt x="241" y="2"/>
                    <a:pt x="238" y="2"/>
                    <a:pt x="234" y="2"/>
                  </a:cubicBezTo>
                  <a:cubicBezTo>
                    <a:pt x="232" y="2"/>
                    <a:pt x="226" y="0"/>
                    <a:pt x="225" y="3"/>
                  </a:cubicBezTo>
                  <a:cubicBezTo>
                    <a:pt x="224" y="4"/>
                    <a:pt x="225" y="6"/>
                    <a:pt x="224" y="8"/>
                  </a:cubicBezTo>
                  <a:cubicBezTo>
                    <a:pt x="224" y="10"/>
                    <a:pt x="223" y="11"/>
                    <a:pt x="222" y="13"/>
                  </a:cubicBezTo>
                  <a:cubicBezTo>
                    <a:pt x="222" y="15"/>
                    <a:pt x="222" y="16"/>
                    <a:pt x="221" y="18"/>
                  </a:cubicBezTo>
                  <a:cubicBezTo>
                    <a:pt x="220" y="20"/>
                    <a:pt x="219" y="22"/>
                    <a:pt x="217" y="23"/>
                  </a:cubicBezTo>
                  <a:cubicBezTo>
                    <a:pt x="217" y="24"/>
                    <a:pt x="216" y="25"/>
                    <a:pt x="215" y="25"/>
                  </a:cubicBezTo>
                  <a:cubicBezTo>
                    <a:pt x="214" y="25"/>
                    <a:pt x="213" y="25"/>
                    <a:pt x="212" y="25"/>
                  </a:cubicBezTo>
                  <a:cubicBezTo>
                    <a:pt x="210" y="26"/>
                    <a:pt x="209" y="28"/>
                    <a:pt x="207" y="28"/>
                  </a:cubicBezTo>
                  <a:cubicBezTo>
                    <a:pt x="206" y="28"/>
                    <a:pt x="205" y="28"/>
                    <a:pt x="205" y="28"/>
                  </a:cubicBezTo>
                  <a:cubicBezTo>
                    <a:pt x="204" y="29"/>
                    <a:pt x="203" y="29"/>
                    <a:pt x="203" y="30"/>
                  </a:cubicBezTo>
                  <a:cubicBezTo>
                    <a:pt x="201" y="31"/>
                    <a:pt x="200" y="31"/>
                    <a:pt x="199" y="31"/>
                  </a:cubicBezTo>
                  <a:cubicBezTo>
                    <a:pt x="197" y="33"/>
                    <a:pt x="197" y="35"/>
                    <a:pt x="195" y="36"/>
                  </a:cubicBezTo>
                  <a:cubicBezTo>
                    <a:pt x="194" y="35"/>
                    <a:pt x="194" y="32"/>
                    <a:pt x="192" y="31"/>
                  </a:cubicBezTo>
                  <a:cubicBezTo>
                    <a:pt x="191" y="30"/>
                    <a:pt x="188" y="30"/>
                    <a:pt x="186" y="30"/>
                  </a:cubicBezTo>
                  <a:cubicBezTo>
                    <a:pt x="185" y="30"/>
                    <a:pt x="184" y="31"/>
                    <a:pt x="184" y="30"/>
                  </a:cubicBezTo>
                  <a:cubicBezTo>
                    <a:pt x="183" y="30"/>
                    <a:pt x="184" y="29"/>
                    <a:pt x="183" y="29"/>
                  </a:cubicBezTo>
                  <a:cubicBezTo>
                    <a:pt x="183" y="28"/>
                    <a:pt x="180" y="28"/>
                    <a:pt x="179" y="28"/>
                  </a:cubicBezTo>
                  <a:cubicBezTo>
                    <a:pt x="178" y="28"/>
                    <a:pt x="176" y="28"/>
                    <a:pt x="175" y="29"/>
                  </a:cubicBezTo>
                  <a:cubicBezTo>
                    <a:pt x="174" y="30"/>
                    <a:pt x="173" y="33"/>
                    <a:pt x="172" y="35"/>
                  </a:cubicBezTo>
                  <a:cubicBezTo>
                    <a:pt x="172" y="36"/>
                    <a:pt x="170" y="38"/>
                    <a:pt x="169" y="38"/>
                  </a:cubicBezTo>
                  <a:cubicBezTo>
                    <a:pt x="168" y="39"/>
                    <a:pt x="165" y="38"/>
                    <a:pt x="164" y="38"/>
                  </a:cubicBezTo>
                  <a:cubicBezTo>
                    <a:pt x="163" y="39"/>
                    <a:pt x="161" y="39"/>
                    <a:pt x="160" y="39"/>
                  </a:cubicBezTo>
                  <a:cubicBezTo>
                    <a:pt x="158" y="40"/>
                    <a:pt x="156" y="39"/>
                    <a:pt x="155" y="40"/>
                  </a:cubicBezTo>
                  <a:cubicBezTo>
                    <a:pt x="151" y="40"/>
                    <a:pt x="147" y="41"/>
                    <a:pt x="143" y="42"/>
                  </a:cubicBezTo>
                  <a:cubicBezTo>
                    <a:pt x="142" y="42"/>
                    <a:pt x="139" y="41"/>
                    <a:pt x="138" y="42"/>
                  </a:cubicBezTo>
                  <a:cubicBezTo>
                    <a:pt x="137" y="42"/>
                    <a:pt x="135" y="44"/>
                    <a:pt x="135" y="44"/>
                  </a:cubicBezTo>
                  <a:cubicBezTo>
                    <a:pt x="134" y="46"/>
                    <a:pt x="134" y="48"/>
                    <a:pt x="134" y="50"/>
                  </a:cubicBezTo>
                  <a:cubicBezTo>
                    <a:pt x="133" y="51"/>
                    <a:pt x="132" y="52"/>
                    <a:pt x="131" y="53"/>
                  </a:cubicBezTo>
                  <a:cubicBezTo>
                    <a:pt x="131" y="56"/>
                    <a:pt x="134" y="55"/>
                    <a:pt x="135" y="58"/>
                  </a:cubicBezTo>
                  <a:cubicBezTo>
                    <a:pt x="135" y="59"/>
                    <a:pt x="134" y="61"/>
                    <a:pt x="132" y="61"/>
                  </a:cubicBezTo>
                  <a:cubicBezTo>
                    <a:pt x="131" y="62"/>
                    <a:pt x="128" y="62"/>
                    <a:pt x="127" y="62"/>
                  </a:cubicBezTo>
                  <a:cubicBezTo>
                    <a:pt x="125" y="62"/>
                    <a:pt x="124" y="62"/>
                    <a:pt x="122" y="63"/>
                  </a:cubicBezTo>
                  <a:cubicBezTo>
                    <a:pt x="121" y="63"/>
                    <a:pt x="120" y="63"/>
                    <a:pt x="118" y="64"/>
                  </a:cubicBezTo>
                  <a:cubicBezTo>
                    <a:pt x="118" y="64"/>
                    <a:pt x="118" y="65"/>
                    <a:pt x="118" y="65"/>
                  </a:cubicBezTo>
                  <a:cubicBezTo>
                    <a:pt x="118" y="65"/>
                    <a:pt x="117" y="66"/>
                    <a:pt x="117" y="65"/>
                  </a:cubicBezTo>
                  <a:cubicBezTo>
                    <a:pt x="117" y="65"/>
                    <a:pt x="115" y="66"/>
                    <a:pt x="115" y="66"/>
                  </a:cubicBezTo>
                  <a:cubicBezTo>
                    <a:pt x="111" y="67"/>
                    <a:pt x="105" y="66"/>
                    <a:pt x="101" y="66"/>
                  </a:cubicBezTo>
                  <a:cubicBezTo>
                    <a:pt x="93" y="66"/>
                    <a:pt x="86" y="66"/>
                    <a:pt x="79" y="66"/>
                  </a:cubicBezTo>
                  <a:cubicBezTo>
                    <a:pt x="77" y="66"/>
                    <a:pt x="75" y="67"/>
                    <a:pt x="74" y="66"/>
                  </a:cubicBezTo>
                  <a:cubicBezTo>
                    <a:pt x="73" y="65"/>
                    <a:pt x="72" y="63"/>
                    <a:pt x="72" y="61"/>
                  </a:cubicBezTo>
                  <a:cubicBezTo>
                    <a:pt x="71" y="60"/>
                    <a:pt x="70" y="58"/>
                    <a:pt x="68" y="57"/>
                  </a:cubicBezTo>
                  <a:cubicBezTo>
                    <a:pt x="67" y="57"/>
                    <a:pt x="66" y="57"/>
                    <a:pt x="65" y="57"/>
                  </a:cubicBezTo>
                  <a:cubicBezTo>
                    <a:pt x="62" y="56"/>
                    <a:pt x="61" y="53"/>
                    <a:pt x="59" y="52"/>
                  </a:cubicBezTo>
                  <a:cubicBezTo>
                    <a:pt x="58" y="51"/>
                    <a:pt x="56" y="50"/>
                    <a:pt x="54" y="50"/>
                  </a:cubicBezTo>
                  <a:cubicBezTo>
                    <a:pt x="53" y="49"/>
                    <a:pt x="52" y="49"/>
                    <a:pt x="51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49" y="52"/>
                    <a:pt x="46" y="55"/>
                    <a:pt x="48" y="57"/>
                  </a:cubicBezTo>
                  <a:cubicBezTo>
                    <a:pt x="50" y="59"/>
                    <a:pt x="53" y="58"/>
                    <a:pt x="52" y="61"/>
                  </a:cubicBezTo>
                  <a:cubicBezTo>
                    <a:pt x="51" y="63"/>
                    <a:pt x="48" y="64"/>
                    <a:pt x="47" y="65"/>
                  </a:cubicBezTo>
                  <a:cubicBezTo>
                    <a:pt x="46" y="66"/>
                    <a:pt x="45" y="66"/>
                    <a:pt x="44" y="66"/>
                  </a:cubicBezTo>
                  <a:cubicBezTo>
                    <a:pt x="43" y="67"/>
                    <a:pt x="43" y="67"/>
                    <a:pt x="42" y="67"/>
                  </a:cubicBezTo>
                  <a:cubicBezTo>
                    <a:pt x="39" y="67"/>
                    <a:pt x="38" y="69"/>
                    <a:pt x="36" y="69"/>
                  </a:cubicBezTo>
                  <a:cubicBezTo>
                    <a:pt x="35" y="69"/>
                    <a:pt x="34" y="70"/>
                    <a:pt x="33" y="69"/>
                  </a:cubicBezTo>
                  <a:cubicBezTo>
                    <a:pt x="32" y="69"/>
                    <a:pt x="32" y="67"/>
                    <a:pt x="31" y="66"/>
                  </a:cubicBezTo>
                  <a:cubicBezTo>
                    <a:pt x="30" y="64"/>
                    <a:pt x="26" y="63"/>
                    <a:pt x="25" y="64"/>
                  </a:cubicBezTo>
                  <a:cubicBezTo>
                    <a:pt x="23" y="66"/>
                    <a:pt x="24" y="68"/>
                    <a:pt x="21" y="68"/>
                  </a:cubicBezTo>
                  <a:cubicBezTo>
                    <a:pt x="20" y="68"/>
                    <a:pt x="17" y="67"/>
                    <a:pt x="17" y="68"/>
                  </a:cubicBezTo>
                  <a:cubicBezTo>
                    <a:pt x="16" y="69"/>
                    <a:pt x="17" y="70"/>
                    <a:pt x="17" y="70"/>
                  </a:cubicBezTo>
                  <a:cubicBezTo>
                    <a:pt x="18" y="71"/>
                    <a:pt x="19" y="72"/>
                    <a:pt x="21" y="73"/>
                  </a:cubicBezTo>
                  <a:cubicBezTo>
                    <a:pt x="22" y="74"/>
                    <a:pt x="24" y="73"/>
                    <a:pt x="26" y="74"/>
                  </a:cubicBezTo>
                  <a:cubicBezTo>
                    <a:pt x="26" y="74"/>
                    <a:pt x="26" y="75"/>
                    <a:pt x="27" y="75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80"/>
                    <a:pt x="28" y="82"/>
                    <a:pt x="28" y="82"/>
                  </a:cubicBezTo>
                  <a:cubicBezTo>
                    <a:pt x="28" y="83"/>
                    <a:pt x="27" y="84"/>
                    <a:pt x="26" y="85"/>
                  </a:cubicBezTo>
                  <a:cubicBezTo>
                    <a:pt x="25" y="86"/>
                    <a:pt x="24" y="88"/>
                    <a:pt x="24" y="89"/>
                  </a:cubicBezTo>
                  <a:cubicBezTo>
                    <a:pt x="23" y="90"/>
                    <a:pt x="23" y="90"/>
                    <a:pt x="22" y="91"/>
                  </a:cubicBezTo>
                  <a:cubicBezTo>
                    <a:pt x="21" y="91"/>
                    <a:pt x="20" y="90"/>
                    <a:pt x="19" y="90"/>
                  </a:cubicBezTo>
                  <a:cubicBezTo>
                    <a:pt x="18" y="90"/>
                    <a:pt x="17" y="91"/>
                    <a:pt x="17" y="91"/>
                  </a:cubicBezTo>
                  <a:cubicBezTo>
                    <a:pt x="15" y="92"/>
                    <a:pt x="14" y="97"/>
                    <a:pt x="16" y="99"/>
                  </a:cubicBezTo>
                  <a:cubicBezTo>
                    <a:pt x="16" y="100"/>
                    <a:pt x="20" y="99"/>
                    <a:pt x="19" y="102"/>
                  </a:cubicBezTo>
                  <a:cubicBezTo>
                    <a:pt x="19" y="102"/>
                    <a:pt x="17" y="103"/>
                    <a:pt x="17" y="103"/>
                  </a:cubicBezTo>
                  <a:cubicBezTo>
                    <a:pt x="16" y="103"/>
                    <a:pt x="14" y="105"/>
                    <a:pt x="14" y="106"/>
                  </a:cubicBezTo>
                  <a:cubicBezTo>
                    <a:pt x="13" y="107"/>
                    <a:pt x="14" y="108"/>
                    <a:pt x="14" y="108"/>
                  </a:cubicBezTo>
                  <a:cubicBezTo>
                    <a:pt x="14" y="109"/>
                    <a:pt x="14" y="110"/>
                    <a:pt x="15" y="110"/>
                  </a:cubicBezTo>
                  <a:cubicBezTo>
                    <a:pt x="15" y="112"/>
                    <a:pt x="15" y="112"/>
                    <a:pt x="17" y="113"/>
                  </a:cubicBezTo>
                  <a:cubicBezTo>
                    <a:pt x="18" y="113"/>
                    <a:pt x="18" y="113"/>
                    <a:pt x="18" y="115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8"/>
                    <a:pt x="17" y="119"/>
                    <a:pt x="17" y="120"/>
                  </a:cubicBezTo>
                  <a:cubicBezTo>
                    <a:pt x="17" y="121"/>
                    <a:pt x="17" y="121"/>
                    <a:pt x="17" y="122"/>
                  </a:cubicBezTo>
                  <a:cubicBezTo>
                    <a:pt x="17" y="124"/>
                    <a:pt x="16" y="124"/>
                    <a:pt x="14" y="124"/>
                  </a:cubicBezTo>
                  <a:cubicBezTo>
                    <a:pt x="13" y="124"/>
                    <a:pt x="12" y="125"/>
                    <a:pt x="10" y="125"/>
                  </a:cubicBezTo>
                  <a:cubicBezTo>
                    <a:pt x="8" y="125"/>
                    <a:pt x="8" y="126"/>
                    <a:pt x="6" y="127"/>
                  </a:cubicBezTo>
                  <a:cubicBezTo>
                    <a:pt x="4" y="128"/>
                    <a:pt x="3" y="128"/>
                    <a:pt x="2" y="131"/>
                  </a:cubicBezTo>
                  <a:cubicBezTo>
                    <a:pt x="1" y="132"/>
                    <a:pt x="1" y="132"/>
                    <a:pt x="0" y="133"/>
                  </a:cubicBezTo>
                  <a:cubicBezTo>
                    <a:pt x="1" y="134"/>
                    <a:pt x="2" y="135"/>
                    <a:pt x="2" y="136"/>
                  </a:cubicBezTo>
                  <a:moveTo>
                    <a:pt x="51" y="49"/>
                  </a:moveTo>
                  <a:cubicBezTo>
                    <a:pt x="52" y="49"/>
                    <a:pt x="53" y="48"/>
                    <a:pt x="53" y="47"/>
                  </a:cubicBezTo>
                  <a:cubicBezTo>
                    <a:pt x="53" y="48"/>
                    <a:pt x="52" y="49"/>
                    <a:pt x="51" y="49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4" name="Freeform 25">
              <a:extLst>
                <a:ext uri="{FF2B5EF4-FFF2-40B4-BE49-F238E27FC236}">
                  <a16:creationId xmlns:a16="http://schemas.microsoft.com/office/drawing/2014/main" id="{7C8A8641-8F55-40BD-B289-99B50653A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1075" y="5016500"/>
              <a:ext cx="311150" cy="225425"/>
            </a:xfrm>
            <a:custGeom>
              <a:avLst/>
              <a:gdLst/>
              <a:ahLst/>
              <a:cxnLst>
                <a:cxn ang="0">
                  <a:pos x="159" y="13"/>
                </a:cxn>
                <a:cxn ang="0">
                  <a:pos x="155" y="0"/>
                </a:cxn>
                <a:cxn ang="0">
                  <a:pos x="145" y="15"/>
                </a:cxn>
                <a:cxn ang="0">
                  <a:pos x="125" y="14"/>
                </a:cxn>
                <a:cxn ang="0">
                  <a:pos x="119" y="23"/>
                </a:cxn>
                <a:cxn ang="0">
                  <a:pos x="105" y="21"/>
                </a:cxn>
                <a:cxn ang="0">
                  <a:pos x="84" y="25"/>
                </a:cxn>
                <a:cxn ang="0">
                  <a:pos x="78" y="32"/>
                </a:cxn>
                <a:cxn ang="0">
                  <a:pos x="69" y="41"/>
                </a:cxn>
                <a:cxn ang="0">
                  <a:pos x="57" y="37"/>
                </a:cxn>
                <a:cxn ang="0">
                  <a:pos x="49" y="35"/>
                </a:cxn>
                <a:cxn ang="0">
                  <a:pos x="29" y="31"/>
                </a:cxn>
                <a:cxn ang="0">
                  <a:pos x="19" y="40"/>
                </a:cxn>
                <a:cxn ang="0">
                  <a:pos x="3" y="50"/>
                </a:cxn>
                <a:cxn ang="0">
                  <a:pos x="11" y="57"/>
                </a:cxn>
                <a:cxn ang="0">
                  <a:pos x="6" y="69"/>
                </a:cxn>
                <a:cxn ang="0">
                  <a:pos x="9" y="77"/>
                </a:cxn>
                <a:cxn ang="0">
                  <a:pos x="19" y="87"/>
                </a:cxn>
                <a:cxn ang="0">
                  <a:pos x="28" y="92"/>
                </a:cxn>
                <a:cxn ang="0">
                  <a:pos x="24" y="104"/>
                </a:cxn>
                <a:cxn ang="0">
                  <a:pos x="10" y="109"/>
                </a:cxn>
                <a:cxn ang="0">
                  <a:pos x="10" y="113"/>
                </a:cxn>
                <a:cxn ang="0">
                  <a:pos x="18" y="117"/>
                </a:cxn>
                <a:cxn ang="0">
                  <a:pos x="26" y="116"/>
                </a:cxn>
                <a:cxn ang="0">
                  <a:pos x="33" y="113"/>
                </a:cxn>
                <a:cxn ang="0">
                  <a:pos x="43" y="116"/>
                </a:cxn>
                <a:cxn ang="0">
                  <a:pos x="51" y="120"/>
                </a:cxn>
                <a:cxn ang="0">
                  <a:pos x="61" y="116"/>
                </a:cxn>
                <a:cxn ang="0">
                  <a:pos x="56" y="108"/>
                </a:cxn>
                <a:cxn ang="0">
                  <a:pos x="58" y="101"/>
                </a:cxn>
                <a:cxn ang="0">
                  <a:pos x="66" y="108"/>
                </a:cxn>
                <a:cxn ang="0">
                  <a:pos x="74" y="114"/>
                </a:cxn>
                <a:cxn ang="0">
                  <a:pos x="80" y="112"/>
                </a:cxn>
                <a:cxn ang="0">
                  <a:pos x="90" y="119"/>
                </a:cxn>
                <a:cxn ang="0">
                  <a:pos x="95" y="117"/>
                </a:cxn>
                <a:cxn ang="0">
                  <a:pos x="99" y="109"/>
                </a:cxn>
                <a:cxn ang="0">
                  <a:pos x="102" y="99"/>
                </a:cxn>
                <a:cxn ang="0">
                  <a:pos x="104" y="90"/>
                </a:cxn>
                <a:cxn ang="0">
                  <a:pos x="113" y="88"/>
                </a:cxn>
                <a:cxn ang="0">
                  <a:pos x="120" y="87"/>
                </a:cxn>
                <a:cxn ang="0">
                  <a:pos x="133" y="91"/>
                </a:cxn>
                <a:cxn ang="0">
                  <a:pos x="132" y="82"/>
                </a:cxn>
                <a:cxn ang="0">
                  <a:pos x="126" y="75"/>
                </a:cxn>
                <a:cxn ang="0">
                  <a:pos x="121" y="70"/>
                </a:cxn>
                <a:cxn ang="0">
                  <a:pos x="116" y="65"/>
                </a:cxn>
                <a:cxn ang="0">
                  <a:pos x="121" y="58"/>
                </a:cxn>
                <a:cxn ang="0">
                  <a:pos x="128" y="53"/>
                </a:cxn>
                <a:cxn ang="0">
                  <a:pos x="137" y="47"/>
                </a:cxn>
                <a:cxn ang="0">
                  <a:pos x="144" y="43"/>
                </a:cxn>
                <a:cxn ang="0">
                  <a:pos x="152" y="40"/>
                </a:cxn>
                <a:cxn ang="0">
                  <a:pos x="151" y="33"/>
                </a:cxn>
                <a:cxn ang="0">
                  <a:pos x="165" y="33"/>
                </a:cxn>
                <a:cxn ang="0">
                  <a:pos x="163" y="22"/>
                </a:cxn>
              </a:cxnLst>
              <a:rect l="0" t="0" r="r" b="b"/>
              <a:pathLst>
                <a:path w="167" h="120">
                  <a:moveTo>
                    <a:pt x="163" y="22"/>
                  </a:moveTo>
                  <a:cubicBezTo>
                    <a:pt x="162" y="21"/>
                    <a:pt x="161" y="21"/>
                    <a:pt x="160" y="20"/>
                  </a:cubicBezTo>
                  <a:cubicBezTo>
                    <a:pt x="158" y="19"/>
                    <a:pt x="158" y="19"/>
                    <a:pt x="158" y="17"/>
                  </a:cubicBezTo>
                  <a:cubicBezTo>
                    <a:pt x="158" y="15"/>
                    <a:pt x="158" y="14"/>
                    <a:pt x="159" y="13"/>
                  </a:cubicBezTo>
                  <a:cubicBezTo>
                    <a:pt x="159" y="11"/>
                    <a:pt x="160" y="10"/>
                    <a:pt x="160" y="8"/>
                  </a:cubicBezTo>
                  <a:cubicBezTo>
                    <a:pt x="160" y="6"/>
                    <a:pt x="159" y="5"/>
                    <a:pt x="157" y="3"/>
                  </a:cubicBezTo>
                  <a:cubicBezTo>
                    <a:pt x="157" y="2"/>
                    <a:pt x="156" y="1"/>
                    <a:pt x="15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4" y="0"/>
                    <a:pt x="154" y="1"/>
                    <a:pt x="153" y="1"/>
                  </a:cubicBezTo>
                  <a:cubicBezTo>
                    <a:pt x="152" y="3"/>
                    <a:pt x="150" y="2"/>
                    <a:pt x="149" y="3"/>
                  </a:cubicBezTo>
                  <a:cubicBezTo>
                    <a:pt x="147" y="4"/>
                    <a:pt x="146" y="6"/>
                    <a:pt x="146" y="9"/>
                  </a:cubicBezTo>
                  <a:cubicBezTo>
                    <a:pt x="146" y="11"/>
                    <a:pt x="146" y="13"/>
                    <a:pt x="145" y="15"/>
                  </a:cubicBezTo>
                  <a:cubicBezTo>
                    <a:pt x="144" y="18"/>
                    <a:pt x="141" y="18"/>
                    <a:pt x="138" y="18"/>
                  </a:cubicBezTo>
                  <a:cubicBezTo>
                    <a:pt x="136" y="17"/>
                    <a:pt x="133" y="18"/>
                    <a:pt x="131" y="17"/>
                  </a:cubicBezTo>
                  <a:cubicBezTo>
                    <a:pt x="129" y="15"/>
                    <a:pt x="131" y="12"/>
                    <a:pt x="129" y="11"/>
                  </a:cubicBezTo>
                  <a:cubicBezTo>
                    <a:pt x="128" y="10"/>
                    <a:pt x="126" y="13"/>
                    <a:pt x="125" y="14"/>
                  </a:cubicBezTo>
                  <a:cubicBezTo>
                    <a:pt x="124" y="15"/>
                    <a:pt x="125" y="14"/>
                    <a:pt x="124" y="15"/>
                  </a:cubicBezTo>
                  <a:cubicBezTo>
                    <a:pt x="124" y="15"/>
                    <a:pt x="123" y="15"/>
                    <a:pt x="123" y="15"/>
                  </a:cubicBezTo>
                  <a:cubicBezTo>
                    <a:pt x="122" y="15"/>
                    <a:pt x="122" y="15"/>
                    <a:pt x="122" y="16"/>
                  </a:cubicBezTo>
                  <a:cubicBezTo>
                    <a:pt x="121" y="18"/>
                    <a:pt x="119" y="20"/>
                    <a:pt x="119" y="23"/>
                  </a:cubicBezTo>
                  <a:cubicBezTo>
                    <a:pt x="118" y="23"/>
                    <a:pt x="118" y="22"/>
                    <a:pt x="116" y="22"/>
                  </a:cubicBezTo>
                  <a:cubicBezTo>
                    <a:pt x="115" y="21"/>
                    <a:pt x="113" y="22"/>
                    <a:pt x="112" y="22"/>
                  </a:cubicBezTo>
                  <a:cubicBezTo>
                    <a:pt x="111" y="22"/>
                    <a:pt x="111" y="22"/>
                    <a:pt x="111" y="21"/>
                  </a:cubicBezTo>
                  <a:cubicBezTo>
                    <a:pt x="109" y="21"/>
                    <a:pt x="107" y="21"/>
                    <a:pt x="105" y="21"/>
                  </a:cubicBezTo>
                  <a:cubicBezTo>
                    <a:pt x="104" y="21"/>
                    <a:pt x="103" y="20"/>
                    <a:pt x="102" y="20"/>
                  </a:cubicBezTo>
                  <a:cubicBezTo>
                    <a:pt x="100" y="19"/>
                    <a:pt x="99" y="20"/>
                    <a:pt x="97" y="21"/>
                  </a:cubicBezTo>
                  <a:cubicBezTo>
                    <a:pt x="95" y="22"/>
                    <a:pt x="93" y="22"/>
                    <a:pt x="90" y="23"/>
                  </a:cubicBezTo>
                  <a:cubicBezTo>
                    <a:pt x="88" y="23"/>
                    <a:pt x="85" y="23"/>
                    <a:pt x="84" y="25"/>
                  </a:cubicBezTo>
                  <a:cubicBezTo>
                    <a:pt x="84" y="26"/>
                    <a:pt x="83" y="27"/>
                    <a:pt x="83" y="27"/>
                  </a:cubicBezTo>
                  <a:cubicBezTo>
                    <a:pt x="83" y="28"/>
                    <a:pt x="82" y="28"/>
                    <a:pt x="82" y="28"/>
                  </a:cubicBezTo>
                  <a:cubicBezTo>
                    <a:pt x="81" y="29"/>
                    <a:pt x="81" y="29"/>
                    <a:pt x="81" y="30"/>
                  </a:cubicBezTo>
                  <a:cubicBezTo>
                    <a:pt x="80" y="31"/>
                    <a:pt x="79" y="32"/>
                    <a:pt x="78" y="32"/>
                  </a:cubicBezTo>
                  <a:cubicBezTo>
                    <a:pt x="77" y="32"/>
                    <a:pt x="76" y="31"/>
                    <a:pt x="76" y="32"/>
                  </a:cubicBezTo>
                  <a:cubicBezTo>
                    <a:pt x="75" y="32"/>
                    <a:pt x="74" y="33"/>
                    <a:pt x="74" y="33"/>
                  </a:cubicBezTo>
                  <a:cubicBezTo>
                    <a:pt x="73" y="34"/>
                    <a:pt x="73" y="35"/>
                    <a:pt x="72" y="35"/>
                  </a:cubicBezTo>
                  <a:cubicBezTo>
                    <a:pt x="71" y="37"/>
                    <a:pt x="72" y="40"/>
                    <a:pt x="69" y="41"/>
                  </a:cubicBezTo>
                  <a:cubicBezTo>
                    <a:pt x="67" y="41"/>
                    <a:pt x="65" y="40"/>
                    <a:pt x="63" y="39"/>
                  </a:cubicBezTo>
                  <a:cubicBezTo>
                    <a:pt x="62" y="39"/>
                    <a:pt x="61" y="39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9" y="37"/>
                    <a:pt x="57" y="38"/>
                    <a:pt x="57" y="37"/>
                  </a:cubicBezTo>
                  <a:cubicBezTo>
                    <a:pt x="55" y="37"/>
                    <a:pt x="52" y="37"/>
                    <a:pt x="50" y="36"/>
                  </a:cubicBezTo>
                  <a:cubicBezTo>
                    <a:pt x="49" y="36"/>
                    <a:pt x="48" y="36"/>
                    <a:pt x="47" y="36"/>
                  </a:cubicBezTo>
                  <a:cubicBezTo>
                    <a:pt x="48" y="36"/>
                    <a:pt x="48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3" y="33"/>
                    <a:pt x="38" y="34"/>
                    <a:pt x="33" y="32"/>
                  </a:cubicBezTo>
                  <a:cubicBezTo>
                    <a:pt x="32" y="32"/>
                    <a:pt x="31" y="31"/>
                    <a:pt x="29" y="31"/>
                  </a:cubicBezTo>
                  <a:cubicBezTo>
                    <a:pt x="29" y="30"/>
                    <a:pt x="28" y="31"/>
                    <a:pt x="28" y="31"/>
                  </a:cubicBezTo>
                  <a:cubicBezTo>
                    <a:pt x="27" y="30"/>
                    <a:pt x="26" y="30"/>
                    <a:pt x="25" y="30"/>
                  </a:cubicBezTo>
                  <a:cubicBezTo>
                    <a:pt x="24" y="30"/>
                    <a:pt x="22" y="29"/>
                    <a:pt x="21" y="29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7" y="41"/>
                    <a:pt x="15" y="41"/>
                    <a:pt x="13" y="41"/>
                  </a:cubicBezTo>
                  <a:cubicBezTo>
                    <a:pt x="10" y="41"/>
                    <a:pt x="8" y="42"/>
                    <a:pt x="6" y="44"/>
                  </a:cubicBezTo>
                  <a:cubicBezTo>
                    <a:pt x="5" y="45"/>
                    <a:pt x="5" y="46"/>
                    <a:pt x="5" y="48"/>
                  </a:cubicBezTo>
                  <a:cubicBezTo>
                    <a:pt x="5" y="49"/>
                    <a:pt x="5" y="49"/>
                    <a:pt x="3" y="50"/>
                  </a:cubicBezTo>
                  <a:cubicBezTo>
                    <a:pt x="2" y="51"/>
                    <a:pt x="1" y="51"/>
                    <a:pt x="1" y="52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2" y="55"/>
                    <a:pt x="4" y="56"/>
                    <a:pt x="7" y="56"/>
                  </a:cubicBezTo>
                  <a:cubicBezTo>
                    <a:pt x="8" y="56"/>
                    <a:pt x="9" y="57"/>
                    <a:pt x="11" y="57"/>
                  </a:cubicBezTo>
                  <a:cubicBezTo>
                    <a:pt x="12" y="58"/>
                    <a:pt x="15" y="59"/>
                    <a:pt x="16" y="60"/>
                  </a:cubicBezTo>
                  <a:cubicBezTo>
                    <a:pt x="17" y="62"/>
                    <a:pt x="14" y="62"/>
                    <a:pt x="13" y="62"/>
                  </a:cubicBezTo>
                  <a:cubicBezTo>
                    <a:pt x="11" y="63"/>
                    <a:pt x="10" y="65"/>
                    <a:pt x="9" y="66"/>
                  </a:cubicBezTo>
                  <a:cubicBezTo>
                    <a:pt x="7" y="67"/>
                    <a:pt x="7" y="68"/>
                    <a:pt x="6" y="69"/>
                  </a:cubicBezTo>
                  <a:cubicBezTo>
                    <a:pt x="3" y="73"/>
                    <a:pt x="8" y="72"/>
                    <a:pt x="11" y="73"/>
                  </a:cubicBezTo>
                  <a:cubicBezTo>
                    <a:pt x="11" y="73"/>
                    <a:pt x="11" y="74"/>
                    <a:pt x="11" y="74"/>
                  </a:cubicBezTo>
                  <a:cubicBezTo>
                    <a:pt x="11" y="76"/>
                    <a:pt x="11" y="75"/>
                    <a:pt x="10" y="76"/>
                  </a:cubicBezTo>
                  <a:cubicBezTo>
                    <a:pt x="10" y="76"/>
                    <a:pt x="9" y="76"/>
                    <a:pt x="9" y="77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10" y="79"/>
                    <a:pt x="11" y="81"/>
                    <a:pt x="12" y="82"/>
                  </a:cubicBezTo>
                  <a:cubicBezTo>
                    <a:pt x="13" y="84"/>
                    <a:pt x="13" y="85"/>
                    <a:pt x="15" y="86"/>
                  </a:cubicBezTo>
                  <a:cubicBezTo>
                    <a:pt x="16" y="87"/>
                    <a:pt x="18" y="87"/>
                    <a:pt x="19" y="87"/>
                  </a:cubicBezTo>
                  <a:cubicBezTo>
                    <a:pt x="20" y="87"/>
                    <a:pt x="21" y="87"/>
                    <a:pt x="22" y="87"/>
                  </a:cubicBezTo>
                  <a:cubicBezTo>
                    <a:pt x="23" y="87"/>
                    <a:pt x="23" y="88"/>
                    <a:pt x="24" y="89"/>
                  </a:cubicBezTo>
                  <a:cubicBezTo>
                    <a:pt x="25" y="90"/>
                    <a:pt x="27" y="90"/>
                    <a:pt x="27" y="91"/>
                  </a:cubicBezTo>
                  <a:cubicBezTo>
                    <a:pt x="28" y="92"/>
                    <a:pt x="27" y="92"/>
                    <a:pt x="28" y="92"/>
                  </a:cubicBezTo>
                  <a:cubicBezTo>
                    <a:pt x="28" y="94"/>
                    <a:pt x="28" y="94"/>
                    <a:pt x="28" y="95"/>
                  </a:cubicBezTo>
                  <a:cubicBezTo>
                    <a:pt x="28" y="98"/>
                    <a:pt x="28" y="99"/>
                    <a:pt x="27" y="101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5" y="103"/>
                    <a:pt x="25" y="103"/>
                    <a:pt x="24" y="104"/>
                  </a:cubicBezTo>
                  <a:cubicBezTo>
                    <a:pt x="23" y="105"/>
                    <a:pt x="22" y="106"/>
                    <a:pt x="20" y="107"/>
                  </a:cubicBezTo>
                  <a:cubicBezTo>
                    <a:pt x="19" y="107"/>
                    <a:pt x="16" y="107"/>
                    <a:pt x="14" y="107"/>
                  </a:cubicBezTo>
                  <a:cubicBezTo>
                    <a:pt x="14" y="108"/>
                    <a:pt x="13" y="108"/>
                    <a:pt x="12" y="108"/>
                  </a:cubicBezTo>
                  <a:cubicBezTo>
                    <a:pt x="12" y="109"/>
                    <a:pt x="11" y="108"/>
                    <a:pt x="10" y="109"/>
                  </a:cubicBezTo>
                  <a:cubicBezTo>
                    <a:pt x="9" y="109"/>
                    <a:pt x="8" y="110"/>
                    <a:pt x="7" y="110"/>
                  </a:cubicBezTo>
                  <a:cubicBezTo>
                    <a:pt x="8" y="110"/>
                    <a:pt x="8" y="111"/>
                    <a:pt x="8" y="112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10" y="113"/>
                    <a:pt x="9" y="113"/>
                    <a:pt x="10" y="113"/>
                  </a:cubicBezTo>
                  <a:cubicBezTo>
                    <a:pt x="10" y="114"/>
                    <a:pt x="11" y="115"/>
                    <a:pt x="11" y="116"/>
                  </a:cubicBezTo>
                  <a:cubicBezTo>
                    <a:pt x="12" y="116"/>
                    <a:pt x="13" y="116"/>
                    <a:pt x="13" y="116"/>
                  </a:cubicBezTo>
                  <a:cubicBezTo>
                    <a:pt x="14" y="117"/>
                    <a:pt x="15" y="117"/>
                    <a:pt x="15" y="117"/>
                  </a:cubicBezTo>
                  <a:cubicBezTo>
                    <a:pt x="16" y="117"/>
                    <a:pt x="17" y="117"/>
                    <a:pt x="18" y="117"/>
                  </a:cubicBezTo>
                  <a:cubicBezTo>
                    <a:pt x="19" y="117"/>
                    <a:pt x="20" y="117"/>
                    <a:pt x="21" y="118"/>
                  </a:cubicBezTo>
                  <a:cubicBezTo>
                    <a:pt x="21" y="118"/>
                    <a:pt x="22" y="119"/>
                    <a:pt x="22" y="119"/>
                  </a:cubicBezTo>
                  <a:cubicBezTo>
                    <a:pt x="24" y="119"/>
                    <a:pt x="25" y="117"/>
                    <a:pt x="26" y="116"/>
                  </a:cubicBezTo>
                  <a:cubicBezTo>
                    <a:pt x="26" y="116"/>
                    <a:pt x="26" y="116"/>
                    <a:pt x="26" y="116"/>
                  </a:cubicBezTo>
                  <a:cubicBezTo>
                    <a:pt x="26" y="115"/>
                    <a:pt x="26" y="115"/>
                    <a:pt x="27" y="115"/>
                  </a:cubicBezTo>
                  <a:cubicBezTo>
                    <a:pt x="27" y="114"/>
                    <a:pt x="29" y="112"/>
                    <a:pt x="30" y="112"/>
                  </a:cubicBezTo>
                  <a:cubicBezTo>
                    <a:pt x="30" y="112"/>
                    <a:pt x="31" y="111"/>
                    <a:pt x="31" y="112"/>
                  </a:cubicBezTo>
                  <a:cubicBezTo>
                    <a:pt x="32" y="112"/>
                    <a:pt x="32" y="112"/>
                    <a:pt x="33" y="113"/>
                  </a:cubicBezTo>
                  <a:cubicBezTo>
                    <a:pt x="34" y="113"/>
                    <a:pt x="34" y="113"/>
                    <a:pt x="35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7" y="114"/>
                    <a:pt x="39" y="113"/>
                    <a:pt x="41" y="114"/>
                  </a:cubicBezTo>
                  <a:cubicBezTo>
                    <a:pt x="42" y="115"/>
                    <a:pt x="42" y="116"/>
                    <a:pt x="43" y="116"/>
                  </a:cubicBezTo>
                  <a:cubicBezTo>
                    <a:pt x="44" y="117"/>
                    <a:pt x="45" y="117"/>
                    <a:pt x="46" y="118"/>
                  </a:cubicBezTo>
                  <a:cubicBezTo>
                    <a:pt x="47" y="118"/>
                    <a:pt x="48" y="119"/>
                    <a:pt x="49" y="119"/>
                  </a:cubicBezTo>
                  <a:cubicBezTo>
                    <a:pt x="49" y="120"/>
                    <a:pt x="50" y="120"/>
                    <a:pt x="50" y="120"/>
                  </a:cubicBezTo>
                  <a:cubicBezTo>
                    <a:pt x="50" y="120"/>
                    <a:pt x="51" y="120"/>
                    <a:pt x="51" y="120"/>
                  </a:cubicBezTo>
                  <a:cubicBezTo>
                    <a:pt x="52" y="120"/>
                    <a:pt x="52" y="120"/>
                    <a:pt x="52" y="120"/>
                  </a:cubicBezTo>
                  <a:cubicBezTo>
                    <a:pt x="53" y="119"/>
                    <a:pt x="53" y="119"/>
                    <a:pt x="53" y="118"/>
                  </a:cubicBezTo>
                  <a:cubicBezTo>
                    <a:pt x="54" y="118"/>
                    <a:pt x="55" y="119"/>
                    <a:pt x="56" y="119"/>
                  </a:cubicBezTo>
                  <a:cubicBezTo>
                    <a:pt x="57" y="119"/>
                    <a:pt x="60" y="117"/>
                    <a:pt x="61" y="116"/>
                  </a:cubicBezTo>
                  <a:cubicBezTo>
                    <a:pt x="61" y="115"/>
                    <a:pt x="61" y="114"/>
                    <a:pt x="60" y="114"/>
                  </a:cubicBezTo>
                  <a:cubicBezTo>
                    <a:pt x="59" y="113"/>
                    <a:pt x="59" y="112"/>
                    <a:pt x="58" y="112"/>
                  </a:cubicBezTo>
                  <a:cubicBezTo>
                    <a:pt x="58" y="111"/>
                    <a:pt x="57" y="110"/>
                    <a:pt x="57" y="109"/>
                  </a:cubicBezTo>
                  <a:cubicBezTo>
                    <a:pt x="57" y="108"/>
                    <a:pt x="57" y="108"/>
                    <a:pt x="56" y="108"/>
                  </a:cubicBezTo>
                  <a:cubicBezTo>
                    <a:pt x="56" y="108"/>
                    <a:pt x="56" y="107"/>
                    <a:pt x="56" y="107"/>
                  </a:cubicBezTo>
                  <a:cubicBezTo>
                    <a:pt x="55" y="106"/>
                    <a:pt x="56" y="105"/>
                    <a:pt x="56" y="104"/>
                  </a:cubicBezTo>
                  <a:cubicBezTo>
                    <a:pt x="57" y="103"/>
                    <a:pt x="57" y="103"/>
                    <a:pt x="58" y="102"/>
                  </a:cubicBezTo>
                  <a:cubicBezTo>
                    <a:pt x="58" y="102"/>
                    <a:pt x="58" y="101"/>
                    <a:pt x="58" y="101"/>
                  </a:cubicBezTo>
                  <a:cubicBezTo>
                    <a:pt x="59" y="101"/>
                    <a:pt x="58" y="102"/>
                    <a:pt x="59" y="103"/>
                  </a:cubicBezTo>
                  <a:cubicBezTo>
                    <a:pt x="60" y="104"/>
                    <a:pt x="61" y="104"/>
                    <a:pt x="62" y="105"/>
                  </a:cubicBezTo>
                  <a:cubicBezTo>
                    <a:pt x="63" y="105"/>
                    <a:pt x="64" y="106"/>
                    <a:pt x="64" y="107"/>
                  </a:cubicBezTo>
                  <a:cubicBezTo>
                    <a:pt x="65" y="107"/>
                    <a:pt x="66" y="108"/>
                    <a:pt x="66" y="108"/>
                  </a:cubicBezTo>
                  <a:cubicBezTo>
                    <a:pt x="67" y="108"/>
                    <a:pt x="67" y="108"/>
                    <a:pt x="68" y="109"/>
                  </a:cubicBezTo>
                  <a:cubicBezTo>
                    <a:pt x="68" y="110"/>
                    <a:pt x="69" y="111"/>
                    <a:pt x="69" y="112"/>
                  </a:cubicBezTo>
                  <a:cubicBezTo>
                    <a:pt x="69" y="112"/>
                    <a:pt x="70" y="113"/>
                    <a:pt x="70" y="114"/>
                  </a:cubicBezTo>
                  <a:cubicBezTo>
                    <a:pt x="71" y="114"/>
                    <a:pt x="73" y="114"/>
                    <a:pt x="74" y="114"/>
                  </a:cubicBezTo>
                  <a:cubicBezTo>
                    <a:pt x="75" y="114"/>
                    <a:pt x="75" y="114"/>
                    <a:pt x="75" y="113"/>
                  </a:cubicBezTo>
                  <a:cubicBezTo>
                    <a:pt x="76" y="112"/>
                    <a:pt x="77" y="112"/>
                    <a:pt x="77" y="111"/>
                  </a:cubicBezTo>
                  <a:cubicBezTo>
                    <a:pt x="77" y="110"/>
                    <a:pt x="77" y="109"/>
                    <a:pt x="78" y="110"/>
                  </a:cubicBezTo>
                  <a:cubicBezTo>
                    <a:pt x="79" y="111"/>
                    <a:pt x="79" y="112"/>
                    <a:pt x="80" y="112"/>
                  </a:cubicBezTo>
                  <a:cubicBezTo>
                    <a:pt x="80" y="113"/>
                    <a:pt x="80" y="113"/>
                    <a:pt x="81" y="113"/>
                  </a:cubicBezTo>
                  <a:cubicBezTo>
                    <a:pt x="81" y="113"/>
                    <a:pt x="81" y="113"/>
                    <a:pt x="82" y="113"/>
                  </a:cubicBezTo>
                  <a:cubicBezTo>
                    <a:pt x="82" y="114"/>
                    <a:pt x="83" y="115"/>
                    <a:pt x="83" y="115"/>
                  </a:cubicBezTo>
                  <a:cubicBezTo>
                    <a:pt x="85" y="117"/>
                    <a:pt x="87" y="119"/>
                    <a:pt x="90" y="119"/>
                  </a:cubicBezTo>
                  <a:cubicBezTo>
                    <a:pt x="91" y="119"/>
                    <a:pt x="91" y="119"/>
                    <a:pt x="92" y="119"/>
                  </a:cubicBezTo>
                  <a:cubicBezTo>
                    <a:pt x="92" y="119"/>
                    <a:pt x="92" y="118"/>
                    <a:pt x="93" y="118"/>
                  </a:cubicBezTo>
                  <a:cubicBezTo>
                    <a:pt x="93" y="118"/>
                    <a:pt x="93" y="117"/>
                    <a:pt x="93" y="117"/>
                  </a:cubicBezTo>
                  <a:cubicBezTo>
                    <a:pt x="94" y="116"/>
                    <a:pt x="94" y="117"/>
                    <a:pt x="95" y="117"/>
                  </a:cubicBezTo>
                  <a:cubicBezTo>
                    <a:pt x="97" y="117"/>
                    <a:pt x="99" y="115"/>
                    <a:pt x="100" y="114"/>
                  </a:cubicBezTo>
                  <a:cubicBezTo>
                    <a:pt x="101" y="113"/>
                    <a:pt x="101" y="113"/>
                    <a:pt x="100" y="112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9" y="110"/>
                    <a:pt x="99" y="110"/>
                    <a:pt x="99" y="109"/>
                  </a:cubicBezTo>
                  <a:cubicBezTo>
                    <a:pt x="99" y="108"/>
                    <a:pt x="99" y="107"/>
                    <a:pt x="99" y="106"/>
                  </a:cubicBezTo>
                  <a:cubicBezTo>
                    <a:pt x="99" y="105"/>
                    <a:pt x="99" y="104"/>
                    <a:pt x="99" y="103"/>
                  </a:cubicBezTo>
                  <a:cubicBezTo>
                    <a:pt x="99" y="103"/>
                    <a:pt x="99" y="103"/>
                    <a:pt x="99" y="102"/>
                  </a:cubicBezTo>
                  <a:cubicBezTo>
                    <a:pt x="99" y="100"/>
                    <a:pt x="100" y="100"/>
                    <a:pt x="102" y="99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2" y="96"/>
                    <a:pt x="100" y="96"/>
                    <a:pt x="100" y="94"/>
                  </a:cubicBezTo>
                  <a:cubicBezTo>
                    <a:pt x="100" y="94"/>
                    <a:pt x="101" y="93"/>
                    <a:pt x="102" y="93"/>
                  </a:cubicBezTo>
                  <a:cubicBezTo>
                    <a:pt x="102" y="92"/>
                    <a:pt x="103" y="91"/>
                    <a:pt x="104" y="90"/>
                  </a:cubicBezTo>
                  <a:cubicBezTo>
                    <a:pt x="105" y="90"/>
                    <a:pt x="105" y="89"/>
                    <a:pt x="106" y="89"/>
                  </a:cubicBezTo>
                  <a:cubicBezTo>
                    <a:pt x="107" y="88"/>
                    <a:pt x="108" y="88"/>
                    <a:pt x="109" y="88"/>
                  </a:cubicBezTo>
                  <a:cubicBezTo>
                    <a:pt x="110" y="87"/>
                    <a:pt x="110" y="87"/>
                    <a:pt x="111" y="87"/>
                  </a:cubicBezTo>
                  <a:cubicBezTo>
                    <a:pt x="112" y="87"/>
                    <a:pt x="112" y="87"/>
                    <a:pt x="113" y="88"/>
                  </a:cubicBezTo>
                  <a:cubicBezTo>
                    <a:pt x="114" y="88"/>
                    <a:pt x="113" y="88"/>
                    <a:pt x="114" y="88"/>
                  </a:cubicBezTo>
                  <a:cubicBezTo>
                    <a:pt x="116" y="87"/>
                    <a:pt x="117" y="89"/>
                    <a:pt x="119" y="89"/>
                  </a:cubicBezTo>
                  <a:cubicBezTo>
                    <a:pt x="119" y="88"/>
                    <a:pt x="119" y="87"/>
                    <a:pt x="119" y="87"/>
                  </a:cubicBezTo>
                  <a:cubicBezTo>
                    <a:pt x="119" y="87"/>
                    <a:pt x="120" y="87"/>
                    <a:pt x="120" y="87"/>
                  </a:cubicBezTo>
                  <a:cubicBezTo>
                    <a:pt x="120" y="86"/>
                    <a:pt x="123" y="87"/>
                    <a:pt x="123" y="88"/>
                  </a:cubicBezTo>
                  <a:cubicBezTo>
                    <a:pt x="124" y="88"/>
                    <a:pt x="125" y="89"/>
                    <a:pt x="126" y="89"/>
                  </a:cubicBezTo>
                  <a:cubicBezTo>
                    <a:pt x="127" y="90"/>
                    <a:pt x="129" y="91"/>
                    <a:pt x="131" y="91"/>
                  </a:cubicBezTo>
                  <a:cubicBezTo>
                    <a:pt x="132" y="91"/>
                    <a:pt x="133" y="91"/>
                    <a:pt x="133" y="91"/>
                  </a:cubicBezTo>
                  <a:cubicBezTo>
                    <a:pt x="135" y="91"/>
                    <a:pt x="137" y="91"/>
                    <a:pt x="137" y="89"/>
                  </a:cubicBezTo>
                  <a:cubicBezTo>
                    <a:pt x="138" y="88"/>
                    <a:pt x="136" y="86"/>
                    <a:pt x="135" y="84"/>
                  </a:cubicBezTo>
                  <a:cubicBezTo>
                    <a:pt x="135" y="84"/>
                    <a:pt x="135" y="82"/>
                    <a:pt x="135" y="82"/>
                  </a:cubicBezTo>
                  <a:cubicBezTo>
                    <a:pt x="134" y="82"/>
                    <a:pt x="133" y="82"/>
                    <a:pt x="132" y="82"/>
                  </a:cubicBezTo>
                  <a:cubicBezTo>
                    <a:pt x="132" y="81"/>
                    <a:pt x="132" y="82"/>
                    <a:pt x="132" y="81"/>
                  </a:cubicBezTo>
                  <a:cubicBezTo>
                    <a:pt x="131" y="81"/>
                    <a:pt x="131" y="80"/>
                    <a:pt x="131" y="79"/>
                  </a:cubicBezTo>
                  <a:cubicBezTo>
                    <a:pt x="130" y="78"/>
                    <a:pt x="130" y="76"/>
                    <a:pt x="128" y="75"/>
                  </a:cubicBezTo>
                  <a:cubicBezTo>
                    <a:pt x="128" y="75"/>
                    <a:pt x="127" y="76"/>
                    <a:pt x="126" y="75"/>
                  </a:cubicBezTo>
                  <a:cubicBezTo>
                    <a:pt x="125" y="75"/>
                    <a:pt x="125" y="73"/>
                    <a:pt x="124" y="73"/>
                  </a:cubicBezTo>
                  <a:cubicBezTo>
                    <a:pt x="123" y="72"/>
                    <a:pt x="123" y="71"/>
                    <a:pt x="122" y="71"/>
                  </a:cubicBezTo>
                  <a:cubicBezTo>
                    <a:pt x="122" y="71"/>
                    <a:pt x="122" y="71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0" y="70"/>
                    <a:pt x="119" y="70"/>
                    <a:pt x="119" y="69"/>
                  </a:cubicBezTo>
                  <a:cubicBezTo>
                    <a:pt x="119" y="69"/>
                    <a:pt x="118" y="68"/>
                    <a:pt x="118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17" y="67"/>
                    <a:pt x="117" y="66"/>
                    <a:pt x="116" y="65"/>
                  </a:cubicBezTo>
                  <a:cubicBezTo>
                    <a:pt x="116" y="65"/>
                    <a:pt x="115" y="64"/>
                    <a:pt x="115" y="64"/>
                  </a:cubicBezTo>
                  <a:cubicBezTo>
                    <a:pt x="115" y="62"/>
                    <a:pt x="116" y="61"/>
                    <a:pt x="117" y="60"/>
                  </a:cubicBezTo>
                  <a:cubicBezTo>
                    <a:pt x="118" y="59"/>
                    <a:pt x="118" y="58"/>
                    <a:pt x="119" y="58"/>
                  </a:cubicBezTo>
                  <a:cubicBezTo>
                    <a:pt x="120" y="57"/>
                    <a:pt x="121" y="58"/>
                    <a:pt x="121" y="58"/>
                  </a:cubicBezTo>
                  <a:cubicBezTo>
                    <a:pt x="122" y="58"/>
                    <a:pt x="123" y="58"/>
                    <a:pt x="123" y="58"/>
                  </a:cubicBezTo>
                  <a:cubicBezTo>
                    <a:pt x="124" y="57"/>
                    <a:pt x="124" y="55"/>
                    <a:pt x="125" y="55"/>
                  </a:cubicBezTo>
                  <a:cubicBezTo>
                    <a:pt x="126" y="54"/>
                    <a:pt x="125" y="54"/>
                    <a:pt x="126" y="54"/>
                  </a:cubicBezTo>
                  <a:cubicBezTo>
                    <a:pt x="127" y="54"/>
                    <a:pt x="128" y="54"/>
                    <a:pt x="128" y="53"/>
                  </a:cubicBezTo>
                  <a:cubicBezTo>
                    <a:pt x="129" y="53"/>
                    <a:pt x="129" y="53"/>
                    <a:pt x="130" y="52"/>
                  </a:cubicBezTo>
                  <a:cubicBezTo>
                    <a:pt x="130" y="51"/>
                    <a:pt x="132" y="50"/>
                    <a:pt x="133" y="50"/>
                  </a:cubicBezTo>
                  <a:cubicBezTo>
                    <a:pt x="134" y="50"/>
                    <a:pt x="135" y="50"/>
                    <a:pt x="136" y="50"/>
                  </a:cubicBezTo>
                  <a:cubicBezTo>
                    <a:pt x="137" y="49"/>
                    <a:pt x="136" y="47"/>
                    <a:pt x="137" y="47"/>
                  </a:cubicBezTo>
                  <a:cubicBezTo>
                    <a:pt x="138" y="46"/>
                    <a:pt x="140" y="47"/>
                    <a:pt x="141" y="47"/>
                  </a:cubicBezTo>
                  <a:cubicBezTo>
                    <a:pt x="142" y="47"/>
                    <a:pt x="142" y="47"/>
                    <a:pt x="142" y="46"/>
                  </a:cubicBezTo>
                  <a:cubicBezTo>
                    <a:pt x="142" y="46"/>
                    <a:pt x="142" y="45"/>
                    <a:pt x="142" y="45"/>
                  </a:cubicBezTo>
                  <a:cubicBezTo>
                    <a:pt x="142" y="44"/>
                    <a:pt x="143" y="44"/>
                    <a:pt x="144" y="43"/>
                  </a:cubicBezTo>
                  <a:cubicBezTo>
                    <a:pt x="146" y="43"/>
                    <a:pt x="148" y="42"/>
                    <a:pt x="150" y="43"/>
                  </a:cubicBezTo>
                  <a:cubicBezTo>
                    <a:pt x="151" y="43"/>
                    <a:pt x="152" y="43"/>
                    <a:pt x="152" y="43"/>
                  </a:cubicBezTo>
                  <a:cubicBezTo>
                    <a:pt x="153" y="43"/>
                    <a:pt x="153" y="42"/>
                    <a:pt x="153" y="42"/>
                  </a:cubicBezTo>
                  <a:cubicBezTo>
                    <a:pt x="153" y="41"/>
                    <a:pt x="152" y="41"/>
                    <a:pt x="152" y="40"/>
                  </a:cubicBezTo>
                  <a:cubicBezTo>
                    <a:pt x="151" y="39"/>
                    <a:pt x="151" y="38"/>
                    <a:pt x="150" y="37"/>
                  </a:cubicBezTo>
                  <a:cubicBezTo>
                    <a:pt x="150" y="37"/>
                    <a:pt x="149" y="36"/>
                    <a:pt x="148" y="35"/>
                  </a:cubicBezTo>
                  <a:cubicBezTo>
                    <a:pt x="148" y="35"/>
                    <a:pt x="148" y="34"/>
                    <a:pt x="149" y="34"/>
                  </a:cubicBezTo>
                  <a:cubicBezTo>
                    <a:pt x="149" y="33"/>
                    <a:pt x="150" y="33"/>
                    <a:pt x="151" y="33"/>
                  </a:cubicBezTo>
                  <a:cubicBezTo>
                    <a:pt x="152" y="33"/>
                    <a:pt x="152" y="33"/>
                    <a:pt x="153" y="33"/>
                  </a:cubicBezTo>
                  <a:cubicBezTo>
                    <a:pt x="153" y="32"/>
                    <a:pt x="154" y="31"/>
                    <a:pt x="155" y="31"/>
                  </a:cubicBezTo>
                  <a:cubicBezTo>
                    <a:pt x="156" y="30"/>
                    <a:pt x="159" y="32"/>
                    <a:pt x="160" y="33"/>
                  </a:cubicBezTo>
                  <a:cubicBezTo>
                    <a:pt x="162" y="33"/>
                    <a:pt x="163" y="33"/>
                    <a:pt x="165" y="33"/>
                  </a:cubicBezTo>
                  <a:cubicBezTo>
                    <a:pt x="165" y="33"/>
                    <a:pt x="166" y="33"/>
                    <a:pt x="167" y="33"/>
                  </a:cubicBezTo>
                  <a:cubicBezTo>
                    <a:pt x="167" y="32"/>
                    <a:pt x="167" y="32"/>
                    <a:pt x="167" y="32"/>
                  </a:cubicBezTo>
                  <a:cubicBezTo>
                    <a:pt x="166" y="32"/>
                    <a:pt x="165" y="32"/>
                    <a:pt x="165" y="32"/>
                  </a:cubicBezTo>
                  <a:cubicBezTo>
                    <a:pt x="161" y="29"/>
                    <a:pt x="164" y="26"/>
                    <a:pt x="163" y="2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5" name="Freeform 26">
              <a:extLst>
                <a:ext uri="{FF2B5EF4-FFF2-40B4-BE49-F238E27FC236}">
                  <a16:creationId xmlns:a16="http://schemas.microsoft.com/office/drawing/2014/main" id="{C46DB838-AF99-4B26-8C46-C6DB55175E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5838" y="5073650"/>
              <a:ext cx="584200" cy="542925"/>
            </a:xfrm>
            <a:custGeom>
              <a:avLst/>
              <a:gdLst/>
              <a:ahLst/>
              <a:cxnLst>
                <a:cxn ang="0">
                  <a:pos x="261" y="120"/>
                </a:cxn>
                <a:cxn ang="0">
                  <a:pos x="275" y="132"/>
                </a:cxn>
                <a:cxn ang="0">
                  <a:pos x="294" y="124"/>
                </a:cxn>
                <a:cxn ang="0">
                  <a:pos x="305" y="104"/>
                </a:cxn>
                <a:cxn ang="0">
                  <a:pos x="291" y="87"/>
                </a:cxn>
                <a:cxn ang="0">
                  <a:pos x="288" y="72"/>
                </a:cxn>
                <a:cxn ang="0">
                  <a:pos x="284" y="56"/>
                </a:cxn>
                <a:cxn ang="0">
                  <a:pos x="275" y="56"/>
                </a:cxn>
                <a:cxn ang="0">
                  <a:pos x="244" y="63"/>
                </a:cxn>
                <a:cxn ang="0">
                  <a:pos x="223" y="58"/>
                </a:cxn>
                <a:cxn ang="0">
                  <a:pos x="201" y="40"/>
                </a:cxn>
                <a:cxn ang="0">
                  <a:pos x="194" y="29"/>
                </a:cxn>
                <a:cxn ang="0">
                  <a:pos x="169" y="7"/>
                </a:cxn>
                <a:cxn ang="0">
                  <a:pos x="152" y="1"/>
                </a:cxn>
                <a:cxn ang="0">
                  <a:pos x="149" y="10"/>
                </a:cxn>
                <a:cxn ang="0">
                  <a:pos x="139" y="16"/>
                </a:cxn>
                <a:cxn ang="0">
                  <a:pos x="125" y="23"/>
                </a:cxn>
                <a:cxn ang="0">
                  <a:pos x="114" y="30"/>
                </a:cxn>
                <a:cxn ang="0">
                  <a:pos x="118" y="40"/>
                </a:cxn>
                <a:cxn ang="0">
                  <a:pos x="128" y="49"/>
                </a:cxn>
                <a:cxn ang="0">
                  <a:pos x="130" y="61"/>
                </a:cxn>
                <a:cxn ang="0">
                  <a:pos x="116" y="59"/>
                </a:cxn>
                <a:cxn ang="0">
                  <a:pos x="101" y="60"/>
                </a:cxn>
                <a:cxn ang="0">
                  <a:pos x="96" y="73"/>
                </a:cxn>
                <a:cxn ang="0">
                  <a:pos x="92" y="87"/>
                </a:cxn>
                <a:cxn ang="0">
                  <a:pos x="79" y="83"/>
                </a:cxn>
                <a:cxn ang="0">
                  <a:pos x="71" y="84"/>
                </a:cxn>
                <a:cxn ang="0">
                  <a:pos x="59" y="75"/>
                </a:cxn>
                <a:cxn ang="0">
                  <a:pos x="53" y="78"/>
                </a:cxn>
                <a:cxn ang="0">
                  <a:pos x="50" y="88"/>
                </a:cxn>
                <a:cxn ang="0">
                  <a:pos x="40" y="86"/>
                </a:cxn>
                <a:cxn ang="0">
                  <a:pos x="27" y="82"/>
                </a:cxn>
                <a:cxn ang="0">
                  <a:pos x="15" y="87"/>
                </a:cxn>
                <a:cxn ang="0">
                  <a:pos x="5" y="82"/>
                </a:cxn>
                <a:cxn ang="0">
                  <a:pos x="1" y="87"/>
                </a:cxn>
                <a:cxn ang="0">
                  <a:pos x="16" y="127"/>
                </a:cxn>
                <a:cxn ang="0">
                  <a:pos x="25" y="131"/>
                </a:cxn>
                <a:cxn ang="0">
                  <a:pos x="37" y="109"/>
                </a:cxn>
                <a:cxn ang="0">
                  <a:pos x="54" y="109"/>
                </a:cxn>
                <a:cxn ang="0">
                  <a:pos x="64" y="125"/>
                </a:cxn>
                <a:cxn ang="0">
                  <a:pos x="70" y="130"/>
                </a:cxn>
                <a:cxn ang="0">
                  <a:pos x="75" y="151"/>
                </a:cxn>
                <a:cxn ang="0">
                  <a:pos x="93" y="179"/>
                </a:cxn>
                <a:cxn ang="0">
                  <a:pos x="95" y="203"/>
                </a:cxn>
                <a:cxn ang="0">
                  <a:pos x="106" y="217"/>
                </a:cxn>
                <a:cxn ang="0">
                  <a:pos x="119" y="235"/>
                </a:cxn>
                <a:cxn ang="0">
                  <a:pos x="134" y="242"/>
                </a:cxn>
                <a:cxn ang="0">
                  <a:pos x="157" y="246"/>
                </a:cxn>
                <a:cxn ang="0">
                  <a:pos x="200" y="287"/>
                </a:cxn>
                <a:cxn ang="0">
                  <a:pos x="202" y="278"/>
                </a:cxn>
                <a:cxn ang="0">
                  <a:pos x="195" y="264"/>
                </a:cxn>
                <a:cxn ang="0">
                  <a:pos x="192" y="250"/>
                </a:cxn>
                <a:cxn ang="0">
                  <a:pos x="169" y="224"/>
                </a:cxn>
                <a:cxn ang="0">
                  <a:pos x="142" y="196"/>
                </a:cxn>
                <a:cxn ang="0">
                  <a:pos x="135" y="175"/>
                </a:cxn>
                <a:cxn ang="0">
                  <a:pos x="131" y="151"/>
                </a:cxn>
                <a:cxn ang="0">
                  <a:pos x="118" y="134"/>
                </a:cxn>
                <a:cxn ang="0">
                  <a:pos x="133" y="107"/>
                </a:cxn>
                <a:cxn ang="0">
                  <a:pos x="150" y="118"/>
                </a:cxn>
                <a:cxn ang="0">
                  <a:pos x="174" y="105"/>
                </a:cxn>
                <a:cxn ang="0">
                  <a:pos x="192" y="114"/>
                </a:cxn>
                <a:cxn ang="0">
                  <a:pos x="221" y="116"/>
                </a:cxn>
                <a:cxn ang="0">
                  <a:pos x="237" y="114"/>
                </a:cxn>
              </a:cxnLst>
              <a:rect l="0" t="0" r="r" b="b"/>
              <a:pathLst>
                <a:path w="312" h="291">
                  <a:moveTo>
                    <a:pt x="9" y="78"/>
                  </a:move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moveTo>
                    <a:pt x="255" y="117"/>
                  </a:moveTo>
                  <a:cubicBezTo>
                    <a:pt x="256" y="117"/>
                    <a:pt x="257" y="118"/>
                    <a:pt x="259" y="118"/>
                  </a:cubicBezTo>
                  <a:cubicBezTo>
                    <a:pt x="259" y="119"/>
                    <a:pt x="260" y="120"/>
                    <a:pt x="261" y="120"/>
                  </a:cubicBezTo>
                  <a:cubicBezTo>
                    <a:pt x="263" y="121"/>
                    <a:pt x="266" y="121"/>
                    <a:pt x="267" y="121"/>
                  </a:cubicBezTo>
                  <a:cubicBezTo>
                    <a:pt x="268" y="118"/>
                    <a:pt x="272" y="120"/>
                    <a:pt x="273" y="122"/>
                  </a:cubicBezTo>
                  <a:cubicBezTo>
                    <a:pt x="273" y="122"/>
                    <a:pt x="273" y="123"/>
                    <a:pt x="273" y="124"/>
                  </a:cubicBezTo>
                  <a:cubicBezTo>
                    <a:pt x="273" y="124"/>
                    <a:pt x="274" y="125"/>
                    <a:pt x="274" y="125"/>
                  </a:cubicBezTo>
                  <a:cubicBezTo>
                    <a:pt x="275" y="126"/>
                    <a:pt x="277" y="127"/>
                    <a:pt x="277" y="128"/>
                  </a:cubicBezTo>
                  <a:cubicBezTo>
                    <a:pt x="276" y="130"/>
                    <a:pt x="275" y="130"/>
                    <a:pt x="275" y="132"/>
                  </a:cubicBezTo>
                  <a:cubicBezTo>
                    <a:pt x="275" y="134"/>
                    <a:pt x="276" y="136"/>
                    <a:pt x="278" y="137"/>
                  </a:cubicBezTo>
                  <a:cubicBezTo>
                    <a:pt x="279" y="137"/>
                    <a:pt x="278" y="137"/>
                    <a:pt x="280" y="138"/>
                  </a:cubicBezTo>
                  <a:cubicBezTo>
                    <a:pt x="281" y="138"/>
                    <a:pt x="282" y="138"/>
                    <a:pt x="282" y="138"/>
                  </a:cubicBezTo>
                  <a:cubicBezTo>
                    <a:pt x="284" y="137"/>
                    <a:pt x="286" y="137"/>
                    <a:pt x="288" y="136"/>
                  </a:cubicBezTo>
                  <a:cubicBezTo>
                    <a:pt x="290" y="135"/>
                    <a:pt x="297" y="134"/>
                    <a:pt x="295" y="131"/>
                  </a:cubicBezTo>
                  <a:cubicBezTo>
                    <a:pt x="294" y="128"/>
                    <a:pt x="291" y="126"/>
                    <a:pt x="294" y="124"/>
                  </a:cubicBezTo>
                  <a:cubicBezTo>
                    <a:pt x="294" y="123"/>
                    <a:pt x="296" y="122"/>
                    <a:pt x="296" y="121"/>
                  </a:cubicBezTo>
                  <a:cubicBezTo>
                    <a:pt x="296" y="120"/>
                    <a:pt x="295" y="119"/>
                    <a:pt x="296" y="118"/>
                  </a:cubicBezTo>
                  <a:cubicBezTo>
                    <a:pt x="297" y="116"/>
                    <a:pt x="301" y="115"/>
                    <a:pt x="303" y="114"/>
                  </a:cubicBezTo>
                  <a:cubicBezTo>
                    <a:pt x="305" y="114"/>
                    <a:pt x="312" y="114"/>
                    <a:pt x="310" y="110"/>
                  </a:cubicBezTo>
                  <a:cubicBezTo>
                    <a:pt x="310" y="109"/>
                    <a:pt x="309" y="109"/>
                    <a:pt x="308" y="108"/>
                  </a:cubicBezTo>
                  <a:cubicBezTo>
                    <a:pt x="307" y="107"/>
                    <a:pt x="306" y="105"/>
                    <a:pt x="305" y="104"/>
                  </a:cubicBezTo>
                  <a:cubicBezTo>
                    <a:pt x="303" y="102"/>
                    <a:pt x="303" y="102"/>
                    <a:pt x="301" y="102"/>
                  </a:cubicBezTo>
                  <a:cubicBezTo>
                    <a:pt x="297" y="101"/>
                    <a:pt x="294" y="99"/>
                    <a:pt x="292" y="98"/>
                  </a:cubicBezTo>
                  <a:cubicBezTo>
                    <a:pt x="291" y="98"/>
                    <a:pt x="290" y="97"/>
                    <a:pt x="290" y="96"/>
                  </a:cubicBezTo>
                  <a:cubicBezTo>
                    <a:pt x="288" y="94"/>
                    <a:pt x="292" y="93"/>
                    <a:pt x="292" y="90"/>
                  </a:cubicBezTo>
                  <a:cubicBezTo>
                    <a:pt x="291" y="89"/>
                    <a:pt x="290" y="89"/>
                    <a:pt x="290" y="88"/>
                  </a:cubicBezTo>
                  <a:cubicBezTo>
                    <a:pt x="290" y="87"/>
                    <a:pt x="291" y="87"/>
                    <a:pt x="291" y="87"/>
                  </a:cubicBezTo>
                  <a:cubicBezTo>
                    <a:pt x="292" y="85"/>
                    <a:pt x="291" y="84"/>
                    <a:pt x="290" y="83"/>
                  </a:cubicBezTo>
                  <a:cubicBezTo>
                    <a:pt x="290" y="82"/>
                    <a:pt x="290" y="82"/>
                    <a:pt x="289" y="82"/>
                  </a:cubicBezTo>
                  <a:cubicBezTo>
                    <a:pt x="288" y="80"/>
                    <a:pt x="288" y="81"/>
                    <a:pt x="286" y="80"/>
                  </a:cubicBezTo>
                  <a:cubicBezTo>
                    <a:pt x="286" y="79"/>
                    <a:pt x="286" y="78"/>
                    <a:pt x="286" y="76"/>
                  </a:cubicBezTo>
                  <a:cubicBezTo>
                    <a:pt x="286" y="75"/>
                    <a:pt x="287" y="75"/>
                    <a:pt x="287" y="74"/>
                  </a:cubicBezTo>
                  <a:cubicBezTo>
                    <a:pt x="287" y="73"/>
                    <a:pt x="288" y="73"/>
                    <a:pt x="288" y="72"/>
                  </a:cubicBezTo>
                  <a:cubicBezTo>
                    <a:pt x="288" y="70"/>
                    <a:pt x="286" y="70"/>
                    <a:pt x="286" y="68"/>
                  </a:cubicBezTo>
                  <a:cubicBezTo>
                    <a:pt x="286" y="67"/>
                    <a:pt x="286" y="65"/>
                    <a:pt x="286" y="64"/>
                  </a:cubicBezTo>
                  <a:cubicBezTo>
                    <a:pt x="286" y="64"/>
                    <a:pt x="286" y="63"/>
                    <a:pt x="286" y="63"/>
                  </a:cubicBezTo>
                  <a:cubicBezTo>
                    <a:pt x="286" y="62"/>
                    <a:pt x="285" y="62"/>
                    <a:pt x="285" y="62"/>
                  </a:cubicBezTo>
                  <a:cubicBezTo>
                    <a:pt x="285" y="62"/>
                    <a:pt x="285" y="61"/>
                    <a:pt x="284" y="60"/>
                  </a:cubicBezTo>
                  <a:cubicBezTo>
                    <a:pt x="284" y="59"/>
                    <a:pt x="284" y="58"/>
                    <a:pt x="284" y="56"/>
                  </a:cubicBezTo>
                  <a:cubicBezTo>
                    <a:pt x="284" y="54"/>
                    <a:pt x="284" y="52"/>
                    <a:pt x="284" y="50"/>
                  </a:cubicBezTo>
                  <a:cubicBezTo>
                    <a:pt x="284" y="50"/>
                    <a:pt x="284" y="50"/>
                    <a:pt x="284" y="51"/>
                  </a:cubicBezTo>
                  <a:cubicBezTo>
                    <a:pt x="283" y="51"/>
                    <a:pt x="283" y="52"/>
                    <a:pt x="282" y="52"/>
                  </a:cubicBezTo>
                  <a:cubicBezTo>
                    <a:pt x="282" y="52"/>
                    <a:pt x="281" y="52"/>
                    <a:pt x="281" y="51"/>
                  </a:cubicBezTo>
                  <a:cubicBezTo>
                    <a:pt x="279" y="50"/>
                    <a:pt x="278" y="54"/>
                    <a:pt x="277" y="55"/>
                  </a:cubicBezTo>
                  <a:cubicBezTo>
                    <a:pt x="277" y="55"/>
                    <a:pt x="275" y="56"/>
                    <a:pt x="275" y="56"/>
                  </a:cubicBezTo>
                  <a:cubicBezTo>
                    <a:pt x="274" y="56"/>
                    <a:pt x="272" y="57"/>
                    <a:pt x="271" y="57"/>
                  </a:cubicBezTo>
                  <a:cubicBezTo>
                    <a:pt x="270" y="58"/>
                    <a:pt x="269" y="58"/>
                    <a:pt x="269" y="59"/>
                  </a:cubicBezTo>
                  <a:cubicBezTo>
                    <a:pt x="268" y="60"/>
                    <a:pt x="268" y="62"/>
                    <a:pt x="268" y="63"/>
                  </a:cubicBezTo>
                  <a:cubicBezTo>
                    <a:pt x="265" y="65"/>
                    <a:pt x="259" y="62"/>
                    <a:pt x="256" y="63"/>
                  </a:cubicBezTo>
                  <a:cubicBezTo>
                    <a:pt x="253" y="63"/>
                    <a:pt x="251" y="63"/>
                    <a:pt x="249" y="63"/>
                  </a:cubicBezTo>
                  <a:cubicBezTo>
                    <a:pt x="247" y="63"/>
                    <a:pt x="246" y="63"/>
                    <a:pt x="244" y="63"/>
                  </a:cubicBezTo>
                  <a:cubicBezTo>
                    <a:pt x="244" y="63"/>
                    <a:pt x="243" y="63"/>
                    <a:pt x="242" y="63"/>
                  </a:cubicBezTo>
                  <a:cubicBezTo>
                    <a:pt x="241" y="62"/>
                    <a:pt x="241" y="62"/>
                    <a:pt x="240" y="62"/>
                  </a:cubicBezTo>
                  <a:cubicBezTo>
                    <a:pt x="239" y="61"/>
                    <a:pt x="237" y="62"/>
                    <a:pt x="236" y="61"/>
                  </a:cubicBezTo>
                  <a:cubicBezTo>
                    <a:pt x="234" y="61"/>
                    <a:pt x="232" y="60"/>
                    <a:pt x="230" y="60"/>
                  </a:cubicBezTo>
                  <a:cubicBezTo>
                    <a:pt x="229" y="60"/>
                    <a:pt x="227" y="60"/>
                    <a:pt x="225" y="60"/>
                  </a:cubicBezTo>
                  <a:cubicBezTo>
                    <a:pt x="224" y="59"/>
                    <a:pt x="224" y="59"/>
                    <a:pt x="223" y="58"/>
                  </a:cubicBezTo>
                  <a:cubicBezTo>
                    <a:pt x="222" y="56"/>
                    <a:pt x="220" y="55"/>
                    <a:pt x="218" y="54"/>
                  </a:cubicBezTo>
                  <a:cubicBezTo>
                    <a:pt x="218" y="53"/>
                    <a:pt x="218" y="53"/>
                    <a:pt x="217" y="52"/>
                  </a:cubicBezTo>
                  <a:cubicBezTo>
                    <a:pt x="216" y="52"/>
                    <a:pt x="216" y="52"/>
                    <a:pt x="215" y="52"/>
                  </a:cubicBezTo>
                  <a:cubicBezTo>
                    <a:pt x="212" y="52"/>
                    <a:pt x="212" y="51"/>
                    <a:pt x="210" y="50"/>
                  </a:cubicBezTo>
                  <a:cubicBezTo>
                    <a:pt x="208" y="49"/>
                    <a:pt x="205" y="49"/>
                    <a:pt x="203" y="47"/>
                  </a:cubicBezTo>
                  <a:cubicBezTo>
                    <a:pt x="202" y="45"/>
                    <a:pt x="202" y="42"/>
                    <a:pt x="201" y="40"/>
                  </a:cubicBezTo>
                  <a:cubicBezTo>
                    <a:pt x="200" y="38"/>
                    <a:pt x="199" y="38"/>
                    <a:pt x="198" y="36"/>
                  </a:cubicBezTo>
                  <a:cubicBezTo>
                    <a:pt x="197" y="36"/>
                    <a:pt x="197" y="35"/>
                    <a:pt x="196" y="35"/>
                  </a:cubicBezTo>
                  <a:cubicBezTo>
                    <a:pt x="196" y="34"/>
                    <a:pt x="196" y="34"/>
                    <a:pt x="195" y="34"/>
                  </a:cubicBezTo>
                  <a:cubicBezTo>
                    <a:pt x="196" y="33"/>
                    <a:pt x="196" y="33"/>
                    <a:pt x="195" y="33"/>
                  </a:cubicBezTo>
                  <a:cubicBezTo>
                    <a:pt x="195" y="32"/>
                    <a:pt x="194" y="31"/>
                    <a:pt x="193" y="30"/>
                  </a:cubicBezTo>
                  <a:cubicBezTo>
                    <a:pt x="193" y="30"/>
                    <a:pt x="193" y="29"/>
                    <a:pt x="194" y="29"/>
                  </a:cubicBezTo>
                  <a:cubicBezTo>
                    <a:pt x="192" y="30"/>
                    <a:pt x="191" y="28"/>
                    <a:pt x="190" y="28"/>
                  </a:cubicBezTo>
                  <a:cubicBezTo>
                    <a:pt x="189" y="27"/>
                    <a:pt x="187" y="27"/>
                    <a:pt x="186" y="26"/>
                  </a:cubicBezTo>
                  <a:cubicBezTo>
                    <a:pt x="183" y="24"/>
                    <a:pt x="183" y="23"/>
                    <a:pt x="184" y="20"/>
                  </a:cubicBezTo>
                  <a:cubicBezTo>
                    <a:pt x="182" y="20"/>
                    <a:pt x="180" y="19"/>
                    <a:pt x="179" y="18"/>
                  </a:cubicBezTo>
                  <a:cubicBezTo>
                    <a:pt x="178" y="17"/>
                    <a:pt x="178" y="15"/>
                    <a:pt x="177" y="14"/>
                  </a:cubicBezTo>
                  <a:cubicBezTo>
                    <a:pt x="175" y="11"/>
                    <a:pt x="172" y="9"/>
                    <a:pt x="169" y="7"/>
                  </a:cubicBezTo>
                  <a:cubicBezTo>
                    <a:pt x="167" y="6"/>
                    <a:pt x="166" y="5"/>
                    <a:pt x="165" y="4"/>
                  </a:cubicBezTo>
                  <a:cubicBezTo>
                    <a:pt x="165" y="4"/>
                    <a:pt x="164" y="2"/>
                    <a:pt x="164" y="2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3" y="3"/>
                    <a:pt x="162" y="3"/>
                    <a:pt x="162" y="3"/>
                  </a:cubicBezTo>
                  <a:cubicBezTo>
                    <a:pt x="160" y="3"/>
                    <a:pt x="159" y="3"/>
                    <a:pt x="157" y="3"/>
                  </a:cubicBezTo>
                  <a:cubicBezTo>
                    <a:pt x="156" y="2"/>
                    <a:pt x="153" y="0"/>
                    <a:pt x="152" y="1"/>
                  </a:cubicBezTo>
                  <a:cubicBezTo>
                    <a:pt x="151" y="1"/>
                    <a:pt x="150" y="2"/>
                    <a:pt x="150" y="3"/>
                  </a:cubicBezTo>
                  <a:cubicBezTo>
                    <a:pt x="149" y="3"/>
                    <a:pt x="149" y="3"/>
                    <a:pt x="148" y="3"/>
                  </a:cubicBezTo>
                  <a:cubicBezTo>
                    <a:pt x="147" y="3"/>
                    <a:pt x="146" y="3"/>
                    <a:pt x="146" y="4"/>
                  </a:cubicBezTo>
                  <a:cubicBezTo>
                    <a:pt x="145" y="4"/>
                    <a:pt x="145" y="5"/>
                    <a:pt x="145" y="5"/>
                  </a:cubicBezTo>
                  <a:cubicBezTo>
                    <a:pt x="146" y="6"/>
                    <a:pt x="147" y="7"/>
                    <a:pt x="147" y="7"/>
                  </a:cubicBezTo>
                  <a:cubicBezTo>
                    <a:pt x="148" y="8"/>
                    <a:pt x="148" y="9"/>
                    <a:pt x="149" y="10"/>
                  </a:cubicBezTo>
                  <a:cubicBezTo>
                    <a:pt x="149" y="11"/>
                    <a:pt x="150" y="11"/>
                    <a:pt x="150" y="12"/>
                  </a:cubicBezTo>
                  <a:cubicBezTo>
                    <a:pt x="150" y="12"/>
                    <a:pt x="150" y="13"/>
                    <a:pt x="149" y="13"/>
                  </a:cubicBezTo>
                  <a:cubicBezTo>
                    <a:pt x="149" y="13"/>
                    <a:pt x="148" y="13"/>
                    <a:pt x="147" y="13"/>
                  </a:cubicBezTo>
                  <a:cubicBezTo>
                    <a:pt x="145" y="12"/>
                    <a:pt x="143" y="13"/>
                    <a:pt x="141" y="13"/>
                  </a:cubicBezTo>
                  <a:cubicBezTo>
                    <a:pt x="140" y="14"/>
                    <a:pt x="139" y="14"/>
                    <a:pt x="139" y="15"/>
                  </a:cubicBezTo>
                  <a:cubicBezTo>
                    <a:pt x="139" y="15"/>
                    <a:pt x="139" y="16"/>
                    <a:pt x="139" y="16"/>
                  </a:cubicBezTo>
                  <a:cubicBezTo>
                    <a:pt x="139" y="17"/>
                    <a:pt x="139" y="17"/>
                    <a:pt x="138" y="17"/>
                  </a:cubicBezTo>
                  <a:cubicBezTo>
                    <a:pt x="137" y="17"/>
                    <a:pt x="135" y="16"/>
                    <a:pt x="134" y="17"/>
                  </a:cubicBezTo>
                  <a:cubicBezTo>
                    <a:pt x="133" y="17"/>
                    <a:pt x="134" y="19"/>
                    <a:pt x="133" y="20"/>
                  </a:cubicBezTo>
                  <a:cubicBezTo>
                    <a:pt x="132" y="20"/>
                    <a:pt x="131" y="20"/>
                    <a:pt x="130" y="20"/>
                  </a:cubicBezTo>
                  <a:cubicBezTo>
                    <a:pt x="129" y="20"/>
                    <a:pt x="127" y="21"/>
                    <a:pt x="127" y="22"/>
                  </a:cubicBezTo>
                  <a:cubicBezTo>
                    <a:pt x="126" y="23"/>
                    <a:pt x="126" y="23"/>
                    <a:pt x="125" y="23"/>
                  </a:cubicBezTo>
                  <a:cubicBezTo>
                    <a:pt x="125" y="24"/>
                    <a:pt x="124" y="24"/>
                    <a:pt x="123" y="24"/>
                  </a:cubicBezTo>
                  <a:cubicBezTo>
                    <a:pt x="122" y="24"/>
                    <a:pt x="123" y="24"/>
                    <a:pt x="122" y="25"/>
                  </a:cubicBezTo>
                  <a:cubicBezTo>
                    <a:pt x="121" y="25"/>
                    <a:pt x="121" y="27"/>
                    <a:pt x="120" y="28"/>
                  </a:cubicBezTo>
                  <a:cubicBezTo>
                    <a:pt x="120" y="28"/>
                    <a:pt x="119" y="28"/>
                    <a:pt x="118" y="28"/>
                  </a:cubicBezTo>
                  <a:cubicBezTo>
                    <a:pt x="118" y="28"/>
                    <a:pt x="117" y="27"/>
                    <a:pt x="116" y="28"/>
                  </a:cubicBezTo>
                  <a:cubicBezTo>
                    <a:pt x="115" y="28"/>
                    <a:pt x="115" y="29"/>
                    <a:pt x="114" y="30"/>
                  </a:cubicBezTo>
                  <a:cubicBezTo>
                    <a:pt x="113" y="31"/>
                    <a:pt x="112" y="32"/>
                    <a:pt x="112" y="34"/>
                  </a:cubicBezTo>
                  <a:cubicBezTo>
                    <a:pt x="112" y="34"/>
                    <a:pt x="113" y="35"/>
                    <a:pt x="113" y="35"/>
                  </a:cubicBezTo>
                  <a:cubicBezTo>
                    <a:pt x="114" y="36"/>
                    <a:pt x="114" y="37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6" y="39"/>
                    <a:pt x="116" y="39"/>
                  </a:cubicBezTo>
                  <a:cubicBezTo>
                    <a:pt x="116" y="40"/>
                    <a:pt x="117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0" y="41"/>
                    <a:pt x="120" y="42"/>
                    <a:pt x="121" y="43"/>
                  </a:cubicBezTo>
                  <a:cubicBezTo>
                    <a:pt x="122" y="43"/>
                    <a:pt x="122" y="45"/>
                    <a:pt x="123" y="45"/>
                  </a:cubicBezTo>
                  <a:cubicBezTo>
                    <a:pt x="124" y="46"/>
                    <a:pt x="125" y="45"/>
                    <a:pt x="125" y="45"/>
                  </a:cubicBezTo>
                  <a:cubicBezTo>
                    <a:pt x="127" y="46"/>
                    <a:pt x="127" y="48"/>
                    <a:pt x="128" y="49"/>
                  </a:cubicBezTo>
                  <a:cubicBezTo>
                    <a:pt x="128" y="50"/>
                    <a:pt x="128" y="51"/>
                    <a:pt x="129" y="51"/>
                  </a:cubicBezTo>
                  <a:cubicBezTo>
                    <a:pt x="129" y="52"/>
                    <a:pt x="129" y="51"/>
                    <a:pt x="129" y="52"/>
                  </a:cubicBezTo>
                  <a:cubicBezTo>
                    <a:pt x="130" y="52"/>
                    <a:pt x="131" y="52"/>
                    <a:pt x="132" y="52"/>
                  </a:cubicBezTo>
                  <a:cubicBezTo>
                    <a:pt x="132" y="52"/>
                    <a:pt x="132" y="54"/>
                    <a:pt x="132" y="54"/>
                  </a:cubicBezTo>
                  <a:cubicBezTo>
                    <a:pt x="133" y="56"/>
                    <a:pt x="135" y="58"/>
                    <a:pt x="134" y="59"/>
                  </a:cubicBezTo>
                  <a:cubicBezTo>
                    <a:pt x="134" y="61"/>
                    <a:pt x="132" y="61"/>
                    <a:pt x="130" y="61"/>
                  </a:cubicBezTo>
                  <a:cubicBezTo>
                    <a:pt x="130" y="61"/>
                    <a:pt x="129" y="61"/>
                    <a:pt x="128" y="61"/>
                  </a:cubicBezTo>
                  <a:cubicBezTo>
                    <a:pt x="126" y="61"/>
                    <a:pt x="124" y="60"/>
                    <a:pt x="123" y="59"/>
                  </a:cubicBezTo>
                  <a:cubicBezTo>
                    <a:pt x="122" y="59"/>
                    <a:pt x="121" y="58"/>
                    <a:pt x="120" y="58"/>
                  </a:cubicBezTo>
                  <a:cubicBezTo>
                    <a:pt x="120" y="57"/>
                    <a:pt x="117" y="56"/>
                    <a:pt x="117" y="57"/>
                  </a:cubicBezTo>
                  <a:cubicBezTo>
                    <a:pt x="117" y="57"/>
                    <a:pt x="116" y="57"/>
                    <a:pt x="116" y="57"/>
                  </a:cubicBezTo>
                  <a:cubicBezTo>
                    <a:pt x="116" y="57"/>
                    <a:pt x="116" y="58"/>
                    <a:pt x="116" y="59"/>
                  </a:cubicBezTo>
                  <a:cubicBezTo>
                    <a:pt x="114" y="59"/>
                    <a:pt x="113" y="57"/>
                    <a:pt x="111" y="58"/>
                  </a:cubicBezTo>
                  <a:cubicBezTo>
                    <a:pt x="110" y="58"/>
                    <a:pt x="111" y="58"/>
                    <a:pt x="110" y="58"/>
                  </a:cubicBezTo>
                  <a:cubicBezTo>
                    <a:pt x="109" y="57"/>
                    <a:pt x="109" y="57"/>
                    <a:pt x="108" y="57"/>
                  </a:cubicBezTo>
                  <a:cubicBezTo>
                    <a:pt x="107" y="57"/>
                    <a:pt x="107" y="57"/>
                    <a:pt x="106" y="58"/>
                  </a:cubicBezTo>
                  <a:cubicBezTo>
                    <a:pt x="105" y="58"/>
                    <a:pt x="104" y="58"/>
                    <a:pt x="103" y="59"/>
                  </a:cubicBezTo>
                  <a:cubicBezTo>
                    <a:pt x="102" y="59"/>
                    <a:pt x="102" y="60"/>
                    <a:pt x="101" y="60"/>
                  </a:cubicBezTo>
                  <a:cubicBezTo>
                    <a:pt x="100" y="61"/>
                    <a:pt x="99" y="62"/>
                    <a:pt x="99" y="63"/>
                  </a:cubicBezTo>
                  <a:cubicBezTo>
                    <a:pt x="98" y="63"/>
                    <a:pt x="97" y="64"/>
                    <a:pt x="97" y="64"/>
                  </a:cubicBezTo>
                  <a:cubicBezTo>
                    <a:pt x="97" y="66"/>
                    <a:pt x="99" y="66"/>
                    <a:pt x="99" y="68"/>
                  </a:cubicBezTo>
                  <a:cubicBezTo>
                    <a:pt x="99" y="68"/>
                    <a:pt x="99" y="68"/>
                    <a:pt x="99" y="69"/>
                  </a:cubicBezTo>
                  <a:cubicBezTo>
                    <a:pt x="97" y="70"/>
                    <a:pt x="96" y="70"/>
                    <a:pt x="96" y="72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4"/>
                    <a:pt x="96" y="75"/>
                    <a:pt x="96" y="76"/>
                  </a:cubicBezTo>
                  <a:cubicBezTo>
                    <a:pt x="96" y="77"/>
                    <a:pt x="96" y="78"/>
                    <a:pt x="96" y="79"/>
                  </a:cubicBezTo>
                  <a:cubicBezTo>
                    <a:pt x="96" y="80"/>
                    <a:pt x="96" y="80"/>
                    <a:pt x="96" y="81"/>
                  </a:cubicBezTo>
                  <a:cubicBezTo>
                    <a:pt x="96" y="81"/>
                    <a:pt x="96" y="81"/>
                    <a:pt x="97" y="82"/>
                  </a:cubicBezTo>
                  <a:cubicBezTo>
                    <a:pt x="98" y="83"/>
                    <a:pt x="98" y="83"/>
                    <a:pt x="97" y="84"/>
                  </a:cubicBezTo>
                  <a:cubicBezTo>
                    <a:pt x="96" y="85"/>
                    <a:pt x="94" y="87"/>
                    <a:pt x="92" y="87"/>
                  </a:cubicBezTo>
                  <a:cubicBezTo>
                    <a:pt x="91" y="87"/>
                    <a:pt x="91" y="86"/>
                    <a:pt x="90" y="87"/>
                  </a:cubicBezTo>
                  <a:cubicBezTo>
                    <a:pt x="90" y="87"/>
                    <a:pt x="90" y="88"/>
                    <a:pt x="90" y="88"/>
                  </a:cubicBezTo>
                  <a:cubicBezTo>
                    <a:pt x="89" y="88"/>
                    <a:pt x="89" y="89"/>
                    <a:pt x="89" y="89"/>
                  </a:cubicBezTo>
                  <a:cubicBezTo>
                    <a:pt x="88" y="89"/>
                    <a:pt x="88" y="89"/>
                    <a:pt x="87" y="89"/>
                  </a:cubicBezTo>
                  <a:cubicBezTo>
                    <a:pt x="84" y="89"/>
                    <a:pt x="82" y="87"/>
                    <a:pt x="80" y="85"/>
                  </a:cubicBezTo>
                  <a:cubicBezTo>
                    <a:pt x="80" y="85"/>
                    <a:pt x="79" y="84"/>
                    <a:pt x="79" y="83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77" y="83"/>
                    <a:pt x="77" y="83"/>
                    <a:pt x="77" y="82"/>
                  </a:cubicBezTo>
                  <a:cubicBezTo>
                    <a:pt x="76" y="82"/>
                    <a:pt x="76" y="81"/>
                    <a:pt x="75" y="80"/>
                  </a:cubicBezTo>
                  <a:cubicBezTo>
                    <a:pt x="74" y="79"/>
                    <a:pt x="74" y="80"/>
                    <a:pt x="74" y="81"/>
                  </a:cubicBezTo>
                  <a:cubicBezTo>
                    <a:pt x="74" y="82"/>
                    <a:pt x="73" y="82"/>
                    <a:pt x="72" y="83"/>
                  </a:cubicBezTo>
                  <a:cubicBezTo>
                    <a:pt x="72" y="84"/>
                    <a:pt x="72" y="84"/>
                    <a:pt x="71" y="84"/>
                  </a:cubicBezTo>
                  <a:cubicBezTo>
                    <a:pt x="70" y="84"/>
                    <a:pt x="68" y="84"/>
                    <a:pt x="67" y="84"/>
                  </a:cubicBezTo>
                  <a:cubicBezTo>
                    <a:pt x="67" y="83"/>
                    <a:pt x="66" y="82"/>
                    <a:pt x="66" y="82"/>
                  </a:cubicBezTo>
                  <a:cubicBezTo>
                    <a:pt x="66" y="81"/>
                    <a:pt x="65" y="80"/>
                    <a:pt x="65" y="79"/>
                  </a:cubicBezTo>
                  <a:cubicBezTo>
                    <a:pt x="64" y="78"/>
                    <a:pt x="64" y="78"/>
                    <a:pt x="63" y="78"/>
                  </a:cubicBezTo>
                  <a:cubicBezTo>
                    <a:pt x="63" y="78"/>
                    <a:pt x="62" y="77"/>
                    <a:pt x="61" y="77"/>
                  </a:cubicBezTo>
                  <a:cubicBezTo>
                    <a:pt x="61" y="76"/>
                    <a:pt x="60" y="75"/>
                    <a:pt x="59" y="75"/>
                  </a:cubicBezTo>
                  <a:cubicBezTo>
                    <a:pt x="58" y="74"/>
                    <a:pt x="57" y="74"/>
                    <a:pt x="56" y="73"/>
                  </a:cubicBezTo>
                  <a:cubicBezTo>
                    <a:pt x="55" y="72"/>
                    <a:pt x="56" y="71"/>
                    <a:pt x="55" y="71"/>
                  </a:cubicBezTo>
                  <a:cubicBezTo>
                    <a:pt x="55" y="71"/>
                    <a:pt x="55" y="72"/>
                    <a:pt x="55" y="72"/>
                  </a:cubicBezTo>
                  <a:cubicBezTo>
                    <a:pt x="54" y="73"/>
                    <a:pt x="54" y="73"/>
                    <a:pt x="53" y="74"/>
                  </a:cubicBezTo>
                  <a:cubicBezTo>
                    <a:pt x="53" y="75"/>
                    <a:pt x="52" y="76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4" y="78"/>
                    <a:pt x="54" y="78"/>
                    <a:pt x="54" y="79"/>
                  </a:cubicBezTo>
                  <a:cubicBezTo>
                    <a:pt x="54" y="80"/>
                    <a:pt x="55" y="81"/>
                    <a:pt x="55" y="82"/>
                  </a:cubicBezTo>
                  <a:cubicBezTo>
                    <a:pt x="56" y="82"/>
                    <a:pt x="56" y="83"/>
                    <a:pt x="57" y="84"/>
                  </a:cubicBezTo>
                  <a:cubicBezTo>
                    <a:pt x="58" y="84"/>
                    <a:pt x="58" y="85"/>
                    <a:pt x="58" y="86"/>
                  </a:cubicBezTo>
                  <a:cubicBezTo>
                    <a:pt x="57" y="87"/>
                    <a:pt x="54" y="89"/>
                    <a:pt x="53" y="89"/>
                  </a:cubicBezTo>
                  <a:cubicBezTo>
                    <a:pt x="52" y="89"/>
                    <a:pt x="51" y="88"/>
                    <a:pt x="50" y="88"/>
                  </a:cubicBezTo>
                  <a:cubicBezTo>
                    <a:pt x="50" y="89"/>
                    <a:pt x="50" y="89"/>
                    <a:pt x="49" y="90"/>
                  </a:cubicBezTo>
                  <a:cubicBezTo>
                    <a:pt x="49" y="90"/>
                    <a:pt x="49" y="90"/>
                    <a:pt x="48" y="90"/>
                  </a:cubicBezTo>
                  <a:cubicBezTo>
                    <a:pt x="48" y="90"/>
                    <a:pt x="47" y="90"/>
                    <a:pt x="47" y="90"/>
                  </a:cubicBezTo>
                  <a:cubicBezTo>
                    <a:pt x="47" y="90"/>
                    <a:pt x="46" y="90"/>
                    <a:pt x="46" y="89"/>
                  </a:cubicBezTo>
                  <a:cubicBezTo>
                    <a:pt x="45" y="89"/>
                    <a:pt x="44" y="88"/>
                    <a:pt x="43" y="88"/>
                  </a:cubicBezTo>
                  <a:cubicBezTo>
                    <a:pt x="42" y="87"/>
                    <a:pt x="41" y="87"/>
                    <a:pt x="40" y="86"/>
                  </a:cubicBezTo>
                  <a:cubicBezTo>
                    <a:pt x="39" y="86"/>
                    <a:pt x="39" y="85"/>
                    <a:pt x="38" y="84"/>
                  </a:cubicBezTo>
                  <a:cubicBezTo>
                    <a:pt x="36" y="83"/>
                    <a:pt x="34" y="84"/>
                    <a:pt x="32" y="8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1" y="83"/>
                    <a:pt x="31" y="83"/>
                    <a:pt x="30" y="83"/>
                  </a:cubicBezTo>
                  <a:cubicBezTo>
                    <a:pt x="29" y="82"/>
                    <a:pt x="29" y="82"/>
                    <a:pt x="28" y="82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6" y="82"/>
                    <a:pt x="24" y="84"/>
                    <a:pt x="24" y="85"/>
                  </a:cubicBezTo>
                  <a:cubicBezTo>
                    <a:pt x="23" y="85"/>
                    <a:pt x="23" y="85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2" y="87"/>
                    <a:pt x="21" y="89"/>
                    <a:pt x="19" y="89"/>
                  </a:cubicBezTo>
                  <a:cubicBezTo>
                    <a:pt x="19" y="89"/>
                    <a:pt x="18" y="88"/>
                    <a:pt x="18" y="88"/>
                  </a:cubicBezTo>
                  <a:cubicBezTo>
                    <a:pt x="17" y="87"/>
                    <a:pt x="16" y="87"/>
                    <a:pt x="15" y="87"/>
                  </a:cubicBezTo>
                  <a:cubicBezTo>
                    <a:pt x="14" y="87"/>
                    <a:pt x="13" y="87"/>
                    <a:pt x="12" y="87"/>
                  </a:cubicBezTo>
                  <a:cubicBezTo>
                    <a:pt x="12" y="87"/>
                    <a:pt x="11" y="87"/>
                    <a:pt x="10" y="86"/>
                  </a:cubicBezTo>
                  <a:cubicBezTo>
                    <a:pt x="10" y="86"/>
                    <a:pt x="9" y="86"/>
                    <a:pt x="8" y="86"/>
                  </a:cubicBezTo>
                  <a:cubicBezTo>
                    <a:pt x="8" y="85"/>
                    <a:pt x="7" y="84"/>
                    <a:pt x="7" y="83"/>
                  </a:cubicBezTo>
                  <a:cubicBezTo>
                    <a:pt x="6" y="83"/>
                    <a:pt x="7" y="83"/>
                    <a:pt x="6" y="82"/>
                  </a:cubicBezTo>
                  <a:cubicBezTo>
                    <a:pt x="6" y="82"/>
                    <a:pt x="6" y="82"/>
                    <a:pt x="5" y="82"/>
                  </a:cubicBezTo>
                  <a:cubicBezTo>
                    <a:pt x="5" y="81"/>
                    <a:pt x="5" y="80"/>
                    <a:pt x="4" y="80"/>
                  </a:cubicBezTo>
                  <a:cubicBezTo>
                    <a:pt x="5" y="80"/>
                    <a:pt x="6" y="79"/>
                    <a:pt x="6" y="79"/>
                  </a:cubicBezTo>
                  <a:cubicBezTo>
                    <a:pt x="5" y="79"/>
                    <a:pt x="4" y="79"/>
                    <a:pt x="4" y="80"/>
                  </a:cubicBezTo>
                  <a:cubicBezTo>
                    <a:pt x="3" y="80"/>
                    <a:pt x="3" y="81"/>
                    <a:pt x="2" y="81"/>
                  </a:cubicBezTo>
                  <a:cubicBezTo>
                    <a:pt x="2" y="82"/>
                    <a:pt x="2" y="82"/>
                    <a:pt x="2" y="83"/>
                  </a:cubicBezTo>
                  <a:cubicBezTo>
                    <a:pt x="2" y="85"/>
                    <a:pt x="1" y="85"/>
                    <a:pt x="1" y="87"/>
                  </a:cubicBezTo>
                  <a:cubicBezTo>
                    <a:pt x="0" y="89"/>
                    <a:pt x="0" y="93"/>
                    <a:pt x="2" y="93"/>
                  </a:cubicBezTo>
                  <a:cubicBezTo>
                    <a:pt x="3" y="94"/>
                    <a:pt x="2" y="96"/>
                    <a:pt x="3" y="98"/>
                  </a:cubicBezTo>
                  <a:cubicBezTo>
                    <a:pt x="3" y="99"/>
                    <a:pt x="4" y="100"/>
                    <a:pt x="4" y="101"/>
                  </a:cubicBezTo>
                  <a:cubicBezTo>
                    <a:pt x="4" y="105"/>
                    <a:pt x="3" y="107"/>
                    <a:pt x="1" y="110"/>
                  </a:cubicBezTo>
                  <a:cubicBezTo>
                    <a:pt x="0" y="112"/>
                    <a:pt x="2" y="113"/>
                    <a:pt x="4" y="114"/>
                  </a:cubicBezTo>
                  <a:cubicBezTo>
                    <a:pt x="8" y="119"/>
                    <a:pt x="13" y="121"/>
                    <a:pt x="16" y="127"/>
                  </a:cubicBezTo>
                  <a:cubicBezTo>
                    <a:pt x="18" y="129"/>
                    <a:pt x="19" y="131"/>
                    <a:pt x="19" y="133"/>
                  </a:cubicBezTo>
                  <a:cubicBezTo>
                    <a:pt x="20" y="134"/>
                    <a:pt x="20" y="137"/>
                    <a:pt x="20" y="137"/>
                  </a:cubicBezTo>
                  <a:cubicBezTo>
                    <a:pt x="21" y="137"/>
                    <a:pt x="23" y="137"/>
                    <a:pt x="24" y="137"/>
                  </a:cubicBezTo>
                  <a:cubicBezTo>
                    <a:pt x="24" y="136"/>
                    <a:pt x="23" y="136"/>
                    <a:pt x="23" y="136"/>
                  </a:cubicBezTo>
                  <a:cubicBezTo>
                    <a:pt x="23" y="135"/>
                    <a:pt x="23" y="135"/>
                    <a:pt x="23" y="134"/>
                  </a:cubicBezTo>
                  <a:cubicBezTo>
                    <a:pt x="22" y="132"/>
                    <a:pt x="23" y="132"/>
                    <a:pt x="25" y="131"/>
                  </a:cubicBezTo>
                  <a:cubicBezTo>
                    <a:pt x="26" y="129"/>
                    <a:pt x="27" y="128"/>
                    <a:pt x="27" y="126"/>
                  </a:cubicBezTo>
                  <a:cubicBezTo>
                    <a:pt x="28" y="125"/>
                    <a:pt x="28" y="123"/>
                    <a:pt x="30" y="124"/>
                  </a:cubicBezTo>
                  <a:cubicBezTo>
                    <a:pt x="30" y="125"/>
                    <a:pt x="30" y="128"/>
                    <a:pt x="32" y="128"/>
                  </a:cubicBezTo>
                  <a:cubicBezTo>
                    <a:pt x="33" y="127"/>
                    <a:pt x="32" y="126"/>
                    <a:pt x="32" y="125"/>
                  </a:cubicBezTo>
                  <a:cubicBezTo>
                    <a:pt x="31" y="122"/>
                    <a:pt x="33" y="118"/>
                    <a:pt x="34" y="115"/>
                  </a:cubicBezTo>
                  <a:cubicBezTo>
                    <a:pt x="35" y="113"/>
                    <a:pt x="36" y="111"/>
                    <a:pt x="37" y="109"/>
                  </a:cubicBezTo>
                  <a:cubicBezTo>
                    <a:pt x="39" y="106"/>
                    <a:pt x="41" y="104"/>
                    <a:pt x="42" y="101"/>
                  </a:cubicBezTo>
                  <a:cubicBezTo>
                    <a:pt x="44" y="98"/>
                    <a:pt x="45" y="96"/>
                    <a:pt x="48" y="96"/>
                  </a:cubicBezTo>
                  <a:cubicBezTo>
                    <a:pt x="48" y="97"/>
                    <a:pt x="47" y="98"/>
                    <a:pt x="47" y="99"/>
                  </a:cubicBezTo>
                  <a:cubicBezTo>
                    <a:pt x="47" y="101"/>
                    <a:pt x="49" y="101"/>
                    <a:pt x="50" y="102"/>
                  </a:cubicBezTo>
                  <a:cubicBezTo>
                    <a:pt x="52" y="103"/>
                    <a:pt x="54" y="104"/>
                    <a:pt x="54" y="106"/>
                  </a:cubicBezTo>
                  <a:cubicBezTo>
                    <a:pt x="54" y="107"/>
                    <a:pt x="54" y="108"/>
                    <a:pt x="54" y="109"/>
                  </a:cubicBezTo>
                  <a:cubicBezTo>
                    <a:pt x="54" y="109"/>
                    <a:pt x="52" y="111"/>
                    <a:pt x="52" y="112"/>
                  </a:cubicBezTo>
                  <a:cubicBezTo>
                    <a:pt x="52" y="112"/>
                    <a:pt x="51" y="113"/>
                    <a:pt x="51" y="114"/>
                  </a:cubicBezTo>
                  <a:cubicBezTo>
                    <a:pt x="50" y="115"/>
                    <a:pt x="50" y="115"/>
                    <a:pt x="49" y="116"/>
                  </a:cubicBezTo>
                  <a:cubicBezTo>
                    <a:pt x="48" y="119"/>
                    <a:pt x="50" y="119"/>
                    <a:pt x="53" y="121"/>
                  </a:cubicBezTo>
                  <a:cubicBezTo>
                    <a:pt x="55" y="122"/>
                    <a:pt x="57" y="123"/>
                    <a:pt x="59" y="123"/>
                  </a:cubicBezTo>
                  <a:cubicBezTo>
                    <a:pt x="61" y="124"/>
                    <a:pt x="63" y="125"/>
                    <a:pt x="64" y="125"/>
                  </a:cubicBezTo>
                  <a:cubicBezTo>
                    <a:pt x="65" y="124"/>
                    <a:pt x="65" y="123"/>
                    <a:pt x="67" y="122"/>
                  </a:cubicBezTo>
                  <a:cubicBezTo>
                    <a:pt x="68" y="122"/>
                    <a:pt x="70" y="122"/>
                    <a:pt x="71" y="123"/>
                  </a:cubicBezTo>
                  <a:cubicBezTo>
                    <a:pt x="72" y="123"/>
                    <a:pt x="72" y="123"/>
                    <a:pt x="72" y="124"/>
                  </a:cubicBezTo>
                  <a:cubicBezTo>
                    <a:pt x="72" y="124"/>
                    <a:pt x="72" y="124"/>
                    <a:pt x="73" y="124"/>
                  </a:cubicBezTo>
                  <a:cubicBezTo>
                    <a:pt x="73" y="125"/>
                    <a:pt x="73" y="124"/>
                    <a:pt x="73" y="125"/>
                  </a:cubicBezTo>
                  <a:cubicBezTo>
                    <a:pt x="74" y="128"/>
                    <a:pt x="70" y="129"/>
                    <a:pt x="70" y="130"/>
                  </a:cubicBezTo>
                  <a:cubicBezTo>
                    <a:pt x="70" y="131"/>
                    <a:pt x="71" y="132"/>
                    <a:pt x="71" y="133"/>
                  </a:cubicBezTo>
                  <a:cubicBezTo>
                    <a:pt x="71" y="134"/>
                    <a:pt x="71" y="136"/>
                    <a:pt x="71" y="137"/>
                  </a:cubicBezTo>
                  <a:cubicBezTo>
                    <a:pt x="71" y="138"/>
                    <a:pt x="70" y="139"/>
                    <a:pt x="70" y="140"/>
                  </a:cubicBezTo>
                  <a:cubicBezTo>
                    <a:pt x="70" y="141"/>
                    <a:pt x="71" y="143"/>
                    <a:pt x="72" y="144"/>
                  </a:cubicBezTo>
                  <a:cubicBezTo>
                    <a:pt x="72" y="146"/>
                    <a:pt x="73" y="148"/>
                    <a:pt x="74" y="150"/>
                  </a:cubicBezTo>
                  <a:cubicBezTo>
                    <a:pt x="74" y="150"/>
                    <a:pt x="75" y="150"/>
                    <a:pt x="75" y="151"/>
                  </a:cubicBezTo>
                  <a:cubicBezTo>
                    <a:pt x="75" y="151"/>
                    <a:pt x="75" y="152"/>
                    <a:pt x="76" y="153"/>
                  </a:cubicBezTo>
                  <a:cubicBezTo>
                    <a:pt x="77" y="157"/>
                    <a:pt x="80" y="160"/>
                    <a:pt x="82" y="163"/>
                  </a:cubicBezTo>
                  <a:cubicBezTo>
                    <a:pt x="83" y="165"/>
                    <a:pt x="84" y="166"/>
                    <a:pt x="85" y="167"/>
                  </a:cubicBezTo>
                  <a:cubicBezTo>
                    <a:pt x="86" y="168"/>
                    <a:pt x="89" y="169"/>
                    <a:pt x="90" y="172"/>
                  </a:cubicBezTo>
                  <a:cubicBezTo>
                    <a:pt x="90" y="173"/>
                    <a:pt x="89" y="174"/>
                    <a:pt x="90" y="175"/>
                  </a:cubicBezTo>
                  <a:cubicBezTo>
                    <a:pt x="90" y="176"/>
                    <a:pt x="94" y="177"/>
                    <a:pt x="93" y="179"/>
                  </a:cubicBezTo>
                  <a:cubicBezTo>
                    <a:pt x="93" y="180"/>
                    <a:pt x="92" y="180"/>
                    <a:pt x="92" y="181"/>
                  </a:cubicBezTo>
                  <a:cubicBezTo>
                    <a:pt x="91" y="181"/>
                    <a:pt x="92" y="182"/>
                    <a:pt x="91" y="182"/>
                  </a:cubicBezTo>
                  <a:cubicBezTo>
                    <a:pt x="90" y="184"/>
                    <a:pt x="87" y="183"/>
                    <a:pt x="85" y="184"/>
                  </a:cubicBezTo>
                  <a:cubicBezTo>
                    <a:pt x="82" y="186"/>
                    <a:pt x="85" y="189"/>
                    <a:pt x="86" y="190"/>
                  </a:cubicBezTo>
                  <a:cubicBezTo>
                    <a:pt x="88" y="193"/>
                    <a:pt x="90" y="197"/>
                    <a:pt x="92" y="200"/>
                  </a:cubicBezTo>
                  <a:cubicBezTo>
                    <a:pt x="93" y="201"/>
                    <a:pt x="94" y="202"/>
                    <a:pt x="95" y="203"/>
                  </a:cubicBezTo>
                  <a:cubicBezTo>
                    <a:pt x="96" y="203"/>
                    <a:pt x="96" y="204"/>
                    <a:pt x="97" y="205"/>
                  </a:cubicBezTo>
                  <a:cubicBezTo>
                    <a:pt x="98" y="206"/>
                    <a:pt x="98" y="207"/>
                    <a:pt x="99" y="208"/>
                  </a:cubicBezTo>
                  <a:cubicBezTo>
                    <a:pt x="99" y="209"/>
                    <a:pt x="99" y="211"/>
                    <a:pt x="100" y="212"/>
                  </a:cubicBezTo>
                  <a:cubicBezTo>
                    <a:pt x="101" y="212"/>
                    <a:pt x="103" y="212"/>
                    <a:pt x="103" y="212"/>
                  </a:cubicBezTo>
                  <a:cubicBezTo>
                    <a:pt x="104" y="213"/>
                    <a:pt x="103" y="214"/>
                    <a:pt x="104" y="215"/>
                  </a:cubicBezTo>
                  <a:cubicBezTo>
                    <a:pt x="104" y="215"/>
                    <a:pt x="105" y="216"/>
                    <a:pt x="106" y="217"/>
                  </a:cubicBezTo>
                  <a:cubicBezTo>
                    <a:pt x="107" y="219"/>
                    <a:pt x="111" y="220"/>
                    <a:pt x="111" y="222"/>
                  </a:cubicBezTo>
                  <a:cubicBezTo>
                    <a:pt x="112" y="223"/>
                    <a:pt x="111" y="224"/>
                    <a:pt x="112" y="225"/>
                  </a:cubicBezTo>
                  <a:cubicBezTo>
                    <a:pt x="113" y="226"/>
                    <a:pt x="114" y="226"/>
                    <a:pt x="115" y="227"/>
                  </a:cubicBezTo>
                  <a:cubicBezTo>
                    <a:pt x="116" y="228"/>
                    <a:pt x="116" y="228"/>
                    <a:pt x="117" y="228"/>
                  </a:cubicBezTo>
                  <a:cubicBezTo>
                    <a:pt x="117" y="229"/>
                    <a:pt x="118" y="229"/>
                    <a:pt x="118" y="230"/>
                  </a:cubicBezTo>
                  <a:cubicBezTo>
                    <a:pt x="119" y="232"/>
                    <a:pt x="119" y="233"/>
                    <a:pt x="119" y="235"/>
                  </a:cubicBezTo>
                  <a:cubicBezTo>
                    <a:pt x="119" y="236"/>
                    <a:pt x="119" y="237"/>
                    <a:pt x="120" y="238"/>
                  </a:cubicBezTo>
                  <a:cubicBezTo>
                    <a:pt x="120" y="240"/>
                    <a:pt x="122" y="240"/>
                    <a:pt x="123" y="240"/>
                  </a:cubicBezTo>
                  <a:cubicBezTo>
                    <a:pt x="125" y="240"/>
                    <a:pt x="126" y="240"/>
                    <a:pt x="127" y="241"/>
                  </a:cubicBezTo>
                  <a:cubicBezTo>
                    <a:pt x="128" y="241"/>
                    <a:pt x="128" y="242"/>
                    <a:pt x="128" y="242"/>
                  </a:cubicBezTo>
                  <a:cubicBezTo>
                    <a:pt x="129" y="242"/>
                    <a:pt x="131" y="242"/>
                    <a:pt x="133" y="242"/>
                  </a:cubicBezTo>
                  <a:cubicBezTo>
                    <a:pt x="133" y="242"/>
                    <a:pt x="134" y="242"/>
                    <a:pt x="134" y="242"/>
                  </a:cubicBezTo>
                  <a:cubicBezTo>
                    <a:pt x="135" y="242"/>
                    <a:pt x="135" y="241"/>
                    <a:pt x="136" y="241"/>
                  </a:cubicBezTo>
                  <a:cubicBezTo>
                    <a:pt x="137" y="241"/>
                    <a:pt x="138" y="241"/>
                    <a:pt x="139" y="241"/>
                  </a:cubicBezTo>
                  <a:cubicBezTo>
                    <a:pt x="142" y="241"/>
                    <a:pt x="144" y="239"/>
                    <a:pt x="146" y="240"/>
                  </a:cubicBezTo>
                  <a:cubicBezTo>
                    <a:pt x="148" y="241"/>
                    <a:pt x="149" y="241"/>
                    <a:pt x="150" y="242"/>
                  </a:cubicBezTo>
                  <a:cubicBezTo>
                    <a:pt x="152" y="243"/>
                    <a:pt x="153" y="243"/>
                    <a:pt x="155" y="244"/>
                  </a:cubicBezTo>
                  <a:cubicBezTo>
                    <a:pt x="156" y="245"/>
                    <a:pt x="156" y="245"/>
                    <a:pt x="157" y="246"/>
                  </a:cubicBezTo>
                  <a:cubicBezTo>
                    <a:pt x="159" y="248"/>
                    <a:pt x="160" y="249"/>
                    <a:pt x="163" y="251"/>
                  </a:cubicBezTo>
                  <a:cubicBezTo>
                    <a:pt x="166" y="253"/>
                    <a:pt x="169" y="253"/>
                    <a:pt x="171" y="254"/>
                  </a:cubicBezTo>
                  <a:cubicBezTo>
                    <a:pt x="173" y="255"/>
                    <a:pt x="174" y="257"/>
                    <a:pt x="176" y="259"/>
                  </a:cubicBezTo>
                  <a:cubicBezTo>
                    <a:pt x="178" y="263"/>
                    <a:pt x="182" y="265"/>
                    <a:pt x="185" y="269"/>
                  </a:cubicBezTo>
                  <a:cubicBezTo>
                    <a:pt x="187" y="271"/>
                    <a:pt x="188" y="273"/>
                    <a:pt x="190" y="275"/>
                  </a:cubicBezTo>
                  <a:cubicBezTo>
                    <a:pt x="194" y="278"/>
                    <a:pt x="198" y="282"/>
                    <a:pt x="200" y="287"/>
                  </a:cubicBezTo>
                  <a:cubicBezTo>
                    <a:pt x="201" y="288"/>
                    <a:pt x="202" y="291"/>
                    <a:pt x="204" y="291"/>
                  </a:cubicBezTo>
                  <a:cubicBezTo>
                    <a:pt x="205" y="291"/>
                    <a:pt x="209" y="291"/>
                    <a:pt x="210" y="290"/>
                  </a:cubicBezTo>
                  <a:cubicBezTo>
                    <a:pt x="209" y="290"/>
                    <a:pt x="209" y="289"/>
                    <a:pt x="209" y="289"/>
                  </a:cubicBezTo>
                  <a:cubicBezTo>
                    <a:pt x="209" y="289"/>
                    <a:pt x="208" y="288"/>
                    <a:pt x="208" y="288"/>
                  </a:cubicBezTo>
                  <a:cubicBezTo>
                    <a:pt x="207" y="287"/>
                    <a:pt x="208" y="286"/>
                    <a:pt x="207" y="285"/>
                  </a:cubicBezTo>
                  <a:cubicBezTo>
                    <a:pt x="207" y="283"/>
                    <a:pt x="204" y="281"/>
                    <a:pt x="202" y="278"/>
                  </a:cubicBezTo>
                  <a:cubicBezTo>
                    <a:pt x="202" y="277"/>
                    <a:pt x="202" y="276"/>
                    <a:pt x="201" y="276"/>
                  </a:cubicBezTo>
                  <a:cubicBezTo>
                    <a:pt x="200" y="275"/>
                    <a:pt x="196" y="275"/>
                    <a:pt x="195" y="274"/>
                  </a:cubicBezTo>
                  <a:cubicBezTo>
                    <a:pt x="195" y="273"/>
                    <a:pt x="196" y="272"/>
                    <a:pt x="197" y="271"/>
                  </a:cubicBezTo>
                  <a:cubicBezTo>
                    <a:pt x="197" y="270"/>
                    <a:pt x="197" y="269"/>
                    <a:pt x="197" y="268"/>
                  </a:cubicBezTo>
                  <a:cubicBezTo>
                    <a:pt x="197" y="267"/>
                    <a:pt x="197" y="266"/>
                    <a:pt x="197" y="265"/>
                  </a:cubicBezTo>
                  <a:cubicBezTo>
                    <a:pt x="197" y="265"/>
                    <a:pt x="196" y="265"/>
                    <a:pt x="195" y="264"/>
                  </a:cubicBezTo>
                  <a:cubicBezTo>
                    <a:pt x="195" y="264"/>
                    <a:pt x="195" y="264"/>
                    <a:pt x="195" y="263"/>
                  </a:cubicBezTo>
                  <a:cubicBezTo>
                    <a:pt x="195" y="263"/>
                    <a:pt x="195" y="262"/>
                    <a:pt x="194" y="261"/>
                  </a:cubicBezTo>
                  <a:cubicBezTo>
                    <a:pt x="194" y="261"/>
                    <a:pt x="193" y="260"/>
                    <a:pt x="193" y="260"/>
                  </a:cubicBezTo>
                  <a:cubicBezTo>
                    <a:pt x="193" y="259"/>
                    <a:pt x="193" y="258"/>
                    <a:pt x="193" y="258"/>
                  </a:cubicBezTo>
                  <a:cubicBezTo>
                    <a:pt x="192" y="256"/>
                    <a:pt x="192" y="255"/>
                    <a:pt x="192" y="253"/>
                  </a:cubicBezTo>
                  <a:cubicBezTo>
                    <a:pt x="192" y="252"/>
                    <a:pt x="192" y="251"/>
                    <a:pt x="192" y="250"/>
                  </a:cubicBezTo>
                  <a:cubicBezTo>
                    <a:pt x="192" y="249"/>
                    <a:pt x="192" y="248"/>
                    <a:pt x="191" y="247"/>
                  </a:cubicBezTo>
                  <a:cubicBezTo>
                    <a:pt x="191" y="246"/>
                    <a:pt x="189" y="246"/>
                    <a:pt x="188" y="245"/>
                  </a:cubicBezTo>
                  <a:cubicBezTo>
                    <a:pt x="185" y="242"/>
                    <a:pt x="182" y="239"/>
                    <a:pt x="179" y="237"/>
                  </a:cubicBezTo>
                  <a:cubicBezTo>
                    <a:pt x="179" y="236"/>
                    <a:pt x="178" y="235"/>
                    <a:pt x="178" y="234"/>
                  </a:cubicBezTo>
                  <a:cubicBezTo>
                    <a:pt x="177" y="233"/>
                    <a:pt x="176" y="232"/>
                    <a:pt x="174" y="231"/>
                  </a:cubicBezTo>
                  <a:cubicBezTo>
                    <a:pt x="172" y="229"/>
                    <a:pt x="171" y="226"/>
                    <a:pt x="169" y="224"/>
                  </a:cubicBezTo>
                  <a:cubicBezTo>
                    <a:pt x="169" y="223"/>
                    <a:pt x="168" y="222"/>
                    <a:pt x="167" y="221"/>
                  </a:cubicBezTo>
                  <a:cubicBezTo>
                    <a:pt x="166" y="220"/>
                    <a:pt x="165" y="219"/>
                    <a:pt x="165" y="219"/>
                  </a:cubicBezTo>
                  <a:cubicBezTo>
                    <a:pt x="164" y="218"/>
                    <a:pt x="163" y="215"/>
                    <a:pt x="163" y="214"/>
                  </a:cubicBezTo>
                  <a:cubicBezTo>
                    <a:pt x="161" y="210"/>
                    <a:pt x="159" y="207"/>
                    <a:pt x="155" y="206"/>
                  </a:cubicBezTo>
                  <a:cubicBezTo>
                    <a:pt x="151" y="205"/>
                    <a:pt x="147" y="202"/>
                    <a:pt x="144" y="199"/>
                  </a:cubicBezTo>
                  <a:cubicBezTo>
                    <a:pt x="143" y="198"/>
                    <a:pt x="142" y="197"/>
                    <a:pt x="142" y="196"/>
                  </a:cubicBezTo>
                  <a:cubicBezTo>
                    <a:pt x="142" y="195"/>
                    <a:pt x="142" y="194"/>
                    <a:pt x="142" y="193"/>
                  </a:cubicBezTo>
                  <a:cubicBezTo>
                    <a:pt x="141" y="191"/>
                    <a:pt x="141" y="189"/>
                    <a:pt x="140" y="188"/>
                  </a:cubicBezTo>
                  <a:cubicBezTo>
                    <a:pt x="139" y="186"/>
                    <a:pt x="137" y="184"/>
                    <a:pt x="137" y="182"/>
                  </a:cubicBezTo>
                  <a:cubicBezTo>
                    <a:pt x="137" y="181"/>
                    <a:pt x="137" y="180"/>
                    <a:pt x="137" y="179"/>
                  </a:cubicBezTo>
                  <a:cubicBezTo>
                    <a:pt x="136" y="178"/>
                    <a:pt x="135" y="178"/>
                    <a:pt x="135" y="177"/>
                  </a:cubicBezTo>
                  <a:cubicBezTo>
                    <a:pt x="135" y="177"/>
                    <a:pt x="135" y="176"/>
                    <a:pt x="135" y="175"/>
                  </a:cubicBezTo>
                  <a:cubicBezTo>
                    <a:pt x="135" y="172"/>
                    <a:pt x="135" y="169"/>
                    <a:pt x="135" y="165"/>
                  </a:cubicBezTo>
                  <a:cubicBezTo>
                    <a:pt x="135" y="165"/>
                    <a:pt x="135" y="164"/>
                    <a:pt x="135" y="163"/>
                  </a:cubicBezTo>
                  <a:cubicBezTo>
                    <a:pt x="135" y="163"/>
                    <a:pt x="134" y="162"/>
                    <a:pt x="134" y="162"/>
                  </a:cubicBezTo>
                  <a:cubicBezTo>
                    <a:pt x="134" y="161"/>
                    <a:pt x="134" y="160"/>
                    <a:pt x="134" y="160"/>
                  </a:cubicBezTo>
                  <a:cubicBezTo>
                    <a:pt x="134" y="157"/>
                    <a:pt x="134" y="155"/>
                    <a:pt x="133" y="153"/>
                  </a:cubicBezTo>
                  <a:cubicBezTo>
                    <a:pt x="132" y="152"/>
                    <a:pt x="132" y="151"/>
                    <a:pt x="131" y="151"/>
                  </a:cubicBezTo>
                  <a:cubicBezTo>
                    <a:pt x="131" y="151"/>
                    <a:pt x="130" y="151"/>
                    <a:pt x="130" y="151"/>
                  </a:cubicBezTo>
                  <a:cubicBezTo>
                    <a:pt x="127" y="151"/>
                    <a:pt x="125" y="147"/>
                    <a:pt x="123" y="145"/>
                  </a:cubicBezTo>
                  <a:cubicBezTo>
                    <a:pt x="123" y="145"/>
                    <a:pt x="122" y="144"/>
                    <a:pt x="122" y="144"/>
                  </a:cubicBezTo>
                  <a:cubicBezTo>
                    <a:pt x="122" y="143"/>
                    <a:pt x="121" y="143"/>
                    <a:pt x="121" y="142"/>
                  </a:cubicBezTo>
                  <a:cubicBezTo>
                    <a:pt x="120" y="141"/>
                    <a:pt x="119" y="140"/>
                    <a:pt x="119" y="139"/>
                  </a:cubicBezTo>
                  <a:cubicBezTo>
                    <a:pt x="118" y="137"/>
                    <a:pt x="118" y="136"/>
                    <a:pt x="118" y="134"/>
                  </a:cubicBezTo>
                  <a:cubicBezTo>
                    <a:pt x="118" y="133"/>
                    <a:pt x="117" y="133"/>
                    <a:pt x="117" y="132"/>
                  </a:cubicBezTo>
                  <a:cubicBezTo>
                    <a:pt x="116" y="129"/>
                    <a:pt x="117" y="126"/>
                    <a:pt x="118" y="124"/>
                  </a:cubicBezTo>
                  <a:cubicBezTo>
                    <a:pt x="119" y="120"/>
                    <a:pt x="118" y="116"/>
                    <a:pt x="118" y="112"/>
                  </a:cubicBezTo>
                  <a:cubicBezTo>
                    <a:pt x="118" y="109"/>
                    <a:pt x="121" y="106"/>
                    <a:pt x="125" y="105"/>
                  </a:cubicBezTo>
                  <a:cubicBezTo>
                    <a:pt x="126" y="105"/>
                    <a:pt x="128" y="106"/>
                    <a:pt x="129" y="106"/>
                  </a:cubicBezTo>
                  <a:cubicBezTo>
                    <a:pt x="131" y="106"/>
                    <a:pt x="132" y="106"/>
                    <a:pt x="133" y="107"/>
                  </a:cubicBezTo>
                  <a:cubicBezTo>
                    <a:pt x="134" y="108"/>
                    <a:pt x="134" y="109"/>
                    <a:pt x="135" y="110"/>
                  </a:cubicBezTo>
                  <a:cubicBezTo>
                    <a:pt x="136" y="112"/>
                    <a:pt x="136" y="113"/>
                    <a:pt x="137" y="114"/>
                  </a:cubicBezTo>
                  <a:cubicBezTo>
                    <a:pt x="138" y="116"/>
                    <a:pt x="140" y="117"/>
                    <a:pt x="141" y="119"/>
                  </a:cubicBezTo>
                  <a:cubicBezTo>
                    <a:pt x="142" y="122"/>
                    <a:pt x="143" y="124"/>
                    <a:pt x="146" y="124"/>
                  </a:cubicBezTo>
                  <a:cubicBezTo>
                    <a:pt x="147" y="123"/>
                    <a:pt x="148" y="122"/>
                    <a:pt x="149" y="121"/>
                  </a:cubicBezTo>
                  <a:cubicBezTo>
                    <a:pt x="150" y="120"/>
                    <a:pt x="150" y="119"/>
                    <a:pt x="150" y="118"/>
                  </a:cubicBezTo>
                  <a:cubicBezTo>
                    <a:pt x="151" y="116"/>
                    <a:pt x="152" y="115"/>
                    <a:pt x="152" y="114"/>
                  </a:cubicBezTo>
                  <a:cubicBezTo>
                    <a:pt x="153" y="112"/>
                    <a:pt x="154" y="111"/>
                    <a:pt x="154" y="110"/>
                  </a:cubicBezTo>
                  <a:cubicBezTo>
                    <a:pt x="155" y="109"/>
                    <a:pt x="156" y="108"/>
                    <a:pt x="158" y="107"/>
                  </a:cubicBezTo>
                  <a:cubicBezTo>
                    <a:pt x="160" y="107"/>
                    <a:pt x="162" y="107"/>
                    <a:pt x="164" y="107"/>
                  </a:cubicBezTo>
                  <a:cubicBezTo>
                    <a:pt x="167" y="107"/>
                    <a:pt x="171" y="109"/>
                    <a:pt x="174" y="109"/>
                  </a:cubicBezTo>
                  <a:cubicBezTo>
                    <a:pt x="174" y="108"/>
                    <a:pt x="174" y="106"/>
                    <a:pt x="174" y="105"/>
                  </a:cubicBezTo>
                  <a:cubicBezTo>
                    <a:pt x="175" y="103"/>
                    <a:pt x="178" y="105"/>
                    <a:pt x="179" y="106"/>
                  </a:cubicBezTo>
                  <a:cubicBezTo>
                    <a:pt x="180" y="107"/>
                    <a:pt x="180" y="107"/>
                    <a:pt x="182" y="107"/>
                  </a:cubicBezTo>
                  <a:cubicBezTo>
                    <a:pt x="183" y="107"/>
                    <a:pt x="185" y="107"/>
                    <a:pt x="186" y="107"/>
                  </a:cubicBezTo>
                  <a:cubicBezTo>
                    <a:pt x="186" y="108"/>
                    <a:pt x="186" y="108"/>
                    <a:pt x="186" y="109"/>
                  </a:cubicBezTo>
                  <a:cubicBezTo>
                    <a:pt x="187" y="110"/>
                    <a:pt x="188" y="110"/>
                    <a:pt x="189" y="112"/>
                  </a:cubicBezTo>
                  <a:cubicBezTo>
                    <a:pt x="191" y="113"/>
                    <a:pt x="190" y="114"/>
                    <a:pt x="192" y="114"/>
                  </a:cubicBezTo>
                  <a:cubicBezTo>
                    <a:pt x="196" y="115"/>
                    <a:pt x="195" y="111"/>
                    <a:pt x="197" y="109"/>
                  </a:cubicBezTo>
                  <a:cubicBezTo>
                    <a:pt x="199" y="109"/>
                    <a:pt x="198" y="111"/>
                    <a:pt x="199" y="112"/>
                  </a:cubicBezTo>
                  <a:cubicBezTo>
                    <a:pt x="200" y="113"/>
                    <a:pt x="200" y="113"/>
                    <a:pt x="201" y="113"/>
                  </a:cubicBezTo>
                  <a:cubicBezTo>
                    <a:pt x="203" y="113"/>
                    <a:pt x="204" y="113"/>
                    <a:pt x="205" y="115"/>
                  </a:cubicBezTo>
                  <a:cubicBezTo>
                    <a:pt x="205" y="115"/>
                    <a:pt x="205" y="116"/>
                    <a:pt x="205" y="117"/>
                  </a:cubicBezTo>
                  <a:cubicBezTo>
                    <a:pt x="210" y="117"/>
                    <a:pt x="215" y="115"/>
                    <a:pt x="221" y="116"/>
                  </a:cubicBezTo>
                  <a:cubicBezTo>
                    <a:pt x="223" y="116"/>
                    <a:pt x="224" y="118"/>
                    <a:pt x="225" y="120"/>
                  </a:cubicBezTo>
                  <a:cubicBezTo>
                    <a:pt x="227" y="120"/>
                    <a:pt x="228" y="119"/>
                    <a:pt x="229" y="119"/>
                  </a:cubicBezTo>
                  <a:cubicBezTo>
                    <a:pt x="231" y="119"/>
                    <a:pt x="232" y="119"/>
                    <a:pt x="233" y="118"/>
                  </a:cubicBezTo>
                  <a:cubicBezTo>
                    <a:pt x="233" y="118"/>
                    <a:pt x="233" y="117"/>
                    <a:pt x="233" y="116"/>
                  </a:cubicBezTo>
                  <a:cubicBezTo>
                    <a:pt x="233" y="116"/>
                    <a:pt x="234" y="116"/>
                    <a:pt x="234" y="115"/>
                  </a:cubicBezTo>
                  <a:cubicBezTo>
                    <a:pt x="235" y="114"/>
                    <a:pt x="236" y="113"/>
                    <a:pt x="237" y="114"/>
                  </a:cubicBezTo>
                  <a:cubicBezTo>
                    <a:pt x="239" y="114"/>
                    <a:pt x="239" y="116"/>
                    <a:pt x="240" y="117"/>
                  </a:cubicBezTo>
                  <a:cubicBezTo>
                    <a:pt x="241" y="119"/>
                    <a:pt x="244" y="120"/>
                    <a:pt x="246" y="120"/>
                  </a:cubicBezTo>
                  <a:cubicBezTo>
                    <a:pt x="246" y="118"/>
                    <a:pt x="245" y="116"/>
                    <a:pt x="246" y="115"/>
                  </a:cubicBezTo>
                  <a:cubicBezTo>
                    <a:pt x="249" y="114"/>
                    <a:pt x="252" y="116"/>
                    <a:pt x="255" y="11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6" name="Freeform 27">
              <a:extLst>
                <a:ext uri="{FF2B5EF4-FFF2-40B4-BE49-F238E27FC236}">
                  <a16:creationId xmlns:a16="http://schemas.microsoft.com/office/drawing/2014/main" id="{6456B9E9-2CA1-48D1-8289-95E10AE29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3325" y="5265738"/>
              <a:ext cx="381000" cy="420688"/>
            </a:xfrm>
            <a:custGeom>
              <a:avLst/>
              <a:gdLst/>
              <a:ahLst/>
              <a:cxnLst>
                <a:cxn ang="0">
                  <a:pos x="193" y="94"/>
                </a:cxn>
                <a:cxn ang="0">
                  <a:pos x="188" y="87"/>
                </a:cxn>
                <a:cxn ang="0">
                  <a:pos x="192" y="80"/>
                </a:cxn>
                <a:cxn ang="0">
                  <a:pos x="181" y="74"/>
                </a:cxn>
                <a:cxn ang="0">
                  <a:pos x="179" y="68"/>
                </a:cxn>
                <a:cxn ang="0">
                  <a:pos x="191" y="41"/>
                </a:cxn>
                <a:cxn ang="0">
                  <a:pos x="164" y="35"/>
                </a:cxn>
                <a:cxn ang="0">
                  <a:pos x="158" y="22"/>
                </a:cxn>
                <a:cxn ang="0">
                  <a:pos x="145" y="17"/>
                </a:cxn>
                <a:cxn ang="0">
                  <a:pos x="130" y="17"/>
                </a:cxn>
                <a:cxn ang="0">
                  <a:pos x="117" y="13"/>
                </a:cxn>
                <a:cxn ang="0">
                  <a:pos x="105" y="13"/>
                </a:cxn>
                <a:cxn ang="0">
                  <a:pos x="83" y="9"/>
                </a:cxn>
                <a:cxn ang="0">
                  <a:pos x="70" y="6"/>
                </a:cxn>
                <a:cxn ang="0">
                  <a:pos x="58" y="2"/>
                </a:cxn>
                <a:cxn ang="0">
                  <a:pos x="38" y="7"/>
                </a:cxn>
                <a:cxn ang="0">
                  <a:pos x="30" y="21"/>
                </a:cxn>
                <a:cxn ang="0">
                  <a:pos x="17" y="4"/>
                </a:cxn>
                <a:cxn ang="0">
                  <a:pos x="2" y="21"/>
                </a:cxn>
                <a:cxn ang="0">
                  <a:pos x="5" y="39"/>
                </a:cxn>
                <a:cxn ang="0">
                  <a:pos x="15" y="48"/>
                </a:cxn>
                <a:cxn ang="0">
                  <a:pos x="19" y="60"/>
                </a:cxn>
                <a:cxn ang="0">
                  <a:pos x="21" y="76"/>
                </a:cxn>
                <a:cxn ang="0">
                  <a:pos x="26" y="93"/>
                </a:cxn>
                <a:cxn ang="0">
                  <a:pos x="49" y="116"/>
                </a:cxn>
                <a:cxn ang="0">
                  <a:pos x="62" y="131"/>
                </a:cxn>
                <a:cxn ang="0">
                  <a:pos x="76" y="147"/>
                </a:cxn>
                <a:cxn ang="0">
                  <a:pos x="78" y="158"/>
                </a:cxn>
                <a:cxn ang="0">
                  <a:pos x="81" y="165"/>
                </a:cxn>
                <a:cxn ang="0">
                  <a:pos x="86" y="175"/>
                </a:cxn>
                <a:cxn ang="0">
                  <a:pos x="94" y="187"/>
                </a:cxn>
                <a:cxn ang="0">
                  <a:pos x="98" y="191"/>
                </a:cxn>
                <a:cxn ang="0">
                  <a:pos x="104" y="192"/>
                </a:cxn>
                <a:cxn ang="0">
                  <a:pos x="112" y="203"/>
                </a:cxn>
                <a:cxn ang="0">
                  <a:pos x="131" y="214"/>
                </a:cxn>
                <a:cxn ang="0">
                  <a:pos x="140" y="223"/>
                </a:cxn>
                <a:cxn ang="0">
                  <a:pos x="143" y="209"/>
                </a:cxn>
                <a:cxn ang="0">
                  <a:pos x="140" y="200"/>
                </a:cxn>
                <a:cxn ang="0">
                  <a:pos x="143" y="189"/>
                </a:cxn>
                <a:cxn ang="0">
                  <a:pos x="147" y="180"/>
                </a:cxn>
                <a:cxn ang="0">
                  <a:pos x="150" y="167"/>
                </a:cxn>
                <a:cxn ang="0">
                  <a:pos x="163" y="158"/>
                </a:cxn>
                <a:cxn ang="0">
                  <a:pos x="171" y="164"/>
                </a:cxn>
                <a:cxn ang="0">
                  <a:pos x="168" y="151"/>
                </a:cxn>
                <a:cxn ang="0">
                  <a:pos x="166" y="142"/>
                </a:cxn>
                <a:cxn ang="0">
                  <a:pos x="178" y="144"/>
                </a:cxn>
                <a:cxn ang="0">
                  <a:pos x="184" y="138"/>
                </a:cxn>
                <a:cxn ang="0">
                  <a:pos x="193" y="143"/>
                </a:cxn>
                <a:cxn ang="0">
                  <a:pos x="197" y="133"/>
                </a:cxn>
                <a:cxn ang="0">
                  <a:pos x="189" y="117"/>
                </a:cxn>
                <a:cxn ang="0">
                  <a:pos x="183" y="105"/>
                </a:cxn>
                <a:cxn ang="0">
                  <a:pos x="203" y="106"/>
                </a:cxn>
              </a:cxnLst>
              <a:rect l="0" t="0" r="r" b="b"/>
              <a:pathLst>
                <a:path w="204" h="225">
                  <a:moveTo>
                    <a:pt x="204" y="100"/>
                  </a:moveTo>
                  <a:cubicBezTo>
                    <a:pt x="204" y="99"/>
                    <a:pt x="201" y="98"/>
                    <a:pt x="200" y="98"/>
                  </a:cubicBezTo>
                  <a:cubicBezTo>
                    <a:pt x="199" y="98"/>
                    <a:pt x="197" y="97"/>
                    <a:pt x="196" y="96"/>
                  </a:cubicBezTo>
                  <a:cubicBezTo>
                    <a:pt x="195" y="96"/>
                    <a:pt x="194" y="95"/>
                    <a:pt x="193" y="94"/>
                  </a:cubicBezTo>
                  <a:cubicBezTo>
                    <a:pt x="193" y="94"/>
                    <a:pt x="192" y="93"/>
                    <a:pt x="192" y="94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191" y="92"/>
                    <a:pt x="191" y="91"/>
                    <a:pt x="190" y="90"/>
                  </a:cubicBezTo>
                  <a:cubicBezTo>
                    <a:pt x="189" y="89"/>
                    <a:pt x="188" y="88"/>
                    <a:pt x="188" y="87"/>
                  </a:cubicBezTo>
                  <a:cubicBezTo>
                    <a:pt x="188" y="86"/>
                    <a:pt x="188" y="84"/>
                    <a:pt x="189" y="83"/>
                  </a:cubicBezTo>
                  <a:cubicBezTo>
                    <a:pt x="190" y="83"/>
                    <a:pt x="191" y="83"/>
                    <a:pt x="191" y="83"/>
                  </a:cubicBezTo>
                  <a:cubicBezTo>
                    <a:pt x="191" y="82"/>
                    <a:pt x="191" y="82"/>
                    <a:pt x="192" y="82"/>
                  </a:cubicBezTo>
                  <a:cubicBezTo>
                    <a:pt x="192" y="81"/>
                    <a:pt x="192" y="81"/>
                    <a:pt x="192" y="80"/>
                  </a:cubicBezTo>
                  <a:cubicBezTo>
                    <a:pt x="192" y="79"/>
                    <a:pt x="193" y="78"/>
                    <a:pt x="193" y="77"/>
                  </a:cubicBezTo>
                  <a:cubicBezTo>
                    <a:pt x="192" y="75"/>
                    <a:pt x="189" y="76"/>
                    <a:pt x="187" y="76"/>
                  </a:cubicBezTo>
                  <a:cubicBezTo>
                    <a:pt x="186" y="76"/>
                    <a:pt x="184" y="75"/>
                    <a:pt x="183" y="75"/>
                  </a:cubicBezTo>
                  <a:cubicBezTo>
                    <a:pt x="182" y="75"/>
                    <a:pt x="182" y="74"/>
                    <a:pt x="181" y="74"/>
                  </a:cubicBezTo>
                  <a:cubicBezTo>
                    <a:pt x="180" y="74"/>
                    <a:pt x="181" y="73"/>
                    <a:pt x="181" y="73"/>
                  </a:cubicBezTo>
                  <a:cubicBezTo>
                    <a:pt x="180" y="72"/>
                    <a:pt x="179" y="72"/>
                    <a:pt x="179" y="71"/>
                  </a:cubicBezTo>
                  <a:cubicBezTo>
                    <a:pt x="179" y="71"/>
                    <a:pt x="179" y="70"/>
                    <a:pt x="179" y="70"/>
                  </a:cubicBezTo>
                  <a:cubicBezTo>
                    <a:pt x="179" y="69"/>
                    <a:pt x="179" y="68"/>
                    <a:pt x="179" y="68"/>
                  </a:cubicBezTo>
                  <a:cubicBezTo>
                    <a:pt x="179" y="67"/>
                    <a:pt x="179" y="67"/>
                    <a:pt x="180" y="66"/>
                  </a:cubicBezTo>
                  <a:cubicBezTo>
                    <a:pt x="180" y="65"/>
                    <a:pt x="180" y="65"/>
                    <a:pt x="181" y="64"/>
                  </a:cubicBezTo>
                  <a:cubicBezTo>
                    <a:pt x="182" y="58"/>
                    <a:pt x="185" y="53"/>
                    <a:pt x="189" y="49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0" y="38"/>
                    <a:pt x="186" y="33"/>
                    <a:pt x="179" y="28"/>
                  </a:cubicBezTo>
                  <a:cubicBezTo>
                    <a:pt x="180" y="31"/>
                    <a:pt x="174" y="32"/>
                    <a:pt x="172" y="33"/>
                  </a:cubicBezTo>
                  <a:cubicBezTo>
                    <a:pt x="170" y="34"/>
                    <a:pt x="168" y="34"/>
                    <a:pt x="166" y="35"/>
                  </a:cubicBezTo>
                  <a:cubicBezTo>
                    <a:pt x="166" y="35"/>
                    <a:pt x="165" y="35"/>
                    <a:pt x="164" y="35"/>
                  </a:cubicBezTo>
                  <a:cubicBezTo>
                    <a:pt x="162" y="34"/>
                    <a:pt x="163" y="34"/>
                    <a:pt x="162" y="34"/>
                  </a:cubicBezTo>
                  <a:cubicBezTo>
                    <a:pt x="160" y="33"/>
                    <a:pt x="159" y="31"/>
                    <a:pt x="159" y="29"/>
                  </a:cubicBezTo>
                  <a:cubicBezTo>
                    <a:pt x="159" y="27"/>
                    <a:pt x="160" y="27"/>
                    <a:pt x="161" y="25"/>
                  </a:cubicBezTo>
                  <a:cubicBezTo>
                    <a:pt x="161" y="24"/>
                    <a:pt x="159" y="23"/>
                    <a:pt x="158" y="22"/>
                  </a:cubicBezTo>
                  <a:cubicBezTo>
                    <a:pt x="158" y="22"/>
                    <a:pt x="157" y="21"/>
                    <a:pt x="157" y="21"/>
                  </a:cubicBezTo>
                  <a:cubicBezTo>
                    <a:pt x="157" y="20"/>
                    <a:pt x="157" y="19"/>
                    <a:pt x="157" y="19"/>
                  </a:cubicBezTo>
                  <a:cubicBezTo>
                    <a:pt x="156" y="17"/>
                    <a:pt x="152" y="15"/>
                    <a:pt x="151" y="18"/>
                  </a:cubicBezTo>
                  <a:cubicBezTo>
                    <a:pt x="150" y="18"/>
                    <a:pt x="147" y="18"/>
                    <a:pt x="145" y="17"/>
                  </a:cubicBezTo>
                  <a:cubicBezTo>
                    <a:pt x="144" y="17"/>
                    <a:pt x="143" y="16"/>
                    <a:pt x="143" y="15"/>
                  </a:cubicBezTo>
                  <a:cubicBezTo>
                    <a:pt x="141" y="15"/>
                    <a:pt x="140" y="14"/>
                    <a:pt x="139" y="14"/>
                  </a:cubicBezTo>
                  <a:cubicBezTo>
                    <a:pt x="136" y="13"/>
                    <a:pt x="133" y="11"/>
                    <a:pt x="130" y="12"/>
                  </a:cubicBezTo>
                  <a:cubicBezTo>
                    <a:pt x="129" y="13"/>
                    <a:pt x="130" y="15"/>
                    <a:pt x="130" y="17"/>
                  </a:cubicBezTo>
                  <a:cubicBezTo>
                    <a:pt x="128" y="17"/>
                    <a:pt x="125" y="16"/>
                    <a:pt x="124" y="14"/>
                  </a:cubicBezTo>
                  <a:cubicBezTo>
                    <a:pt x="123" y="13"/>
                    <a:pt x="123" y="11"/>
                    <a:pt x="121" y="11"/>
                  </a:cubicBezTo>
                  <a:cubicBezTo>
                    <a:pt x="120" y="10"/>
                    <a:pt x="119" y="11"/>
                    <a:pt x="118" y="12"/>
                  </a:cubicBezTo>
                  <a:cubicBezTo>
                    <a:pt x="118" y="13"/>
                    <a:pt x="117" y="13"/>
                    <a:pt x="117" y="13"/>
                  </a:cubicBezTo>
                  <a:cubicBezTo>
                    <a:pt x="117" y="14"/>
                    <a:pt x="117" y="15"/>
                    <a:pt x="117" y="15"/>
                  </a:cubicBezTo>
                  <a:cubicBezTo>
                    <a:pt x="116" y="16"/>
                    <a:pt x="115" y="16"/>
                    <a:pt x="113" y="16"/>
                  </a:cubicBezTo>
                  <a:cubicBezTo>
                    <a:pt x="112" y="16"/>
                    <a:pt x="111" y="17"/>
                    <a:pt x="109" y="17"/>
                  </a:cubicBezTo>
                  <a:cubicBezTo>
                    <a:pt x="108" y="15"/>
                    <a:pt x="107" y="13"/>
                    <a:pt x="105" y="13"/>
                  </a:cubicBezTo>
                  <a:cubicBezTo>
                    <a:pt x="99" y="12"/>
                    <a:pt x="94" y="14"/>
                    <a:pt x="89" y="14"/>
                  </a:cubicBezTo>
                  <a:cubicBezTo>
                    <a:pt x="89" y="13"/>
                    <a:pt x="89" y="12"/>
                    <a:pt x="89" y="12"/>
                  </a:cubicBezTo>
                  <a:cubicBezTo>
                    <a:pt x="88" y="10"/>
                    <a:pt x="87" y="10"/>
                    <a:pt x="85" y="10"/>
                  </a:cubicBezTo>
                  <a:cubicBezTo>
                    <a:pt x="84" y="10"/>
                    <a:pt x="84" y="10"/>
                    <a:pt x="83" y="9"/>
                  </a:cubicBezTo>
                  <a:cubicBezTo>
                    <a:pt x="82" y="8"/>
                    <a:pt x="83" y="6"/>
                    <a:pt x="81" y="6"/>
                  </a:cubicBezTo>
                  <a:cubicBezTo>
                    <a:pt x="79" y="8"/>
                    <a:pt x="80" y="12"/>
                    <a:pt x="76" y="11"/>
                  </a:cubicBezTo>
                  <a:cubicBezTo>
                    <a:pt x="74" y="11"/>
                    <a:pt x="75" y="10"/>
                    <a:pt x="73" y="9"/>
                  </a:cubicBezTo>
                  <a:cubicBezTo>
                    <a:pt x="72" y="7"/>
                    <a:pt x="71" y="7"/>
                    <a:pt x="70" y="6"/>
                  </a:cubicBezTo>
                  <a:cubicBezTo>
                    <a:pt x="70" y="5"/>
                    <a:pt x="70" y="5"/>
                    <a:pt x="70" y="4"/>
                  </a:cubicBezTo>
                  <a:cubicBezTo>
                    <a:pt x="69" y="4"/>
                    <a:pt x="67" y="4"/>
                    <a:pt x="66" y="4"/>
                  </a:cubicBezTo>
                  <a:cubicBezTo>
                    <a:pt x="64" y="4"/>
                    <a:pt x="64" y="4"/>
                    <a:pt x="63" y="3"/>
                  </a:cubicBezTo>
                  <a:cubicBezTo>
                    <a:pt x="62" y="2"/>
                    <a:pt x="59" y="0"/>
                    <a:pt x="58" y="2"/>
                  </a:cubicBezTo>
                  <a:cubicBezTo>
                    <a:pt x="58" y="3"/>
                    <a:pt x="58" y="5"/>
                    <a:pt x="58" y="6"/>
                  </a:cubicBezTo>
                  <a:cubicBezTo>
                    <a:pt x="55" y="6"/>
                    <a:pt x="51" y="4"/>
                    <a:pt x="48" y="4"/>
                  </a:cubicBezTo>
                  <a:cubicBezTo>
                    <a:pt x="46" y="4"/>
                    <a:pt x="44" y="4"/>
                    <a:pt x="42" y="4"/>
                  </a:cubicBezTo>
                  <a:cubicBezTo>
                    <a:pt x="40" y="5"/>
                    <a:pt x="39" y="6"/>
                    <a:pt x="38" y="7"/>
                  </a:cubicBezTo>
                  <a:cubicBezTo>
                    <a:pt x="38" y="8"/>
                    <a:pt x="37" y="9"/>
                    <a:pt x="36" y="11"/>
                  </a:cubicBezTo>
                  <a:cubicBezTo>
                    <a:pt x="36" y="12"/>
                    <a:pt x="35" y="13"/>
                    <a:pt x="34" y="15"/>
                  </a:cubicBezTo>
                  <a:cubicBezTo>
                    <a:pt x="34" y="16"/>
                    <a:pt x="34" y="17"/>
                    <a:pt x="33" y="18"/>
                  </a:cubicBezTo>
                  <a:cubicBezTo>
                    <a:pt x="32" y="19"/>
                    <a:pt x="31" y="20"/>
                    <a:pt x="30" y="21"/>
                  </a:cubicBezTo>
                  <a:cubicBezTo>
                    <a:pt x="27" y="21"/>
                    <a:pt x="26" y="19"/>
                    <a:pt x="25" y="16"/>
                  </a:cubicBezTo>
                  <a:cubicBezTo>
                    <a:pt x="24" y="14"/>
                    <a:pt x="22" y="13"/>
                    <a:pt x="21" y="11"/>
                  </a:cubicBezTo>
                  <a:cubicBezTo>
                    <a:pt x="20" y="10"/>
                    <a:pt x="20" y="9"/>
                    <a:pt x="19" y="7"/>
                  </a:cubicBezTo>
                  <a:cubicBezTo>
                    <a:pt x="18" y="6"/>
                    <a:pt x="18" y="5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cubicBezTo>
                    <a:pt x="12" y="3"/>
                    <a:pt x="10" y="2"/>
                    <a:pt x="9" y="2"/>
                  </a:cubicBezTo>
                  <a:cubicBezTo>
                    <a:pt x="5" y="3"/>
                    <a:pt x="2" y="6"/>
                    <a:pt x="2" y="9"/>
                  </a:cubicBezTo>
                  <a:cubicBezTo>
                    <a:pt x="2" y="13"/>
                    <a:pt x="3" y="17"/>
                    <a:pt x="2" y="21"/>
                  </a:cubicBezTo>
                  <a:cubicBezTo>
                    <a:pt x="1" y="23"/>
                    <a:pt x="0" y="26"/>
                    <a:pt x="1" y="29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3"/>
                    <a:pt x="2" y="34"/>
                    <a:pt x="3" y="36"/>
                  </a:cubicBezTo>
                  <a:cubicBezTo>
                    <a:pt x="3" y="37"/>
                    <a:pt x="4" y="38"/>
                    <a:pt x="5" y="39"/>
                  </a:cubicBezTo>
                  <a:cubicBezTo>
                    <a:pt x="5" y="40"/>
                    <a:pt x="6" y="40"/>
                    <a:pt x="6" y="41"/>
                  </a:cubicBezTo>
                  <a:cubicBezTo>
                    <a:pt x="6" y="41"/>
                    <a:pt x="7" y="42"/>
                    <a:pt x="7" y="42"/>
                  </a:cubicBezTo>
                  <a:cubicBezTo>
                    <a:pt x="9" y="44"/>
                    <a:pt x="11" y="48"/>
                    <a:pt x="14" y="48"/>
                  </a:cubicBezTo>
                  <a:cubicBezTo>
                    <a:pt x="14" y="48"/>
                    <a:pt x="14" y="48"/>
                    <a:pt x="15" y="48"/>
                  </a:cubicBezTo>
                  <a:cubicBezTo>
                    <a:pt x="16" y="48"/>
                    <a:pt x="16" y="49"/>
                    <a:pt x="17" y="50"/>
                  </a:cubicBezTo>
                  <a:cubicBezTo>
                    <a:pt x="18" y="52"/>
                    <a:pt x="18" y="54"/>
                    <a:pt x="18" y="57"/>
                  </a:cubicBezTo>
                  <a:cubicBezTo>
                    <a:pt x="18" y="57"/>
                    <a:pt x="18" y="58"/>
                    <a:pt x="18" y="59"/>
                  </a:cubicBezTo>
                  <a:cubicBezTo>
                    <a:pt x="18" y="59"/>
                    <a:pt x="19" y="60"/>
                    <a:pt x="19" y="60"/>
                  </a:cubicBezTo>
                  <a:cubicBezTo>
                    <a:pt x="19" y="61"/>
                    <a:pt x="19" y="62"/>
                    <a:pt x="19" y="62"/>
                  </a:cubicBezTo>
                  <a:cubicBezTo>
                    <a:pt x="19" y="66"/>
                    <a:pt x="19" y="69"/>
                    <a:pt x="19" y="72"/>
                  </a:cubicBezTo>
                  <a:cubicBezTo>
                    <a:pt x="19" y="73"/>
                    <a:pt x="19" y="74"/>
                    <a:pt x="19" y="74"/>
                  </a:cubicBezTo>
                  <a:cubicBezTo>
                    <a:pt x="19" y="75"/>
                    <a:pt x="20" y="75"/>
                    <a:pt x="21" y="76"/>
                  </a:cubicBezTo>
                  <a:cubicBezTo>
                    <a:pt x="21" y="77"/>
                    <a:pt x="21" y="78"/>
                    <a:pt x="21" y="79"/>
                  </a:cubicBezTo>
                  <a:cubicBezTo>
                    <a:pt x="21" y="81"/>
                    <a:pt x="23" y="83"/>
                    <a:pt x="24" y="85"/>
                  </a:cubicBezTo>
                  <a:cubicBezTo>
                    <a:pt x="25" y="86"/>
                    <a:pt x="25" y="88"/>
                    <a:pt x="26" y="90"/>
                  </a:cubicBezTo>
                  <a:cubicBezTo>
                    <a:pt x="26" y="91"/>
                    <a:pt x="26" y="92"/>
                    <a:pt x="26" y="93"/>
                  </a:cubicBezTo>
                  <a:cubicBezTo>
                    <a:pt x="26" y="94"/>
                    <a:pt x="27" y="95"/>
                    <a:pt x="28" y="96"/>
                  </a:cubicBezTo>
                  <a:cubicBezTo>
                    <a:pt x="31" y="99"/>
                    <a:pt x="35" y="102"/>
                    <a:pt x="39" y="103"/>
                  </a:cubicBezTo>
                  <a:cubicBezTo>
                    <a:pt x="43" y="104"/>
                    <a:pt x="45" y="107"/>
                    <a:pt x="47" y="111"/>
                  </a:cubicBezTo>
                  <a:cubicBezTo>
                    <a:pt x="47" y="112"/>
                    <a:pt x="48" y="115"/>
                    <a:pt x="49" y="116"/>
                  </a:cubicBezTo>
                  <a:cubicBezTo>
                    <a:pt x="49" y="116"/>
                    <a:pt x="50" y="117"/>
                    <a:pt x="51" y="118"/>
                  </a:cubicBezTo>
                  <a:cubicBezTo>
                    <a:pt x="52" y="119"/>
                    <a:pt x="53" y="120"/>
                    <a:pt x="53" y="121"/>
                  </a:cubicBezTo>
                  <a:cubicBezTo>
                    <a:pt x="55" y="123"/>
                    <a:pt x="56" y="126"/>
                    <a:pt x="58" y="128"/>
                  </a:cubicBezTo>
                  <a:cubicBezTo>
                    <a:pt x="60" y="129"/>
                    <a:pt x="61" y="130"/>
                    <a:pt x="62" y="131"/>
                  </a:cubicBezTo>
                  <a:cubicBezTo>
                    <a:pt x="62" y="132"/>
                    <a:pt x="63" y="133"/>
                    <a:pt x="63" y="134"/>
                  </a:cubicBezTo>
                  <a:cubicBezTo>
                    <a:pt x="66" y="136"/>
                    <a:pt x="69" y="139"/>
                    <a:pt x="72" y="142"/>
                  </a:cubicBezTo>
                  <a:cubicBezTo>
                    <a:pt x="73" y="143"/>
                    <a:pt x="75" y="143"/>
                    <a:pt x="75" y="144"/>
                  </a:cubicBezTo>
                  <a:cubicBezTo>
                    <a:pt x="76" y="145"/>
                    <a:pt x="76" y="146"/>
                    <a:pt x="76" y="147"/>
                  </a:cubicBezTo>
                  <a:cubicBezTo>
                    <a:pt x="76" y="148"/>
                    <a:pt x="76" y="149"/>
                    <a:pt x="76" y="150"/>
                  </a:cubicBezTo>
                  <a:cubicBezTo>
                    <a:pt x="76" y="152"/>
                    <a:pt x="76" y="153"/>
                    <a:pt x="77" y="155"/>
                  </a:cubicBezTo>
                  <a:cubicBezTo>
                    <a:pt x="77" y="155"/>
                    <a:pt x="77" y="156"/>
                    <a:pt x="77" y="157"/>
                  </a:cubicBezTo>
                  <a:cubicBezTo>
                    <a:pt x="77" y="157"/>
                    <a:pt x="78" y="158"/>
                    <a:pt x="78" y="158"/>
                  </a:cubicBezTo>
                  <a:cubicBezTo>
                    <a:pt x="79" y="159"/>
                    <a:pt x="79" y="160"/>
                    <a:pt x="79" y="160"/>
                  </a:cubicBezTo>
                  <a:cubicBezTo>
                    <a:pt x="79" y="161"/>
                    <a:pt x="79" y="161"/>
                    <a:pt x="79" y="161"/>
                  </a:cubicBezTo>
                  <a:cubicBezTo>
                    <a:pt x="80" y="162"/>
                    <a:pt x="81" y="162"/>
                    <a:pt x="81" y="162"/>
                  </a:cubicBezTo>
                  <a:cubicBezTo>
                    <a:pt x="81" y="163"/>
                    <a:pt x="81" y="164"/>
                    <a:pt x="81" y="165"/>
                  </a:cubicBezTo>
                  <a:cubicBezTo>
                    <a:pt x="81" y="166"/>
                    <a:pt x="81" y="167"/>
                    <a:pt x="81" y="168"/>
                  </a:cubicBezTo>
                  <a:cubicBezTo>
                    <a:pt x="80" y="169"/>
                    <a:pt x="79" y="170"/>
                    <a:pt x="79" y="171"/>
                  </a:cubicBezTo>
                  <a:cubicBezTo>
                    <a:pt x="80" y="172"/>
                    <a:pt x="84" y="172"/>
                    <a:pt x="85" y="173"/>
                  </a:cubicBezTo>
                  <a:cubicBezTo>
                    <a:pt x="86" y="173"/>
                    <a:pt x="86" y="174"/>
                    <a:pt x="86" y="175"/>
                  </a:cubicBezTo>
                  <a:cubicBezTo>
                    <a:pt x="88" y="178"/>
                    <a:pt x="91" y="180"/>
                    <a:pt x="91" y="182"/>
                  </a:cubicBezTo>
                  <a:cubicBezTo>
                    <a:pt x="92" y="183"/>
                    <a:pt x="91" y="184"/>
                    <a:pt x="92" y="185"/>
                  </a:cubicBezTo>
                  <a:cubicBezTo>
                    <a:pt x="92" y="185"/>
                    <a:pt x="93" y="186"/>
                    <a:pt x="93" y="186"/>
                  </a:cubicBezTo>
                  <a:cubicBezTo>
                    <a:pt x="93" y="186"/>
                    <a:pt x="93" y="187"/>
                    <a:pt x="94" y="187"/>
                  </a:cubicBezTo>
                  <a:cubicBezTo>
                    <a:pt x="93" y="188"/>
                    <a:pt x="89" y="188"/>
                    <a:pt x="88" y="188"/>
                  </a:cubicBezTo>
                  <a:cubicBezTo>
                    <a:pt x="88" y="189"/>
                    <a:pt x="89" y="190"/>
                    <a:pt x="90" y="191"/>
                  </a:cubicBezTo>
                  <a:cubicBezTo>
                    <a:pt x="90" y="192"/>
                    <a:pt x="91" y="194"/>
                    <a:pt x="92" y="194"/>
                  </a:cubicBezTo>
                  <a:cubicBezTo>
                    <a:pt x="93" y="192"/>
                    <a:pt x="97" y="191"/>
                    <a:pt x="98" y="191"/>
                  </a:cubicBezTo>
                  <a:cubicBezTo>
                    <a:pt x="99" y="191"/>
                    <a:pt x="100" y="190"/>
                    <a:pt x="100" y="190"/>
                  </a:cubicBezTo>
                  <a:cubicBezTo>
                    <a:pt x="101" y="190"/>
                    <a:pt x="102" y="189"/>
                    <a:pt x="103" y="190"/>
                  </a:cubicBezTo>
                  <a:cubicBezTo>
                    <a:pt x="103" y="190"/>
                    <a:pt x="103" y="191"/>
                    <a:pt x="103" y="191"/>
                  </a:cubicBezTo>
                  <a:cubicBezTo>
                    <a:pt x="103" y="191"/>
                    <a:pt x="104" y="191"/>
                    <a:pt x="104" y="192"/>
                  </a:cubicBezTo>
                  <a:cubicBezTo>
                    <a:pt x="104" y="192"/>
                    <a:pt x="104" y="192"/>
                    <a:pt x="104" y="193"/>
                  </a:cubicBezTo>
                  <a:cubicBezTo>
                    <a:pt x="105" y="194"/>
                    <a:pt x="106" y="195"/>
                    <a:pt x="107" y="196"/>
                  </a:cubicBezTo>
                  <a:cubicBezTo>
                    <a:pt x="108" y="197"/>
                    <a:pt x="108" y="198"/>
                    <a:pt x="108" y="199"/>
                  </a:cubicBezTo>
                  <a:cubicBezTo>
                    <a:pt x="109" y="200"/>
                    <a:pt x="110" y="202"/>
                    <a:pt x="112" y="203"/>
                  </a:cubicBezTo>
                  <a:cubicBezTo>
                    <a:pt x="113" y="204"/>
                    <a:pt x="115" y="206"/>
                    <a:pt x="117" y="207"/>
                  </a:cubicBezTo>
                  <a:cubicBezTo>
                    <a:pt x="119" y="209"/>
                    <a:pt x="121" y="210"/>
                    <a:pt x="122" y="211"/>
                  </a:cubicBezTo>
                  <a:cubicBezTo>
                    <a:pt x="123" y="211"/>
                    <a:pt x="124" y="212"/>
                    <a:pt x="125" y="213"/>
                  </a:cubicBezTo>
                  <a:cubicBezTo>
                    <a:pt x="125" y="215"/>
                    <a:pt x="130" y="214"/>
                    <a:pt x="131" y="214"/>
                  </a:cubicBezTo>
                  <a:cubicBezTo>
                    <a:pt x="132" y="214"/>
                    <a:pt x="133" y="216"/>
                    <a:pt x="134" y="217"/>
                  </a:cubicBezTo>
                  <a:cubicBezTo>
                    <a:pt x="135" y="218"/>
                    <a:pt x="135" y="219"/>
                    <a:pt x="135" y="220"/>
                  </a:cubicBezTo>
                  <a:cubicBezTo>
                    <a:pt x="136" y="221"/>
                    <a:pt x="137" y="223"/>
                    <a:pt x="138" y="224"/>
                  </a:cubicBezTo>
                  <a:cubicBezTo>
                    <a:pt x="139" y="225"/>
                    <a:pt x="139" y="224"/>
                    <a:pt x="140" y="223"/>
                  </a:cubicBezTo>
                  <a:cubicBezTo>
                    <a:pt x="140" y="223"/>
                    <a:pt x="140" y="222"/>
                    <a:pt x="140" y="222"/>
                  </a:cubicBezTo>
                  <a:cubicBezTo>
                    <a:pt x="141" y="222"/>
                    <a:pt x="141" y="221"/>
                    <a:pt x="141" y="221"/>
                  </a:cubicBezTo>
                  <a:cubicBezTo>
                    <a:pt x="143" y="219"/>
                    <a:pt x="143" y="214"/>
                    <a:pt x="143" y="211"/>
                  </a:cubicBezTo>
                  <a:cubicBezTo>
                    <a:pt x="143" y="210"/>
                    <a:pt x="143" y="209"/>
                    <a:pt x="143" y="209"/>
                  </a:cubicBezTo>
                  <a:cubicBezTo>
                    <a:pt x="143" y="208"/>
                    <a:pt x="142" y="207"/>
                    <a:pt x="142" y="207"/>
                  </a:cubicBezTo>
                  <a:cubicBezTo>
                    <a:pt x="142" y="206"/>
                    <a:pt x="142" y="206"/>
                    <a:pt x="141" y="206"/>
                  </a:cubicBezTo>
                  <a:cubicBezTo>
                    <a:pt x="141" y="206"/>
                    <a:pt x="141" y="204"/>
                    <a:pt x="140" y="204"/>
                  </a:cubicBezTo>
                  <a:cubicBezTo>
                    <a:pt x="140" y="202"/>
                    <a:pt x="140" y="201"/>
                    <a:pt x="140" y="200"/>
                  </a:cubicBezTo>
                  <a:cubicBezTo>
                    <a:pt x="140" y="198"/>
                    <a:pt x="139" y="198"/>
                    <a:pt x="139" y="197"/>
                  </a:cubicBezTo>
                  <a:cubicBezTo>
                    <a:pt x="139" y="196"/>
                    <a:pt x="140" y="195"/>
                    <a:pt x="140" y="195"/>
                  </a:cubicBezTo>
                  <a:cubicBezTo>
                    <a:pt x="141" y="193"/>
                    <a:pt x="142" y="192"/>
                    <a:pt x="143" y="190"/>
                  </a:cubicBezTo>
                  <a:cubicBezTo>
                    <a:pt x="143" y="190"/>
                    <a:pt x="143" y="189"/>
                    <a:pt x="143" y="189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44" y="187"/>
                    <a:pt x="144" y="185"/>
                    <a:pt x="144" y="184"/>
                  </a:cubicBezTo>
                  <a:cubicBezTo>
                    <a:pt x="145" y="183"/>
                    <a:pt x="147" y="183"/>
                    <a:pt x="147" y="182"/>
                  </a:cubicBezTo>
                  <a:cubicBezTo>
                    <a:pt x="148" y="181"/>
                    <a:pt x="147" y="181"/>
                    <a:pt x="147" y="180"/>
                  </a:cubicBezTo>
                  <a:cubicBezTo>
                    <a:pt x="148" y="179"/>
                    <a:pt x="148" y="178"/>
                    <a:pt x="148" y="177"/>
                  </a:cubicBezTo>
                  <a:cubicBezTo>
                    <a:pt x="149" y="176"/>
                    <a:pt x="149" y="175"/>
                    <a:pt x="149" y="173"/>
                  </a:cubicBezTo>
                  <a:cubicBezTo>
                    <a:pt x="149" y="172"/>
                    <a:pt x="148" y="171"/>
                    <a:pt x="148" y="170"/>
                  </a:cubicBezTo>
                  <a:cubicBezTo>
                    <a:pt x="148" y="169"/>
                    <a:pt x="149" y="168"/>
                    <a:pt x="150" y="167"/>
                  </a:cubicBezTo>
                  <a:cubicBezTo>
                    <a:pt x="152" y="166"/>
                    <a:pt x="154" y="164"/>
                    <a:pt x="155" y="163"/>
                  </a:cubicBezTo>
                  <a:cubicBezTo>
                    <a:pt x="155" y="162"/>
                    <a:pt x="155" y="162"/>
                    <a:pt x="156" y="162"/>
                  </a:cubicBezTo>
                  <a:cubicBezTo>
                    <a:pt x="156" y="161"/>
                    <a:pt x="157" y="161"/>
                    <a:pt x="157" y="161"/>
                  </a:cubicBezTo>
                  <a:cubicBezTo>
                    <a:pt x="159" y="160"/>
                    <a:pt x="161" y="158"/>
                    <a:pt x="163" y="158"/>
                  </a:cubicBezTo>
                  <a:cubicBezTo>
                    <a:pt x="165" y="158"/>
                    <a:pt x="166" y="159"/>
                    <a:pt x="167" y="161"/>
                  </a:cubicBezTo>
                  <a:cubicBezTo>
                    <a:pt x="167" y="162"/>
                    <a:pt x="167" y="163"/>
                    <a:pt x="168" y="164"/>
                  </a:cubicBezTo>
                  <a:cubicBezTo>
                    <a:pt x="168" y="164"/>
                    <a:pt x="169" y="165"/>
                    <a:pt x="170" y="165"/>
                  </a:cubicBezTo>
                  <a:cubicBezTo>
                    <a:pt x="170" y="164"/>
                    <a:pt x="171" y="165"/>
                    <a:pt x="171" y="164"/>
                  </a:cubicBezTo>
                  <a:cubicBezTo>
                    <a:pt x="172" y="164"/>
                    <a:pt x="172" y="163"/>
                    <a:pt x="172" y="163"/>
                  </a:cubicBezTo>
                  <a:cubicBezTo>
                    <a:pt x="174" y="161"/>
                    <a:pt x="173" y="160"/>
                    <a:pt x="172" y="158"/>
                  </a:cubicBezTo>
                  <a:cubicBezTo>
                    <a:pt x="172" y="157"/>
                    <a:pt x="172" y="156"/>
                    <a:pt x="171" y="155"/>
                  </a:cubicBezTo>
                  <a:cubicBezTo>
                    <a:pt x="170" y="154"/>
                    <a:pt x="169" y="152"/>
                    <a:pt x="168" y="151"/>
                  </a:cubicBezTo>
                  <a:cubicBezTo>
                    <a:pt x="167" y="150"/>
                    <a:pt x="166" y="150"/>
                    <a:pt x="166" y="148"/>
                  </a:cubicBezTo>
                  <a:cubicBezTo>
                    <a:pt x="166" y="147"/>
                    <a:pt x="165" y="145"/>
                    <a:pt x="166" y="144"/>
                  </a:cubicBezTo>
                  <a:cubicBezTo>
                    <a:pt x="166" y="144"/>
                    <a:pt x="166" y="144"/>
                    <a:pt x="167" y="143"/>
                  </a:cubicBezTo>
                  <a:cubicBezTo>
                    <a:pt x="167" y="143"/>
                    <a:pt x="166" y="142"/>
                    <a:pt x="166" y="142"/>
                  </a:cubicBezTo>
                  <a:cubicBezTo>
                    <a:pt x="167" y="141"/>
                    <a:pt x="167" y="141"/>
                    <a:pt x="168" y="141"/>
                  </a:cubicBezTo>
                  <a:cubicBezTo>
                    <a:pt x="170" y="140"/>
                    <a:pt x="172" y="143"/>
                    <a:pt x="173" y="144"/>
                  </a:cubicBezTo>
                  <a:cubicBezTo>
                    <a:pt x="174" y="145"/>
                    <a:pt x="175" y="145"/>
                    <a:pt x="176" y="145"/>
                  </a:cubicBezTo>
                  <a:cubicBezTo>
                    <a:pt x="177" y="144"/>
                    <a:pt x="178" y="144"/>
                    <a:pt x="178" y="144"/>
                  </a:cubicBezTo>
                  <a:cubicBezTo>
                    <a:pt x="179" y="144"/>
                    <a:pt x="180" y="144"/>
                    <a:pt x="180" y="143"/>
                  </a:cubicBezTo>
                  <a:cubicBezTo>
                    <a:pt x="181" y="143"/>
                    <a:pt x="181" y="142"/>
                    <a:pt x="181" y="141"/>
                  </a:cubicBezTo>
                  <a:cubicBezTo>
                    <a:pt x="181" y="140"/>
                    <a:pt x="182" y="140"/>
                    <a:pt x="183" y="139"/>
                  </a:cubicBezTo>
                  <a:cubicBezTo>
                    <a:pt x="184" y="139"/>
                    <a:pt x="184" y="138"/>
                    <a:pt x="184" y="138"/>
                  </a:cubicBezTo>
                  <a:cubicBezTo>
                    <a:pt x="185" y="137"/>
                    <a:pt x="187" y="135"/>
                    <a:pt x="188" y="136"/>
                  </a:cubicBezTo>
                  <a:cubicBezTo>
                    <a:pt x="188" y="136"/>
                    <a:pt x="188" y="138"/>
                    <a:pt x="189" y="139"/>
                  </a:cubicBezTo>
                  <a:cubicBezTo>
                    <a:pt x="190" y="140"/>
                    <a:pt x="191" y="141"/>
                    <a:pt x="191" y="143"/>
                  </a:cubicBezTo>
                  <a:cubicBezTo>
                    <a:pt x="192" y="143"/>
                    <a:pt x="192" y="144"/>
                    <a:pt x="193" y="143"/>
                  </a:cubicBezTo>
                  <a:cubicBezTo>
                    <a:pt x="194" y="143"/>
                    <a:pt x="193" y="143"/>
                    <a:pt x="194" y="142"/>
                  </a:cubicBezTo>
                  <a:cubicBezTo>
                    <a:pt x="194" y="141"/>
                    <a:pt x="195" y="141"/>
                    <a:pt x="196" y="140"/>
                  </a:cubicBezTo>
                  <a:cubicBezTo>
                    <a:pt x="196" y="139"/>
                    <a:pt x="196" y="138"/>
                    <a:pt x="196" y="137"/>
                  </a:cubicBezTo>
                  <a:cubicBezTo>
                    <a:pt x="196" y="135"/>
                    <a:pt x="197" y="134"/>
                    <a:pt x="197" y="133"/>
                  </a:cubicBezTo>
                  <a:cubicBezTo>
                    <a:pt x="197" y="132"/>
                    <a:pt x="196" y="132"/>
                    <a:pt x="196" y="131"/>
                  </a:cubicBezTo>
                  <a:cubicBezTo>
                    <a:pt x="196" y="131"/>
                    <a:pt x="196" y="130"/>
                    <a:pt x="196" y="130"/>
                  </a:cubicBezTo>
                  <a:cubicBezTo>
                    <a:pt x="196" y="128"/>
                    <a:pt x="195" y="127"/>
                    <a:pt x="194" y="125"/>
                  </a:cubicBezTo>
                  <a:cubicBezTo>
                    <a:pt x="192" y="122"/>
                    <a:pt x="190" y="120"/>
                    <a:pt x="189" y="117"/>
                  </a:cubicBezTo>
                  <a:cubicBezTo>
                    <a:pt x="188" y="116"/>
                    <a:pt x="188" y="115"/>
                    <a:pt x="187" y="114"/>
                  </a:cubicBezTo>
                  <a:cubicBezTo>
                    <a:pt x="186" y="112"/>
                    <a:pt x="186" y="113"/>
                    <a:pt x="184" y="112"/>
                  </a:cubicBezTo>
                  <a:cubicBezTo>
                    <a:pt x="183" y="112"/>
                    <a:pt x="182" y="111"/>
                    <a:pt x="182" y="110"/>
                  </a:cubicBezTo>
                  <a:cubicBezTo>
                    <a:pt x="181" y="109"/>
                    <a:pt x="182" y="106"/>
                    <a:pt x="183" y="105"/>
                  </a:cubicBezTo>
                  <a:cubicBezTo>
                    <a:pt x="184" y="106"/>
                    <a:pt x="185" y="107"/>
                    <a:pt x="186" y="107"/>
                  </a:cubicBezTo>
                  <a:cubicBezTo>
                    <a:pt x="188" y="109"/>
                    <a:pt x="192" y="109"/>
                    <a:pt x="195" y="109"/>
                  </a:cubicBezTo>
                  <a:cubicBezTo>
                    <a:pt x="197" y="109"/>
                    <a:pt x="200" y="109"/>
                    <a:pt x="201" y="108"/>
                  </a:cubicBezTo>
                  <a:cubicBezTo>
                    <a:pt x="202" y="107"/>
                    <a:pt x="202" y="107"/>
                    <a:pt x="203" y="106"/>
                  </a:cubicBezTo>
                  <a:cubicBezTo>
                    <a:pt x="204" y="105"/>
                    <a:pt x="204" y="105"/>
                    <a:pt x="204" y="104"/>
                  </a:cubicBezTo>
                  <a:cubicBezTo>
                    <a:pt x="204" y="104"/>
                    <a:pt x="204" y="103"/>
                    <a:pt x="204" y="102"/>
                  </a:cubicBezTo>
                  <a:cubicBezTo>
                    <a:pt x="204" y="102"/>
                    <a:pt x="204" y="100"/>
                    <a:pt x="204" y="10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7" name="Freeform 28">
              <a:extLst>
                <a:ext uri="{FF2B5EF4-FFF2-40B4-BE49-F238E27FC236}">
                  <a16:creationId xmlns:a16="http://schemas.microsoft.com/office/drawing/2014/main" id="{4B0E8F69-A072-4567-A6D6-BC81FCF05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775" y="5527675"/>
              <a:ext cx="280988" cy="252413"/>
            </a:xfrm>
            <a:custGeom>
              <a:avLst/>
              <a:gdLst/>
              <a:ahLst/>
              <a:cxnLst>
                <a:cxn ang="0">
                  <a:pos x="145" y="47"/>
                </a:cxn>
                <a:cxn ang="0">
                  <a:pos x="135" y="45"/>
                </a:cxn>
                <a:cxn ang="0">
                  <a:pos x="132" y="40"/>
                </a:cxn>
                <a:cxn ang="0">
                  <a:pos x="121" y="36"/>
                </a:cxn>
                <a:cxn ang="0">
                  <a:pos x="116" y="31"/>
                </a:cxn>
                <a:cxn ang="0">
                  <a:pos x="110" y="28"/>
                </a:cxn>
                <a:cxn ang="0">
                  <a:pos x="105" y="20"/>
                </a:cxn>
                <a:cxn ang="0">
                  <a:pos x="94" y="10"/>
                </a:cxn>
                <a:cxn ang="0">
                  <a:pos x="88" y="3"/>
                </a:cxn>
                <a:cxn ang="0">
                  <a:pos x="84" y="5"/>
                </a:cxn>
                <a:cxn ang="0">
                  <a:pos x="74" y="2"/>
                </a:cxn>
                <a:cxn ang="0">
                  <a:pos x="74" y="8"/>
                </a:cxn>
                <a:cxn ang="0">
                  <a:pos x="80" y="18"/>
                </a:cxn>
                <a:cxn ang="0">
                  <a:pos x="78" y="25"/>
                </a:cxn>
                <a:cxn ang="0">
                  <a:pos x="71" y="18"/>
                </a:cxn>
                <a:cxn ang="0">
                  <a:pos x="63" y="23"/>
                </a:cxn>
                <a:cxn ang="0">
                  <a:pos x="57" y="33"/>
                </a:cxn>
                <a:cxn ang="0">
                  <a:pos x="55" y="42"/>
                </a:cxn>
                <a:cxn ang="0">
                  <a:pos x="51" y="49"/>
                </a:cxn>
                <a:cxn ang="0">
                  <a:pos x="47" y="57"/>
                </a:cxn>
                <a:cxn ang="0">
                  <a:pos x="49" y="66"/>
                </a:cxn>
                <a:cxn ang="0">
                  <a:pos x="51" y="71"/>
                </a:cxn>
                <a:cxn ang="0">
                  <a:pos x="48" y="83"/>
                </a:cxn>
                <a:cxn ang="0">
                  <a:pos x="42" y="77"/>
                </a:cxn>
                <a:cxn ang="0">
                  <a:pos x="30" y="71"/>
                </a:cxn>
                <a:cxn ang="0">
                  <a:pos x="16" y="59"/>
                </a:cxn>
                <a:cxn ang="0">
                  <a:pos x="12" y="52"/>
                </a:cxn>
                <a:cxn ang="0">
                  <a:pos x="8" y="50"/>
                </a:cxn>
                <a:cxn ang="0">
                  <a:pos x="0" y="54"/>
                </a:cxn>
                <a:cxn ang="0">
                  <a:pos x="5" y="59"/>
                </a:cxn>
                <a:cxn ang="0">
                  <a:pos x="12" y="62"/>
                </a:cxn>
                <a:cxn ang="0">
                  <a:pos x="17" y="66"/>
                </a:cxn>
                <a:cxn ang="0">
                  <a:pos x="26" y="75"/>
                </a:cxn>
                <a:cxn ang="0">
                  <a:pos x="34" y="82"/>
                </a:cxn>
                <a:cxn ang="0">
                  <a:pos x="53" y="94"/>
                </a:cxn>
                <a:cxn ang="0">
                  <a:pos x="62" y="104"/>
                </a:cxn>
                <a:cxn ang="0">
                  <a:pos x="68" y="106"/>
                </a:cxn>
                <a:cxn ang="0">
                  <a:pos x="76" y="116"/>
                </a:cxn>
                <a:cxn ang="0">
                  <a:pos x="82" y="131"/>
                </a:cxn>
                <a:cxn ang="0">
                  <a:pos x="91" y="133"/>
                </a:cxn>
                <a:cxn ang="0">
                  <a:pos x="90" y="111"/>
                </a:cxn>
                <a:cxn ang="0">
                  <a:pos x="95" y="98"/>
                </a:cxn>
                <a:cxn ang="0">
                  <a:pos x="101" y="88"/>
                </a:cxn>
                <a:cxn ang="0">
                  <a:pos x="109" y="76"/>
                </a:cxn>
                <a:cxn ang="0">
                  <a:pos x="113" y="81"/>
                </a:cxn>
                <a:cxn ang="0">
                  <a:pos x="126" y="88"/>
                </a:cxn>
                <a:cxn ang="0">
                  <a:pos x="132" y="81"/>
                </a:cxn>
                <a:cxn ang="0">
                  <a:pos x="132" y="70"/>
                </a:cxn>
                <a:cxn ang="0">
                  <a:pos x="133" y="64"/>
                </a:cxn>
                <a:cxn ang="0">
                  <a:pos x="142" y="62"/>
                </a:cxn>
                <a:cxn ang="0">
                  <a:pos x="148" y="59"/>
                </a:cxn>
              </a:cxnLst>
              <a:rect l="0" t="0" r="r" b="b"/>
              <a:pathLst>
                <a:path w="150" h="135">
                  <a:moveTo>
                    <a:pt x="147" y="51"/>
                  </a:moveTo>
                  <a:cubicBezTo>
                    <a:pt x="146" y="51"/>
                    <a:pt x="146" y="50"/>
                    <a:pt x="146" y="49"/>
                  </a:cubicBezTo>
                  <a:cubicBezTo>
                    <a:pt x="145" y="49"/>
                    <a:pt x="146" y="47"/>
                    <a:pt x="145" y="47"/>
                  </a:cubicBezTo>
                  <a:cubicBezTo>
                    <a:pt x="144" y="46"/>
                    <a:pt x="142" y="47"/>
                    <a:pt x="141" y="47"/>
                  </a:cubicBezTo>
                  <a:cubicBezTo>
                    <a:pt x="140" y="47"/>
                    <a:pt x="136" y="48"/>
                    <a:pt x="136" y="47"/>
                  </a:cubicBezTo>
                  <a:cubicBezTo>
                    <a:pt x="135" y="46"/>
                    <a:pt x="135" y="46"/>
                    <a:pt x="135" y="45"/>
                  </a:cubicBezTo>
                  <a:cubicBezTo>
                    <a:pt x="135" y="44"/>
                    <a:pt x="135" y="44"/>
                    <a:pt x="135" y="43"/>
                  </a:cubicBezTo>
                  <a:cubicBezTo>
                    <a:pt x="134" y="43"/>
                    <a:pt x="134" y="42"/>
                    <a:pt x="133" y="42"/>
                  </a:cubicBezTo>
                  <a:cubicBezTo>
                    <a:pt x="133" y="41"/>
                    <a:pt x="132" y="41"/>
                    <a:pt x="132" y="40"/>
                  </a:cubicBezTo>
                  <a:cubicBezTo>
                    <a:pt x="130" y="40"/>
                    <a:pt x="130" y="39"/>
                    <a:pt x="130" y="38"/>
                  </a:cubicBezTo>
                  <a:cubicBezTo>
                    <a:pt x="129" y="36"/>
                    <a:pt x="128" y="36"/>
                    <a:pt x="127" y="36"/>
                  </a:cubicBezTo>
                  <a:cubicBezTo>
                    <a:pt x="125" y="36"/>
                    <a:pt x="123" y="37"/>
                    <a:pt x="121" y="36"/>
                  </a:cubicBezTo>
                  <a:cubicBezTo>
                    <a:pt x="120" y="36"/>
                    <a:pt x="119" y="35"/>
                    <a:pt x="118" y="34"/>
                  </a:cubicBezTo>
                  <a:cubicBezTo>
                    <a:pt x="117" y="34"/>
                    <a:pt x="117" y="33"/>
                    <a:pt x="116" y="33"/>
                  </a:cubicBezTo>
                  <a:cubicBezTo>
                    <a:pt x="116" y="32"/>
                    <a:pt x="116" y="32"/>
                    <a:pt x="116" y="31"/>
                  </a:cubicBezTo>
                  <a:cubicBezTo>
                    <a:pt x="115" y="31"/>
                    <a:pt x="115" y="31"/>
                    <a:pt x="114" y="31"/>
                  </a:cubicBezTo>
                  <a:cubicBezTo>
                    <a:pt x="113" y="31"/>
                    <a:pt x="113" y="30"/>
                    <a:pt x="112" y="30"/>
                  </a:cubicBezTo>
                  <a:cubicBezTo>
                    <a:pt x="112" y="29"/>
                    <a:pt x="111" y="29"/>
                    <a:pt x="110" y="28"/>
                  </a:cubicBezTo>
                  <a:cubicBezTo>
                    <a:pt x="108" y="27"/>
                    <a:pt x="106" y="25"/>
                    <a:pt x="106" y="23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7" y="22"/>
                    <a:pt x="106" y="21"/>
                    <a:pt x="105" y="20"/>
                  </a:cubicBezTo>
                  <a:cubicBezTo>
                    <a:pt x="103" y="18"/>
                    <a:pt x="101" y="17"/>
                    <a:pt x="100" y="14"/>
                  </a:cubicBezTo>
                  <a:cubicBezTo>
                    <a:pt x="99" y="13"/>
                    <a:pt x="99" y="12"/>
                    <a:pt x="98" y="12"/>
                  </a:cubicBezTo>
                  <a:cubicBezTo>
                    <a:pt x="96" y="11"/>
                    <a:pt x="95" y="11"/>
                    <a:pt x="94" y="10"/>
                  </a:cubicBezTo>
                  <a:cubicBezTo>
                    <a:pt x="93" y="9"/>
                    <a:pt x="93" y="9"/>
                    <a:pt x="92" y="8"/>
                  </a:cubicBezTo>
                  <a:cubicBezTo>
                    <a:pt x="90" y="8"/>
                    <a:pt x="90" y="7"/>
                    <a:pt x="90" y="6"/>
                  </a:cubicBezTo>
                  <a:cubicBezTo>
                    <a:pt x="89" y="5"/>
                    <a:pt x="88" y="4"/>
                    <a:pt x="88" y="3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88" y="4"/>
                    <a:pt x="87" y="4"/>
                    <a:pt x="86" y="4"/>
                  </a:cubicBezTo>
                  <a:cubicBezTo>
                    <a:pt x="86" y="4"/>
                    <a:pt x="85" y="4"/>
                    <a:pt x="84" y="5"/>
                  </a:cubicBezTo>
                  <a:cubicBezTo>
                    <a:pt x="83" y="5"/>
                    <a:pt x="82" y="5"/>
                    <a:pt x="81" y="4"/>
                  </a:cubicBezTo>
                  <a:cubicBezTo>
                    <a:pt x="80" y="3"/>
                    <a:pt x="78" y="0"/>
                    <a:pt x="76" y="1"/>
                  </a:cubicBezTo>
                  <a:cubicBezTo>
                    <a:pt x="75" y="1"/>
                    <a:pt x="75" y="1"/>
                    <a:pt x="74" y="2"/>
                  </a:cubicBezTo>
                  <a:cubicBezTo>
                    <a:pt x="74" y="2"/>
                    <a:pt x="75" y="3"/>
                    <a:pt x="75" y="3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3" y="5"/>
                    <a:pt x="74" y="7"/>
                    <a:pt x="74" y="8"/>
                  </a:cubicBezTo>
                  <a:cubicBezTo>
                    <a:pt x="74" y="10"/>
                    <a:pt x="75" y="10"/>
                    <a:pt x="76" y="11"/>
                  </a:cubicBezTo>
                  <a:cubicBezTo>
                    <a:pt x="77" y="12"/>
                    <a:pt x="78" y="14"/>
                    <a:pt x="79" y="15"/>
                  </a:cubicBezTo>
                  <a:cubicBezTo>
                    <a:pt x="80" y="16"/>
                    <a:pt x="80" y="17"/>
                    <a:pt x="80" y="18"/>
                  </a:cubicBezTo>
                  <a:cubicBezTo>
                    <a:pt x="81" y="20"/>
                    <a:pt x="82" y="21"/>
                    <a:pt x="80" y="23"/>
                  </a:cubicBezTo>
                  <a:cubicBezTo>
                    <a:pt x="80" y="23"/>
                    <a:pt x="80" y="24"/>
                    <a:pt x="79" y="24"/>
                  </a:cubicBezTo>
                  <a:cubicBezTo>
                    <a:pt x="79" y="25"/>
                    <a:pt x="78" y="24"/>
                    <a:pt x="78" y="25"/>
                  </a:cubicBezTo>
                  <a:cubicBezTo>
                    <a:pt x="77" y="25"/>
                    <a:pt x="76" y="24"/>
                    <a:pt x="76" y="24"/>
                  </a:cubicBezTo>
                  <a:cubicBezTo>
                    <a:pt x="75" y="23"/>
                    <a:pt x="75" y="22"/>
                    <a:pt x="75" y="21"/>
                  </a:cubicBezTo>
                  <a:cubicBezTo>
                    <a:pt x="74" y="19"/>
                    <a:pt x="73" y="18"/>
                    <a:pt x="71" y="18"/>
                  </a:cubicBezTo>
                  <a:cubicBezTo>
                    <a:pt x="69" y="18"/>
                    <a:pt x="67" y="20"/>
                    <a:pt x="65" y="21"/>
                  </a:cubicBezTo>
                  <a:cubicBezTo>
                    <a:pt x="65" y="21"/>
                    <a:pt x="64" y="21"/>
                    <a:pt x="64" y="22"/>
                  </a:cubicBezTo>
                  <a:cubicBezTo>
                    <a:pt x="63" y="22"/>
                    <a:pt x="63" y="22"/>
                    <a:pt x="63" y="23"/>
                  </a:cubicBezTo>
                  <a:cubicBezTo>
                    <a:pt x="62" y="24"/>
                    <a:pt x="60" y="26"/>
                    <a:pt x="58" y="27"/>
                  </a:cubicBezTo>
                  <a:cubicBezTo>
                    <a:pt x="57" y="28"/>
                    <a:pt x="56" y="29"/>
                    <a:pt x="56" y="30"/>
                  </a:cubicBezTo>
                  <a:cubicBezTo>
                    <a:pt x="56" y="31"/>
                    <a:pt x="57" y="32"/>
                    <a:pt x="57" y="33"/>
                  </a:cubicBezTo>
                  <a:cubicBezTo>
                    <a:pt x="57" y="35"/>
                    <a:pt x="57" y="36"/>
                    <a:pt x="56" y="37"/>
                  </a:cubicBezTo>
                  <a:cubicBezTo>
                    <a:pt x="56" y="38"/>
                    <a:pt x="56" y="39"/>
                    <a:pt x="55" y="40"/>
                  </a:cubicBezTo>
                  <a:cubicBezTo>
                    <a:pt x="55" y="41"/>
                    <a:pt x="56" y="41"/>
                    <a:pt x="55" y="42"/>
                  </a:cubicBezTo>
                  <a:cubicBezTo>
                    <a:pt x="55" y="43"/>
                    <a:pt x="53" y="43"/>
                    <a:pt x="52" y="44"/>
                  </a:cubicBezTo>
                  <a:cubicBezTo>
                    <a:pt x="52" y="45"/>
                    <a:pt x="52" y="47"/>
                    <a:pt x="51" y="48"/>
                  </a:cubicBezTo>
                  <a:cubicBezTo>
                    <a:pt x="51" y="48"/>
                    <a:pt x="51" y="48"/>
                    <a:pt x="51" y="49"/>
                  </a:cubicBezTo>
                  <a:cubicBezTo>
                    <a:pt x="51" y="49"/>
                    <a:pt x="51" y="50"/>
                    <a:pt x="51" y="50"/>
                  </a:cubicBezTo>
                  <a:cubicBezTo>
                    <a:pt x="50" y="52"/>
                    <a:pt x="49" y="53"/>
                    <a:pt x="48" y="55"/>
                  </a:cubicBezTo>
                  <a:cubicBezTo>
                    <a:pt x="48" y="55"/>
                    <a:pt x="47" y="56"/>
                    <a:pt x="47" y="57"/>
                  </a:cubicBezTo>
                  <a:cubicBezTo>
                    <a:pt x="47" y="58"/>
                    <a:pt x="48" y="58"/>
                    <a:pt x="48" y="60"/>
                  </a:cubicBezTo>
                  <a:cubicBezTo>
                    <a:pt x="48" y="61"/>
                    <a:pt x="48" y="62"/>
                    <a:pt x="48" y="64"/>
                  </a:cubicBezTo>
                  <a:cubicBezTo>
                    <a:pt x="49" y="64"/>
                    <a:pt x="49" y="66"/>
                    <a:pt x="49" y="66"/>
                  </a:cubicBezTo>
                  <a:cubicBezTo>
                    <a:pt x="50" y="66"/>
                    <a:pt x="50" y="66"/>
                    <a:pt x="50" y="67"/>
                  </a:cubicBezTo>
                  <a:cubicBezTo>
                    <a:pt x="50" y="67"/>
                    <a:pt x="51" y="68"/>
                    <a:pt x="51" y="69"/>
                  </a:cubicBezTo>
                  <a:cubicBezTo>
                    <a:pt x="51" y="69"/>
                    <a:pt x="51" y="70"/>
                    <a:pt x="51" y="71"/>
                  </a:cubicBezTo>
                  <a:cubicBezTo>
                    <a:pt x="51" y="74"/>
                    <a:pt x="51" y="79"/>
                    <a:pt x="49" y="81"/>
                  </a:cubicBezTo>
                  <a:cubicBezTo>
                    <a:pt x="49" y="81"/>
                    <a:pt x="49" y="82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ubicBezTo>
                    <a:pt x="47" y="84"/>
                    <a:pt x="47" y="85"/>
                    <a:pt x="46" y="84"/>
                  </a:cubicBezTo>
                  <a:cubicBezTo>
                    <a:pt x="45" y="83"/>
                    <a:pt x="44" y="81"/>
                    <a:pt x="43" y="80"/>
                  </a:cubicBezTo>
                  <a:cubicBezTo>
                    <a:pt x="43" y="79"/>
                    <a:pt x="43" y="78"/>
                    <a:pt x="42" y="77"/>
                  </a:cubicBezTo>
                  <a:cubicBezTo>
                    <a:pt x="41" y="76"/>
                    <a:pt x="40" y="74"/>
                    <a:pt x="39" y="74"/>
                  </a:cubicBezTo>
                  <a:cubicBezTo>
                    <a:pt x="38" y="74"/>
                    <a:pt x="33" y="75"/>
                    <a:pt x="33" y="73"/>
                  </a:cubicBezTo>
                  <a:cubicBezTo>
                    <a:pt x="32" y="72"/>
                    <a:pt x="31" y="71"/>
                    <a:pt x="30" y="71"/>
                  </a:cubicBezTo>
                  <a:cubicBezTo>
                    <a:pt x="29" y="70"/>
                    <a:pt x="27" y="69"/>
                    <a:pt x="25" y="67"/>
                  </a:cubicBezTo>
                  <a:cubicBezTo>
                    <a:pt x="23" y="66"/>
                    <a:pt x="21" y="64"/>
                    <a:pt x="20" y="63"/>
                  </a:cubicBezTo>
                  <a:cubicBezTo>
                    <a:pt x="18" y="62"/>
                    <a:pt x="17" y="60"/>
                    <a:pt x="16" y="59"/>
                  </a:cubicBezTo>
                  <a:cubicBezTo>
                    <a:pt x="16" y="58"/>
                    <a:pt x="16" y="57"/>
                    <a:pt x="15" y="56"/>
                  </a:cubicBezTo>
                  <a:cubicBezTo>
                    <a:pt x="14" y="55"/>
                    <a:pt x="13" y="54"/>
                    <a:pt x="12" y="53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1" y="51"/>
                    <a:pt x="11" y="50"/>
                    <a:pt x="11" y="50"/>
                  </a:cubicBezTo>
                  <a:cubicBezTo>
                    <a:pt x="10" y="49"/>
                    <a:pt x="9" y="50"/>
                    <a:pt x="8" y="50"/>
                  </a:cubicBezTo>
                  <a:cubicBezTo>
                    <a:pt x="8" y="50"/>
                    <a:pt x="7" y="51"/>
                    <a:pt x="6" y="51"/>
                  </a:cubicBezTo>
                  <a:cubicBezTo>
                    <a:pt x="5" y="51"/>
                    <a:pt x="1" y="52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6"/>
                    <a:pt x="0" y="57"/>
                  </a:cubicBezTo>
                  <a:cubicBezTo>
                    <a:pt x="1" y="57"/>
                    <a:pt x="2" y="57"/>
                    <a:pt x="3" y="58"/>
                  </a:cubicBezTo>
                  <a:cubicBezTo>
                    <a:pt x="4" y="58"/>
                    <a:pt x="5" y="58"/>
                    <a:pt x="5" y="59"/>
                  </a:cubicBezTo>
                  <a:cubicBezTo>
                    <a:pt x="5" y="59"/>
                    <a:pt x="6" y="59"/>
                    <a:pt x="6" y="59"/>
                  </a:cubicBezTo>
                  <a:cubicBezTo>
                    <a:pt x="7" y="59"/>
                    <a:pt x="9" y="60"/>
                    <a:pt x="10" y="61"/>
                  </a:cubicBezTo>
                  <a:cubicBezTo>
                    <a:pt x="11" y="62"/>
                    <a:pt x="12" y="62"/>
                    <a:pt x="12" y="62"/>
                  </a:cubicBezTo>
                  <a:cubicBezTo>
                    <a:pt x="13" y="62"/>
                    <a:pt x="13" y="63"/>
                    <a:pt x="14" y="63"/>
                  </a:cubicBezTo>
                  <a:cubicBezTo>
                    <a:pt x="14" y="64"/>
                    <a:pt x="15" y="64"/>
                    <a:pt x="15" y="65"/>
                  </a:cubicBezTo>
                  <a:cubicBezTo>
                    <a:pt x="16" y="65"/>
                    <a:pt x="17" y="65"/>
                    <a:pt x="17" y="66"/>
                  </a:cubicBezTo>
                  <a:cubicBezTo>
                    <a:pt x="19" y="67"/>
                    <a:pt x="20" y="69"/>
                    <a:pt x="22" y="71"/>
                  </a:cubicBezTo>
                  <a:cubicBezTo>
                    <a:pt x="23" y="71"/>
                    <a:pt x="24" y="72"/>
                    <a:pt x="24" y="73"/>
                  </a:cubicBezTo>
                  <a:cubicBezTo>
                    <a:pt x="25" y="73"/>
                    <a:pt x="25" y="74"/>
                    <a:pt x="26" y="75"/>
                  </a:cubicBezTo>
                  <a:cubicBezTo>
                    <a:pt x="27" y="76"/>
                    <a:pt x="29" y="77"/>
                    <a:pt x="30" y="78"/>
                  </a:cubicBezTo>
                  <a:cubicBezTo>
                    <a:pt x="31" y="79"/>
                    <a:pt x="32" y="80"/>
                    <a:pt x="33" y="81"/>
                  </a:cubicBezTo>
                  <a:cubicBezTo>
                    <a:pt x="34" y="81"/>
                    <a:pt x="34" y="82"/>
                    <a:pt x="34" y="82"/>
                  </a:cubicBezTo>
                  <a:cubicBezTo>
                    <a:pt x="35" y="83"/>
                    <a:pt x="35" y="83"/>
                    <a:pt x="36" y="83"/>
                  </a:cubicBezTo>
                  <a:cubicBezTo>
                    <a:pt x="40" y="85"/>
                    <a:pt x="43" y="88"/>
                    <a:pt x="47" y="90"/>
                  </a:cubicBezTo>
                  <a:cubicBezTo>
                    <a:pt x="49" y="91"/>
                    <a:pt x="51" y="93"/>
                    <a:pt x="53" y="94"/>
                  </a:cubicBezTo>
                  <a:cubicBezTo>
                    <a:pt x="55" y="95"/>
                    <a:pt x="57" y="97"/>
                    <a:pt x="58" y="99"/>
                  </a:cubicBezTo>
                  <a:cubicBezTo>
                    <a:pt x="59" y="100"/>
                    <a:pt x="59" y="102"/>
                    <a:pt x="60" y="102"/>
                  </a:cubicBezTo>
                  <a:cubicBezTo>
                    <a:pt x="61" y="103"/>
                    <a:pt x="62" y="103"/>
                    <a:pt x="62" y="104"/>
                  </a:cubicBezTo>
                  <a:cubicBezTo>
                    <a:pt x="63" y="104"/>
                    <a:pt x="64" y="105"/>
                    <a:pt x="65" y="105"/>
                  </a:cubicBezTo>
                  <a:cubicBezTo>
                    <a:pt x="67" y="105"/>
                    <a:pt x="66" y="105"/>
                    <a:pt x="67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9" y="107"/>
                    <a:pt x="69" y="107"/>
                  </a:cubicBezTo>
                  <a:cubicBezTo>
                    <a:pt x="71" y="109"/>
                    <a:pt x="72" y="113"/>
                    <a:pt x="74" y="115"/>
                  </a:cubicBezTo>
                  <a:cubicBezTo>
                    <a:pt x="75" y="116"/>
                    <a:pt x="75" y="116"/>
                    <a:pt x="76" y="116"/>
                  </a:cubicBezTo>
                  <a:cubicBezTo>
                    <a:pt x="77" y="117"/>
                    <a:pt x="77" y="118"/>
                    <a:pt x="78" y="119"/>
                  </a:cubicBezTo>
                  <a:cubicBezTo>
                    <a:pt x="79" y="121"/>
                    <a:pt x="79" y="124"/>
                    <a:pt x="80" y="126"/>
                  </a:cubicBezTo>
                  <a:cubicBezTo>
                    <a:pt x="81" y="128"/>
                    <a:pt x="81" y="129"/>
                    <a:pt x="82" y="131"/>
                  </a:cubicBezTo>
                  <a:cubicBezTo>
                    <a:pt x="83" y="132"/>
                    <a:pt x="85" y="132"/>
                    <a:pt x="86" y="133"/>
                  </a:cubicBezTo>
                  <a:cubicBezTo>
                    <a:pt x="87" y="133"/>
                    <a:pt x="88" y="135"/>
                    <a:pt x="90" y="135"/>
                  </a:cubicBezTo>
                  <a:cubicBezTo>
                    <a:pt x="91" y="134"/>
                    <a:pt x="90" y="134"/>
                    <a:pt x="91" y="133"/>
                  </a:cubicBezTo>
                  <a:cubicBezTo>
                    <a:pt x="91" y="132"/>
                    <a:pt x="91" y="132"/>
                    <a:pt x="91" y="131"/>
                  </a:cubicBezTo>
                  <a:cubicBezTo>
                    <a:pt x="93" y="129"/>
                    <a:pt x="96" y="127"/>
                    <a:pt x="95" y="124"/>
                  </a:cubicBezTo>
                  <a:cubicBezTo>
                    <a:pt x="95" y="120"/>
                    <a:pt x="92" y="115"/>
                    <a:pt x="90" y="111"/>
                  </a:cubicBezTo>
                  <a:cubicBezTo>
                    <a:pt x="88" y="110"/>
                    <a:pt x="86" y="108"/>
                    <a:pt x="86" y="105"/>
                  </a:cubicBezTo>
                  <a:cubicBezTo>
                    <a:pt x="87" y="103"/>
                    <a:pt x="91" y="103"/>
                    <a:pt x="93" y="102"/>
                  </a:cubicBezTo>
                  <a:cubicBezTo>
                    <a:pt x="94" y="101"/>
                    <a:pt x="95" y="100"/>
                    <a:pt x="95" y="98"/>
                  </a:cubicBezTo>
                  <a:cubicBezTo>
                    <a:pt x="96" y="97"/>
                    <a:pt x="97" y="95"/>
                    <a:pt x="97" y="94"/>
                  </a:cubicBezTo>
                  <a:cubicBezTo>
                    <a:pt x="98" y="93"/>
                    <a:pt x="98" y="92"/>
                    <a:pt x="99" y="91"/>
                  </a:cubicBezTo>
                  <a:cubicBezTo>
                    <a:pt x="100" y="90"/>
                    <a:pt x="100" y="89"/>
                    <a:pt x="101" y="88"/>
                  </a:cubicBezTo>
                  <a:cubicBezTo>
                    <a:pt x="103" y="87"/>
                    <a:pt x="104" y="85"/>
                    <a:pt x="105" y="83"/>
                  </a:cubicBezTo>
                  <a:cubicBezTo>
                    <a:pt x="107" y="81"/>
                    <a:pt x="108" y="80"/>
                    <a:pt x="109" y="78"/>
                  </a:cubicBezTo>
                  <a:cubicBezTo>
                    <a:pt x="109" y="77"/>
                    <a:pt x="109" y="77"/>
                    <a:pt x="109" y="76"/>
                  </a:cubicBezTo>
                  <a:cubicBezTo>
                    <a:pt x="109" y="76"/>
                    <a:pt x="111" y="74"/>
                    <a:pt x="111" y="74"/>
                  </a:cubicBezTo>
                  <a:cubicBezTo>
                    <a:pt x="112" y="74"/>
                    <a:pt x="112" y="74"/>
                    <a:pt x="112" y="75"/>
                  </a:cubicBezTo>
                  <a:cubicBezTo>
                    <a:pt x="113" y="77"/>
                    <a:pt x="113" y="79"/>
                    <a:pt x="113" y="81"/>
                  </a:cubicBezTo>
                  <a:cubicBezTo>
                    <a:pt x="113" y="83"/>
                    <a:pt x="113" y="86"/>
                    <a:pt x="113" y="87"/>
                  </a:cubicBezTo>
                  <a:cubicBezTo>
                    <a:pt x="114" y="90"/>
                    <a:pt x="116" y="89"/>
                    <a:pt x="118" y="89"/>
                  </a:cubicBezTo>
                  <a:cubicBezTo>
                    <a:pt x="121" y="89"/>
                    <a:pt x="123" y="89"/>
                    <a:pt x="126" y="88"/>
                  </a:cubicBezTo>
                  <a:cubicBezTo>
                    <a:pt x="127" y="87"/>
                    <a:pt x="129" y="87"/>
                    <a:pt x="130" y="85"/>
                  </a:cubicBezTo>
                  <a:cubicBezTo>
                    <a:pt x="131" y="85"/>
                    <a:pt x="131" y="84"/>
                    <a:pt x="131" y="83"/>
                  </a:cubicBezTo>
                  <a:cubicBezTo>
                    <a:pt x="131" y="82"/>
                    <a:pt x="132" y="82"/>
                    <a:pt x="132" y="81"/>
                  </a:cubicBezTo>
                  <a:cubicBezTo>
                    <a:pt x="133" y="80"/>
                    <a:pt x="133" y="79"/>
                    <a:pt x="133" y="78"/>
                  </a:cubicBezTo>
                  <a:cubicBezTo>
                    <a:pt x="134" y="76"/>
                    <a:pt x="135" y="73"/>
                    <a:pt x="134" y="71"/>
                  </a:cubicBezTo>
                  <a:cubicBezTo>
                    <a:pt x="134" y="71"/>
                    <a:pt x="133" y="70"/>
                    <a:pt x="132" y="70"/>
                  </a:cubicBezTo>
                  <a:cubicBezTo>
                    <a:pt x="132" y="69"/>
                    <a:pt x="131" y="69"/>
                    <a:pt x="130" y="69"/>
                  </a:cubicBezTo>
                  <a:cubicBezTo>
                    <a:pt x="129" y="69"/>
                    <a:pt x="129" y="68"/>
                    <a:pt x="129" y="68"/>
                  </a:cubicBezTo>
                  <a:cubicBezTo>
                    <a:pt x="128" y="66"/>
                    <a:pt x="131" y="64"/>
                    <a:pt x="133" y="64"/>
                  </a:cubicBezTo>
                  <a:cubicBezTo>
                    <a:pt x="134" y="65"/>
                    <a:pt x="135" y="65"/>
                    <a:pt x="136" y="66"/>
                  </a:cubicBezTo>
                  <a:cubicBezTo>
                    <a:pt x="138" y="67"/>
                    <a:pt x="139" y="67"/>
                    <a:pt x="141" y="67"/>
                  </a:cubicBezTo>
                  <a:cubicBezTo>
                    <a:pt x="141" y="65"/>
                    <a:pt x="140" y="62"/>
                    <a:pt x="142" y="62"/>
                  </a:cubicBezTo>
                  <a:cubicBezTo>
                    <a:pt x="143" y="62"/>
                    <a:pt x="145" y="63"/>
                    <a:pt x="146" y="62"/>
                  </a:cubicBezTo>
                  <a:cubicBezTo>
                    <a:pt x="146" y="61"/>
                    <a:pt x="145" y="60"/>
                    <a:pt x="146" y="60"/>
                  </a:cubicBezTo>
                  <a:cubicBezTo>
                    <a:pt x="147" y="59"/>
                    <a:pt x="148" y="59"/>
                    <a:pt x="148" y="59"/>
                  </a:cubicBezTo>
                  <a:cubicBezTo>
                    <a:pt x="149" y="58"/>
                    <a:pt x="149" y="58"/>
                    <a:pt x="149" y="57"/>
                  </a:cubicBezTo>
                  <a:cubicBezTo>
                    <a:pt x="150" y="55"/>
                    <a:pt x="148" y="52"/>
                    <a:pt x="147" y="5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8" name="Freeform 29">
              <a:extLst>
                <a:ext uri="{FF2B5EF4-FFF2-40B4-BE49-F238E27FC236}">
                  <a16:creationId xmlns:a16="http://schemas.microsoft.com/office/drawing/2014/main" id="{DA2AE7BF-58FF-43C9-87DF-B2EE3AD330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7650" y="5132388"/>
              <a:ext cx="406400" cy="601663"/>
            </a:xfrm>
            <a:custGeom>
              <a:avLst/>
              <a:gdLst/>
              <a:ahLst/>
              <a:cxnLst>
                <a:cxn ang="0">
                  <a:pos x="53" y="277"/>
                </a:cxn>
                <a:cxn ang="0">
                  <a:pos x="53" y="278"/>
                </a:cxn>
                <a:cxn ang="0">
                  <a:pos x="54" y="276"/>
                </a:cxn>
                <a:cxn ang="0">
                  <a:pos x="58" y="282"/>
                </a:cxn>
                <a:cxn ang="0">
                  <a:pos x="54" y="280"/>
                </a:cxn>
                <a:cxn ang="0">
                  <a:pos x="208" y="236"/>
                </a:cxn>
                <a:cxn ang="0">
                  <a:pos x="200" y="227"/>
                </a:cxn>
                <a:cxn ang="0">
                  <a:pos x="192" y="213"/>
                </a:cxn>
                <a:cxn ang="0">
                  <a:pos x="188" y="190"/>
                </a:cxn>
                <a:cxn ang="0">
                  <a:pos x="201" y="176"/>
                </a:cxn>
                <a:cxn ang="0">
                  <a:pos x="195" y="148"/>
                </a:cxn>
                <a:cxn ang="0">
                  <a:pos x="198" y="139"/>
                </a:cxn>
                <a:cxn ang="0">
                  <a:pos x="183" y="129"/>
                </a:cxn>
                <a:cxn ang="0">
                  <a:pos x="170" y="135"/>
                </a:cxn>
                <a:cxn ang="0">
                  <a:pos x="147" y="122"/>
                </a:cxn>
                <a:cxn ang="0">
                  <a:pos x="137" y="115"/>
                </a:cxn>
                <a:cxn ang="0">
                  <a:pos x="141" y="103"/>
                </a:cxn>
                <a:cxn ang="0">
                  <a:pos x="137" y="90"/>
                </a:cxn>
                <a:cxn ang="0">
                  <a:pos x="137" y="76"/>
                </a:cxn>
                <a:cxn ang="0">
                  <a:pos x="107" y="61"/>
                </a:cxn>
                <a:cxn ang="0">
                  <a:pos x="105" y="40"/>
                </a:cxn>
                <a:cxn ang="0">
                  <a:pos x="95" y="29"/>
                </a:cxn>
                <a:cxn ang="0">
                  <a:pos x="81" y="12"/>
                </a:cxn>
                <a:cxn ang="0">
                  <a:pos x="44" y="0"/>
                </a:cxn>
                <a:cxn ang="0">
                  <a:pos x="26" y="8"/>
                </a:cxn>
                <a:cxn ang="0">
                  <a:pos x="6" y="18"/>
                </a:cxn>
                <a:cxn ang="0">
                  <a:pos x="2" y="31"/>
                </a:cxn>
                <a:cxn ang="0">
                  <a:pos x="2" y="48"/>
                </a:cxn>
                <a:cxn ang="0">
                  <a:pos x="6" y="64"/>
                </a:cxn>
                <a:cxn ang="0">
                  <a:pos x="19" y="82"/>
                </a:cxn>
                <a:cxn ang="0">
                  <a:pos x="23" y="112"/>
                </a:cxn>
                <a:cxn ang="0">
                  <a:pos x="11" y="142"/>
                </a:cxn>
                <a:cxn ang="0">
                  <a:pos x="24" y="151"/>
                </a:cxn>
                <a:cxn ang="0">
                  <a:pos x="24" y="164"/>
                </a:cxn>
                <a:cxn ang="0">
                  <a:pos x="36" y="173"/>
                </a:cxn>
                <a:cxn ang="0">
                  <a:pos x="15" y="176"/>
                </a:cxn>
                <a:cxn ang="0">
                  <a:pos x="28" y="201"/>
                </a:cxn>
                <a:cxn ang="0">
                  <a:pos x="25" y="214"/>
                </a:cxn>
                <a:cxn ang="0">
                  <a:pos x="13" y="212"/>
                </a:cxn>
                <a:cxn ang="0">
                  <a:pos x="22" y="223"/>
                </a:cxn>
                <a:cxn ang="0">
                  <a:pos x="36" y="241"/>
                </a:cxn>
                <a:cxn ang="0">
                  <a:pos x="51" y="247"/>
                </a:cxn>
                <a:cxn ang="0">
                  <a:pos x="60" y="258"/>
                </a:cxn>
                <a:cxn ang="0">
                  <a:pos x="72" y="270"/>
                </a:cxn>
                <a:cxn ang="0">
                  <a:pos x="82" y="262"/>
                </a:cxn>
                <a:cxn ang="0">
                  <a:pos x="93" y="244"/>
                </a:cxn>
                <a:cxn ang="0">
                  <a:pos x="105" y="245"/>
                </a:cxn>
                <a:cxn ang="0">
                  <a:pos x="117" y="255"/>
                </a:cxn>
                <a:cxn ang="0">
                  <a:pos x="131" y="272"/>
                </a:cxn>
                <a:cxn ang="0">
                  <a:pos x="151" y="289"/>
                </a:cxn>
                <a:cxn ang="0">
                  <a:pos x="143" y="305"/>
                </a:cxn>
                <a:cxn ang="0">
                  <a:pos x="138" y="321"/>
                </a:cxn>
                <a:cxn ang="0">
                  <a:pos x="159" y="316"/>
                </a:cxn>
                <a:cxn ang="0">
                  <a:pos x="174" y="312"/>
                </a:cxn>
                <a:cxn ang="0">
                  <a:pos x="190" y="299"/>
                </a:cxn>
                <a:cxn ang="0">
                  <a:pos x="187" y="276"/>
                </a:cxn>
                <a:cxn ang="0">
                  <a:pos x="202" y="269"/>
                </a:cxn>
              </a:cxnLst>
              <a:rect l="0" t="0" r="r" b="b"/>
              <a:pathLst>
                <a:path w="218" h="322">
                  <a:moveTo>
                    <a:pt x="53" y="277"/>
                  </a:move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6"/>
                  </a:cubicBezTo>
                  <a:cubicBezTo>
                    <a:pt x="53" y="277"/>
                    <a:pt x="53" y="277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cubicBezTo>
                    <a:pt x="53" y="278"/>
                    <a:pt x="53" y="278"/>
                    <a:pt x="53" y="278"/>
                  </a:cubicBezTo>
                  <a:cubicBezTo>
                    <a:pt x="53" y="278"/>
                    <a:pt x="53" y="277"/>
                    <a:pt x="53" y="277"/>
                  </a:cubicBezTo>
                  <a:moveTo>
                    <a:pt x="53" y="278"/>
                  </a:moveTo>
                  <a:cubicBezTo>
                    <a:pt x="53" y="278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moveTo>
                    <a:pt x="54" y="276"/>
                  </a:moveTo>
                  <a:cubicBezTo>
                    <a:pt x="54" y="276"/>
                    <a:pt x="54" y="276"/>
                    <a:pt x="54" y="276"/>
                  </a:cubicBezTo>
                  <a:cubicBezTo>
                    <a:pt x="55" y="275"/>
                    <a:pt x="56" y="275"/>
                    <a:pt x="56" y="275"/>
                  </a:cubicBezTo>
                  <a:cubicBezTo>
                    <a:pt x="55" y="275"/>
                    <a:pt x="54" y="276"/>
                    <a:pt x="54" y="276"/>
                  </a:cubicBezTo>
                  <a:moveTo>
                    <a:pt x="58" y="282"/>
                  </a:moveTo>
                  <a:cubicBezTo>
                    <a:pt x="58" y="283"/>
                    <a:pt x="59" y="284"/>
                    <a:pt x="59" y="285"/>
                  </a:cubicBezTo>
                  <a:cubicBezTo>
                    <a:pt x="59" y="284"/>
                    <a:pt x="58" y="283"/>
                    <a:pt x="58" y="282"/>
                  </a:cubicBezTo>
                  <a:moveTo>
                    <a:pt x="56" y="275"/>
                  </a:moveTo>
                  <a:cubicBezTo>
                    <a:pt x="57" y="275"/>
                    <a:pt x="57" y="275"/>
                    <a:pt x="57" y="275"/>
                  </a:cubicBezTo>
                  <a:cubicBezTo>
                    <a:pt x="57" y="275"/>
                    <a:pt x="57" y="275"/>
                    <a:pt x="56" y="275"/>
                  </a:cubicBezTo>
                  <a:moveTo>
                    <a:pt x="54" y="280"/>
                  </a:moveTo>
                  <a:cubicBezTo>
                    <a:pt x="54" y="280"/>
                    <a:pt x="54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moveTo>
                    <a:pt x="217" y="248"/>
                  </a:moveTo>
                  <a:cubicBezTo>
                    <a:pt x="217" y="248"/>
                    <a:pt x="216" y="248"/>
                    <a:pt x="216" y="247"/>
                  </a:cubicBezTo>
                  <a:cubicBezTo>
                    <a:pt x="216" y="247"/>
                    <a:pt x="215" y="246"/>
                    <a:pt x="215" y="246"/>
                  </a:cubicBezTo>
                  <a:cubicBezTo>
                    <a:pt x="215" y="245"/>
                    <a:pt x="214" y="244"/>
                    <a:pt x="213" y="243"/>
                  </a:cubicBezTo>
                  <a:cubicBezTo>
                    <a:pt x="212" y="242"/>
                    <a:pt x="210" y="240"/>
                    <a:pt x="210" y="238"/>
                  </a:cubicBezTo>
                  <a:cubicBezTo>
                    <a:pt x="210" y="237"/>
                    <a:pt x="209" y="237"/>
                    <a:pt x="208" y="236"/>
                  </a:cubicBezTo>
                  <a:cubicBezTo>
                    <a:pt x="207" y="235"/>
                    <a:pt x="207" y="234"/>
                    <a:pt x="206" y="233"/>
                  </a:cubicBezTo>
                  <a:cubicBezTo>
                    <a:pt x="205" y="232"/>
                    <a:pt x="205" y="231"/>
                    <a:pt x="203" y="231"/>
                  </a:cubicBezTo>
                  <a:cubicBezTo>
                    <a:pt x="202" y="230"/>
                    <a:pt x="200" y="231"/>
                    <a:pt x="198" y="230"/>
                  </a:cubicBezTo>
                  <a:cubicBezTo>
                    <a:pt x="197" y="230"/>
                    <a:pt x="195" y="230"/>
                    <a:pt x="194" y="230"/>
                  </a:cubicBezTo>
                  <a:cubicBezTo>
                    <a:pt x="193" y="229"/>
                    <a:pt x="193" y="226"/>
                    <a:pt x="194" y="226"/>
                  </a:cubicBezTo>
                  <a:cubicBezTo>
                    <a:pt x="196" y="226"/>
                    <a:pt x="198" y="228"/>
                    <a:pt x="200" y="227"/>
                  </a:cubicBezTo>
                  <a:cubicBezTo>
                    <a:pt x="199" y="225"/>
                    <a:pt x="198" y="224"/>
                    <a:pt x="197" y="222"/>
                  </a:cubicBezTo>
                  <a:cubicBezTo>
                    <a:pt x="196" y="221"/>
                    <a:pt x="196" y="221"/>
                    <a:pt x="195" y="220"/>
                  </a:cubicBezTo>
                  <a:cubicBezTo>
                    <a:pt x="195" y="220"/>
                    <a:pt x="194" y="219"/>
                    <a:pt x="194" y="218"/>
                  </a:cubicBezTo>
                  <a:cubicBezTo>
                    <a:pt x="194" y="218"/>
                    <a:pt x="193" y="217"/>
                    <a:pt x="193" y="216"/>
                  </a:cubicBezTo>
                  <a:cubicBezTo>
                    <a:pt x="193" y="215"/>
                    <a:pt x="193" y="214"/>
                    <a:pt x="193" y="214"/>
                  </a:cubicBezTo>
                  <a:cubicBezTo>
                    <a:pt x="192" y="213"/>
                    <a:pt x="192" y="214"/>
                    <a:pt x="192" y="213"/>
                  </a:cubicBezTo>
                  <a:cubicBezTo>
                    <a:pt x="191" y="212"/>
                    <a:pt x="192" y="210"/>
                    <a:pt x="191" y="210"/>
                  </a:cubicBezTo>
                  <a:cubicBezTo>
                    <a:pt x="191" y="209"/>
                    <a:pt x="191" y="209"/>
                    <a:pt x="190" y="209"/>
                  </a:cubicBezTo>
                  <a:cubicBezTo>
                    <a:pt x="190" y="209"/>
                    <a:pt x="190" y="208"/>
                    <a:pt x="190" y="208"/>
                  </a:cubicBezTo>
                  <a:cubicBezTo>
                    <a:pt x="189" y="207"/>
                    <a:pt x="188" y="205"/>
                    <a:pt x="187" y="203"/>
                  </a:cubicBezTo>
                  <a:cubicBezTo>
                    <a:pt x="187" y="201"/>
                    <a:pt x="187" y="196"/>
                    <a:pt x="187" y="194"/>
                  </a:cubicBezTo>
                  <a:cubicBezTo>
                    <a:pt x="187" y="192"/>
                    <a:pt x="188" y="191"/>
                    <a:pt x="188" y="190"/>
                  </a:cubicBezTo>
                  <a:cubicBezTo>
                    <a:pt x="189" y="189"/>
                    <a:pt x="190" y="189"/>
                    <a:pt x="191" y="187"/>
                  </a:cubicBezTo>
                  <a:cubicBezTo>
                    <a:pt x="191" y="186"/>
                    <a:pt x="191" y="186"/>
                    <a:pt x="191" y="185"/>
                  </a:cubicBezTo>
                  <a:cubicBezTo>
                    <a:pt x="191" y="184"/>
                    <a:pt x="192" y="184"/>
                    <a:pt x="192" y="183"/>
                  </a:cubicBezTo>
                  <a:cubicBezTo>
                    <a:pt x="194" y="181"/>
                    <a:pt x="194" y="178"/>
                    <a:pt x="196" y="177"/>
                  </a:cubicBezTo>
                  <a:cubicBezTo>
                    <a:pt x="196" y="176"/>
                    <a:pt x="198" y="176"/>
                    <a:pt x="198" y="176"/>
                  </a:cubicBezTo>
                  <a:cubicBezTo>
                    <a:pt x="199" y="176"/>
                    <a:pt x="201" y="176"/>
                    <a:pt x="201" y="176"/>
                  </a:cubicBezTo>
                  <a:cubicBezTo>
                    <a:pt x="202" y="175"/>
                    <a:pt x="202" y="174"/>
                    <a:pt x="202" y="173"/>
                  </a:cubicBezTo>
                  <a:cubicBezTo>
                    <a:pt x="202" y="169"/>
                    <a:pt x="202" y="165"/>
                    <a:pt x="202" y="161"/>
                  </a:cubicBezTo>
                  <a:cubicBezTo>
                    <a:pt x="202" y="159"/>
                    <a:pt x="201" y="157"/>
                    <a:pt x="199" y="156"/>
                  </a:cubicBezTo>
                  <a:cubicBezTo>
                    <a:pt x="199" y="155"/>
                    <a:pt x="198" y="154"/>
                    <a:pt x="198" y="154"/>
                  </a:cubicBezTo>
                  <a:cubicBezTo>
                    <a:pt x="197" y="153"/>
                    <a:pt x="196" y="153"/>
                    <a:pt x="195" y="152"/>
                  </a:cubicBezTo>
                  <a:cubicBezTo>
                    <a:pt x="194" y="151"/>
                    <a:pt x="195" y="149"/>
                    <a:pt x="195" y="148"/>
                  </a:cubicBezTo>
                  <a:cubicBezTo>
                    <a:pt x="194" y="148"/>
                    <a:pt x="193" y="147"/>
                    <a:pt x="193" y="146"/>
                  </a:cubicBezTo>
                  <a:cubicBezTo>
                    <a:pt x="193" y="145"/>
                    <a:pt x="192" y="145"/>
                    <a:pt x="192" y="144"/>
                  </a:cubicBezTo>
                  <a:cubicBezTo>
                    <a:pt x="193" y="143"/>
                    <a:pt x="193" y="143"/>
                    <a:pt x="194" y="143"/>
                  </a:cubicBezTo>
                  <a:cubicBezTo>
                    <a:pt x="194" y="142"/>
                    <a:pt x="194" y="142"/>
                    <a:pt x="194" y="141"/>
                  </a:cubicBezTo>
                  <a:cubicBezTo>
                    <a:pt x="194" y="140"/>
                    <a:pt x="196" y="140"/>
                    <a:pt x="196" y="140"/>
                  </a:cubicBezTo>
                  <a:cubicBezTo>
                    <a:pt x="197" y="139"/>
                    <a:pt x="197" y="139"/>
                    <a:pt x="198" y="139"/>
                  </a:cubicBezTo>
                  <a:cubicBezTo>
                    <a:pt x="199" y="138"/>
                    <a:pt x="200" y="138"/>
                    <a:pt x="201" y="137"/>
                  </a:cubicBezTo>
                  <a:cubicBezTo>
                    <a:pt x="204" y="137"/>
                    <a:pt x="207" y="137"/>
                    <a:pt x="208" y="135"/>
                  </a:cubicBezTo>
                  <a:cubicBezTo>
                    <a:pt x="209" y="132"/>
                    <a:pt x="206" y="131"/>
                    <a:pt x="204" y="130"/>
                  </a:cubicBezTo>
                  <a:cubicBezTo>
                    <a:pt x="201" y="128"/>
                    <a:pt x="199" y="128"/>
                    <a:pt x="196" y="126"/>
                  </a:cubicBezTo>
                  <a:cubicBezTo>
                    <a:pt x="193" y="125"/>
                    <a:pt x="191" y="122"/>
                    <a:pt x="188" y="123"/>
                  </a:cubicBezTo>
                  <a:cubicBezTo>
                    <a:pt x="185" y="124"/>
                    <a:pt x="185" y="127"/>
                    <a:pt x="183" y="129"/>
                  </a:cubicBezTo>
                  <a:cubicBezTo>
                    <a:pt x="182" y="129"/>
                    <a:pt x="182" y="130"/>
                    <a:pt x="181" y="131"/>
                  </a:cubicBezTo>
                  <a:cubicBezTo>
                    <a:pt x="181" y="131"/>
                    <a:pt x="181" y="132"/>
                    <a:pt x="180" y="133"/>
                  </a:cubicBezTo>
                  <a:cubicBezTo>
                    <a:pt x="180" y="133"/>
                    <a:pt x="180" y="134"/>
                    <a:pt x="180" y="134"/>
                  </a:cubicBezTo>
                  <a:cubicBezTo>
                    <a:pt x="179" y="136"/>
                    <a:pt x="179" y="135"/>
                    <a:pt x="178" y="136"/>
                  </a:cubicBezTo>
                  <a:cubicBezTo>
                    <a:pt x="176" y="138"/>
                    <a:pt x="175" y="138"/>
                    <a:pt x="172" y="137"/>
                  </a:cubicBezTo>
                  <a:cubicBezTo>
                    <a:pt x="170" y="137"/>
                    <a:pt x="170" y="137"/>
                    <a:pt x="170" y="135"/>
                  </a:cubicBezTo>
                  <a:cubicBezTo>
                    <a:pt x="169" y="135"/>
                    <a:pt x="169" y="133"/>
                    <a:pt x="169" y="133"/>
                  </a:cubicBezTo>
                  <a:cubicBezTo>
                    <a:pt x="168" y="132"/>
                    <a:pt x="167" y="132"/>
                    <a:pt x="166" y="131"/>
                  </a:cubicBezTo>
                  <a:cubicBezTo>
                    <a:pt x="165" y="131"/>
                    <a:pt x="164" y="130"/>
                    <a:pt x="163" y="130"/>
                  </a:cubicBezTo>
                  <a:cubicBezTo>
                    <a:pt x="161" y="128"/>
                    <a:pt x="159" y="126"/>
                    <a:pt x="156" y="125"/>
                  </a:cubicBezTo>
                  <a:cubicBezTo>
                    <a:pt x="153" y="124"/>
                    <a:pt x="150" y="123"/>
                    <a:pt x="147" y="122"/>
                  </a:cubicBezTo>
                  <a:cubicBezTo>
                    <a:pt x="147" y="122"/>
                    <a:pt x="147" y="122"/>
                    <a:pt x="147" y="122"/>
                  </a:cubicBezTo>
                  <a:cubicBezTo>
                    <a:pt x="147" y="122"/>
                    <a:pt x="146" y="122"/>
                    <a:pt x="146" y="122"/>
                  </a:cubicBezTo>
                  <a:cubicBezTo>
                    <a:pt x="145" y="121"/>
                    <a:pt x="144" y="121"/>
                    <a:pt x="143" y="120"/>
                  </a:cubicBezTo>
                  <a:cubicBezTo>
                    <a:pt x="143" y="119"/>
                    <a:pt x="143" y="119"/>
                    <a:pt x="143" y="118"/>
                  </a:cubicBezTo>
                  <a:cubicBezTo>
                    <a:pt x="143" y="118"/>
                    <a:pt x="142" y="117"/>
                    <a:pt x="142" y="117"/>
                  </a:cubicBezTo>
                  <a:cubicBezTo>
                    <a:pt x="142" y="116"/>
                    <a:pt x="142" y="116"/>
                    <a:pt x="141" y="115"/>
                  </a:cubicBezTo>
                  <a:cubicBezTo>
                    <a:pt x="141" y="115"/>
                    <a:pt x="138" y="115"/>
                    <a:pt x="137" y="115"/>
                  </a:cubicBezTo>
                  <a:cubicBezTo>
                    <a:pt x="136" y="115"/>
                    <a:pt x="135" y="115"/>
                    <a:pt x="134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2" y="111"/>
                    <a:pt x="133" y="111"/>
                    <a:pt x="134" y="110"/>
                  </a:cubicBezTo>
                  <a:cubicBezTo>
                    <a:pt x="135" y="109"/>
                    <a:pt x="135" y="108"/>
                    <a:pt x="136" y="108"/>
                  </a:cubicBezTo>
                  <a:cubicBezTo>
                    <a:pt x="138" y="107"/>
                    <a:pt x="140" y="108"/>
                    <a:pt x="141" y="108"/>
                  </a:cubicBezTo>
                  <a:cubicBezTo>
                    <a:pt x="143" y="107"/>
                    <a:pt x="142" y="104"/>
                    <a:pt x="141" y="103"/>
                  </a:cubicBezTo>
                  <a:cubicBezTo>
                    <a:pt x="140" y="102"/>
                    <a:pt x="139" y="101"/>
                    <a:pt x="139" y="101"/>
                  </a:cubicBezTo>
                  <a:cubicBezTo>
                    <a:pt x="138" y="100"/>
                    <a:pt x="136" y="100"/>
                    <a:pt x="135" y="99"/>
                  </a:cubicBezTo>
                  <a:cubicBezTo>
                    <a:pt x="134" y="98"/>
                    <a:pt x="133" y="95"/>
                    <a:pt x="134" y="94"/>
                  </a:cubicBezTo>
                  <a:cubicBezTo>
                    <a:pt x="134" y="93"/>
                    <a:pt x="135" y="93"/>
                    <a:pt x="136" y="92"/>
                  </a:cubicBezTo>
                  <a:cubicBezTo>
                    <a:pt x="136" y="92"/>
                    <a:pt x="136" y="92"/>
                    <a:pt x="136" y="91"/>
                  </a:cubicBezTo>
                  <a:cubicBezTo>
                    <a:pt x="137" y="91"/>
                    <a:pt x="137" y="90"/>
                    <a:pt x="137" y="90"/>
                  </a:cubicBezTo>
                  <a:cubicBezTo>
                    <a:pt x="137" y="88"/>
                    <a:pt x="138" y="88"/>
                    <a:pt x="139" y="87"/>
                  </a:cubicBezTo>
                  <a:cubicBezTo>
                    <a:pt x="140" y="86"/>
                    <a:pt x="141" y="85"/>
                    <a:pt x="141" y="84"/>
                  </a:cubicBezTo>
                  <a:cubicBezTo>
                    <a:pt x="141" y="83"/>
                    <a:pt x="140" y="83"/>
                    <a:pt x="139" y="82"/>
                  </a:cubicBezTo>
                  <a:cubicBezTo>
                    <a:pt x="138" y="81"/>
                    <a:pt x="138" y="80"/>
                    <a:pt x="138" y="79"/>
                  </a:cubicBezTo>
                  <a:cubicBezTo>
                    <a:pt x="139" y="78"/>
                    <a:pt x="140" y="78"/>
                    <a:pt x="139" y="77"/>
                  </a:cubicBezTo>
                  <a:cubicBezTo>
                    <a:pt x="139" y="76"/>
                    <a:pt x="138" y="76"/>
                    <a:pt x="137" y="76"/>
                  </a:cubicBezTo>
                  <a:cubicBezTo>
                    <a:pt x="137" y="75"/>
                    <a:pt x="137" y="75"/>
                    <a:pt x="136" y="74"/>
                  </a:cubicBezTo>
                  <a:cubicBezTo>
                    <a:pt x="135" y="73"/>
                    <a:pt x="134" y="73"/>
                    <a:pt x="133" y="73"/>
                  </a:cubicBezTo>
                  <a:cubicBezTo>
                    <a:pt x="126" y="73"/>
                    <a:pt x="120" y="73"/>
                    <a:pt x="114" y="71"/>
                  </a:cubicBezTo>
                  <a:cubicBezTo>
                    <a:pt x="112" y="70"/>
                    <a:pt x="111" y="69"/>
                    <a:pt x="110" y="68"/>
                  </a:cubicBezTo>
                  <a:cubicBezTo>
                    <a:pt x="110" y="67"/>
                    <a:pt x="110" y="66"/>
                    <a:pt x="110" y="65"/>
                  </a:cubicBezTo>
                  <a:cubicBezTo>
                    <a:pt x="110" y="62"/>
                    <a:pt x="110" y="62"/>
                    <a:pt x="107" y="61"/>
                  </a:cubicBezTo>
                  <a:cubicBezTo>
                    <a:pt x="105" y="61"/>
                    <a:pt x="104" y="61"/>
                    <a:pt x="104" y="59"/>
                  </a:cubicBezTo>
                  <a:cubicBezTo>
                    <a:pt x="103" y="58"/>
                    <a:pt x="103" y="57"/>
                    <a:pt x="103" y="56"/>
                  </a:cubicBezTo>
                  <a:cubicBezTo>
                    <a:pt x="104" y="55"/>
                    <a:pt x="107" y="53"/>
                    <a:pt x="106" y="52"/>
                  </a:cubicBezTo>
                  <a:cubicBezTo>
                    <a:pt x="104" y="52"/>
                    <a:pt x="103" y="48"/>
                    <a:pt x="104" y="46"/>
                  </a:cubicBezTo>
                  <a:cubicBezTo>
                    <a:pt x="104" y="45"/>
                    <a:pt x="105" y="45"/>
                    <a:pt x="105" y="44"/>
                  </a:cubicBezTo>
                  <a:cubicBezTo>
                    <a:pt x="105" y="43"/>
                    <a:pt x="105" y="41"/>
                    <a:pt x="105" y="40"/>
                  </a:cubicBezTo>
                  <a:cubicBezTo>
                    <a:pt x="105" y="38"/>
                    <a:pt x="106" y="35"/>
                    <a:pt x="105" y="33"/>
                  </a:cubicBezTo>
                  <a:cubicBezTo>
                    <a:pt x="104" y="32"/>
                    <a:pt x="103" y="32"/>
                    <a:pt x="102" y="32"/>
                  </a:cubicBezTo>
                  <a:cubicBezTo>
                    <a:pt x="101" y="32"/>
                    <a:pt x="100" y="31"/>
                    <a:pt x="100" y="32"/>
                  </a:cubicBezTo>
                  <a:cubicBezTo>
                    <a:pt x="99" y="32"/>
                    <a:pt x="99" y="33"/>
                    <a:pt x="98" y="33"/>
                  </a:cubicBezTo>
                  <a:cubicBezTo>
                    <a:pt x="97" y="33"/>
                    <a:pt x="96" y="31"/>
                    <a:pt x="96" y="30"/>
                  </a:cubicBezTo>
                  <a:cubicBezTo>
                    <a:pt x="96" y="30"/>
                    <a:pt x="95" y="29"/>
                    <a:pt x="95" y="29"/>
                  </a:cubicBezTo>
                  <a:cubicBezTo>
                    <a:pt x="94" y="28"/>
                    <a:pt x="95" y="28"/>
                    <a:pt x="94" y="27"/>
                  </a:cubicBezTo>
                  <a:cubicBezTo>
                    <a:pt x="94" y="26"/>
                    <a:pt x="93" y="25"/>
                    <a:pt x="92" y="25"/>
                  </a:cubicBezTo>
                  <a:cubicBezTo>
                    <a:pt x="90" y="24"/>
                    <a:pt x="90" y="25"/>
                    <a:pt x="90" y="23"/>
                  </a:cubicBezTo>
                  <a:cubicBezTo>
                    <a:pt x="89" y="20"/>
                    <a:pt x="86" y="20"/>
                    <a:pt x="84" y="19"/>
                  </a:cubicBezTo>
                  <a:cubicBezTo>
                    <a:pt x="83" y="19"/>
                    <a:pt x="82" y="19"/>
                    <a:pt x="82" y="18"/>
                  </a:cubicBezTo>
                  <a:cubicBezTo>
                    <a:pt x="80" y="16"/>
                    <a:pt x="81" y="14"/>
                    <a:pt x="81" y="12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5" y="3"/>
                    <a:pt x="75" y="3"/>
                    <a:pt x="74" y="3"/>
                  </a:cubicBezTo>
                  <a:cubicBezTo>
                    <a:pt x="71" y="3"/>
                    <a:pt x="68" y="1"/>
                    <a:pt x="65" y="1"/>
                  </a:cubicBezTo>
                  <a:cubicBezTo>
                    <a:pt x="61" y="1"/>
                    <a:pt x="59" y="2"/>
                    <a:pt x="56" y="3"/>
                  </a:cubicBezTo>
                  <a:cubicBezTo>
                    <a:pt x="53" y="3"/>
                    <a:pt x="50" y="3"/>
                    <a:pt x="46" y="2"/>
                  </a:cubicBezTo>
                  <a:cubicBezTo>
                    <a:pt x="45" y="2"/>
                    <a:pt x="45" y="1"/>
                    <a:pt x="44" y="0"/>
                  </a:cubicBezTo>
                  <a:cubicBezTo>
                    <a:pt x="43" y="0"/>
                    <a:pt x="41" y="1"/>
                    <a:pt x="40" y="1"/>
                  </a:cubicBezTo>
                  <a:cubicBezTo>
                    <a:pt x="38" y="1"/>
                    <a:pt x="37" y="1"/>
                    <a:pt x="36" y="2"/>
                  </a:cubicBezTo>
                  <a:cubicBezTo>
                    <a:pt x="35" y="2"/>
                    <a:pt x="35" y="3"/>
                    <a:pt x="34" y="3"/>
                  </a:cubicBezTo>
                  <a:cubicBezTo>
                    <a:pt x="34" y="4"/>
                    <a:pt x="34" y="4"/>
                    <a:pt x="33" y="4"/>
                  </a:cubicBezTo>
                  <a:cubicBezTo>
                    <a:pt x="33" y="4"/>
                    <a:pt x="33" y="5"/>
                    <a:pt x="33" y="5"/>
                  </a:cubicBezTo>
                  <a:cubicBezTo>
                    <a:pt x="31" y="7"/>
                    <a:pt x="28" y="7"/>
                    <a:pt x="26" y="8"/>
                  </a:cubicBezTo>
                  <a:cubicBezTo>
                    <a:pt x="25" y="9"/>
                    <a:pt x="24" y="10"/>
                    <a:pt x="23" y="11"/>
                  </a:cubicBezTo>
                  <a:cubicBezTo>
                    <a:pt x="23" y="13"/>
                    <a:pt x="23" y="13"/>
                    <a:pt x="23" y="14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16" y="15"/>
                    <a:pt x="15" y="13"/>
                    <a:pt x="14" y="11"/>
                  </a:cubicBezTo>
                  <a:cubicBezTo>
                    <a:pt x="13" y="11"/>
                    <a:pt x="12" y="10"/>
                    <a:pt x="12" y="9"/>
                  </a:cubicBezTo>
                  <a:cubicBezTo>
                    <a:pt x="9" y="11"/>
                    <a:pt x="7" y="15"/>
                    <a:pt x="6" y="18"/>
                  </a:cubicBezTo>
                  <a:cubicBezTo>
                    <a:pt x="4" y="19"/>
                    <a:pt x="1" y="18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0" y="22"/>
                    <a:pt x="0" y="24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29"/>
                    <a:pt x="1" y="30"/>
                    <a:pt x="1" y="30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1"/>
                    <a:pt x="2" y="32"/>
                    <a:pt x="2" y="32"/>
                  </a:cubicBezTo>
                  <a:cubicBezTo>
                    <a:pt x="2" y="33"/>
                    <a:pt x="2" y="35"/>
                    <a:pt x="2" y="36"/>
                  </a:cubicBezTo>
                  <a:cubicBezTo>
                    <a:pt x="2" y="38"/>
                    <a:pt x="4" y="38"/>
                    <a:pt x="4" y="40"/>
                  </a:cubicBezTo>
                  <a:cubicBezTo>
                    <a:pt x="4" y="41"/>
                    <a:pt x="3" y="41"/>
                    <a:pt x="3" y="42"/>
                  </a:cubicBezTo>
                  <a:cubicBezTo>
                    <a:pt x="3" y="43"/>
                    <a:pt x="2" y="43"/>
                    <a:pt x="2" y="44"/>
                  </a:cubicBezTo>
                  <a:cubicBezTo>
                    <a:pt x="2" y="46"/>
                    <a:pt x="2" y="47"/>
                    <a:pt x="2" y="48"/>
                  </a:cubicBezTo>
                  <a:cubicBezTo>
                    <a:pt x="4" y="49"/>
                    <a:pt x="4" y="48"/>
                    <a:pt x="5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7" y="52"/>
                    <a:pt x="8" y="53"/>
                    <a:pt x="7" y="55"/>
                  </a:cubicBezTo>
                  <a:cubicBezTo>
                    <a:pt x="7" y="55"/>
                    <a:pt x="6" y="55"/>
                    <a:pt x="6" y="56"/>
                  </a:cubicBezTo>
                  <a:cubicBezTo>
                    <a:pt x="6" y="57"/>
                    <a:pt x="7" y="57"/>
                    <a:pt x="8" y="58"/>
                  </a:cubicBezTo>
                  <a:cubicBezTo>
                    <a:pt x="8" y="61"/>
                    <a:pt x="4" y="62"/>
                    <a:pt x="6" y="64"/>
                  </a:cubicBezTo>
                  <a:cubicBezTo>
                    <a:pt x="6" y="65"/>
                    <a:pt x="7" y="66"/>
                    <a:pt x="8" y="66"/>
                  </a:cubicBezTo>
                  <a:cubicBezTo>
                    <a:pt x="10" y="67"/>
                    <a:pt x="13" y="69"/>
                    <a:pt x="17" y="70"/>
                  </a:cubicBezTo>
                  <a:cubicBezTo>
                    <a:pt x="19" y="70"/>
                    <a:pt x="19" y="70"/>
                    <a:pt x="21" y="72"/>
                  </a:cubicBezTo>
                  <a:cubicBezTo>
                    <a:pt x="22" y="73"/>
                    <a:pt x="23" y="75"/>
                    <a:pt x="24" y="76"/>
                  </a:cubicBezTo>
                  <a:cubicBezTo>
                    <a:pt x="25" y="77"/>
                    <a:pt x="26" y="77"/>
                    <a:pt x="26" y="78"/>
                  </a:cubicBezTo>
                  <a:cubicBezTo>
                    <a:pt x="28" y="82"/>
                    <a:pt x="21" y="82"/>
                    <a:pt x="19" y="82"/>
                  </a:cubicBezTo>
                  <a:cubicBezTo>
                    <a:pt x="17" y="83"/>
                    <a:pt x="13" y="84"/>
                    <a:pt x="12" y="86"/>
                  </a:cubicBezTo>
                  <a:cubicBezTo>
                    <a:pt x="11" y="87"/>
                    <a:pt x="12" y="88"/>
                    <a:pt x="12" y="89"/>
                  </a:cubicBezTo>
                  <a:cubicBezTo>
                    <a:pt x="12" y="90"/>
                    <a:pt x="10" y="91"/>
                    <a:pt x="10" y="92"/>
                  </a:cubicBezTo>
                  <a:cubicBezTo>
                    <a:pt x="7" y="94"/>
                    <a:pt x="10" y="96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8" y="104"/>
                    <a:pt x="22" y="109"/>
                    <a:pt x="23" y="112"/>
                  </a:cubicBezTo>
                  <a:cubicBezTo>
                    <a:pt x="21" y="120"/>
                    <a:pt x="21" y="120"/>
                    <a:pt x="21" y="120"/>
                  </a:cubicBezTo>
                  <a:cubicBezTo>
                    <a:pt x="17" y="124"/>
                    <a:pt x="14" y="129"/>
                    <a:pt x="13" y="135"/>
                  </a:cubicBezTo>
                  <a:cubicBezTo>
                    <a:pt x="12" y="136"/>
                    <a:pt x="12" y="136"/>
                    <a:pt x="12" y="137"/>
                  </a:cubicBezTo>
                  <a:cubicBezTo>
                    <a:pt x="11" y="138"/>
                    <a:pt x="11" y="138"/>
                    <a:pt x="11" y="139"/>
                  </a:cubicBezTo>
                  <a:cubicBezTo>
                    <a:pt x="11" y="139"/>
                    <a:pt x="11" y="140"/>
                    <a:pt x="11" y="141"/>
                  </a:cubicBezTo>
                  <a:cubicBezTo>
                    <a:pt x="11" y="141"/>
                    <a:pt x="11" y="142"/>
                    <a:pt x="11" y="142"/>
                  </a:cubicBezTo>
                  <a:cubicBezTo>
                    <a:pt x="11" y="143"/>
                    <a:pt x="12" y="143"/>
                    <a:pt x="13" y="144"/>
                  </a:cubicBezTo>
                  <a:cubicBezTo>
                    <a:pt x="13" y="144"/>
                    <a:pt x="12" y="145"/>
                    <a:pt x="13" y="145"/>
                  </a:cubicBezTo>
                  <a:cubicBezTo>
                    <a:pt x="14" y="145"/>
                    <a:pt x="14" y="146"/>
                    <a:pt x="15" y="146"/>
                  </a:cubicBezTo>
                  <a:cubicBezTo>
                    <a:pt x="16" y="146"/>
                    <a:pt x="18" y="147"/>
                    <a:pt x="19" y="147"/>
                  </a:cubicBezTo>
                  <a:cubicBezTo>
                    <a:pt x="21" y="147"/>
                    <a:pt x="24" y="146"/>
                    <a:pt x="25" y="148"/>
                  </a:cubicBezTo>
                  <a:cubicBezTo>
                    <a:pt x="25" y="149"/>
                    <a:pt x="24" y="150"/>
                    <a:pt x="24" y="151"/>
                  </a:cubicBezTo>
                  <a:cubicBezTo>
                    <a:pt x="24" y="152"/>
                    <a:pt x="24" y="152"/>
                    <a:pt x="24" y="153"/>
                  </a:cubicBezTo>
                  <a:cubicBezTo>
                    <a:pt x="23" y="153"/>
                    <a:pt x="23" y="153"/>
                    <a:pt x="23" y="154"/>
                  </a:cubicBezTo>
                  <a:cubicBezTo>
                    <a:pt x="23" y="154"/>
                    <a:pt x="22" y="154"/>
                    <a:pt x="21" y="154"/>
                  </a:cubicBezTo>
                  <a:cubicBezTo>
                    <a:pt x="20" y="155"/>
                    <a:pt x="20" y="157"/>
                    <a:pt x="20" y="158"/>
                  </a:cubicBezTo>
                  <a:cubicBezTo>
                    <a:pt x="20" y="159"/>
                    <a:pt x="21" y="160"/>
                    <a:pt x="22" y="161"/>
                  </a:cubicBezTo>
                  <a:cubicBezTo>
                    <a:pt x="23" y="162"/>
                    <a:pt x="23" y="163"/>
                    <a:pt x="24" y="164"/>
                  </a:cubicBezTo>
                  <a:cubicBezTo>
                    <a:pt x="24" y="164"/>
                    <a:pt x="24" y="164"/>
                    <a:pt x="24" y="165"/>
                  </a:cubicBezTo>
                  <a:cubicBezTo>
                    <a:pt x="24" y="164"/>
                    <a:pt x="25" y="165"/>
                    <a:pt x="25" y="165"/>
                  </a:cubicBezTo>
                  <a:cubicBezTo>
                    <a:pt x="26" y="166"/>
                    <a:pt x="27" y="167"/>
                    <a:pt x="28" y="167"/>
                  </a:cubicBezTo>
                  <a:cubicBezTo>
                    <a:pt x="29" y="168"/>
                    <a:pt x="31" y="169"/>
                    <a:pt x="32" y="169"/>
                  </a:cubicBezTo>
                  <a:cubicBezTo>
                    <a:pt x="33" y="169"/>
                    <a:pt x="36" y="170"/>
                    <a:pt x="36" y="171"/>
                  </a:cubicBezTo>
                  <a:cubicBezTo>
                    <a:pt x="36" y="171"/>
                    <a:pt x="36" y="173"/>
                    <a:pt x="36" y="173"/>
                  </a:cubicBezTo>
                  <a:cubicBezTo>
                    <a:pt x="36" y="174"/>
                    <a:pt x="36" y="175"/>
                    <a:pt x="36" y="175"/>
                  </a:cubicBezTo>
                  <a:cubicBezTo>
                    <a:pt x="36" y="176"/>
                    <a:pt x="36" y="176"/>
                    <a:pt x="35" y="177"/>
                  </a:cubicBezTo>
                  <a:cubicBezTo>
                    <a:pt x="34" y="178"/>
                    <a:pt x="34" y="178"/>
                    <a:pt x="33" y="179"/>
                  </a:cubicBezTo>
                  <a:cubicBezTo>
                    <a:pt x="32" y="180"/>
                    <a:pt x="29" y="180"/>
                    <a:pt x="27" y="180"/>
                  </a:cubicBezTo>
                  <a:cubicBezTo>
                    <a:pt x="24" y="180"/>
                    <a:pt x="20" y="180"/>
                    <a:pt x="18" y="178"/>
                  </a:cubicBezTo>
                  <a:cubicBezTo>
                    <a:pt x="17" y="178"/>
                    <a:pt x="16" y="177"/>
                    <a:pt x="15" y="176"/>
                  </a:cubicBezTo>
                  <a:cubicBezTo>
                    <a:pt x="14" y="177"/>
                    <a:pt x="13" y="180"/>
                    <a:pt x="14" y="181"/>
                  </a:cubicBezTo>
                  <a:cubicBezTo>
                    <a:pt x="14" y="182"/>
                    <a:pt x="15" y="183"/>
                    <a:pt x="16" y="183"/>
                  </a:cubicBezTo>
                  <a:cubicBezTo>
                    <a:pt x="18" y="184"/>
                    <a:pt x="18" y="183"/>
                    <a:pt x="19" y="185"/>
                  </a:cubicBezTo>
                  <a:cubicBezTo>
                    <a:pt x="20" y="186"/>
                    <a:pt x="20" y="187"/>
                    <a:pt x="21" y="188"/>
                  </a:cubicBezTo>
                  <a:cubicBezTo>
                    <a:pt x="22" y="191"/>
                    <a:pt x="24" y="193"/>
                    <a:pt x="26" y="196"/>
                  </a:cubicBezTo>
                  <a:cubicBezTo>
                    <a:pt x="27" y="198"/>
                    <a:pt x="28" y="199"/>
                    <a:pt x="28" y="201"/>
                  </a:cubicBezTo>
                  <a:cubicBezTo>
                    <a:pt x="28" y="201"/>
                    <a:pt x="28" y="202"/>
                    <a:pt x="28" y="202"/>
                  </a:cubicBezTo>
                  <a:cubicBezTo>
                    <a:pt x="28" y="203"/>
                    <a:pt x="29" y="203"/>
                    <a:pt x="29" y="204"/>
                  </a:cubicBezTo>
                  <a:cubicBezTo>
                    <a:pt x="29" y="205"/>
                    <a:pt x="28" y="206"/>
                    <a:pt x="28" y="208"/>
                  </a:cubicBezTo>
                  <a:cubicBezTo>
                    <a:pt x="28" y="209"/>
                    <a:pt x="28" y="210"/>
                    <a:pt x="28" y="211"/>
                  </a:cubicBezTo>
                  <a:cubicBezTo>
                    <a:pt x="27" y="212"/>
                    <a:pt x="26" y="212"/>
                    <a:pt x="26" y="213"/>
                  </a:cubicBezTo>
                  <a:cubicBezTo>
                    <a:pt x="25" y="214"/>
                    <a:pt x="26" y="214"/>
                    <a:pt x="25" y="214"/>
                  </a:cubicBezTo>
                  <a:cubicBezTo>
                    <a:pt x="24" y="215"/>
                    <a:pt x="24" y="214"/>
                    <a:pt x="23" y="214"/>
                  </a:cubicBezTo>
                  <a:cubicBezTo>
                    <a:pt x="23" y="212"/>
                    <a:pt x="22" y="211"/>
                    <a:pt x="21" y="210"/>
                  </a:cubicBezTo>
                  <a:cubicBezTo>
                    <a:pt x="20" y="209"/>
                    <a:pt x="20" y="207"/>
                    <a:pt x="20" y="207"/>
                  </a:cubicBezTo>
                  <a:cubicBezTo>
                    <a:pt x="19" y="206"/>
                    <a:pt x="17" y="208"/>
                    <a:pt x="16" y="209"/>
                  </a:cubicBezTo>
                  <a:cubicBezTo>
                    <a:pt x="16" y="209"/>
                    <a:pt x="16" y="210"/>
                    <a:pt x="15" y="210"/>
                  </a:cubicBezTo>
                  <a:cubicBezTo>
                    <a:pt x="14" y="211"/>
                    <a:pt x="13" y="211"/>
                    <a:pt x="13" y="212"/>
                  </a:cubicBezTo>
                  <a:cubicBezTo>
                    <a:pt x="13" y="213"/>
                    <a:pt x="13" y="214"/>
                    <a:pt x="12" y="214"/>
                  </a:cubicBezTo>
                  <a:cubicBezTo>
                    <a:pt x="12" y="214"/>
                    <a:pt x="12" y="214"/>
                    <a:pt x="12" y="214"/>
                  </a:cubicBezTo>
                  <a:cubicBezTo>
                    <a:pt x="12" y="215"/>
                    <a:pt x="13" y="216"/>
                    <a:pt x="14" y="217"/>
                  </a:cubicBezTo>
                  <a:cubicBezTo>
                    <a:pt x="14" y="218"/>
                    <a:pt x="14" y="219"/>
                    <a:pt x="16" y="219"/>
                  </a:cubicBezTo>
                  <a:cubicBezTo>
                    <a:pt x="17" y="220"/>
                    <a:pt x="17" y="220"/>
                    <a:pt x="18" y="221"/>
                  </a:cubicBezTo>
                  <a:cubicBezTo>
                    <a:pt x="19" y="222"/>
                    <a:pt x="20" y="222"/>
                    <a:pt x="22" y="223"/>
                  </a:cubicBezTo>
                  <a:cubicBezTo>
                    <a:pt x="23" y="223"/>
                    <a:pt x="23" y="224"/>
                    <a:pt x="24" y="225"/>
                  </a:cubicBezTo>
                  <a:cubicBezTo>
                    <a:pt x="25" y="228"/>
                    <a:pt x="27" y="229"/>
                    <a:pt x="29" y="231"/>
                  </a:cubicBezTo>
                  <a:cubicBezTo>
                    <a:pt x="30" y="232"/>
                    <a:pt x="31" y="233"/>
                    <a:pt x="32" y="234"/>
                  </a:cubicBezTo>
                  <a:cubicBezTo>
                    <a:pt x="30" y="234"/>
                    <a:pt x="30" y="234"/>
                    <a:pt x="30" y="234"/>
                  </a:cubicBezTo>
                  <a:cubicBezTo>
                    <a:pt x="30" y="236"/>
                    <a:pt x="32" y="238"/>
                    <a:pt x="34" y="239"/>
                  </a:cubicBezTo>
                  <a:cubicBezTo>
                    <a:pt x="35" y="240"/>
                    <a:pt x="36" y="240"/>
                    <a:pt x="36" y="241"/>
                  </a:cubicBezTo>
                  <a:cubicBezTo>
                    <a:pt x="37" y="241"/>
                    <a:pt x="37" y="242"/>
                    <a:pt x="38" y="242"/>
                  </a:cubicBezTo>
                  <a:cubicBezTo>
                    <a:pt x="39" y="242"/>
                    <a:pt x="39" y="242"/>
                    <a:pt x="40" y="242"/>
                  </a:cubicBezTo>
                  <a:cubicBezTo>
                    <a:pt x="40" y="243"/>
                    <a:pt x="40" y="243"/>
                    <a:pt x="40" y="244"/>
                  </a:cubicBezTo>
                  <a:cubicBezTo>
                    <a:pt x="41" y="244"/>
                    <a:pt x="41" y="245"/>
                    <a:pt x="42" y="245"/>
                  </a:cubicBezTo>
                  <a:cubicBezTo>
                    <a:pt x="43" y="246"/>
                    <a:pt x="44" y="247"/>
                    <a:pt x="45" y="247"/>
                  </a:cubicBezTo>
                  <a:cubicBezTo>
                    <a:pt x="47" y="248"/>
                    <a:pt x="49" y="247"/>
                    <a:pt x="51" y="247"/>
                  </a:cubicBezTo>
                  <a:cubicBezTo>
                    <a:pt x="52" y="247"/>
                    <a:pt x="53" y="247"/>
                    <a:pt x="54" y="249"/>
                  </a:cubicBezTo>
                  <a:cubicBezTo>
                    <a:pt x="54" y="250"/>
                    <a:pt x="54" y="251"/>
                    <a:pt x="56" y="251"/>
                  </a:cubicBezTo>
                  <a:cubicBezTo>
                    <a:pt x="56" y="252"/>
                    <a:pt x="57" y="252"/>
                    <a:pt x="57" y="253"/>
                  </a:cubicBezTo>
                  <a:cubicBezTo>
                    <a:pt x="58" y="253"/>
                    <a:pt x="58" y="254"/>
                    <a:pt x="59" y="254"/>
                  </a:cubicBezTo>
                  <a:cubicBezTo>
                    <a:pt x="59" y="255"/>
                    <a:pt x="59" y="255"/>
                    <a:pt x="59" y="256"/>
                  </a:cubicBezTo>
                  <a:cubicBezTo>
                    <a:pt x="59" y="257"/>
                    <a:pt x="59" y="257"/>
                    <a:pt x="60" y="258"/>
                  </a:cubicBezTo>
                  <a:cubicBezTo>
                    <a:pt x="60" y="259"/>
                    <a:pt x="64" y="258"/>
                    <a:pt x="65" y="258"/>
                  </a:cubicBezTo>
                  <a:cubicBezTo>
                    <a:pt x="66" y="258"/>
                    <a:pt x="68" y="257"/>
                    <a:pt x="69" y="258"/>
                  </a:cubicBezTo>
                  <a:cubicBezTo>
                    <a:pt x="70" y="258"/>
                    <a:pt x="69" y="260"/>
                    <a:pt x="70" y="260"/>
                  </a:cubicBezTo>
                  <a:cubicBezTo>
                    <a:pt x="70" y="261"/>
                    <a:pt x="70" y="262"/>
                    <a:pt x="71" y="262"/>
                  </a:cubicBezTo>
                  <a:cubicBezTo>
                    <a:pt x="72" y="263"/>
                    <a:pt x="74" y="266"/>
                    <a:pt x="73" y="268"/>
                  </a:cubicBezTo>
                  <a:cubicBezTo>
                    <a:pt x="73" y="269"/>
                    <a:pt x="73" y="269"/>
                    <a:pt x="72" y="270"/>
                  </a:cubicBezTo>
                  <a:cubicBezTo>
                    <a:pt x="72" y="270"/>
                    <a:pt x="72" y="270"/>
                    <a:pt x="72" y="270"/>
                  </a:cubicBezTo>
                  <a:cubicBezTo>
                    <a:pt x="73" y="270"/>
                    <a:pt x="75" y="271"/>
                    <a:pt x="75" y="270"/>
                  </a:cubicBezTo>
                  <a:cubicBezTo>
                    <a:pt x="76" y="270"/>
                    <a:pt x="77" y="269"/>
                    <a:pt x="77" y="268"/>
                  </a:cubicBezTo>
                  <a:cubicBezTo>
                    <a:pt x="78" y="268"/>
                    <a:pt x="78" y="267"/>
                    <a:pt x="79" y="266"/>
                  </a:cubicBezTo>
                  <a:cubicBezTo>
                    <a:pt x="80" y="265"/>
                    <a:pt x="81" y="266"/>
                    <a:pt x="82" y="264"/>
                  </a:cubicBezTo>
                  <a:cubicBezTo>
                    <a:pt x="82" y="263"/>
                    <a:pt x="82" y="262"/>
                    <a:pt x="82" y="262"/>
                  </a:cubicBezTo>
                  <a:cubicBezTo>
                    <a:pt x="82" y="259"/>
                    <a:pt x="84" y="258"/>
                    <a:pt x="86" y="257"/>
                  </a:cubicBezTo>
                  <a:cubicBezTo>
                    <a:pt x="86" y="256"/>
                    <a:pt x="87" y="256"/>
                    <a:pt x="88" y="256"/>
                  </a:cubicBezTo>
                  <a:cubicBezTo>
                    <a:pt x="88" y="256"/>
                    <a:pt x="88" y="255"/>
                    <a:pt x="88" y="255"/>
                  </a:cubicBezTo>
                  <a:cubicBezTo>
                    <a:pt x="88" y="254"/>
                    <a:pt x="89" y="253"/>
                    <a:pt x="90" y="252"/>
                  </a:cubicBezTo>
                  <a:cubicBezTo>
                    <a:pt x="91" y="251"/>
                    <a:pt x="92" y="251"/>
                    <a:pt x="93" y="249"/>
                  </a:cubicBezTo>
                  <a:cubicBezTo>
                    <a:pt x="93" y="248"/>
                    <a:pt x="93" y="246"/>
                    <a:pt x="93" y="244"/>
                  </a:cubicBezTo>
                  <a:cubicBezTo>
                    <a:pt x="93" y="241"/>
                    <a:pt x="93" y="239"/>
                    <a:pt x="95" y="236"/>
                  </a:cubicBezTo>
                  <a:cubicBezTo>
                    <a:pt x="96" y="235"/>
                    <a:pt x="97" y="232"/>
                    <a:pt x="98" y="234"/>
                  </a:cubicBezTo>
                  <a:cubicBezTo>
                    <a:pt x="99" y="236"/>
                    <a:pt x="98" y="236"/>
                    <a:pt x="97" y="236"/>
                  </a:cubicBezTo>
                  <a:cubicBezTo>
                    <a:pt x="96" y="237"/>
                    <a:pt x="96" y="236"/>
                    <a:pt x="96" y="238"/>
                  </a:cubicBezTo>
                  <a:cubicBezTo>
                    <a:pt x="96" y="241"/>
                    <a:pt x="99" y="244"/>
                    <a:pt x="100" y="247"/>
                  </a:cubicBezTo>
                  <a:cubicBezTo>
                    <a:pt x="102" y="247"/>
                    <a:pt x="103" y="245"/>
                    <a:pt x="105" y="245"/>
                  </a:cubicBezTo>
                  <a:cubicBezTo>
                    <a:pt x="106" y="244"/>
                    <a:pt x="107" y="244"/>
                    <a:pt x="107" y="243"/>
                  </a:cubicBezTo>
                  <a:cubicBezTo>
                    <a:pt x="108" y="242"/>
                    <a:pt x="107" y="241"/>
                    <a:pt x="108" y="241"/>
                  </a:cubicBezTo>
                  <a:cubicBezTo>
                    <a:pt x="108" y="240"/>
                    <a:pt x="110" y="240"/>
                    <a:pt x="111" y="240"/>
                  </a:cubicBezTo>
                  <a:cubicBezTo>
                    <a:pt x="113" y="242"/>
                    <a:pt x="112" y="243"/>
                    <a:pt x="112" y="245"/>
                  </a:cubicBezTo>
                  <a:cubicBezTo>
                    <a:pt x="115" y="250"/>
                    <a:pt x="115" y="250"/>
                    <a:pt x="115" y="250"/>
                  </a:cubicBezTo>
                  <a:cubicBezTo>
                    <a:pt x="115" y="252"/>
                    <a:pt x="116" y="253"/>
                    <a:pt x="117" y="255"/>
                  </a:cubicBezTo>
                  <a:cubicBezTo>
                    <a:pt x="117" y="257"/>
                    <a:pt x="116" y="258"/>
                    <a:pt x="118" y="260"/>
                  </a:cubicBezTo>
                  <a:cubicBezTo>
                    <a:pt x="119" y="261"/>
                    <a:pt x="122" y="261"/>
                    <a:pt x="124" y="263"/>
                  </a:cubicBezTo>
                  <a:cubicBezTo>
                    <a:pt x="124" y="265"/>
                    <a:pt x="124" y="265"/>
                    <a:pt x="125" y="266"/>
                  </a:cubicBezTo>
                  <a:cubicBezTo>
                    <a:pt x="126" y="267"/>
                    <a:pt x="126" y="267"/>
                    <a:pt x="127" y="268"/>
                  </a:cubicBezTo>
                  <a:cubicBezTo>
                    <a:pt x="128" y="267"/>
                    <a:pt x="130" y="267"/>
                    <a:pt x="132" y="267"/>
                  </a:cubicBezTo>
                  <a:cubicBezTo>
                    <a:pt x="132" y="269"/>
                    <a:pt x="131" y="271"/>
                    <a:pt x="131" y="272"/>
                  </a:cubicBezTo>
                  <a:cubicBezTo>
                    <a:pt x="131" y="274"/>
                    <a:pt x="131" y="276"/>
                    <a:pt x="131" y="278"/>
                  </a:cubicBezTo>
                  <a:cubicBezTo>
                    <a:pt x="134" y="278"/>
                    <a:pt x="134" y="282"/>
                    <a:pt x="136" y="282"/>
                  </a:cubicBezTo>
                  <a:cubicBezTo>
                    <a:pt x="140" y="274"/>
                    <a:pt x="143" y="288"/>
                    <a:pt x="147" y="287"/>
                  </a:cubicBezTo>
                  <a:cubicBezTo>
                    <a:pt x="148" y="287"/>
                    <a:pt x="149" y="285"/>
                    <a:pt x="150" y="286"/>
                  </a:cubicBezTo>
                  <a:cubicBezTo>
                    <a:pt x="151" y="286"/>
                    <a:pt x="152" y="287"/>
                    <a:pt x="152" y="287"/>
                  </a:cubicBezTo>
                  <a:cubicBezTo>
                    <a:pt x="153" y="288"/>
                    <a:pt x="152" y="288"/>
                    <a:pt x="151" y="289"/>
                  </a:cubicBezTo>
                  <a:cubicBezTo>
                    <a:pt x="150" y="290"/>
                    <a:pt x="150" y="291"/>
                    <a:pt x="149" y="292"/>
                  </a:cubicBezTo>
                  <a:cubicBezTo>
                    <a:pt x="148" y="293"/>
                    <a:pt x="146" y="294"/>
                    <a:pt x="146" y="296"/>
                  </a:cubicBezTo>
                  <a:cubicBezTo>
                    <a:pt x="146" y="297"/>
                    <a:pt x="147" y="300"/>
                    <a:pt x="146" y="302"/>
                  </a:cubicBezTo>
                  <a:cubicBezTo>
                    <a:pt x="146" y="302"/>
                    <a:pt x="146" y="302"/>
                    <a:pt x="146" y="302"/>
                  </a:cubicBezTo>
                  <a:cubicBezTo>
                    <a:pt x="146" y="302"/>
                    <a:pt x="145" y="304"/>
                    <a:pt x="145" y="304"/>
                  </a:cubicBezTo>
                  <a:cubicBezTo>
                    <a:pt x="144" y="304"/>
                    <a:pt x="143" y="304"/>
                    <a:pt x="143" y="305"/>
                  </a:cubicBezTo>
                  <a:cubicBezTo>
                    <a:pt x="142" y="306"/>
                    <a:pt x="142" y="307"/>
                    <a:pt x="142" y="308"/>
                  </a:cubicBezTo>
                  <a:cubicBezTo>
                    <a:pt x="142" y="308"/>
                    <a:pt x="141" y="309"/>
                    <a:pt x="140" y="309"/>
                  </a:cubicBezTo>
                  <a:cubicBezTo>
                    <a:pt x="139" y="311"/>
                    <a:pt x="135" y="313"/>
                    <a:pt x="135" y="316"/>
                  </a:cubicBezTo>
                  <a:cubicBezTo>
                    <a:pt x="136" y="317"/>
                    <a:pt x="137" y="318"/>
                    <a:pt x="137" y="319"/>
                  </a:cubicBezTo>
                  <a:cubicBezTo>
                    <a:pt x="138" y="319"/>
                    <a:pt x="138" y="319"/>
                    <a:pt x="138" y="320"/>
                  </a:cubicBezTo>
                  <a:cubicBezTo>
                    <a:pt x="138" y="320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40" y="322"/>
                    <a:pt x="144" y="322"/>
                    <a:pt x="146" y="321"/>
                  </a:cubicBezTo>
                  <a:cubicBezTo>
                    <a:pt x="148" y="320"/>
                    <a:pt x="148" y="320"/>
                    <a:pt x="149" y="318"/>
                  </a:cubicBezTo>
                  <a:cubicBezTo>
                    <a:pt x="149" y="318"/>
                    <a:pt x="149" y="317"/>
                    <a:pt x="150" y="316"/>
                  </a:cubicBezTo>
                  <a:cubicBezTo>
                    <a:pt x="151" y="315"/>
                    <a:pt x="153" y="315"/>
                    <a:pt x="155" y="314"/>
                  </a:cubicBezTo>
                  <a:cubicBezTo>
                    <a:pt x="157" y="313"/>
                    <a:pt x="158" y="314"/>
                    <a:pt x="159" y="316"/>
                  </a:cubicBezTo>
                  <a:cubicBezTo>
                    <a:pt x="160" y="317"/>
                    <a:pt x="159" y="317"/>
                    <a:pt x="160" y="317"/>
                  </a:cubicBezTo>
                  <a:cubicBezTo>
                    <a:pt x="161" y="318"/>
                    <a:pt x="162" y="318"/>
                    <a:pt x="163" y="319"/>
                  </a:cubicBezTo>
                  <a:cubicBezTo>
                    <a:pt x="164" y="319"/>
                    <a:pt x="163" y="320"/>
                    <a:pt x="165" y="319"/>
                  </a:cubicBezTo>
                  <a:cubicBezTo>
                    <a:pt x="165" y="319"/>
                    <a:pt x="166" y="319"/>
                    <a:pt x="167" y="318"/>
                  </a:cubicBezTo>
                  <a:cubicBezTo>
                    <a:pt x="168" y="317"/>
                    <a:pt x="168" y="315"/>
                    <a:pt x="170" y="314"/>
                  </a:cubicBezTo>
                  <a:cubicBezTo>
                    <a:pt x="171" y="313"/>
                    <a:pt x="172" y="313"/>
                    <a:pt x="174" y="312"/>
                  </a:cubicBezTo>
                  <a:cubicBezTo>
                    <a:pt x="178" y="310"/>
                    <a:pt x="181" y="314"/>
                    <a:pt x="184" y="316"/>
                  </a:cubicBezTo>
                  <a:cubicBezTo>
                    <a:pt x="186" y="317"/>
                    <a:pt x="190" y="317"/>
                    <a:pt x="193" y="315"/>
                  </a:cubicBezTo>
                  <a:cubicBezTo>
                    <a:pt x="194" y="314"/>
                    <a:pt x="195" y="312"/>
                    <a:pt x="195" y="311"/>
                  </a:cubicBezTo>
                  <a:cubicBezTo>
                    <a:pt x="195" y="309"/>
                    <a:pt x="195" y="309"/>
                    <a:pt x="194" y="307"/>
                  </a:cubicBezTo>
                  <a:cubicBezTo>
                    <a:pt x="193" y="306"/>
                    <a:pt x="193" y="304"/>
                    <a:pt x="193" y="303"/>
                  </a:cubicBezTo>
                  <a:cubicBezTo>
                    <a:pt x="192" y="301"/>
                    <a:pt x="191" y="301"/>
                    <a:pt x="190" y="299"/>
                  </a:cubicBezTo>
                  <a:cubicBezTo>
                    <a:pt x="190" y="297"/>
                    <a:pt x="190" y="298"/>
                    <a:pt x="189" y="297"/>
                  </a:cubicBezTo>
                  <a:cubicBezTo>
                    <a:pt x="188" y="296"/>
                    <a:pt x="188" y="296"/>
                    <a:pt x="187" y="295"/>
                  </a:cubicBezTo>
                  <a:cubicBezTo>
                    <a:pt x="186" y="293"/>
                    <a:pt x="186" y="293"/>
                    <a:pt x="186" y="290"/>
                  </a:cubicBezTo>
                  <a:cubicBezTo>
                    <a:pt x="186" y="288"/>
                    <a:pt x="187" y="287"/>
                    <a:pt x="187" y="285"/>
                  </a:cubicBezTo>
                  <a:cubicBezTo>
                    <a:pt x="188" y="283"/>
                    <a:pt x="189" y="281"/>
                    <a:pt x="188" y="279"/>
                  </a:cubicBezTo>
                  <a:cubicBezTo>
                    <a:pt x="188" y="278"/>
                    <a:pt x="187" y="277"/>
                    <a:pt x="187" y="276"/>
                  </a:cubicBezTo>
                  <a:cubicBezTo>
                    <a:pt x="187" y="275"/>
                    <a:pt x="187" y="273"/>
                    <a:pt x="187" y="272"/>
                  </a:cubicBezTo>
                  <a:cubicBezTo>
                    <a:pt x="188" y="271"/>
                    <a:pt x="192" y="270"/>
                    <a:pt x="193" y="270"/>
                  </a:cubicBezTo>
                  <a:cubicBezTo>
                    <a:pt x="194" y="270"/>
                    <a:pt x="195" y="270"/>
                    <a:pt x="196" y="270"/>
                  </a:cubicBezTo>
                  <a:cubicBezTo>
                    <a:pt x="197" y="270"/>
                    <a:pt x="197" y="271"/>
                    <a:pt x="198" y="271"/>
                  </a:cubicBezTo>
                  <a:cubicBezTo>
                    <a:pt x="199" y="270"/>
                    <a:pt x="199" y="270"/>
                    <a:pt x="200" y="270"/>
                  </a:cubicBezTo>
                  <a:cubicBezTo>
                    <a:pt x="201" y="269"/>
                    <a:pt x="201" y="270"/>
                    <a:pt x="202" y="269"/>
                  </a:cubicBezTo>
                  <a:cubicBezTo>
                    <a:pt x="202" y="269"/>
                    <a:pt x="204" y="268"/>
                    <a:pt x="205" y="267"/>
                  </a:cubicBezTo>
                  <a:cubicBezTo>
                    <a:pt x="205" y="267"/>
                    <a:pt x="205" y="265"/>
                    <a:pt x="205" y="264"/>
                  </a:cubicBezTo>
                  <a:cubicBezTo>
                    <a:pt x="206" y="262"/>
                    <a:pt x="206" y="260"/>
                    <a:pt x="208" y="258"/>
                  </a:cubicBezTo>
                  <a:cubicBezTo>
                    <a:pt x="210" y="256"/>
                    <a:pt x="213" y="256"/>
                    <a:pt x="214" y="254"/>
                  </a:cubicBezTo>
                  <a:cubicBezTo>
                    <a:pt x="215" y="253"/>
                    <a:pt x="218" y="251"/>
                    <a:pt x="217" y="248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9" name="Freeform 30">
              <a:extLst>
                <a:ext uri="{FF2B5EF4-FFF2-40B4-BE49-F238E27FC236}">
                  <a16:creationId xmlns:a16="http://schemas.microsoft.com/office/drawing/2014/main" id="{2EEDD92F-C03A-4E8A-B9A8-594DBDB7D6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6075" y="5565775"/>
              <a:ext cx="187325" cy="219075"/>
            </a:xfrm>
            <a:custGeom>
              <a:avLst/>
              <a:gdLst/>
              <a:ahLst/>
              <a:cxnLst>
                <a:cxn ang="0">
                  <a:pos x="1" y="48"/>
                </a:cxn>
                <a:cxn ang="0">
                  <a:pos x="1" y="48"/>
                </a:cxn>
                <a:cxn ang="0">
                  <a:pos x="1" y="48"/>
                </a:cxn>
                <a:cxn ang="0">
                  <a:pos x="78" y="46"/>
                </a:cxn>
                <a:cxn ang="0">
                  <a:pos x="79" y="35"/>
                </a:cxn>
                <a:cxn ang="0">
                  <a:pos x="72" y="34"/>
                </a:cxn>
                <a:cxn ang="0">
                  <a:pos x="65" y="28"/>
                </a:cxn>
                <a:cxn ang="0">
                  <a:pos x="62" y="18"/>
                </a:cxn>
                <a:cxn ang="0">
                  <a:pos x="58" y="8"/>
                </a:cxn>
                <a:cxn ang="0">
                  <a:pos x="54" y="11"/>
                </a:cxn>
                <a:cxn ang="0">
                  <a:pos x="47" y="15"/>
                </a:cxn>
                <a:cxn ang="0">
                  <a:pos x="44" y="4"/>
                </a:cxn>
                <a:cxn ang="0">
                  <a:pos x="42" y="4"/>
                </a:cxn>
                <a:cxn ang="0">
                  <a:pos x="40" y="17"/>
                </a:cxn>
                <a:cxn ang="0">
                  <a:pos x="35" y="23"/>
                </a:cxn>
                <a:cxn ang="0">
                  <a:pos x="33" y="25"/>
                </a:cxn>
                <a:cxn ang="0">
                  <a:pos x="29" y="32"/>
                </a:cxn>
                <a:cxn ang="0">
                  <a:pos x="24" y="36"/>
                </a:cxn>
                <a:cxn ang="0">
                  <a:pos x="19" y="38"/>
                </a:cxn>
                <a:cxn ang="0">
                  <a:pos x="17" y="39"/>
                </a:cxn>
                <a:cxn ang="0">
                  <a:pos x="13" y="41"/>
                </a:cxn>
                <a:cxn ang="0">
                  <a:pos x="7" y="45"/>
                </a:cxn>
                <a:cxn ang="0">
                  <a:pos x="1" y="44"/>
                </a:cxn>
                <a:cxn ang="0">
                  <a:pos x="0" y="44"/>
                </a:cxn>
                <a:cxn ang="0">
                  <a:pos x="0" y="46"/>
                </a:cxn>
                <a:cxn ang="0">
                  <a:pos x="0" y="45"/>
                </a:cxn>
                <a:cxn ang="0">
                  <a:pos x="0" y="47"/>
                </a:cxn>
                <a:cxn ang="0">
                  <a:pos x="1" y="48"/>
                </a:cxn>
                <a:cxn ang="0">
                  <a:pos x="2" y="48"/>
                </a:cxn>
                <a:cxn ang="0">
                  <a:pos x="3" y="49"/>
                </a:cxn>
                <a:cxn ang="0">
                  <a:pos x="5" y="55"/>
                </a:cxn>
                <a:cxn ang="0">
                  <a:pos x="8" y="62"/>
                </a:cxn>
                <a:cxn ang="0">
                  <a:pos x="17" y="67"/>
                </a:cxn>
                <a:cxn ang="0">
                  <a:pos x="22" y="74"/>
                </a:cxn>
                <a:cxn ang="0">
                  <a:pos x="25" y="82"/>
                </a:cxn>
                <a:cxn ang="0">
                  <a:pos x="27" y="88"/>
                </a:cxn>
                <a:cxn ang="0">
                  <a:pos x="30" y="99"/>
                </a:cxn>
                <a:cxn ang="0">
                  <a:pos x="30" y="114"/>
                </a:cxn>
                <a:cxn ang="0">
                  <a:pos x="34" y="115"/>
                </a:cxn>
                <a:cxn ang="0">
                  <a:pos x="40" y="111"/>
                </a:cxn>
                <a:cxn ang="0">
                  <a:pos x="40" y="106"/>
                </a:cxn>
                <a:cxn ang="0">
                  <a:pos x="45" y="98"/>
                </a:cxn>
                <a:cxn ang="0">
                  <a:pos x="61" y="93"/>
                </a:cxn>
                <a:cxn ang="0">
                  <a:pos x="64" y="98"/>
                </a:cxn>
                <a:cxn ang="0">
                  <a:pos x="69" y="96"/>
                </a:cxn>
                <a:cxn ang="0">
                  <a:pos x="75" y="87"/>
                </a:cxn>
                <a:cxn ang="0">
                  <a:pos x="85" y="89"/>
                </a:cxn>
                <a:cxn ang="0">
                  <a:pos x="84" y="87"/>
                </a:cxn>
                <a:cxn ang="0">
                  <a:pos x="87" y="77"/>
                </a:cxn>
                <a:cxn ang="0">
                  <a:pos x="90" y="73"/>
                </a:cxn>
                <a:cxn ang="0">
                  <a:pos x="93" y="70"/>
                </a:cxn>
                <a:cxn ang="0">
                  <a:pos x="93" y="64"/>
                </a:cxn>
                <a:cxn ang="0">
                  <a:pos x="98" y="57"/>
                </a:cxn>
                <a:cxn ang="0">
                  <a:pos x="97" y="54"/>
                </a:cxn>
                <a:cxn ang="0">
                  <a:pos x="83" y="50"/>
                </a:cxn>
                <a:cxn ang="0">
                  <a:pos x="0" y="47"/>
                </a:cxn>
                <a:cxn ang="0">
                  <a:pos x="1" y="44"/>
                </a:cxn>
                <a:cxn ang="0">
                  <a:pos x="1" y="44"/>
                </a:cxn>
                <a:cxn ang="0">
                  <a:pos x="2" y="62"/>
                </a:cxn>
              </a:cxnLst>
              <a:rect l="0" t="0" r="r" b="b"/>
              <a:pathLst>
                <a:path w="100" h="117">
                  <a:moveTo>
                    <a:pt x="1" y="48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moveTo>
                    <a:pt x="83" y="50"/>
                  </a:moveTo>
                  <a:cubicBezTo>
                    <a:pt x="81" y="50"/>
                    <a:pt x="81" y="46"/>
                    <a:pt x="78" y="46"/>
                  </a:cubicBezTo>
                  <a:cubicBezTo>
                    <a:pt x="78" y="44"/>
                    <a:pt x="78" y="42"/>
                    <a:pt x="78" y="40"/>
                  </a:cubicBezTo>
                  <a:cubicBezTo>
                    <a:pt x="78" y="39"/>
                    <a:pt x="79" y="37"/>
                    <a:pt x="79" y="35"/>
                  </a:cubicBezTo>
                  <a:cubicBezTo>
                    <a:pt x="77" y="35"/>
                    <a:pt x="75" y="35"/>
                    <a:pt x="74" y="36"/>
                  </a:cubicBezTo>
                  <a:cubicBezTo>
                    <a:pt x="73" y="35"/>
                    <a:pt x="73" y="35"/>
                    <a:pt x="72" y="34"/>
                  </a:cubicBezTo>
                  <a:cubicBezTo>
                    <a:pt x="71" y="33"/>
                    <a:pt x="71" y="33"/>
                    <a:pt x="71" y="31"/>
                  </a:cubicBezTo>
                  <a:cubicBezTo>
                    <a:pt x="69" y="29"/>
                    <a:pt x="66" y="29"/>
                    <a:pt x="65" y="28"/>
                  </a:cubicBezTo>
                  <a:cubicBezTo>
                    <a:pt x="63" y="26"/>
                    <a:pt x="64" y="25"/>
                    <a:pt x="64" y="23"/>
                  </a:cubicBezTo>
                  <a:cubicBezTo>
                    <a:pt x="63" y="21"/>
                    <a:pt x="62" y="20"/>
                    <a:pt x="62" y="18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1"/>
                    <a:pt x="60" y="10"/>
                    <a:pt x="58" y="8"/>
                  </a:cubicBezTo>
                  <a:cubicBezTo>
                    <a:pt x="57" y="8"/>
                    <a:pt x="55" y="8"/>
                    <a:pt x="55" y="9"/>
                  </a:cubicBezTo>
                  <a:cubicBezTo>
                    <a:pt x="54" y="9"/>
                    <a:pt x="55" y="10"/>
                    <a:pt x="54" y="11"/>
                  </a:cubicBezTo>
                  <a:cubicBezTo>
                    <a:pt x="54" y="12"/>
                    <a:pt x="53" y="12"/>
                    <a:pt x="52" y="13"/>
                  </a:cubicBezTo>
                  <a:cubicBezTo>
                    <a:pt x="50" y="13"/>
                    <a:pt x="49" y="15"/>
                    <a:pt x="47" y="15"/>
                  </a:cubicBezTo>
                  <a:cubicBezTo>
                    <a:pt x="46" y="12"/>
                    <a:pt x="43" y="9"/>
                    <a:pt x="43" y="6"/>
                  </a:cubicBezTo>
                  <a:cubicBezTo>
                    <a:pt x="43" y="4"/>
                    <a:pt x="43" y="5"/>
                    <a:pt x="44" y="4"/>
                  </a:cubicBezTo>
                  <a:cubicBezTo>
                    <a:pt x="45" y="4"/>
                    <a:pt x="46" y="4"/>
                    <a:pt x="45" y="2"/>
                  </a:cubicBezTo>
                  <a:cubicBezTo>
                    <a:pt x="44" y="0"/>
                    <a:pt x="43" y="3"/>
                    <a:pt x="42" y="4"/>
                  </a:cubicBezTo>
                  <a:cubicBezTo>
                    <a:pt x="40" y="7"/>
                    <a:pt x="40" y="9"/>
                    <a:pt x="40" y="12"/>
                  </a:cubicBezTo>
                  <a:cubicBezTo>
                    <a:pt x="40" y="14"/>
                    <a:pt x="40" y="16"/>
                    <a:pt x="40" y="17"/>
                  </a:cubicBezTo>
                  <a:cubicBezTo>
                    <a:pt x="39" y="19"/>
                    <a:pt x="38" y="19"/>
                    <a:pt x="37" y="20"/>
                  </a:cubicBezTo>
                  <a:cubicBezTo>
                    <a:pt x="36" y="21"/>
                    <a:pt x="35" y="22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4" y="24"/>
                    <a:pt x="33" y="24"/>
                    <a:pt x="33" y="25"/>
                  </a:cubicBezTo>
                  <a:cubicBezTo>
                    <a:pt x="31" y="26"/>
                    <a:pt x="29" y="27"/>
                    <a:pt x="29" y="30"/>
                  </a:cubicBezTo>
                  <a:cubicBezTo>
                    <a:pt x="29" y="30"/>
                    <a:pt x="29" y="31"/>
                    <a:pt x="29" y="32"/>
                  </a:cubicBezTo>
                  <a:cubicBezTo>
                    <a:pt x="28" y="34"/>
                    <a:pt x="27" y="33"/>
                    <a:pt x="26" y="34"/>
                  </a:cubicBezTo>
                  <a:cubicBezTo>
                    <a:pt x="25" y="35"/>
                    <a:pt x="25" y="36"/>
                    <a:pt x="24" y="36"/>
                  </a:cubicBezTo>
                  <a:cubicBezTo>
                    <a:pt x="24" y="37"/>
                    <a:pt x="23" y="38"/>
                    <a:pt x="22" y="38"/>
                  </a:cubicBezTo>
                  <a:cubicBezTo>
                    <a:pt x="22" y="39"/>
                    <a:pt x="20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8" y="38"/>
                    <a:pt x="17" y="39"/>
                  </a:cubicBezTo>
                  <a:cubicBezTo>
                    <a:pt x="16" y="39"/>
                    <a:pt x="17" y="40"/>
                    <a:pt x="17" y="41"/>
                  </a:cubicBezTo>
                  <a:cubicBezTo>
                    <a:pt x="16" y="42"/>
                    <a:pt x="14" y="41"/>
                    <a:pt x="13" y="41"/>
                  </a:cubicBezTo>
                  <a:cubicBezTo>
                    <a:pt x="11" y="41"/>
                    <a:pt x="12" y="44"/>
                    <a:pt x="12" y="46"/>
                  </a:cubicBezTo>
                  <a:cubicBezTo>
                    <a:pt x="10" y="46"/>
                    <a:pt x="9" y="46"/>
                    <a:pt x="7" y="45"/>
                  </a:cubicBezTo>
                  <a:cubicBezTo>
                    <a:pt x="6" y="44"/>
                    <a:pt x="5" y="44"/>
                    <a:pt x="4" y="43"/>
                  </a:cubicBezTo>
                  <a:cubicBezTo>
                    <a:pt x="3" y="43"/>
                    <a:pt x="2" y="43"/>
                    <a:pt x="1" y="44"/>
                  </a:cubicBezTo>
                  <a:cubicBezTo>
                    <a:pt x="1" y="44"/>
                    <a:pt x="0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45"/>
                    <a:pt x="0" y="45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5"/>
                    <a:pt x="0" y="45"/>
                  </a:cubicBezTo>
                  <a:cubicBezTo>
                    <a:pt x="0" y="45"/>
                    <a:pt x="0" y="46"/>
                    <a:pt x="0" y="46"/>
                  </a:cubicBezTo>
                  <a:cubicBezTo>
                    <a:pt x="0" y="46"/>
                    <a:pt x="0" y="46"/>
                    <a:pt x="0" y="47"/>
                  </a:cubicBezTo>
                  <a:cubicBezTo>
                    <a:pt x="0" y="47"/>
                    <a:pt x="1" y="47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49"/>
                    <a:pt x="3" y="49"/>
                  </a:cubicBezTo>
                  <a:cubicBezTo>
                    <a:pt x="4" y="49"/>
                    <a:pt x="5" y="50"/>
                    <a:pt x="5" y="50"/>
                  </a:cubicBezTo>
                  <a:cubicBezTo>
                    <a:pt x="6" y="52"/>
                    <a:pt x="6" y="54"/>
                    <a:pt x="5" y="55"/>
                  </a:cubicBezTo>
                  <a:cubicBezTo>
                    <a:pt x="6" y="56"/>
                    <a:pt x="6" y="57"/>
                    <a:pt x="6" y="58"/>
                  </a:cubicBezTo>
                  <a:cubicBezTo>
                    <a:pt x="7" y="59"/>
                    <a:pt x="7" y="61"/>
                    <a:pt x="8" y="62"/>
                  </a:cubicBezTo>
                  <a:cubicBezTo>
                    <a:pt x="10" y="64"/>
                    <a:pt x="13" y="62"/>
                    <a:pt x="15" y="64"/>
                  </a:cubicBezTo>
                  <a:cubicBezTo>
                    <a:pt x="16" y="65"/>
                    <a:pt x="16" y="66"/>
                    <a:pt x="17" y="67"/>
                  </a:cubicBezTo>
                  <a:cubicBezTo>
                    <a:pt x="18" y="68"/>
                    <a:pt x="19" y="69"/>
                    <a:pt x="20" y="70"/>
                  </a:cubicBezTo>
                  <a:cubicBezTo>
                    <a:pt x="21" y="71"/>
                    <a:pt x="21" y="72"/>
                    <a:pt x="22" y="74"/>
                  </a:cubicBezTo>
                  <a:cubicBezTo>
                    <a:pt x="22" y="75"/>
                    <a:pt x="24" y="77"/>
                    <a:pt x="25" y="79"/>
                  </a:cubicBezTo>
                  <a:cubicBezTo>
                    <a:pt x="26" y="80"/>
                    <a:pt x="25" y="81"/>
                    <a:pt x="25" y="82"/>
                  </a:cubicBezTo>
                  <a:cubicBezTo>
                    <a:pt x="25" y="83"/>
                    <a:pt x="26" y="83"/>
                    <a:pt x="26" y="84"/>
                  </a:cubicBezTo>
                  <a:cubicBezTo>
                    <a:pt x="27" y="86"/>
                    <a:pt x="27" y="87"/>
                    <a:pt x="27" y="88"/>
                  </a:cubicBezTo>
                  <a:cubicBezTo>
                    <a:pt x="27" y="90"/>
                    <a:pt x="28" y="92"/>
                    <a:pt x="28" y="94"/>
                  </a:cubicBezTo>
                  <a:cubicBezTo>
                    <a:pt x="28" y="96"/>
                    <a:pt x="29" y="97"/>
                    <a:pt x="30" y="99"/>
                  </a:cubicBezTo>
                  <a:cubicBezTo>
                    <a:pt x="31" y="101"/>
                    <a:pt x="31" y="104"/>
                    <a:pt x="31" y="106"/>
                  </a:cubicBezTo>
                  <a:cubicBezTo>
                    <a:pt x="31" y="109"/>
                    <a:pt x="31" y="112"/>
                    <a:pt x="30" y="114"/>
                  </a:cubicBezTo>
                  <a:cubicBezTo>
                    <a:pt x="30" y="115"/>
                    <a:pt x="30" y="117"/>
                    <a:pt x="31" y="117"/>
                  </a:cubicBezTo>
                  <a:cubicBezTo>
                    <a:pt x="32" y="117"/>
                    <a:pt x="33" y="116"/>
                    <a:pt x="34" y="115"/>
                  </a:cubicBezTo>
                  <a:cubicBezTo>
                    <a:pt x="35" y="114"/>
                    <a:pt x="36" y="114"/>
                    <a:pt x="37" y="113"/>
                  </a:cubicBezTo>
                  <a:cubicBezTo>
                    <a:pt x="38" y="112"/>
                    <a:pt x="39" y="112"/>
                    <a:pt x="40" y="111"/>
                  </a:cubicBezTo>
                  <a:cubicBezTo>
                    <a:pt x="40" y="110"/>
                    <a:pt x="40" y="109"/>
                    <a:pt x="40" y="108"/>
                  </a:cubicBezTo>
                  <a:cubicBezTo>
                    <a:pt x="40" y="107"/>
                    <a:pt x="40" y="106"/>
                    <a:pt x="40" y="106"/>
                  </a:cubicBezTo>
                  <a:cubicBezTo>
                    <a:pt x="40" y="105"/>
                    <a:pt x="41" y="104"/>
                    <a:pt x="41" y="103"/>
                  </a:cubicBezTo>
                  <a:cubicBezTo>
                    <a:pt x="43" y="101"/>
                    <a:pt x="44" y="99"/>
                    <a:pt x="45" y="98"/>
                  </a:cubicBezTo>
                  <a:cubicBezTo>
                    <a:pt x="47" y="96"/>
                    <a:pt x="49" y="96"/>
                    <a:pt x="51" y="95"/>
                  </a:cubicBezTo>
                  <a:cubicBezTo>
                    <a:pt x="54" y="94"/>
                    <a:pt x="58" y="91"/>
                    <a:pt x="61" y="93"/>
                  </a:cubicBezTo>
                  <a:cubicBezTo>
                    <a:pt x="63" y="94"/>
                    <a:pt x="62" y="94"/>
                    <a:pt x="63" y="95"/>
                  </a:cubicBezTo>
                  <a:cubicBezTo>
                    <a:pt x="63" y="96"/>
                    <a:pt x="64" y="97"/>
                    <a:pt x="64" y="98"/>
                  </a:cubicBezTo>
                  <a:cubicBezTo>
                    <a:pt x="65" y="98"/>
                    <a:pt x="67" y="101"/>
                    <a:pt x="68" y="100"/>
                  </a:cubicBezTo>
                  <a:cubicBezTo>
                    <a:pt x="68" y="99"/>
                    <a:pt x="69" y="97"/>
                    <a:pt x="69" y="96"/>
                  </a:cubicBezTo>
                  <a:cubicBezTo>
                    <a:pt x="70" y="94"/>
                    <a:pt x="70" y="93"/>
                    <a:pt x="72" y="92"/>
                  </a:cubicBezTo>
                  <a:cubicBezTo>
                    <a:pt x="71" y="90"/>
                    <a:pt x="75" y="89"/>
                    <a:pt x="75" y="87"/>
                  </a:cubicBezTo>
                  <a:cubicBezTo>
                    <a:pt x="77" y="86"/>
                    <a:pt x="86" y="86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8"/>
                    <a:pt x="85" y="88"/>
                  </a:cubicBezTo>
                  <a:cubicBezTo>
                    <a:pt x="85" y="87"/>
                    <a:pt x="85" y="87"/>
                    <a:pt x="84" y="87"/>
                  </a:cubicBezTo>
                  <a:cubicBezTo>
                    <a:pt x="84" y="86"/>
                    <a:pt x="83" y="85"/>
                    <a:pt x="82" y="84"/>
                  </a:cubicBezTo>
                  <a:cubicBezTo>
                    <a:pt x="82" y="81"/>
                    <a:pt x="86" y="79"/>
                    <a:pt x="87" y="77"/>
                  </a:cubicBezTo>
                  <a:cubicBezTo>
                    <a:pt x="88" y="77"/>
                    <a:pt x="89" y="76"/>
                    <a:pt x="89" y="76"/>
                  </a:cubicBezTo>
                  <a:cubicBezTo>
                    <a:pt x="89" y="75"/>
                    <a:pt x="89" y="74"/>
                    <a:pt x="90" y="73"/>
                  </a:cubicBezTo>
                  <a:cubicBezTo>
                    <a:pt x="90" y="72"/>
                    <a:pt x="91" y="72"/>
                    <a:pt x="92" y="72"/>
                  </a:cubicBezTo>
                  <a:cubicBezTo>
                    <a:pt x="92" y="72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68"/>
                    <a:pt x="93" y="65"/>
                    <a:pt x="93" y="64"/>
                  </a:cubicBezTo>
                  <a:cubicBezTo>
                    <a:pt x="93" y="62"/>
                    <a:pt x="95" y="61"/>
                    <a:pt x="96" y="60"/>
                  </a:cubicBezTo>
                  <a:cubicBezTo>
                    <a:pt x="97" y="59"/>
                    <a:pt x="97" y="58"/>
                    <a:pt x="98" y="57"/>
                  </a:cubicBezTo>
                  <a:cubicBezTo>
                    <a:pt x="99" y="56"/>
                    <a:pt x="100" y="56"/>
                    <a:pt x="99" y="55"/>
                  </a:cubicBezTo>
                  <a:cubicBezTo>
                    <a:pt x="99" y="55"/>
                    <a:pt x="98" y="54"/>
                    <a:pt x="97" y="54"/>
                  </a:cubicBezTo>
                  <a:cubicBezTo>
                    <a:pt x="96" y="53"/>
                    <a:pt x="95" y="55"/>
                    <a:pt x="94" y="55"/>
                  </a:cubicBezTo>
                  <a:cubicBezTo>
                    <a:pt x="90" y="56"/>
                    <a:pt x="87" y="42"/>
                    <a:pt x="83" y="50"/>
                  </a:cubicBezTo>
                  <a:moveTo>
                    <a:pt x="0" y="46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7"/>
                    <a:pt x="0" y="46"/>
                  </a:cubicBezTo>
                  <a:moveTo>
                    <a:pt x="1" y="44"/>
                  </a:moveTo>
                  <a:cubicBezTo>
                    <a:pt x="1" y="44"/>
                    <a:pt x="1" y="44"/>
                    <a:pt x="0" y="44"/>
                  </a:cubicBezTo>
                  <a:cubicBezTo>
                    <a:pt x="1" y="44"/>
                    <a:pt x="1" y="44"/>
                    <a:pt x="1" y="44"/>
                  </a:cubicBezTo>
                  <a:moveTo>
                    <a:pt x="2" y="62"/>
                  </a:move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0" name="Freeform 31">
              <a:extLst>
                <a:ext uri="{FF2B5EF4-FFF2-40B4-BE49-F238E27FC236}">
                  <a16:creationId xmlns:a16="http://schemas.microsoft.com/office/drawing/2014/main" id="{769BCB59-BF04-4B4A-BB0B-86CE950858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3525" y="5646738"/>
              <a:ext cx="185738" cy="463550"/>
            </a:xfrm>
            <a:custGeom>
              <a:avLst/>
              <a:gdLst/>
              <a:ahLst/>
              <a:cxnLst>
                <a:cxn ang="0">
                  <a:pos x="44" y="3"/>
                </a:cxn>
                <a:cxn ang="0">
                  <a:pos x="44" y="3"/>
                </a:cxn>
                <a:cxn ang="0">
                  <a:pos x="44" y="3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6" y="5"/>
                </a:cxn>
                <a:cxn ang="0">
                  <a:pos x="45" y="5"/>
                </a:cxn>
                <a:cxn ang="0">
                  <a:pos x="45" y="5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5"/>
                </a:cxn>
                <a:cxn ang="0">
                  <a:pos x="44" y="2"/>
                </a:cxn>
                <a:cxn ang="0">
                  <a:pos x="45" y="1"/>
                </a:cxn>
                <a:cxn ang="0">
                  <a:pos x="45" y="1"/>
                </a:cxn>
                <a:cxn ang="0">
                  <a:pos x="44" y="1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11" y="187"/>
                </a:cxn>
                <a:cxn ang="0">
                  <a:pos x="9" y="201"/>
                </a:cxn>
                <a:cxn ang="0">
                  <a:pos x="15" y="208"/>
                </a:cxn>
                <a:cxn ang="0">
                  <a:pos x="20" y="215"/>
                </a:cxn>
                <a:cxn ang="0">
                  <a:pos x="28" y="221"/>
                </a:cxn>
                <a:cxn ang="0">
                  <a:pos x="34" y="229"/>
                </a:cxn>
                <a:cxn ang="0">
                  <a:pos x="37" y="242"/>
                </a:cxn>
                <a:cxn ang="0">
                  <a:pos x="50" y="244"/>
                </a:cxn>
                <a:cxn ang="0">
                  <a:pos x="56" y="236"/>
                </a:cxn>
                <a:cxn ang="0">
                  <a:pos x="56" y="228"/>
                </a:cxn>
                <a:cxn ang="0">
                  <a:pos x="59" y="219"/>
                </a:cxn>
                <a:cxn ang="0">
                  <a:pos x="73" y="213"/>
                </a:cxn>
                <a:cxn ang="0">
                  <a:pos x="77" y="202"/>
                </a:cxn>
                <a:cxn ang="0">
                  <a:pos x="83" y="185"/>
                </a:cxn>
                <a:cxn ang="0">
                  <a:pos x="92" y="184"/>
                </a:cxn>
                <a:cxn ang="0">
                  <a:pos x="96" y="167"/>
                </a:cxn>
                <a:cxn ang="0">
                  <a:pos x="94" y="155"/>
                </a:cxn>
                <a:cxn ang="0">
                  <a:pos x="81" y="147"/>
                </a:cxn>
                <a:cxn ang="0">
                  <a:pos x="75" y="134"/>
                </a:cxn>
                <a:cxn ang="0">
                  <a:pos x="69" y="125"/>
                </a:cxn>
                <a:cxn ang="0">
                  <a:pos x="68" y="112"/>
                </a:cxn>
                <a:cxn ang="0">
                  <a:pos x="67" y="104"/>
                </a:cxn>
                <a:cxn ang="0">
                  <a:pos x="71" y="95"/>
                </a:cxn>
                <a:cxn ang="0">
                  <a:pos x="72" y="79"/>
                </a:cxn>
                <a:cxn ang="0">
                  <a:pos x="74" y="56"/>
                </a:cxn>
                <a:cxn ang="0">
                  <a:pos x="69" y="39"/>
                </a:cxn>
                <a:cxn ang="0">
                  <a:pos x="61" y="24"/>
                </a:cxn>
                <a:cxn ang="0">
                  <a:pos x="49" y="12"/>
                </a:cxn>
                <a:cxn ang="0">
                  <a:pos x="45" y="21"/>
                </a:cxn>
                <a:cxn ang="0">
                  <a:pos x="28" y="17"/>
                </a:cxn>
                <a:cxn ang="0">
                  <a:pos x="24" y="14"/>
                </a:cxn>
                <a:cxn ang="0">
                  <a:pos x="12" y="30"/>
                </a:cxn>
                <a:cxn ang="0">
                  <a:pos x="5" y="47"/>
                </a:cxn>
                <a:cxn ang="0">
                  <a:pos x="10" y="69"/>
                </a:cxn>
                <a:cxn ang="0">
                  <a:pos x="18" y="82"/>
                </a:cxn>
                <a:cxn ang="0">
                  <a:pos x="19" y="103"/>
                </a:cxn>
                <a:cxn ang="0">
                  <a:pos x="7" y="112"/>
                </a:cxn>
                <a:cxn ang="0">
                  <a:pos x="12" y="121"/>
                </a:cxn>
                <a:cxn ang="0">
                  <a:pos x="11" y="135"/>
                </a:cxn>
                <a:cxn ang="0">
                  <a:pos x="13" y="146"/>
                </a:cxn>
                <a:cxn ang="0">
                  <a:pos x="8" y="143"/>
                </a:cxn>
                <a:cxn ang="0">
                  <a:pos x="2" y="167"/>
                </a:cxn>
              </a:cxnLst>
              <a:rect l="0" t="0" r="r" b="b"/>
              <a:pathLst>
                <a:path w="99" h="248"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lose/>
                  <a:moveTo>
                    <a:pt x="44" y="3"/>
                  </a:move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6" y="5"/>
                    <a:pt x="46" y="5"/>
                  </a:cubicBezTo>
                  <a:cubicBezTo>
                    <a:pt x="46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5" y="1"/>
                  </a:move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6" y="1"/>
                    <a:pt x="46" y="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2" y="174"/>
                  </a:moveTo>
                  <a:cubicBezTo>
                    <a:pt x="3" y="176"/>
                    <a:pt x="8" y="176"/>
                    <a:pt x="9" y="178"/>
                  </a:cubicBezTo>
                  <a:cubicBezTo>
                    <a:pt x="9" y="179"/>
                    <a:pt x="8" y="181"/>
                    <a:pt x="9" y="182"/>
                  </a:cubicBezTo>
                  <a:cubicBezTo>
                    <a:pt x="9" y="184"/>
                    <a:pt x="11" y="185"/>
                    <a:pt x="11" y="187"/>
                  </a:cubicBezTo>
                  <a:cubicBezTo>
                    <a:pt x="12" y="188"/>
                    <a:pt x="11" y="189"/>
                    <a:pt x="10" y="190"/>
                  </a:cubicBezTo>
                  <a:cubicBezTo>
                    <a:pt x="9" y="191"/>
                    <a:pt x="8" y="191"/>
                    <a:pt x="7" y="193"/>
                  </a:cubicBezTo>
                  <a:cubicBezTo>
                    <a:pt x="7" y="194"/>
                    <a:pt x="7" y="196"/>
                    <a:pt x="8" y="197"/>
                  </a:cubicBezTo>
                  <a:cubicBezTo>
                    <a:pt x="8" y="199"/>
                    <a:pt x="8" y="200"/>
                    <a:pt x="9" y="201"/>
                  </a:cubicBezTo>
                  <a:cubicBezTo>
                    <a:pt x="10" y="202"/>
                    <a:pt x="10" y="202"/>
                    <a:pt x="11" y="203"/>
                  </a:cubicBezTo>
                  <a:cubicBezTo>
                    <a:pt x="11" y="204"/>
                    <a:pt x="11" y="204"/>
                    <a:pt x="11" y="205"/>
                  </a:cubicBezTo>
                  <a:cubicBezTo>
                    <a:pt x="11" y="205"/>
                    <a:pt x="12" y="206"/>
                    <a:pt x="13" y="206"/>
                  </a:cubicBezTo>
                  <a:cubicBezTo>
                    <a:pt x="13" y="207"/>
                    <a:pt x="14" y="207"/>
                    <a:pt x="15" y="208"/>
                  </a:cubicBezTo>
                  <a:cubicBezTo>
                    <a:pt x="15" y="209"/>
                    <a:pt x="15" y="209"/>
                    <a:pt x="16" y="209"/>
                  </a:cubicBezTo>
                  <a:cubicBezTo>
                    <a:pt x="16" y="210"/>
                    <a:pt x="18" y="210"/>
                    <a:pt x="19" y="211"/>
                  </a:cubicBezTo>
                  <a:cubicBezTo>
                    <a:pt x="20" y="211"/>
                    <a:pt x="20" y="212"/>
                    <a:pt x="20" y="213"/>
                  </a:cubicBezTo>
                  <a:cubicBezTo>
                    <a:pt x="20" y="213"/>
                    <a:pt x="20" y="214"/>
                    <a:pt x="20" y="215"/>
                  </a:cubicBezTo>
                  <a:cubicBezTo>
                    <a:pt x="21" y="215"/>
                    <a:pt x="21" y="215"/>
                    <a:pt x="21" y="216"/>
                  </a:cubicBezTo>
                  <a:cubicBezTo>
                    <a:pt x="22" y="217"/>
                    <a:pt x="22" y="218"/>
                    <a:pt x="24" y="218"/>
                  </a:cubicBezTo>
                  <a:cubicBezTo>
                    <a:pt x="24" y="219"/>
                    <a:pt x="25" y="219"/>
                    <a:pt x="26" y="220"/>
                  </a:cubicBezTo>
                  <a:cubicBezTo>
                    <a:pt x="27" y="220"/>
                    <a:pt x="27" y="221"/>
                    <a:pt x="28" y="221"/>
                  </a:cubicBezTo>
                  <a:cubicBezTo>
                    <a:pt x="29" y="222"/>
                    <a:pt x="30" y="222"/>
                    <a:pt x="31" y="222"/>
                  </a:cubicBezTo>
                  <a:cubicBezTo>
                    <a:pt x="33" y="222"/>
                    <a:pt x="32" y="225"/>
                    <a:pt x="32" y="226"/>
                  </a:cubicBezTo>
                  <a:cubicBezTo>
                    <a:pt x="32" y="228"/>
                    <a:pt x="32" y="228"/>
                    <a:pt x="33" y="229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5" y="229"/>
                    <a:pt x="36" y="230"/>
                    <a:pt x="37" y="231"/>
                  </a:cubicBezTo>
                  <a:cubicBezTo>
                    <a:pt x="38" y="232"/>
                    <a:pt x="39" y="233"/>
                    <a:pt x="37" y="234"/>
                  </a:cubicBezTo>
                  <a:cubicBezTo>
                    <a:pt x="36" y="235"/>
                    <a:pt x="36" y="235"/>
                    <a:pt x="36" y="236"/>
                  </a:cubicBezTo>
                  <a:cubicBezTo>
                    <a:pt x="35" y="238"/>
                    <a:pt x="36" y="240"/>
                    <a:pt x="37" y="242"/>
                  </a:cubicBezTo>
                  <a:cubicBezTo>
                    <a:pt x="38" y="245"/>
                    <a:pt x="40" y="244"/>
                    <a:pt x="42" y="245"/>
                  </a:cubicBezTo>
                  <a:cubicBezTo>
                    <a:pt x="43" y="245"/>
                    <a:pt x="46" y="248"/>
                    <a:pt x="48" y="247"/>
                  </a:cubicBezTo>
                  <a:cubicBezTo>
                    <a:pt x="48" y="246"/>
                    <a:pt x="48" y="246"/>
                    <a:pt x="49" y="245"/>
                  </a:cubicBezTo>
                  <a:cubicBezTo>
                    <a:pt x="49" y="245"/>
                    <a:pt x="50" y="245"/>
                    <a:pt x="50" y="244"/>
                  </a:cubicBezTo>
                  <a:cubicBezTo>
                    <a:pt x="51" y="244"/>
                    <a:pt x="52" y="242"/>
                    <a:pt x="53" y="241"/>
                  </a:cubicBezTo>
                  <a:cubicBezTo>
                    <a:pt x="53" y="239"/>
                    <a:pt x="53" y="238"/>
                    <a:pt x="54" y="237"/>
                  </a:cubicBezTo>
                  <a:cubicBezTo>
                    <a:pt x="54" y="237"/>
                    <a:pt x="54" y="237"/>
                    <a:pt x="55" y="237"/>
                  </a:cubicBezTo>
                  <a:cubicBezTo>
                    <a:pt x="55" y="237"/>
                    <a:pt x="55" y="237"/>
                    <a:pt x="56" y="236"/>
                  </a:cubicBezTo>
                  <a:cubicBezTo>
                    <a:pt x="56" y="236"/>
                    <a:pt x="56" y="236"/>
                    <a:pt x="57" y="236"/>
                  </a:cubicBezTo>
                  <a:cubicBezTo>
                    <a:pt x="57" y="235"/>
                    <a:pt x="58" y="235"/>
                    <a:pt x="58" y="234"/>
                  </a:cubicBezTo>
                  <a:cubicBezTo>
                    <a:pt x="59" y="233"/>
                    <a:pt x="58" y="232"/>
                    <a:pt x="57" y="231"/>
                  </a:cubicBezTo>
                  <a:cubicBezTo>
                    <a:pt x="57" y="230"/>
                    <a:pt x="57" y="229"/>
                    <a:pt x="56" y="228"/>
                  </a:cubicBezTo>
                  <a:cubicBezTo>
                    <a:pt x="56" y="227"/>
                    <a:pt x="55" y="227"/>
                    <a:pt x="55" y="226"/>
                  </a:cubicBezTo>
                  <a:cubicBezTo>
                    <a:pt x="55" y="225"/>
                    <a:pt x="56" y="223"/>
                    <a:pt x="56" y="223"/>
                  </a:cubicBezTo>
                  <a:cubicBezTo>
                    <a:pt x="57" y="222"/>
                    <a:pt x="57" y="222"/>
                    <a:pt x="57" y="221"/>
                  </a:cubicBezTo>
                  <a:cubicBezTo>
                    <a:pt x="58" y="220"/>
                    <a:pt x="58" y="220"/>
                    <a:pt x="59" y="219"/>
                  </a:cubicBezTo>
                  <a:cubicBezTo>
                    <a:pt x="60" y="217"/>
                    <a:pt x="62" y="216"/>
                    <a:pt x="64" y="215"/>
                  </a:cubicBezTo>
                  <a:cubicBezTo>
                    <a:pt x="65" y="214"/>
                    <a:pt x="66" y="214"/>
                    <a:pt x="68" y="214"/>
                  </a:cubicBezTo>
                  <a:cubicBezTo>
                    <a:pt x="69" y="214"/>
                    <a:pt x="71" y="215"/>
                    <a:pt x="72" y="215"/>
                  </a:cubicBezTo>
                  <a:cubicBezTo>
                    <a:pt x="72" y="215"/>
                    <a:pt x="73" y="213"/>
                    <a:pt x="73" y="213"/>
                  </a:cubicBezTo>
                  <a:cubicBezTo>
                    <a:pt x="73" y="212"/>
                    <a:pt x="73" y="211"/>
                    <a:pt x="74" y="210"/>
                  </a:cubicBezTo>
                  <a:cubicBezTo>
                    <a:pt x="74" y="209"/>
                    <a:pt x="75" y="209"/>
                    <a:pt x="75" y="207"/>
                  </a:cubicBezTo>
                  <a:cubicBezTo>
                    <a:pt x="75" y="207"/>
                    <a:pt x="74" y="206"/>
                    <a:pt x="75" y="206"/>
                  </a:cubicBezTo>
                  <a:cubicBezTo>
                    <a:pt x="75" y="204"/>
                    <a:pt x="76" y="203"/>
                    <a:pt x="77" y="202"/>
                  </a:cubicBezTo>
                  <a:cubicBezTo>
                    <a:pt x="77" y="201"/>
                    <a:pt x="77" y="200"/>
                    <a:pt x="78" y="199"/>
                  </a:cubicBezTo>
                  <a:cubicBezTo>
                    <a:pt x="79" y="197"/>
                    <a:pt x="79" y="196"/>
                    <a:pt x="79" y="194"/>
                  </a:cubicBezTo>
                  <a:cubicBezTo>
                    <a:pt x="79" y="192"/>
                    <a:pt x="80" y="190"/>
                    <a:pt x="81" y="188"/>
                  </a:cubicBezTo>
                  <a:cubicBezTo>
                    <a:pt x="82" y="187"/>
                    <a:pt x="82" y="186"/>
                    <a:pt x="83" y="185"/>
                  </a:cubicBezTo>
                  <a:cubicBezTo>
                    <a:pt x="84" y="185"/>
                    <a:pt x="85" y="186"/>
                    <a:pt x="86" y="185"/>
                  </a:cubicBezTo>
                  <a:cubicBezTo>
                    <a:pt x="86" y="185"/>
                    <a:pt x="87" y="185"/>
                    <a:pt x="87" y="184"/>
                  </a:cubicBezTo>
                  <a:cubicBezTo>
                    <a:pt x="87" y="184"/>
                    <a:pt x="88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4" y="183"/>
                    <a:pt x="93" y="181"/>
                    <a:pt x="94" y="179"/>
                  </a:cubicBezTo>
                  <a:cubicBezTo>
                    <a:pt x="94" y="177"/>
                    <a:pt x="94" y="177"/>
                    <a:pt x="96" y="176"/>
                  </a:cubicBezTo>
                  <a:cubicBezTo>
                    <a:pt x="96" y="176"/>
                    <a:pt x="97" y="175"/>
                    <a:pt x="98" y="175"/>
                  </a:cubicBezTo>
                  <a:cubicBezTo>
                    <a:pt x="99" y="173"/>
                    <a:pt x="97" y="168"/>
                    <a:pt x="96" y="167"/>
                  </a:cubicBezTo>
                  <a:cubicBezTo>
                    <a:pt x="95" y="165"/>
                    <a:pt x="90" y="162"/>
                    <a:pt x="92" y="160"/>
                  </a:cubicBezTo>
                  <a:cubicBezTo>
                    <a:pt x="92" y="159"/>
                    <a:pt x="93" y="159"/>
                    <a:pt x="93" y="158"/>
                  </a:cubicBezTo>
                  <a:cubicBezTo>
                    <a:pt x="93" y="158"/>
                    <a:pt x="93" y="157"/>
                    <a:pt x="93" y="157"/>
                  </a:cubicBezTo>
                  <a:cubicBezTo>
                    <a:pt x="93" y="156"/>
                    <a:pt x="93" y="156"/>
                    <a:pt x="94" y="155"/>
                  </a:cubicBezTo>
                  <a:cubicBezTo>
                    <a:pt x="94" y="153"/>
                    <a:pt x="93" y="151"/>
                    <a:pt x="92" y="150"/>
                  </a:cubicBezTo>
                  <a:cubicBezTo>
                    <a:pt x="91" y="149"/>
                    <a:pt x="89" y="147"/>
                    <a:pt x="87" y="148"/>
                  </a:cubicBezTo>
                  <a:cubicBezTo>
                    <a:pt x="86" y="148"/>
                    <a:pt x="85" y="150"/>
                    <a:pt x="84" y="149"/>
                  </a:cubicBezTo>
                  <a:cubicBezTo>
                    <a:pt x="82" y="149"/>
                    <a:pt x="82" y="147"/>
                    <a:pt x="81" y="147"/>
                  </a:cubicBezTo>
                  <a:cubicBezTo>
                    <a:pt x="80" y="147"/>
                    <a:pt x="79" y="147"/>
                    <a:pt x="79" y="147"/>
                  </a:cubicBezTo>
                  <a:cubicBezTo>
                    <a:pt x="78" y="147"/>
                    <a:pt x="78" y="146"/>
                    <a:pt x="78" y="146"/>
                  </a:cubicBezTo>
                  <a:cubicBezTo>
                    <a:pt x="77" y="143"/>
                    <a:pt x="78" y="140"/>
                    <a:pt x="78" y="137"/>
                  </a:cubicBezTo>
                  <a:cubicBezTo>
                    <a:pt x="77" y="136"/>
                    <a:pt x="76" y="135"/>
                    <a:pt x="75" y="134"/>
                  </a:cubicBezTo>
                  <a:cubicBezTo>
                    <a:pt x="74" y="133"/>
                    <a:pt x="74" y="131"/>
                    <a:pt x="72" y="131"/>
                  </a:cubicBezTo>
                  <a:cubicBezTo>
                    <a:pt x="71" y="131"/>
                    <a:pt x="70" y="132"/>
                    <a:pt x="69" y="131"/>
                  </a:cubicBezTo>
                  <a:cubicBezTo>
                    <a:pt x="69" y="130"/>
                    <a:pt x="69" y="129"/>
                    <a:pt x="69" y="129"/>
                  </a:cubicBezTo>
                  <a:cubicBezTo>
                    <a:pt x="69" y="127"/>
                    <a:pt x="69" y="126"/>
                    <a:pt x="69" y="125"/>
                  </a:cubicBezTo>
                  <a:cubicBezTo>
                    <a:pt x="68" y="123"/>
                    <a:pt x="68" y="122"/>
                    <a:pt x="67" y="120"/>
                  </a:cubicBezTo>
                  <a:cubicBezTo>
                    <a:pt x="67" y="119"/>
                    <a:pt x="66" y="118"/>
                    <a:pt x="67" y="116"/>
                  </a:cubicBezTo>
                  <a:cubicBezTo>
                    <a:pt x="67" y="116"/>
                    <a:pt x="67" y="115"/>
                    <a:pt x="68" y="114"/>
                  </a:cubicBezTo>
                  <a:cubicBezTo>
                    <a:pt x="68" y="113"/>
                    <a:pt x="68" y="113"/>
                    <a:pt x="68" y="112"/>
                  </a:cubicBezTo>
                  <a:cubicBezTo>
                    <a:pt x="69" y="111"/>
                    <a:pt x="70" y="111"/>
                    <a:pt x="70" y="110"/>
                  </a:cubicBezTo>
                  <a:cubicBezTo>
                    <a:pt x="70" y="109"/>
                    <a:pt x="69" y="108"/>
                    <a:pt x="69" y="108"/>
                  </a:cubicBezTo>
                  <a:cubicBezTo>
                    <a:pt x="69" y="107"/>
                    <a:pt x="69" y="107"/>
                    <a:pt x="68" y="106"/>
                  </a:cubicBezTo>
                  <a:cubicBezTo>
                    <a:pt x="68" y="105"/>
                    <a:pt x="67" y="105"/>
                    <a:pt x="67" y="104"/>
                  </a:cubicBezTo>
                  <a:cubicBezTo>
                    <a:pt x="67" y="103"/>
                    <a:pt x="66" y="102"/>
                    <a:pt x="66" y="101"/>
                  </a:cubicBezTo>
                  <a:cubicBezTo>
                    <a:pt x="66" y="101"/>
                    <a:pt x="66" y="100"/>
                    <a:pt x="66" y="100"/>
                  </a:cubicBezTo>
                  <a:cubicBezTo>
                    <a:pt x="67" y="99"/>
                    <a:pt x="66" y="97"/>
                    <a:pt x="68" y="97"/>
                  </a:cubicBezTo>
                  <a:cubicBezTo>
                    <a:pt x="69" y="96"/>
                    <a:pt x="70" y="96"/>
                    <a:pt x="71" y="95"/>
                  </a:cubicBezTo>
                  <a:cubicBezTo>
                    <a:pt x="71" y="95"/>
                    <a:pt x="71" y="94"/>
                    <a:pt x="71" y="94"/>
                  </a:cubicBezTo>
                  <a:cubicBezTo>
                    <a:pt x="71" y="92"/>
                    <a:pt x="71" y="91"/>
                    <a:pt x="71" y="89"/>
                  </a:cubicBezTo>
                  <a:cubicBezTo>
                    <a:pt x="71" y="88"/>
                    <a:pt x="71" y="86"/>
                    <a:pt x="71" y="85"/>
                  </a:cubicBezTo>
                  <a:cubicBezTo>
                    <a:pt x="71" y="83"/>
                    <a:pt x="72" y="81"/>
                    <a:pt x="72" y="79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2"/>
                    <a:pt x="74" y="72"/>
                    <a:pt x="74" y="71"/>
                  </a:cubicBezTo>
                  <a:cubicBezTo>
                    <a:pt x="75" y="69"/>
                    <a:pt x="75" y="66"/>
                    <a:pt x="75" y="63"/>
                  </a:cubicBezTo>
                  <a:cubicBezTo>
                    <a:pt x="75" y="61"/>
                    <a:pt x="75" y="58"/>
                    <a:pt x="74" y="56"/>
                  </a:cubicBezTo>
                  <a:cubicBezTo>
                    <a:pt x="73" y="54"/>
                    <a:pt x="72" y="53"/>
                    <a:pt x="72" y="51"/>
                  </a:cubicBezTo>
                  <a:cubicBezTo>
                    <a:pt x="72" y="49"/>
                    <a:pt x="71" y="47"/>
                    <a:pt x="71" y="45"/>
                  </a:cubicBezTo>
                  <a:cubicBezTo>
                    <a:pt x="71" y="44"/>
                    <a:pt x="71" y="43"/>
                    <a:pt x="70" y="41"/>
                  </a:cubicBezTo>
                  <a:cubicBezTo>
                    <a:pt x="70" y="40"/>
                    <a:pt x="69" y="40"/>
                    <a:pt x="69" y="39"/>
                  </a:cubicBezTo>
                  <a:cubicBezTo>
                    <a:pt x="69" y="38"/>
                    <a:pt x="70" y="37"/>
                    <a:pt x="69" y="36"/>
                  </a:cubicBezTo>
                  <a:cubicBezTo>
                    <a:pt x="68" y="34"/>
                    <a:pt x="66" y="32"/>
                    <a:pt x="66" y="31"/>
                  </a:cubicBezTo>
                  <a:cubicBezTo>
                    <a:pt x="65" y="29"/>
                    <a:pt x="65" y="28"/>
                    <a:pt x="64" y="27"/>
                  </a:cubicBezTo>
                  <a:cubicBezTo>
                    <a:pt x="63" y="26"/>
                    <a:pt x="62" y="25"/>
                    <a:pt x="61" y="24"/>
                  </a:cubicBezTo>
                  <a:cubicBezTo>
                    <a:pt x="60" y="23"/>
                    <a:pt x="60" y="22"/>
                    <a:pt x="59" y="21"/>
                  </a:cubicBezTo>
                  <a:cubicBezTo>
                    <a:pt x="57" y="19"/>
                    <a:pt x="54" y="21"/>
                    <a:pt x="52" y="19"/>
                  </a:cubicBezTo>
                  <a:cubicBezTo>
                    <a:pt x="51" y="18"/>
                    <a:pt x="51" y="16"/>
                    <a:pt x="50" y="15"/>
                  </a:cubicBezTo>
                  <a:cubicBezTo>
                    <a:pt x="50" y="14"/>
                    <a:pt x="50" y="13"/>
                    <a:pt x="49" y="12"/>
                  </a:cubicBezTo>
                  <a:cubicBezTo>
                    <a:pt x="49" y="13"/>
                    <a:pt x="49" y="13"/>
                    <a:pt x="48" y="14"/>
                  </a:cubicBezTo>
                  <a:cubicBezTo>
                    <a:pt x="48" y="15"/>
                    <a:pt x="48" y="16"/>
                    <a:pt x="47" y="17"/>
                  </a:cubicBezTo>
                  <a:cubicBezTo>
                    <a:pt x="47" y="18"/>
                    <a:pt x="46" y="18"/>
                    <a:pt x="46" y="19"/>
                  </a:cubicBezTo>
                  <a:cubicBezTo>
                    <a:pt x="46" y="20"/>
                    <a:pt x="46" y="21"/>
                    <a:pt x="45" y="21"/>
                  </a:cubicBezTo>
                  <a:cubicBezTo>
                    <a:pt x="44" y="23"/>
                    <a:pt x="42" y="23"/>
                    <a:pt x="41" y="24"/>
                  </a:cubicBezTo>
                  <a:cubicBezTo>
                    <a:pt x="38" y="25"/>
                    <a:pt x="36" y="25"/>
                    <a:pt x="33" y="25"/>
                  </a:cubicBezTo>
                  <a:cubicBezTo>
                    <a:pt x="31" y="25"/>
                    <a:pt x="29" y="26"/>
                    <a:pt x="28" y="23"/>
                  </a:cubicBezTo>
                  <a:cubicBezTo>
                    <a:pt x="28" y="22"/>
                    <a:pt x="28" y="19"/>
                    <a:pt x="28" y="17"/>
                  </a:cubicBezTo>
                  <a:cubicBezTo>
                    <a:pt x="28" y="15"/>
                    <a:pt x="28" y="13"/>
                    <a:pt x="27" y="11"/>
                  </a:cubicBezTo>
                  <a:cubicBezTo>
                    <a:pt x="27" y="10"/>
                    <a:pt x="27" y="10"/>
                    <a:pt x="26" y="10"/>
                  </a:cubicBezTo>
                  <a:cubicBezTo>
                    <a:pt x="26" y="10"/>
                    <a:pt x="24" y="12"/>
                    <a:pt x="24" y="12"/>
                  </a:cubicBezTo>
                  <a:cubicBezTo>
                    <a:pt x="24" y="13"/>
                    <a:pt x="24" y="13"/>
                    <a:pt x="24" y="14"/>
                  </a:cubicBezTo>
                  <a:cubicBezTo>
                    <a:pt x="23" y="16"/>
                    <a:pt x="22" y="17"/>
                    <a:pt x="20" y="19"/>
                  </a:cubicBezTo>
                  <a:cubicBezTo>
                    <a:pt x="19" y="21"/>
                    <a:pt x="18" y="23"/>
                    <a:pt x="16" y="24"/>
                  </a:cubicBezTo>
                  <a:cubicBezTo>
                    <a:pt x="15" y="25"/>
                    <a:pt x="15" y="26"/>
                    <a:pt x="14" y="27"/>
                  </a:cubicBezTo>
                  <a:cubicBezTo>
                    <a:pt x="13" y="28"/>
                    <a:pt x="13" y="29"/>
                    <a:pt x="12" y="30"/>
                  </a:cubicBezTo>
                  <a:cubicBezTo>
                    <a:pt x="12" y="31"/>
                    <a:pt x="11" y="33"/>
                    <a:pt x="10" y="34"/>
                  </a:cubicBezTo>
                  <a:cubicBezTo>
                    <a:pt x="10" y="36"/>
                    <a:pt x="9" y="37"/>
                    <a:pt x="8" y="38"/>
                  </a:cubicBezTo>
                  <a:cubicBezTo>
                    <a:pt x="6" y="39"/>
                    <a:pt x="2" y="39"/>
                    <a:pt x="1" y="41"/>
                  </a:cubicBezTo>
                  <a:cubicBezTo>
                    <a:pt x="1" y="44"/>
                    <a:pt x="3" y="46"/>
                    <a:pt x="5" y="47"/>
                  </a:cubicBezTo>
                  <a:cubicBezTo>
                    <a:pt x="7" y="51"/>
                    <a:pt x="10" y="56"/>
                    <a:pt x="10" y="60"/>
                  </a:cubicBezTo>
                  <a:cubicBezTo>
                    <a:pt x="11" y="63"/>
                    <a:pt x="8" y="65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8" y="68"/>
                    <a:pt x="9" y="68"/>
                    <a:pt x="10" y="69"/>
                  </a:cubicBezTo>
                  <a:cubicBezTo>
                    <a:pt x="13" y="70"/>
                    <a:pt x="16" y="68"/>
                    <a:pt x="19" y="70"/>
                  </a:cubicBezTo>
                  <a:cubicBezTo>
                    <a:pt x="20" y="72"/>
                    <a:pt x="20" y="76"/>
                    <a:pt x="19" y="77"/>
                  </a:cubicBezTo>
                  <a:cubicBezTo>
                    <a:pt x="18" y="78"/>
                    <a:pt x="18" y="78"/>
                    <a:pt x="18" y="79"/>
                  </a:cubicBezTo>
                  <a:cubicBezTo>
                    <a:pt x="18" y="80"/>
                    <a:pt x="18" y="81"/>
                    <a:pt x="18" y="82"/>
                  </a:cubicBezTo>
                  <a:cubicBezTo>
                    <a:pt x="18" y="86"/>
                    <a:pt x="19" y="90"/>
                    <a:pt x="18" y="93"/>
                  </a:cubicBezTo>
                  <a:cubicBezTo>
                    <a:pt x="18" y="95"/>
                    <a:pt x="18" y="97"/>
                    <a:pt x="18" y="99"/>
                  </a:cubicBezTo>
                  <a:cubicBezTo>
                    <a:pt x="18" y="100"/>
                    <a:pt x="18" y="100"/>
                    <a:pt x="18" y="101"/>
                  </a:cubicBezTo>
                  <a:cubicBezTo>
                    <a:pt x="18" y="101"/>
                    <a:pt x="19" y="102"/>
                    <a:pt x="19" y="103"/>
                  </a:cubicBezTo>
                  <a:cubicBezTo>
                    <a:pt x="19" y="104"/>
                    <a:pt x="19" y="105"/>
                    <a:pt x="18" y="103"/>
                  </a:cubicBezTo>
                  <a:cubicBezTo>
                    <a:pt x="16" y="104"/>
                    <a:pt x="13" y="103"/>
                    <a:pt x="10" y="104"/>
                  </a:cubicBezTo>
                  <a:cubicBezTo>
                    <a:pt x="8" y="104"/>
                    <a:pt x="8" y="107"/>
                    <a:pt x="8" y="108"/>
                  </a:cubicBezTo>
                  <a:cubicBezTo>
                    <a:pt x="8" y="110"/>
                    <a:pt x="7" y="111"/>
                    <a:pt x="7" y="112"/>
                  </a:cubicBezTo>
                  <a:cubicBezTo>
                    <a:pt x="8" y="113"/>
                    <a:pt x="9" y="114"/>
                    <a:pt x="10" y="115"/>
                  </a:cubicBezTo>
                  <a:cubicBezTo>
                    <a:pt x="11" y="116"/>
                    <a:pt x="11" y="117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1"/>
                  </a:cubicBezTo>
                  <a:cubicBezTo>
                    <a:pt x="12" y="121"/>
                    <a:pt x="12" y="123"/>
                    <a:pt x="13" y="123"/>
                  </a:cubicBezTo>
                  <a:cubicBezTo>
                    <a:pt x="13" y="124"/>
                    <a:pt x="15" y="124"/>
                    <a:pt x="15" y="125"/>
                  </a:cubicBezTo>
                  <a:cubicBezTo>
                    <a:pt x="15" y="126"/>
                    <a:pt x="15" y="127"/>
                    <a:pt x="14" y="128"/>
                  </a:cubicBezTo>
                  <a:cubicBezTo>
                    <a:pt x="13" y="131"/>
                    <a:pt x="11" y="133"/>
                    <a:pt x="11" y="135"/>
                  </a:cubicBezTo>
                  <a:cubicBezTo>
                    <a:pt x="11" y="136"/>
                    <a:pt x="11" y="138"/>
                    <a:pt x="12" y="139"/>
                  </a:cubicBezTo>
                  <a:cubicBezTo>
                    <a:pt x="12" y="139"/>
                    <a:pt x="13" y="140"/>
                    <a:pt x="13" y="140"/>
                  </a:cubicBezTo>
                  <a:cubicBezTo>
                    <a:pt x="14" y="141"/>
                    <a:pt x="13" y="142"/>
                    <a:pt x="13" y="143"/>
                  </a:cubicBezTo>
                  <a:cubicBezTo>
                    <a:pt x="13" y="144"/>
                    <a:pt x="13" y="145"/>
                    <a:pt x="13" y="146"/>
                  </a:cubicBezTo>
                  <a:cubicBezTo>
                    <a:pt x="13" y="146"/>
                    <a:pt x="12" y="148"/>
                    <a:pt x="12" y="148"/>
                  </a:cubicBezTo>
                  <a:cubicBezTo>
                    <a:pt x="11" y="147"/>
                    <a:pt x="11" y="146"/>
                    <a:pt x="11" y="145"/>
                  </a:cubicBezTo>
                  <a:cubicBezTo>
                    <a:pt x="11" y="144"/>
                    <a:pt x="11" y="143"/>
                    <a:pt x="11" y="142"/>
                  </a:cubicBezTo>
                  <a:cubicBezTo>
                    <a:pt x="10" y="142"/>
                    <a:pt x="8" y="142"/>
                    <a:pt x="8" y="143"/>
                  </a:cubicBezTo>
                  <a:cubicBezTo>
                    <a:pt x="7" y="143"/>
                    <a:pt x="6" y="144"/>
                    <a:pt x="5" y="144"/>
                  </a:cubicBezTo>
                  <a:cubicBezTo>
                    <a:pt x="2" y="148"/>
                    <a:pt x="3" y="152"/>
                    <a:pt x="3" y="156"/>
                  </a:cubicBezTo>
                  <a:cubicBezTo>
                    <a:pt x="3" y="159"/>
                    <a:pt x="2" y="162"/>
                    <a:pt x="1" y="165"/>
                  </a:cubicBezTo>
                  <a:cubicBezTo>
                    <a:pt x="1" y="166"/>
                    <a:pt x="2" y="167"/>
                    <a:pt x="2" y="167"/>
                  </a:cubicBezTo>
                  <a:cubicBezTo>
                    <a:pt x="2" y="169"/>
                    <a:pt x="0" y="173"/>
                    <a:pt x="2" y="17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1" name="Freeform 32">
              <a:extLst>
                <a:ext uri="{FF2B5EF4-FFF2-40B4-BE49-F238E27FC236}">
                  <a16:creationId xmlns:a16="http://schemas.microsoft.com/office/drawing/2014/main" id="{C4F12C14-BC7E-4BF3-AF1A-34732A6B18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350" y="5711825"/>
              <a:ext cx="266700" cy="236538"/>
            </a:xfrm>
            <a:custGeom>
              <a:avLst/>
              <a:gdLst/>
              <a:ahLst/>
              <a:cxnLst>
                <a:cxn ang="0">
                  <a:pos x="137" y="46"/>
                </a:cxn>
                <a:cxn ang="0">
                  <a:pos x="136" y="39"/>
                </a:cxn>
                <a:cxn ang="0">
                  <a:pos x="135" y="32"/>
                </a:cxn>
                <a:cxn ang="0">
                  <a:pos x="132" y="28"/>
                </a:cxn>
                <a:cxn ang="0">
                  <a:pos x="122" y="25"/>
                </a:cxn>
                <a:cxn ang="0">
                  <a:pos x="117" y="20"/>
                </a:cxn>
                <a:cxn ang="0">
                  <a:pos x="115" y="18"/>
                </a:cxn>
                <a:cxn ang="0">
                  <a:pos x="113" y="12"/>
                </a:cxn>
                <a:cxn ang="0">
                  <a:pos x="99" y="2"/>
                </a:cxn>
                <a:cxn ang="0">
                  <a:pos x="90" y="9"/>
                </a:cxn>
                <a:cxn ang="0">
                  <a:pos x="84" y="6"/>
                </a:cxn>
                <a:cxn ang="0">
                  <a:pos x="74" y="8"/>
                </a:cxn>
                <a:cxn ang="0">
                  <a:pos x="53" y="9"/>
                </a:cxn>
                <a:cxn ang="0">
                  <a:pos x="46" y="22"/>
                </a:cxn>
                <a:cxn ang="0">
                  <a:pos x="39" y="15"/>
                </a:cxn>
                <a:cxn ang="0">
                  <a:pos x="19" y="25"/>
                </a:cxn>
                <a:cxn ang="0">
                  <a:pos x="18" y="33"/>
                </a:cxn>
                <a:cxn ang="0">
                  <a:pos x="9" y="39"/>
                </a:cxn>
                <a:cxn ang="0">
                  <a:pos x="5" y="50"/>
                </a:cxn>
                <a:cxn ang="0">
                  <a:pos x="5" y="60"/>
                </a:cxn>
                <a:cxn ang="0">
                  <a:pos x="0" y="66"/>
                </a:cxn>
                <a:cxn ang="0">
                  <a:pos x="3" y="73"/>
                </a:cxn>
                <a:cxn ang="0">
                  <a:pos x="2" y="79"/>
                </a:cxn>
                <a:cxn ang="0">
                  <a:pos x="3" y="90"/>
                </a:cxn>
                <a:cxn ang="0">
                  <a:pos x="6" y="96"/>
                </a:cxn>
                <a:cxn ang="0">
                  <a:pos x="12" y="111"/>
                </a:cxn>
                <a:cxn ang="0">
                  <a:pos x="18" y="114"/>
                </a:cxn>
                <a:cxn ang="0">
                  <a:pos x="28" y="120"/>
                </a:cxn>
                <a:cxn ang="0">
                  <a:pos x="26" y="125"/>
                </a:cxn>
                <a:cxn ang="0">
                  <a:pos x="36" y="119"/>
                </a:cxn>
                <a:cxn ang="0">
                  <a:pos x="50" y="116"/>
                </a:cxn>
                <a:cxn ang="0">
                  <a:pos x="58" y="115"/>
                </a:cxn>
                <a:cxn ang="0">
                  <a:pos x="66" y="115"/>
                </a:cxn>
                <a:cxn ang="0">
                  <a:pos x="74" y="108"/>
                </a:cxn>
                <a:cxn ang="0">
                  <a:pos x="87" y="96"/>
                </a:cxn>
                <a:cxn ang="0">
                  <a:pos x="95" y="97"/>
                </a:cxn>
                <a:cxn ang="0">
                  <a:pos x="104" y="98"/>
                </a:cxn>
                <a:cxn ang="0">
                  <a:pos x="115" y="99"/>
                </a:cxn>
                <a:cxn ang="0">
                  <a:pos x="124" y="99"/>
                </a:cxn>
                <a:cxn ang="0">
                  <a:pos x="126" y="89"/>
                </a:cxn>
                <a:cxn ang="0">
                  <a:pos x="130" y="85"/>
                </a:cxn>
                <a:cxn ang="0">
                  <a:pos x="137" y="80"/>
                </a:cxn>
                <a:cxn ang="0">
                  <a:pos x="139" y="65"/>
                </a:cxn>
                <a:cxn ang="0">
                  <a:pos x="142" y="54"/>
                </a:cxn>
              </a:cxnLst>
              <a:rect l="0" t="0" r="r" b="b"/>
              <a:pathLst>
                <a:path w="143" h="126">
                  <a:moveTo>
                    <a:pt x="143" y="52"/>
                  </a:moveTo>
                  <a:cubicBezTo>
                    <a:pt x="143" y="50"/>
                    <a:pt x="140" y="50"/>
                    <a:pt x="139" y="49"/>
                  </a:cubicBezTo>
                  <a:cubicBezTo>
                    <a:pt x="138" y="48"/>
                    <a:pt x="138" y="47"/>
                    <a:pt x="137" y="46"/>
                  </a:cubicBezTo>
                  <a:cubicBezTo>
                    <a:pt x="137" y="45"/>
                    <a:pt x="137" y="44"/>
                    <a:pt x="137" y="44"/>
                  </a:cubicBezTo>
                  <a:cubicBezTo>
                    <a:pt x="137" y="43"/>
                    <a:pt x="137" y="42"/>
                    <a:pt x="137" y="41"/>
                  </a:cubicBezTo>
                  <a:cubicBezTo>
                    <a:pt x="137" y="40"/>
                    <a:pt x="136" y="40"/>
                    <a:pt x="136" y="39"/>
                  </a:cubicBezTo>
                  <a:cubicBezTo>
                    <a:pt x="136" y="38"/>
                    <a:pt x="136" y="37"/>
                    <a:pt x="136" y="37"/>
                  </a:cubicBezTo>
                  <a:cubicBezTo>
                    <a:pt x="136" y="36"/>
                    <a:pt x="135" y="36"/>
                    <a:pt x="135" y="35"/>
                  </a:cubicBezTo>
                  <a:cubicBezTo>
                    <a:pt x="135" y="34"/>
                    <a:pt x="135" y="33"/>
                    <a:pt x="135" y="32"/>
                  </a:cubicBezTo>
                  <a:cubicBezTo>
                    <a:pt x="135" y="31"/>
                    <a:pt x="134" y="30"/>
                    <a:pt x="134" y="30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8"/>
                    <a:pt x="133" y="28"/>
                    <a:pt x="132" y="28"/>
                  </a:cubicBezTo>
                  <a:cubicBezTo>
                    <a:pt x="131" y="28"/>
                    <a:pt x="130" y="27"/>
                    <a:pt x="129" y="27"/>
                  </a:cubicBezTo>
                  <a:cubicBezTo>
                    <a:pt x="128" y="26"/>
                    <a:pt x="127" y="25"/>
                    <a:pt x="126" y="25"/>
                  </a:cubicBezTo>
                  <a:cubicBezTo>
                    <a:pt x="124" y="24"/>
                    <a:pt x="123" y="25"/>
                    <a:pt x="122" y="25"/>
                  </a:cubicBezTo>
                  <a:cubicBezTo>
                    <a:pt x="121" y="24"/>
                    <a:pt x="120" y="24"/>
                    <a:pt x="119" y="24"/>
                  </a:cubicBezTo>
                  <a:cubicBezTo>
                    <a:pt x="118" y="23"/>
                    <a:pt x="118" y="22"/>
                    <a:pt x="118" y="21"/>
                  </a:cubicBezTo>
                  <a:cubicBezTo>
                    <a:pt x="117" y="21"/>
                    <a:pt x="117" y="20"/>
                    <a:pt x="117" y="20"/>
                  </a:cubicBezTo>
                  <a:cubicBezTo>
                    <a:pt x="116" y="20"/>
                    <a:pt x="115" y="20"/>
                    <a:pt x="115" y="2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7"/>
                    <a:pt x="115" y="17"/>
                  </a:cubicBezTo>
                  <a:cubicBezTo>
                    <a:pt x="114" y="16"/>
                    <a:pt x="114" y="16"/>
                    <a:pt x="114" y="15"/>
                  </a:cubicBezTo>
                  <a:cubicBezTo>
                    <a:pt x="113" y="14"/>
                    <a:pt x="113" y="13"/>
                    <a:pt x="113" y="12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1" y="7"/>
                    <a:pt x="110" y="6"/>
                    <a:pt x="109" y="6"/>
                  </a:cubicBezTo>
                  <a:cubicBezTo>
                    <a:pt x="106" y="4"/>
                    <a:pt x="103" y="0"/>
                    <a:pt x="99" y="2"/>
                  </a:cubicBezTo>
                  <a:cubicBezTo>
                    <a:pt x="97" y="3"/>
                    <a:pt x="96" y="3"/>
                    <a:pt x="95" y="4"/>
                  </a:cubicBezTo>
                  <a:cubicBezTo>
                    <a:pt x="93" y="5"/>
                    <a:pt x="93" y="7"/>
                    <a:pt x="92" y="8"/>
                  </a:cubicBezTo>
                  <a:cubicBezTo>
                    <a:pt x="91" y="9"/>
                    <a:pt x="90" y="9"/>
                    <a:pt x="90" y="9"/>
                  </a:cubicBezTo>
                  <a:cubicBezTo>
                    <a:pt x="88" y="10"/>
                    <a:pt x="89" y="9"/>
                    <a:pt x="88" y="9"/>
                  </a:cubicBezTo>
                  <a:cubicBezTo>
                    <a:pt x="87" y="8"/>
                    <a:pt x="86" y="8"/>
                    <a:pt x="85" y="7"/>
                  </a:cubicBezTo>
                  <a:cubicBezTo>
                    <a:pt x="84" y="7"/>
                    <a:pt x="85" y="7"/>
                    <a:pt x="84" y="6"/>
                  </a:cubicBezTo>
                  <a:cubicBezTo>
                    <a:pt x="83" y="4"/>
                    <a:pt x="82" y="3"/>
                    <a:pt x="80" y="4"/>
                  </a:cubicBezTo>
                  <a:cubicBezTo>
                    <a:pt x="78" y="5"/>
                    <a:pt x="76" y="5"/>
                    <a:pt x="75" y="6"/>
                  </a:cubicBezTo>
                  <a:cubicBezTo>
                    <a:pt x="74" y="7"/>
                    <a:pt x="74" y="8"/>
                    <a:pt x="74" y="8"/>
                  </a:cubicBezTo>
                  <a:cubicBezTo>
                    <a:pt x="73" y="10"/>
                    <a:pt x="73" y="10"/>
                    <a:pt x="71" y="11"/>
                  </a:cubicBezTo>
                  <a:cubicBezTo>
                    <a:pt x="69" y="12"/>
                    <a:pt x="65" y="12"/>
                    <a:pt x="63" y="11"/>
                  </a:cubicBezTo>
                  <a:cubicBezTo>
                    <a:pt x="64" y="8"/>
                    <a:pt x="55" y="8"/>
                    <a:pt x="53" y="9"/>
                  </a:cubicBezTo>
                  <a:cubicBezTo>
                    <a:pt x="53" y="11"/>
                    <a:pt x="49" y="12"/>
                    <a:pt x="50" y="14"/>
                  </a:cubicBezTo>
                  <a:cubicBezTo>
                    <a:pt x="48" y="15"/>
                    <a:pt x="48" y="16"/>
                    <a:pt x="47" y="18"/>
                  </a:cubicBezTo>
                  <a:cubicBezTo>
                    <a:pt x="47" y="19"/>
                    <a:pt x="46" y="21"/>
                    <a:pt x="46" y="22"/>
                  </a:cubicBezTo>
                  <a:cubicBezTo>
                    <a:pt x="45" y="23"/>
                    <a:pt x="43" y="20"/>
                    <a:pt x="42" y="20"/>
                  </a:cubicBezTo>
                  <a:cubicBezTo>
                    <a:pt x="42" y="19"/>
                    <a:pt x="41" y="18"/>
                    <a:pt x="41" y="17"/>
                  </a:cubicBezTo>
                  <a:cubicBezTo>
                    <a:pt x="40" y="16"/>
                    <a:pt x="41" y="16"/>
                    <a:pt x="39" y="15"/>
                  </a:cubicBezTo>
                  <a:cubicBezTo>
                    <a:pt x="36" y="13"/>
                    <a:pt x="32" y="16"/>
                    <a:pt x="29" y="17"/>
                  </a:cubicBezTo>
                  <a:cubicBezTo>
                    <a:pt x="27" y="18"/>
                    <a:pt x="25" y="18"/>
                    <a:pt x="23" y="20"/>
                  </a:cubicBezTo>
                  <a:cubicBezTo>
                    <a:pt x="22" y="21"/>
                    <a:pt x="21" y="23"/>
                    <a:pt x="19" y="25"/>
                  </a:cubicBezTo>
                  <a:cubicBezTo>
                    <a:pt x="19" y="26"/>
                    <a:pt x="18" y="27"/>
                    <a:pt x="18" y="28"/>
                  </a:cubicBezTo>
                  <a:cubicBezTo>
                    <a:pt x="18" y="28"/>
                    <a:pt x="18" y="29"/>
                    <a:pt x="18" y="30"/>
                  </a:cubicBezTo>
                  <a:cubicBezTo>
                    <a:pt x="18" y="31"/>
                    <a:pt x="18" y="32"/>
                    <a:pt x="18" y="33"/>
                  </a:cubicBezTo>
                  <a:cubicBezTo>
                    <a:pt x="17" y="34"/>
                    <a:pt x="16" y="34"/>
                    <a:pt x="15" y="35"/>
                  </a:cubicBezTo>
                  <a:cubicBezTo>
                    <a:pt x="14" y="36"/>
                    <a:pt x="13" y="36"/>
                    <a:pt x="12" y="37"/>
                  </a:cubicBezTo>
                  <a:cubicBezTo>
                    <a:pt x="11" y="38"/>
                    <a:pt x="10" y="39"/>
                    <a:pt x="9" y="39"/>
                  </a:cubicBezTo>
                  <a:cubicBezTo>
                    <a:pt x="9" y="39"/>
                    <a:pt x="8" y="38"/>
                    <a:pt x="8" y="38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6"/>
                    <a:pt x="5" y="48"/>
                    <a:pt x="5" y="50"/>
                  </a:cubicBezTo>
                  <a:cubicBezTo>
                    <a:pt x="5" y="51"/>
                    <a:pt x="5" y="53"/>
                    <a:pt x="5" y="54"/>
                  </a:cubicBezTo>
                  <a:cubicBezTo>
                    <a:pt x="5" y="56"/>
                    <a:pt x="5" y="57"/>
                    <a:pt x="5" y="59"/>
                  </a:cubicBezTo>
                  <a:cubicBezTo>
                    <a:pt x="5" y="59"/>
                    <a:pt x="5" y="60"/>
                    <a:pt x="5" y="60"/>
                  </a:cubicBezTo>
                  <a:cubicBezTo>
                    <a:pt x="4" y="61"/>
                    <a:pt x="3" y="61"/>
                    <a:pt x="2" y="62"/>
                  </a:cubicBezTo>
                  <a:cubicBezTo>
                    <a:pt x="0" y="62"/>
                    <a:pt x="1" y="64"/>
                    <a:pt x="0" y="65"/>
                  </a:cubicBezTo>
                  <a:cubicBezTo>
                    <a:pt x="0" y="65"/>
                    <a:pt x="0" y="66"/>
                    <a:pt x="0" y="66"/>
                  </a:cubicBezTo>
                  <a:cubicBezTo>
                    <a:pt x="0" y="67"/>
                    <a:pt x="1" y="68"/>
                    <a:pt x="1" y="69"/>
                  </a:cubicBezTo>
                  <a:cubicBezTo>
                    <a:pt x="1" y="70"/>
                    <a:pt x="2" y="70"/>
                    <a:pt x="2" y="71"/>
                  </a:cubicBezTo>
                  <a:cubicBezTo>
                    <a:pt x="3" y="72"/>
                    <a:pt x="3" y="72"/>
                    <a:pt x="3" y="73"/>
                  </a:cubicBezTo>
                  <a:cubicBezTo>
                    <a:pt x="3" y="73"/>
                    <a:pt x="4" y="74"/>
                    <a:pt x="4" y="75"/>
                  </a:cubicBezTo>
                  <a:cubicBezTo>
                    <a:pt x="4" y="76"/>
                    <a:pt x="3" y="76"/>
                    <a:pt x="2" y="77"/>
                  </a:cubicBezTo>
                  <a:cubicBezTo>
                    <a:pt x="2" y="78"/>
                    <a:pt x="2" y="78"/>
                    <a:pt x="2" y="79"/>
                  </a:cubicBezTo>
                  <a:cubicBezTo>
                    <a:pt x="1" y="80"/>
                    <a:pt x="1" y="81"/>
                    <a:pt x="1" y="81"/>
                  </a:cubicBezTo>
                  <a:cubicBezTo>
                    <a:pt x="0" y="83"/>
                    <a:pt x="1" y="84"/>
                    <a:pt x="1" y="85"/>
                  </a:cubicBezTo>
                  <a:cubicBezTo>
                    <a:pt x="2" y="87"/>
                    <a:pt x="2" y="88"/>
                    <a:pt x="3" y="90"/>
                  </a:cubicBezTo>
                  <a:cubicBezTo>
                    <a:pt x="3" y="91"/>
                    <a:pt x="3" y="92"/>
                    <a:pt x="3" y="94"/>
                  </a:cubicBezTo>
                  <a:cubicBezTo>
                    <a:pt x="3" y="94"/>
                    <a:pt x="3" y="95"/>
                    <a:pt x="3" y="96"/>
                  </a:cubicBezTo>
                  <a:cubicBezTo>
                    <a:pt x="4" y="97"/>
                    <a:pt x="5" y="96"/>
                    <a:pt x="6" y="96"/>
                  </a:cubicBezTo>
                  <a:cubicBezTo>
                    <a:pt x="8" y="96"/>
                    <a:pt x="8" y="98"/>
                    <a:pt x="9" y="99"/>
                  </a:cubicBezTo>
                  <a:cubicBezTo>
                    <a:pt x="10" y="100"/>
                    <a:pt x="11" y="101"/>
                    <a:pt x="12" y="102"/>
                  </a:cubicBezTo>
                  <a:cubicBezTo>
                    <a:pt x="12" y="105"/>
                    <a:pt x="11" y="108"/>
                    <a:pt x="12" y="111"/>
                  </a:cubicBezTo>
                  <a:cubicBezTo>
                    <a:pt x="12" y="111"/>
                    <a:pt x="12" y="112"/>
                    <a:pt x="13" y="112"/>
                  </a:cubicBezTo>
                  <a:cubicBezTo>
                    <a:pt x="13" y="112"/>
                    <a:pt x="14" y="112"/>
                    <a:pt x="15" y="112"/>
                  </a:cubicBezTo>
                  <a:cubicBezTo>
                    <a:pt x="16" y="112"/>
                    <a:pt x="16" y="114"/>
                    <a:pt x="18" y="114"/>
                  </a:cubicBezTo>
                  <a:cubicBezTo>
                    <a:pt x="19" y="115"/>
                    <a:pt x="20" y="113"/>
                    <a:pt x="21" y="113"/>
                  </a:cubicBezTo>
                  <a:cubicBezTo>
                    <a:pt x="23" y="112"/>
                    <a:pt x="25" y="114"/>
                    <a:pt x="26" y="115"/>
                  </a:cubicBezTo>
                  <a:cubicBezTo>
                    <a:pt x="27" y="116"/>
                    <a:pt x="28" y="118"/>
                    <a:pt x="28" y="120"/>
                  </a:cubicBezTo>
                  <a:cubicBezTo>
                    <a:pt x="27" y="121"/>
                    <a:pt x="27" y="121"/>
                    <a:pt x="27" y="122"/>
                  </a:cubicBezTo>
                  <a:cubicBezTo>
                    <a:pt x="27" y="122"/>
                    <a:pt x="27" y="123"/>
                    <a:pt x="27" y="123"/>
                  </a:cubicBezTo>
                  <a:cubicBezTo>
                    <a:pt x="27" y="124"/>
                    <a:pt x="26" y="124"/>
                    <a:pt x="26" y="125"/>
                  </a:cubicBezTo>
                  <a:cubicBezTo>
                    <a:pt x="25" y="125"/>
                    <a:pt x="25" y="126"/>
                    <a:pt x="25" y="126"/>
                  </a:cubicBezTo>
                  <a:cubicBezTo>
                    <a:pt x="27" y="125"/>
                    <a:pt x="29" y="123"/>
                    <a:pt x="31" y="121"/>
                  </a:cubicBezTo>
                  <a:cubicBezTo>
                    <a:pt x="32" y="120"/>
                    <a:pt x="34" y="119"/>
                    <a:pt x="36" y="119"/>
                  </a:cubicBezTo>
                  <a:cubicBezTo>
                    <a:pt x="37" y="118"/>
                    <a:pt x="39" y="117"/>
                    <a:pt x="40" y="116"/>
                  </a:cubicBezTo>
                  <a:cubicBezTo>
                    <a:pt x="42" y="116"/>
                    <a:pt x="44" y="116"/>
                    <a:pt x="45" y="116"/>
                  </a:cubicBezTo>
                  <a:cubicBezTo>
                    <a:pt x="47" y="116"/>
                    <a:pt x="48" y="116"/>
                    <a:pt x="50" y="116"/>
                  </a:cubicBezTo>
                  <a:cubicBezTo>
                    <a:pt x="52" y="116"/>
                    <a:pt x="53" y="117"/>
                    <a:pt x="55" y="117"/>
                  </a:cubicBezTo>
                  <a:cubicBezTo>
                    <a:pt x="56" y="117"/>
                    <a:pt x="57" y="117"/>
                    <a:pt x="57" y="117"/>
                  </a:cubicBezTo>
                  <a:cubicBezTo>
                    <a:pt x="58" y="116"/>
                    <a:pt x="57" y="116"/>
                    <a:pt x="58" y="115"/>
                  </a:cubicBezTo>
                  <a:cubicBezTo>
                    <a:pt x="58" y="115"/>
                    <a:pt x="59" y="115"/>
                    <a:pt x="59" y="115"/>
                  </a:cubicBezTo>
                  <a:cubicBezTo>
                    <a:pt x="60" y="115"/>
                    <a:pt x="61" y="116"/>
                    <a:pt x="62" y="115"/>
                  </a:cubicBezTo>
                  <a:cubicBezTo>
                    <a:pt x="63" y="115"/>
                    <a:pt x="65" y="115"/>
                    <a:pt x="66" y="115"/>
                  </a:cubicBezTo>
                  <a:cubicBezTo>
                    <a:pt x="67" y="115"/>
                    <a:pt x="69" y="114"/>
                    <a:pt x="70" y="113"/>
                  </a:cubicBezTo>
                  <a:cubicBezTo>
                    <a:pt x="71" y="113"/>
                    <a:pt x="72" y="111"/>
                    <a:pt x="73" y="111"/>
                  </a:cubicBezTo>
                  <a:cubicBezTo>
                    <a:pt x="73" y="110"/>
                    <a:pt x="73" y="109"/>
                    <a:pt x="74" y="108"/>
                  </a:cubicBezTo>
                  <a:cubicBezTo>
                    <a:pt x="75" y="106"/>
                    <a:pt x="78" y="105"/>
                    <a:pt x="79" y="103"/>
                  </a:cubicBezTo>
                  <a:cubicBezTo>
                    <a:pt x="80" y="102"/>
                    <a:pt x="81" y="101"/>
                    <a:pt x="82" y="100"/>
                  </a:cubicBezTo>
                  <a:cubicBezTo>
                    <a:pt x="83" y="98"/>
                    <a:pt x="85" y="96"/>
                    <a:pt x="87" y="96"/>
                  </a:cubicBezTo>
                  <a:cubicBezTo>
                    <a:pt x="87" y="96"/>
                    <a:pt x="88" y="96"/>
                    <a:pt x="89" y="97"/>
                  </a:cubicBezTo>
                  <a:cubicBezTo>
                    <a:pt x="90" y="97"/>
                    <a:pt x="92" y="98"/>
                    <a:pt x="93" y="98"/>
                  </a:cubicBezTo>
                  <a:cubicBezTo>
                    <a:pt x="94" y="98"/>
                    <a:pt x="95" y="97"/>
                    <a:pt x="95" y="97"/>
                  </a:cubicBezTo>
                  <a:cubicBezTo>
                    <a:pt x="96" y="96"/>
                    <a:pt x="97" y="96"/>
                    <a:pt x="98" y="96"/>
                  </a:cubicBezTo>
                  <a:cubicBezTo>
                    <a:pt x="99" y="97"/>
                    <a:pt x="101" y="97"/>
                    <a:pt x="102" y="98"/>
                  </a:cubicBezTo>
                  <a:cubicBezTo>
                    <a:pt x="103" y="98"/>
                    <a:pt x="103" y="98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7" y="98"/>
                    <a:pt x="109" y="98"/>
                    <a:pt x="111" y="98"/>
                  </a:cubicBezTo>
                  <a:cubicBezTo>
                    <a:pt x="112" y="98"/>
                    <a:pt x="113" y="99"/>
                    <a:pt x="115" y="99"/>
                  </a:cubicBezTo>
                  <a:cubicBezTo>
                    <a:pt x="116" y="99"/>
                    <a:pt x="117" y="99"/>
                    <a:pt x="118" y="99"/>
                  </a:cubicBezTo>
                  <a:cubicBezTo>
                    <a:pt x="118" y="98"/>
                    <a:pt x="121" y="96"/>
                    <a:pt x="122" y="96"/>
                  </a:cubicBezTo>
                  <a:cubicBezTo>
                    <a:pt x="123" y="97"/>
                    <a:pt x="123" y="99"/>
                    <a:pt x="124" y="99"/>
                  </a:cubicBezTo>
                  <a:cubicBezTo>
                    <a:pt x="125" y="98"/>
                    <a:pt x="125" y="97"/>
                    <a:pt x="125" y="96"/>
                  </a:cubicBezTo>
                  <a:cubicBezTo>
                    <a:pt x="125" y="94"/>
                    <a:pt x="125" y="93"/>
                    <a:pt x="126" y="91"/>
                  </a:cubicBezTo>
                  <a:cubicBezTo>
                    <a:pt x="126" y="90"/>
                    <a:pt x="126" y="90"/>
                    <a:pt x="126" y="89"/>
                  </a:cubicBezTo>
                  <a:cubicBezTo>
                    <a:pt x="126" y="89"/>
                    <a:pt x="126" y="89"/>
                    <a:pt x="127" y="88"/>
                  </a:cubicBezTo>
                  <a:cubicBezTo>
                    <a:pt x="127" y="88"/>
                    <a:pt x="126" y="86"/>
                    <a:pt x="127" y="86"/>
                  </a:cubicBezTo>
                  <a:cubicBezTo>
                    <a:pt x="127" y="84"/>
                    <a:pt x="129" y="85"/>
                    <a:pt x="130" y="85"/>
                  </a:cubicBezTo>
                  <a:cubicBezTo>
                    <a:pt x="131" y="85"/>
                    <a:pt x="132" y="83"/>
                    <a:pt x="133" y="83"/>
                  </a:cubicBezTo>
                  <a:cubicBezTo>
                    <a:pt x="134" y="82"/>
                    <a:pt x="134" y="82"/>
                    <a:pt x="135" y="81"/>
                  </a:cubicBezTo>
                  <a:cubicBezTo>
                    <a:pt x="136" y="81"/>
                    <a:pt x="137" y="81"/>
                    <a:pt x="137" y="80"/>
                  </a:cubicBezTo>
                  <a:cubicBezTo>
                    <a:pt x="138" y="80"/>
                    <a:pt x="138" y="79"/>
                    <a:pt x="138" y="78"/>
                  </a:cubicBezTo>
                  <a:cubicBezTo>
                    <a:pt x="138" y="74"/>
                    <a:pt x="139" y="71"/>
                    <a:pt x="139" y="67"/>
                  </a:cubicBezTo>
                  <a:cubicBezTo>
                    <a:pt x="139" y="66"/>
                    <a:pt x="139" y="65"/>
                    <a:pt x="139" y="65"/>
                  </a:cubicBezTo>
                  <a:cubicBezTo>
                    <a:pt x="138" y="63"/>
                    <a:pt x="137" y="61"/>
                    <a:pt x="137" y="60"/>
                  </a:cubicBezTo>
                  <a:cubicBezTo>
                    <a:pt x="137" y="58"/>
                    <a:pt x="139" y="57"/>
                    <a:pt x="140" y="56"/>
                  </a:cubicBezTo>
                  <a:cubicBezTo>
                    <a:pt x="141" y="55"/>
                    <a:pt x="142" y="55"/>
                    <a:pt x="142" y="54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3"/>
                    <a:pt x="143" y="53"/>
                    <a:pt x="143" y="5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2" name="Freeform 33">
              <a:extLst>
                <a:ext uri="{FF2B5EF4-FFF2-40B4-BE49-F238E27FC236}">
                  <a16:creationId xmlns:a16="http://schemas.microsoft.com/office/drawing/2014/main" id="{29A71DE3-2D88-42AA-B3A1-D5AB6C0CCE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5313" y="5438775"/>
              <a:ext cx="666750" cy="452438"/>
            </a:xfrm>
            <a:custGeom>
              <a:avLst/>
              <a:gdLst/>
              <a:ahLst/>
              <a:cxnLst>
                <a:cxn ang="0">
                  <a:pos x="357" y="62"/>
                </a:cxn>
                <a:cxn ang="0">
                  <a:pos x="346" y="45"/>
                </a:cxn>
                <a:cxn ang="0">
                  <a:pos x="318" y="38"/>
                </a:cxn>
                <a:cxn ang="0">
                  <a:pos x="312" y="26"/>
                </a:cxn>
                <a:cxn ang="0">
                  <a:pos x="298" y="24"/>
                </a:cxn>
                <a:cxn ang="0">
                  <a:pos x="287" y="21"/>
                </a:cxn>
                <a:cxn ang="0">
                  <a:pos x="272" y="13"/>
                </a:cxn>
                <a:cxn ang="0">
                  <a:pos x="241" y="16"/>
                </a:cxn>
                <a:cxn ang="0">
                  <a:pos x="206" y="25"/>
                </a:cxn>
                <a:cxn ang="0">
                  <a:pos x="190" y="41"/>
                </a:cxn>
                <a:cxn ang="0">
                  <a:pos x="173" y="50"/>
                </a:cxn>
                <a:cxn ang="0">
                  <a:pos x="147" y="44"/>
                </a:cxn>
                <a:cxn ang="0">
                  <a:pos x="111" y="44"/>
                </a:cxn>
                <a:cxn ang="0">
                  <a:pos x="79" y="36"/>
                </a:cxn>
                <a:cxn ang="0">
                  <a:pos x="38" y="33"/>
                </a:cxn>
                <a:cxn ang="0">
                  <a:pos x="31" y="15"/>
                </a:cxn>
                <a:cxn ang="0">
                  <a:pos x="16" y="9"/>
                </a:cxn>
                <a:cxn ang="0">
                  <a:pos x="5" y="21"/>
                </a:cxn>
                <a:cxn ang="0">
                  <a:pos x="4" y="44"/>
                </a:cxn>
                <a:cxn ang="0">
                  <a:pos x="7" y="52"/>
                </a:cxn>
                <a:cxn ang="0">
                  <a:pos x="8" y="62"/>
                </a:cxn>
                <a:cxn ang="0">
                  <a:pos x="22" y="72"/>
                </a:cxn>
                <a:cxn ang="0">
                  <a:pos x="31" y="84"/>
                </a:cxn>
                <a:cxn ang="0">
                  <a:pos x="16" y="105"/>
                </a:cxn>
                <a:cxn ang="0">
                  <a:pos x="1" y="108"/>
                </a:cxn>
                <a:cxn ang="0">
                  <a:pos x="1" y="131"/>
                </a:cxn>
                <a:cxn ang="0">
                  <a:pos x="9" y="147"/>
                </a:cxn>
                <a:cxn ang="0">
                  <a:pos x="4" y="163"/>
                </a:cxn>
                <a:cxn ang="0">
                  <a:pos x="7" y="167"/>
                </a:cxn>
                <a:cxn ang="0">
                  <a:pos x="21" y="174"/>
                </a:cxn>
                <a:cxn ang="0">
                  <a:pos x="25" y="183"/>
                </a:cxn>
                <a:cxn ang="0">
                  <a:pos x="28" y="195"/>
                </a:cxn>
                <a:cxn ang="0">
                  <a:pos x="26" y="206"/>
                </a:cxn>
                <a:cxn ang="0">
                  <a:pos x="27" y="226"/>
                </a:cxn>
                <a:cxn ang="0">
                  <a:pos x="49" y="230"/>
                </a:cxn>
                <a:cxn ang="0">
                  <a:pos x="76" y="226"/>
                </a:cxn>
                <a:cxn ang="0">
                  <a:pos x="91" y="216"/>
                </a:cxn>
                <a:cxn ang="0">
                  <a:pos x="105" y="216"/>
                </a:cxn>
                <a:cxn ang="0">
                  <a:pos x="116" y="223"/>
                </a:cxn>
                <a:cxn ang="0">
                  <a:pos x="129" y="235"/>
                </a:cxn>
                <a:cxn ang="0">
                  <a:pos x="146" y="237"/>
                </a:cxn>
                <a:cxn ang="0">
                  <a:pos x="162" y="242"/>
                </a:cxn>
                <a:cxn ang="0">
                  <a:pos x="189" y="238"/>
                </a:cxn>
                <a:cxn ang="0">
                  <a:pos x="206" y="227"/>
                </a:cxn>
                <a:cxn ang="0">
                  <a:pos x="209" y="205"/>
                </a:cxn>
                <a:cxn ang="0">
                  <a:pos x="230" y="198"/>
                </a:cxn>
                <a:cxn ang="0">
                  <a:pos x="238" y="189"/>
                </a:cxn>
                <a:cxn ang="0">
                  <a:pos x="266" y="179"/>
                </a:cxn>
                <a:cxn ang="0">
                  <a:pos x="286" y="191"/>
                </a:cxn>
                <a:cxn ang="0">
                  <a:pos x="310" y="189"/>
                </a:cxn>
                <a:cxn ang="0">
                  <a:pos x="302" y="169"/>
                </a:cxn>
                <a:cxn ang="0">
                  <a:pos x="301" y="156"/>
                </a:cxn>
                <a:cxn ang="0">
                  <a:pos x="284" y="148"/>
                </a:cxn>
                <a:cxn ang="0">
                  <a:pos x="292" y="140"/>
                </a:cxn>
                <a:cxn ang="0">
                  <a:pos x="299" y="132"/>
                </a:cxn>
                <a:cxn ang="0">
                  <a:pos x="313" y="121"/>
                </a:cxn>
                <a:cxn ang="0">
                  <a:pos x="310" y="108"/>
                </a:cxn>
                <a:cxn ang="0">
                  <a:pos x="314" y="90"/>
                </a:cxn>
                <a:cxn ang="0">
                  <a:pos x="320" y="76"/>
                </a:cxn>
                <a:cxn ang="0">
                  <a:pos x="339" y="74"/>
                </a:cxn>
                <a:cxn ang="0">
                  <a:pos x="356" y="69"/>
                </a:cxn>
              </a:cxnLst>
              <a:rect l="0" t="0" r="r" b="b"/>
              <a:pathLst>
                <a:path w="357" h="242">
                  <a:moveTo>
                    <a:pt x="345" y="45"/>
                  </a:moveTo>
                  <a:cubicBezTo>
                    <a:pt x="345" y="45"/>
                    <a:pt x="346" y="45"/>
                    <a:pt x="346" y="45"/>
                  </a:cubicBezTo>
                  <a:cubicBezTo>
                    <a:pt x="346" y="45"/>
                    <a:pt x="347" y="45"/>
                    <a:pt x="347" y="45"/>
                  </a:cubicBezTo>
                  <a:lnTo>
                    <a:pt x="345" y="45"/>
                  </a:lnTo>
                  <a:close/>
                  <a:moveTo>
                    <a:pt x="357" y="62"/>
                  </a:moveTo>
                  <a:cubicBezTo>
                    <a:pt x="357" y="62"/>
                    <a:pt x="357" y="61"/>
                    <a:pt x="356" y="60"/>
                  </a:cubicBezTo>
                  <a:cubicBezTo>
                    <a:pt x="356" y="59"/>
                    <a:pt x="354" y="59"/>
                    <a:pt x="354" y="58"/>
                  </a:cubicBezTo>
                  <a:cubicBezTo>
                    <a:pt x="353" y="57"/>
                    <a:pt x="353" y="54"/>
                    <a:pt x="352" y="53"/>
                  </a:cubicBezTo>
                  <a:cubicBezTo>
                    <a:pt x="351" y="51"/>
                    <a:pt x="350" y="50"/>
                    <a:pt x="350" y="48"/>
                  </a:cubicBezTo>
                  <a:cubicBezTo>
                    <a:pt x="349" y="48"/>
                    <a:pt x="347" y="46"/>
                    <a:pt x="346" y="45"/>
                  </a:cubicBezTo>
                  <a:cubicBezTo>
                    <a:pt x="343" y="45"/>
                    <a:pt x="339" y="45"/>
                    <a:pt x="336" y="45"/>
                  </a:cubicBezTo>
                  <a:cubicBezTo>
                    <a:pt x="333" y="44"/>
                    <a:pt x="331" y="43"/>
                    <a:pt x="329" y="43"/>
                  </a:cubicBezTo>
                  <a:cubicBezTo>
                    <a:pt x="326" y="42"/>
                    <a:pt x="323" y="42"/>
                    <a:pt x="321" y="41"/>
                  </a:cubicBezTo>
                  <a:cubicBezTo>
                    <a:pt x="320" y="41"/>
                    <a:pt x="319" y="40"/>
                    <a:pt x="319" y="39"/>
                  </a:cubicBezTo>
                  <a:cubicBezTo>
                    <a:pt x="318" y="39"/>
                    <a:pt x="319" y="38"/>
                    <a:pt x="318" y="38"/>
                  </a:cubicBezTo>
                  <a:cubicBezTo>
                    <a:pt x="318" y="36"/>
                    <a:pt x="317" y="36"/>
                    <a:pt x="316" y="35"/>
                  </a:cubicBezTo>
                  <a:cubicBezTo>
                    <a:pt x="316" y="35"/>
                    <a:pt x="316" y="34"/>
                    <a:pt x="316" y="34"/>
                  </a:cubicBezTo>
                  <a:cubicBezTo>
                    <a:pt x="315" y="34"/>
                    <a:pt x="315" y="34"/>
                    <a:pt x="314" y="33"/>
                  </a:cubicBezTo>
                  <a:cubicBezTo>
                    <a:pt x="313" y="32"/>
                    <a:pt x="314" y="31"/>
                    <a:pt x="313" y="30"/>
                  </a:cubicBezTo>
                  <a:cubicBezTo>
                    <a:pt x="313" y="28"/>
                    <a:pt x="313" y="28"/>
                    <a:pt x="312" y="26"/>
                  </a:cubicBezTo>
                  <a:cubicBezTo>
                    <a:pt x="311" y="26"/>
                    <a:pt x="311" y="25"/>
                    <a:pt x="311" y="25"/>
                  </a:cubicBezTo>
                  <a:cubicBezTo>
                    <a:pt x="311" y="24"/>
                    <a:pt x="311" y="24"/>
                    <a:pt x="311" y="23"/>
                  </a:cubicBezTo>
                  <a:cubicBezTo>
                    <a:pt x="310" y="21"/>
                    <a:pt x="305" y="25"/>
                    <a:pt x="304" y="26"/>
                  </a:cubicBezTo>
                  <a:cubicBezTo>
                    <a:pt x="303" y="26"/>
                    <a:pt x="301" y="26"/>
                    <a:pt x="300" y="26"/>
                  </a:cubicBezTo>
                  <a:cubicBezTo>
                    <a:pt x="300" y="26"/>
                    <a:pt x="299" y="24"/>
                    <a:pt x="298" y="24"/>
                  </a:cubicBezTo>
                  <a:cubicBezTo>
                    <a:pt x="298" y="23"/>
                    <a:pt x="297" y="23"/>
                    <a:pt x="297" y="22"/>
                  </a:cubicBezTo>
                  <a:cubicBezTo>
                    <a:pt x="296" y="20"/>
                    <a:pt x="297" y="20"/>
                    <a:pt x="294" y="20"/>
                  </a:cubicBezTo>
                  <a:cubicBezTo>
                    <a:pt x="293" y="20"/>
                    <a:pt x="292" y="20"/>
                    <a:pt x="291" y="20"/>
                  </a:cubicBezTo>
                  <a:cubicBezTo>
                    <a:pt x="291" y="20"/>
                    <a:pt x="289" y="21"/>
                    <a:pt x="289" y="21"/>
                  </a:cubicBezTo>
                  <a:cubicBezTo>
                    <a:pt x="288" y="21"/>
                    <a:pt x="288" y="21"/>
                    <a:pt x="287" y="21"/>
                  </a:cubicBezTo>
                  <a:cubicBezTo>
                    <a:pt x="286" y="20"/>
                    <a:pt x="284" y="19"/>
                    <a:pt x="283" y="19"/>
                  </a:cubicBezTo>
                  <a:cubicBezTo>
                    <a:pt x="282" y="19"/>
                    <a:pt x="280" y="19"/>
                    <a:pt x="280" y="19"/>
                  </a:cubicBezTo>
                  <a:cubicBezTo>
                    <a:pt x="279" y="19"/>
                    <a:pt x="278" y="18"/>
                    <a:pt x="277" y="18"/>
                  </a:cubicBezTo>
                  <a:cubicBezTo>
                    <a:pt x="276" y="17"/>
                    <a:pt x="275" y="17"/>
                    <a:pt x="274" y="16"/>
                  </a:cubicBezTo>
                  <a:cubicBezTo>
                    <a:pt x="273" y="15"/>
                    <a:pt x="273" y="14"/>
                    <a:pt x="272" y="13"/>
                  </a:cubicBezTo>
                  <a:cubicBezTo>
                    <a:pt x="270" y="12"/>
                    <a:pt x="268" y="11"/>
                    <a:pt x="267" y="11"/>
                  </a:cubicBezTo>
                  <a:cubicBezTo>
                    <a:pt x="266" y="10"/>
                    <a:pt x="264" y="9"/>
                    <a:pt x="263" y="9"/>
                  </a:cubicBezTo>
                  <a:cubicBezTo>
                    <a:pt x="260" y="8"/>
                    <a:pt x="258" y="10"/>
                    <a:pt x="256" y="11"/>
                  </a:cubicBezTo>
                  <a:cubicBezTo>
                    <a:pt x="253" y="13"/>
                    <a:pt x="251" y="14"/>
                    <a:pt x="248" y="15"/>
                  </a:cubicBezTo>
                  <a:cubicBezTo>
                    <a:pt x="246" y="16"/>
                    <a:pt x="244" y="16"/>
                    <a:pt x="241" y="16"/>
                  </a:cubicBezTo>
                  <a:cubicBezTo>
                    <a:pt x="239" y="16"/>
                    <a:pt x="236" y="16"/>
                    <a:pt x="234" y="16"/>
                  </a:cubicBezTo>
                  <a:cubicBezTo>
                    <a:pt x="231" y="16"/>
                    <a:pt x="228" y="18"/>
                    <a:pt x="225" y="19"/>
                  </a:cubicBezTo>
                  <a:cubicBezTo>
                    <a:pt x="224" y="20"/>
                    <a:pt x="223" y="20"/>
                    <a:pt x="221" y="21"/>
                  </a:cubicBezTo>
                  <a:cubicBezTo>
                    <a:pt x="218" y="21"/>
                    <a:pt x="216" y="21"/>
                    <a:pt x="214" y="22"/>
                  </a:cubicBezTo>
                  <a:cubicBezTo>
                    <a:pt x="211" y="23"/>
                    <a:pt x="208" y="23"/>
                    <a:pt x="206" y="25"/>
                  </a:cubicBezTo>
                  <a:cubicBezTo>
                    <a:pt x="205" y="25"/>
                    <a:pt x="204" y="26"/>
                    <a:pt x="203" y="27"/>
                  </a:cubicBezTo>
                  <a:cubicBezTo>
                    <a:pt x="201" y="28"/>
                    <a:pt x="199" y="29"/>
                    <a:pt x="198" y="30"/>
                  </a:cubicBezTo>
                  <a:cubicBezTo>
                    <a:pt x="198" y="31"/>
                    <a:pt x="198" y="32"/>
                    <a:pt x="198" y="33"/>
                  </a:cubicBezTo>
                  <a:cubicBezTo>
                    <a:pt x="198" y="35"/>
                    <a:pt x="197" y="36"/>
                    <a:pt x="195" y="37"/>
                  </a:cubicBezTo>
                  <a:cubicBezTo>
                    <a:pt x="194" y="38"/>
                    <a:pt x="191" y="39"/>
                    <a:pt x="190" y="41"/>
                  </a:cubicBezTo>
                  <a:cubicBezTo>
                    <a:pt x="190" y="42"/>
                    <a:pt x="191" y="43"/>
                    <a:pt x="190" y="44"/>
                  </a:cubicBezTo>
                  <a:cubicBezTo>
                    <a:pt x="189" y="46"/>
                    <a:pt x="187" y="45"/>
                    <a:pt x="185" y="45"/>
                  </a:cubicBezTo>
                  <a:cubicBezTo>
                    <a:pt x="183" y="45"/>
                    <a:pt x="182" y="45"/>
                    <a:pt x="180" y="47"/>
                  </a:cubicBezTo>
                  <a:cubicBezTo>
                    <a:pt x="179" y="48"/>
                    <a:pt x="178" y="48"/>
                    <a:pt x="176" y="49"/>
                  </a:cubicBezTo>
                  <a:cubicBezTo>
                    <a:pt x="175" y="50"/>
                    <a:pt x="175" y="50"/>
                    <a:pt x="173" y="50"/>
                  </a:cubicBezTo>
                  <a:cubicBezTo>
                    <a:pt x="171" y="50"/>
                    <a:pt x="168" y="48"/>
                    <a:pt x="165" y="48"/>
                  </a:cubicBezTo>
                  <a:cubicBezTo>
                    <a:pt x="165" y="48"/>
                    <a:pt x="165" y="48"/>
                    <a:pt x="164" y="48"/>
                  </a:cubicBezTo>
                  <a:cubicBezTo>
                    <a:pt x="163" y="48"/>
                    <a:pt x="162" y="47"/>
                    <a:pt x="161" y="47"/>
                  </a:cubicBezTo>
                  <a:cubicBezTo>
                    <a:pt x="159" y="46"/>
                    <a:pt x="156" y="45"/>
                    <a:pt x="153" y="44"/>
                  </a:cubicBezTo>
                  <a:cubicBezTo>
                    <a:pt x="151" y="44"/>
                    <a:pt x="149" y="44"/>
                    <a:pt x="147" y="44"/>
                  </a:cubicBezTo>
                  <a:cubicBezTo>
                    <a:pt x="145" y="44"/>
                    <a:pt x="143" y="41"/>
                    <a:pt x="141" y="40"/>
                  </a:cubicBezTo>
                  <a:cubicBezTo>
                    <a:pt x="138" y="39"/>
                    <a:pt x="138" y="40"/>
                    <a:pt x="136" y="41"/>
                  </a:cubicBezTo>
                  <a:cubicBezTo>
                    <a:pt x="134" y="42"/>
                    <a:pt x="132" y="42"/>
                    <a:pt x="130" y="42"/>
                  </a:cubicBezTo>
                  <a:cubicBezTo>
                    <a:pt x="126" y="41"/>
                    <a:pt x="122" y="40"/>
                    <a:pt x="118" y="41"/>
                  </a:cubicBezTo>
                  <a:cubicBezTo>
                    <a:pt x="115" y="41"/>
                    <a:pt x="113" y="43"/>
                    <a:pt x="111" y="44"/>
                  </a:cubicBezTo>
                  <a:cubicBezTo>
                    <a:pt x="109" y="45"/>
                    <a:pt x="105" y="45"/>
                    <a:pt x="103" y="45"/>
                  </a:cubicBezTo>
                  <a:cubicBezTo>
                    <a:pt x="99" y="44"/>
                    <a:pt x="97" y="40"/>
                    <a:pt x="93" y="40"/>
                  </a:cubicBezTo>
                  <a:cubicBezTo>
                    <a:pt x="92" y="40"/>
                    <a:pt x="92" y="41"/>
                    <a:pt x="91" y="41"/>
                  </a:cubicBezTo>
                  <a:cubicBezTo>
                    <a:pt x="90" y="41"/>
                    <a:pt x="88" y="40"/>
                    <a:pt x="87" y="39"/>
                  </a:cubicBezTo>
                  <a:cubicBezTo>
                    <a:pt x="84" y="38"/>
                    <a:pt x="82" y="37"/>
                    <a:pt x="79" y="36"/>
                  </a:cubicBezTo>
                  <a:cubicBezTo>
                    <a:pt x="78" y="35"/>
                    <a:pt x="76" y="35"/>
                    <a:pt x="75" y="35"/>
                  </a:cubicBezTo>
                  <a:cubicBezTo>
                    <a:pt x="73" y="34"/>
                    <a:pt x="72" y="33"/>
                    <a:pt x="70" y="33"/>
                  </a:cubicBezTo>
                  <a:cubicBezTo>
                    <a:pt x="67" y="31"/>
                    <a:pt x="64" y="31"/>
                    <a:pt x="61" y="31"/>
                  </a:cubicBezTo>
                  <a:cubicBezTo>
                    <a:pt x="56" y="31"/>
                    <a:pt x="52" y="30"/>
                    <a:pt x="47" y="30"/>
                  </a:cubicBezTo>
                  <a:cubicBezTo>
                    <a:pt x="43" y="30"/>
                    <a:pt x="41" y="34"/>
                    <a:pt x="38" y="33"/>
                  </a:cubicBezTo>
                  <a:cubicBezTo>
                    <a:pt x="36" y="33"/>
                    <a:pt x="35" y="32"/>
                    <a:pt x="33" y="32"/>
                  </a:cubicBezTo>
                  <a:cubicBezTo>
                    <a:pt x="31" y="32"/>
                    <a:pt x="30" y="32"/>
                    <a:pt x="28" y="31"/>
                  </a:cubicBezTo>
                  <a:cubicBezTo>
                    <a:pt x="26" y="29"/>
                    <a:pt x="26" y="24"/>
                    <a:pt x="26" y="22"/>
                  </a:cubicBezTo>
                  <a:cubicBezTo>
                    <a:pt x="26" y="21"/>
                    <a:pt x="26" y="18"/>
                    <a:pt x="27" y="18"/>
                  </a:cubicBezTo>
                  <a:cubicBezTo>
                    <a:pt x="28" y="17"/>
                    <a:pt x="30" y="16"/>
                    <a:pt x="31" y="15"/>
                  </a:cubicBezTo>
                  <a:cubicBezTo>
                    <a:pt x="33" y="14"/>
                    <a:pt x="36" y="13"/>
                    <a:pt x="35" y="10"/>
                  </a:cubicBezTo>
                  <a:cubicBezTo>
                    <a:pt x="34" y="7"/>
                    <a:pt x="29" y="6"/>
                    <a:pt x="26" y="4"/>
                  </a:cubicBezTo>
                  <a:cubicBezTo>
                    <a:pt x="25" y="3"/>
                    <a:pt x="24" y="2"/>
                    <a:pt x="22" y="1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6" y="3"/>
                    <a:pt x="16" y="6"/>
                    <a:pt x="16" y="9"/>
                  </a:cubicBezTo>
                  <a:cubicBezTo>
                    <a:pt x="16" y="10"/>
                    <a:pt x="16" y="11"/>
                    <a:pt x="15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2"/>
                    <a:pt x="10" y="12"/>
                    <a:pt x="10" y="13"/>
                  </a:cubicBezTo>
                  <a:cubicBezTo>
                    <a:pt x="8" y="14"/>
                    <a:pt x="8" y="17"/>
                    <a:pt x="6" y="19"/>
                  </a:cubicBezTo>
                  <a:cubicBezTo>
                    <a:pt x="6" y="20"/>
                    <a:pt x="5" y="20"/>
                    <a:pt x="5" y="21"/>
                  </a:cubicBezTo>
                  <a:cubicBezTo>
                    <a:pt x="5" y="22"/>
                    <a:pt x="5" y="22"/>
                    <a:pt x="5" y="23"/>
                  </a:cubicBezTo>
                  <a:cubicBezTo>
                    <a:pt x="4" y="25"/>
                    <a:pt x="3" y="25"/>
                    <a:pt x="2" y="26"/>
                  </a:cubicBezTo>
                  <a:cubicBezTo>
                    <a:pt x="2" y="27"/>
                    <a:pt x="1" y="28"/>
                    <a:pt x="1" y="30"/>
                  </a:cubicBezTo>
                  <a:cubicBezTo>
                    <a:pt x="1" y="32"/>
                    <a:pt x="1" y="37"/>
                    <a:pt x="1" y="39"/>
                  </a:cubicBezTo>
                  <a:cubicBezTo>
                    <a:pt x="2" y="41"/>
                    <a:pt x="3" y="43"/>
                    <a:pt x="4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5" y="45"/>
                    <a:pt x="5" y="45"/>
                    <a:pt x="5" y="46"/>
                  </a:cubicBezTo>
                  <a:cubicBezTo>
                    <a:pt x="6" y="46"/>
                    <a:pt x="5" y="48"/>
                    <a:pt x="6" y="49"/>
                  </a:cubicBezTo>
                  <a:cubicBezTo>
                    <a:pt x="6" y="50"/>
                    <a:pt x="6" y="49"/>
                    <a:pt x="7" y="50"/>
                  </a:cubicBezTo>
                  <a:cubicBezTo>
                    <a:pt x="7" y="50"/>
                    <a:pt x="7" y="51"/>
                    <a:pt x="7" y="52"/>
                  </a:cubicBezTo>
                  <a:cubicBezTo>
                    <a:pt x="7" y="53"/>
                    <a:pt x="8" y="54"/>
                    <a:pt x="8" y="54"/>
                  </a:cubicBezTo>
                  <a:cubicBezTo>
                    <a:pt x="8" y="55"/>
                    <a:pt x="9" y="56"/>
                    <a:pt x="9" y="56"/>
                  </a:cubicBezTo>
                  <a:cubicBezTo>
                    <a:pt x="10" y="57"/>
                    <a:pt x="10" y="57"/>
                    <a:pt x="11" y="58"/>
                  </a:cubicBezTo>
                  <a:cubicBezTo>
                    <a:pt x="12" y="60"/>
                    <a:pt x="13" y="61"/>
                    <a:pt x="14" y="63"/>
                  </a:cubicBezTo>
                  <a:cubicBezTo>
                    <a:pt x="12" y="64"/>
                    <a:pt x="10" y="62"/>
                    <a:pt x="8" y="62"/>
                  </a:cubicBezTo>
                  <a:cubicBezTo>
                    <a:pt x="7" y="62"/>
                    <a:pt x="7" y="65"/>
                    <a:pt x="8" y="66"/>
                  </a:cubicBezTo>
                  <a:cubicBezTo>
                    <a:pt x="9" y="66"/>
                    <a:pt x="11" y="66"/>
                    <a:pt x="12" y="66"/>
                  </a:cubicBezTo>
                  <a:cubicBezTo>
                    <a:pt x="14" y="67"/>
                    <a:pt x="16" y="66"/>
                    <a:pt x="17" y="67"/>
                  </a:cubicBezTo>
                  <a:cubicBezTo>
                    <a:pt x="19" y="67"/>
                    <a:pt x="19" y="68"/>
                    <a:pt x="20" y="69"/>
                  </a:cubicBezTo>
                  <a:cubicBezTo>
                    <a:pt x="21" y="70"/>
                    <a:pt x="21" y="71"/>
                    <a:pt x="22" y="72"/>
                  </a:cubicBezTo>
                  <a:cubicBezTo>
                    <a:pt x="23" y="73"/>
                    <a:pt x="24" y="73"/>
                    <a:pt x="24" y="74"/>
                  </a:cubicBezTo>
                  <a:cubicBezTo>
                    <a:pt x="24" y="76"/>
                    <a:pt x="26" y="78"/>
                    <a:pt x="27" y="79"/>
                  </a:cubicBezTo>
                  <a:cubicBezTo>
                    <a:pt x="28" y="80"/>
                    <a:pt x="29" y="81"/>
                    <a:pt x="29" y="82"/>
                  </a:cubicBezTo>
                  <a:cubicBezTo>
                    <a:pt x="29" y="82"/>
                    <a:pt x="30" y="83"/>
                    <a:pt x="30" y="83"/>
                  </a:cubicBezTo>
                  <a:cubicBezTo>
                    <a:pt x="30" y="84"/>
                    <a:pt x="31" y="84"/>
                    <a:pt x="31" y="84"/>
                  </a:cubicBezTo>
                  <a:cubicBezTo>
                    <a:pt x="32" y="87"/>
                    <a:pt x="29" y="89"/>
                    <a:pt x="28" y="90"/>
                  </a:cubicBezTo>
                  <a:cubicBezTo>
                    <a:pt x="27" y="92"/>
                    <a:pt x="24" y="92"/>
                    <a:pt x="22" y="94"/>
                  </a:cubicBezTo>
                  <a:cubicBezTo>
                    <a:pt x="20" y="96"/>
                    <a:pt x="20" y="98"/>
                    <a:pt x="19" y="100"/>
                  </a:cubicBezTo>
                  <a:cubicBezTo>
                    <a:pt x="19" y="101"/>
                    <a:pt x="19" y="103"/>
                    <a:pt x="19" y="103"/>
                  </a:cubicBezTo>
                  <a:cubicBezTo>
                    <a:pt x="18" y="104"/>
                    <a:pt x="16" y="105"/>
                    <a:pt x="16" y="105"/>
                  </a:cubicBezTo>
                  <a:cubicBezTo>
                    <a:pt x="15" y="106"/>
                    <a:pt x="15" y="105"/>
                    <a:pt x="14" y="106"/>
                  </a:cubicBezTo>
                  <a:cubicBezTo>
                    <a:pt x="13" y="106"/>
                    <a:pt x="13" y="106"/>
                    <a:pt x="12" y="107"/>
                  </a:cubicBezTo>
                  <a:cubicBezTo>
                    <a:pt x="11" y="107"/>
                    <a:pt x="11" y="106"/>
                    <a:pt x="10" y="106"/>
                  </a:cubicBezTo>
                  <a:cubicBezTo>
                    <a:pt x="9" y="106"/>
                    <a:pt x="8" y="106"/>
                    <a:pt x="7" y="106"/>
                  </a:cubicBezTo>
                  <a:cubicBezTo>
                    <a:pt x="6" y="106"/>
                    <a:pt x="2" y="107"/>
                    <a:pt x="1" y="108"/>
                  </a:cubicBezTo>
                  <a:cubicBezTo>
                    <a:pt x="1" y="109"/>
                    <a:pt x="1" y="111"/>
                    <a:pt x="1" y="112"/>
                  </a:cubicBezTo>
                  <a:cubicBezTo>
                    <a:pt x="1" y="113"/>
                    <a:pt x="2" y="114"/>
                    <a:pt x="2" y="115"/>
                  </a:cubicBezTo>
                  <a:cubicBezTo>
                    <a:pt x="3" y="117"/>
                    <a:pt x="2" y="119"/>
                    <a:pt x="1" y="121"/>
                  </a:cubicBezTo>
                  <a:cubicBezTo>
                    <a:pt x="1" y="123"/>
                    <a:pt x="0" y="124"/>
                    <a:pt x="0" y="126"/>
                  </a:cubicBezTo>
                  <a:cubicBezTo>
                    <a:pt x="0" y="129"/>
                    <a:pt x="0" y="129"/>
                    <a:pt x="1" y="131"/>
                  </a:cubicBezTo>
                  <a:cubicBezTo>
                    <a:pt x="2" y="132"/>
                    <a:pt x="2" y="132"/>
                    <a:pt x="3" y="133"/>
                  </a:cubicBezTo>
                  <a:cubicBezTo>
                    <a:pt x="4" y="134"/>
                    <a:pt x="4" y="133"/>
                    <a:pt x="4" y="135"/>
                  </a:cubicBezTo>
                  <a:cubicBezTo>
                    <a:pt x="5" y="137"/>
                    <a:pt x="6" y="137"/>
                    <a:pt x="7" y="139"/>
                  </a:cubicBezTo>
                  <a:cubicBezTo>
                    <a:pt x="7" y="140"/>
                    <a:pt x="7" y="142"/>
                    <a:pt x="8" y="143"/>
                  </a:cubicBezTo>
                  <a:cubicBezTo>
                    <a:pt x="9" y="145"/>
                    <a:pt x="9" y="145"/>
                    <a:pt x="9" y="147"/>
                  </a:cubicBezTo>
                  <a:cubicBezTo>
                    <a:pt x="9" y="148"/>
                    <a:pt x="8" y="150"/>
                    <a:pt x="7" y="151"/>
                  </a:cubicBezTo>
                  <a:cubicBezTo>
                    <a:pt x="5" y="152"/>
                    <a:pt x="3" y="153"/>
                    <a:pt x="1" y="153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2" y="159"/>
                    <a:pt x="2" y="160"/>
                    <a:pt x="3" y="161"/>
                  </a:cubicBezTo>
                  <a:cubicBezTo>
                    <a:pt x="3" y="162"/>
                    <a:pt x="3" y="162"/>
                    <a:pt x="4" y="163"/>
                  </a:cubicBezTo>
                  <a:cubicBezTo>
                    <a:pt x="4" y="163"/>
                    <a:pt x="4" y="164"/>
                    <a:pt x="4" y="164"/>
                  </a:cubicBezTo>
                  <a:cubicBezTo>
                    <a:pt x="4" y="164"/>
                    <a:pt x="4" y="164"/>
                    <a:pt x="4" y="165"/>
                  </a:cubicBezTo>
                  <a:cubicBezTo>
                    <a:pt x="4" y="165"/>
                    <a:pt x="4" y="165"/>
                    <a:pt x="4" y="166"/>
                  </a:cubicBezTo>
                  <a:cubicBezTo>
                    <a:pt x="4" y="166"/>
                    <a:pt x="5" y="166"/>
                    <a:pt x="6" y="166"/>
                  </a:cubicBezTo>
                  <a:cubicBezTo>
                    <a:pt x="6" y="166"/>
                    <a:pt x="6" y="167"/>
                    <a:pt x="7" y="167"/>
                  </a:cubicBezTo>
                  <a:cubicBezTo>
                    <a:pt x="7" y="168"/>
                    <a:pt x="7" y="169"/>
                    <a:pt x="8" y="170"/>
                  </a:cubicBezTo>
                  <a:cubicBezTo>
                    <a:pt x="9" y="170"/>
                    <a:pt x="10" y="170"/>
                    <a:pt x="11" y="171"/>
                  </a:cubicBezTo>
                  <a:cubicBezTo>
                    <a:pt x="12" y="171"/>
                    <a:pt x="13" y="170"/>
                    <a:pt x="15" y="171"/>
                  </a:cubicBezTo>
                  <a:cubicBezTo>
                    <a:pt x="16" y="171"/>
                    <a:pt x="17" y="172"/>
                    <a:pt x="18" y="173"/>
                  </a:cubicBezTo>
                  <a:cubicBezTo>
                    <a:pt x="19" y="173"/>
                    <a:pt x="20" y="174"/>
                    <a:pt x="21" y="174"/>
                  </a:cubicBezTo>
                  <a:cubicBezTo>
                    <a:pt x="22" y="174"/>
                    <a:pt x="22" y="174"/>
                    <a:pt x="23" y="175"/>
                  </a:cubicBezTo>
                  <a:cubicBezTo>
                    <a:pt x="23" y="175"/>
                    <a:pt x="23" y="175"/>
                    <a:pt x="23" y="176"/>
                  </a:cubicBezTo>
                  <a:cubicBezTo>
                    <a:pt x="23" y="176"/>
                    <a:pt x="24" y="177"/>
                    <a:pt x="24" y="178"/>
                  </a:cubicBezTo>
                  <a:cubicBezTo>
                    <a:pt x="24" y="179"/>
                    <a:pt x="24" y="180"/>
                    <a:pt x="24" y="181"/>
                  </a:cubicBezTo>
                  <a:cubicBezTo>
                    <a:pt x="24" y="182"/>
                    <a:pt x="25" y="182"/>
                    <a:pt x="25" y="183"/>
                  </a:cubicBezTo>
                  <a:cubicBezTo>
                    <a:pt x="25" y="183"/>
                    <a:pt x="25" y="184"/>
                    <a:pt x="25" y="185"/>
                  </a:cubicBezTo>
                  <a:cubicBezTo>
                    <a:pt x="25" y="186"/>
                    <a:pt x="26" y="186"/>
                    <a:pt x="26" y="187"/>
                  </a:cubicBezTo>
                  <a:cubicBezTo>
                    <a:pt x="26" y="188"/>
                    <a:pt x="26" y="189"/>
                    <a:pt x="26" y="190"/>
                  </a:cubicBezTo>
                  <a:cubicBezTo>
                    <a:pt x="26" y="190"/>
                    <a:pt x="26" y="191"/>
                    <a:pt x="26" y="192"/>
                  </a:cubicBezTo>
                  <a:cubicBezTo>
                    <a:pt x="27" y="193"/>
                    <a:pt x="27" y="194"/>
                    <a:pt x="28" y="195"/>
                  </a:cubicBezTo>
                  <a:cubicBezTo>
                    <a:pt x="29" y="196"/>
                    <a:pt x="32" y="196"/>
                    <a:pt x="32" y="198"/>
                  </a:cubicBezTo>
                  <a:cubicBezTo>
                    <a:pt x="32" y="199"/>
                    <a:pt x="31" y="199"/>
                    <a:pt x="31" y="200"/>
                  </a:cubicBezTo>
                  <a:cubicBezTo>
                    <a:pt x="31" y="200"/>
                    <a:pt x="31" y="200"/>
                    <a:pt x="31" y="200"/>
                  </a:cubicBezTo>
                  <a:cubicBezTo>
                    <a:pt x="31" y="201"/>
                    <a:pt x="30" y="201"/>
                    <a:pt x="29" y="202"/>
                  </a:cubicBezTo>
                  <a:cubicBezTo>
                    <a:pt x="28" y="203"/>
                    <a:pt x="26" y="204"/>
                    <a:pt x="26" y="206"/>
                  </a:cubicBezTo>
                  <a:cubicBezTo>
                    <a:pt x="26" y="207"/>
                    <a:pt x="27" y="209"/>
                    <a:pt x="28" y="211"/>
                  </a:cubicBezTo>
                  <a:cubicBezTo>
                    <a:pt x="28" y="211"/>
                    <a:pt x="28" y="212"/>
                    <a:pt x="28" y="213"/>
                  </a:cubicBezTo>
                  <a:cubicBezTo>
                    <a:pt x="28" y="217"/>
                    <a:pt x="27" y="220"/>
                    <a:pt x="27" y="224"/>
                  </a:cubicBezTo>
                  <a:cubicBezTo>
                    <a:pt x="27" y="225"/>
                    <a:pt x="27" y="225"/>
                    <a:pt x="27" y="226"/>
                  </a:cubicBezTo>
                  <a:cubicBezTo>
                    <a:pt x="27" y="226"/>
                    <a:pt x="27" y="226"/>
                    <a:pt x="27" y="226"/>
                  </a:cubicBezTo>
                  <a:cubicBezTo>
                    <a:pt x="28" y="227"/>
                    <a:pt x="29" y="228"/>
                    <a:pt x="30" y="229"/>
                  </a:cubicBezTo>
                  <a:cubicBezTo>
                    <a:pt x="31" y="229"/>
                    <a:pt x="31" y="230"/>
                    <a:pt x="32" y="231"/>
                  </a:cubicBezTo>
                  <a:cubicBezTo>
                    <a:pt x="33" y="232"/>
                    <a:pt x="34" y="231"/>
                    <a:pt x="36" y="231"/>
                  </a:cubicBezTo>
                  <a:cubicBezTo>
                    <a:pt x="37" y="231"/>
                    <a:pt x="39" y="231"/>
                    <a:pt x="41" y="231"/>
                  </a:cubicBezTo>
                  <a:cubicBezTo>
                    <a:pt x="44" y="231"/>
                    <a:pt x="46" y="231"/>
                    <a:pt x="49" y="230"/>
                  </a:cubicBezTo>
                  <a:cubicBezTo>
                    <a:pt x="51" y="229"/>
                    <a:pt x="55" y="227"/>
                    <a:pt x="57" y="228"/>
                  </a:cubicBezTo>
                  <a:cubicBezTo>
                    <a:pt x="58" y="228"/>
                    <a:pt x="59" y="229"/>
                    <a:pt x="60" y="229"/>
                  </a:cubicBezTo>
                  <a:cubicBezTo>
                    <a:pt x="62" y="229"/>
                    <a:pt x="63" y="229"/>
                    <a:pt x="64" y="229"/>
                  </a:cubicBezTo>
                  <a:cubicBezTo>
                    <a:pt x="66" y="228"/>
                    <a:pt x="68" y="229"/>
                    <a:pt x="70" y="228"/>
                  </a:cubicBezTo>
                  <a:cubicBezTo>
                    <a:pt x="72" y="228"/>
                    <a:pt x="75" y="227"/>
                    <a:pt x="76" y="226"/>
                  </a:cubicBezTo>
                  <a:cubicBezTo>
                    <a:pt x="77" y="225"/>
                    <a:pt x="77" y="224"/>
                    <a:pt x="78" y="224"/>
                  </a:cubicBezTo>
                  <a:cubicBezTo>
                    <a:pt x="79" y="224"/>
                    <a:pt x="80" y="224"/>
                    <a:pt x="80" y="224"/>
                  </a:cubicBezTo>
                  <a:cubicBezTo>
                    <a:pt x="81" y="224"/>
                    <a:pt x="82" y="223"/>
                    <a:pt x="83" y="222"/>
                  </a:cubicBezTo>
                  <a:cubicBezTo>
                    <a:pt x="85" y="224"/>
                    <a:pt x="88" y="223"/>
                    <a:pt x="89" y="220"/>
                  </a:cubicBezTo>
                  <a:cubicBezTo>
                    <a:pt x="89" y="219"/>
                    <a:pt x="88" y="215"/>
                    <a:pt x="91" y="216"/>
                  </a:cubicBezTo>
                  <a:cubicBezTo>
                    <a:pt x="92" y="217"/>
                    <a:pt x="93" y="218"/>
                    <a:pt x="94" y="218"/>
                  </a:cubicBezTo>
                  <a:cubicBezTo>
                    <a:pt x="95" y="218"/>
                    <a:pt x="97" y="218"/>
                    <a:pt x="98" y="218"/>
                  </a:cubicBezTo>
                  <a:cubicBezTo>
                    <a:pt x="100" y="218"/>
                    <a:pt x="101" y="219"/>
                    <a:pt x="103" y="218"/>
                  </a:cubicBezTo>
                  <a:cubicBezTo>
                    <a:pt x="103" y="218"/>
                    <a:pt x="103" y="217"/>
                    <a:pt x="104" y="217"/>
                  </a:cubicBezTo>
                  <a:cubicBezTo>
                    <a:pt x="104" y="216"/>
                    <a:pt x="105" y="217"/>
                    <a:pt x="105" y="216"/>
                  </a:cubicBezTo>
                  <a:cubicBezTo>
                    <a:pt x="107" y="216"/>
                    <a:pt x="106" y="218"/>
                    <a:pt x="108" y="218"/>
                  </a:cubicBezTo>
                  <a:cubicBezTo>
                    <a:pt x="109" y="218"/>
                    <a:pt x="110" y="216"/>
                    <a:pt x="110" y="218"/>
                  </a:cubicBezTo>
                  <a:cubicBezTo>
                    <a:pt x="111" y="217"/>
                    <a:pt x="113" y="216"/>
                    <a:pt x="114" y="217"/>
                  </a:cubicBezTo>
                  <a:cubicBezTo>
                    <a:pt x="115" y="218"/>
                    <a:pt x="114" y="221"/>
                    <a:pt x="115" y="222"/>
                  </a:cubicBezTo>
                  <a:cubicBezTo>
                    <a:pt x="115" y="222"/>
                    <a:pt x="116" y="223"/>
                    <a:pt x="116" y="223"/>
                  </a:cubicBezTo>
                  <a:cubicBezTo>
                    <a:pt x="116" y="224"/>
                    <a:pt x="117" y="225"/>
                    <a:pt x="118" y="225"/>
                  </a:cubicBezTo>
                  <a:cubicBezTo>
                    <a:pt x="120" y="226"/>
                    <a:pt x="122" y="226"/>
                    <a:pt x="124" y="228"/>
                  </a:cubicBezTo>
                  <a:cubicBezTo>
                    <a:pt x="124" y="229"/>
                    <a:pt x="125" y="230"/>
                    <a:pt x="126" y="231"/>
                  </a:cubicBezTo>
                  <a:cubicBezTo>
                    <a:pt x="126" y="231"/>
                    <a:pt x="126" y="231"/>
                    <a:pt x="127" y="232"/>
                  </a:cubicBezTo>
                  <a:cubicBezTo>
                    <a:pt x="128" y="232"/>
                    <a:pt x="128" y="234"/>
                    <a:pt x="129" y="235"/>
                  </a:cubicBezTo>
                  <a:cubicBezTo>
                    <a:pt x="130" y="236"/>
                    <a:pt x="130" y="235"/>
                    <a:pt x="131" y="234"/>
                  </a:cubicBezTo>
                  <a:cubicBezTo>
                    <a:pt x="133" y="234"/>
                    <a:pt x="135" y="233"/>
                    <a:pt x="137" y="233"/>
                  </a:cubicBezTo>
                  <a:cubicBezTo>
                    <a:pt x="138" y="234"/>
                    <a:pt x="138" y="235"/>
                    <a:pt x="139" y="235"/>
                  </a:cubicBezTo>
                  <a:cubicBezTo>
                    <a:pt x="140" y="236"/>
                    <a:pt x="141" y="236"/>
                    <a:pt x="142" y="236"/>
                  </a:cubicBezTo>
                  <a:cubicBezTo>
                    <a:pt x="143" y="238"/>
                    <a:pt x="144" y="237"/>
                    <a:pt x="146" y="237"/>
                  </a:cubicBezTo>
                  <a:cubicBezTo>
                    <a:pt x="147" y="237"/>
                    <a:pt x="148" y="238"/>
                    <a:pt x="148" y="238"/>
                  </a:cubicBezTo>
                  <a:cubicBezTo>
                    <a:pt x="150" y="239"/>
                    <a:pt x="151" y="241"/>
                    <a:pt x="152" y="241"/>
                  </a:cubicBezTo>
                  <a:cubicBezTo>
                    <a:pt x="153" y="242"/>
                    <a:pt x="154" y="241"/>
                    <a:pt x="155" y="241"/>
                  </a:cubicBezTo>
                  <a:cubicBezTo>
                    <a:pt x="155" y="242"/>
                    <a:pt x="156" y="242"/>
                    <a:pt x="156" y="242"/>
                  </a:cubicBezTo>
                  <a:cubicBezTo>
                    <a:pt x="158" y="242"/>
                    <a:pt x="160" y="242"/>
                    <a:pt x="162" y="242"/>
                  </a:cubicBezTo>
                  <a:cubicBezTo>
                    <a:pt x="167" y="242"/>
                    <a:pt x="173" y="241"/>
                    <a:pt x="178" y="241"/>
                  </a:cubicBezTo>
                  <a:cubicBezTo>
                    <a:pt x="178" y="239"/>
                    <a:pt x="178" y="237"/>
                    <a:pt x="176" y="236"/>
                  </a:cubicBezTo>
                  <a:cubicBezTo>
                    <a:pt x="179" y="235"/>
                    <a:pt x="181" y="239"/>
                    <a:pt x="184" y="238"/>
                  </a:cubicBezTo>
                  <a:cubicBezTo>
                    <a:pt x="185" y="237"/>
                    <a:pt x="185" y="237"/>
                    <a:pt x="186" y="237"/>
                  </a:cubicBezTo>
                  <a:cubicBezTo>
                    <a:pt x="187" y="237"/>
                    <a:pt x="188" y="238"/>
                    <a:pt x="189" y="238"/>
                  </a:cubicBezTo>
                  <a:cubicBezTo>
                    <a:pt x="191" y="239"/>
                    <a:pt x="192" y="240"/>
                    <a:pt x="195" y="239"/>
                  </a:cubicBezTo>
                  <a:cubicBezTo>
                    <a:pt x="196" y="239"/>
                    <a:pt x="198" y="238"/>
                    <a:pt x="199" y="238"/>
                  </a:cubicBezTo>
                  <a:cubicBezTo>
                    <a:pt x="200" y="237"/>
                    <a:pt x="201" y="236"/>
                    <a:pt x="202" y="236"/>
                  </a:cubicBezTo>
                  <a:cubicBezTo>
                    <a:pt x="203" y="235"/>
                    <a:pt x="204" y="235"/>
                    <a:pt x="205" y="235"/>
                  </a:cubicBezTo>
                  <a:cubicBezTo>
                    <a:pt x="207" y="233"/>
                    <a:pt x="206" y="230"/>
                    <a:pt x="206" y="227"/>
                  </a:cubicBezTo>
                  <a:cubicBezTo>
                    <a:pt x="206" y="227"/>
                    <a:pt x="206" y="226"/>
                    <a:pt x="206" y="226"/>
                  </a:cubicBezTo>
                  <a:cubicBezTo>
                    <a:pt x="206" y="224"/>
                    <a:pt x="207" y="224"/>
                    <a:pt x="207" y="223"/>
                  </a:cubicBezTo>
                  <a:cubicBezTo>
                    <a:pt x="208" y="221"/>
                    <a:pt x="207" y="220"/>
                    <a:pt x="207" y="218"/>
                  </a:cubicBezTo>
                  <a:cubicBezTo>
                    <a:pt x="207" y="215"/>
                    <a:pt x="204" y="214"/>
                    <a:pt x="203" y="211"/>
                  </a:cubicBezTo>
                  <a:cubicBezTo>
                    <a:pt x="202" y="207"/>
                    <a:pt x="205" y="205"/>
                    <a:pt x="209" y="205"/>
                  </a:cubicBezTo>
                  <a:cubicBezTo>
                    <a:pt x="211" y="205"/>
                    <a:pt x="213" y="207"/>
                    <a:pt x="215" y="208"/>
                  </a:cubicBezTo>
                  <a:cubicBezTo>
                    <a:pt x="217" y="208"/>
                    <a:pt x="220" y="210"/>
                    <a:pt x="223" y="210"/>
                  </a:cubicBezTo>
                  <a:cubicBezTo>
                    <a:pt x="223" y="208"/>
                    <a:pt x="223" y="206"/>
                    <a:pt x="223" y="204"/>
                  </a:cubicBezTo>
                  <a:cubicBezTo>
                    <a:pt x="224" y="202"/>
                    <a:pt x="224" y="201"/>
                    <a:pt x="225" y="200"/>
                  </a:cubicBezTo>
                  <a:cubicBezTo>
                    <a:pt x="227" y="198"/>
                    <a:pt x="227" y="198"/>
                    <a:pt x="230" y="198"/>
                  </a:cubicBezTo>
                  <a:cubicBezTo>
                    <a:pt x="229" y="197"/>
                    <a:pt x="230" y="197"/>
                    <a:pt x="230" y="197"/>
                  </a:cubicBezTo>
                  <a:cubicBezTo>
                    <a:pt x="230" y="196"/>
                    <a:pt x="231" y="196"/>
                    <a:pt x="231" y="196"/>
                  </a:cubicBezTo>
                  <a:cubicBezTo>
                    <a:pt x="232" y="195"/>
                    <a:pt x="232" y="195"/>
                    <a:pt x="233" y="194"/>
                  </a:cubicBezTo>
                  <a:cubicBezTo>
                    <a:pt x="233" y="194"/>
                    <a:pt x="233" y="193"/>
                    <a:pt x="233" y="193"/>
                  </a:cubicBezTo>
                  <a:cubicBezTo>
                    <a:pt x="235" y="191"/>
                    <a:pt x="237" y="190"/>
                    <a:pt x="238" y="189"/>
                  </a:cubicBezTo>
                  <a:cubicBezTo>
                    <a:pt x="240" y="189"/>
                    <a:pt x="242" y="189"/>
                    <a:pt x="244" y="188"/>
                  </a:cubicBezTo>
                  <a:cubicBezTo>
                    <a:pt x="245" y="188"/>
                    <a:pt x="246" y="187"/>
                    <a:pt x="247" y="187"/>
                  </a:cubicBezTo>
                  <a:cubicBezTo>
                    <a:pt x="249" y="188"/>
                    <a:pt x="249" y="188"/>
                    <a:pt x="251" y="187"/>
                  </a:cubicBezTo>
                  <a:cubicBezTo>
                    <a:pt x="254" y="185"/>
                    <a:pt x="256" y="183"/>
                    <a:pt x="260" y="181"/>
                  </a:cubicBezTo>
                  <a:cubicBezTo>
                    <a:pt x="262" y="180"/>
                    <a:pt x="263" y="177"/>
                    <a:pt x="266" y="179"/>
                  </a:cubicBezTo>
                  <a:cubicBezTo>
                    <a:pt x="268" y="180"/>
                    <a:pt x="270" y="183"/>
                    <a:pt x="273" y="183"/>
                  </a:cubicBezTo>
                  <a:cubicBezTo>
                    <a:pt x="275" y="183"/>
                    <a:pt x="276" y="182"/>
                    <a:pt x="277" y="183"/>
                  </a:cubicBezTo>
                  <a:cubicBezTo>
                    <a:pt x="278" y="183"/>
                    <a:pt x="278" y="184"/>
                    <a:pt x="279" y="185"/>
                  </a:cubicBezTo>
                  <a:cubicBezTo>
                    <a:pt x="281" y="185"/>
                    <a:pt x="281" y="185"/>
                    <a:pt x="282" y="187"/>
                  </a:cubicBezTo>
                  <a:cubicBezTo>
                    <a:pt x="283" y="188"/>
                    <a:pt x="285" y="190"/>
                    <a:pt x="286" y="191"/>
                  </a:cubicBezTo>
                  <a:cubicBezTo>
                    <a:pt x="287" y="193"/>
                    <a:pt x="286" y="193"/>
                    <a:pt x="288" y="193"/>
                  </a:cubicBezTo>
                  <a:cubicBezTo>
                    <a:pt x="290" y="193"/>
                    <a:pt x="291" y="192"/>
                    <a:pt x="292" y="192"/>
                  </a:cubicBezTo>
                  <a:cubicBezTo>
                    <a:pt x="294" y="191"/>
                    <a:pt x="296" y="190"/>
                    <a:pt x="298" y="190"/>
                  </a:cubicBezTo>
                  <a:cubicBezTo>
                    <a:pt x="301" y="190"/>
                    <a:pt x="303" y="189"/>
                    <a:pt x="306" y="188"/>
                  </a:cubicBezTo>
                  <a:cubicBezTo>
                    <a:pt x="308" y="188"/>
                    <a:pt x="309" y="189"/>
                    <a:pt x="310" y="189"/>
                  </a:cubicBezTo>
                  <a:cubicBezTo>
                    <a:pt x="311" y="189"/>
                    <a:pt x="314" y="189"/>
                    <a:pt x="315" y="188"/>
                  </a:cubicBezTo>
                  <a:cubicBezTo>
                    <a:pt x="316" y="187"/>
                    <a:pt x="315" y="182"/>
                    <a:pt x="314" y="181"/>
                  </a:cubicBezTo>
                  <a:cubicBezTo>
                    <a:pt x="313" y="181"/>
                    <a:pt x="312" y="181"/>
                    <a:pt x="311" y="180"/>
                  </a:cubicBezTo>
                  <a:cubicBezTo>
                    <a:pt x="309" y="179"/>
                    <a:pt x="308" y="177"/>
                    <a:pt x="307" y="175"/>
                  </a:cubicBezTo>
                  <a:cubicBezTo>
                    <a:pt x="305" y="173"/>
                    <a:pt x="303" y="171"/>
                    <a:pt x="302" y="169"/>
                  </a:cubicBezTo>
                  <a:cubicBezTo>
                    <a:pt x="301" y="168"/>
                    <a:pt x="300" y="167"/>
                    <a:pt x="301" y="166"/>
                  </a:cubicBezTo>
                  <a:cubicBezTo>
                    <a:pt x="301" y="167"/>
                    <a:pt x="302" y="165"/>
                    <a:pt x="302" y="165"/>
                  </a:cubicBezTo>
                  <a:cubicBezTo>
                    <a:pt x="303" y="165"/>
                    <a:pt x="304" y="164"/>
                    <a:pt x="304" y="164"/>
                  </a:cubicBezTo>
                  <a:cubicBezTo>
                    <a:pt x="305" y="163"/>
                    <a:pt x="305" y="162"/>
                    <a:pt x="304" y="161"/>
                  </a:cubicBezTo>
                  <a:cubicBezTo>
                    <a:pt x="304" y="159"/>
                    <a:pt x="302" y="158"/>
                    <a:pt x="301" y="156"/>
                  </a:cubicBezTo>
                  <a:cubicBezTo>
                    <a:pt x="301" y="155"/>
                    <a:pt x="302" y="154"/>
                    <a:pt x="300" y="154"/>
                  </a:cubicBezTo>
                  <a:cubicBezTo>
                    <a:pt x="298" y="153"/>
                    <a:pt x="297" y="154"/>
                    <a:pt x="295" y="153"/>
                  </a:cubicBezTo>
                  <a:cubicBezTo>
                    <a:pt x="294" y="152"/>
                    <a:pt x="293" y="151"/>
                    <a:pt x="292" y="150"/>
                  </a:cubicBezTo>
                  <a:cubicBezTo>
                    <a:pt x="291" y="149"/>
                    <a:pt x="286" y="146"/>
                    <a:pt x="285" y="147"/>
                  </a:cubicBezTo>
                  <a:cubicBezTo>
                    <a:pt x="284" y="147"/>
                    <a:pt x="284" y="148"/>
                    <a:pt x="284" y="148"/>
                  </a:cubicBezTo>
                  <a:cubicBezTo>
                    <a:pt x="283" y="148"/>
                    <a:pt x="282" y="148"/>
                    <a:pt x="282" y="148"/>
                  </a:cubicBezTo>
                  <a:cubicBezTo>
                    <a:pt x="281" y="146"/>
                    <a:pt x="281" y="145"/>
                    <a:pt x="283" y="144"/>
                  </a:cubicBezTo>
                  <a:cubicBezTo>
                    <a:pt x="284" y="144"/>
                    <a:pt x="285" y="143"/>
                    <a:pt x="286" y="143"/>
                  </a:cubicBezTo>
                  <a:cubicBezTo>
                    <a:pt x="287" y="142"/>
                    <a:pt x="289" y="143"/>
                    <a:pt x="290" y="143"/>
                  </a:cubicBezTo>
                  <a:cubicBezTo>
                    <a:pt x="292" y="142"/>
                    <a:pt x="291" y="142"/>
                    <a:pt x="292" y="140"/>
                  </a:cubicBezTo>
                  <a:cubicBezTo>
                    <a:pt x="292" y="139"/>
                    <a:pt x="292" y="138"/>
                    <a:pt x="293" y="137"/>
                  </a:cubicBezTo>
                  <a:cubicBezTo>
                    <a:pt x="293" y="136"/>
                    <a:pt x="293" y="134"/>
                    <a:pt x="294" y="135"/>
                  </a:cubicBezTo>
                  <a:cubicBezTo>
                    <a:pt x="295" y="136"/>
                    <a:pt x="297" y="138"/>
                    <a:pt x="298" y="138"/>
                  </a:cubicBezTo>
                  <a:cubicBezTo>
                    <a:pt x="300" y="138"/>
                    <a:pt x="299" y="136"/>
                    <a:pt x="299" y="135"/>
                  </a:cubicBezTo>
                  <a:cubicBezTo>
                    <a:pt x="299" y="134"/>
                    <a:pt x="299" y="133"/>
                    <a:pt x="299" y="132"/>
                  </a:cubicBezTo>
                  <a:cubicBezTo>
                    <a:pt x="299" y="130"/>
                    <a:pt x="300" y="131"/>
                    <a:pt x="301" y="131"/>
                  </a:cubicBezTo>
                  <a:cubicBezTo>
                    <a:pt x="303" y="131"/>
                    <a:pt x="305" y="130"/>
                    <a:pt x="306" y="128"/>
                  </a:cubicBezTo>
                  <a:cubicBezTo>
                    <a:pt x="306" y="126"/>
                    <a:pt x="304" y="125"/>
                    <a:pt x="304" y="123"/>
                  </a:cubicBezTo>
                  <a:cubicBezTo>
                    <a:pt x="307" y="123"/>
                    <a:pt x="310" y="123"/>
                    <a:pt x="312" y="122"/>
                  </a:cubicBezTo>
                  <a:cubicBezTo>
                    <a:pt x="313" y="121"/>
                    <a:pt x="313" y="121"/>
                    <a:pt x="313" y="121"/>
                  </a:cubicBezTo>
                  <a:cubicBezTo>
                    <a:pt x="313" y="120"/>
                    <a:pt x="313" y="120"/>
                    <a:pt x="312" y="120"/>
                  </a:cubicBezTo>
                  <a:cubicBezTo>
                    <a:pt x="312" y="119"/>
                    <a:pt x="312" y="119"/>
                    <a:pt x="312" y="118"/>
                  </a:cubicBezTo>
                  <a:cubicBezTo>
                    <a:pt x="311" y="117"/>
                    <a:pt x="311" y="117"/>
                    <a:pt x="310" y="116"/>
                  </a:cubicBezTo>
                  <a:cubicBezTo>
                    <a:pt x="310" y="116"/>
                    <a:pt x="310" y="114"/>
                    <a:pt x="310" y="114"/>
                  </a:cubicBezTo>
                  <a:cubicBezTo>
                    <a:pt x="310" y="112"/>
                    <a:pt x="310" y="110"/>
                    <a:pt x="310" y="108"/>
                  </a:cubicBezTo>
                  <a:cubicBezTo>
                    <a:pt x="310" y="107"/>
                    <a:pt x="311" y="107"/>
                    <a:pt x="310" y="106"/>
                  </a:cubicBezTo>
                  <a:cubicBezTo>
                    <a:pt x="310" y="105"/>
                    <a:pt x="310" y="105"/>
                    <a:pt x="310" y="104"/>
                  </a:cubicBezTo>
                  <a:cubicBezTo>
                    <a:pt x="310" y="103"/>
                    <a:pt x="310" y="102"/>
                    <a:pt x="311" y="101"/>
                  </a:cubicBezTo>
                  <a:cubicBezTo>
                    <a:pt x="312" y="100"/>
                    <a:pt x="313" y="98"/>
                    <a:pt x="314" y="96"/>
                  </a:cubicBezTo>
                  <a:cubicBezTo>
                    <a:pt x="315" y="94"/>
                    <a:pt x="315" y="92"/>
                    <a:pt x="314" y="90"/>
                  </a:cubicBezTo>
                  <a:cubicBezTo>
                    <a:pt x="313" y="88"/>
                    <a:pt x="314" y="87"/>
                    <a:pt x="315" y="85"/>
                  </a:cubicBezTo>
                  <a:cubicBezTo>
                    <a:pt x="316" y="84"/>
                    <a:pt x="316" y="82"/>
                    <a:pt x="318" y="80"/>
                  </a:cubicBezTo>
                  <a:cubicBezTo>
                    <a:pt x="318" y="80"/>
                    <a:pt x="318" y="79"/>
                    <a:pt x="318" y="79"/>
                  </a:cubicBezTo>
                  <a:cubicBezTo>
                    <a:pt x="319" y="79"/>
                    <a:pt x="319" y="79"/>
                    <a:pt x="319" y="78"/>
                  </a:cubicBezTo>
                  <a:cubicBezTo>
                    <a:pt x="319" y="78"/>
                    <a:pt x="320" y="76"/>
                    <a:pt x="320" y="76"/>
                  </a:cubicBezTo>
                  <a:cubicBezTo>
                    <a:pt x="322" y="75"/>
                    <a:pt x="325" y="76"/>
                    <a:pt x="327" y="76"/>
                  </a:cubicBezTo>
                  <a:cubicBezTo>
                    <a:pt x="329" y="76"/>
                    <a:pt x="330" y="77"/>
                    <a:pt x="332" y="77"/>
                  </a:cubicBezTo>
                  <a:cubicBezTo>
                    <a:pt x="333" y="77"/>
                    <a:pt x="334" y="77"/>
                    <a:pt x="335" y="77"/>
                  </a:cubicBezTo>
                  <a:cubicBezTo>
                    <a:pt x="336" y="77"/>
                    <a:pt x="336" y="77"/>
                    <a:pt x="337" y="75"/>
                  </a:cubicBezTo>
                  <a:cubicBezTo>
                    <a:pt x="338" y="75"/>
                    <a:pt x="338" y="74"/>
                    <a:pt x="339" y="74"/>
                  </a:cubicBezTo>
                  <a:cubicBezTo>
                    <a:pt x="341" y="74"/>
                    <a:pt x="343" y="76"/>
                    <a:pt x="345" y="76"/>
                  </a:cubicBezTo>
                  <a:cubicBezTo>
                    <a:pt x="347" y="76"/>
                    <a:pt x="348" y="74"/>
                    <a:pt x="348" y="72"/>
                  </a:cubicBezTo>
                  <a:cubicBezTo>
                    <a:pt x="349" y="72"/>
                    <a:pt x="351" y="73"/>
                    <a:pt x="352" y="73"/>
                  </a:cubicBezTo>
                  <a:cubicBezTo>
                    <a:pt x="352" y="74"/>
                    <a:pt x="353" y="75"/>
                    <a:pt x="354" y="74"/>
                  </a:cubicBezTo>
                  <a:cubicBezTo>
                    <a:pt x="355" y="74"/>
                    <a:pt x="356" y="69"/>
                    <a:pt x="356" y="69"/>
                  </a:cubicBezTo>
                  <a:cubicBezTo>
                    <a:pt x="357" y="67"/>
                    <a:pt x="357" y="64"/>
                    <a:pt x="357" y="6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3" name="Freeform 34">
              <a:extLst>
                <a:ext uri="{FF2B5EF4-FFF2-40B4-BE49-F238E27FC236}">
                  <a16:creationId xmlns:a16="http://schemas.microsoft.com/office/drawing/2014/main" id="{CEB0D32D-CFEF-45DC-91EF-57ED9F9C9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8938" y="4814888"/>
              <a:ext cx="981075" cy="717550"/>
            </a:xfrm>
            <a:custGeom>
              <a:avLst/>
              <a:gdLst/>
              <a:ahLst/>
              <a:cxnLst>
                <a:cxn ang="0">
                  <a:pos x="474" y="252"/>
                </a:cxn>
                <a:cxn ang="0">
                  <a:pos x="437" y="239"/>
                </a:cxn>
                <a:cxn ang="0">
                  <a:pos x="438" y="138"/>
                </a:cxn>
                <a:cxn ang="0">
                  <a:pos x="412" y="87"/>
                </a:cxn>
                <a:cxn ang="0">
                  <a:pos x="392" y="65"/>
                </a:cxn>
                <a:cxn ang="0">
                  <a:pos x="379" y="32"/>
                </a:cxn>
                <a:cxn ang="0">
                  <a:pos x="336" y="10"/>
                </a:cxn>
                <a:cxn ang="0">
                  <a:pos x="295" y="30"/>
                </a:cxn>
                <a:cxn ang="0">
                  <a:pos x="245" y="34"/>
                </a:cxn>
                <a:cxn ang="0">
                  <a:pos x="212" y="27"/>
                </a:cxn>
                <a:cxn ang="0">
                  <a:pos x="175" y="24"/>
                </a:cxn>
                <a:cxn ang="0">
                  <a:pos x="145" y="27"/>
                </a:cxn>
                <a:cxn ang="0">
                  <a:pos x="125" y="42"/>
                </a:cxn>
                <a:cxn ang="0">
                  <a:pos x="107" y="53"/>
                </a:cxn>
                <a:cxn ang="0">
                  <a:pos x="102" y="62"/>
                </a:cxn>
                <a:cxn ang="0">
                  <a:pos x="94" y="76"/>
                </a:cxn>
                <a:cxn ang="0">
                  <a:pos x="80" y="102"/>
                </a:cxn>
                <a:cxn ang="0">
                  <a:pos x="73" y="123"/>
                </a:cxn>
                <a:cxn ang="0">
                  <a:pos x="64" y="133"/>
                </a:cxn>
                <a:cxn ang="0">
                  <a:pos x="54" y="149"/>
                </a:cxn>
                <a:cxn ang="0">
                  <a:pos x="48" y="159"/>
                </a:cxn>
                <a:cxn ang="0">
                  <a:pos x="34" y="165"/>
                </a:cxn>
                <a:cxn ang="0">
                  <a:pos x="5" y="182"/>
                </a:cxn>
                <a:cxn ang="0">
                  <a:pos x="19" y="199"/>
                </a:cxn>
                <a:cxn ang="0">
                  <a:pos x="29" y="210"/>
                </a:cxn>
                <a:cxn ang="0">
                  <a:pos x="31" y="231"/>
                </a:cxn>
                <a:cxn ang="0">
                  <a:pos x="61" y="246"/>
                </a:cxn>
                <a:cxn ang="0">
                  <a:pos x="61" y="260"/>
                </a:cxn>
                <a:cxn ang="0">
                  <a:pos x="65" y="273"/>
                </a:cxn>
                <a:cxn ang="0">
                  <a:pos x="61" y="285"/>
                </a:cxn>
                <a:cxn ang="0">
                  <a:pos x="71" y="292"/>
                </a:cxn>
                <a:cxn ang="0">
                  <a:pos x="94" y="305"/>
                </a:cxn>
                <a:cxn ang="0">
                  <a:pos x="107" y="299"/>
                </a:cxn>
                <a:cxn ang="0">
                  <a:pos x="122" y="309"/>
                </a:cxn>
                <a:cxn ang="0">
                  <a:pos x="119" y="318"/>
                </a:cxn>
                <a:cxn ang="0">
                  <a:pos x="132" y="335"/>
                </a:cxn>
                <a:cxn ang="0">
                  <a:pos x="138" y="365"/>
                </a:cxn>
                <a:cxn ang="0">
                  <a:pos x="185" y="369"/>
                </a:cxn>
                <a:cxn ang="0">
                  <a:pos x="221" y="378"/>
                </a:cxn>
                <a:cxn ang="0">
                  <a:pos x="263" y="378"/>
                </a:cxn>
                <a:cxn ang="0">
                  <a:pos x="290" y="381"/>
                </a:cxn>
                <a:cxn ang="0">
                  <a:pos x="308" y="364"/>
                </a:cxn>
                <a:cxn ang="0">
                  <a:pos x="344" y="350"/>
                </a:cxn>
                <a:cxn ang="0">
                  <a:pos x="382" y="347"/>
                </a:cxn>
                <a:cxn ang="0">
                  <a:pos x="399" y="355"/>
                </a:cxn>
                <a:cxn ang="0">
                  <a:pos x="414" y="360"/>
                </a:cxn>
                <a:cxn ang="0">
                  <a:pos x="426" y="368"/>
                </a:cxn>
                <a:cxn ang="0">
                  <a:pos x="446" y="379"/>
                </a:cxn>
                <a:cxn ang="0">
                  <a:pos x="458" y="366"/>
                </a:cxn>
                <a:cxn ang="0">
                  <a:pos x="468" y="316"/>
                </a:cxn>
                <a:cxn ang="0">
                  <a:pos x="476" y="294"/>
                </a:cxn>
                <a:cxn ang="0">
                  <a:pos x="491" y="289"/>
                </a:cxn>
                <a:cxn ang="0">
                  <a:pos x="518" y="280"/>
                </a:cxn>
              </a:cxnLst>
              <a:rect l="0" t="0" r="r" b="b"/>
              <a:pathLst>
                <a:path w="525" h="384">
                  <a:moveTo>
                    <a:pt x="525" y="255"/>
                  </a:moveTo>
                  <a:cubicBezTo>
                    <a:pt x="525" y="252"/>
                    <a:pt x="515" y="249"/>
                    <a:pt x="512" y="247"/>
                  </a:cubicBezTo>
                  <a:cubicBezTo>
                    <a:pt x="507" y="244"/>
                    <a:pt x="503" y="241"/>
                    <a:pt x="496" y="243"/>
                  </a:cubicBezTo>
                  <a:cubicBezTo>
                    <a:pt x="493" y="243"/>
                    <a:pt x="493" y="244"/>
                    <a:pt x="491" y="246"/>
                  </a:cubicBezTo>
                  <a:cubicBezTo>
                    <a:pt x="490" y="247"/>
                    <a:pt x="487" y="249"/>
                    <a:pt x="483" y="250"/>
                  </a:cubicBezTo>
                  <a:cubicBezTo>
                    <a:pt x="478" y="252"/>
                    <a:pt x="476" y="252"/>
                    <a:pt x="474" y="252"/>
                  </a:cubicBezTo>
                  <a:cubicBezTo>
                    <a:pt x="472" y="252"/>
                    <a:pt x="470" y="251"/>
                    <a:pt x="468" y="252"/>
                  </a:cubicBezTo>
                  <a:cubicBezTo>
                    <a:pt x="467" y="252"/>
                    <a:pt x="467" y="255"/>
                    <a:pt x="466" y="256"/>
                  </a:cubicBezTo>
                  <a:cubicBezTo>
                    <a:pt x="463" y="259"/>
                    <a:pt x="462" y="257"/>
                    <a:pt x="459" y="256"/>
                  </a:cubicBezTo>
                  <a:cubicBezTo>
                    <a:pt x="457" y="254"/>
                    <a:pt x="455" y="253"/>
                    <a:pt x="453" y="252"/>
                  </a:cubicBezTo>
                  <a:cubicBezTo>
                    <a:pt x="451" y="252"/>
                    <a:pt x="445" y="249"/>
                    <a:pt x="443" y="248"/>
                  </a:cubicBezTo>
                  <a:cubicBezTo>
                    <a:pt x="443" y="247"/>
                    <a:pt x="438" y="239"/>
                    <a:pt x="437" y="239"/>
                  </a:cubicBezTo>
                  <a:cubicBezTo>
                    <a:pt x="433" y="234"/>
                    <a:pt x="428" y="230"/>
                    <a:pt x="432" y="223"/>
                  </a:cubicBezTo>
                  <a:cubicBezTo>
                    <a:pt x="433" y="219"/>
                    <a:pt x="433" y="211"/>
                    <a:pt x="431" y="208"/>
                  </a:cubicBezTo>
                  <a:cubicBezTo>
                    <a:pt x="429" y="204"/>
                    <a:pt x="430" y="191"/>
                    <a:pt x="430" y="185"/>
                  </a:cubicBezTo>
                  <a:cubicBezTo>
                    <a:pt x="431" y="175"/>
                    <a:pt x="433" y="171"/>
                    <a:pt x="437" y="161"/>
                  </a:cubicBezTo>
                  <a:cubicBezTo>
                    <a:pt x="438" y="159"/>
                    <a:pt x="439" y="151"/>
                    <a:pt x="437" y="148"/>
                  </a:cubicBezTo>
                  <a:cubicBezTo>
                    <a:pt x="436" y="146"/>
                    <a:pt x="438" y="141"/>
                    <a:pt x="438" y="138"/>
                  </a:cubicBezTo>
                  <a:cubicBezTo>
                    <a:pt x="438" y="136"/>
                    <a:pt x="434" y="130"/>
                    <a:pt x="434" y="128"/>
                  </a:cubicBezTo>
                  <a:cubicBezTo>
                    <a:pt x="432" y="125"/>
                    <a:pt x="434" y="121"/>
                    <a:pt x="431" y="121"/>
                  </a:cubicBezTo>
                  <a:cubicBezTo>
                    <a:pt x="427" y="121"/>
                    <a:pt x="424" y="119"/>
                    <a:pt x="422" y="115"/>
                  </a:cubicBezTo>
                  <a:cubicBezTo>
                    <a:pt x="420" y="112"/>
                    <a:pt x="421" y="109"/>
                    <a:pt x="421" y="106"/>
                  </a:cubicBezTo>
                  <a:cubicBezTo>
                    <a:pt x="420" y="101"/>
                    <a:pt x="419" y="96"/>
                    <a:pt x="416" y="92"/>
                  </a:cubicBezTo>
                  <a:cubicBezTo>
                    <a:pt x="414" y="91"/>
                    <a:pt x="414" y="90"/>
                    <a:pt x="412" y="87"/>
                  </a:cubicBezTo>
                  <a:cubicBezTo>
                    <a:pt x="411" y="86"/>
                    <a:pt x="409" y="85"/>
                    <a:pt x="408" y="84"/>
                  </a:cubicBezTo>
                  <a:cubicBezTo>
                    <a:pt x="407" y="83"/>
                    <a:pt x="406" y="81"/>
                    <a:pt x="405" y="79"/>
                  </a:cubicBezTo>
                  <a:cubicBezTo>
                    <a:pt x="403" y="77"/>
                    <a:pt x="403" y="73"/>
                    <a:pt x="401" y="72"/>
                  </a:cubicBezTo>
                  <a:cubicBezTo>
                    <a:pt x="399" y="70"/>
                    <a:pt x="396" y="70"/>
                    <a:pt x="394" y="68"/>
                  </a:cubicBezTo>
                  <a:cubicBezTo>
                    <a:pt x="394" y="68"/>
                    <a:pt x="395" y="67"/>
                    <a:pt x="394" y="67"/>
                  </a:cubicBezTo>
                  <a:cubicBezTo>
                    <a:pt x="394" y="66"/>
                    <a:pt x="393" y="66"/>
                    <a:pt x="392" y="65"/>
                  </a:cubicBezTo>
                  <a:cubicBezTo>
                    <a:pt x="391" y="65"/>
                    <a:pt x="392" y="64"/>
                    <a:pt x="391" y="63"/>
                  </a:cubicBezTo>
                  <a:cubicBezTo>
                    <a:pt x="391" y="62"/>
                    <a:pt x="390" y="62"/>
                    <a:pt x="390" y="60"/>
                  </a:cubicBezTo>
                  <a:cubicBezTo>
                    <a:pt x="389" y="59"/>
                    <a:pt x="390" y="58"/>
                    <a:pt x="390" y="57"/>
                  </a:cubicBezTo>
                  <a:cubicBezTo>
                    <a:pt x="390" y="53"/>
                    <a:pt x="390" y="49"/>
                    <a:pt x="388" y="46"/>
                  </a:cubicBezTo>
                  <a:cubicBezTo>
                    <a:pt x="386" y="42"/>
                    <a:pt x="383" y="40"/>
                    <a:pt x="381" y="37"/>
                  </a:cubicBezTo>
                  <a:cubicBezTo>
                    <a:pt x="380" y="36"/>
                    <a:pt x="380" y="34"/>
                    <a:pt x="379" y="32"/>
                  </a:cubicBezTo>
                  <a:cubicBezTo>
                    <a:pt x="378" y="27"/>
                    <a:pt x="374" y="26"/>
                    <a:pt x="372" y="22"/>
                  </a:cubicBezTo>
                  <a:cubicBezTo>
                    <a:pt x="369" y="19"/>
                    <a:pt x="367" y="17"/>
                    <a:pt x="365" y="14"/>
                  </a:cubicBezTo>
                  <a:cubicBezTo>
                    <a:pt x="362" y="10"/>
                    <a:pt x="361" y="4"/>
                    <a:pt x="357" y="2"/>
                  </a:cubicBezTo>
                  <a:cubicBezTo>
                    <a:pt x="353" y="0"/>
                    <a:pt x="348" y="5"/>
                    <a:pt x="344" y="6"/>
                  </a:cubicBezTo>
                  <a:cubicBezTo>
                    <a:pt x="344" y="6"/>
                    <a:pt x="344" y="6"/>
                    <a:pt x="344" y="6"/>
                  </a:cubicBezTo>
                  <a:cubicBezTo>
                    <a:pt x="341" y="7"/>
                    <a:pt x="339" y="8"/>
                    <a:pt x="336" y="10"/>
                  </a:cubicBezTo>
                  <a:cubicBezTo>
                    <a:pt x="333" y="11"/>
                    <a:pt x="329" y="13"/>
                    <a:pt x="328" y="16"/>
                  </a:cubicBezTo>
                  <a:cubicBezTo>
                    <a:pt x="326" y="18"/>
                    <a:pt x="326" y="21"/>
                    <a:pt x="324" y="23"/>
                  </a:cubicBezTo>
                  <a:cubicBezTo>
                    <a:pt x="322" y="26"/>
                    <a:pt x="321" y="25"/>
                    <a:pt x="317" y="25"/>
                  </a:cubicBezTo>
                  <a:cubicBezTo>
                    <a:pt x="313" y="25"/>
                    <a:pt x="308" y="27"/>
                    <a:pt x="303" y="27"/>
                  </a:cubicBezTo>
                  <a:cubicBezTo>
                    <a:pt x="301" y="27"/>
                    <a:pt x="298" y="28"/>
                    <a:pt x="296" y="29"/>
                  </a:cubicBezTo>
                  <a:cubicBezTo>
                    <a:pt x="296" y="29"/>
                    <a:pt x="296" y="30"/>
                    <a:pt x="295" y="30"/>
                  </a:cubicBezTo>
                  <a:cubicBezTo>
                    <a:pt x="295" y="30"/>
                    <a:pt x="293" y="30"/>
                    <a:pt x="293" y="30"/>
                  </a:cubicBezTo>
                  <a:cubicBezTo>
                    <a:pt x="287" y="30"/>
                    <a:pt x="281" y="30"/>
                    <a:pt x="276" y="30"/>
                  </a:cubicBezTo>
                  <a:cubicBezTo>
                    <a:pt x="272" y="30"/>
                    <a:pt x="271" y="32"/>
                    <a:pt x="269" y="35"/>
                  </a:cubicBezTo>
                  <a:cubicBezTo>
                    <a:pt x="268" y="37"/>
                    <a:pt x="267" y="41"/>
                    <a:pt x="264" y="42"/>
                  </a:cubicBezTo>
                  <a:cubicBezTo>
                    <a:pt x="259" y="44"/>
                    <a:pt x="253" y="42"/>
                    <a:pt x="249" y="39"/>
                  </a:cubicBezTo>
                  <a:cubicBezTo>
                    <a:pt x="247" y="37"/>
                    <a:pt x="246" y="35"/>
                    <a:pt x="245" y="34"/>
                  </a:cubicBezTo>
                  <a:cubicBezTo>
                    <a:pt x="244" y="33"/>
                    <a:pt x="242" y="32"/>
                    <a:pt x="241" y="31"/>
                  </a:cubicBezTo>
                  <a:cubicBezTo>
                    <a:pt x="240" y="30"/>
                    <a:pt x="241" y="29"/>
                    <a:pt x="238" y="29"/>
                  </a:cubicBezTo>
                  <a:cubicBezTo>
                    <a:pt x="239" y="25"/>
                    <a:pt x="229" y="29"/>
                    <a:pt x="228" y="29"/>
                  </a:cubicBezTo>
                  <a:cubicBezTo>
                    <a:pt x="223" y="31"/>
                    <a:pt x="220" y="31"/>
                    <a:pt x="216" y="29"/>
                  </a:cubicBezTo>
                  <a:cubicBezTo>
                    <a:pt x="215" y="29"/>
                    <a:pt x="214" y="29"/>
                    <a:pt x="214" y="29"/>
                  </a:cubicBezTo>
                  <a:cubicBezTo>
                    <a:pt x="213" y="29"/>
                    <a:pt x="213" y="28"/>
                    <a:pt x="212" y="27"/>
                  </a:cubicBezTo>
                  <a:cubicBezTo>
                    <a:pt x="210" y="26"/>
                    <a:pt x="205" y="26"/>
                    <a:pt x="203" y="26"/>
                  </a:cubicBezTo>
                  <a:cubicBezTo>
                    <a:pt x="201" y="26"/>
                    <a:pt x="199" y="26"/>
                    <a:pt x="197" y="26"/>
                  </a:cubicBezTo>
                  <a:cubicBezTo>
                    <a:pt x="195" y="26"/>
                    <a:pt x="195" y="27"/>
                    <a:pt x="194" y="29"/>
                  </a:cubicBezTo>
                  <a:cubicBezTo>
                    <a:pt x="194" y="28"/>
                    <a:pt x="192" y="24"/>
                    <a:pt x="191" y="24"/>
                  </a:cubicBezTo>
                  <a:cubicBezTo>
                    <a:pt x="189" y="22"/>
                    <a:pt x="187" y="23"/>
                    <a:pt x="186" y="23"/>
                  </a:cubicBezTo>
                  <a:cubicBezTo>
                    <a:pt x="182" y="23"/>
                    <a:pt x="179" y="24"/>
                    <a:pt x="175" y="24"/>
                  </a:cubicBezTo>
                  <a:cubicBezTo>
                    <a:pt x="171" y="23"/>
                    <a:pt x="172" y="21"/>
                    <a:pt x="170" y="18"/>
                  </a:cubicBezTo>
                  <a:cubicBezTo>
                    <a:pt x="168" y="16"/>
                    <a:pt x="165" y="15"/>
                    <a:pt x="162" y="17"/>
                  </a:cubicBezTo>
                  <a:cubicBezTo>
                    <a:pt x="160" y="18"/>
                    <a:pt x="159" y="19"/>
                    <a:pt x="158" y="20"/>
                  </a:cubicBezTo>
                  <a:cubicBezTo>
                    <a:pt x="157" y="21"/>
                    <a:pt x="156" y="22"/>
                    <a:pt x="155" y="23"/>
                  </a:cubicBezTo>
                  <a:cubicBezTo>
                    <a:pt x="152" y="24"/>
                    <a:pt x="148" y="22"/>
                    <a:pt x="145" y="23"/>
                  </a:cubicBezTo>
                  <a:cubicBezTo>
                    <a:pt x="145" y="24"/>
                    <a:pt x="145" y="25"/>
                    <a:pt x="145" y="27"/>
                  </a:cubicBezTo>
                  <a:cubicBezTo>
                    <a:pt x="143" y="27"/>
                    <a:pt x="142" y="28"/>
                    <a:pt x="142" y="30"/>
                  </a:cubicBezTo>
                  <a:cubicBezTo>
                    <a:pt x="141" y="31"/>
                    <a:pt x="142" y="32"/>
                    <a:pt x="141" y="33"/>
                  </a:cubicBezTo>
                  <a:cubicBezTo>
                    <a:pt x="141" y="33"/>
                    <a:pt x="140" y="34"/>
                    <a:pt x="140" y="35"/>
                  </a:cubicBezTo>
                  <a:cubicBezTo>
                    <a:pt x="138" y="35"/>
                    <a:pt x="135" y="37"/>
                    <a:pt x="133" y="39"/>
                  </a:cubicBezTo>
                  <a:cubicBezTo>
                    <a:pt x="133" y="40"/>
                    <a:pt x="133" y="41"/>
                    <a:pt x="132" y="42"/>
                  </a:cubicBezTo>
                  <a:cubicBezTo>
                    <a:pt x="130" y="43"/>
                    <a:pt x="127" y="42"/>
                    <a:pt x="125" y="42"/>
                  </a:cubicBezTo>
                  <a:cubicBezTo>
                    <a:pt x="124" y="42"/>
                    <a:pt x="124" y="43"/>
                    <a:pt x="122" y="43"/>
                  </a:cubicBezTo>
                  <a:cubicBezTo>
                    <a:pt x="121" y="43"/>
                    <a:pt x="120" y="43"/>
                    <a:pt x="119" y="45"/>
                  </a:cubicBezTo>
                  <a:cubicBezTo>
                    <a:pt x="118" y="46"/>
                    <a:pt x="118" y="47"/>
                    <a:pt x="116" y="48"/>
                  </a:cubicBezTo>
                  <a:cubicBezTo>
                    <a:pt x="115" y="48"/>
                    <a:pt x="113" y="48"/>
                    <a:pt x="112" y="48"/>
                  </a:cubicBezTo>
                  <a:cubicBezTo>
                    <a:pt x="110" y="48"/>
                    <a:pt x="110" y="48"/>
                    <a:pt x="109" y="50"/>
                  </a:cubicBezTo>
                  <a:cubicBezTo>
                    <a:pt x="108" y="51"/>
                    <a:pt x="108" y="52"/>
                    <a:pt x="107" y="53"/>
                  </a:cubicBezTo>
                  <a:cubicBezTo>
                    <a:pt x="106" y="53"/>
                    <a:pt x="106" y="54"/>
                    <a:pt x="106" y="55"/>
                  </a:cubicBezTo>
                  <a:cubicBezTo>
                    <a:pt x="105" y="55"/>
                    <a:pt x="105" y="55"/>
                    <a:pt x="104" y="56"/>
                  </a:cubicBezTo>
                  <a:cubicBezTo>
                    <a:pt x="104" y="57"/>
                    <a:pt x="105" y="58"/>
                    <a:pt x="104" y="59"/>
                  </a:cubicBezTo>
                  <a:cubicBezTo>
                    <a:pt x="104" y="59"/>
                    <a:pt x="103" y="60"/>
                    <a:pt x="103" y="60"/>
                  </a:cubicBezTo>
                  <a:cubicBezTo>
                    <a:pt x="103" y="60"/>
                    <a:pt x="102" y="61"/>
                    <a:pt x="102" y="61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1" y="63"/>
                    <a:pt x="101" y="63"/>
                  </a:cubicBezTo>
                  <a:cubicBezTo>
                    <a:pt x="100" y="64"/>
                    <a:pt x="100" y="65"/>
                    <a:pt x="99" y="66"/>
                  </a:cubicBezTo>
                  <a:cubicBezTo>
                    <a:pt x="99" y="66"/>
                    <a:pt x="99" y="67"/>
                    <a:pt x="99" y="67"/>
                  </a:cubicBezTo>
                  <a:cubicBezTo>
                    <a:pt x="99" y="69"/>
                    <a:pt x="99" y="70"/>
                    <a:pt x="98" y="71"/>
                  </a:cubicBezTo>
                  <a:cubicBezTo>
                    <a:pt x="98" y="73"/>
                    <a:pt x="98" y="74"/>
                    <a:pt x="98" y="75"/>
                  </a:cubicBezTo>
                  <a:cubicBezTo>
                    <a:pt x="97" y="76"/>
                    <a:pt x="95" y="76"/>
                    <a:pt x="94" y="76"/>
                  </a:cubicBezTo>
                  <a:cubicBezTo>
                    <a:pt x="92" y="77"/>
                    <a:pt x="91" y="79"/>
                    <a:pt x="90" y="81"/>
                  </a:cubicBezTo>
                  <a:cubicBezTo>
                    <a:pt x="89" y="82"/>
                    <a:pt x="89" y="83"/>
                    <a:pt x="89" y="84"/>
                  </a:cubicBezTo>
                  <a:cubicBezTo>
                    <a:pt x="88" y="86"/>
                    <a:pt x="89" y="87"/>
                    <a:pt x="88" y="89"/>
                  </a:cubicBezTo>
                  <a:cubicBezTo>
                    <a:pt x="88" y="91"/>
                    <a:pt x="86" y="94"/>
                    <a:pt x="84" y="96"/>
                  </a:cubicBezTo>
                  <a:cubicBezTo>
                    <a:pt x="83" y="96"/>
                    <a:pt x="81" y="97"/>
                    <a:pt x="81" y="98"/>
                  </a:cubicBezTo>
                  <a:cubicBezTo>
                    <a:pt x="80" y="99"/>
                    <a:pt x="80" y="101"/>
                    <a:pt x="80" y="102"/>
                  </a:cubicBezTo>
                  <a:cubicBezTo>
                    <a:pt x="79" y="103"/>
                    <a:pt x="79" y="104"/>
                    <a:pt x="78" y="105"/>
                  </a:cubicBezTo>
                  <a:cubicBezTo>
                    <a:pt x="77" y="106"/>
                    <a:pt x="77" y="107"/>
                    <a:pt x="77" y="108"/>
                  </a:cubicBezTo>
                  <a:cubicBezTo>
                    <a:pt x="76" y="109"/>
                    <a:pt x="76" y="109"/>
                    <a:pt x="75" y="109"/>
                  </a:cubicBezTo>
                  <a:cubicBezTo>
                    <a:pt x="75" y="110"/>
                    <a:pt x="75" y="112"/>
                    <a:pt x="75" y="113"/>
                  </a:cubicBezTo>
                  <a:cubicBezTo>
                    <a:pt x="75" y="115"/>
                    <a:pt x="74" y="117"/>
                    <a:pt x="74" y="118"/>
                  </a:cubicBezTo>
                  <a:cubicBezTo>
                    <a:pt x="74" y="120"/>
                    <a:pt x="74" y="122"/>
                    <a:pt x="73" y="123"/>
                  </a:cubicBezTo>
                  <a:cubicBezTo>
                    <a:pt x="72" y="125"/>
                    <a:pt x="71" y="126"/>
                    <a:pt x="70" y="126"/>
                  </a:cubicBezTo>
                  <a:cubicBezTo>
                    <a:pt x="70" y="127"/>
                    <a:pt x="70" y="127"/>
                    <a:pt x="69" y="12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7" y="128"/>
                    <a:pt x="67" y="128"/>
                    <a:pt x="67" y="129"/>
                  </a:cubicBezTo>
                  <a:cubicBezTo>
                    <a:pt x="66" y="129"/>
                    <a:pt x="66" y="132"/>
                    <a:pt x="64" y="132"/>
                  </a:cubicBezTo>
                  <a:cubicBezTo>
                    <a:pt x="64" y="132"/>
                    <a:pt x="64" y="132"/>
                    <a:pt x="64" y="133"/>
                  </a:cubicBezTo>
                  <a:cubicBezTo>
                    <a:pt x="62" y="133"/>
                    <a:pt x="63" y="134"/>
                    <a:pt x="62" y="135"/>
                  </a:cubicBezTo>
                  <a:cubicBezTo>
                    <a:pt x="61" y="136"/>
                    <a:pt x="60" y="136"/>
                    <a:pt x="59" y="137"/>
                  </a:cubicBezTo>
                  <a:cubicBezTo>
                    <a:pt x="59" y="138"/>
                    <a:pt x="59" y="139"/>
                    <a:pt x="59" y="139"/>
                  </a:cubicBezTo>
                  <a:cubicBezTo>
                    <a:pt x="59" y="140"/>
                    <a:pt x="58" y="140"/>
                    <a:pt x="58" y="141"/>
                  </a:cubicBezTo>
                  <a:cubicBezTo>
                    <a:pt x="57" y="142"/>
                    <a:pt x="56" y="143"/>
                    <a:pt x="55" y="145"/>
                  </a:cubicBezTo>
                  <a:cubicBezTo>
                    <a:pt x="55" y="146"/>
                    <a:pt x="54" y="148"/>
                    <a:pt x="54" y="149"/>
                  </a:cubicBezTo>
                  <a:cubicBezTo>
                    <a:pt x="54" y="149"/>
                    <a:pt x="55" y="150"/>
                    <a:pt x="54" y="151"/>
                  </a:cubicBezTo>
                  <a:cubicBezTo>
                    <a:pt x="54" y="151"/>
                    <a:pt x="53" y="151"/>
                    <a:pt x="53" y="152"/>
                  </a:cubicBezTo>
                  <a:cubicBezTo>
                    <a:pt x="53" y="152"/>
                    <a:pt x="53" y="153"/>
                    <a:pt x="52" y="154"/>
                  </a:cubicBezTo>
                  <a:cubicBezTo>
                    <a:pt x="52" y="154"/>
                    <a:pt x="51" y="155"/>
                    <a:pt x="51" y="155"/>
                  </a:cubicBezTo>
                  <a:cubicBezTo>
                    <a:pt x="50" y="156"/>
                    <a:pt x="50" y="157"/>
                    <a:pt x="49" y="158"/>
                  </a:cubicBezTo>
                  <a:cubicBezTo>
                    <a:pt x="49" y="159"/>
                    <a:pt x="48" y="159"/>
                    <a:pt x="48" y="159"/>
                  </a:cubicBezTo>
                  <a:cubicBezTo>
                    <a:pt x="48" y="158"/>
                    <a:pt x="47" y="161"/>
                    <a:pt x="47" y="161"/>
                  </a:cubicBezTo>
                  <a:cubicBezTo>
                    <a:pt x="46" y="161"/>
                    <a:pt x="46" y="162"/>
                    <a:pt x="46" y="162"/>
                  </a:cubicBezTo>
                  <a:cubicBezTo>
                    <a:pt x="46" y="162"/>
                    <a:pt x="45" y="163"/>
                    <a:pt x="46" y="163"/>
                  </a:cubicBezTo>
                  <a:cubicBezTo>
                    <a:pt x="45" y="164"/>
                    <a:pt x="45" y="165"/>
                    <a:pt x="43" y="166"/>
                  </a:cubicBezTo>
                  <a:cubicBezTo>
                    <a:pt x="42" y="166"/>
                    <a:pt x="40" y="166"/>
                    <a:pt x="38" y="166"/>
                  </a:cubicBezTo>
                  <a:cubicBezTo>
                    <a:pt x="37" y="166"/>
                    <a:pt x="36" y="166"/>
                    <a:pt x="34" y="165"/>
                  </a:cubicBezTo>
                  <a:cubicBezTo>
                    <a:pt x="33" y="164"/>
                    <a:pt x="32" y="164"/>
                    <a:pt x="31" y="164"/>
                  </a:cubicBezTo>
                  <a:cubicBezTo>
                    <a:pt x="28" y="164"/>
                    <a:pt x="27" y="167"/>
                    <a:pt x="26" y="168"/>
                  </a:cubicBezTo>
                  <a:cubicBezTo>
                    <a:pt x="22" y="177"/>
                    <a:pt x="12" y="171"/>
                    <a:pt x="5" y="172"/>
                  </a:cubicBezTo>
                  <a:cubicBezTo>
                    <a:pt x="4" y="172"/>
                    <a:pt x="4" y="173"/>
                    <a:pt x="2" y="173"/>
                  </a:cubicBezTo>
                  <a:cubicBezTo>
                    <a:pt x="2" y="173"/>
                    <a:pt x="1" y="173"/>
                    <a:pt x="0" y="173"/>
                  </a:cubicBezTo>
                  <a:cubicBezTo>
                    <a:pt x="5" y="182"/>
                    <a:pt x="5" y="182"/>
                    <a:pt x="5" y="182"/>
                  </a:cubicBezTo>
                  <a:cubicBezTo>
                    <a:pt x="5" y="184"/>
                    <a:pt x="4" y="186"/>
                    <a:pt x="6" y="188"/>
                  </a:cubicBezTo>
                  <a:cubicBezTo>
                    <a:pt x="6" y="189"/>
                    <a:pt x="7" y="189"/>
                    <a:pt x="8" y="189"/>
                  </a:cubicBezTo>
                  <a:cubicBezTo>
                    <a:pt x="10" y="190"/>
                    <a:pt x="13" y="190"/>
                    <a:pt x="14" y="193"/>
                  </a:cubicBezTo>
                  <a:cubicBezTo>
                    <a:pt x="14" y="195"/>
                    <a:pt x="14" y="194"/>
                    <a:pt x="16" y="195"/>
                  </a:cubicBezTo>
                  <a:cubicBezTo>
                    <a:pt x="17" y="195"/>
                    <a:pt x="18" y="196"/>
                    <a:pt x="18" y="197"/>
                  </a:cubicBezTo>
                  <a:cubicBezTo>
                    <a:pt x="19" y="198"/>
                    <a:pt x="18" y="198"/>
                    <a:pt x="19" y="199"/>
                  </a:cubicBezTo>
                  <a:cubicBezTo>
                    <a:pt x="19" y="199"/>
                    <a:pt x="20" y="200"/>
                    <a:pt x="20" y="200"/>
                  </a:cubicBezTo>
                  <a:cubicBezTo>
                    <a:pt x="20" y="201"/>
                    <a:pt x="21" y="203"/>
                    <a:pt x="22" y="203"/>
                  </a:cubicBezTo>
                  <a:cubicBezTo>
                    <a:pt x="23" y="203"/>
                    <a:pt x="23" y="202"/>
                    <a:pt x="24" y="202"/>
                  </a:cubicBezTo>
                  <a:cubicBezTo>
                    <a:pt x="24" y="201"/>
                    <a:pt x="25" y="202"/>
                    <a:pt x="26" y="202"/>
                  </a:cubicBezTo>
                  <a:cubicBezTo>
                    <a:pt x="27" y="202"/>
                    <a:pt x="28" y="202"/>
                    <a:pt x="29" y="203"/>
                  </a:cubicBezTo>
                  <a:cubicBezTo>
                    <a:pt x="30" y="205"/>
                    <a:pt x="29" y="208"/>
                    <a:pt x="29" y="210"/>
                  </a:cubicBezTo>
                  <a:cubicBezTo>
                    <a:pt x="29" y="211"/>
                    <a:pt x="29" y="213"/>
                    <a:pt x="29" y="214"/>
                  </a:cubicBezTo>
                  <a:cubicBezTo>
                    <a:pt x="29" y="215"/>
                    <a:pt x="28" y="215"/>
                    <a:pt x="28" y="216"/>
                  </a:cubicBezTo>
                  <a:cubicBezTo>
                    <a:pt x="27" y="218"/>
                    <a:pt x="28" y="222"/>
                    <a:pt x="30" y="222"/>
                  </a:cubicBezTo>
                  <a:cubicBezTo>
                    <a:pt x="31" y="223"/>
                    <a:pt x="28" y="225"/>
                    <a:pt x="27" y="226"/>
                  </a:cubicBezTo>
                  <a:cubicBezTo>
                    <a:pt x="27" y="227"/>
                    <a:pt x="27" y="228"/>
                    <a:pt x="28" y="229"/>
                  </a:cubicBezTo>
                  <a:cubicBezTo>
                    <a:pt x="28" y="231"/>
                    <a:pt x="29" y="231"/>
                    <a:pt x="31" y="231"/>
                  </a:cubicBezTo>
                  <a:cubicBezTo>
                    <a:pt x="34" y="232"/>
                    <a:pt x="34" y="232"/>
                    <a:pt x="34" y="235"/>
                  </a:cubicBezTo>
                  <a:cubicBezTo>
                    <a:pt x="34" y="236"/>
                    <a:pt x="34" y="237"/>
                    <a:pt x="34" y="238"/>
                  </a:cubicBezTo>
                  <a:cubicBezTo>
                    <a:pt x="35" y="239"/>
                    <a:pt x="36" y="240"/>
                    <a:pt x="38" y="241"/>
                  </a:cubicBezTo>
                  <a:cubicBezTo>
                    <a:pt x="44" y="243"/>
                    <a:pt x="50" y="243"/>
                    <a:pt x="57" y="243"/>
                  </a:cubicBezTo>
                  <a:cubicBezTo>
                    <a:pt x="58" y="243"/>
                    <a:pt x="59" y="243"/>
                    <a:pt x="60" y="244"/>
                  </a:cubicBezTo>
                  <a:cubicBezTo>
                    <a:pt x="61" y="245"/>
                    <a:pt x="61" y="245"/>
                    <a:pt x="61" y="246"/>
                  </a:cubicBezTo>
                  <a:cubicBezTo>
                    <a:pt x="62" y="246"/>
                    <a:pt x="63" y="246"/>
                    <a:pt x="63" y="247"/>
                  </a:cubicBezTo>
                  <a:cubicBezTo>
                    <a:pt x="64" y="248"/>
                    <a:pt x="63" y="248"/>
                    <a:pt x="62" y="249"/>
                  </a:cubicBezTo>
                  <a:cubicBezTo>
                    <a:pt x="62" y="250"/>
                    <a:pt x="62" y="251"/>
                    <a:pt x="63" y="252"/>
                  </a:cubicBezTo>
                  <a:cubicBezTo>
                    <a:pt x="64" y="253"/>
                    <a:pt x="65" y="253"/>
                    <a:pt x="65" y="254"/>
                  </a:cubicBezTo>
                  <a:cubicBezTo>
                    <a:pt x="65" y="255"/>
                    <a:pt x="64" y="256"/>
                    <a:pt x="63" y="257"/>
                  </a:cubicBezTo>
                  <a:cubicBezTo>
                    <a:pt x="62" y="258"/>
                    <a:pt x="61" y="258"/>
                    <a:pt x="61" y="260"/>
                  </a:cubicBezTo>
                  <a:cubicBezTo>
                    <a:pt x="61" y="260"/>
                    <a:pt x="61" y="261"/>
                    <a:pt x="60" y="261"/>
                  </a:cubicBezTo>
                  <a:cubicBezTo>
                    <a:pt x="60" y="262"/>
                    <a:pt x="60" y="262"/>
                    <a:pt x="60" y="262"/>
                  </a:cubicBezTo>
                  <a:cubicBezTo>
                    <a:pt x="59" y="263"/>
                    <a:pt x="58" y="263"/>
                    <a:pt x="58" y="264"/>
                  </a:cubicBezTo>
                  <a:cubicBezTo>
                    <a:pt x="57" y="265"/>
                    <a:pt x="58" y="268"/>
                    <a:pt x="59" y="269"/>
                  </a:cubicBezTo>
                  <a:cubicBezTo>
                    <a:pt x="60" y="270"/>
                    <a:pt x="62" y="270"/>
                    <a:pt x="63" y="271"/>
                  </a:cubicBezTo>
                  <a:cubicBezTo>
                    <a:pt x="63" y="271"/>
                    <a:pt x="64" y="272"/>
                    <a:pt x="65" y="273"/>
                  </a:cubicBezTo>
                  <a:cubicBezTo>
                    <a:pt x="66" y="274"/>
                    <a:pt x="67" y="277"/>
                    <a:pt x="65" y="278"/>
                  </a:cubicBezTo>
                  <a:cubicBezTo>
                    <a:pt x="64" y="278"/>
                    <a:pt x="62" y="277"/>
                    <a:pt x="60" y="278"/>
                  </a:cubicBezTo>
                  <a:cubicBezTo>
                    <a:pt x="59" y="278"/>
                    <a:pt x="59" y="279"/>
                    <a:pt x="58" y="280"/>
                  </a:cubicBezTo>
                  <a:cubicBezTo>
                    <a:pt x="57" y="281"/>
                    <a:pt x="56" y="281"/>
                    <a:pt x="57" y="282"/>
                  </a:cubicBezTo>
                  <a:cubicBezTo>
                    <a:pt x="57" y="283"/>
                    <a:pt x="57" y="284"/>
                    <a:pt x="58" y="285"/>
                  </a:cubicBezTo>
                  <a:cubicBezTo>
                    <a:pt x="59" y="285"/>
                    <a:pt x="60" y="285"/>
                    <a:pt x="61" y="285"/>
                  </a:cubicBezTo>
                  <a:cubicBezTo>
                    <a:pt x="62" y="285"/>
                    <a:pt x="65" y="285"/>
                    <a:pt x="65" y="285"/>
                  </a:cubicBezTo>
                  <a:cubicBezTo>
                    <a:pt x="66" y="286"/>
                    <a:pt x="66" y="286"/>
                    <a:pt x="66" y="287"/>
                  </a:cubicBezTo>
                  <a:cubicBezTo>
                    <a:pt x="66" y="287"/>
                    <a:pt x="67" y="288"/>
                    <a:pt x="67" y="288"/>
                  </a:cubicBezTo>
                  <a:cubicBezTo>
                    <a:pt x="67" y="289"/>
                    <a:pt x="67" y="289"/>
                    <a:pt x="67" y="290"/>
                  </a:cubicBezTo>
                  <a:cubicBezTo>
                    <a:pt x="68" y="291"/>
                    <a:pt x="69" y="291"/>
                    <a:pt x="70" y="292"/>
                  </a:cubicBezTo>
                  <a:cubicBezTo>
                    <a:pt x="70" y="292"/>
                    <a:pt x="71" y="292"/>
                    <a:pt x="71" y="292"/>
                  </a:cubicBezTo>
                  <a:cubicBezTo>
                    <a:pt x="71" y="292"/>
                    <a:pt x="71" y="292"/>
                    <a:pt x="71" y="292"/>
                  </a:cubicBezTo>
                  <a:cubicBezTo>
                    <a:pt x="74" y="293"/>
                    <a:pt x="77" y="294"/>
                    <a:pt x="80" y="295"/>
                  </a:cubicBezTo>
                  <a:cubicBezTo>
                    <a:pt x="83" y="296"/>
                    <a:pt x="85" y="298"/>
                    <a:pt x="87" y="300"/>
                  </a:cubicBezTo>
                  <a:cubicBezTo>
                    <a:pt x="88" y="300"/>
                    <a:pt x="89" y="301"/>
                    <a:pt x="90" y="301"/>
                  </a:cubicBezTo>
                  <a:cubicBezTo>
                    <a:pt x="91" y="302"/>
                    <a:pt x="92" y="302"/>
                    <a:pt x="93" y="303"/>
                  </a:cubicBezTo>
                  <a:cubicBezTo>
                    <a:pt x="93" y="303"/>
                    <a:pt x="93" y="305"/>
                    <a:pt x="94" y="305"/>
                  </a:cubicBezTo>
                  <a:cubicBezTo>
                    <a:pt x="94" y="307"/>
                    <a:pt x="94" y="307"/>
                    <a:pt x="96" y="307"/>
                  </a:cubicBezTo>
                  <a:cubicBezTo>
                    <a:pt x="99" y="308"/>
                    <a:pt x="100" y="308"/>
                    <a:pt x="102" y="306"/>
                  </a:cubicBezTo>
                  <a:cubicBezTo>
                    <a:pt x="103" y="305"/>
                    <a:pt x="103" y="306"/>
                    <a:pt x="104" y="304"/>
                  </a:cubicBezTo>
                  <a:cubicBezTo>
                    <a:pt x="104" y="304"/>
                    <a:pt x="104" y="303"/>
                    <a:pt x="104" y="303"/>
                  </a:cubicBezTo>
                  <a:cubicBezTo>
                    <a:pt x="105" y="302"/>
                    <a:pt x="105" y="301"/>
                    <a:pt x="105" y="301"/>
                  </a:cubicBezTo>
                  <a:cubicBezTo>
                    <a:pt x="106" y="300"/>
                    <a:pt x="106" y="299"/>
                    <a:pt x="107" y="299"/>
                  </a:cubicBezTo>
                  <a:cubicBezTo>
                    <a:pt x="109" y="297"/>
                    <a:pt x="109" y="294"/>
                    <a:pt x="112" y="293"/>
                  </a:cubicBezTo>
                  <a:cubicBezTo>
                    <a:pt x="115" y="292"/>
                    <a:pt x="117" y="295"/>
                    <a:pt x="120" y="296"/>
                  </a:cubicBezTo>
                  <a:cubicBezTo>
                    <a:pt x="123" y="298"/>
                    <a:pt x="125" y="298"/>
                    <a:pt x="128" y="300"/>
                  </a:cubicBezTo>
                  <a:cubicBezTo>
                    <a:pt x="130" y="301"/>
                    <a:pt x="133" y="302"/>
                    <a:pt x="132" y="305"/>
                  </a:cubicBezTo>
                  <a:cubicBezTo>
                    <a:pt x="131" y="307"/>
                    <a:pt x="128" y="307"/>
                    <a:pt x="125" y="307"/>
                  </a:cubicBezTo>
                  <a:cubicBezTo>
                    <a:pt x="124" y="308"/>
                    <a:pt x="123" y="308"/>
                    <a:pt x="122" y="309"/>
                  </a:cubicBezTo>
                  <a:cubicBezTo>
                    <a:pt x="121" y="309"/>
                    <a:pt x="121" y="309"/>
                    <a:pt x="120" y="310"/>
                  </a:cubicBezTo>
                  <a:cubicBezTo>
                    <a:pt x="120" y="310"/>
                    <a:pt x="118" y="310"/>
                    <a:pt x="118" y="311"/>
                  </a:cubicBezTo>
                  <a:cubicBezTo>
                    <a:pt x="118" y="312"/>
                    <a:pt x="118" y="312"/>
                    <a:pt x="118" y="313"/>
                  </a:cubicBezTo>
                  <a:cubicBezTo>
                    <a:pt x="117" y="313"/>
                    <a:pt x="117" y="313"/>
                    <a:pt x="116" y="314"/>
                  </a:cubicBezTo>
                  <a:cubicBezTo>
                    <a:pt x="116" y="315"/>
                    <a:pt x="117" y="315"/>
                    <a:pt x="117" y="316"/>
                  </a:cubicBezTo>
                  <a:cubicBezTo>
                    <a:pt x="117" y="317"/>
                    <a:pt x="118" y="318"/>
                    <a:pt x="119" y="318"/>
                  </a:cubicBezTo>
                  <a:cubicBezTo>
                    <a:pt x="119" y="319"/>
                    <a:pt x="118" y="321"/>
                    <a:pt x="119" y="322"/>
                  </a:cubicBezTo>
                  <a:cubicBezTo>
                    <a:pt x="120" y="323"/>
                    <a:pt x="121" y="323"/>
                    <a:pt x="122" y="324"/>
                  </a:cubicBezTo>
                  <a:cubicBezTo>
                    <a:pt x="122" y="324"/>
                    <a:pt x="123" y="325"/>
                    <a:pt x="123" y="326"/>
                  </a:cubicBezTo>
                  <a:cubicBezTo>
                    <a:pt x="125" y="327"/>
                    <a:pt x="126" y="329"/>
                    <a:pt x="126" y="331"/>
                  </a:cubicBezTo>
                  <a:cubicBezTo>
                    <a:pt x="126" y="332"/>
                    <a:pt x="126" y="333"/>
                    <a:pt x="126" y="334"/>
                  </a:cubicBezTo>
                  <a:cubicBezTo>
                    <a:pt x="128" y="334"/>
                    <a:pt x="130" y="335"/>
                    <a:pt x="132" y="335"/>
                  </a:cubicBezTo>
                  <a:cubicBezTo>
                    <a:pt x="134" y="336"/>
                    <a:pt x="135" y="337"/>
                    <a:pt x="136" y="338"/>
                  </a:cubicBezTo>
                  <a:cubicBezTo>
                    <a:pt x="139" y="340"/>
                    <a:pt x="144" y="341"/>
                    <a:pt x="145" y="344"/>
                  </a:cubicBezTo>
                  <a:cubicBezTo>
                    <a:pt x="146" y="347"/>
                    <a:pt x="143" y="348"/>
                    <a:pt x="141" y="349"/>
                  </a:cubicBezTo>
                  <a:cubicBezTo>
                    <a:pt x="140" y="350"/>
                    <a:pt x="138" y="351"/>
                    <a:pt x="137" y="352"/>
                  </a:cubicBezTo>
                  <a:cubicBezTo>
                    <a:pt x="136" y="352"/>
                    <a:pt x="136" y="355"/>
                    <a:pt x="136" y="356"/>
                  </a:cubicBezTo>
                  <a:cubicBezTo>
                    <a:pt x="136" y="358"/>
                    <a:pt x="136" y="363"/>
                    <a:pt x="138" y="365"/>
                  </a:cubicBezTo>
                  <a:cubicBezTo>
                    <a:pt x="140" y="366"/>
                    <a:pt x="141" y="366"/>
                    <a:pt x="143" y="366"/>
                  </a:cubicBezTo>
                  <a:cubicBezTo>
                    <a:pt x="145" y="366"/>
                    <a:pt x="146" y="367"/>
                    <a:pt x="148" y="367"/>
                  </a:cubicBezTo>
                  <a:cubicBezTo>
                    <a:pt x="151" y="368"/>
                    <a:pt x="153" y="364"/>
                    <a:pt x="157" y="364"/>
                  </a:cubicBezTo>
                  <a:cubicBezTo>
                    <a:pt x="162" y="364"/>
                    <a:pt x="166" y="365"/>
                    <a:pt x="171" y="365"/>
                  </a:cubicBezTo>
                  <a:cubicBezTo>
                    <a:pt x="174" y="365"/>
                    <a:pt x="177" y="365"/>
                    <a:pt x="180" y="367"/>
                  </a:cubicBezTo>
                  <a:cubicBezTo>
                    <a:pt x="182" y="367"/>
                    <a:pt x="183" y="368"/>
                    <a:pt x="185" y="369"/>
                  </a:cubicBezTo>
                  <a:cubicBezTo>
                    <a:pt x="186" y="369"/>
                    <a:pt x="188" y="369"/>
                    <a:pt x="189" y="370"/>
                  </a:cubicBezTo>
                  <a:cubicBezTo>
                    <a:pt x="192" y="371"/>
                    <a:pt x="194" y="372"/>
                    <a:pt x="197" y="373"/>
                  </a:cubicBezTo>
                  <a:cubicBezTo>
                    <a:pt x="198" y="374"/>
                    <a:pt x="200" y="375"/>
                    <a:pt x="201" y="375"/>
                  </a:cubicBezTo>
                  <a:cubicBezTo>
                    <a:pt x="202" y="375"/>
                    <a:pt x="202" y="374"/>
                    <a:pt x="203" y="374"/>
                  </a:cubicBezTo>
                  <a:cubicBezTo>
                    <a:pt x="207" y="374"/>
                    <a:pt x="209" y="378"/>
                    <a:pt x="213" y="379"/>
                  </a:cubicBezTo>
                  <a:cubicBezTo>
                    <a:pt x="215" y="379"/>
                    <a:pt x="219" y="379"/>
                    <a:pt x="221" y="378"/>
                  </a:cubicBezTo>
                  <a:cubicBezTo>
                    <a:pt x="223" y="377"/>
                    <a:pt x="225" y="375"/>
                    <a:pt x="228" y="375"/>
                  </a:cubicBezTo>
                  <a:cubicBezTo>
                    <a:pt x="232" y="374"/>
                    <a:pt x="236" y="375"/>
                    <a:pt x="240" y="376"/>
                  </a:cubicBezTo>
                  <a:cubicBezTo>
                    <a:pt x="242" y="376"/>
                    <a:pt x="244" y="376"/>
                    <a:pt x="246" y="375"/>
                  </a:cubicBezTo>
                  <a:cubicBezTo>
                    <a:pt x="248" y="374"/>
                    <a:pt x="248" y="373"/>
                    <a:pt x="251" y="374"/>
                  </a:cubicBezTo>
                  <a:cubicBezTo>
                    <a:pt x="253" y="375"/>
                    <a:pt x="255" y="378"/>
                    <a:pt x="257" y="378"/>
                  </a:cubicBezTo>
                  <a:cubicBezTo>
                    <a:pt x="259" y="378"/>
                    <a:pt x="261" y="378"/>
                    <a:pt x="263" y="378"/>
                  </a:cubicBezTo>
                  <a:cubicBezTo>
                    <a:pt x="266" y="379"/>
                    <a:pt x="269" y="380"/>
                    <a:pt x="271" y="381"/>
                  </a:cubicBezTo>
                  <a:cubicBezTo>
                    <a:pt x="272" y="381"/>
                    <a:pt x="273" y="382"/>
                    <a:pt x="274" y="382"/>
                  </a:cubicBezTo>
                  <a:cubicBezTo>
                    <a:pt x="275" y="382"/>
                    <a:pt x="275" y="382"/>
                    <a:pt x="275" y="382"/>
                  </a:cubicBezTo>
                  <a:cubicBezTo>
                    <a:pt x="278" y="382"/>
                    <a:pt x="281" y="384"/>
                    <a:pt x="283" y="384"/>
                  </a:cubicBezTo>
                  <a:cubicBezTo>
                    <a:pt x="285" y="384"/>
                    <a:pt x="285" y="384"/>
                    <a:pt x="286" y="383"/>
                  </a:cubicBezTo>
                  <a:cubicBezTo>
                    <a:pt x="288" y="382"/>
                    <a:pt x="289" y="382"/>
                    <a:pt x="290" y="381"/>
                  </a:cubicBezTo>
                  <a:cubicBezTo>
                    <a:pt x="292" y="379"/>
                    <a:pt x="293" y="379"/>
                    <a:pt x="295" y="379"/>
                  </a:cubicBezTo>
                  <a:cubicBezTo>
                    <a:pt x="297" y="379"/>
                    <a:pt x="299" y="380"/>
                    <a:pt x="300" y="378"/>
                  </a:cubicBezTo>
                  <a:cubicBezTo>
                    <a:pt x="301" y="377"/>
                    <a:pt x="300" y="376"/>
                    <a:pt x="300" y="375"/>
                  </a:cubicBezTo>
                  <a:cubicBezTo>
                    <a:pt x="301" y="373"/>
                    <a:pt x="304" y="372"/>
                    <a:pt x="305" y="371"/>
                  </a:cubicBezTo>
                  <a:cubicBezTo>
                    <a:pt x="307" y="370"/>
                    <a:pt x="308" y="369"/>
                    <a:pt x="308" y="367"/>
                  </a:cubicBezTo>
                  <a:cubicBezTo>
                    <a:pt x="308" y="366"/>
                    <a:pt x="308" y="365"/>
                    <a:pt x="308" y="364"/>
                  </a:cubicBezTo>
                  <a:cubicBezTo>
                    <a:pt x="309" y="363"/>
                    <a:pt x="311" y="362"/>
                    <a:pt x="313" y="361"/>
                  </a:cubicBezTo>
                  <a:cubicBezTo>
                    <a:pt x="314" y="360"/>
                    <a:pt x="315" y="359"/>
                    <a:pt x="316" y="359"/>
                  </a:cubicBezTo>
                  <a:cubicBezTo>
                    <a:pt x="318" y="357"/>
                    <a:pt x="321" y="357"/>
                    <a:pt x="324" y="356"/>
                  </a:cubicBezTo>
                  <a:cubicBezTo>
                    <a:pt x="326" y="355"/>
                    <a:pt x="328" y="355"/>
                    <a:pt x="331" y="355"/>
                  </a:cubicBezTo>
                  <a:cubicBezTo>
                    <a:pt x="333" y="354"/>
                    <a:pt x="334" y="354"/>
                    <a:pt x="335" y="353"/>
                  </a:cubicBezTo>
                  <a:cubicBezTo>
                    <a:pt x="338" y="352"/>
                    <a:pt x="341" y="350"/>
                    <a:pt x="344" y="350"/>
                  </a:cubicBezTo>
                  <a:cubicBezTo>
                    <a:pt x="346" y="350"/>
                    <a:pt x="349" y="350"/>
                    <a:pt x="351" y="350"/>
                  </a:cubicBezTo>
                  <a:cubicBezTo>
                    <a:pt x="354" y="350"/>
                    <a:pt x="356" y="350"/>
                    <a:pt x="358" y="349"/>
                  </a:cubicBezTo>
                  <a:cubicBezTo>
                    <a:pt x="361" y="348"/>
                    <a:pt x="363" y="347"/>
                    <a:pt x="366" y="345"/>
                  </a:cubicBezTo>
                  <a:cubicBezTo>
                    <a:pt x="368" y="344"/>
                    <a:pt x="370" y="342"/>
                    <a:pt x="373" y="343"/>
                  </a:cubicBezTo>
                  <a:cubicBezTo>
                    <a:pt x="374" y="343"/>
                    <a:pt x="376" y="344"/>
                    <a:pt x="377" y="345"/>
                  </a:cubicBezTo>
                  <a:cubicBezTo>
                    <a:pt x="378" y="345"/>
                    <a:pt x="380" y="346"/>
                    <a:pt x="382" y="347"/>
                  </a:cubicBezTo>
                  <a:cubicBezTo>
                    <a:pt x="383" y="348"/>
                    <a:pt x="383" y="349"/>
                    <a:pt x="384" y="350"/>
                  </a:cubicBezTo>
                  <a:cubicBezTo>
                    <a:pt x="385" y="351"/>
                    <a:pt x="386" y="351"/>
                    <a:pt x="387" y="352"/>
                  </a:cubicBezTo>
                  <a:cubicBezTo>
                    <a:pt x="388" y="352"/>
                    <a:pt x="389" y="353"/>
                    <a:pt x="390" y="353"/>
                  </a:cubicBezTo>
                  <a:cubicBezTo>
                    <a:pt x="390" y="353"/>
                    <a:pt x="392" y="353"/>
                    <a:pt x="393" y="353"/>
                  </a:cubicBezTo>
                  <a:cubicBezTo>
                    <a:pt x="394" y="353"/>
                    <a:pt x="396" y="354"/>
                    <a:pt x="397" y="355"/>
                  </a:cubicBezTo>
                  <a:cubicBezTo>
                    <a:pt x="398" y="355"/>
                    <a:pt x="398" y="355"/>
                    <a:pt x="399" y="355"/>
                  </a:cubicBezTo>
                  <a:cubicBezTo>
                    <a:pt x="399" y="355"/>
                    <a:pt x="401" y="354"/>
                    <a:pt x="401" y="354"/>
                  </a:cubicBezTo>
                  <a:cubicBezTo>
                    <a:pt x="402" y="354"/>
                    <a:pt x="403" y="354"/>
                    <a:pt x="404" y="354"/>
                  </a:cubicBezTo>
                  <a:cubicBezTo>
                    <a:pt x="407" y="354"/>
                    <a:pt x="406" y="354"/>
                    <a:pt x="407" y="356"/>
                  </a:cubicBezTo>
                  <a:cubicBezTo>
                    <a:pt x="407" y="357"/>
                    <a:pt x="408" y="357"/>
                    <a:pt x="408" y="358"/>
                  </a:cubicBezTo>
                  <a:cubicBezTo>
                    <a:pt x="409" y="358"/>
                    <a:pt x="410" y="360"/>
                    <a:pt x="410" y="360"/>
                  </a:cubicBezTo>
                  <a:cubicBezTo>
                    <a:pt x="411" y="360"/>
                    <a:pt x="413" y="360"/>
                    <a:pt x="414" y="360"/>
                  </a:cubicBezTo>
                  <a:cubicBezTo>
                    <a:pt x="415" y="359"/>
                    <a:pt x="420" y="355"/>
                    <a:pt x="421" y="357"/>
                  </a:cubicBezTo>
                  <a:cubicBezTo>
                    <a:pt x="421" y="358"/>
                    <a:pt x="421" y="358"/>
                    <a:pt x="421" y="359"/>
                  </a:cubicBezTo>
                  <a:cubicBezTo>
                    <a:pt x="421" y="359"/>
                    <a:pt x="421" y="360"/>
                    <a:pt x="422" y="360"/>
                  </a:cubicBezTo>
                  <a:cubicBezTo>
                    <a:pt x="423" y="362"/>
                    <a:pt x="423" y="362"/>
                    <a:pt x="423" y="364"/>
                  </a:cubicBezTo>
                  <a:cubicBezTo>
                    <a:pt x="424" y="365"/>
                    <a:pt x="423" y="366"/>
                    <a:pt x="424" y="367"/>
                  </a:cubicBezTo>
                  <a:cubicBezTo>
                    <a:pt x="425" y="368"/>
                    <a:pt x="425" y="368"/>
                    <a:pt x="426" y="368"/>
                  </a:cubicBezTo>
                  <a:cubicBezTo>
                    <a:pt x="426" y="368"/>
                    <a:pt x="426" y="369"/>
                    <a:pt x="426" y="369"/>
                  </a:cubicBezTo>
                  <a:cubicBezTo>
                    <a:pt x="427" y="370"/>
                    <a:pt x="428" y="370"/>
                    <a:pt x="428" y="372"/>
                  </a:cubicBezTo>
                  <a:cubicBezTo>
                    <a:pt x="429" y="372"/>
                    <a:pt x="428" y="373"/>
                    <a:pt x="429" y="373"/>
                  </a:cubicBezTo>
                  <a:cubicBezTo>
                    <a:pt x="429" y="374"/>
                    <a:pt x="430" y="375"/>
                    <a:pt x="431" y="375"/>
                  </a:cubicBezTo>
                  <a:cubicBezTo>
                    <a:pt x="433" y="376"/>
                    <a:pt x="436" y="376"/>
                    <a:pt x="439" y="377"/>
                  </a:cubicBezTo>
                  <a:cubicBezTo>
                    <a:pt x="441" y="377"/>
                    <a:pt x="443" y="378"/>
                    <a:pt x="446" y="379"/>
                  </a:cubicBezTo>
                  <a:cubicBezTo>
                    <a:pt x="449" y="379"/>
                    <a:pt x="452" y="379"/>
                    <a:pt x="456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9"/>
                    <a:pt x="455" y="379"/>
                    <a:pt x="455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8"/>
                    <a:pt x="456" y="377"/>
                    <a:pt x="456" y="376"/>
                  </a:cubicBezTo>
                  <a:cubicBezTo>
                    <a:pt x="457" y="372"/>
                    <a:pt x="458" y="369"/>
                    <a:pt x="458" y="366"/>
                  </a:cubicBezTo>
                  <a:cubicBezTo>
                    <a:pt x="458" y="362"/>
                    <a:pt x="458" y="359"/>
                    <a:pt x="458" y="356"/>
                  </a:cubicBezTo>
                  <a:cubicBezTo>
                    <a:pt x="458" y="347"/>
                    <a:pt x="457" y="340"/>
                    <a:pt x="462" y="332"/>
                  </a:cubicBezTo>
                  <a:cubicBezTo>
                    <a:pt x="465" y="330"/>
                    <a:pt x="466" y="328"/>
                    <a:pt x="466" y="325"/>
                  </a:cubicBezTo>
                  <a:cubicBezTo>
                    <a:pt x="466" y="323"/>
                    <a:pt x="466" y="322"/>
                    <a:pt x="466" y="321"/>
                  </a:cubicBezTo>
                  <a:cubicBezTo>
                    <a:pt x="466" y="321"/>
                    <a:pt x="467" y="319"/>
                    <a:pt x="467" y="319"/>
                  </a:cubicBezTo>
                  <a:cubicBezTo>
                    <a:pt x="467" y="318"/>
                    <a:pt x="467" y="317"/>
                    <a:pt x="468" y="316"/>
                  </a:cubicBezTo>
                  <a:cubicBezTo>
                    <a:pt x="469" y="314"/>
                    <a:pt x="469" y="312"/>
                    <a:pt x="469" y="309"/>
                  </a:cubicBezTo>
                  <a:cubicBezTo>
                    <a:pt x="469" y="308"/>
                    <a:pt x="468" y="306"/>
                    <a:pt x="467" y="305"/>
                  </a:cubicBezTo>
                  <a:cubicBezTo>
                    <a:pt x="466" y="304"/>
                    <a:pt x="465" y="304"/>
                    <a:pt x="464" y="302"/>
                  </a:cubicBezTo>
                  <a:cubicBezTo>
                    <a:pt x="466" y="302"/>
                    <a:pt x="468" y="302"/>
                    <a:pt x="470" y="302"/>
                  </a:cubicBezTo>
                  <a:cubicBezTo>
                    <a:pt x="472" y="302"/>
                    <a:pt x="472" y="301"/>
                    <a:pt x="474" y="299"/>
                  </a:cubicBezTo>
                  <a:cubicBezTo>
                    <a:pt x="475" y="297"/>
                    <a:pt x="476" y="296"/>
                    <a:pt x="476" y="294"/>
                  </a:cubicBezTo>
                  <a:cubicBezTo>
                    <a:pt x="476" y="291"/>
                    <a:pt x="473" y="290"/>
                    <a:pt x="472" y="288"/>
                  </a:cubicBezTo>
                  <a:cubicBezTo>
                    <a:pt x="471" y="284"/>
                    <a:pt x="472" y="279"/>
                    <a:pt x="475" y="278"/>
                  </a:cubicBezTo>
                  <a:cubicBezTo>
                    <a:pt x="477" y="277"/>
                    <a:pt x="479" y="278"/>
                    <a:pt x="481" y="277"/>
                  </a:cubicBezTo>
                  <a:cubicBezTo>
                    <a:pt x="483" y="277"/>
                    <a:pt x="482" y="274"/>
                    <a:pt x="484" y="274"/>
                  </a:cubicBezTo>
                  <a:cubicBezTo>
                    <a:pt x="485" y="279"/>
                    <a:pt x="479" y="280"/>
                    <a:pt x="478" y="285"/>
                  </a:cubicBezTo>
                  <a:cubicBezTo>
                    <a:pt x="477" y="290"/>
                    <a:pt x="488" y="288"/>
                    <a:pt x="491" y="289"/>
                  </a:cubicBezTo>
                  <a:cubicBezTo>
                    <a:pt x="492" y="289"/>
                    <a:pt x="493" y="288"/>
                    <a:pt x="494" y="289"/>
                  </a:cubicBezTo>
                  <a:cubicBezTo>
                    <a:pt x="494" y="290"/>
                    <a:pt x="494" y="291"/>
                    <a:pt x="494" y="292"/>
                  </a:cubicBezTo>
                  <a:cubicBezTo>
                    <a:pt x="496" y="293"/>
                    <a:pt x="500" y="292"/>
                    <a:pt x="502" y="292"/>
                  </a:cubicBezTo>
                  <a:cubicBezTo>
                    <a:pt x="507" y="292"/>
                    <a:pt x="512" y="292"/>
                    <a:pt x="515" y="288"/>
                  </a:cubicBezTo>
                  <a:cubicBezTo>
                    <a:pt x="516" y="287"/>
                    <a:pt x="516" y="286"/>
                    <a:pt x="517" y="285"/>
                  </a:cubicBezTo>
                  <a:cubicBezTo>
                    <a:pt x="517" y="284"/>
                    <a:pt x="517" y="281"/>
                    <a:pt x="518" y="280"/>
                  </a:cubicBezTo>
                  <a:cubicBezTo>
                    <a:pt x="518" y="278"/>
                    <a:pt x="518" y="276"/>
                    <a:pt x="518" y="274"/>
                  </a:cubicBezTo>
                  <a:cubicBezTo>
                    <a:pt x="518" y="271"/>
                    <a:pt x="520" y="268"/>
                    <a:pt x="521" y="265"/>
                  </a:cubicBezTo>
                  <a:cubicBezTo>
                    <a:pt x="521" y="262"/>
                    <a:pt x="522" y="259"/>
                    <a:pt x="523" y="257"/>
                  </a:cubicBezTo>
                  <a:cubicBezTo>
                    <a:pt x="523" y="257"/>
                    <a:pt x="525" y="255"/>
                    <a:pt x="525" y="25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4" name="Freeform 35">
              <a:extLst>
                <a:ext uri="{FF2B5EF4-FFF2-40B4-BE49-F238E27FC236}">
                  <a16:creationId xmlns:a16="http://schemas.microsoft.com/office/drawing/2014/main" id="{27C21573-BAAD-4F96-9C57-D46057A61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0925" y="4779963"/>
              <a:ext cx="336550" cy="477838"/>
            </a:xfrm>
            <a:custGeom>
              <a:avLst/>
              <a:gdLst/>
              <a:ahLst/>
              <a:cxnLst>
                <a:cxn ang="0">
                  <a:pos x="169" y="144"/>
                </a:cxn>
                <a:cxn ang="0">
                  <a:pos x="163" y="133"/>
                </a:cxn>
                <a:cxn ang="0">
                  <a:pos x="158" y="123"/>
                </a:cxn>
                <a:cxn ang="0">
                  <a:pos x="159" y="115"/>
                </a:cxn>
                <a:cxn ang="0">
                  <a:pos x="160" y="101"/>
                </a:cxn>
                <a:cxn ang="0">
                  <a:pos x="150" y="101"/>
                </a:cxn>
                <a:cxn ang="0">
                  <a:pos x="144" y="96"/>
                </a:cxn>
                <a:cxn ang="0">
                  <a:pos x="136" y="85"/>
                </a:cxn>
                <a:cxn ang="0">
                  <a:pos x="139" y="74"/>
                </a:cxn>
                <a:cxn ang="0">
                  <a:pos x="141" y="63"/>
                </a:cxn>
                <a:cxn ang="0">
                  <a:pos x="141" y="56"/>
                </a:cxn>
                <a:cxn ang="0">
                  <a:pos x="141" y="48"/>
                </a:cxn>
                <a:cxn ang="0">
                  <a:pos x="130" y="48"/>
                </a:cxn>
                <a:cxn ang="0">
                  <a:pos x="121" y="45"/>
                </a:cxn>
                <a:cxn ang="0">
                  <a:pos x="115" y="35"/>
                </a:cxn>
                <a:cxn ang="0">
                  <a:pos x="107" y="31"/>
                </a:cxn>
                <a:cxn ang="0">
                  <a:pos x="97" y="37"/>
                </a:cxn>
                <a:cxn ang="0">
                  <a:pos x="95" y="29"/>
                </a:cxn>
                <a:cxn ang="0">
                  <a:pos x="92" y="24"/>
                </a:cxn>
                <a:cxn ang="0">
                  <a:pos x="80" y="23"/>
                </a:cxn>
                <a:cxn ang="0">
                  <a:pos x="75" y="18"/>
                </a:cxn>
                <a:cxn ang="0">
                  <a:pos x="60" y="7"/>
                </a:cxn>
                <a:cxn ang="0">
                  <a:pos x="48" y="4"/>
                </a:cxn>
                <a:cxn ang="0">
                  <a:pos x="36" y="6"/>
                </a:cxn>
                <a:cxn ang="0">
                  <a:pos x="25" y="11"/>
                </a:cxn>
                <a:cxn ang="0">
                  <a:pos x="12" y="13"/>
                </a:cxn>
                <a:cxn ang="0">
                  <a:pos x="4" y="7"/>
                </a:cxn>
                <a:cxn ang="0">
                  <a:pos x="2" y="18"/>
                </a:cxn>
                <a:cxn ang="0">
                  <a:pos x="11" y="33"/>
                </a:cxn>
                <a:cxn ang="0">
                  <a:pos x="34" y="65"/>
                </a:cxn>
                <a:cxn ang="0">
                  <a:pos x="38" y="84"/>
                </a:cxn>
                <a:cxn ang="0">
                  <a:pos x="51" y="98"/>
                </a:cxn>
                <a:cxn ang="0">
                  <a:pos x="67" y="125"/>
                </a:cxn>
                <a:cxn ang="0">
                  <a:pos x="84" y="157"/>
                </a:cxn>
                <a:cxn ang="0">
                  <a:pos x="77" y="227"/>
                </a:cxn>
                <a:cxn ang="0">
                  <a:pos x="88" y="252"/>
                </a:cxn>
                <a:cxn ang="0">
                  <a:pos x="98" y="253"/>
                </a:cxn>
                <a:cxn ang="0">
                  <a:pos x="99" y="244"/>
                </a:cxn>
                <a:cxn ang="0">
                  <a:pos x="101" y="234"/>
                </a:cxn>
                <a:cxn ang="0">
                  <a:pos x="108" y="228"/>
                </a:cxn>
                <a:cxn ang="0">
                  <a:pos x="126" y="211"/>
                </a:cxn>
                <a:cxn ang="0">
                  <a:pos x="128" y="195"/>
                </a:cxn>
                <a:cxn ang="0">
                  <a:pos x="126" y="182"/>
                </a:cxn>
                <a:cxn ang="0">
                  <a:pos x="127" y="172"/>
                </a:cxn>
                <a:cxn ang="0">
                  <a:pos x="143" y="169"/>
                </a:cxn>
                <a:cxn ang="0">
                  <a:pos x="142" y="180"/>
                </a:cxn>
                <a:cxn ang="0">
                  <a:pos x="146" y="171"/>
                </a:cxn>
                <a:cxn ang="0">
                  <a:pos x="155" y="176"/>
                </a:cxn>
                <a:cxn ang="0">
                  <a:pos x="163" y="185"/>
                </a:cxn>
                <a:cxn ang="0">
                  <a:pos x="171" y="172"/>
                </a:cxn>
                <a:cxn ang="0">
                  <a:pos x="178" y="165"/>
                </a:cxn>
              </a:cxnLst>
              <a:rect l="0" t="0" r="r" b="b"/>
              <a:pathLst>
                <a:path w="180" h="256">
                  <a:moveTo>
                    <a:pt x="180" y="147"/>
                  </a:moveTo>
                  <a:cubicBezTo>
                    <a:pt x="180" y="144"/>
                    <a:pt x="178" y="144"/>
                    <a:pt x="176" y="143"/>
                  </a:cubicBezTo>
                  <a:cubicBezTo>
                    <a:pt x="175" y="142"/>
                    <a:pt x="174" y="141"/>
                    <a:pt x="173" y="142"/>
                  </a:cubicBezTo>
                  <a:cubicBezTo>
                    <a:pt x="171" y="143"/>
                    <a:pt x="170" y="143"/>
                    <a:pt x="169" y="144"/>
                  </a:cubicBezTo>
                  <a:cubicBezTo>
                    <a:pt x="168" y="144"/>
                    <a:pt x="168" y="144"/>
                    <a:pt x="167" y="143"/>
                  </a:cubicBezTo>
                  <a:cubicBezTo>
                    <a:pt x="167" y="141"/>
                    <a:pt x="165" y="138"/>
                    <a:pt x="165" y="136"/>
                  </a:cubicBezTo>
                  <a:cubicBezTo>
                    <a:pt x="165" y="135"/>
                    <a:pt x="165" y="135"/>
                    <a:pt x="164" y="134"/>
                  </a:cubicBezTo>
                  <a:cubicBezTo>
                    <a:pt x="164" y="134"/>
                    <a:pt x="163" y="133"/>
                    <a:pt x="163" y="133"/>
                  </a:cubicBezTo>
                  <a:cubicBezTo>
                    <a:pt x="163" y="132"/>
                    <a:pt x="163" y="130"/>
                    <a:pt x="164" y="128"/>
                  </a:cubicBezTo>
                  <a:cubicBezTo>
                    <a:pt x="164" y="128"/>
                    <a:pt x="164" y="127"/>
                    <a:pt x="164" y="126"/>
                  </a:cubicBezTo>
                  <a:cubicBezTo>
                    <a:pt x="164" y="126"/>
                    <a:pt x="164" y="124"/>
                    <a:pt x="163" y="123"/>
                  </a:cubicBezTo>
                  <a:cubicBezTo>
                    <a:pt x="162" y="123"/>
                    <a:pt x="159" y="123"/>
                    <a:pt x="158" y="123"/>
                  </a:cubicBezTo>
                  <a:cubicBezTo>
                    <a:pt x="156" y="123"/>
                    <a:pt x="152" y="122"/>
                    <a:pt x="154" y="120"/>
                  </a:cubicBezTo>
                  <a:cubicBezTo>
                    <a:pt x="155" y="118"/>
                    <a:pt x="156" y="119"/>
                    <a:pt x="158" y="120"/>
                  </a:cubicBezTo>
                  <a:cubicBezTo>
                    <a:pt x="157" y="119"/>
                    <a:pt x="157" y="118"/>
                    <a:pt x="157" y="117"/>
                  </a:cubicBezTo>
                  <a:cubicBezTo>
                    <a:pt x="158" y="115"/>
                    <a:pt x="158" y="116"/>
                    <a:pt x="159" y="115"/>
                  </a:cubicBezTo>
                  <a:cubicBezTo>
                    <a:pt x="159" y="114"/>
                    <a:pt x="159" y="114"/>
                    <a:pt x="159" y="113"/>
                  </a:cubicBezTo>
                  <a:cubicBezTo>
                    <a:pt x="159" y="113"/>
                    <a:pt x="159" y="112"/>
                    <a:pt x="159" y="112"/>
                  </a:cubicBezTo>
                  <a:cubicBezTo>
                    <a:pt x="158" y="109"/>
                    <a:pt x="160" y="109"/>
                    <a:pt x="161" y="107"/>
                  </a:cubicBezTo>
                  <a:cubicBezTo>
                    <a:pt x="162" y="105"/>
                    <a:pt x="160" y="103"/>
                    <a:pt x="160" y="101"/>
                  </a:cubicBezTo>
                  <a:cubicBezTo>
                    <a:pt x="160" y="99"/>
                    <a:pt x="160" y="98"/>
                    <a:pt x="160" y="97"/>
                  </a:cubicBezTo>
                  <a:cubicBezTo>
                    <a:pt x="159" y="97"/>
                    <a:pt x="158" y="97"/>
                    <a:pt x="157" y="98"/>
                  </a:cubicBezTo>
                  <a:cubicBezTo>
                    <a:pt x="157" y="98"/>
                    <a:pt x="156" y="98"/>
                    <a:pt x="156" y="98"/>
                  </a:cubicBezTo>
                  <a:cubicBezTo>
                    <a:pt x="154" y="100"/>
                    <a:pt x="153" y="103"/>
                    <a:pt x="150" y="101"/>
                  </a:cubicBezTo>
                  <a:cubicBezTo>
                    <a:pt x="149" y="101"/>
                    <a:pt x="148" y="100"/>
                    <a:pt x="147" y="100"/>
                  </a:cubicBezTo>
                  <a:cubicBezTo>
                    <a:pt x="146" y="99"/>
                    <a:pt x="146" y="97"/>
                    <a:pt x="146" y="96"/>
                  </a:cubicBezTo>
                  <a:cubicBezTo>
                    <a:pt x="146" y="96"/>
                    <a:pt x="145" y="95"/>
                    <a:pt x="145" y="94"/>
                  </a:cubicBezTo>
                  <a:cubicBezTo>
                    <a:pt x="145" y="95"/>
                    <a:pt x="144" y="96"/>
                    <a:pt x="144" y="96"/>
                  </a:cubicBezTo>
                  <a:cubicBezTo>
                    <a:pt x="143" y="96"/>
                    <a:pt x="141" y="95"/>
                    <a:pt x="141" y="94"/>
                  </a:cubicBezTo>
                  <a:cubicBezTo>
                    <a:pt x="141" y="93"/>
                    <a:pt x="141" y="92"/>
                    <a:pt x="140" y="91"/>
                  </a:cubicBezTo>
                  <a:cubicBezTo>
                    <a:pt x="139" y="90"/>
                    <a:pt x="139" y="89"/>
                    <a:pt x="138" y="89"/>
                  </a:cubicBezTo>
                  <a:cubicBezTo>
                    <a:pt x="137" y="88"/>
                    <a:pt x="137" y="86"/>
                    <a:pt x="136" y="85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3"/>
                    <a:pt x="135" y="82"/>
                    <a:pt x="135" y="81"/>
                  </a:cubicBezTo>
                  <a:cubicBezTo>
                    <a:pt x="134" y="80"/>
                    <a:pt x="134" y="79"/>
                    <a:pt x="135" y="78"/>
                  </a:cubicBezTo>
                  <a:cubicBezTo>
                    <a:pt x="136" y="76"/>
                    <a:pt x="139" y="76"/>
                    <a:pt x="139" y="74"/>
                  </a:cubicBezTo>
                  <a:cubicBezTo>
                    <a:pt x="139" y="74"/>
                    <a:pt x="139" y="73"/>
                    <a:pt x="139" y="72"/>
                  </a:cubicBezTo>
                  <a:cubicBezTo>
                    <a:pt x="139" y="71"/>
                    <a:pt x="139" y="70"/>
                    <a:pt x="139" y="70"/>
                  </a:cubicBezTo>
                  <a:cubicBezTo>
                    <a:pt x="140" y="68"/>
                    <a:pt x="140" y="67"/>
                    <a:pt x="140" y="66"/>
                  </a:cubicBezTo>
                  <a:cubicBezTo>
                    <a:pt x="140" y="65"/>
                    <a:pt x="141" y="64"/>
                    <a:pt x="141" y="63"/>
                  </a:cubicBezTo>
                  <a:cubicBezTo>
                    <a:pt x="142" y="63"/>
                    <a:pt x="143" y="63"/>
                    <a:pt x="142" y="62"/>
                  </a:cubicBezTo>
                  <a:cubicBezTo>
                    <a:pt x="141" y="61"/>
                    <a:pt x="140" y="61"/>
                    <a:pt x="140" y="60"/>
                  </a:cubicBezTo>
                  <a:cubicBezTo>
                    <a:pt x="140" y="60"/>
                    <a:pt x="140" y="59"/>
                    <a:pt x="140" y="59"/>
                  </a:cubicBezTo>
                  <a:cubicBezTo>
                    <a:pt x="141" y="58"/>
                    <a:pt x="141" y="58"/>
                    <a:pt x="141" y="56"/>
                  </a:cubicBezTo>
                  <a:cubicBezTo>
                    <a:pt x="141" y="56"/>
                    <a:pt x="141" y="55"/>
                    <a:pt x="141" y="55"/>
                  </a:cubicBezTo>
                  <a:cubicBezTo>
                    <a:pt x="141" y="54"/>
                    <a:pt x="141" y="54"/>
                    <a:pt x="142" y="53"/>
                  </a:cubicBezTo>
                  <a:cubicBezTo>
                    <a:pt x="142" y="53"/>
                    <a:pt x="142" y="53"/>
                    <a:pt x="142" y="52"/>
                  </a:cubicBezTo>
                  <a:cubicBezTo>
                    <a:pt x="143" y="51"/>
                    <a:pt x="143" y="49"/>
                    <a:pt x="141" y="48"/>
                  </a:cubicBezTo>
                  <a:cubicBezTo>
                    <a:pt x="141" y="48"/>
                    <a:pt x="140" y="48"/>
                    <a:pt x="139" y="48"/>
                  </a:cubicBezTo>
                  <a:cubicBezTo>
                    <a:pt x="138" y="47"/>
                    <a:pt x="137" y="47"/>
                    <a:pt x="136" y="46"/>
                  </a:cubicBezTo>
                  <a:cubicBezTo>
                    <a:pt x="135" y="46"/>
                    <a:pt x="133" y="45"/>
                    <a:pt x="132" y="46"/>
                  </a:cubicBezTo>
                  <a:cubicBezTo>
                    <a:pt x="131" y="47"/>
                    <a:pt x="131" y="48"/>
                    <a:pt x="130" y="48"/>
                  </a:cubicBezTo>
                  <a:cubicBezTo>
                    <a:pt x="130" y="48"/>
                    <a:pt x="129" y="48"/>
                    <a:pt x="129" y="48"/>
                  </a:cubicBezTo>
                  <a:cubicBezTo>
                    <a:pt x="128" y="48"/>
                    <a:pt x="126" y="48"/>
                    <a:pt x="125" y="48"/>
                  </a:cubicBezTo>
                  <a:cubicBezTo>
                    <a:pt x="124" y="47"/>
                    <a:pt x="125" y="47"/>
                    <a:pt x="124" y="46"/>
                  </a:cubicBezTo>
                  <a:cubicBezTo>
                    <a:pt x="123" y="45"/>
                    <a:pt x="123" y="45"/>
                    <a:pt x="121" y="45"/>
                  </a:cubicBezTo>
                  <a:cubicBezTo>
                    <a:pt x="120" y="45"/>
                    <a:pt x="120" y="43"/>
                    <a:pt x="119" y="42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7"/>
                    <a:pt x="118" y="35"/>
                    <a:pt x="117" y="35"/>
                  </a:cubicBezTo>
                  <a:cubicBezTo>
                    <a:pt x="116" y="34"/>
                    <a:pt x="116" y="35"/>
                    <a:pt x="115" y="35"/>
                  </a:cubicBezTo>
                  <a:cubicBezTo>
                    <a:pt x="114" y="34"/>
                    <a:pt x="114" y="33"/>
                    <a:pt x="113" y="33"/>
                  </a:cubicBezTo>
                  <a:cubicBezTo>
                    <a:pt x="112" y="32"/>
                    <a:pt x="113" y="32"/>
                    <a:pt x="111" y="32"/>
                  </a:cubicBezTo>
                  <a:cubicBezTo>
                    <a:pt x="111" y="32"/>
                    <a:pt x="110" y="32"/>
                    <a:pt x="109" y="32"/>
                  </a:cubicBezTo>
                  <a:cubicBezTo>
                    <a:pt x="109" y="32"/>
                    <a:pt x="108" y="31"/>
                    <a:pt x="107" y="31"/>
                  </a:cubicBezTo>
                  <a:cubicBezTo>
                    <a:pt x="106" y="30"/>
                    <a:pt x="105" y="30"/>
                    <a:pt x="104" y="30"/>
                  </a:cubicBezTo>
                  <a:cubicBezTo>
                    <a:pt x="103" y="30"/>
                    <a:pt x="100" y="29"/>
                    <a:pt x="99" y="30"/>
                  </a:cubicBezTo>
                  <a:cubicBezTo>
                    <a:pt x="99" y="31"/>
                    <a:pt x="99" y="33"/>
                    <a:pt x="99" y="34"/>
                  </a:cubicBezTo>
                  <a:cubicBezTo>
                    <a:pt x="99" y="35"/>
                    <a:pt x="98" y="37"/>
                    <a:pt x="97" y="37"/>
                  </a:cubicBezTo>
                  <a:cubicBezTo>
                    <a:pt x="97" y="37"/>
                    <a:pt x="97" y="36"/>
                    <a:pt x="97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3"/>
                    <a:pt x="95" y="32"/>
                  </a:cubicBezTo>
                  <a:cubicBezTo>
                    <a:pt x="95" y="32"/>
                    <a:pt x="95" y="30"/>
                    <a:pt x="95" y="29"/>
                  </a:cubicBezTo>
                  <a:cubicBezTo>
                    <a:pt x="94" y="29"/>
                    <a:pt x="93" y="31"/>
                    <a:pt x="92" y="31"/>
                  </a:cubicBezTo>
                  <a:cubicBezTo>
                    <a:pt x="91" y="31"/>
                    <a:pt x="90" y="32"/>
                    <a:pt x="89" y="31"/>
                  </a:cubicBezTo>
                  <a:cubicBezTo>
                    <a:pt x="89" y="30"/>
                    <a:pt x="90" y="30"/>
                    <a:pt x="91" y="29"/>
                  </a:cubicBezTo>
                  <a:cubicBezTo>
                    <a:pt x="92" y="28"/>
                    <a:pt x="93" y="26"/>
                    <a:pt x="92" y="24"/>
                  </a:cubicBezTo>
                  <a:cubicBezTo>
                    <a:pt x="91" y="22"/>
                    <a:pt x="90" y="23"/>
                    <a:pt x="88" y="23"/>
                  </a:cubicBezTo>
                  <a:cubicBezTo>
                    <a:pt x="87" y="24"/>
                    <a:pt x="86" y="23"/>
                    <a:pt x="84" y="23"/>
                  </a:cubicBezTo>
                  <a:cubicBezTo>
                    <a:pt x="84" y="24"/>
                    <a:pt x="83" y="24"/>
                    <a:pt x="83" y="25"/>
                  </a:cubicBezTo>
                  <a:cubicBezTo>
                    <a:pt x="82" y="25"/>
                    <a:pt x="80" y="24"/>
                    <a:pt x="80" y="23"/>
                  </a:cubicBezTo>
                  <a:cubicBezTo>
                    <a:pt x="79" y="22"/>
                    <a:pt x="80" y="22"/>
                    <a:pt x="79" y="21"/>
                  </a:cubicBezTo>
                  <a:cubicBezTo>
                    <a:pt x="77" y="21"/>
                    <a:pt x="77" y="22"/>
                    <a:pt x="77" y="20"/>
                  </a:cubicBezTo>
                  <a:cubicBezTo>
                    <a:pt x="77" y="20"/>
                    <a:pt x="77" y="19"/>
                    <a:pt x="77" y="19"/>
                  </a:cubicBezTo>
                  <a:cubicBezTo>
                    <a:pt x="77" y="18"/>
                    <a:pt x="76" y="18"/>
                    <a:pt x="75" y="18"/>
                  </a:cubicBezTo>
                  <a:cubicBezTo>
                    <a:pt x="73" y="17"/>
                    <a:pt x="71" y="14"/>
                    <a:pt x="69" y="13"/>
                  </a:cubicBezTo>
                  <a:cubicBezTo>
                    <a:pt x="68" y="12"/>
                    <a:pt x="66" y="12"/>
                    <a:pt x="64" y="11"/>
                  </a:cubicBezTo>
                  <a:cubicBezTo>
                    <a:pt x="63" y="10"/>
                    <a:pt x="62" y="9"/>
                    <a:pt x="61" y="8"/>
                  </a:cubicBezTo>
                  <a:cubicBezTo>
                    <a:pt x="61" y="8"/>
                    <a:pt x="60" y="8"/>
                    <a:pt x="60" y="7"/>
                  </a:cubicBezTo>
                  <a:cubicBezTo>
                    <a:pt x="58" y="6"/>
                    <a:pt x="59" y="6"/>
                    <a:pt x="57" y="6"/>
                  </a:cubicBezTo>
                  <a:cubicBezTo>
                    <a:pt x="56" y="6"/>
                    <a:pt x="54" y="6"/>
                    <a:pt x="54" y="5"/>
                  </a:cubicBezTo>
                  <a:cubicBezTo>
                    <a:pt x="53" y="5"/>
                    <a:pt x="51" y="0"/>
                    <a:pt x="49" y="2"/>
                  </a:cubicBezTo>
                  <a:cubicBezTo>
                    <a:pt x="48" y="2"/>
                    <a:pt x="48" y="4"/>
                    <a:pt x="48" y="4"/>
                  </a:cubicBezTo>
                  <a:cubicBezTo>
                    <a:pt x="48" y="7"/>
                    <a:pt x="45" y="9"/>
                    <a:pt x="42" y="10"/>
                  </a:cubicBezTo>
                  <a:cubicBezTo>
                    <a:pt x="41" y="10"/>
                    <a:pt x="40" y="10"/>
                    <a:pt x="39" y="9"/>
                  </a:cubicBezTo>
                  <a:cubicBezTo>
                    <a:pt x="38" y="8"/>
                    <a:pt x="38" y="7"/>
                    <a:pt x="37" y="7"/>
                  </a:cubicBezTo>
                  <a:cubicBezTo>
                    <a:pt x="37" y="6"/>
                    <a:pt x="36" y="5"/>
                    <a:pt x="36" y="6"/>
                  </a:cubicBezTo>
                  <a:cubicBezTo>
                    <a:pt x="35" y="6"/>
                    <a:pt x="35" y="7"/>
                    <a:pt x="35" y="8"/>
                  </a:cubicBezTo>
                  <a:cubicBezTo>
                    <a:pt x="34" y="9"/>
                    <a:pt x="33" y="9"/>
                    <a:pt x="32" y="10"/>
                  </a:cubicBezTo>
                  <a:cubicBezTo>
                    <a:pt x="31" y="11"/>
                    <a:pt x="28" y="12"/>
                    <a:pt x="26" y="12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9"/>
                    <a:pt x="23" y="8"/>
                    <a:pt x="21" y="8"/>
                  </a:cubicBezTo>
                  <a:cubicBezTo>
                    <a:pt x="19" y="7"/>
                    <a:pt x="19" y="7"/>
                    <a:pt x="19" y="9"/>
                  </a:cubicBezTo>
                  <a:cubicBezTo>
                    <a:pt x="18" y="11"/>
                    <a:pt x="18" y="12"/>
                    <a:pt x="15" y="13"/>
                  </a:cubicBezTo>
                  <a:cubicBezTo>
                    <a:pt x="14" y="14"/>
                    <a:pt x="13" y="14"/>
                    <a:pt x="12" y="13"/>
                  </a:cubicBezTo>
                  <a:cubicBezTo>
                    <a:pt x="12" y="12"/>
                    <a:pt x="12" y="11"/>
                    <a:pt x="11" y="11"/>
                  </a:cubicBezTo>
                  <a:cubicBezTo>
                    <a:pt x="10" y="10"/>
                    <a:pt x="9" y="11"/>
                    <a:pt x="8" y="10"/>
                  </a:cubicBezTo>
                  <a:cubicBezTo>
                    <a:pt x="6" y="10"/>
                    <a:pt x="7" y="7"/>
                    <a:pt x="6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2" y="8"/>
                    <a:pt x="1" y="8"/>
                    <a:pt x="1" y="10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1" y="21"/>
                    <a:pt x="2" y="21"/>
                    <a:pt x="3" y="21"/>
                  </a:cubicBezTo>
                  <a:cubicBezTo>
                    <a:pt x="7" y="23"/>
                    <a:pt x="8" y="29"/>
                    <a:pt x="11" y="33"/>
                  </a:cubicBezTo>
                  <a:cubicBezTo>
                    <a:pt x="13" y="36"/>
                    <a:pt x="15" y="38"/>
                    <a:pt x="18" y="41"/>
                  </a:cubicBezTo>
                  <a:cubicBezTo>
                    <a:pt x="20" y="45"/>
                    <a:pt x="24" y="46"/>
                    <a:pt x="25" y="51"/>
                  </a:cubicBezTo>
                  <a:cubicBezTo>
                    <a:pt x="26" y="53"/>
                    <a:pt x="26" y="55"/>
                    <a:pt x="27" y="56"/>
                  </a:cubicBezTo>
                  <a:cubicBezTo>
                    <a:pt x="29" y="59"/>
                    <a:pt x="32" y="61"/>
                    <a:pt x="34" y="65"/>
                  </a:cubicBezTo>
                  <a:cubicBezTo>
                    <a:pt x="36" y="68"/>
                    <a:pt x="36" y="72"/>
                    <a:pt x="36" y="76"/>
                  </a:cubicBezTo>
                  <a:cubicBezTo>
                    <a:pt x="36" y="77"/>
                    <a:pt x="35" y="78"/>
                    <a:pt x="36" y="79"/>
                  </a:cubicBezTo>
                  <a:cubicBezTo>
                    <a:pt x="36" y="81"/>
                    <a:pt x="37" y="81"/>
                    <a:pt x="37" y="82"/>
                  </a:cubicBezTo>
                  <a:cubicBezTo>
                    <a:pt x="38" y="83"/>
                    <a:pt x="37" y="84"/>
                    <a:pt x="38" y="84"/>
                  </a:cubicBezTo>
                  <a:cubicBezTo>
                    <a:pt x="39" y="85"/>
                    <a:pt x="40" y="85"/>
                    <a:pt x="40" y="86"/>
                  </a:cubicBezTo>
                  <a:cubicBezTo>
                    <a:pt x="41" y="86"/>
                    <a:pt x="40" y="87"/>
                    <a:pt x="40" y="87"/>
                  </a:cubicBezTo>
                  <a:cubicBezTo>
                    <a:pt x="42" y="89"/>
                    <a:pt x="45" y="89"/>
                    <a:pt x="47" y="91"/>
                  </a:cubicBezTo>
                  <a:cubicBezTo>
                    <a:pt x="49" y="92"/>
                    <a:pt x="49" y="96"/>
                    <a:pt x="51" y="98"/>
                  </a:cubicBezTo>
                  <a:cubicBezTo>
                    <a:pt x="52" y="100"/>
                    <a:pt x="53" y="102"/>
                    <a:pt x="54" y="103"/>
                  </a:cubicBezTo>
                  <a:cubicBezTo>
                    <a:pt x="55" y="104"/>
                    <a:pt x="57" y="105"/>
                    <a:pt x="58" y="106"/>
                  </a:cubicBezTo>
                  <a:cubicBezTo>
                    <a:pt x="60" y="109"/>
                    <a:pt x="60" y="110"/>
                    <a:pt x="62" y="111"/>
                  </a:cubicBezTo>
                  <a:cubicBezTo>
                    <a:pt x="65" y="115"/>
                    <a:pt x="66" y="120"/>
                    <a:pt x="67" y="125"/>
                  </a:cubicBezTo>
                  <a:cubicBezTo>
                    <a:pt x="67" y="128"/>
                    <a:pt x="66" y="131"/>
                    <a:pt x="68" y="134"/>
                  </a:cubicBezTo>
                  <a:cubicBezTo>
                    <a:pt x="70" y="138"/>
                    <a:pt x="73" y="140"/>
                    <a:pt x="77" y="140"/>
                  </a:cubicBezTo>
                  <a:cubicBezTo>
                    <a:pt x="80" y="140"/>
                    <a:pt x="78" y="144"/>
                    <a:pt x="80" y="147"/>
                  </a:cubicBezTo>
                  <a:cubicBezTo>
                    <a:pt x="80" y="149"/>
                    <a:pt x="84" y="155"/>
                    <a:pt x="84" y="157"/>
                  </a:cubicBezTo>
                  <a:cubicBezTo>
                    <a:pt x="84" y="160"/>
                    <a:pt x="82" y="165"/>
                    <a:pt x="83" y="167"/>
                  </a:cubicBezTo>
                  <a:cubicBezTo>
                    <a:pt x="85" y="170"/>
                    <a:pt x="84" y="178"/>
                    <a:pt x="83" y="180"/>
                  </a:cubicBezTo>
                  <a:cubicBezTo>
                    <a:pt x="79" y="190"/>
                    <a:pt x="77" y="194"/>
                    <a:pt x="76" y="204"/>
                  </a:cubicBezTo>
                  <a:cubicBezTo>
                    <a:pt x="76" y="210"/>
                    <a:pt x="75" y="223"/>
                    <a:pt x="77" y="227"/>
                  </a:cubicBezTo>
                  <a:cubicBezTo>
                    <a:pt x="79" y="230"/>
                    <a:pt x="79" y="238"/>
                    <a:pt x="78" y="242"/>
                  </a:cubicBezTo>
                  <a:cubicBezTo>
                    <a:pt x="75" y="249"/>
                    <a:pt x="78" y="252"/>
                    <a:pt x="82" y="256"/>
                  </a:cubicBezTo>
                  <a:cubicBezTo>
                    <a:pt x="83" y="256"/>
                    <a:pt x="84" y="255"/>
                    <a:pt x="85" y="254"/>
                  </a:cubicBezTo>
                  <a:cubicBezTo>
                    <a:pt x="86" y="253"/>
                    <a:pt x="87" y="252"/>
                    <a:pt x="88" y="252"/>
                  </a:cubicBezTo>
                  <a:cubicBezTo>
                    <a:pt x="91" y="249"/>
                    <a:pt x="91" y="256"/>
                    <a:pt x="94" y="256"/>
                  </a:cubicBezTo>
                  <a:cubicBezTo>
                    <a:pt x="95" y="256"/>
                    <a:pt x="95" y="256"/>
                    <a:pt x="96" y="255"/>
                  </a:cubicBezTo>
                  <a:cubicBezTo>
                    <a:pt x="96" y="255"/>
                    <a:pt x="96" y="254"/>
                    <a:pt x="97" y="254"/>
                  </a:cubicBezTo>
                  <a:cubicBezTo>
                    <a:pt x="97" y="253"/>
                    <a:pt x="98" y="253"/>
                    <a:pt x="98" y="253"/>
                  </a:cubicBezTo>
                  <a:cubicBezTo>
                    <a:pt x="98" y="252"/>
                    <a:pt x="98" y="251"/>
                    <a:pt x="98" y="250"/>
                  </a:cubicBezTo>
                  <a:cubicBezTo>
                    <a:pt x="98" y="250"/>
                    <a:pt x="98" y="249"/>
                    <a:pt x="99" y="248"/>
                  </a:cubicBezTo>
                  <a:cubicBezTo>
                    <a:pt x="99" y="247"/>
                    <a:pt x="99" y="246"/>
                    <a:pt x="99" y="245"/>
                  </a:cubicBezTo>
                  <a:cubicBezTo>
                    <a:pt x="99" y="245"/>
                    <a:pt x="99" y="244"/>
                    <a:pt x="99" y="244"/>
                  </a:cubicBezTo>
                  <a:cubicBezTo>
                    <a:pt x="99" y="244"/>
                    <a:pt x="100" y="243"/>
                    <a:pt x="100" y="243"/>
                  </a:cubicBezTo>
                  <a:cubicBezTo>
                    <a:pt x="101" y="241"/>
                    <a:pt x="99" y="240"/>
                    <a:pt x="99" y="238"/>
                  </a:cubicBezTo>
                  <a:cubicBezTo>
                    <a:pt x="99" y="237"/>
                    <a:pt x="99" y="236"/>
                    <a:pt x="99" y="235"/>
                  </a:cubicBezTo>
                  <a:cubicBezTo>
                    <a:pt x="99" y="234"/>
                    <a:pt x="100" y="234"/>
                    <a:pt x="101" y="234"/>
                  </a:cubicBezTo>
                  <a:cubicBezTo>
                    <a:pt x="102" y="233"/>
                    <a:pt x="102" y="233"/>
                    <a:pt x="102" y="232"/>
                  </a:cubicBezTo>
                  <a:cubicBezTo>
                    <a:pt x="102" y="231"/>
                    <a:pt x="103" y="230"/>
                    <a:pt x="104" y="230"/>
                  </a:cubicBezTo>
                  <a:cubicBezTo>
                    <a:pt x="104" y="229"/>
                    <a:pt x="105" y="229"/>
                    <a:pt x="106" y="228"/>
                  </a:cubicBezTo>
                  <a:cubicBezTo>
                    <a:pt x="107" y="228"/>
                    <a:pt x="107" y="228"/>
                    <a:pt x="108" y="228"/>
                  </a:cubicBezTo>
                  <a:cubicBezTo>
                    <a:pt x="109" y="228"/>
                    <a:pt x="110" y="227"/>
                    <a:pt x="111" y="227"/>
                  </a:cubicBezTo>
                  <a:cubicBezTo>
                    <a:pt x="113" y="225"/>
                    <a:pt x="112" y="223"/>
                    <a:pt x="111" y="221"/>
                  </a:cubicBezTo>
                  <a:cubicBezTo>
                    <a:pt x="110" y="219"/>
                    <a:pt x="113" y="217"/>
                    <a:pt x="115" y="216"/>
                  </a:cubicBezTo>
                  <a:cubicBezTo>
                    <a:pt x="118" y="214"/>
                    <a:pt x="122" y="213"/>
                    <a:pt x="126" y="211"/>
                  </a:cubicBezTo>
                  <a:cubicBezTo>
                    <a:pt x="127" y="210"/>
                    <a:pt x="128" y="210"/>
                    <a:pt x="128" y="209"/>
                  </a:cubicBezTo>
                  <a:cubicBezTo>
                    <a:pt x="128" y="208"/>
                    <a:pt x="127" y="207"/>
                    <a:pt x="126" y="206"/>
                  </a:cubicBezTo>
                  <a:cubicBezTo>
                    <a:pt x="125" y="204"/>
                    <a:pt x="127" y="202"/>
                    <a:pt x="128" y="200"/>
                  </a:cubicBezTo>
                  <a:cubicBezTo>
                    <a:pt x="129" y="198"/>
                    <a:pt x="129" y="197"/>
                    <a:pt x="128" y="195"/>
                  </a:cubicBezTo>
                  <a:cubicBezTo>
                    <a:pt x="128" y="194"/>
                    <a:pt x="128" y="194"/>
                    <a:pt x="127" y="193"/>
                  </a:cubicBezTo>
                  <a:cubicBezTo>
                    <a:pt x="126" y="193"/>
                    <a:pt x="124" y="194"/>
                    <a:pt x="124" y="193"/>
                  </a:cubicBezTo>
                  <a:cubicBezTo>
                    <a:pt x="123" y="192"/>
                    <a:pt x="125" y="189"/>
                    <a:pt x="125" y="188"/>
                  </a:cubicBezTo>
                  <a:cubicBezTo>
                    <a:pt x="126" y="186"/>
                    <a:pt x="126" y="184"/>
                    <a:pt x="126" y="182"/>
                  </a:cubicBezTo>
                  <a:cubicBezTo>
                    <a:pt x="126" y="181"/>
                    <a:pt x="127" y="180"/>
                    <a:pt x="127" y="179"/>
                  </a:cubicBezTo>
                  <a:cubicBezTo>
                    <a:pt x="126" y="177"/>
                    <a:pt x="125" y="178"/>
                    <a:pt x="124" y="177"/>
                  </a:cubicBezTo>
                  <a:cubicBezTo>
                    <a:pt x="124" y="176"/>
                    <a:pt x="125" y="174"/>
                    <a:pt x="125" y="174"/>
                  </a:cubicBezTo>
                  <a:cubicBezTo>
                    <a:pt x="126" y="172"/>
                    <a:pt x="126" y="172"/>
                    <a:pt x="127" y="172"/>
                  </a:cubicBezTo>
                  <a:cubicBezTo>
                    <a:pt x="129" y="171"/>
                    <a:pt x="130" y="170"/>
                    <a:pt x="131" y="170"/>
                  </a:cubicBezTo>
                  <a:cubicBezTo>
                    <a:pt x="132" y="170"/>
                    <a:pt x="133" y="170"/>
                    <a:pt x="134" y="169"/>
                  </a:cubicBezTo>
                  <a:cubicBezTo>
                    <a:pt x="135" y="169"/>
                    <a:pt x="134" y="169"/>
                    <a:pt x="135" y="168"/>
                  </a:cubicBezTo>
                  <a:cubicBezTo>
                    <a:pt x="137" y="166"/>
                    <a:pt x="143" y="164"/>
                    <a:pt x="143" y="169"/>
                  </a:cubicBezTo>
                  <a:cubicBezTo>
                    <a:pt x="143" y="171"/>
                    <a:pt x="142" y="172"/>
                    <a:pt x="141" y="174"/>
                  </a:cubicBezTo>
                  <a:cubicBezTo>
                    <a:pt x="139" y="176"/>
                    <a:pt x="139" y="177"/>
                    <a:pt x="139" y="179"/>
                  </a:cubicBezTo>
                  <a:cubicBezTo>
                    <a:pt x="140" y="180"/>
                    <a:pt x="140" y="183"/>
                    <a:pt x="141" y="182"/>
                  </a:cubicBezTo>
                  <a:cubicBezTo>
                    <a:pt x="142" y="181"/>
                    <a:pt x="142" y="180"/>
                    <a:pt x="142" y="180"/>
                  </a:cubicBezTo>
                  <a:cubicBezTo>
                    <a:pt x="142" y="179"/>
                    <a:pt x="143" y="179"/>
                    <a:pt x="143" y="178"/>
                  </a:cubicBezTo>
                  <a:cubicBezTo>
                    <a:pt x="144" y="177"/>
                    <a:pt x="144" y="176"/>
                    <a:pt x="144" y="175"/>
                  </a:cubicBezTo>
                  <a:cubicBezTo>
                    <a:pt x="144" y="172"/>
                    <a:pt x="145" y="169"/>
                    <a:pt x="146" y="168"/>
                  </a:cubicBezTo>
                  <a:cubicBezTo>
                    <a:pt x="147" y="169"/>
                    <a:pt x="146" y="170"/>
                    <a:pt x="146" y="171"/>
                  </a:cubicBezTo>
                  <a:cubicBezTo>
                    <a:pt x="146" y="172"/>
                    <a:pt x="147" y="176"/>
                    <a:pt x="148" y="177"/>
                  </a:cubicBezTo>
                  <a:cubicBezTo>
                    <a:pt x="149" y="176"/>
                    <a:pt x="151" y="171"/>
                    <a:pt x="154" y="172"/>
                  </a:cubicBezTo>
                  <a:cubicBezTo>
                    <a:pt x="155" y="172"/>
                    <a:pt x="155" y="173"/>
                    <a:pt x="155" y="174"/>
                  </a:cubicBezTo>
                  <a:cubicBezTo>
                    <a:pt x="155" y="175"/>
                    <a:pt x="155" y="175"/>
                    <a:pt x="155" y="176"/>
                  </a:cubicBezTo>
                  <a:cubicBezTo>
                    <a:pt x="156" y="176"/>
                    <a:pt x="157" y="177"/>
                    <a:pt x="158" y="177"/>
                  </a:cubicBezTo>
                  <a:cubicBezTo>
                    <a:pt x="158" y="178"/>
                    <a:pt x="159" y="179"/>
                    <a:pt x="159" y="180"/>
                  </a:cubicBezTo>
                  <a:cubicBezTo>
                    <a:pt x="159" y="180"/>
                    <a:pt x="160" y="181"/>
                    <a:pt x="160" y="182"/>
                  </a:cubicBezTo>
                  <a:cubicBezTo>
                    <a:pt x="161" y="183"/>
                    <a:pt x="162" y="184"/>
                    <a:pt x="163" y="185"/>
                  </a:cubicBezTo>
                  <a:cubicBezTo>
                    <a:pt x="163" y="185"/>
                    <a:pt x="165" y="185"/>
                    <a:pt x="166" y="185"/>
                  </a:cubicBezTo>
                  <a:cubicBezTo>
                    <a:pt x="166" y="182"/>
                    <a:pt x="166" y="180"/>
                    <a:pt x="168" y="178"/>
                  </a:cubicBezTo>
                  <a:cubicBezTo>
                    <a:pt x="169" y="177"/>
                    <a:pt x="170" y="176"/>
                    <a:pt x="170" y="175"/>
                  </a:cubicBezTo>
                  <a:cubicBezTo>
                    <a:pt x="171" y="174"/>
                    <a:pt x="170" y="173"/>
                    <a:pt x="171" y="172"/>
                  </a:cubicBezTo>
                  <a:cubicBezTo>
                    <a:pt x="172" y="171"/>
                    <a:pt x="172" y="171"/>
                    <a:pt x="173" y="170"/>
                  </a:cubicBezTo>
                  <a:cubicBezTo>
                    <a:pt x="173" y="170"/>
                    <a:pt x="173" y="169"/>
                    <a:pt x="173" y="168"/>
                  </a:cubicBezTo>
                  <a:cubicBezTo>
                    <a:pt x="175" y="167"/>
                    <a:pt x="176" y="169"/>
                    <a:pt x="178" y="168"/>
                  </a:cubicBezTo>
                  <a:cubicBezTo>
                    <a:pt x="179" y="167"/>
                    <a:pt x="178" y="166"/>
                    <a:pt x="178" y="165"/>
                  </a:cubicBezTo>
                  <a:cubicBezTo>
                    <a:pt x="178" y="163"/>
                    <a:pt x="179" y="161"/>
                    <a:pt x="179" y="160"/>
                  </a:cubicBezTo>
                  <a:cubicBezTo>
                    <a:pt x="180" y="156"/>
                    <a:pt x="180" y="151"/>
                    <a:pt x="180" y="14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5" name="Freeform 36">
              <a:extLst>
                <a:ext uri="{FF2B5EF4-FFF2-40B4-BE49-F238E27FC236}">
                  <a16:creationId xmlns:a16="http://schemas.microsoft.com/office/drawing/2014/main" id="{D1DA53D1-66EB-48FF-8B97-55BC72AD3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0" y="3663950"/>
              <a:ext cx="346075" cy="179388"/>
            </a:xfrm>
            <a:custGeom>
              <a:avLst/>
              <a:gdLst/>
              <a:ahLst/>
              <a:cxnLst>
                <a:cxn ang="0">
                  <a:pos x="184" y="94"/>
                </a:cxn>
                <a:cxn ang="0">
                  <a:pos x="182" y="91"/>
                </a:cxn>
                <a:cxn ang="0">
                  <a:pos x="175" y="87"/>
                </a:cxn>
                <a:cxn ang="0">
                  <a:pos x="163" y="83"/>
                </a:cxn>
                <a:cxn ang="0">
                  <a:pos x="161" y="81"/>
                </a:cxn>
                <a:cxn ang="0">
                  <a:pos x="160" y="75"/>
                </a:cxn>
                <a:cxn ang="0">
                  <a:pos x="163" y="61"/>
                </a:cxn>
                <a:cxn ang="0">
                  <a:pos x="171" y="47"/>
                </a:cxn>
                <a:cxn ang="0">
                  <a:pos x="169" y="38"/>
                </a:cxn>
                <a:cxn ang="0">
                  <a:pos x="163" y="31"/>
                </a:cxn>
                <a:cxn ang="0">
                  <a:pos x="158" y="23"/>
                </a:cxn>
                <a:cxn ang="0">
                  <a:pos x="151" y="22"/>
                </a:cxn>
                <a:cxn ang="0">
                  <a:pos x="139" y="20"/>
                </a:cxn>
                <a:cxn ang="0">
                  <a:pos x="132" y="22"/>
                </a:cxn>
                <a:cxn ang="0">
                  <a:pos x="127" y="22"/>
                </a:cxn>
                <a:cxn ang="0">
                  <a:pos x="122" y="20"/>
                </a:cxn>
                <a:cxn ang="0">
                  <a:pos x="115" y="17"/>
                </a:cxn>
                <a:cxn ang="0">
                  <a:pos x="110" y="15"/>
                </a:cxn>
                <a:cxn ang="0">
                  <a:pos x="101" y="12"/>
                </a:cxn>
                <a:cxn ang="0">
                  <a:pos x="90" y="1"/>
                </a:cxn>
                <a:cxn ang="0">
                  <a:pos x="82" y="3"/>
                </a:cxn>
                <a:cxn ang="0">
                  <a:pos x="83" y="9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76" y="36"/>
                </a:cxn>
                <a:cxn ang="0">
                  <a:pos x="74" y="40"/>
                </a:cxn>
                <a:cxn ang="0">
                  <a:pos x="62" y="33"/>
                </a:cxn>
                <a:cxn ang="0">
                  <a:pos x="48" y="39"/>
                </a:cxn>
                <a:cxn ang="0">
                  <a:pos x="33" y="45"/>
                </a:cxn>
                <a:cxn ang="0">
                  <a:pos x="14" y="52"/>
                </a:cxn>
                <a:cxn ang="0">
                  <a:pos x="28" y="56"/>
                </a:cxn>
                <a:cxn ang="0">
                  <a:pos x="28" y="62"/>
                </a:cxn>
                <a:cxn ang="0">
                  <a:pos x="22" y="65"/>
                </a:cxn>
                <a:cxn ang="0">
                  <a:pos x="15" y="66"/>
                </a:cxn>
                <a:cxn ang="0">
                  <a:pos x="11" y="71"/>
                </a:cxn>
                <a:cxn ang="0">
                  <a:pos x="0" y="78"/>
                </a:cxn>
                <a:cxn ang="0">
                  <a:pos x="2" y="84"/>
                </a:cxn>
                <a:cxn ang="0">
                  <a:pos x="6" y="83"/>
                </a:cxn>
                <a:cxn ang="0">
                  <a:pos x="76" y="88"/>
                </a:cxn>
                <a:cxn ang="0">
                  <a:pos x="137" y="89"/>
                </a:cxn>
                <a:cxn ang="0">
                  <a:pos x="164" y="89"/>
                </a:cxn>
                <a:cxn ang="0">
                  <a:pos x="184" y="96"/>
                </a:cxn>
              </a:cxnLst>
              <a:rect l="0" t="0" r="r" b="b"/>
              <a:pathLst>
                <a:path w="185" h="96">
                  <a:moveTo>
                    <a:pt x="185" y="96"/>
                  </a:moveTo>
                  <a:cubicBezTo>
                    <a:pt x="185" y="96"/>
                    <a:pt x="184" y="95"/>
                    <a:pt x="184" y="94"/>
                  </a:cubicBezTo>
                  <a:cubicBezTo>
                    <a:pt x="183" y="94"/>
                    <a:pt x="184" y="93"/>
                    <a:pt x="183" y="92"/>
                  </a:cubicBezTo>
                  <a:cubicBezTo>
                    <a:pt x="183" y="92"/>
                    <a:pt x="182" y="91"/>
                    <a:pt x="182" y="91"/>
                  </a:cubicBezTo>
                  <a:cubicBezTo>
                    <a:pt x="181" y="90"/>
                    <a:pt x="180" y="89"/>
                    <a:pt x="179" y="88"/>
                  </a:cubicBezTo>
                  <a:cubicBezTo>
                    <a:pt x="178" y="87"/>
                    <a:pt x="177" y="87"/>
                    <a:pt x="175" y="87"/>
                  </a:cubicBezTo>
                  <a:cubicBezTo>
                    <a:pt x="173" y="87"/>
                    <a:pt x="171" y="86"/>
                    <a:pt x="169" y="85"/>
                  </a:cubicBezTo>
                  <a:cubicBezTo>
                    <a:pt x="167" y="85"/>
                    <a:pt x="165" y="84"/>
                    <a:pt x="163" y="83"/>
                  </a:cubicBezTo>
                  <a:cubicBezTo>
                    <a:pt x="163" y="82"/>
                    <a:pt x="163" y="82"/>
                    <a:pt x="162" y="82"/>
                  </a:cubicBezTo>
                  <a:cubicBezTo>
                    <a:pt x="162" y="81"/>
                    <a:pt x="161" y="81"/>
                    <a:pt x="161" y="81"/>
                  </a:cubicBezTo>
                  <a:cubicBezTo>
                    <a:pt x="160" y="81"/>
                    <a:pt x="160" y="81"/>
                    <a:pt x="160" y="80"/>
                  </a:cubicBezTo>
                  <a:cubicBezTo>
                    <a:pt x="160" y="78"/>
                    <a:pt x="160" y="76"/>
                    <a:pt x="160" y="75"/>
                  </a:cubicBezTo>
                  <a:cubicBezTo>
                    <a:pt x="160" y="73"/>
                    <a:pt x="161" y="72"/>
                    <a:pt x="161" y="71"/>
                  </a:cubicBezTo>
                  <a:cubicBezTo>
                    <a:pt x="161" y="67"/>
                    <a:pt x="162" y="64"/>
                    <a:pt x="163" y="61"/>
                  </a:cubicBezTo>
                  <a:cubicBezTo>
                    <a:pt x="163" y="58"/>
                    <a:pt x="163" y="57"/>
                    <a:pt x="165" y="55"/>
                  </a:cubicBezTo>
                  <a:cubicBezTo>
                    <a:pt x="167" y="53"/>
                    <a:pt x="169" y="50"/>
                    <a:pt x="171" y="47"/>
                  </a:cubicBezTo>
                  <a:cubicBezTo>
                    <a:pt x="172" y="47"/>
                    <a:pt x="172" y="46"/>
                    <a:pt x="172" y="45"/>
                  </a:cubicBezTo>
                  <a:cubicBezTo>
                    <a:pt x="172" y="42"/>
                    <a:pt x="169" y="40"/>
                    <a:pt x="169" y="38"/>
                  </a:cubicBezTo>
                  <a:cubicBezTo>
                    <a:pt x="168" y="37"/>
                    <a:pt x="168" y="35"/>
                    <a:pt x="167" y="33"/>
                  </a:cubicBezTo>
                  <a:cubicBezTo>
                    <a:pt x="166" y="32"/>
                    <a:pt x="164" y="32"/>
                    <a:pt x="163" y="31"/>
                  </a:cubicBezTo>
                  <a:cubicBezTo>
                    <a:pt x="162" y="30"/>
                    <a:pt x="159" y="28"/>
                    <a:pt x="159" y="27"/>
                  </a:cubicBezTo>
                  <a:cubicBezTo>
                    <a:pt x="158" y="26"/>
                    <a:pt x="159" y="25"/>
                    <a:pt x="158" y="23"/>
                  </a:cubicBezTo>
                  <a:cubicBezTo>
                    <a:pt x="157" y="22"/>
                    <a:pt x="155" y="20"/>
                    <a:pt x="154" y="20"/>
                  </a:cubicBezTo>
                  <a:cubicBezTo>
                    <a:pt x="152" y="20"/>
                    <a:pt x="152" y="21"/>
                    <a:pt x="151" y="22"/>
                  </a:cubicBezTo>
                  <a:cubicBezTo>
                    <a:pt x="150" y="22"/>
                    <a:pt x="149" y="22"/>
                    <a:pt x="148" y="22"/>
                  </a:cubicBezTo>
                  <a:cubicBezTo>
                    <a:pt x="144" y="22"/>
                    <a:pt x="142" y="21"/>
                    <a:pt x="139" y="20"/>
                  </a:cubicBezTo>
                  <a:cubicBezTo>
                    <a:pt x="137" y="19"/>
                    <a:pt x="136" y="19"/>
                    <a:pt x="134" y="20"/>
                  </a:cubicBezTo>
                  <a:cubicBezTo>
                    <a:pt x="133" y="21"/>
                    <a:pt x="132" y="22"/>
                    <a:pt x="132" y="22"/>
                  </a:cubicBezTo>
                  <a:cubicBezTo>
                    <a:pt x="131" y="23"/>
                    <a:pt x="132" y="24"/>
                    <a:pt x="130" y="24"/>
                  </a:cubicBezTo>
                  <a:cubicBezTo>
                    <a:pt x="129" y="24"/>
                    <a:pt x="128" y="22"/>
                    <a:pt x="127" y="22"/>
                  </a:cubicBezTo>
                  <a:cubicBezTo>
                    <a:pt x="126" y="21"/>
                    <a:pt x="125" y="18"/>
                    <a:pt x="124" y="19"/>
                  </a:cubicBezTo>
                  <a:cubicBezTo>
                    <a:pt x="123" y="19"/>
                    <a:pt x="123" y="20"/>
                    <a:pt x="122" y="20"/>
                  </a:cubicBezTo>
                  <a:cubicBezTo>
                    <a:pt x="121" y="20"/>
                    <a:pt x="121" y="19"/>
                    <a:pt x="120" y="18"/>
                  </a:cubicBezTo>
                  <a:cubicBezTo>
                    <a:pt x="119" y="17"/>
                    <a:pt x="116" y="18"/>
                    <a:pt x="115" y="17"/>
                  </a:cubicBezTo>
                  <a:cubicBezTo>
                    <a:pt x="114" y="17"/>
                    <a:pt x="113" y="16"/>
                    <a:pt x="112" y="15"/>
                  </a:cubicBezTo>
                  <a:cubicBezTo>
                    <a:pt x="111" y="15"/>
                    <a:pt x="110" y="15"/>
                    <a:pt x="110" y="15"/>
                  </a:cubicBezTo>
                  <a:cubicBezTo>
                    <a:pt x="109" y="14"/>
                    <a:pt x="108" y="14"/>
                    <a:pt x="107" y="13"/>
                  </a:cubicBezTo>
                  <a:cubicBezTo>
                    <a:pt x="105" y="13"/>
                    <a:pt x="103" y="12"/>
                    <a:pt x="101" y="12"/>
                  </a:cubicBezTo>
                  <a:cubicBezTo>
                    <a:pt x="99" y="12"/>
                    <a:pt x="98" y="10"/>
                    <a:pt x="97" y="9"/>
                  </a:cubicBezTo>
                  <a:cubicBezTo>
                    <a:pt x="95" y="6"/>
                    <a:pt x="93" y="2"/>
                    <a:pt x="90" y="1"/>
                  </a:cubicBezTo>
                  <a:cubicBezTo>
                    <a:pt x="88" y="0"/>
                    <a:pt x="87" y="1"/>
                    <a:pt x="85" y="2"/>
                  </a:cubicBezTo>
                  <a:cubicBezTo>
                    <a:pt x="85" y="2"/>
                    <a:pt x="83" y="3"/>
                    <a:pt x="82" y="3"/>
                  </a:cubicBezTo>
                  <a:cubicBezTo>
                    <a:pt x="82" y="4"/>
                    <a:pt x="82" y="4"/>
                    <a:pt x="83" y="5"/>
                  </a:cubicBezTo>
                  <a:cubicBezTo>
                    <a:pt x="83" y="7"/>
                    <a:pt x="84" y="8"/>
                    <a:pt x="83" y="9"/>
                  </a:cubicBezTo>
                  <a:cubicBezTo>
                    <a:pt x="82" y="10"/>
                    <a:pt x="80" y="10"/>
                    <a:pt x="79" y="10"/>
                  </a:cubicBezTo>
                  <a:cubicBezTo>
                    <a:pt x="77" y="10"/>
                    <a:pt x="76" y="10"/>
                    <a:pt x="76" y="12"/>
                  </a:cubicBezTo>
                  <a:cubicBezTo>
                    <a:pt x="76" y="13"/>
                    <a:pt x="76" y="14"/>
                    <a:pt x="76" y="15"/>
                  </a:cubicBezTo>
                  <a:cubicBezTo>
                    <a:pt x="76" y="16"/>
                    <a:pt x="76" y="18"/>
                    <a:pt x="76" y="20"/>
                  </a:cubicBezTo>
                  <a:cubicBezTo>
                    <a:pt x="76" y="22"/>
                    <a:pt x="76" y="25"/>
                    <a:pt x="76" y="27"/>
                  </a:cubicBezTo>
                  <a:cubicBezTo>
                    <a:pt x="76" y="30"/>
                    <a:pt x="76" y="33"/>
                    <a:pt x="76" y="36"/>
                  </a:cubicBezTo>
                  <a:cubicBezTo>
                    <a:pt x="76" y="37"/>
                    <a:pt x="77" y="38"/>
                    <a:pt x="76" y="39"/>
                  </a:cubicBezTo>
                  <a:cubicBezTo>
                    <a:pt x="75" y="39"/>
                    <a:pt x="75" y="40"/>
                    <a:pt x="74" y="40"/>
                  </a:cubicBezTo>
                  <a:cubicBezTo>
                    <a:pt x="73" y="40"/>
                    <a:pt x="72" y="40"/>
                    <a:pt x="71" y="39"/>
                  </a:cubicBezTo>
                  <a:cubicBezTo>
                    <a:pt x="68" y="37"/>
                    <a:pt x="66" y="34"/>
                    <a:pt x="62" y="33"/>
                  </a:cubicBezTo>
                  <a:cubicBezTo>
                    <a:pt x="58" y="33"/>
                    <a:pt x="54" y="30"/>
                    <a:pt x="50" y="31"/>
                  </a:cubicBezTo>
                  <a:cubicBezTo>
                    <a:pt x="47" y="32"/>
                    <a:pt x="48" y="36"/>
                    <a:pt x="48" y="39"/>
                  </a:cubicBezTo>
                  <a:cubicBezTo>
                    <a:pt x="45" y="39"/>
                    <a:pt x="40" y="36"/>
                    <a:pt x="37" y="39"/>
                  </a:cubicBezTo>
                  <a:cubicBezTo>
                    <a:pt x="35" y="40"/>
                    <a:pt x="35" y="44"/>
                    <a:pt x="33" y="45"/>
                  </a:cubicBezTo>
                  <a:cubicBezTo>
                    <a:pt x="28" y="48"/>
                    <a:pt x="23" y="49"/>
                    <a:pt x="18" y="50"/>
                  </a:cubicBezTo>
                  <a:cubicBezTo>
                    <a:pt x="17" y="50"/>
                    <a:pt x="15" y="51"/>
                    <a:pt x="14" y="52"/>
                  </a:cubicBezTo>
                  <a:cubicBezTo>
                    <a:pt x="14" y="54"/>
                    <a:pt x="17" y="55"/>
                    <a:pt x="19" y="56"/>
                  </a:cubicBezTo>
                  <a:cubicBezTo>
                    <a:pt x="22" y="56"/>
                    <a:pt x="25" y="56"/>
                    <a:pt x="28" y="56"/>
                  </a:cubicBezTo>
                  <a:cubicBezTo>
                    <a:pt x="30" y="56"/>
                    <a:pt x="33" y="56"/>
                    <a:pt x="34" y="57"/>
                  </a:cubicBezTo>
                  <a:cubicBezTo>
                    <a:pt x="37" y="60"/>
                    <a:pt x="30" y="61"/>
                    <a:pt x="28" y="62"/>
                  </a:cubicBezTo>
                  <a:cubicBezTo>
                    <a:pt x="26" y="62"/>
                    <a:pt x="25" y="63"/>
                    <a:pt x="24" y="64"/>
                  </a:cubicBezTo>
                  <a:cubicBezTo>
                    <a:pt x="23" y="64"/>
                    <a:pt x="22" y="64"/>
                    <a:pt x="22" y="65"/>
                  </a:cubicBezTo>
                  <a:cubicBezTo>
                    <a:pt x="21" y="66"/>
                    <a:pt x="21" y="67"/>
                    <a:pt x="20" y="67"/>
                  </a:cubicBezTo>
                  <a:cubicBezTo>
                    <a:pt x="17" y="68"/>
                    <a:pt x="17" y="67"/>
                    <a:pt x="15" y="66"/>
                  </a:cubicBezTo>
                  <a:cubicBezTo>
                    <a:pt x="14" y="65"/>
                    <a:pt x="13" y="65"/>
                    <a:pt x="12" y="66"/>
                  </a:cubicBezTo>
                  <a:cubicBezTo>
                    <a:pt x="10" y="67"/>
                    <a:pt x="11" y="68"/>
                    <a:pt x="11" y="71"/>
                  </a:cubicBezTo>
                  <a:cubicBezTo>
                    <a:pt x="10" y="75"/>
                    <a:pt x="6" y="72"/>
                    <a:pt x="4" y="73"/>
                  </a:cubicBezTo>
                  <a:cubicBezTo>
                    <a:pt x="2" y="73"/>
                    <a:pt x="1" y="76"/>
                    <a:pt x="0" y="78"/>
                  </a:cubicBezTo>
                  <a:cubicBezTo>
                    <a:pt x="0" y="80"/>
                    <a:pt x="1" y="80"/>
                    <a:pt x="2" y="82"/>
                  </a:cubicBezTo>
                  <a:cubicBezTo>
                    <a:pt x="2" y="83"/>
                    <a:pt x="2" y="83"/>
                    <a:pt x="2" y="84"/>
                  </a:cubicBezTo>
                  <a:cubicBezTo>
                    <a:pt x="2" y="83"/>
                    <a:pt x="3" y="83"/>
                    <a:pt x="3" y="82"/>
                  </a:cubicBezTo>
                  <a:cubicBezTo>
                    <a:pt x="4" y="82"/>
                    <a:pt x="5" y="82"/>
                    <a:pt x="6" y="83"/>
                  </a:cubicBezTo>
                  <a:cubicBezTo>
                    <a:pt x="13" y="84"/>
                    <a:pt x="20" y="85"/>
                    <a:pt x="27" y="86"/>
                  </a:cubicBezTo>
                  <a:cubicBezTo>
                    <a:pt x="43" y="87"/>
                    <a:pt x="59" y="88"/>
                    <a:pt x="76" y="88"/>
                  </a:cubicBezTo>
                  <a:cubicBezTo>
                    <a:pt x="88" y="89"/>
                    <a:pt x="100" y="88"/>
                    <a:pt x="112" y="88"/>
                  </a:cubicBezTo>
                  <a:cubicBezTo>
                    <a:pt x="120" y="88"/>
                    <a:pt x="129" y="89"/>
                    <a:pt x="137" y="89"/>
                  </a:cubicBezTo>
                  <a:cubicBezTo>
                    <a:pt x="144" y="89"/>
                    <a:pt x="150" y="89"/>
                    <a:pt x="157" y="89"/>
                  </a:cubicBezTo>
                  <a:cubicBezTo>
                    <a:pt x="159" y="89"/>
                    <a:pt x="162" y="89"/>
                    <a:pt x="164" y="89"/>
                  </a:cubicBezTo>
                  <a:cubicBezTo>
                    <a:pt x="166" y="89"/>
                    <a:pt x="168" y="90"/>
                    <a:pt x="170" y="90"/>
                  </a:cubicBezTo>
                  <a:cubicBezTo>
                    <a:pt x="175" y="92"/>
                    <a:pt x="179" y="95"/>
                    <a:pt x="184" y="96"/>
                  </a:cubicBezTo>
                  <a:cubicBezTo>
                    <a:pt x="184" y="96"/>
                    <a:pt x="185" y="96"/>
                    <a:pt x="185" y="96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6" name="Freeform 37">
              <a:extLst>
                <a:ext uri="{FF2B5EF4-FFF2-40B4-BE49-F238E27FC236}">
                  <a16:creationId xmlns:a16="http://schemas.microsoft.com/office/drawing/2014/main" id="{447395A9-3AE8-4B0D-87B5-EF634193A6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050" y="3459163"/>
              <a:ext cx="592138" cy="452438"/>
            </a:xfrm>
            <a:custGeom>
              <a:avLst/>
              <a:gdLst/>
              <a:ahLst/>
              <a:cxnLst>
                <a:cxn ang="0">
                  <a:pos x="305" y="111"/>
                </a:cxn>
                <a:cxn ang="0">
                  <a:pos x="303" y="97"/>
                </a:cxn>
                <a:cxn ang="0">
                  <a:pos x="309" y="76"/>
                </a:cxn>
                <a:cxn ang="0">
                  <a:pos x="291" y="69"/>
                </a:cxn>
                <a:cxn ang="0">
                  <a:pos x="278" y="50"/>
                </a:cxn>
                <a:cxn ang="0">
                  <a:pos x="252" y="32"/>
                </a:cxn>
                <a:cxn ang="0">
                  <a:pos x="229" y="29"/>
                </a:cxn>
                <a:cxn ang="0">
                  <a:pos x="213" y="9"/>
                </a:cxn>
                <a:cxn ang="0">
                  <a:pos x="208" y="2"/>
                </a:cxn>
                <a:cxn ang="0">
                  <a:pos x="200" y="11"/>
                </a:cxn>
                <a:cxn ang="0">
                  <a:pos x="189" y="18"/>
                </a:cxn>
                <a:cxn ang="0">
                  <a:pos x="168" y="16"/>
                </a:cxn>
                <a:cxn ang="0">
                  <a:pos x="154" y="13"/>
                </a:cxn>
                <a:cxn ang="0">
                  <a:pos x="137" y="10"/>
                </a:cxn>
                <a:cxn ang="0">
                  <a:pos x="121" y="10"/>
                </a:cxn>
                <a:cxn ang="0">
                  <a:pos x="112" y="6"/>
                </a:cxn>
                <a:cxn ang="0">
                  <a:pos x="101" y="7"/>
                </a:cxn>
                <a:cxn ang="0">
                  <a:pos x="78" y="5"/>
                </a:cxn>
                <a:cxn ang="0">
                  <a:pos x="53" y="3"/>
                </a:cxn>
                <a:cxn ang="0">
                  <a:pos x="36" y="13"/>
                </a:cxn>
                <a:cxn ang="0">
                  <a:pos x="20" y="23"/>
                </a:cxn>
                <a:cxn ang="0">
                  <a:pos x="12" y="27"/>
                </a:cxn>
                <a:cxn ang="0">
                  <a:pos x="8" y="34"/>
                </a:cxn>
                <a:cxn ang="0">
                  <a:pos x="1" y="51"/>
                </a:cxn>
                <a:cxn ang="0">
                  <a:pos x="3" y="65"/>
                </a:cxn>
                <a:cxn ang="0">
                  <a:pos x="8" y="74"/>
                </a:cxn>
                <a:cxn ang="0">
                  <a:pos x="9" y="90"/>
                </a:cxn>
                <a:cxn ang="0">
                  <a:pos x="15" y="106"/>
                </a:cxn>
                <a:cxn ang="0">
                  <a:pos x="22" y="110"/>
                </a:cxn>
                <a:cxn ang="0">
                  <a:pos x="42" y="124"/>
                </a:cxn>
                <a:cxn ang="0">
                  <a:pos x="54" y="129"/>
                </a:cxn>
                <a:cxn ang="0">
                  <a:pos x="64" y="131"/>
                </a:cxn>
                <a:cxn ang="0">
                  <a:pos x="83" y="131"/>
                </a:cxn>
                <a:cxn ang="0">
                  <a:pos x="95" y="140"/>
                </a:cxn>
                <a:cxn ang="0">
                  <a:pos x="103" y="156"/>
                </a:cxn>
                <a:cxn ang="0">
                  <a:pos x="92" y="184"/>
                </a:cxn>
                <a:cxn ang="0">
                  <a:pos x="95" y="192"/>
                </a:cxn>
                <a:cxn ang="0">
                  <a:pos x="114" y="200"/>
                </a:cxn>
                <a:cxn ang="0">
                  <a:pos x="128" y="207"/>
                </a:cxn>
                <a:cxn ang="0">
                  <a:pos x="138" y="221"/>
                </a:cxn>
                <a:cxn ang="0">
                  <a:pos x="137" y="237"/>
                </a:cxn>
                <a:cxn ang="0">
                  <a:pos x="144" y="235"/>
                </a:cxn>
                <a:cxn ang="0">
                  <a:pos x="159" y="236"/>
                </a:cxn>
                <a:cxn ang="0">
                  <a:pos x="185" y="240"/>
                </a:cxn>
                <a:cxn ang="0">
                  <a:pos x="195" y="232"/>
                </a:cxn>
                <a:cxn ang="0">
                  <a:pos x="203" y="234"/>
                </a:cxn>
                <a:cxn ang="0">
                  <a:pos x="207" y="222"/>
                </a:cxn>
                <a:cxn ang="0">
                  <a:pos x="223" y="220"/>
                </a:cxn>
                <a:cxn ang="0">
                  <a:pos x="237" y="204"/>
                </a:cxn>
                <a:cxn ang="0">
                  <a:pos x="247" y="212"/>
                </a:cxn>
                <a:cxn ang="0">
                  <a:pos x="259" y="217"/>
                </a:cxn>
                <a:cxn ang="0">
                  <a:pos x="251" y="202"/>
                </a:cxn>
                <a:cxn ang="0">
                  <a:pos x="251" y="191"/>
                </a:cxn>
                <a:cxn ang="0">
                  <a:pos x="258" y="164"/>
                </a:cxn>
                <a:cxn ang="0">
                  <a:pos x="261" y="149"/>
                </a:cxn>
                <a:cxn ang="0">
                  <a:pos x="274" y="142"/>
                </a:cxn>
                <a:cxn ang="0">
                  <a:pos x="283" y="135"/>
                </a:cxn>
                <a:cxn ang="0">
                  <a:pos x="289" y="129"/>
                </a:cxn>
                <a:cxn ang="0">
                  <a:pos x="304" y="123"/>
                </a:cxn>
                <a:cxn ang="0">
                  <a:pos x="312" y="116"/>
                </a:cxn>
              </a:cxnLst>
              <a:rect l="0" t="0" r="r" b="b"/>
              <a:pathLst>
                <a:path w="317" h="242">
                  <a:moveTo>
                    <a:pt x="316" y="111"/>
                  </a:moveTo>
                  <a:cubicBezTo>
                    <a:pt x="314" y="110"/>
                    <a:pt x="310" y="110"/>
                    <a:pt x="308" y="110"/>
                  </a:cubicBezTo>
                  <a:cubicBezTo>
                    <a:pt x="308" y="110"/>
                    <a:pt x="307" y="110"/>
                    <a:pt x="306" y="110"/>
                  </a:cubicBezTo>
                  <a:cubicBezTo>
                    <a:pt x="306" y="110"/>
                    <a:pt x="305" y="111"/>
                    <a:pt x="305" y="111"/>
                  </a:cubicBezTo>
                  <a:cubicBezTo>
                    <a:pt x="303" y="111"/>
                    <a:pt x="302" y="109"/>
                    <a:pt x="301" y="108"/>
                  </a:cubicBezTo>
                  <a:cubicBezTo>
                    <a:pt x="300" y="106"/>
                    <a:pt x="300" y="106"/>
                    <a:pt x="301" y="105"/>
                  </a:cubicBezTo>
                  <a:cubicBezTo>
                    <a:pt x="302" y="103"/>
                    <a:pt x="304" y="102"/>
                    <a:pt x="304" y="100"/>
                  </a:cubicBezTo>
                  <a:cubicBezTo>
                    <a:pt x="304" y="98"/>
                    <a:pt x="304" y="98"/>
                    <a:pt x="303" y="97"/>
                  </a:cubicBezTo>
                  <a:cubicBezTo>
                    <a:pt x="302" y="96"/>
                    <a:pt x="300" y="97"/>
                    <a:pt x="301" y="94"/>
                  </a:cubicBezTo>
                  <a:cubicBezTo>
                    <a:pt x="301" y="94"/>
                    <a:pt x="301" y="93"/>
                    <a:pt x="302" y="92"/>
                  </a:cubicBezTo>
                  <a:cubicBezTo>
                    <a:pt x="304" y="91"/>
                    <a:pt x="305" y="89"/>
                    <a:pt x="306" y="87"/>
                  </a:cubicBezTo>
                  <a:cubicBezTo>
                    <a:pt x="307" y="85"/>
                    <a:pt x="312" y="78"/>
                    <a:pt x="309" y="76"/>
                  </a:cubicBezTo>
                  <a:cubicBezTo>
                    <a:pt x="308" y="75"/>
                    <a:pt x="306" y="75"/>
                    <a:pt x="305" y="75"/>
                  </a:cubicBezTo>
                  <a:cubicBezTo>
                    <a:pt x="303" y="75"/>
                    <a:pt x="301" y="74"/>
                    <a:pt x="299" y="74"/>
                  </a:cubicBezTo>
                  <a:cubicBezTo>
                    <a:pt x="297" y="73"/>
                    <a:pt x="293" y="73"/>
                    <a:pt x="292" y="72"/>
                  </a:cubicBezTo>
                  <a:cubicBezTo>
                    <a:pt x="291" y="71"/>
                    <a:pt x="291" y="70"/>
                    <a:pt x="291" y="69"/>
                  </a:cubicBezTo>
                  <a:cubicBezTo>
                    <a:pt x="290" y="67"/>
                    <a:pt x="288" y="65"/>
                    <a:pt x="287" y="63"/>
                  </a:cubicBezTo>
                  <a:cubicBezTo>
                    <a:pt x="286" y="62"/>
                    <a:pt x="285" y="61"/>
                    <a:pt x="285" y="60"/>
                  </a:cubicBezTo>
                  <a:cubicBezTo>
                    <a:pt x="284" y="60"/>
                    <a:pt x="284" y="59"/>
                    <a:pt x="284" y="58"/>
                  </a:cubicBezTo>
                  <a:cubicBezTo>
                    <a:pt x="283" y="55"/>
                    <a:pt x="280" y="52"/>
                    <a:pt x="278" y="50"/>
                  </a:cubicBezTo>
                  <a:cubicBezTo>
                    <a:pt x="275" y="48"/>
                    <a:pt x="273" y="46"/>
                    <a:pt x="270" y="44"/>
                  </a:cubicBezTo>
                  <a:cubicBezTo>
                    <a:pt x="267" y="42"/>
                    <a:pt x="265" y="40"/>
                    <a:pt x="262" y="39"/>
                  </a:cubicBezTo>
                  <a:cubicBezTo>
                    <a:pt x="260" y="37"/>
                    <a:pt x="258" y="36"/>
                    <a:pt x="255" y="35"/>
                  </a:cubicBezTo>
                  <a:cubicBezTo>
                    <a:pt x="254" y="34"/>
                    <a:pt x="253" y="32"/>
                    <a:pt x="252" y="32"/>
                  </a:cubicBezTo>
                  <a:cubicBezTo>
                    <a:pt x="250" y="30"/>
                    <a:pt x="248" y="30"/>
                    <a:pt x="246" y="30"/>
                  </a:cubicBezTo>
                  <a:cubicBezTo>
                    <a:pt x="243" y="30"/>
                    <a:pt x="239" y="31"/>
                    <a:pt x="236" y="29"/>
                  </a:cubicBezTo>
                  <a:cubicBezTo>
                    <a:pt x="235" y="29"/>
                    <a:pt x="234" y="27"/>
                    <a:pt x="233" y="27"/>
                  </a:cubicBezTo>
                  <a:cubicBezTo>
                    <a:pt x="232" y="26"/>
                    <a:pt x="229" y="27"/>
                    <a:pt x="229" y="29"/>
                  </a:cubicBezTo>
                  <a:cubicBezTo>
                    <a:pt x="227" y="29"/>
                    <a:pt x="226" y="26"/>
                    <a:pt x="226" y="25"/>
                  </a:cubicBezTo>
                  <a:cubicBezTo>
                    <a:pt x="223" y="24"/>
                    <a:pt x="222" y="22"/>
                    <a:pt x="221" y="19"/>
                  </a:cubicBezTo>
                  <a:cubicBezTo>
                    <a:pt x="219" y="16"/>
                    <a:pt x="217" y="14"/>
                    <a:pt x="216" y="11"/>
                  </a:cubicBezTo>
                  <a:cubicBezTo>
                    <a:pt x="215" y="10"/>
                    <a:pt x="214" y="9"/>
                    <a:pt x="213" y="9"/>
                  </a:cubicBezTo>
                  <a:cubicBezTo>
                    <a:pt x="213" y="8"/>
                    <a:pt x="213" y="8"/>
                    <a:pt x="213" y="7"/>
                  </a:cubicBezTo>
                  <a:cubicBezTo>
                    <a:pt x="214" y="6"/>
                    <a:pt x="213" y="6"/>
                    <a:pt x="214" y="5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0"/>
                    <a:pt x="210" y="0"/>
                    <a:pt x="208" y="2"/>
                  </a:cubicBezTo>
                  <a:cubicBezTo>
                    <a:pt x="208" y="2"/>
                    <a:pt x="208" y="3"/>
                    <a:pt x="207" y="3"/>
                  </a:cubicBezTo>
                  <a:cubicBezTo>
                    <a:pt x="207" y="4"/>
                    <a:pt x="206" y="4"/>
                    <a:pt x="205" y="4"/>
                  </a:cubicBezTo>
                  <a:cubicBezTo>
                    <a:pt x="204" y="5"/>
                    <a:pt x="202" y="6"/>
                    <a:pt x="201" y="7"/>
                  </a:cubicBezTo>
                  <a:cubicBezTo>
                    <a:pt x="200" y="8"/>
                    <a:pt x="200" y="10"/>
                    <a:pt x="200" y="11"/>
                  </a:cubicBezTo>
                  <a:cubicBezTo>
                    <a:pt x="200" y="12"/>
                    <a:pt x="200" y="13"/>
                    <a:pt x="200" y="14"/>
                  </a:cubicBezTo>
                  <a:cubicBezTo>
                    <a:pt x="199" y="14"/>
                    <a:pt x="198" y="14"/>
                    <a:pt x="197" y="14"/>
                  </a:cubicBezTo>
                  <a:cubicBezTo>
                    <a:pt x="196" y="15"/>
                    <a:pt x="196" y="16"/>
                    <a:pt x="195" y="17"/>
                  </a:cubicBezTo>
                  <a:cubicBezTo>
                    <a:pt x="193" y="18"/>
                    <a:pt x="190" y="18"/>
                    <a:pt x="189" y="18"/>
                  </a:cubicBezTo>
                  <a:cubicBezTo>
                    <a:pt x="184" y="17"/>
                    <a:pt x="179" y="15"/>
                    <a:pt x="175" y="18"/>
                  </a:cubicBezTo>
                  <a:cubicBezTo>
                    <a:pt x="174" y="18"/>
                    <a:pt x="173" y="20"/>
                    <a:pt x="171" y="20"/>
                  </a:cubicBezTo>
                  <a:cubicBezTo>
                    <a:pt x="170" y="20"/>
                    <a:pt x="169" y="20"/>
                    <a:pt x="169" y="19"/>
                  </a:cubicBezTo>
                  <a:cubicBezTo>
                    <a:pt x="168" y="18"/>
                    <a:pt x="169" y="17"/>
                    <a:pt x="168" y="16"/>
                  </a:cubicBezTo>
                  <a:cubicBezTo>
                    <a:pt x="168" y="15"/>
                    <a:pt x="166" y="15"/>
                    <a:pt x="165" y="15"/>
                  </a:cubicBezTo>
                  <a:cubicBezTo>
                    <a:pt x="163" y="14"/>
                    <a:pt x="161" y="13"/>
                    <a:pt x="159" y="12"/>
                  </a:cubicBezTo>
                  <a:cubicBezTo>
                    <a:pt x="158" y="11"/>
                    <a:pt x="157" y="10"/>
                    <a:pt x="156" y="10"/>
                  </a:cubicBezTo>
                  <a:cubicBezTo>
                    <a:pt x="154" y="10"/>
                    <a:pt x="155" y="13"/>
                    <a:pt x="154" y="13"/>
                  </a:cubicBezTo>
                  <a:cubicBezTo>
                    <a:pt x="153" y="12"/>
                    <a:pt x="153" y="10"/>
                    <a:pt x="153" y="9"/>
                  </a:cubicBezTo>
                  <a:cubicBezTo>
                    <a:pt x="150" y="8"/>
                    <a:pt x="148" y="8"/>
                    <a:pt x="145" y="9"/>
                  </a:cubicBezTo>
                  <a:cubicBezTo>
                    <a:pt x="144" y="9"/>
                    <a:pt x="143" y="10"/>
                    <a:pt x="142" y="10"/>
                  </a:cubicBezTo>
                  <a:cubicBezTo>
                    <a:pt x="140" y="10"/>
                    <a:pt x="138" y="10"/>
                    <a:pt x="137" y="10"/>
                  </a:cubicBezTo>
                  <a:cubicBezTo>
                    <a:pt x="135" y="9"/>
                    <a:pt x="134" y="8"/>
                    <a:pt x="132" y="8"/>
                  </a:cubicBezTo>
                  <a:cubicBezTo>
                    <a:pt x="131" y="8"/>
                    <a:pt x="129" y="7"/>
                    <a:pt x="128" y="7"/>
                  </a:cubicBezTo>
                  <a:cubicBezTo>
                    <a:pt x="127" y="8"/>
                    <a:pt x="127" y="10"/>
                    <a:pt x="125" y="10"/>
                  </a:cubicBezTo>
                  <a:cubicBezTo>
                    <a:pt x="124" y="10"/>
                    <a:pt x="122" y="9"/>
                    <a:pt x="121" y="10"/>
                  </a:cubicBezTo>
                  <a:cubicBezTo>
                    <a:pt x="121" y="12"/>
                    <a:pt x="117" y="14"/>
                    <a:pt x="115" y="14"/>
                  </a:cubicBezTo>
                  <a:cubicBezTo>
                    <a:pt x="113" y="13"/>
                    <a:pt x="113" y="10"/>
                    <a:pt x="113" y="9"/>
                  </a:cubicBezTo>
                  <a:cubicBezTo>
                    <a:pt x="113" y="8"/>
                    <a:pt x="112" y="8"/>
                    <a:pt x="112" y="8"/>
                  </a:cubicBezTo>
                  <a:cubicBezTo>
                    <a:pt x="112" y="7"/>
                    <a:pt x="112" y="6"/>
                    <a:pt x="112" y="6"/>
                  </a:cubicBezTo>
                  <a:cubicBezTo>
                    <a:pt x="112" y="5"/>
                    <a:pt x="110" y="6"/>
                    <a:pt x="110" y="6"/>
                  </a:cubicBezTo>
                  <a:cubicBezTo>
                    <a:pt x="109" y="5"/>
                    <a:pt x="107" y="5"/>
                    <a:pt x="106" y="5"/>
                  </a:cubicBezTo>
                  <a:cubicBezTo>
                    <a:pt x="105" y="5"/>
                    <a:pt x="104" y="5"/>
                    <a:pt x="103" y="5"/>
                  </a:cubicBezTo>
                  <a:cubicBezTo>
                    <a:pt x="102" y="6"/>
                    <a:pt x="102" y="7"/>
                    <a:pt x="101" y="7"/>
                  </a:cubicBezTo>
                  <a:cubicBezTo>
                    <a:pt x="100" y="7"/>
                    <a:pt x="99" y="7"/>
                    <a:pt x="99" y="7"/>
                  </a:cubicBezTo>
                  <a:cubicBezTo>
                    <a:pt x="97" y="7"/>
                    <a:pt x="96" y="7"/>
                    <a:pt x="94" y="7"/>
                  </a:cubicBezTo>
                  <a:cubicBezTo>
                    <a:pt x="91" y="7"/>
                    <a:pt x="89" y="7"/>
                    <a:pt x="86" y="6"/>
                  </a:cubicBezTo>
                  <a:cubicBezTo>
                    <a:pt x="83" y="5"/>
                    <a:pt x="81" y="5"/>
                    <a:pt x="78" y="5"/>
                  </a:cubicBezTo>
                  <a:cubicBezTo>
                    <a:pt x="75" y="5"/>
                    <a:pt x="71" y="5"/>
                    <a:pt x="67" y="4"/>
                  </a:cubicBezTo>
                  <a:cubicBezTo>
                    <a:pt x="66" y="4"/>
                    <a:pt x="65" y="3"/>
                    <a:pt x="64" y="3"/>
                  </a:cubicBezTo>
                  <a:cubicBezTo>
                    <a:pt x="63" y="3"/>
                    <a:pt x="62" y="2"/>
                    <a:pt x="61" y="2"/>
                  </a:cubicBezTo>
                  <a:cubicBezTo>
                    <a:pt x="60" y="1"/>
                    <a:pt x="54" y="1"/>
                    <a:pt x="53" y="3"/>
                  </a:cubicBezTo>
                  <a:cubicBezTo>
                    <a:pt x="52" y="5"/>
                    <a:pt x="54" y="7"/>
                    <a:pt x="50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8"/>
                    <a:pt x="42" y="9"/>
                    <a:pt x="41" y="10"/>
                  </a:cubicBezTo>
                  <a:cubicBezTo>
                    <a:pt x="39" y="12"/>
                    <a:pt x="39" y="13"/>
                    <a:pt x="36" y="13"/>
                  </a:cubicBezTo>
                  <a:cubicBezTo>
                    <a:pt x="33" y="13"/>
                    <a:pt x="31" y="12"/>
                    <a:pt x="29" y="14"/>
                  </a:cubicBezTo>
                  <a:cubicBezTo>
                    <a:pt x="28" y="14"/>
                    <a:pt x="26" y="16"/>
                    <a:pt x="25" y="17"/>
                  </a:cubicBezTo>
                  <a:cubicBezTo>
                    <a:pt x="23" y="17"/>
                    <a:pt x="22" y="17"/>
                    <a:pt x="21" y="19"/>
                  </a:cubicBezTo>
                  <a:cubicBezTo>
                    <a:pt x="21" y="20"/>
                    <a:pt x="21" y="22"/>
                    <a:pt x="20" y="23"/>
                  </a:cubicBezTo>
                  <a:cubicBezTo>
                    <a:pt x="19" y="23"/>
                    <a:pt x="18" y="24"/>
                    <a:pt x="17" y="24"/>
                  </a:cubicBezTo>
                  <a:cubicBezTo>
                    <a:pt x="16" y="24"/>
                    <a:pt x="15" y="25"/>
                    <a:pt x="15" y="25"/>
                  </a:cubicBezTo>
                  <a:cubicBezTo>
                    <a:pt x="15" y="25"/>
                    <a:pt x="14" y="26"/>
                    <a:pt x="14" y="26"/>
                  </a:cubicBezTo>
                  <a:cubicBezTo>
                    <a:pt x="14" y="26"/>
                    <a:pt x="12" y="26"/>
                    <a:pt x="12" y="27"/>
                  </a:cubicBezTo>
                  <a:cubicBezTo>
                    <a:pt x="11" y="27"/>
                    <a:pt x="12" y="28"/>
                    <a:pt x="12" y="28"/>
                  </a:cubicBezTo>
                  <a:cubicBezTo>
                    <a:pt x="12" y="29"/>
                    <a:pt x="11" y="29"/>
                    <a:pt x="11" y="29"/>
                  </a:cubicBezTo>
                  <a:cubicBezTo>
                    <a:pt x="11" y="30"/>
                    <a:pt x="10" y="31"/>
                    <a:pt x="10" y="31"/>
                  </a:cubicBezTo>
                  <a:cubicBezTo>
                    <a:pt x="9" y="32"/>
                    <a:pt x="9" y="33"/>
                    <a:pt x="8" y="34"/>
                  </a:cubicBezTo>
                  <a:cubicBezTo>
                    <a:pt x="7" y="34"/>
                    <a:pt x="6" y="33"/>
                    <a:pt x="5" y="34"/>
                  </a:cubicBezTo>
                  <a:cubicBezTo>
                    <a:pt x="3" y="35"/>
                    <a:pt x="3" y="38"/>
                    <a:pt x="3" y="40"/>
                  </a:cubicBezTo>
                  <a:cubicBezTo>
                    <a:pt x="2" y="43"/>
                    <a:pt x="2" y="46"/>
                    <a:pt x="2" y="49"/>
                  </a:cubicBezTo>
                  <a:cubicBezTo>
                    <a:pt x="2" y="50"/>
                    <a:pt x="2" y="50"/>
                    <a:pt x="1" y="51"/>
                  </a:cubicBezTo>
                  <a:cubicBezTo>
                    <a:pt x="0" y="52"/>
                    <a:pt x="0" y="53"/>
                    <a:pt x="0" y="55"/>
                  </a:cubicBezTo>
                  <a:cubicBezTo>
                    <a:pt x="0" y="57"/>
                    <a:pt x="0" y="61"/>
                    <a:pt x="1" y="63"/>
                  </a:cubicBezTo>
                  <a:cubicBezTo>
                    <a:pt x="1" y="63"/>
                    <a:pt x="2" y="63"/>
                    <a:pt x="2" y="64"/>
                  </a:cubicBezTo>
                  <a:cubicBezTo>
                    <a:pt x="2" y="64"/>
                    <a:pt x="3" y="65"/>
                    <a:pt x="3" y="65"/>
                  </a:cubicBezTo>
                  <a:cubicBezTo>
                    <a:pt x="4" y="67"/>
                    <a:pt x="5" y="67"/>
                    <a:pt x="5" y="69"/>
                  </a:cubicBezTo>
                  <a:cubicBezTo>
                    <a:pt x="5" y="68"/>
                    <a:pt x="6" y="70"/>
                    <a:pt x="6" y="70"/>
                  </a:cubicBezTo>
                  <a:cubicBezTo>
                    <a:pt x="6" y="70"/>
                    <a:pt x="7" y="70"/>
                    <a:pt x="7" y="71"/>
                  </a:cubicBezTo>
                  <a:cubicBezTo>
                    <a:pt x="8" y="72"/>
                    <a:pt x="7" y="73"/>
                    <a:pt x="8" y="74"/>
                  </a:cubicBezTo>
                  <a:cubicBezTo>
                    <a:pt x="8" y="76"/>
                    <a:pt x="8" y="76"/>
                    <a:pt x="8" y="78"/>
                  </a:cubicBezTo>
                  <a:cubicBezTo>
                    <a:pt x="9" y="81"/>
                    <a:pt x="8" y="84"/>
                    <a:pt x="8" y="88"/>
                  </a:cubicBezTo>
                  <a:cubicBezTo>
                    <a:pt x="8" y="88"/>
                    <a:pt x="8" y="89"/>
                    <a:pt x="8" y="89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10" y="92"/>
                    <a:pt x="12" y="95"/>
                    <a:pt x="12" y="97"/>
                  </a:cubicBezTo>
                  <a:cubicBezTo>
                    <a:pt x="12" y="99"/>
                    <a:pt x="12" y="101"/>
                    <a:pt x="12" y="102"/>
                  </a:cubicBezTo>
                  <a:cubicBezTo>
                    <a:pt x="12" y="103"/>
                    <a:pt x="12" y="104"/>
                    <a:pt x="13" y="105"/>
                  </a:cubicBezTo>
                  <a:cubicBezTo>
                    <a:pt x="13" y="105"/>
                    <a:pt x="14" y="105"/>
                    <a:pt x="15" y="106"/>
                  </a:cubicBezTo>
                  <a:cubicBezTo>
                    <a:pt x="15" y="107"/>
                    <a:pt x="15" y="107"/>
                    <a:pt x="15" y="108"/>
                  </a:cubicBezTo>
                  <a:cubicBezTo>
                    <a:pt x="16" y="109"/>
                    <a:pt x="18" y="109"/>
                    <a:pt x="19" y="110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20" y="110"/>
                    <a:pt x="20" y="109"/>
                    <a:pt x="22" y="110"/>
                  </a:cubicBezTo>
                  <a:cubicBezTo>
                    <a:pt x="25" y="111"/>
                    <a:pt x="27" y="115"/>
                    <a:pt x="29" y="118"/>
                  </a:cubicBezTo>
                  <a:cubicBezTo>
                    <a:pt x="30" y="119"/>
                    <a:pt x="31" y="121"/>
                    <a:pt x="33" y="121"/>
                  </a:cubicBezTo>
                  <a:cubicBezTo>
                    <a:pt x="35" y="121"/>
                    <a:pt x="37" y="122"/>
                    <a:pt x="39" y="122"/>
                  </a:cubicBezTo>
                  <a:cubicBezTo>
                    <a:pt x="40" y="123"/>
                    <a:pt x="41" y="123"/>
                    <a:pt x="42" y="124"/>
                  </a:cubicBezTo>
                  <a:cubicBezTo>
                    <a:pt x="42" y="124"/>
                    <a:pt x="43" y="124"/>
                    <a:pt x="44" y="124"/>
                  </a:cubicBezTo>
                  <a:cubicBezTo>
                    <a:pt x="45" y="125"/>
                    <a:pt x="46" y="126"/>
                    <a:pt x="47" y="126"/>
                  </a:cubicBezTo>
                  <a:cubicBezTo>
                    <a:pt x="48" y="127"/>
                    <a:pt x="51" y="126"/>
                    <a:pt x="52" y="127"/>
                  </a:cubicBezTo>
                  <a:cubicBezTo>
                    <a:pt x="53" y="128"/>
                    <a:pt x="53" y="129"/>
                    <a:pt x="54" y="129"/>
                  </a:cubicBezTo>
                  <a:cubicBezTo>
                    <a:pt x="55" y="129"/>
                    <a:pt x="55" y="128"/>
                    <a:pt x="56" y="128"/>
                  </a:cubicBezTo>
                  <a:cubicBezTo>
                    <a:pt x="57" y="127"/>
                    <a:pt x="58" y="130"/>
                    <a:pt x="59" y="131"/>
                  </a:cubicBezTo>
                  <a:cubicBezTo>
                    <a:pt x="60" y="131"/>
                    <a:pt x="61" y="133"/>
                    <a:pt x="62" y="133"/>
                  </a:cubicBezTo>
                  <a:cubicBezTo>
                    <a:pt x="64" y="133"/>
                    <a:pt x="63" y="132"/>
                    <a:pt x="64" y="131"/>
                  </a:cubicBezTo>
                  <a:cubicBezTo>
                    <a:pt x="64" y="131"/>
                    <a:pt x="65" y="130"/>
                    <a:pt x="66" y="129"/>
                  </a:cubicBezTo>
                  <a:cubicBezTo>
                    <a:pt x="68" y="128"/>
                    <a:pt x="69" y="128"/>
                    <a:pt x="71" y="129"/>
                  </a:cubicBezTo>
                  <a:cubicBezTo>
                    <a:pt x="74" y="130"/>
                    <a:pt x="76" y="131"/>
                    <a:pt x="80" y="131"/>
                  </a:cubicBezTo>
                  <a:cubicBezTo>
                    <a:pt x="81" y="131"/>
                    <a:pt x="82" y="131"/>
                    <a:pt x="83" y="131"/>
                  </a:cubicBezTo>
                  <a:cubicBezTo>
                    <a:pt x="84" y="130"/>
                    <a:pt x="84" y="129"/>
                    <a:pt x="86" y="129"/>
                  </a:cubicBezTo>
                  <a:cubicBezTo>
                    <a:pt x="87" y="129"/>
                    <a:pt x="89" y="131"/>
                    <a:pt x="90" y="132"/>
                  </a:cubicBezTo>
                  <a:cubicBezTo>
                    <a:pt x="91" y="134"/>
                    <a:pt x="90" y="135"/>
                    <a:pt x="91" y="136"/>
                  </a:cubicBezTo>
                  <a:cubicBezTo>
                    <a:pt x="91" y="137"/>
                    <a:pt x="94" y="139"/>
                    <a:pt x="95" y="140"/>
                  </a:cubicBezTo>
                  <a:cubicBezTo>
                    <a:pt x="96" y="141"/>
                    <a:pt x="98" y="141"/>
                    <a:pt x="99" y="142"/>
                  </a:cubicBezTo>
                  <a:cubicBezTo>
                    <a:pt x="100" y="144"/>
                    <a:pt x="100" y="146"/>
                    <a:pt x="101" y="147"/>
                  </a:cubicBezTo>
                  <a:cubicBezTo>
                    <a:pt x="101" y="149"/>
                    <a:pt x="104" y="151"/>
                    <a:pt x="104" y="154"/>
                  </a:cubicBezTo>
                  <a:cubicBezTo>
                    <a:pt x="104" y="155"/>
                    <a:pt x="104" y="156"/>
                    <a:pt x="103" y="156"/>
                  </a:cubicBezTo>
                  <a:cubicBezTo>
                    <a:pt x="101" y="159"/>
                    <a:pt x="99" y="162"/>
                    <a:pt x="97" y="164"/>
                  </a:cubicBezTo>
                  <a:cubicBezTo>
                    <a:pt x="95" y="166"/>
                    <a:pt x="95" y="167"/>
                    <a:pt x="95" y="170"/>
                  </a:cubicBezTo>
                  <a:cubicBezTo>
                    <a:pt x="94" y="173"/>
                    <a:pt x="93" y="176"/>
                    <a:pt x="93" y="180"/>
                  </a:cubicBezTo>
                  <a:cubicBezTo>
                    <a:pt x="93" y="181"/>
                    <a:pt x="92" y="182"/>
                    <a:pt x="92" y="184"/>
                  </a:cubicBezTo>
                  <a:cubicBezTo>
                    <a:pt x="92" y="185"/>
                    <a:pt x="92" y="187"/>
                    <a:pt x="92" y="189"/>
                  </a:cubicBezTo>
                  <a:cubicBezTo>
                    <a:pt x="92" y="190"/>
                    <a:pt x="92" y="190"/>
                    <a:pt x="93" y="190"/>
                  </a:cubicBezTo>
                  <a:cubicBezTo>
                    <a:pt x="93" y="190"/>
                    <a:pt x="94" y="190"/>
                    <a:pt x="94" y="191"/>
                  </a:cubicBezTo>
                  <a:cubicBezTo>
                    <a:pt x="95" y="191"/>
                    <a:pt x="95" y="191"/>
                    <a:pt x="95" y="192"/>
                  </a:cubicBezTo>
                  <a:cubicBezTo>
                    <a:pt x="97" y="193"/>
                    <a:pt x="99" y="194"/>
                    <a:pt x="101" y="194"/>
                  </a:cubicBezTo>
                  <a:cubicBezTo>
                    <a:pt x="103" y="195"/>
                    <a:pt x="105" y="196"/>
                    <a:pt x="107" y="196"/>
                  </a:cubicBezTo>
                  <a:cubicBezTo>
                    <a:pt x="109" y="196"/>
                    <a:pt x="110" y="196"/>
                    <a:pt x="111" y="197"/>
                  </a:cubicBezTo>
                  <a:cubicBezTo>
                    <a:pt x="112" y="198"/>
                    <a:pt x="113" y="199"/>
                    <a:pt x="114" y="200"/>
                  </a:cubicBezTo>
                  <a:cubicBezTo>
                    <a:pt x="114" y="200"/>
                    <a:pt x="115" y="201"/>
                    <a:pt x="115" y="201"/>
                  </a:cubicBezTo>
                  <a:cubicBezTo>
                    <a:pt x="116" y="202"/>
                    <a:pt x="115" y="203"/>
                    <a:pt x="116" y="203"/>
                  </a:cubicBezTo>
                  <a:cubicBezTo>
                    <a:pt x="116" y="204"/>
                    <a:pt x="117" y="205"/>
                    <a:pt x="117" y="205"/>
                  </a:cubicBezTo>
                  <a:cubicBezTo>
                    <a:pt x="121" y="206"/>
                    <a:pt x="125" y="205"/>
                    <a:pt x="128" y="207"/>
                  </a:cubicBezTo>
                  <a:cubicBezTo>
                    <a:pt x="129" y="208"/>
                    <a:pt x="131" y="210"/>
                    <a:pt x="132" y="210"/>
                  </a:cubicBezTo>
                  <a:cubicBezTo>
                    <a:pt x="132" y="211"/>
                    <a:pt x="132" y="212"/>
                    <a:pt x="132" y="213"/>
                  </a:cubicBezTo>
                  <a:cubicBezTo>
                    <a:pt x="132" y="215"/>
                    <a:pt x="134" y="216"/>
                    <a:pt x="134" y="217"/>
                  </a:cubicBezTo>
                  <a:cubicBezTo>
                    <a:pt x="135" y="218"/>
                    <a:pt x="137" y="219"/>
                    <a:pt x="138" y="221"/>
                  </a:cubicBezTo>
                  <a:cubicBezTo>
                    <a:pt x="139" y="223"/>
                    <a:pt x="139" y="228"/>
                    <a:pt x="138" y="230"/>
                  </a:cubicBezTo>
                  <a:cubicBezTo>
                    <a:pt x="138" y="231"/>
                    <a:pt x="137" y="230"/>
                    <a:pt x="137" y="231"/>
                  </a:cubicBezTo>
                  <a:cubicBezTo>
                    <a:pt x="136" y="232"/>
                    <a:pt x="137" y="233"/>
                    <a:pt x="137" y="233"/>
                  </a:cubicBezTo>
                  <a:cubicBezTo>
                    <a:pt x="137" y="234"/>
                    <a:pt x="136" y="236"/>
                    <a:pt x="137" y="237"/>
                  </a:cubicBezTo>
                  <a:cubicBezTo>
                    <a:pt x="137" y="238"/>
                    <a:pt x="137" y="239"/>
                    <a:pt x="138" y="240"/>
                  </a:cubicBezTo>
                  <a:cubicBezTo>
                    <a:pt x="138" y="240"/>
                    <a:pt x="138" y="240"/>
                    <a:pt x="139" y="239"/>
                  </a:cubicBezTo>
                  <a:cubicBezTo>
                    <a:pt x="139" y="238"/>
                    <a:pt x="140" y="237"/>
                    <a:pt x="141" y="237"/>
                  </a:cubicBezTo>
                  <a:cubicBezTo>
                    <a:pt x="142" y="235"/>
                    <a:pt x="142" y="235"/>
                    <a:pt x="144" y="235"/>
                  </a:cubicBezTo>
                  <a:cubicBezTo>
                    <a:pt x="147" y="234"/>
                    <a:pt x="149" y="234"/>
                    <a:pt x="152" y="234"/>
                  </a:cubicBezTo>
                  <a:cubicBezTo>
                    <a:pt x="153" y="234"/>
                    <a:pt x="154" y="234"/>
                    <a:pt x="155" y="234"/>
                  </a:cubicBezTo>
                  <a:cubicBezTo>
                    <a:pt x="156" y="235"/>
                    <a:pt x="156" y="235"/>
                    <a:pt x="157" y="235"/>
                  </a:cubicBezTo>
                  <a:cubicBezTo>
                    <a:pt x="158" y="236"/>
                    <a:pt x="159" y="236"/>
                    <a:pt x="159" y="236"/>
                  </a:cubicBezTo>
                  <a:cubicBezTo>
                    <a:pt x="161" y="236"/>
                    <a:pt x="166" y="238"/>
                    <a:pt x="167" y="236"/>
                  </a:cubicBezTo>
                  <a:cubicBezTo>
                    <a:pt x="167" y="236"/>
                    <a:pt x="167" y="237"/>
                    <a:pt x="167" y="237"/>
                  </a:cubicBezTo>
                  <a:cubicBezTo>
                    <a:pt x="170" y="238"/>
                    <a:pt x="174" y="237"/>
                    <a:pt x="176" y="238"/>
                  </a:cubicBezTo>
                  <a:cubicBezTo>
                    <a:pt x="179" y="239"/>
                    <a:pt x="182" y="242"/>
                    <a:pt x="185" y="240"/>
                  </a:cubicBezTo>
                  <a:cubicBezTo>
                    <a:pt x="187" y="240"/>
                    <a:pt x="187" y="239"/>
                    <a:pt x="188" y="237"/>
                  </a:cubicBezTo>
                  <a:cubicBezTo>
                    <a:pt x="189" y="236"/>
                    <a:pt x="190" y="236"/>
                    <a:pt x="192" y="235"/>
                  </a:cubicBezTo>
                  <a:cubicBezTo>
                    <a:pt x="192" y="235"/>
                    <a:pt x="193" y="234"/>
                    <a:pt x="194" y="234"/>
                  </a:cubicBezTo>
                  <a:cubicBezTo>
                    <a:pt x="194" y="233"/>
                    <a:pt x="195" y="233"/>
                    <a:pt x="195" y="232"/>
                  </a:cubicBezTo>
                  <a:cubicBezTo>
                    <a:pt x="196" y="232"/>
                    <a:pt x="197" y="232"/>
                    <a:pt x="197" y="232"/>
                  </a:cubicBezTo>
                  <a:cubicBezTo>
                    <a:pt x="198" y="231"/>
                    <a:pt x="199" y="230"/>
                    <a:pt x="200" y="230"/>
                  </a:cubicBezTo>
                  <a:cubicBezTo>
                    <a:pt x="201" y="232"/>
                    <a:pt x="198" y="236"/>
                    <a:pt x="202" y="234"/>
                  </a:cubicBezTo>
                  <a:cubicBezTo>
                    <a:pt x="202" y="234"/>
                    <a:pt x="203" y="234"/>
                    <a:pt x="203" y="234"/>
                  </a:cubicBezTo>
                  <a:cubicBezTo>
                    <a:pt x="204" y="233"/>
                    <a:pt x="204" y="233"/>
                    <a:pt x="205" y="232"/>
                  </a:cubicBezTo>
                  <a:cubicBezTo>
                    <a:pt x="206" y="231"/>
                    <a:pt x="207" y="232"/>
                    <a:pt x="208" y="231"/>
                  </a:cubicBezTo>
                  <a:cubicBezTo>
                    <a:pt x="209" y="229"/>
                    <a:pt x="207" y="228"/>
                    <a:pt x="207" y="226"/>
                  </a:cubicBezTo>
                  <a:cubicBezTo>
                    <a:pt x="207" y="225"/>
                    <a:pt x="207" y="223"/>
                    <a:pt x="207" y="222"/>
                  </a:cubicBezTo>
                  <a:cubicBezTo>
                    <a:pt x="207" y="221"/>
                    <a:pt x="208" y="218"/>
                    <a:pt x="210" y="218"/>
                  </a:cubicBezTo>
                  <a:cubicBezTo>
                    <a:pt x="211" y="217"/>
                    <a:pt x="214" y="216"/>
                    <a:pt x="216" y="216"/>
                  </a:cubicBezTo>
                  <a:cubicBezTo>
                    <a:pt x="217" y="217"/>
                    <a:pt x="217" y="219"/>
                    <a:pt x="219" y="219"/>
                  </a:cubicBezTo>
                  <a:cubicBezTo>
                    <a:pt x="220" y="220"/>
                    <a:pt x="222" y="220"/>
                    <a:pt x="223" y="220"/>
                  </a:cubicBezTo>
                  <a:cubicBezTo>
                    <a:pt x="228" y="220"/>
                    <a:pt x="227" y="215"/>
                    <a:pt x="227" y="212"/>
                  </a:cubicBezTo>
                  <a:cubicBezTo>
                    <a:pt x="227" y="208"/>
                    <a:pt x="231" y="204"/>
                    <a:pt x="235" y="205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37" y="205"/>
                    <a:pt x="237" y="205"/>
                    <a:pt x="237" y="204"/>
                  </a:cubicBezTo>
                  <a:cubicBezTo>
                    <a:pt x="238" y="204"/>
                    <a:pt x="238" y="204"/>
                    <a:pt x="238" y="204"/>
                  </a:cubicBezTo>
                  <a:cubicBezTo>
                    <a:pt x="241" y="204"/>
                    <a:pt x="244" y="204"/>
                    <a:pt x="246" y="204"/>
                  </a:cubicBezTo>
                  <a:cubicBezTo>
                    <a:pt x="246" y="206"/>
                    <a:pt x="248" y="206"/>
                    <a:pt x="248" y="208"/>
                  </a:cubicBezTo>
                  <a:cubicBezTo>
                    <a:pt x="248" y="210"/>
                    <a:pt x="247" y="210"/>
                    <a:pt x="247" y="212"/>
                  </a:cubicBezTo>
                  <a:cubicBezTo>
                    <a:pt x="246" y="213"/>
                    <a:pt x="246" y="215"/>
                    <a:pt x="246" y="216"/>
                  </a:cubicBezTo>
                  <a:cubicBezTo>
                    <a:pt x="246" y="218"/>
                    <a:pt x="246" y="218"/>
                    <a:pt x="248" y="219"/>
                  </a:cubicBezTo>
                  <a:cubicBezTo>
                    <a:pt x="250" y="219"/>
                    <a:pt x="254" y="219"/>
                    <a:pt x="256" y="219"/>
                  </a:cubicBezTo>
                  <a:cubicBezTo>
                    <a:pt x="257" y="219"/>
                    <a:pt x="259" y="218"/>
                    <a:pt x="259" y="217"/>
                  </a:cubicBezTo>
                  <a:cubicBezTo>
                    <a:pt x="261" y="214"/>
                    <a:pt x="259" y="211"/>
                    <a:pt x="257" y="209"/>
                  </a:cubicBezTo>
                  <a:cubicBezTo>
                    <a:pt x="257" y="208"/>
                    <a:pt x="256" y="207"/>
                    <a:pt x="255" y="207"/>
                  </a:cubicBezTo>
                  <a:cubicBezTo>
                    <a:pt x="254" y="206"/>
                    <a:pt x="253" y="205"/>
                    <a:pt x="252" y="204"/>
                  </a:cubicBezTo>
                  <a:cubicBezTo>
                    <a:pt x="252" y="204"/>
                    <a:pt x="252" y="202"/>
                    <a:pt x="251" y="202"/>
                  </a:cubicBezTo>
                  <a:cubicBezTo>
                    <a:pt x="250" y="200"/>
                    <a:pt x="249" y="201"/>
                    <a:pt x="249" y="199"/>
                  </a:cubicBezTo>
                  <a:cubicBezTo>
                    <a:pt x="249" y="198"/>
                    <a:pt x="249" y="197"/>
                    <a:pt x="249" y="196"/>
                  </a:cubicBezTo>
                  <a:cubicBezTo>
                    <a:pt x="249" y="195"/>
                    <a:pt x="249" y="194"/>
                    <a:pt x="250" y="193"/>
                  </a:cubicBezTo>
                  <a:cubicBezTo>
                    <a:pt x="250" y="192"/>
                    <a:pt x="251" y="191"/>
                    <a:pt x="251" y="191"/>
                  </a:cubicBezTo>
                  <a:cubicBezTo>
                    <a:pt x="252" y="189"/>
                    <a:pt x="253" y="188"/>
                    <a:pt x="254" y="186"/>
                  </a:cubicBezTo>
                  <a:cubicBezTo>
                    <a:pt x="255" y="184"/>
                    <a:pt x="256" y="183"/>
                    <a:pt x="257" y="180"/>
                  </a:cubicBezTo>
                  <a:cubicBezTo>
                    <a:pt x="257" y="179"/>
                    <a:pt x="258" y="177"/>
                    <a:pt x="258" y="176"/>
                  </a:cubicBezTo>
                  <a:cubicBezTo>
                    <a:pt x="259" y="172"/>
                    <a:pt x="258" y="168"/>
                    <a:pt x="258" y="164"/>
                  </a:cubicBezTo>
                  <a:cubicBezTo>
                    <a:pt x="258" y="161"/>
                    <a:pt x="258" y="158"/>
                    <a:pt x="258" y="155"/>
                  </a:cubicBezTo>
                  <a:cubicBezTo>
                    <a:pt x="258" y="155"/>
                    <a:pt x="258" y="154"/>
                    <a:pt x="258" y="154"/>
                  </a:cubicBezTo>
                  <a:cubicBezTo>
                    <a:pt x="259" y="153"/>
                    <a:pt x="259" y="153"/>
                    <a:pt x="259" y="152"/>
                  </a:cubicBezTo>
                  <a:cubicBezTo>
                    <a:pt x="260" y="150"/>
                    <a:pt x="260" y="150"/>
                    <a:pt x="261" y="149"/>
                  </a:cubicBezTo>
                  <a:cubicBezTo>
                    <a:pt x="263" y="148"/>
                    <a:pt x="264" y="148"/>
                    <a:pt x="265" y="148"/>
                  </a:cubicBezTo>
                  <a:cubicBezTo>
                    <a:pt x="266" y="147"/>
                    <a:pt x="268" y="146"/>
                    <a:pt x="269" y="145"/>
                  </a:cubicBezTo>
                  <a:cubicBezTo>
                    <a:pt x="269" y="145"/>
                    <a:pt x="269" y="144"/>
                    <a:pt x="270" y="144"/>
                  </a:cubicBezTo>
                  <a:cubicBezTo>
                    <a:pt x="271" y="143"/>
                    <a:pt x="273" y="143"/>
                    <a:pt x="274" y="142"/>
                  </a:cubicBezTo>
                  <a:cubicBezTo>
                    <a:pt x="276" y="142"/>
                    <a:pt x="277" y="142"/>
                    <a:pt x="279" y="142"/>
                  </a:cubicBezTo>
                  <a:cubicBezTo>
                    <a:pt x="281" y="142"/>
                    <a:pt x="281" y="142"/>
                    <a:pt x="282" y="141"/>
                  </a:cubicBezTo>
                  <a:cubicBezTo>
                    <a:pt x="282" y="140"/>
                    <a:pt x="283" y="139"/>
                    <a:pt x="283" y="138"/>
                  </a:cubicBezTo>
                  <a:cubicBezTo>
                    <a:pt x="283" y="137"/>
                    <a:pt x="283" y="136"/>
                    <a:pt x="283" y="135"/>
                  </a:cubicBezTo>
                  <a:cubicBezTo>
                    <a:pt x="283" y="135"/>
                    <a:pt x="284" y="135"/>
                    <a:pt x="284" y="134"/>
                  </a:cubicBezTo>
                  <a:cubicBezTo>
                    <a:pt x="284" y="134"/>
                    <a:pt x="284" y="134"/>
                    <a:pt x="284" y="133"/>
                  </a:cubicBezTo>
                  <a:cubicBezTo>
                    <a:pt x="285" y="133"/>
                    <a:pt x="285" y="132"/>
                    <a:pt x="285" y="132"/>
                  </a:cubicBezTo>
                  <a:cubicBezTo>
                    <a:pt x="287" y="131"/>
                    <a:pt x="288" y="130"/>
                    <a:pt x="289" y="129"/>
                  </a:cubicBezTo>
                  <a:cubicBezTo>
                    <a:pt x="291" y="129"/>
                    <a:pt x="293" y="128"/>
                    <a:pt x="294" y="127"/>
                  </a:cubicBezTo>
                  <a:cubicBezTo>
                    <a:pt x="295" y="126"/>
                    <a:pt x="295" y="126"/>
                    <a:pt x="296" y="125"/>
                  </a:cubicBezTo>
                  <a:cubicBezTo>
                    <a:pt x="298" y="125"/>
                    <a:pt x="299" y="124"/>
                    <a:pt x="301" y="124"/>
                  </a:cubicBezTo>
                  <a:cubicBezTo>
                    <a:pt x="302" y="123"/>
                    <a:pt x="303" y="124"/>
                    <a:pt x="304" y="123"/>
                  </a:cubicBezTo>
                  <a:cubicBezTo>
                    <a:pt x="305" y="123"/>
                    <a:pt x="305" y="122"/>
                    <a:pt x="306" y="122"/>
                  </a:cubicBezTo>
                  <a:cubicBezTo>
                    <a:pt x="307" y="121"/>
                    <a:pt x="308" y="121"/>
                    <a:pt x="309" y="120"/>
                  </a:cubicBezTo>
                  <a:cubicBezTo>
                    <a:pt x="310" y="118"/>
                    <a:pt x="309" y="118"/>
                    <a:pt x="311" y="117"/>
                  </a:cubicBezTo>
                  <a:cubicBezTo>
                    <a:pt x="311" y="117"/>
                    <a:pt x="312" y="117"/>
                    <a:pt x="312" y="116"/>
                  </a:cubicBezTo>
                  <a:cubicBezTo>
                    <a:pt x="313" y="116"/>
                    <a:pt x="313" y="116"/>
                    <a:pt x="314" y="116"/>
                  </a:cubicBezTo>
                  <a:cubicBezTo>
                    <a:pt x="316" y="115"/>
                    <a:pt x="317" y="113"/>
                    <a:pt x="316" y="11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7" name="Freeform 38">
              <a:extLst>
                <a:ext uri="{FF2B5EF4-FFF2-40B4-BE49-F238E27FC236}">
                  <a16:creationId xmlns:a16="http://schemas.microsoft.com/office/drawing/2014/main" id="{55BF1C8A-BF03-48BD-B6E2-14DD7B1518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6763" y="3511550"/>
              <a:ext cx="947738" cy="849313"/>
            </a:xfrm>
            <a:custGeom>
              <a:avLst/>
              <a:gdLst/>
              <a:ahLst/>
              <a:cxnLst>
                <a:cxn ang="0">
                  <a:pos x="493" y="252"/>
                </a:cxn>
                <a:cxn ang="0">
                  <a:pos x="479" y="230"/>
                </a:cxn>
                <a:cxn ang="0">
                  <a:pos x="455" y="220"/>
                </a:cxn>
                <a:cxn ang="0">
                  <a:pos x="426" y="174"/>
                </a:cxn>
                <a:cxn ang="0">
                  <a:pos x="418" y="142"/>
                </a:cxn>
                <a:cxn ang="0">
                  <a:pos x="406" y="117"/>
                </a:cxn>
                <a:cxn ang="0">
                  <a:pos x="412" y="91"/>
                </a:cxn>
                <a:cxn ang="0">
                  <a:pos x="408" y="69"/>
                </a:cxn>
                <a:cxn ang="0">
                  <a:pos x="383" y="37"/>
                </a:cxn>
                <a:cxn ang="0">
                  <a:pos x="354" y="34"/>
                </a:cxn>
                <a:cxn ang="0">
                  <a:pos x="329" y="44"/>
                </a:cxn>
                <a:cxn ang="0">
                  <a:pos x="294" y="18"/>
                </a:cxn>
                <a:cxn ang="0">
                  <a:pos x="256" y="8"/>
                </a:cxn>
                <a:cxn ang="0">
                  <a:pos x="210" y="33"/>
                </a:cxn>
                <a:cxn ang="0">
                  <a:pos x="185" y="47"/>
                </a:cxn>
                <a:cxn ang="0">
                  <a:pos x="173" y="66"/>
                </a:cxn>
                <a:cxn ang="0">
                  <a:pos x="178" y="82"/>
                </a:cxn>
                <a:cxn ang="0">
                  <a:pos x="181" y="92"/>
                </a:cxn>
                <a:cxn ang="0">
                  <a:pos x="161" y="101"/>
                </a:cxn>
                <a:cxn ang="0">
                  <a:pos x="154" y="113"/>
                </a:cxn>
                <a:cxn ang="0">
                  <a:pos x="133" y="121"/>
                </a:cxn>
                <a:cxn ang="0">
                  <a:pos x="129" y="152"/>
                </a:cxn>
                <a:cxn ang="0">
                  <a:pos x="123" y="174"/>
                </a:cxn>
                <a:cxn ang="0">
                  <a:pos x="120" y="191"/>
                </a:cxn>
                <a:cxn ang="0">
                  <a:pos x="109" y="176"/>
                </a:cxn>
                <a:cxn ang="0">
                  <a:pos x="88" y="188"/>
                </a:cxn>
                <a:cxn ang="0">
                  <a:pos x="75" y="206"/>
                </a:cxn>
                <a:cxn ang="0">
                  <a:pos x="64" y="207"/>
                </a:cxn>
                <a:cxn ang="0">
                  <a:pos x="31" y="208"/>
                </a:cxn>
                <a:cxn ang="0">
                  <a:pos x="11" y="211"/>
                </a:cxn>
                <a:cxn ang="0">
                  <a:pos x="22" y="253"/>
                </a:cxn>
                <a:cxn ang="0">
                  <a:pos x="38" y="294"/>
                </a:cxn>
                <a:cxn ang="0">
                  <a:pos x="40" y="316"/>
                </a:cxn>
                <a:cxn ang="0">
                  <a:pos x="20" y="331"/>
                </a:cxn>
                <a:cxn ang="0">
                  <a:pos x="4" y="360"/>
                </a:cxn>
                <a:cxn ang="0">
                  <a:pos x="23" y="380"/>
                </a:cxn>
                <a:cxn ang="0">
                  <a:pos x="13" y="404"/>
                </a:cxn>
                <a:cxn ang="0">
                  <a:pos x="43" y="408"/>
                </a:cxn>
                <a:cxn ang="0">
                  <a:pos x="69" y="393"/>
                </a:cxn>
                <a:cxn ang="0">
                  <a:pos x="118" y="394"/>
                </a:cxn>
                <a:cxn ang="0">
                  <a:pos x="148" y="398"/>
                </a:cxn>
                <a:cxn ang="0">
                  <a:pos x="200" y="407"/>
                </a:cxn>
                <a:cxn ang="0">
                  <a:pos x="215" y="420"/>
                </a:cxn>
                <a:cxn ang="0">
                  <a:pos x="242" y="423"/>
                </a:cxn>
                <a:cxn ang="0">
                  <a:pos x="272" y="425"/>
                </a:cxn>
                <a:cxn ang="0">
                  <a:pos x="296" y="425"/>
                </a:cxn>
                <a:cxn ang="0">
                  <a:pos x="322" y="435"/>
                </a:cxn>
                <a:cxn ang="0">
                  <a:pos x="370" y="445"/>
                </a:cxn>
                <a:cxn ang="0">
                  <a:pos x="391" y="406"/>
                </a:cxn>
                <a:cxn ang="0">
                  <a:pos x="406" y="384"/>
                </a:cxn>
                <a:cxn ang="0">
                  <a:pos x="427" y="375"/>
                </a:cxn>
                <a:cxn ang="0">
                  <a:pos x="443" y="363"/>
                </a:cxn>
                <a:cxn ang="0">
                  <a:pos x="436" y="319"/>
                </a:cxn>
                <a:cxn ang="0">
                  <a:pos x="444" y="280"/>
                </a:cxn>
                <a:cxn ang="0">
                  <a:pos x="483" y="284"/>
                </a:cxn>
                <a:cxn ang="0">
                  <a:pos x="500" y="270"/>
                </a:cxn>
              </a:cxnLst>
              <a:rect l="0" t="0" r="r" b="b"/>
              <a:pathLst>
                <a:path w="507" h="454">
                  <a:moveTo>
                    <a:pt x="9" y="209"/>
                  </a:moveTo>
                  <a:cubicBezTo>
                    <a:pt x="9" y="210"/>
                    <a:pt x="9" y="210"/>
                    <a:pt x="9" y="211"/>
                  </a:cubicBezTo>
                  <a:cubicBezTo>
                    <a:pt x="9" y="210"/>
                    <a:pt x="9" y="210"/>
                    <a:pt x="9" y="209"/>
                  </a:cubicBezTo>
                  <a:moveTo>
                    <a:pt x="505" y="257"/>
                  </a:moveTo>
                  <a:cubicBezTo>
                    <a:pt x="503" y="254"/>
                    <a:pt x="502" y="255"/>
                    <a:pt x="498" y="255"/>
                  </a:cubicBezTo>
                  <a:cubicBezTo>
                    <a:pt x="496" y="255"/>
                    <a:pt x="495" y="255"/>
                    <a:pt x="493" y="252"/>
                  </a:cubicBezTo>
                  <a:cubicBezTo>
                    <a:pt x="491" y="249"/>
                    <a:pt x="491" y="246"/>
                    <a:pt x="491" y="242"/>
                  </a:cubicBezTo>
                  <a:cubicBezTo>
                    <a:pt x="491" y="241"/>
                    <a:pt x="490" y="239"/>
                    <a:pt x="490" y="238"/>
                  </a:cubicBezTo>
                  <a:cubicBezTo>
                    <a:pt x="490" y="236"/>
                    <a:pt x="492" y="232"/>
                    <a:pt x="491" y="230"/>
                  </a:cubicBezTo>
                  <a:cubicBezTo>
                    <a:pt x="489" y="229"/>
                    <a:pt x="487" y="232"/>
                    <a:pt x="484" y="232"/>
                  </a:cubicBezTo>
                  <a:cubicBezTo>
                    <a:pt x="483" y="232"/>
                    <a:pt x="483" y="231"/>
                    <a:pt x="482" y="231"/>
                  </a:cubicBezTo>
                  <a:cubicBezTo>
                    <a:pt x="481" y="230"/>
                    <a:pt x="480" y="231"/>
                    <a:pt x="479" y="230"/>
                  </a:cubicBezTo>
                  <a:cubicBezTo>
                    <a:pt x="478" y="230"/>
                    <a:pt x="478" y="231"/>
                    <a:pt x="476" y="229"/>
                  </a:cubicBezTo>
                  <a:cubicBezTo>
                    <a:pt x="475" y="228"/>
                    <a:pt x="475" y="227"/>
                    <a:pt x="474" y="226"/>
                  </a:cubicBezTo>
                  <a:cubicBezTo>
                    <a:pt x="472" y="225"/>
                    <a:pt x="468" y="226"/>
                    <a:pt x="466" y="225"/>
                  </a:cubicBezTo>
                  <a:cubicBezTo>
                    <a:pt x="462" y="225"/>
                    <a:pt x="457" y="227"/>
                    <a:pt x="453" y="227"/>
                  </a:cubicBezTo>
                  <a:cubicBezTo>
                    <a:pt x="452" y="225"/>
                    <a:pt x="453" y="225"/>
                    <a:pt x="454" y="224"/>
                  </a:cubicBezTo>
                  <a:cubicBezTo>
                    <a:pt x="454" y="223"/>
                    <a:pt x="454" y="221"/>
                    <a:pt x="455" y="220"/>
                  </a:cubicBezTo>
                  <a:cubicBezTo>
                    <a:pt x="457" y="215"/>
                    <a:pt x="458" y="211"/>
                    <a:pt x="458" y="206"/>
                  </a:cubicBezTo>
                  <a:cubicBezTo>
                    <a:pt x="457" y="204"/>
                    <a:pt x="456" y="203"/>
                    <a:pt x="456" y="201"/>
                  </a:cubicBezTo>
                  <a:cubicBezTo>
                    <a:pt x="455" y="199"/>
                    <a:pt x="454" y="198"/>
                    <a:pt x="453" y="197"/>
                  </a:cubicBezTo>
                  <a:cubicBezTo>
                    <a:pt x="446" y="193"/>
                    <a:pt x="438" y="200"/>
                    <a:pt x="435" y="190"/>
                  </a:cubicBezTo>
                  <a:cubicBezTo>
                    <a:pt x="434" y="188"/>
                    <a:pt x="434" y="185"/>
                    <a:pt x="432" y="182"/>
                  </a:cubicBezTo>
                  <a:cubicBezTo>
                    <a:pt x="431" y="179"/>
                    <a:pt x="428" y="177"/>
                    <a:pt x="426" y="174"/>
                  </a:cubicBezTo>
                  <a:cubicBezTo>
                    <a:pt x="425" y="171"/>
                    <a:pt x="425" y="167"/>
                    <a:pt x="422" y="165"/>
                  </a:cubicBezTo>
                  <a:cubicBezTo>
                    <a:pt x="421" y="164"/>
                    <a:pt x="417" y="165"/>
                    <a:pt x="416" y="163"/>
                  </a:cubicBezTo>
                  <a:cubicBezTo>
                    <a:pt x="415" y="161"/>
                    <a:pt x="416" y="160"/>
                    <a:pt x="417" y="159"/>
                  </a:cubicBezTo>
                  <a:cubicBezTo>
                    <a:pt x="419" y="156"/>
                    <a:pt x="421" y="154"/>
                    <a:pt x="422" y="150"/>
                  </a:cubicBezTo>
                  <a:cubicBezTo>
                    <a:pt x="423" y="149"/>
                    <a:pt x="422" y="147"/>
                    <a:pt x="422" y="145"/>
                  </a:cubicBezTo>
                  <a:cubicBezTo>
                    <a:pt x="421" y="142"/>
                    <a:pt x="420" y="142"/>
                    <a:pt x="418" y="142"/>
                  </a:cubicBezTo>
                  <a:cubicBezTo>
                    <a:pt x="415" y="142"/>
                    <a:pt x="414" y="143"/>
                    <a:pt x="413" y="141"/>
                  </a:cubicBezTo>
                  <a:cubicBezTo>
                    <a:pt x="411" y="140"/>
                    <a:pt x="411" y="139"/>
                    <a:pt x="409" y="138"/>
                  </a:cubicBezTo>
                  <a:cubicBezTo>
                    <a:pt x="406" y="136"/>
                    <a:pt x="402" y="137"/>
                    <a:pt x="401" y="132"/>
                  </a:cubicBezTo>
                  <a:cubicBezTo>
                    <a:pt x="399" y="129"/>
                    <a:pt x="403" y="126"/>
                    <a:pt x="402" y="123"/>
                  </a:cubicBezTo>
                  <a:cubicBezTo>
                    <a:pt x="402" y="121"/>
                    <a:pt x="400" y="120"/>
                    <a:pt x="402" y="118"/>
                  </a:cubicBezTo>
                  <a:cubicBezTo>
                    <a:pt x="403" y="117"/>
                    <a:pt x="405" y="117"/>
                    <a:pt x="406" y="117"/>
                  </a:cubicBezTo>
                  <a:cubicBezTo>
                    <a:pt x="406" y="116"/>
                    <a:pt x="407" y="115"/>
                    <a:pt x="408" y="115"/>
                  </a:cubicBezTo>
                  <a:cubicBezTo>
                    <a:pt x="408" y="114"/>
                    <a:pt x="408" y="112"/>
                    <a:pt x="408" y="111"/>
                  </a:cubicBezTo>
                  <a:cubicBezTo>
                    <a:pt x="410" y="111"/>
                    <a:pt x="411" y="110"/>
                    <a:pt x="412" y="109"/>
                  </a:cubicBezTo>
                  <a:cubicBezTo>
                    <a:pt x="412" y="108"/>
                    <a:pt x="412" y="106"/>
                    <a:pt x="412" y="105"/>
                  </a:cubicBezTo>
                  <a:cubicBezTo>
                    <a:pt x="411" y="102"/>
                    <a:pt x="411" y="102"/>
                    <a:pt x="412" y="100"/>
                  </a:cubicBezTo>
                  <a:cubicBezTo>
                    <a:pt x="413" y="97"/>
                    <a:pt x="412" y="94"/>
                    <a:pt x="412" y="91"/>
                  </a:cubicBezTo>
                  <a:cubicBezTo>
                    <a:pt x="410" y="91"/>
                    <a:pt x="406" y="89"/>
                    <a:pt x="405" y="88"/>
                  </a:cubicBezTo>
                  <a:cubicBezTo>
                    <a:pt x="404" y="86"/>
                    <a:pt x="405" y="87"/>
                    <a:pt x="405" y="85"/>
                  </a:cubicBezTo>
                  <a:cubicBezTo>
                    <a:pt x="405" y="83"/>
                    <a:pt x="405" y="81"/>
                    <a:pt x="406" y="80"/>
                  </a:cubicBezTo>
                  <a:cubicBezTo>
                    <a:pt x="407" y="79"/>
                    <a:pt x="408" y="79"/>
                    <a:pt x="408" y="78"/>
                  </a:cubicBezTo>
                  <a:cubicBezTo>
                    <a:pt x="408" y="77"/>
                    <a:pt x="408" y="76"/>
                    <a:pt x="408" y="76"/>
                  </a:cubicBezTo>
                  <a:cubicBezTo>
                    <a:pt x="408" y="73"/>
                    <a:pt x="408" y="71"/>
                    <a:pt x="408" y="69"/>
                  </a:cubicBezTo>
                  <a:cubicBezTo>
                    <a:pt x="408" y="64"/>
                    <a:pt x="410" y="63"/>
                    <a:pt x="411" y="58"/>
                  </a:cubicBezTo>
                  <a:cubicBezTo>
                    <a:pt x="411" y="57"/>
                    <a:pt x="411" y="54"/>
                    <a:pt x="409" y="54"/>
                  </a:cubicBezTo>
                  <a:cubicBezTo>
                    <a:pt x="407" y="53"/>
                    <a:pt x="404" y="54"/>
                    <a:pt x="402" y="54"/>
                  </a:cubicBezTo>
                  <a:cubicBezTo>
                    <a:pt x="396" y="54"/>
                    <a:pt x="399" y="49"/>
                    <a:pt x="397" y="45"/>
                  </a:cubicBezTo>
                  <a:cubicBezTo>
                    <a:pt x="396" y="43"/>
                    <a:pt x="393" y="42"/>
                    <a:pt x="391" y="41"/>
                  </a:cubicBezTo>
                  <a:cubicBezTo>
                    <a:pt x="388" y="39"/>
                    <a:pt x="386" y="38"/>
                    <a:pt x="383" y="37"/>
                  </a:cubicBezTo>
                  <a:cubicBezTo>
                    <a:pt x="381" y="37"/>
                    <a:pt x="379" y="36"/>
                    <a:pt x="377" y="34"/>
                  </a:cubicBezTo>
                  <a:cubicBezTo>
                    <a:pt x="376" y="33"/>
                    <a:pt x="375" y="31"/>
                    <a:pt x="374" y="29"/>
                  </a:cubicBezTo>
                  <a:cubicBezTo>
                    <a:pt x="371" y="26"/>
                    <a:pt x="365" y="30"/>
                    <a:pt x="362" y="32"/>
                  </a:cubicBezTo>
                  <a:cubicBezTo>
                    <a:pt x="362" y="32"/>
                    <a:pt x="362" y="33"/>
                    <a:pt x="362" y="33"/>
                  </a:cubicBezTo>
                  <a:cubicBezTo>
                    <a:pt x="360" y="33"/>
                    <a:pt x="359" y="32"/>
                    <a:pt x="357" y="32"/>
                  </a:cubicBezTo>
                  <a:cubicBezTo>
                    <a:pt x="355" y="32"/>
                    <a:pt x="355" y="32"/>
                    <a:pt x="354" y="34"/>
                  </a:cubicBezTo>
                  <a:cubicBezTo>
                    <a:pt x="351" y="36"/>
                    <a:pt x="352" y="39"/>
                    <a:pt x="350" y="42"/>
                  </a:cubicBezTo>
                  <a:cubicBezTo>
                    <a:pt x="348" y="41"/>
                    <a:pt x="346" y="39"/>
                    <a:pt x="343" y="39"/>
                  </a:cubicBezTo>
                  <a:cubicBezTo>
                    <a:pt x="342" y="39"/>
                    <a:pt x="341" y="40"/>
                    <a:pt x="340" y="41"/>
                  </a:cubicBezTo>
                  <a:cubicBezTo>
                    <a:pt x="338" y="43"/>
                    <a:pt x="339" y="43"/>
                    <a:pt x="337" y="44"/>
                  </a:cubicBezTo>
                  <a:cubicBezTo>
                    <a:pt x="337" y="44"/>
                    <a:pt x="336" y="44"/>
                    <a:pt x="335" y="45"/>
                  </a:cubicBezTo>
                  <a:cubicBezTo>
                    <a:pt x="334" y="45"/>
                    <a:pt x="330" y="45"/>
                    <a:pt x="329" y="44"/>
                  </a:cubicBezTo>
                  <a:cubicBezTo>
                    <a:pt x="327" y="43"/>
                    <a:pt x="328" y="36"/>
                    <a:pt x="328" y="35"/>
                  </a:cubicBezTo>
                  <a:cubicBezTo>
                    <a:pt x="328" y="33"/>
                    <a:pt x="328" y="31"/>
                    <a:pt x="328" y="29"/>
                  </a:cubicBezTo>
                  <a:cubicBezTo>
                    <a:pt x="329" y="28"/>
                    <a:pt x="330" y="27"/>
                    <a:pt x="330" y="25"/>
                  </a:cubicBezTo>
                  <a:cubicBezTo>
                    <a:pt x="329" y="18"/>
                    <a:pt x="321" y="16"/>
                    <a:pt x="315" y="16"/>
                  </a:cubicBezTo>
                  <a:cubicBezTo>
                    <a:pt x="311" y="16"/>
                    <a:pt x="306" y="16"/>
                    <a:pt x="302" y="18"/>
                  </a:cubicBezTo>
                  <a:cubicBezTo>
                    <a:pt x="299" y="19"/>
                    <a:pt x="297" y="21"/>
                    <a:pt x="294" y="18"/>
                  </a:cubicBezTo>
                  <a:cubicBezTo>
                    <a:pt x="291" y="17"/>
                    <a:pt x="290" y="13"/>
                    <a:pt x="289" y="10"/>
                  </a:cubicBezTo>
                  <a:cubicBezTo>
                    <a:pt x="287" y="6"/>
                    <a:pt x="286" y="4"/>
                    <a:pt x="282" y="6"/>
                  </a:cubicBezTo>
                  <a:cubicBezTo>
                    <a:pt x="278" y="7"/>
                    <a:pt x="274" y="9"/>
                    <a:pt x="270" y="8"/>
                  </a:cubicBezTo>
                  <a:cubicBezTo>
                    <a:pt x="269" y="8"/>
                    <a:pt x="265" y="7"/>
                    <a:pt x="264" y="6"/>
                  </a:cubicBezTo>
                  <a:cubicBezTo>
                    <a:pt x="264" y="6"/>
                    <a:pt x="264" y="2"/>
                    <a:pt x="263" y="1"/>
                  </a:cubicBezTo>
                  <a:cubicBezTo>
                    <a:pt x="262" y="0"/>
                    <a:pt x="257" y="6"/>
                    <a:pt x="256" y="8"/>
                  </a:cubicBezTo>
                  <a:cubicBezTo>
                    <a:pt x="253" y="11"/>
                    <a:pt x="249" y="16"/>
                    <a:pt x="245" y="16"/>
                  </a:cubicBezTo>
                  <a:cubicBezTo>
                    <a:pt x="240" y="17"/>
                    <a:pt x="237" y="19"/>
                    <a:pt x="236" y="24"/>
                  </a:cubicBezTo>
                  <a:cubicBezTo>
                    <a:pt x="235" y="28"/>
                    <a:pt x="238" y="33"/>
                    <a:pt x="234" y="36"/>
                  </a:cubicBezTo>
                  <a:cubicBezTo>
                    <a:pt x="230" y="39"/>
                    <a:pt x="227" y="34"/>
                    <a:pt x="223" y="35"/>
                  </a:cubicBezTo>
                  <a:cubicBezTo>
                    <a:pt x="220" y="35"/>
                    <a:pt x="217" y="35"/>
                    <a:pt x="215" y="35"/>
                  </a:cubicBezTo>
                  <a:cubicBezTo>
                    <a:pt x="212" y="34"/>
                    <a:pt x="212" y="34"/>
                    <a:pt x="210" y="33"/>
                  </a:cubicBezTo>
                  <a:cubicBezTo>
                    <a:pt x="207" y="31"/>
                    <a:pt x="203" y="33"/>
                    <a:pt x="201" y="35"/>
                  </a:cubicBezTo>
                  <a:cubicBezTo>
                    <a:pt x="200" y="35"/>
                    <a:pt x="200" y="37"/>
                    <a:pt x="199" y="37"/>
                  </a:cubicBezTo>
                  <a:cubicBezTo>
                    <a:pt x="198" y="37"/>
                    <a:pt x="197" y="37"/>
                    <a:pt x="196" y="38"/>
                  </a:cubicBezTo>
                  <a:cubicBezTo>
                    <a:pt x="195" y="38"/>
                    <a:pt x="193" y="39"/>
                    <a:pt x="193" y="40"/>
                  </a:cubicBezTo>
                  <a:cubicBezTo>
                    <a:pt x="191" y="41"/>
                    <a:pt x="190" y="44"/>
                    <a:pt x="189" y="45"/>
                  </a:cubicBezTo>
                  <a:cubicBezTo>
                    <a:pt x="188" y="47"/>
                    <a:pt x="187" y="47"/>
                    <a:pt x="185" y="47"/>
                  </a:cubicBezTo>
                  <a:cubicBezTo>
                    <a:pt x="183" y="47"/>
                    <a:pt x="181" y="46"/>
                    <a:pt x="180" y="46"/>
                  </a:cubicBezTo>
                  <a:cubicBezTo>
                    <a:pt x="179" y="47"/>
                    <a:pt x="179" y="47"/>
                    <a:pt x="178" y="47"/>
                  </a:cubicBezTo>
                  <a:cubicBezTo>
                    <a:pt x="179" y="47"/>
                    <a:pt x="181" y="47"/>
                    <a:pt x="181" y="48"/>
                  </a:cubicBezTo>
                  <a:cubicBezTo>
                    <a:pt x="184" y="50"/>
                    <a:pt x="179" y="57"/>
                    <a:pt x="178" y="59"/>
                  </a:cubicBezTo>
                  <a:cubicBezTo>
                    <a:pt x="177" y="61"/>
                    <a:pt x="176" y="63"/>
                    <a:pt x="174" y="64"/>
                  </a:cubicBezTo>
                  <a:cubicBezTo>
                    <a:pt x="173" y="65"/>
                    <a:pt x="173" y="66"/>
                    <a:pt x="173" y="66"/>
                  </a:cubicBezTo>
                  <a:cubicBezTo>
                    <a:pt x="172" y="69"/>
                    <a:pt x="174" y="68"/>
                    <a:pt x="175" y="69"/>
                  </a:cubicBezTo>
                  <a:cubicBezTo>
                    <a:pt x="176" y="70"/>
                    <a:pt x="176" y="70"/>
                    <a:pt x="176" y="72"/>
                  </a:cubicBezTo>
                  <a:cubicBezTo>
                    <a:pt x="176" y="74"/>
                    <a:pt x="174" y="75"/>
                    <a:pt x="173" y="77"/>
                  </a:cubicBezTo>
                  <a:cubicBezTo>
                    <a:pt x="172" y="78"/>
                    <a:pt x="172" y="78"/>
                    <a:pt x="173" y="80"/>
                  </a:cubicBezTo>
                  <a:cubicBezTo>
                    <a:pt x="174" y="81"/>
                    <a:pt x="175" y="83"/>
                    <a:pt x="177" y="83"/>
                  </a:cubicBezTo>
                  <a:cubicBezTo>
                    <a:pt x="177" y="83"/>
                    <a:pt x="178" y="82"/>
                    <a:pt x="178" y="82"/>
                  </a:cubicBezTo>
                  <a:cubicBezTo>
                    <a:pt x="179" y="82"/>
                    <a:pt x="180" y="82"/>
                    <a:pt x="180" y="82"/>
                  </a:cubicBezTo>
                  <a:cubicBezTo>
                    <a:pt x="182" y="82"/>
                    <a:pt x="186" y="82"/>
                    <a:pt x="188" y="83"/>
                  </a:cubicBezTo>
                  <a:cubicBezTo>
                    <a:pt x="189" y="85"/>
                    <a:pt x="188" y="87"/>
                    <a:pt x="186" y="88"/>
                  </a:cubicBezTo>
                  <a:cubicBezTo>
                    <a:pt x="185" y="88"/>
                    <a:pt x="185" y="88"/>
                    <a:pt x="184" y="88"/>
                  </a:cubicBezTo>
                  <a:cubicBezTo>
                    <a:pt x="184" y="89"/>
                    <a:pt x="183" y="89"/>
                    <a:pt x="183" y="89"/>
                  </a:cubicBezTo>
                  <a:cubicBezTo>
                    <a:pt x="181" y="90"/>
                    <a:pt x="182" y="90"/>
                    <a:pt x="181" y="92"/>
                  </a:cubicBezTo>
                  <a:cubicBezTo>
                    <a:pt x="180" y="93"/>
                    <a:pt x="179" y="93"/>
                    <a:pt x="178" y="94"/>
                  </a:cubicBezTo>
                  <a:cubicBezTo>
                    <a:pt x="177" y="94"/>
                    <a:pt x="177" y="95"/>
                    <a:pt x="176" y="95"/>
                  </a:cubicBezTo>
                  <a:cubicBezTo>
                    <a:pt x="175" y="96"/>
                    <a:pt x="174" y="95"/>
                    <a:pt x="173" y="96"/>
                  </a:cubicBezTo>
                  <a:cubicBezTo>
                    <a:pt x="171" y="96"/>
                    <a:pt x="170" y="97"/>
                    <a:pt x="168" y="97"/>
                  </a:cubicBezTo>
                  <a:cubicBezTo>
                    <a:pt x="167" y="98"/>
                    <a:pt x="167" y="98"/>
                    <a:pt x="166" y="99"/>
                  </a:cubicBezTo>
                  <a:cubicBezTo>
                    <a:pt x="165" y="100"/>
                    <a:pt x="163" y="101"/>
                    <a:pt x="161" y="101"/>
                  </a:cubicBezTo>
                  <a:cubicBezTo>
                    <a:pt x="160" y="102"/>
                    <a:pt x="159" y="103"/>
                    <a:pt x="157" y="104"/>
                  </a:cubicBezTo>
                  <a:cubicBezTo>
                    <a:pt x="157" y="104"/>
                    <a:pt x="157" y="105"/>
                    <a:pt x="156" y="105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56" y="107"/>
                    <a:pt x="155" y="107"/>
                    <a:pt x="155" y="107"/>
                  </a:cubicBezTo>
                  <a:cubicBezTo>
                    <a:pt x="155" y="108"/>
                    <a:pt x="155" y="109"/>
                    <a:pt x="155" y="110"/>
                  </a:cubicBezTo>
                  <a:cubicBezTo>
                    <a:pt x="155" y="111"/>
                    <a:pt x="154" y="112"/>
                    <a:pt x="154" y="113"/>
                  </a:cubicBezTo>
                  <a:cubicBezTo>
                    <a:pt x="153" y="114"/>
                    <a:pt x="153" y="114"/>
                    <a:pt x="151" y="114"/>
                  </a:cubicBezTo>
                  <a:cubicBezTo>
                    <a:pt x="149" y="114"/>
                    <a:pt x="148" y="114"/>
                    <a:pt x="146" y="114"/>
                  </a:cubicBezTo>
                  <a:cubicBezTo>
                    <a:pt x="145" y="115"/>
                    <a:pt x="143" y="115"/>
                    <a:pt x="142" y="116"/>
                  </a:cubicBezTo>
                  <a:cubicBezTo>
                    <a:pt x="141" y="116"/>
                    <a:pt x="141" y="117"/>
                    <a:pt x="141" y="117"/>
                  </a:cubicBezTo>
                  <a:cubicBezTo>
                    <a:pt x="140" y="118"/>
                    <a:pt x="138" y="119"/>
                    <a:pt x="137" y="120"/>
                  </a:cubicBezTo>
                  <a:cubicBezTo>
                    <a:pt x="136" y="120"/>
                    <a:pt x="135" y="120"/>
                    <a:pt x="133" y="121"/>
                  </a:cubicBezTo>
                  <a:cubicBezTo>
                    <a:pt x="132" y="122"/>
                    <a:pt x="132" y="122"/>
                    <a:pt x="131" y="124"/>
                  </a:cubicBezTo>
                  <a:cubicBezTo>
                    <a:pt x="131" y="125"/>
                    <a:pt x="131" y="125"/>
                    <a:pt x="130" y="126"/>
                  </a:cubicBezTo>
                  <a:cubicBezTo>
                    <a:pt x="130" y="126"/>
                    <a:pt x="130" y="127"/>
                    <a:pt x="130" y="127"/>
                  </a:cubicBezTo>
                  <a:cubicBezTo>
                    <a:pt x="130" y="130"/>
                    <a:pt x="130" y="133"/>
                    <a:pt x="130" y="136"/>
                  </a:cubicBezTo>
                  <a:cubicBezTo>
                    <a:pt x="130" y="140"/>
                    <a:pt x="131" y="144"/>
                    <a:pt x="130" y="148"/>
                  </a:cubicBezTo>
                  <a:cubicBezTo>
                    <a:pt x="130" y="149"/>
                    <a:pt x="129" y="151"/>
                    <a:pt x="129" y="152"/>
                  </a:cubicBezTo>
                  <a:cubicBezTo>
                    <a:pt x="128" y="155"/>
                    <a:pt x="127" y="156"/>
                    <a:pt x="126" y="158"/>
                  </a:cubicBezTo>
                  <a:cubicBezTo>
                    <a:pt x="125" y="160"/>
                    <a:pt x="124" y="161"/>
                    <a:pt x="123" y="163"/>
                  </a:cubicBezTo>
                  <a:cubicBezTo>
                    <a:pt x="123" y="163"/>
                    <a:pt x="122" y="164"/>
                    <a:pt x="122" y="165"/>
                  </a:cubicBezTo>
                  <a:cubicBezTo>
                    <a:pt x="121" y="166"/>
                    <a:pt x="121" y="167"/>
                    <a:pt x="121" y="168"/>
                  </a:cubicBezTo>
                  <a:cubicBezTo>
                    <a:pt x="121" y="169"/>
                    <a:pt x="121" y="170"/>
                    <a:pt x="121" y="171"/>
                  </a:cubicBezTo>
                  <a:cubicBezTo>
                    <a:pt x="121" y="173"/>
                    <a:pt x="122" y="172"/>
                    <a:pt x="123" y="174"/>
                  </a:cubicBezTo>
                  <a:cubicBezTo>
                    <a:pt x="124" y="174"/>
                    <a:pt x="124" y="176"/>
                    <a:pt x="124" y="176"/>
                  </a:cubicBezTo>
                  <a:cubicBezTo>
                    <a:pt x="125" y="177"/>
                    <a:pt x="126" y="178"/>
                    <a:pt x="127" y="179"/>
                  </a:cubicBezTo>
                  <a:cubicBezTo>
                    <a:pt x="128" y="179"/>
                    <a:pt x="129" y="180"/>
                    <a:pt x="129" y="181"/>
                  </a:cubicBezTo>
                  <a:cubicBezTo>
                    <a:pt x="131" y="183"/>
                    <a:pt x="133" y="186"/>
                    <a:pt x="131" y="189"/>
                  </a:cubicBezTo>
                  <a:cubicBezTo>
                    <a:pt x="131" y="190"/>
                    <a:pt x="129" y="191"/>
                    <a:pt x="128" y="191"/>
                  </a:cubicBezTo>
                  <a:cubicBezTo>
                    <a:pt x="126" y="191"/>
                    <a:pt x="122" y="191"/>
                    <a:pt x="120" y="191"/>
                  </a:cubicBezTo>
                  <a:cubicBezTo>
                    <a:pt x="118" y="190"/>
                    <a:pt x="118" y="190"/>
                    <a:pt x="118" y="188"/>
                  </a:cubicBezTo>
                  <a:cubicBezTo>
                    <a:pt x="118" y="187"/>
                    <a:pt x="118" y="185"/>
                    <a:pt x="119" y="184"/>
                  </a:cubicBezTo>
                  <a:cubicBezTo>
                    <a:pt x="119" y="182"/>
                    <a:pt x="120" y="182"/>
                    <a:pt x="120" y="180"/>
                  </a:cubicBezTo>
                  <a:cubicBezTo>
                    <a:pt x="120" y="178"/>
                    <a:pt x="118" y="178"/>
                    <a:pt x="118" y="176"/>
                  </a:cubicBezTo>
                  <a:cubicBezTo>
                    <a:pt x="116" y="176"/>
                    <a:pt x="113" y="176"/>
                    <a:pt x="110" y="176"/>
                  </a:cubicBezTo>
                  <a:cubicBezTo>
                    <a:pt x="110" y="176"/>
                    <a:pt x="110" y="176"/>
                    <a:pt x="109" y="176"/>
                  </a:cubicBezTo>
                  <a:cubicBezTo>
                    <a:pt x="109" y="177"/>
                    <a:pt x="109" y="177"/>
                    <a:pt x="108" y="177"/>
                  </a:cubicBezTo>
                  <a:cubicBezTo>
                    <a:pt x="108" y="177"/>
                    <a:pt x="108" y="177"/>
                    <a:pt x="107" y="177"/>
                  </a:cubicBezTo>
                  <a:cubicBezTo>
                    <a:pt x="103" y="176"/>
                    <a:pt x="99" y="180"/>
                    <a:pt x="99" y="184"/>
                  </a:cubicBezTo>
                  <a:cubicBezTo>
                    <a:pt x="99" y="187"/>
                    <a:pt x="100" y="192"/>
                    <a:pt x="95" y="192"/>
                  </a:cubicBezTo>
                  <a:cubicBezTo>
                    <a:pt x="94" y="192"/>
                    <a:pt x="92" y="192"/>
                    <a:pt x="91" y="191"/>
                  </a:cubicBezTo>
                  <a:cubicBezTo>
                    <a:pt x="89" y="191"/>
                    <a:pt x="89" y="189"/>
                    <a:pt x="88" y="188"/>
                  </a:cubicBezTo>
                  <a:cubicBezTo>
                    <a:pt x="86" y="188"/>
                    <a:pt x="83" y="189"/>
                    <a:pt x="82" y="190"/>
                  </a:cubicBezTo>
                  <a:cubicBezTo>
                    <a:pt x="80" y="190"/>
                    <a:pt x="79" y="193"/>
                    <a:pt x="79" y="194"/>
                  </a:cubicBezTo>
                  <a:cubicBezTo>
                    <a:pt x="79" y="195"/>
                    <a:pt x="79" y="197"/>
                    <a:pt x="79" y="198"/>
                  </a:cubicBezTo>
                  <a:cubicBezTo>
                    <a:pt x="79" y="200"/>
                    <a:pt x="81" y="201"/>
                    <a:pt x="80" y="203"/>
                  </a:cubicBezTo>
                  <a:cubicBezTo>
                    <a:pt x="79" y="204"/>
                    <a:pt x="78" y="203"/>
                    <a:pt x="77" y="204"/>
                  </a:cubicBezTo>
                  <a:cubicBezTo>
                    <a:pt x="76" y="205"/>
                    <a:pt x="76" y="205"/>
                    <a:pt x="75" y="206"/>
                  </a:cubicBezTo>
                  <a:cubicBezTo>
                    <a:pt x="75" y="206"/>
                    <a:pt x="74" y="206"/>
                    <a:pt x="74" y="206"/>
                  </a:cubicBezTo>
                  <a:cubicBezTo>
                    <a:pt x="70" y="208"/>
                    <a:pt x="73" y="204"/>
                    <a:pt x="72" y="202"/>
                  </a:cubicBezTo>
                  <a:cubicBezTo>
                    <a:pt x="71" y="202"/>
                    <a:pt x="70" y="203"/>
                    <a:pt x="69" y="204"/>
                  </a:cubicBezTo>
                  <a:cubicBezTo>
                    <a:pt x="69" y="204"/>
                    <a:pt x="68" y="204"/>
                    <a:pt x="67" y="204"/>
                  </a:cubicBezTo>
                  <a:cubicBezTo>
                    <a:pt x="67" y="205"/>
                    <a:pt x="66" y="205"/>
                    <a:pt x="66" y="206"/>
                  </a:cubicBezTo>
                  <a:cubicBezTo>
                    <a:pt x="65" y="206"/>
                    <a:pt x="64" y="207"/>
                    <a:pt x="64" y="207"/>
                  </a:cubicBezTo>
                  <a:cubicBezTo>
                    <a:pt x="62" y="208"/>
                    <a:pt x="61" y="208"/>
                    <a:pt x="60" y="209"/>
                  </a:cubicBezTo>
                  <a:cubicBezTo>
                    <a:pt x="59" y="211"/>
                    <a:pt x="59" y="212"/>
                    <a:pt x="57" y="212"/>
                  </a:cubicBezTo>
                  <a:cubicBezTo>
                    <a:pt x="54" y="214"/>
                    <a:pt x="51" y="211"/>
                    <a:pt x="48" y="210"/>
                  </a:cubicBezTo>
                  <a:cubicBezTo>
                    <a:pt x="46" y="209"/>
                    <a:pt x="42" y="210"/>
                    <a:pt x="39" y="209"/>
                  </a:cubicBezTo>
                  <a:cubicBezTo>
                    <a:pt x="39" y="209"/>
                    <a:pt x="39" y="208"/>
                    <a:pt x="39" y="208"/>
                  </a:cubicBezTo>
                  <a:cubicBezTo>
                    <a:pt x="38" y="210"/>
                    <a:pt x="33" y="208"/>
                    <a:pt x="31" y="208"/>
                  </a:cubicBezTo>
                  <a:cubicBezTo>
                    <a:pt x="31" y="208"/>
                    <a:pt x="30" y="208"/>
                    <a:pt x="29" y="207"/>
                  </a:cubicBezTo>
                  <a:cubicBezTo>
                    <a:pt x="28" y="207"/>
                    <a:pt x="28" y="207"/>
                    <a:pt x="27" y="206"/>
                  </a:cubicBezTo>
                  <a:cubicBezTo>
                    <a:pt x="26" y="206"/>
                    <a:pt x="25" y="206"/>
                    <a:pt x="24" y="206"/>
                  </a:cubicBezTo>
                  <a:cubicBezTo>
                    <a:pt x="21" y="206"/>
                    <a:pt x="19" y="206"/>
                    <a:pt x="16" y="207"/>
                  </a:cubicBezTo>
                  <a:cubicBezTo>
                    <a:pt x="14" y="207"/>
                    <a:pt x="14" y="207"/>
                    <a:pt x="13" y="209"/>
                  </a:cubicBezTo>
                  <a:cubicBezTo>
                    <a:pt x="12" y="209"/>
                    <a:pt x="11" y="210"/>
                    <a:pt x="11" y="211"/>
                  </a:cubicBezTo>
                  <a:cubicBezTo>
                    <a:pt x="10" y="212"/>
                    <a:pt x="10" y="212"/>
                    <a:pt x="10" y="212"/>
                  </a:cubicBezTo>
                  <a:cubicBezTo>
                    <a:pt x="11" y="215"/>
                    <a:pt x="13" y="217"/>
                    <a:pt x="14" y="220"/>
                  </a:cubicBezTo>
                  <a:cubicBezTo>
                    <a:pt x="14" y="222"/>
                    <a:pt x="13" y="223"/>
                    <a:pt x="12" y="225"/>
                  </a:cubicBezTo>
                  <a:cubicBezTo>
                    <a:pt x="11" y="227"/>
                    <a:pt x="11" y="227"/>
                    <a:pt x="11" y="230"/>
                  </a:cubicBezTo>
                  <a:cubicBezTo>
                    <a:pt x="11" y="234"/>
                    <a:pt x="14" y="236"/>
                    <a:pt x="15" y="239"/>
                  </a:cubicBezTo>
                  <a:cubicBezTo>
                    <a:pt x="17" y="244"/>
                    <a:pt x="20" y="248"/>
                    <a:pt x="22" y="253"/>
                  </a:cubicBezTo>
                  <a:cubicBezTo>
                    <a:pt x="25" y="259"/>
                    <a:pt x="26" y="264"/>
                    <a:pt x="28" y="270"/>
                  </a:cubicBezTo>
                  <a:cubicBezTo>
                    <a:pt x="30" y="273"/>
                    <a:pt x="31" y="277"/>
                    <a:pt x="33" y="279"/>
                  </a:cubicBezTo>
                  <a:cubicBezTo>
                    <a:pt x="33" y="281"/>
                    <a:pt x="34" y="281"/>
                    <a:pt x="35" y="282"/>
                  </a:cubicBezTo>
                  <a:cubicBezTo>
                    <a:pt x="35" y="284"/>
                    <a:pt x="34" y="287"/>
                    <a:pt x="34" y="289"/>
                  </a:cubicBezTo>
                  <a:cubicBezTo>
                    <a:pt x="35" y="291"/>
                    <a:pt x="35" y="291"/>
                    <a:pt x="36" y="293"/>
                  </a:cubicBezTo>
                  <a:cubicBezTo>
                    <a:pt x="37" y="293"/>
                    <a:pt x="37" y="294"/>
                    <a:pt x="38" y="294"/>
                  </a:cubicBezTo>
                  <a:cubicBezTo>
                    <a:pt x="39" y="295"/>
                    <a:pt x="39" y="293"/>
                    <a:pt x="40" y="293"/>
                  </a:cubicBezTo>
                  <a:cubicBezTo>
                    <a:pt x="44" y="292"/>
                    <a:pt x="43" y="296"/>
                    <a:pt x="43" y="298"/>
                  </a:cubicBezTo>
                  <a:cubicBezTo>
                    <a:pt x="43" y="300"/>
                    <a:pt x="43" y="302"/>
                    <a:pt x="43" y="304"/>
                  </a:cubicBezTo>
                  <a:cubicBezTo>
                    <a:pt x="43" y="306"/>
                    <a:pt x="43" y="307"/>
                    <a:pt x="42" y="309"/>
                  </a:cubicBezTo>
                  <a:cubicBezTo>
                    <a:pt x="42" y="310"/>
                    <a:pt x="41" y="311"/>
                    <a:pt x="40" y="312"/>
                  </a:cubicBezTo>
                  <a:cubicBezTo>
                    <a:pt x="40" y="313"/>
                    <a:pt x="40" y="315"/>
                    <a:pt x="40" y="316"/>
                  </a:cubicBezTo>
                  <a:cubicBezTo>
                    <a:pt x="40" y="318"/>
                    <a:pt x="39" y="320"/>
                    <a:pt x="38" y="321"/>
                  </a:cubicBezTo>
                  <a:cubicBezTo>
                    <a:pt x="37" y="323"/>
                    <a:pt x="38" y="323"/>
                    <a:pt x="35" y="324"/>
                  </a:cubicBezTo>
                  <a:cubicBezTo>
                    <a:pt x="32" y="324"/>
                    <a:pt x="30" y="323"/>
                    <a:pt x="27" y="324"/>
                  </a:cubicBezTo>
                  <a:cubicBezTo>
                    <a:pt x="25" y="325"/>
                    <a:pt x="24" y="326"/>
                    <a:pt x="23" y="327"/>
                  </a:cubicBezTo>
                  <a:cubicBezTo>
                    <a:pt x="22" y="328"/>
                    <a:pt x="21" y="328"/>
                    <a:pt x="21" y="329"/>
                  </a:cubicBezTo>
                  <a:cubicBezTo>
                    <a:pt x="20" y="329"/>
                    <a:pt x="20" y="331"/>
                    <a:pt x="20" y="331"/>
                  </a:cubicBezTo>
                  <a:cubicBezTo>
                    <a:pt x="19" y="333"/>
                    <a:pt x="19" y="334"/>
                    <a:pt x="18" y="336"/>
                  </a:cubicBezTo>
                  <a:cubicBezTo>
                    <a:pt x="17" y="338"/>
                    <a:pt x="18" y="337"/>
                    <a:pt x="16" y="338"/>
                  </a:cubicBezTo>
                  <a:cubicBezTo>
                    <a:pt x="14" y="341"/>
                    <a:pt x="11" y="342"/>
                    <a:pt x="8" y="344"/>
                  </a:cubicBezTo>
                  <a:cubicBezTo>
                    <a:pt x="6" y="345"/>
                    <a:pt x="4" y="346"/>
                    <a:pt x="3" y="347"/>
                  </a:cubicBezTo>
                  <a:cubicBezTo>
                    <a:pt x="3" y="349"/>
                    <a:pt x="3" y="351"/>
                    <a:pt x="2" y="352"/>
                  </a:cubicBezTo>
                  <a:cubicBezTo>
                    <a:pt x="1" y="355"/>
                    <a:pt x="0" y="360"/>
                    <a:pt x="4" y="360"/>
                  </a:cubicBezTo>
                  <a:cubicBezTo>
                    <a:pt x="8" y="359"/>
                    <a:pt x="8" y="360"/>
                    <a:pt x="10" y="363"/>
                  </a:cubicBezTo>
                  <a:cubicBezTo>
                    <a:pt x="11" y="365"/>
                    <a:pt x="12" y="367"/>
                    <a:pt x="14" y="368"/>
                  </a:cubicBezTo>
                  <a:cubicBezTo>
                    <a:pt x="16" y="368"/>
                    <a:pt x="16" y="368"/>
                    <a:pt x="18" y="370"/>
                  </a:cubicBezTo>
                  <a:cubicBezTo>
                    <a:pt x="19" y="371"/>
                    <a:pt x="20" y="372"/>
                    <a:pt x="21" y="373"/>
                  </a:cubicBezTo>
                  <a:cubicBezTo>
                    <a:pt x="22" y="375"/>
                    <a:pt x="23" y="375"/>
                    <a:pt x="23" y="377"/>
                  </a:cubicBezTo>
                  <a:cubicBezTo>
                    <a:pt x="23" y="377"/>
                    <a:pt x="23" y="379"/>
                    <a:pt x="23" y="380"/>
                  </a:cubicBezTo>
                  <a:cubicBezTo>
                    <a:pt x="23" y="381"/>
                    <a:pt x="22" y="380"/>
                    <a:pt x="22" y="381"/>
                  </a:cubicBezTo>
                  <a:cubicBezTo>
                    <a:pt x="20" y="382"/>
                    <a:pt x="21" y="383"/>
                    <a:pt x="21" y="385"/>
                  </a:cubicBezTo>
                  <a:cubicBezTo>
                    <a:pt x="20" y="388"/>
                    <a:pt x="19" y="390"/>
                    <a:pt x="18" y="392"/>
                  </a:cubicBezTo>
                  <a:cubicBezTo>
                    <a:pt x="17" y="394"/>
                    <a:pt x="17" y="394"/>
                    <a:pt x="16" y="396"/>
                  </a:cubicBezTo>
                  <a:cubicBezTo>
                    <a:pt x="16" y="397"/>
                    <a:pt x="16" y="399"/>
                    <a:pt x="16" y="400"/>
                  </a:cubicBezTo>
                  <a:cubicBezTo>
                    <a:pt x="15" y="402"/>
                    <a:pt x="14" y="402"/>
                    <a:pt x="13" y="404"/>
                  </a:cubicBezTo>
                  <a:cubicBezTo>
                    <a:pt x="13" y="406"/>
                    <a:pt x="13" y="408"/>
                    <a:pt x="13" y="410"/>
                  </a:cubicBezTo>
                  <a:cubicBezTo>
                    <a:pt x="13" y="413"/>
                    <a:pt x="12" y="416"/>
                    <a:pt x="15" y="417"/>
                  </a:cubicBezTo>
                  <a:cubicBezTo>
                    <a:pt x="17" y="418"/>
                    <a:pt x="17" y="416"/>
                    <a:pt x="19" y="418"/>
                  </a:cubicBezTo>
                  <a:cubicBezTo>
                    <a:pt x="22" y="418"/>
                    <a:pt x="25" y="417"/>
                    <a:pt x="28" y="416"/>
                  </a:cubicBezTo>
                  <a:cubicBezTo>
                    <a:pt x="31" y="416"/>
                    <a:pt x="32" y="416"/>
                    <a:pt x="35" y="414"/>
                  </a:cubicBezTo>
                  <a:cubicBezTo>
                    <a:pt x="37" y="412"/>
                    <a:pt x="42" y="412"/>
                    <a:pt x="43" y="408"/>
                  </a:cubicBezTo>
                  <a:cubicBezTo>
                    <a:pt x="45" y="405"/>
                    <a:pt x="43" y="402"/>
                    <a:pt x="46" y="399"/>
                  </a:cubicBezTo>
                  <a:cubicBezTo>
                    <a:pt x="47" y="397"/>
                    <a:pt x="49" y="396"/>
                    <a:pt x="50" y="396"/>
                  </a:cubicBezTo>
                  <a:cubicBezTo>
                    <a:pt x="51" y="396"/>
                    <a:pt x="52" y="396"/>
                    <a:pt x="53" y="396"/>
                  </a:cubicBezTo>
                  <a:cubicBezTo>
                    <a:pt x="53" y="396"/>
                    <a:pt x="55" y="394"/>
                    <a:pt x="55" y="394"/>
                  </a:cubicBezTo>
                  <a:cubicBezTo>
                    <a:pt x="57" y="392"/>
                    <a:pt x="60" y="391"/>
                    <a:pt x="63" y="392"/>
                  </a:cubicBezTo>
                  <a:cubicBezTo>
                    <a:pt x="65" y="392"/>
                    <a:pt x="67" y="392"/>
                    <a:pt x="69" y="393"/>
                  </a:cubicBezTo>
                  <a:cubicBezTo>
                    <a:pt x="71" y="393"/>
                    <a:pt x="73" y="395"/>
                    <a:pt x="75" y="395"/>
                  </a:cubicBezTo>
                  <a:cubicBezTo>
                    <a:pt x="76" y="395"/>
                    <a:pt x="78" y="395"/>
                    <a:pt x="80" y="394"/>
                  </a:cubicBezTo>
                  <a:cubicBezTo>
                    <a:pt x="83" y="394"/>
                    <a:pt x="86" y="391"/>
                    <a:pt x="89" y="392"/>
                  </a:cubicBezTo>
                  <a:cubicBezTo>
                    <a:pt x="91" y="392"/>
                    <a:pt x="92" y="392"/>
                    <a:pt x="94" y="392"/>
                  </a:cubicBezTo>
                  <a:cubicBezTo>
                    <a:pt x="98" y="392"/>
                    <a:pt x="102" y="393"/>
                    <a:pt x="106" y="393"/>
                  </a:cubicBezTo>
                  <a:cubicBezTo>
                    <a:pt x="110" y="393"/>
                    <a:pt x="114" y="394"/>
                    <a:pt x="118" y="394"/>
                  </a:cubicBezTo>
                  <a:cubicBezTo>
                    <a:pt x="120" y="394"/>
                    <a:pt x="123" y="393"/>
                    <a:pt x="124" y="394"/>
                  </a:cubicBezTo>
                  <a:cubicBezTo>
                    <a:pt x="125" y="394"/>
                    <a:pt x="126" y="395"/>
                    <a:pt x="127" y="395"/>
                  </a:cubicBezTo>
                  <a:cubicBezTo>
                    <a:pt x="128" y="396"/>
                    <a:pt x="130" y="396"/>
                    <a:pt x="131" y="396"/>
                  </a:cubicBezTo>
                  <a:cubicBezTo>
                    <a:pt x="133" y="396"/>
                    <a:pt x="135" y="396"/>
                    <a:pt x="138" y="397"/>
                  </a:cubicBezTo>
                  <a:cubicBezTo>
                    <a:pt x="139" y="397"/>
                    <a:pt x="141" y="398"/>
                    <a:pt x="143" y="398"/>
                  </a:cubicBezTo>
                  <a:cubicBezTo>
                    <a:pt x="144" y="398"/>
                    <a:pt x="147" y="397"/>
                    <a:pt x="148" y="398"/>
                  </a:cubicBezTo>
                  <a:cubicBezTo>
                    <a:pt x="151" y="399"/>
                    <a:pt x="150" y="402"/>
                    <a:pt x="152" y="403"/>
                  </a:cubicBezTo>
                  <a:cubicBezTo>
                    <a:pt x="154" y="404"/>
                    <a:pt x="157" y="403"/>
                    <a:pt x="159" y="402"/>
                  </a:cubicBezTo>
                  <a:cubicBezTo>
                    <a:pt x="163" y="402"/>
                    <a:pt x="166" y="402"/>
                    <a:pt x="169" y="402"/>
                  </a:cubicBezTo>
                  <a:cubicBezTo>
                    <a:pt x="171" y="403"/>
                    <a:pt x="174" y="404"/>
                    <a:pt x="176" y="405"/>
                  </a:cubicBezTo>
                  <a:cubicBezTo>
                    <a:pt x="178" y="406"/>
                    <a:pt x="180" y="408"/>
                    <a:pt x="183" y="409"/>
                  </a:cubicBezTo>
                  <a:cubicBezTo>
                    <a:pt x="188" y="410"/>
                    <a:pt x="195" y="401"/>
                    <a:pt x="200" y="407"/>
                  </a:cubicBezTo>
                  <a:cubicBezTo>
                    <a:pt x="201" y="408"/>
                    <a:pt x="201" y="410"/>
                    <a:pt x="202" y="412"/>
                  </a:cubicBezTo>
                  <a:cubicBezTo>
                    <a:pt x="202" y="412"/>
                    <a:pt x="203" y="413"/>
                    <a:pt x="203" y="414"/>
                  </a:cubicBezTo>
                  <a:cubicBezTo>
                    <a:pt x="204" y="415"/>
                    <a:pt x="204" y="415"/>
                    <a:pt x="204" y="416"/>
                  </a:cubicBezTo>
                  <a:cubicBezTo>
                    <a:pt x="205" y="418"/>
                    <a:pt x="205" y="418"/>
                    <a:pt x="206" y="419"/>
                  </a:cubicBezTo>
                  <a:cubicBezTo>
                    <a:pt x="206" y="420"/>
                    <a:pt x="206" y="421"/>
                    <a:pt x="207" y="422"/>
                  </a:cubicBezTo>
                  <a:cubicBezTo>
                    <a:pt x="209" y="423"/>
                    <a:pt x="212" y="420"/>
                    <a:pt x="215" y="420"/>
                  </a:cubicBezTo>
                  <a:cubicBezTo>
                    <a:pt x="218" y="420"/>
                    <a:pt x="221" y="420"/>
                    <a:pt x="222" y="423"/>
                  </a:cubicBezTo>
                  <a:cubicBezTo>
                    <a:pt x="223" y="426"/>
                    <a:pt x="224" y="429"/>
                    <a:pt x="225" y="431"/>
                  </a:cubicBezTo>
                  <a:cubicBezTo>
                    <a:pt x="227" y="434"/>
                    <a:pt x="228" y="434"/>
                    <a:pt x="231" y="432"/>
                  </a:cubicBezTo>
                  <a:cubicBezTo>
                    <a:pt x="233" y="430"/>
                    <a:pt x="234" y="429"/>
                    <a:pt x="235" y="427"/>
                  </a:cubicBezTo>
                  <a:cubicBezTo>
                    <a:pt x="235" y="425"/>
                    <a:pt x="234" y="422"/>
                    <a:pt x="236" y="421"/>
                  </a:cubicBezTo>
                  <a:cubicBezTo>
                    <a:pt x="237" y="420"/>
                    <a:pt x="240" y="423"/>
                    <a:pt x="242" y="423"/>
                  </a:cubicBezTo>
                  <a:cubicBezTo>
                    <a:pt x="245" y="423"/>
                    <a:pt x="246" y="422"/>
                    <a:pt x="247" y="420"/>
                  </a:cubicBezTo>
                  <a:cubicBezTo>
                    <a:pt x="247" y="418"/>
                    <a:pt x="248" y="413"/>
                    <a:pt x="251" y="414"/>
                  </a:cubicBezTo>
                  <a:cubicBezTo>
                    <a:pt x="255" y="414"/>
                    <a:pt x="257" y="423"/>
                    <a:pt x="258" y="426"/>
                  </a:cubicBezTo>
                  <a:cubicBezTo>
                    <a:pt x="260" y="429"/>
                    <a:pt x="261" y="430"/>
                    <a:pt x="263" y="429"/>
                  </a:cubicBezTo>
                  <a:cubicBezTo>
                    <a:pt x="264" y="428"/>
                    <a:pt x="265" y="426"/>
                    <a:pt x="267" y="425"/>
                  </a:cubicBezTo>
                  <a:cubicBezTo>
                    <a:pt x="268" y="425"/>
                    <a:pt x="271" y="425"/>
                    <a:pt x="272" y="425"/>
                  </a:cubicBezTo>
                  <a:cubicBezTo>
                    <a:pt x="278" y="427"/>
                    <a:pt x="276" y="436"/>
                    <a:pt x="276" y="441"/>
                  </a:cubicBezTo>
                  <a:cubicBezTo>
                    <a:pt x="278" y="441"/>
                    <a:pt x="281" y="441"/>
                    <a:pt x="282" y="440"/>
                  </a:cubicBezTo>
                  <a:cubicBezTo>
                    <a:pt x="284" y="439"/>
                    <a:pt x="282" y="434"/>
                    <a:pt x="282" y="432"/>
                  </a:cubicBezTo>
                  <a:cubicBezTo>
                    <a:pt x="283" y="430"/>
                    <a:pt x="283" y="431"/>
                    <a:pt x="286" y="430"/>
                  </a:cubicBezTo>
                  <a:cubicBezTo>
                    <a:pt x="288" y="429"/>
                    <a:pt x="289" y="429"/>
                    <a:pt x="291" y="428"/>
                  </a:cubicBezTo>
                  <a:cubicBezTo>
                    <a:pt x="293" y="428"/>
                    <a:pt x="295" y="427"/>
                    <a:pt x="296" y="425"/>
                  </a:cubicBezTo>
                  <a:cubicBezTo>
                    <a:pt x="297" y="424"/>
                    <a:pt x="297" y="422"/>
                    <a:pt x="299" y="421"/>
                  </a:cubicBezTo>
                  <a:cubicBezTo>
                    <a:pt x="304" y="419"/>
                    <a:pt x="306" y="424"/>
                    <a:pt x="307" y="427"/>
                  </a:cubicBezTo>
                  <a:cubicBezTo>
                    <a:pt x="307" y="431"/>
                    <a:pt x="309" y="438"/>
                    <a:pt x="312" y="441"/>
                  </a:cubicBezTo>
                  <a:cubicBezTo>
                    <a:pt x="313" y="442"/>
                    <a:pt x="316" y="443"/>
                    <a:pt x="318" y="443"/>
                  </a:cubicBezTo>
                  <a:cubicBezTo>
                    <a:pt x="320" y="442"/>
                    <a:pt x="320" y="441"/>
                    <a:pt x="321" y="440"/>
                  </a:cubicBezTo>
                  <a:cubicBezTo>
                    <a:pt x="322" y="438"/>
                    <a:pt x="322" y="437"/>
                    <a:pt x="322" y="435"/>
                  </a:cubicBezTo>
                  <a:cubicBezTo>
                    <a:pt x="323" y="430"/>
                    <a:pt x="328" y="427"/>
                    <a:pt x="332" y="429"/>
                  </a:cubicBezTo>
                  <a:cubicBezTo>
                    <a:pt x="335" y="430"/>
                    <a:pt x="336" y="433"/>
                    <a:pt x="336" y="436"/>
                  </a:cubicBezTo>
                  <a:cubicBezTo>
                    <a:pt x="339" y="436"/>
                    <a:pt x="343" y="436"/>
                    <a:pt x="346" y="436"/>
                  </a:cubicBezTo>
                  <a:cubicBezTo>
                    <a:pt x="350" y="435"/>
                    <a:pt x="354" y="431"/>
                    <a:pt x="357" y="433"/>
                  </a:cubicBezTo>
                  <a:cubicBezTo>
                    <a:pt x="360" y="434"/>
                    <a:pt x="361" y="439"/>
                    <a:pt x="363" y="440"/>
                  </a:cubicBezTo>
                  <a:cubicBezTo>
                    <a:pt x="365" y="442"/>
                    <a:pt x="368" y="442"/>
                    <a:pt x="370" y="445"/>
                  </a:cubicBezTo>
                  <a:cubicBezTo>
                    <a:pt x="372" y="447"/>
                    <a:pt x="374" y="449"/>
                    <a:pt x="376" y="451"/>
                  </a:cubicBezTo>
                  <a:cubicBezTo>
                    <a:pt x="377" y="452"/>
                    <a:pt x="378" y="453"/>
                    <a:pt x="380" y="453"/>
                  </a:cubicBezTo>
                  <a:cubicBezTo>
                    <a:pt x="383" y="454"/>
                    <a:pt x="385" y="451"/>
                    <a:pt x="386" y="449"/>
                  </a:cubicBezTo>
                  <a:cubicBezTo>
                    <a:pt x="387" y="446"/>
                    <a:pt x="385" y="443"/>
                    <a:pt x="384" y="440"/>
                  </a:cubicBezTo>
                  <a:cubicBezTo>
                    <a:pt x="382" y="432"/>
                    <a:pt x="380" y="423"/>
                    <a:pt x="385" y="415"/>
                  </a:cubicBezTo>
                  <a:cubicBezTo>
                    <a:pt x="387" y="412"/>
                    <a:pt x="389" y="409"/>
                    <a:pt x="391" y="406"/>
                  </a:cubicBezTo>
                  <a:cubicBezTo>
                    <a:pt x="392" y="404"/>
                    <a:pt x="392" y="403"/>
                    <a:pt x="394" y="402"/>
                  </a:cubicBezTo>
                  <a:cubicBezTo>
                    <a:pt x="394" y="401"/>
                    <a:pt x="395" y="401"/>
                    <a:pt x="396" y="400"/>
                  </a:cubicBezTo>
                  <a:cubicBezTo>
                    <a:pt x="397" y="399"/>
                    <a:pt x="399" y="396"/>
                    <a:pt x="400" y="394"/>
                  </a:cubicBezTo>
                  <a:cubicBezTo>
                    <a:pt x="401" y="393"/>
                    <a:pt x="401" y="392"/>
                    <a:pt x="402" y="391"/>
                  </a:cubicBezTo>
                  <a:cubicBezTo>
                    <a:pt x="403" y="390"/>
                    <a:pt x="403" y="390"/>
                    <a:pt x="404" y="390"/>
                  </a:cubicBezTo>
                  <a:cubicBezTo>
                    <a:pt x="405" y="388"/>
                    <a:pt x="406" y="386"/>
                    <a:pt x="406" y="384"/>
                  </a:cubicBezTo>
                  <a:cubicBezTo>
                    <a:pt x="406" y="383"/>
                    <a:pt x="405" y="380"/>
                    <a:pt x="406" y="379"/>
                  </a:cubicBezTo>
                  <a:cubicBezTo>
                    <a:pt x="408" y="377"/>
                    <a:pt x="409" y="380"/>
                    <a:pt x="410" y="381"/>
                  </a:cubicBezTo>
                  <a:cubicBezTo>
                    <a:pt x="411" y="382"/>
                    <a:pt x="410" y="382"/>
                    <a:pt x="412" y="383"/>
                  </a:cubicBezTo>
                  <a:cubicBezTo>
                    <a:pt x="414" y="384"/>
                    <a:pt x="418" y="383"/>
                    <a:pt x="420" y="383"/>
                  </a:cubicBezTo>
                  <a:cubicBezTo>
                    <a:pt x="421" y="382"/>
                    <a:pt x="423" y="379"/>
                    <a:pt x="424" y="377"/>
                  </a:cubicBezTo>
                  <a:cubicBezTo>
                    <a:pt x="425" y="375"/>
                    <a:pt x="425" y="375"/>
                    <a:pt x="427" y="375"/>
                  </a:cubicBezTo>
                  <a:cubicBezTo>
                    <a:pt x="434" y="375"/>
                    <a:pt x="441" y="377"/>
                    <a:pt x="447" y="378"/>
                  </a:cubicBezTo>
                  <a:cubicBezTo>
                    <a:pt x="449" y="379"/>
                    <a:pt x="452" y="381"/>
                    <a:pt x="453" y="379"/>
                  </a:cubicBezTo>
                  <a:cubicBezTo>
                    <a:pt x="454" y="377"/>
                    <a:pt x="452" y="376"/>
                    <a:pt x="452" y="375"/>
                  </a:cubicBezTo>
                  <a:cubicBezTo>
                    <a:pt x="450" y="372"/>
                    <a:pt x="450" y="371"/>
                    <a:pt x="449" y="368"/>
                  </a:cubicBezTo>
                  <a:cubicBezTo>
                    <a:pt x="448" y="366"/>
                    <a:pt x="448" y="366"/>
                    <a:pt x="446" y="365"/>
                  </a:cubicBezTo>
                  <a:cubicBezTo>
                    <a:pt x="445" y="365"/>
                    <a:pt x="444" y="364"/>
                    <a:pt x="443" y="363"/>
                  </a:cubicBezTo>
                  <a:cubicBezTo>
                    <a:pt x="440" y="361"/>
                    <a:pt x="442" y="360"/>
                    <a:pt x="442" y="357"/>
                  </a:cubicBezTo>
                  <a:cubicBezTo>
                    <a:pt x="442" y="354"/>
                    <a:pt x="439" y="351"/>
                    <a:pt x="439" y="347"/>
                  </a:cubicBezTo>
                  <a:cubicBezTo>
                    <a:pt x="439" y="346"/>
                    <a:pt x="439" y="345"/>
                    <a:pt x="439" y="344"/>
                  </a:cubicBezTo>
                  <a:cubicBezTo>
                    <a:pt x="440" y="342"/>
                    <a:pt x="441" y="343"/>
                    <a:pt x="442" y="341"/>
                  </a:cubicBezTo>
                  <a:cubicBezTo>
                    <a:pt x="445" y="337"/>
                    <a:pt x="439" y="334"/>
                    <a:pt x="437" y="331"/>
                  </a:cubicBezTo>
                  <a:cubicBezTo>
                    <a:pt x="436" y="328"/>
                    <a:pt x="436" y="323"/>
                    <a:pt x="436" y="319"/>
                  </a:cubicBezTo>
                  <a:cubicBezTo>
                    <a:pt x="436" y="313"/>
                    <a:pt x="434" y="309"/>
                    <a:pt x="430" y="304"/>
                  </a:cubicBezTo>
                  <a:cubicBezTo>
                    <a:pt x="427" y="300"/>
                    <a:pt x="423" y="296"/>
                    <a:pt x="428" y="293"/>
                  </a:cubicBezTo>
                  <a:cubicBezTo>
                    <a:pt x="431" y="291"/>
                    <a:pt x="430" y="291"/>
                    <a:pt x="430" y="288"/>
                  </a:cubicBezTo>
                  <a:cubicBezTo>
                    <a:pt x="430" y="286"/>
                    <a:pt x="429" y="281"/>
                    <a:pt x="430" y="280"/>
                  </a:cubicBezTo>
                  <a:cubicBezTo>
                    <a:pt x="432" y="278"/>
                    <a:pt x="436" y="280"/>
                    <a:pt x="438" y="280"/>
                  </a:cubicBezTo>
                  <a:cubicBezTo>
                    <a:pt x="440" y="280"/>
                    <a:pt x="442" y="279"/>
                    <a:pt x="444" y="280"/>
                  </a:cubicBezTo>
                  <a:cubicBezTo>
                    <a:pt x="447" y="281"/>
                    <a:pt x="448" y="283"/>
                    <a:pt x="450" y="285"/>
                  </a:cubicBezTo>
                  <a:cubicBezTo>
                    <a:pt x="451" y="285"/>
                    <a:pt x="453" y="285"/>
                    <a:pt x="453" y="286"/>
                  </a:cubicBezTo>
                  <a:cubicBezTo>
                    <a:pt x="454" y="286"/>
                    <a:pt x="454" y="286"/>
                    <a:pt x="454" y="287"/>
                  </a:cubicBezTo>
                  <a:cubicBezTo>
                    <a:pt x="455" y="287"/>
                    <a:pt x="456" y="288"/>
                    <a:pt x="457" y="288"/>
                  </a:cubicBezTo>
                  <a:cubicBezTo>
                    <a:pt x="463" y="289"/>
                    <a:pt x="471" y="289"/>
                    <a:pt x="477" y="288"/>
                  </a:cubicBezTo>
                  <a:cubicBezTo>
                    <a:pt x="479" y="287"/>
                    <a:pt x="481" y="286"/>
                    <a:pt x="483" y="284"/>
                  </a:cubicBezTo>
                  <a:cubicBezTo>
                    <a:pt x="483" y="283"/>
                    <a:pt x="483" y="282"/>
                    <a:pt x="484" y="281"/>
                  </a:cubicBezTo>
                  <a:cubicBezTo>
                    <a:pt x="485" y="280"/>
                    <a:pt x="486" y="280"/>
                    <a:pt x="487" y="279"/>
                  </a:cubicBezTo>
                  <a:cubicBezTo>
                    <a:pt x="488" y="278"/>
                    <a:pt x="489" y="277"/>
                    <a:pt x="490" y="276"/>
                  </a:cubicBezTo>
                  <a:cubicBezTo>
                    <a:pt x="492" y="275"/>
                    <a:pt x="493" y="275"/>
                    <a:pt x="494" y="274"/>
                  </a:cubicBezTo>
                  <a:cubicBezTo>
                    <a:pt x="496" y="273"/>
                    <a:pt x="496" y="271"/>
                    <a:pt x="497" y="270"/>
                  </a:cubicBezTo>
                  <a:cubicBezTo>
                    <a:pt x="498" y="269"/>
                    <a:pt x="499" y="270"/>
                    <a:pt x="500" y="270"/>
                  </a:cubicBezTo>
                  <a:cubicBezTo>
                    <a:pt x="502" y="269"/>
                    <a:pt x="501" y="269"/>
                    <a:pt x="502" y="268"/>
                  </a:cubicBezTo>
                  <a:cubicBezTo>
                    <a:pt x="504" y="266"/>
                    <a:pt x="504" y="266"/>
                    <a:pt x="505" y="263"/>
                  </a:cubicBezTo>
                  <a:cubicBezTo>
                    <a:pt x="505" y="262"/>
                    <a:pt x="506" y="261"/>
                    <a:pt x="506" y="260"/>
                  </a:cubicBezTo>
                  <a:cubicBezTo>
                    <a:pt x="507" y="258"/>
                    <a:pt x="506" y="258"/>
                    <a:pt x="505" y="25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8" name="Freeform 39">
              <a:extLst>
                <a:ext uri="{FF2B5EF4-FFF2-40B4-BE49-F238E27FC236}">
                  <a16:creationId xmlns:a16="http://schemas.microsoft.com/office/drawing/2014/main" id="{6B208BE4-2E6C-440A-B4EF-ED0CA9306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2763" y="3159125"/>
              <a:ext cx="746125" cy="441325"/>
            </a:xfrm>
            <a:custGeom>
              <a:avLst/>
              <a:gdLst/>
              <a:ahLst/>
              <a:cxnLst>
                <a:cxn ang="0">
                  <a:pos x="394" y="150"/>
                </a:cxn>
                <a:cxn ang="0">
                  <a:pos x="386" y="137"/>
                </a:cxn>
                <a:cxn ang="0">
                  <a:pos x="375" y="124"/>
                </a:cxn>
                <a:cxn ang="0">
                  <a:pos x="376" y="94"/>
                </a:cxn>
                <a:cxn ang="0">
                  <a:pos x="378" y="77"/>
                </a:cxn>
                <a:cxn ang="0">
                  <a:pos x="359" y="56"/>
                </a:cxn>
                <a:cxn ang="0">
                  <a:pos x="349" y="50"/>
                </a:cxn>
                <a:cxn ang="0">
                  <a:pos x="332" y="49"/>
                </a:cxn>
                <a:cxn ang="0">
                  <a:pos x="311" y="53"/>
                </a:cxn>
                <a:cxn ang="0">
                  <a:pos x="294" y="48"/>
                </a:cxn>
                <a:cxn ang="0">
                  <a:pos x="279" y="32"/>
                </a:cxn>
                <a:cxn ang="0">
                  <a:pos x="255" y="15"/>
                </a:cxn>
                <a:cxn ang="0">
                  <a:pos x="237" y="7"/>
                </a:cxn>
                <a:cxn ang="0">
                  <a:pos x="219" y="10"/>
                </a:cxn>
                <a:cxn ang="0">
                  <a:pos x="192" y="22"/>
                </a:cxn>
                <a:cxn ang="0">
                  <a:pos x="189" y="60"/>
                </a:cxn>
                <a:cxn ang="0">
                  <a:pos x="174" y="94"/>
                </a:cxn>
                <a:cxn ang="0">
                  <a:pos x="146" y="109"/>
                </a:cxn>
                <a:cxn ang="0">
                  <a:pos x="127" y="96"/>
                </a:cxn>
                <a:cxn ang="0">
                  <a:pos x="124" y="77"/>
                </a:cxn>
                <a:cxn ang="0">
                  <a:pos x="110" y="64"/>
                </a:cxn>
                <a:cxn ang="0">
                  <a:pos x="96" y="50"/>
                </a:cxn>
                <a:cxn ang="0">
                  <a:pos x="93" y="33"/>
                </a:cxn>
                <a:cxn ang="0">
                  <a:pos x="75" y="38"/>
                </a:cxn>
                <a:cxn ang="0">
                  <a:pos x="57" y="51"/>
                </a:cxn>
                <a:cxn ang="0">
                  <a:pos x="39" y="58"/>
                </a:cxn>
                <a:cxn ang="0">
                  <a:pos x="28" y="75"/>
                </a:cxn>
                <a:cxn ang="0">
                  <a:pos x="17" y="117"/>
                </a:cxn>
                <a:cxn ang="0">
                  <a:pos x="8" y="131"/>
                </a:cxn>
                <a:cxn ang="0">
                  <a:pos x="1" y="189"/>
                </a:cxn>
                <a:cxn ang="0">
                  <a:pos x="10" y="204"/>
                </a:cxn>
                <a:cxn ang="0">
                  <a:pos x="18" y="192"/>
                </a:cxn>
                <a:cxn ang="0">
                  <a:pos x="22" y="187"/>
                </a:cxn>
                <a:cxn ang="0">
                  <a:pos x="29" y="180"/>
                </a:cxn>
                <a:cxn ang="0">
                  <a:pos x="49" y="171"/>
                </a:cxn>
                <a:cxn ang="0">
                  <a:pos x="69" y="163"/>
                </a:cxn>
                <a:cxn ang="0">
                  <a:pos x="94" y="167"/>
                </a:cxn>
                <a:cxn ang="0">
                  <a:pos x="111" y="166"/>
                </a:cxn>
                <a:cxn ang="0">
                  <a:pos x="120" y="169"/>
                </a:cxn>
                <a:cxn ang="0">
                  <a:pos x="133" y="171"/>
                </a:cxn>
                <a:cxn ang="0">
                  <a:pos x="150" y="171"/>
                </a:cxn>
                <a:cxn ang="0">
                  <a:pos x="164" y="171"/>
                </a:cxn>
                <a:cxn ang="0">
                  <a:pos x="177" y="180"/>
                </a:cxn>
                <a:cxn ang="0">
                  <a:pos x="203" y="178"/>
                </a:cxn>
                <a:cxn ang="0">
                  <a:pos x="209" y="168"/>
                </a:cxn>
                <a:cxn ang="0">
                  <a:pos x="225" y="164"/>
                </a:cxn>
                <a:cxn ang="0">
                  <a:pos x="224" y="172"/>
                </a:cxn>
                <a:cxn ang="0">
                  <a:pos x="241" y="188"/>
                </a:cxn>
                <a:cxn ang="0">
                  <a:pos x="263" y="196"/>
                </a:cxn>
                <a:cxn ang="0">
                  <a:pos x="292" y="219"/>
                </a:cxn>
                <a:cxn ang="0">
                  <a:pos x="300" y="233"/>
                </a:cxn>
                <a:cxn ang="0">
                  <a:pos x="316" y="235"/>
                </a:cxn>
                <a:cxn ang="0">
                  <a:pos x="332" y="227"/>
                </a:cxn>
                <a:cxn ang="0">
                  <a:pos x="351" y="224"/>
                </a:cxn>
                <a:cxn ang="0">
                  <a:pos x="381" y="205"/>
                </a:cxn>
                <a:cxn ang="0">
                  <a:pos x="399" y="173"/>
                </a:cxn>
              </a:cxnLst>
              <a:rect l="0" t="0" r="r" b="b"/>
              <a:pathLst>
                <a:path w="399" h="236">
                  <a:moveTo>
                    <a:pt x="399" y="162"/>
                  </a:moveTo>
                  <a:cubicBezTo>
                    <a:pt x="399" y="161"/>
                    <a:pt x="398" y="161"/>
                    <a:pt x="397" y="159"/>
                  </a:cubicBezTo>
                  <a:cubicBezTo>
                    <a:pt x="396" y="157"/>
                    <a:pt x="398" y="153"/>
                    <a:pt x="397" y="151"/>
                  </a:cubicBezTo>
                  <a:cubicBezTo>
                    <a:pt x="396" y="149"/>
                    <a:pt x="396" y="150"/>
                    <a:pt x="394" y="150"/>
                  </a:cubicBezTo>
                  <a:cubicBezTo>
                    <a:pt x="392" y="149"/>
                    <a:pt x="392" y="148"/>
                    <a:pt x="391" y="146"/>
                  </a:cubicBezTo>
                  <a:cubicBezTo>
                    <a:pt x="391" y="143"/>
                    <a:pt x="392" y="143"/>
                    <a:pt x="390" y="142"/>
                  </a:cubicBezTo>
                  <a:cubicBezTo>
                    <a:pt x="389" y="141"/>
                    <a:pt x="387" y="141"/>
                    <a:pt x="387" y="140"/>
                  </a:cubicBezTo>
                  <a:cubicBezTo>
                    <a:pt x="386" y="139"/>
                    <a:pt x="386" y="138"/>
                    <a:pt x="386" y="137"/>
                  </a:cubicBezTo>
                  <a:cubicBezTo>
                    <a:pt x="385" y="135"/>
                    <a:pt x="384" y="135"/>
                    <a:pt x="384" y="133"/>
                  </a:cubicBezTo>
                  <a:cubicBezTo>
                    <a:pt x="385" y="130"/>
                    <a:pt x="387" y="129"/>
                    <a:pt x="387" y="126"/>
                  </a:cubicBezTo>
                  <a:cubicBezTo>
                    <a:pt x="382" y="126"/>
                    <a:pt x="383" y="124"/>
                    <a:pt x="383" y="121"/>
                  </a:cubicBezTo>
                  <a:cubicBezTo>
                    <a:pt x="380" y="120"/>
                    <a:pt x="378" y="123"/>
                    <a:pt x="375" y="124"/>
                  </a:cubicBezTo>
                  <a:cubicBezTo>
                    <a:pt x="373" y="124"/>
                    <a:pt x="371" y="124"/>
                    <a:pt x="369" y="125"/>
                  </a:cubicBezTo>
                  <a:cubicBezTo>
                    <a:pt x="367" y="121"/>
                    <a:pt x="373" y="118"/>
                    <a:pt x="373" y="114"/>
                  </a:cubicBezTo>
                  <a:cubicBezTo>
                    <a:pt x="374" y="110"/>
                    <a:pt x="372" y="110"/>
                    <a:pt x="371" y="107"/>
                  </a:cubicBezTo>
                  <a:cubicBezTo>
                    <a:pt x="369" y="101"/>
                    <a:pt x="374" y="98"/>
                    <a:pt x="376" y="94"/>
                  </a:cubicBezTo>
                  <a:cubicBezTo>
                    <a:pt x="377" y="94"/>
                    <a:pt x="377" y="93"/>
                    <a:pt x="377" y="93"/>
                  </a:cubicBezTo>
                  <a:cubicBezTo>
                    <a:pt x="378" y="92"/>
                    <a:pt x="380" y="91"/>
                    <a:pt x="380" y="91"/>
                  </a:cubicBezTo>
                  <a:cubicBezTo>
                    <a:pt x="381" y="90"/>
                    <a:pt x="381" y="87"/>
                    <a:pt x="381" y="86"/>
                  </a:cubicBezTo>
                  <a:cubicBezTo>
                    <a:pt x="382" y="83"/>
                    <a:pt x="381" y="79"/>
                    <a:pt x="378" y="77"/>
                  </a:cubicBezTo>
                  <a:cubicBezTo>
                    <a:pt x="376" y="75"/>
                    <a:pt x="373" y="75"/>
                    <a:pt x="370" y="73"/>
                  </a:cubicBezTo>
                  <a:cubicBezTo>
                    <a:pt x="369" y="72"/>
                    <a:pt x="368" y="70"/>
                    <a:pt x="367" y="69"/>
                  </a:cubicBezTo>
                  <a:cubicBezTo>
                    <a:pt x="364" y="66"/>
                    <a:pt x="361" y="65"/>
                    <a:pt x="358" y="63"/>
                  </a:cubicBezTo>
                  <a:cubicBezTo>
                    <a:pt x="359" y="61"/>
                    <a:pt x="359" y="58"/>
                    <a:pt x="359" y="56"/>
                  </a:cubicBezTo>
                  <a:cubicBezTo>
                    <a:pt x="357" y="56"/>
                    <a:pt x="355" y="56"/>
                    <a:pt x="354" y="56"/>
                  </a:cubicBezTo>
                  <a:cubicBezTo>
                    <a:pt x="353" y="55"/>
                    <a:pt x="353" y="55"/>
                    <a:pt x="353" y="54"/>
                  </a:cubicBezTo>
                  <a:cubicBezTo>
                    <a:pt x="351" y="52"/>
                    <a:pt x="350" y="50"/>
                    <a:pt x="349" y="47"/>
                  </a:cubicBezTo>
                  <a:cubicBezTo>
                    <a:pt x="349" y="48"/>
                    <a:pt x="349" y="49"/>
                    <a:pt x="349" y="50"/>
                  </a:cubicBezTo>
                  <a:cubicBezTo>
                    <a:pt x="349" y="53"/>
                    <a:pt x="350" y="54"/>
                    <a:pt x="350" y="56"/>
                  </a:cubicBezTo>
                  <a:cubicBezTo>
                    <a:pt x="346" y="57"/>
                    <a:pt x="343" y="56"/>
                    <a:pt x="340" y="54"/>
                  </a:cubicBezTo>
                  <a:cubicBezTo>
                    <a:pt x="338" y="53"/>
                    <a:pt x="336" y="53"/>
                    <a:pt x="334" y="52"/>
                  </a:cubicBezTo>
                  <a:cubicBezTo>
                    <a:pt x="333" y="51"/>
                    <a:pt x="333" y="50"/>
                    <a:pt x="332" y="49"/>
                  </a:cubicBezTo>
                  <a:cubicBezTo>
                    <a:pt x="331" y="48"/>
                    <a:pt x="329" y="48"/>
                    <a:pt x="327" y="48"/>
                  </a:cubicBezTo>
                  <a:cubicBezTo>
                    <a:pt x="326" y="47"/>
                    <a:pt x="327" y="47"/>
                    <a:pt x="325" y="47"/>
                  </a:cubicBezTo>
                  <a:cubicBezTo>
                    <a:pt x="324" y="46"/>
                    <a:pt x="320" y="46"/>
                    <a:pt x="319" y="47"/>
                  </a:cubicBezTo>
                  <a:cubicBezTo>
                    <a:pt x="314" y="48"/>
                    <a:pt x="315" y="52"/>
                    <a:pt x="311" y="53"/>
                  </a:cubicBezTo>
                  <a:cubicBezTo>
                    <a:pt x="310" y="53"/>
                    <a:pt x="309" y="53"/>
                    <a:pt x="308" y="53"/>
                  </a:cubicBezTo>
                  <a:cubicBezTo>
                    <a:pt x="306" y="52"/>
                    <a:pt x="303" y="52"/>
                    <a:pt x="301" y="51"/>
                  </a:cubicBezTo>
                  <a:cubicBezTo>
                    <a:pt x="300" y="51"/>
                    <a:pt x="300" y="50"/>
                    <a:pt x="299" y="50"/>
                  </a:cubicBezTo>
                  <a:cubicBezTo>
                    <a:pt x="297" y="49"/>
                    <a:pt x="296" y="48"/>
                    <a:pt x="294" y="48"/>
                  </a:cubicBezTo>
                  <a:cubicBezTo>
                    <a:pt x="294" y="48"/>
                    <a:pt x="292" y="49"/>
                    <a:pt x="291" y="48"/>
                  </a:cubicBezTo>
                  <a:cubicBezTo>
                    <a:pt x="289" y="48"/>
                    <a:pt x="288" y="45"/>
                    <a:pt x="287" y="43"/>
                  </a:cubicBezTo>
                  <a:cubicBezTo>
                    <a:pt x="285" y="41"/>
                    <a:pt x="284" y="39"/>
                    <a:pt x="282" y="36"/>
                  </a:cubicBezTo>
                  <a:cubicBezTo>
                    <a:pt x="281" y="34"/>
                    <a:pt x="281" y="33"/>
                    <a:pt x="279" y="32"/>
                  </a:cubicBezTo>
                  <a:cubicBezTo>
                    <a:pt x="276" y="31"/>
                    <a:pt x="276" y="31"/>
                    <a:pt x="276" y="28"/>
                  </a:cubicBezTo>
                  <a:cubicBezTo>
                    <a:pt x="275" y="25"/>
                    <a:pt x="277" y="24"/>
                    <a:pt x="274" y="22"/>
                  </a:cubicBezTo>
                  <a:cubicBezTo>
                    <a:pt x="271" y="21"/>
                    <a:pt x="268" y="22"/>
                    <a:pt x="266" y="20"/>
                  </a:cubicBezTo>
                  <a:cubicBezTo>
                    <a:pt x="262" y="17"/>
                    <a:pt x="262" y="13"/>
                    <a:pt x="255" y="15"/>
                  </a:cubicBezTo>
                  <a:cubicBezTo>
                    <a:pt x="256" y="10"/>
                    <a:pt x="251" y="7"/>
                    <a:pt x="247" y="5"/>
                  </a:cubicBezTo>
                  <a:cubicBezTo>
                    <a:pt x="245" y="5"/>
                    <a:pt x="244" y="4"/>
                    <a:pt x="243" y="4"/>
                  </a:cubicBezTo>
                  <a:cubicBezTo>
                    <a:pt x="241" y="2"/>
                    <a:pt x="240" y="0"/>
                    <a:pt x="237" y="0"/>
                  </a:cubicBezTo>
                  <a:cubicBezTo>
                    <a:pt x="237" y="2"/>
                    <a:pt x="237" y="5"/>
                    <a:pt x="237" y="7"/>
                  </a:cubicBezTo>
                  <a:cubicBezTo>
                    <a:pt x="232" y="8"/>
                    <a:pt x="235" y="2"/>
                    <a:pt x="233" y="1"/>
                  </a:cubicBezTo>
                  <a:cubicBezTo>
                    <a:pt x="231" y="0"/>
                    <a:pt x="226" y="4"/>
                    <a:pt x="224" y="5"/>
                  </a:cubicBezTo>
                  <a:cubicBezTo>
                    <a:pt x="223" y="6"/>
                    <a:pt x="222" y="6"/>
                    <a:pt x="221" y="7"/>
                  </a:cubicBezTo>
                  <a:cubicBezTo>
                    <a:pt x="220" y="8"/>
                    <a:pt x="219" y="9"/>
                    <a:pt x="219" y="10"/>
                  </a:cubicBezTo>
                  <a:cubicBezTo>
                    <a:pt x="215" y="13"/>
                    <a:pt x="209" y="12"/>
                    <a:pt x="204" y="13"/>
                  </a:cubicBezTo>
                  <a:cubicBezTo>
                    <a:pt x="201" y="13"/>
                    <a:pt x="202" y="13"/>
                    <a:pt x="201" y="15"/>
                  </a:cubicBezTo>
                  <a:cubicBezTo>
                    <a:pt x="199" y="17"/>
                    <a:pt x="198" y="18"/>
                    <a:pt x="196" y="20"/>
                  </a:cubicBezTo>
                  <a:cubicBezTo>
                    <a:pt x="195" y="20"/>
                    <a:pt x="193" y="22"/>
                    <a:pt x="192" y="22"/>
                  </a:cubicBezTo>
                  <a:cubicBezTo>
                    <a:pt x="189" y="23"/>
                    <a:pt x="188" y="22"/>
                    <a:pt x="188" y="21"/>
                  </a:cubicBezTo>
                  <a:cubicBezTo>
                    <a:pt x="188" y="23"/>
                    <a:pt x="188" y="25"/>
                    <a:pt x="188" y="27"/>
                  </a:cubicBezTo>
                  <a:cubicBezTo>
                    <a:pt x="188" y="30"/>
                    <a:pt x="189" y="34"/>
                    <a:pt x="189" y="37"/>
                  </a:cubicBezTo>
                  <a:cubicBezTo>
                    <a:pt x="189" y="45"/>
                    <a:pt x="189" y="52"/>
                    <a:pt x="189" y="60"/>
                  </a:cubicBezTo>
                  <a:cubicBezTo>
                    <a:pt x="189" y="68"/>
                    <a:pt x="190" y="77"/>
                    <a:pt x="189" y="85"/>
                  </a:cubicBezTo>
                  <a:cubicBezTo>
                    <a:pt x="188" y="90"/>
                    <a:pt x="185" y="91"/>
                    <a:pt x="181" y="92"/>
                  </a:cubicBezTo>
                  <a:cubicBezTo>
                    <a:pt x="179" y="93"/>
                    <a:pt x="178" y="94"/>
                    <a:pt x="176" y="94"/>
                  </a:cubicBezTo>
                  <a:cubicBezTo>
                    <a:pt x="175" y="94"/>
                    <a:pt x="174" y="94"/>
                    <a:pt x="174" y="94"/>
                  </a:cubicBezTo>
                  <a:cubicBezTo>
                    <a:pt x="173" y="93"/>
                    <a:pt x="173" y="92"/>
                    <a:pt x="172" y="92"/>
                  </a:cubicBezTo>
                  <a:cubicBezTo>
                    <a:pt x="165" y="90"/>
                    <a:pt x="163" y="102"/>
                    <a:pt x="159" y="105"/>
                  </a:cubicBezTo>
                  <a:cubicBezTo>
                    <a:pt x="158" y="106"/>
                    <a:pt x="156" y="106"/>
                    <a:pt x="154" y="107"/>
                  </a:cubicBezTo>
                  <a:cubicBezTo>
                    <a:pt x="151" y="108"/>
                    <a:pt x="148" y="109"/>
                    <a:pt x="146" y="109"/>
                  </a:cubicBezTo>
                  <a:cubicBezTo>
                    <a:pt x="142" y="110"/>
                    <a:pt x="140" y="108"/>
                    <a:pt x="140" y="104"/>
                  </a:cubicBezTo>
                  <a:cubicBezTo>
                    <a:pt x="138" y="104"/>
                    <a:pt x="135" y="105"/>
                    <a:pt x="133" y="104"/>
                  </a:cubicBezTo>
                  <a:cubicBezTo>
                    <a:pt x="131" y="103"/>
                    <a:pt x="131" y="103"/>
                    <a:pt x="131" y="101"/>
                  </a:cubicBezTo>
                  <a:cubicBezTo>
                    <a:pt x="129" y="99"/>
                    <a:pt x="128" y="98"/>
                    <a:pt x="127" y="96"/>
                  </a:cubicBezTo>
                  <a:cubicBezTo>
                    <a:pt x="127" y="96"/>
                    <a:pt x="127" y="95"/>
                    <a:pt x="127" y="95"/>
                  </a:cubicBezTo>
                  <a:cubicBezTo>
                    <a:pt x="126" y="94"/>
                    <a:pt x="125" y="93"/>
                    <a:pt x="125" y="92"/>
                  </a:cubicBezTo>
                  <a:cubicBezTo>
                    <a:pt x="124" y="91"/>
                    <a:pt x="124" y="90"/>
                    <a:pt x="124" y="88"/>
                  </a:cubicBezTo>
                  <a:cubicBezTo>
                    <a:pt x="124" y="85"/>
                    <a:pt x="124" y="81"/>
                    <a:pt x="124" y="77"/>
                  </a:cubicBezTo>
                  <a:cubicBezTo>
                    <a:pt x="124" y="73"/>
                    <a:pt x="125" y="72"/>
                    <a:pt x="121" y="71"/>
                  </a:cubicBezTo>
                  <a:cubicBezTo>
                    <a:pt x="118" y="70"/>
                    <a:pt x="114" y="70"/>
                    <a:pt x="112" y="68"/>
                  </a:cubicBezTo>
                  <a:cubicBezTo>
                    <a:pt x="111" y="67"/>
                    <a:pt x="110" y="67"/>
                    <a:pt x="110" y="66"/>
                  </a:cubicBezTo>
                  <a:cubicBezTo>
                    <a:pt x="110" y="65"/>
                    <a:pt x="110" y="64"/>
                    <a:pt x="110" y="64"/>
                  </a:cubicBezTo>
                  <a:cubicBezTo>
                    <a:pt x="110" y="63"/>
                    <a:pt x="109" y="62"/>
                    <a:pt x="108" y="62"/>
                  </a:cubicBezTo>
                  <a:cubicBezTo>
                    <a:pt x="107" y="61"/>
                    <a:pt x="105" y="59"/>
                    <a:pt x="105" y="57"/>
                  </a:cubicBezTo>
                  <a:cubicBezTo>
                    <a:pt x="103" y="57"/>
                    <a:pt x="101" y="58"/>
                    <a:pt x="99" y="56"/>
                  </a:cubicBezTo>
                  <a:cubicBezTo>
                    <a:pt x="98" y="54"/>
                    <a:pt x="98" y="52"/>
                    <a:pt x="96" y="50"/>
                  </a:cubicBezTo>
                  <a:cubicBezTo>
                    <a:pt x="96" y="49"/>
                    <a:pt x="95" y="49"/>
                    <a:pt x="94" y="48"/>
                  </a:cubicBezTo>
                  <a:cubicBezTo>
                    <a:pt x="92" y="47"/>
                    <a:pt x="92" y="48"/>
                    <a:pt x="92" y="45"/>
                  </a:cubicBezTo>
                  <a:cubicBezTo>
                    <a:pt x="92" y="43"/>
                    <a:pt x="92" y="41"/>
                    <a:pt x="92" y="39"/>
                  </a:cubicBezTo>
                  <a:cubicBezTo>
                    <a:pt x="92" y="38"/>
                    <a:pt x="93" y="35"/>
                    <a:pt x="93" y="33"/>
                  </a:cubicBezTo>
                  <a:cubicBezTo>
                    <a:pt x="92" y="32"/>
                    <a:pt x="91" y="32"/>
                    <a:pt x="91" y="30"/>
                  </a:cubicBezTo>
                  <a:cubicBezTo>
                    <a:pt x="90" y="30"/>
                    <a:pt x="88" y="32"/>
                    <a:pt x="87" y="33"/>
                  </a:cubicBezTo>
                  <a:cubicBezTo>
                    <a:pt x="85" y="35"/>
                    <a:pt x="86" y="35"/>
                    <a:pt x="84" y="35"/>
                  </a:cubicBezTo>
                  <a:cubicBezTo>
                    <a:pt x="81" y="36"/>
                    <a:pt x="78" y="37"/>
                    <a:pt x="75" y="38"/>
                  </a:cubicBezTo>
                  <a:cubicBezTo>
                    <a:pt x="73" y="39"/>
                    <a:pt x="72" y="40"/>
                    <a:pt x="70" y="41"/>
                  </a:cubicBezTo>
                  <a:cubicBezTo>
                    <a:pt x="68" y="43"/>
                    <a:pt x="67" y="42"/>
                    <a:pt x="65" y="43"/>
                  </a:cubicBezTo>
                  <a:cubicBezTo>
                    <a:pt x="61" y="45"/>
                    <a:pt x="61" y="48"/>
                    <a:pt x="61" y="51"/>
                  </a:cubicBezTo>
                  <a:cubicBezTo>
                    <a:pt x="59" y="51"/>
                    <a:pt x="58" y="51"/>
                    <a:pt x="57" y="51"/>
                  </a:cubicBezTo>
                  <a:cubicBezTo>
                    <a:pt x="57" y="51"/>
                    <a:pt x="55" y="50"/>
                    <a:pt x="55" y="50"/>
                  </a:cubicBezTo>
                  <a:cubicBezTo>
                    <a:pt x="54" y="49"/>
                    <a:pt x="52" y="49"/>
                    <a:pt x="50" y="49"/>
                  </a:cubicBezTo>
                  <a:cubicBezTo>
                    <a:pt x="47" y="49"/>
                    <a:pt x="44" y="51"/>
                    <a:pt x="42" y="53"/>
                  </a:cubicBezTo>
                  <a:cubicBezTo>
                    <a:pt x="41" y="55"/>
                    <a:pt x="40" y="56"/>
                    <a:pt x="39" y="58"/>
                  </a:cubicBezTo>
                  <a:cubicBezTo>
                    <a:pt x="37" y="59"/>
                    <a:pt x="37" y="62"/>
                    <a:pt x="36" y="64"/>
                  </a:cubicBezTo>
                  <a:cubicBezTo>
                    <a:pt x="34" y="66"/>
                    <a:pt x="33" y="67"/>
                    <a:pt x="32" y="69"/>
                  </a:cubicBezTo>
                  <a:cubicBezTo>
                    <a:pt x="31" y="70"/>
                    <a:pt x="31" y="71"/>
                    <a:pt x="30" y="72"/>
                  </a:cubicBezTo>
                  <a:cubicBezTo>
                    <a:pt x="30" y="73"/>
                    <a:pt x="28" y="74"/>
                    <a:pt x="28" y="75"/>
                  </a:cubicBezTo>
                  <a:cubicBezTo>
                    <a:pt x="27" y="77"/>
                    <a:pt x="26" y="80"/>
                    <a:pt x="25" y="83"/>
                  </a:cubicBezTo>
                  <a:cubicBezTo>
                    <a:pt x="24" y="88"/>
                    <a:pt x="26" y="94"/>
                    <a:pt x="25" y="99"/>
                  </a:cubicBezTo>
                  <a:cubicBezTo>
                    <a:pt x="24" y="103"/>
                    <a:pt x="23" y="107"/>
                    <a:pt x="22" y="110"/>
                  </a:cubicBezTo>
                  <a:cubicBezTo>
                    <a:pt x="21" y="113"/>
                    <a:pt x="19" y="115"/>
                    <a:pt x="17" y="117"/>
                  </a:cubicBezTo>
                  <a:cubicBezTo>
                    <a:pt x="17" y="117"/>
                    <a:pt x="15" y="118"/>
                    <a:pt x="15" y="119"/>
                  </a:cubicBezTo>
                  <a:cubicBezTo>
                    <a:pt x="14" y="120"/>
                    <a:pt x="14" y="120"/>
                    <a:pt x="14" y="122"/>
                  </a:cubicBezTo>
                  <a:cubicBezTo>
                    <a:pt x="13" y="123"/>
                    <a:pt x="12" y="125"/>
                    <a:pt x="11" y="126"/>
                  </a:cubicBezTo>
                  <a:cubicBezTo>
                    <a:pt x="10" y="128"/>
                    <a:pt x="9" y="130"/>
                    <a:pt x="8" y="131"/>
                  </a:cubicBezTo>
                  <a:cubicBezTo>
                    <a:pt x="7" y="135"/>
                    <a:pt x="8" y="141"/>
                    <a:pt x="6" y="146"/>
                  </a:cubicBezTo>
                  <a:cubicBezTo>
                    <a:pt x="5" y="149"/>
                    <a:pt x="2" y="152"/>
                    <a:pt x="1" y="156"/>
                  </a:cubicBezTo>
                  <a:cubicBezTo>
                    <a:pt x="0" y="160"/>
                    <a:pt x="0" y="164"/>
                    <a:pt x="0" y="168"/>
                  </a:cubicBezTo>
                  <a:cubicBezTo>
                    <a:pt x="0" y="175"/>
                    <a:pt x="0" y="182"/>
                    <a:pt x="1" y="189"/>
                  </a:cubicBezTo>
                  <a:cubicBezTo>
                    <a:pt x="1" y="191"/>
                    <a:pt x="0" y="191"/>
                    <a:pt x="2" y="193"/>
                  </a:cubicBezTo>
                  <a:cubicBezTo>
                    <a:pt x="2" y="194"/>
                    <a:pt x="3" y="194"/>
                    <a:pt x="4" y="195"/>
                  </a:cubicBezTo>
                  <a:cubicBezTo>
                    <a:pt x="5" y="196"/>
                    <a:pt x="6" y="198"/>
                    <a:pt x="6" y="199"/>
                  </a:cubicBezTo>
                  <a:cubicBezTo>
                    <a:pt x="7" y="201"/>
                    <a:pt x="9" y="202"/>
                    <a:pt x="10" y="204"/>
                  </a:cubicBezTo>
                  <a:cubicBezTo>
                    <a:pt x="11" y="203"/>
                    <a:pt x="11" y="202"/>
                    <a:pt x="11" y="201"/>
                  </a:cubicBezTo>
                  <a:cubicBezTo>
                    <a:pt x="11" y="199"/>
                    <a:pt x="11" y="196"/>
                    <a:pt x="13" y="195"/>
                  </a:cubicBezTo>
                  <a:cubicBezTo>
                    <a:pt x="14" y="194"/>
                    <a:pt x="15" y="195"/>
                    <a:pt x="16" y="195"/>
                  </a:cubicBezTo>
                  <a:cubicBezTo>
                    <a:pt x="17" y="194"/>
                    <a:pt x="17" y="193"/>
                    <a:pt x="18" y="192"/>
                  </a:cubicBezTo>
                  <a:cubicBezTo>
                    <a:pt x="18" y="192"/>
                    <a:pt x="19" y="191"/>
                    <a:pt x="19" y="190"/>
                  </a:cubicBezTo>
                  <a:cubicBezTo>
                    <a:pt x="19" y="190"/>
                    <a:pt x="20" y="190"/>
                    <a:pt x="20" y="189"/>
                  </a:cubicBezTo>
                  <a:cubicBezTo>
                    <a:pt x="20" y="189"/>
                    <a:pt x="19" y="188"/>
                    <a:pt x="20" y="188"/>
                  </a:cubicBezTo>
                  <a:cubicBezTo>
                    <a:pt x="20" y="187"/>
                    <a:pt x="22" y="187"/>
                    <a:pt x="22" y="187"/>
                  </a:cubicBezTo>
                  <a:cubicBezTo>
                    <a:pt x="22" y="187"/>
                    <a:pt x="23" y="186"/>
                    <a:pt x="23" y="186"/>
                  </a:cubicBezTo>
                  <a:cubicBezTo>
                    <a:pt x="23" y="186"/>
                    <a:pt x="24" y="185"/>
                    <a:pt x="25" y="185"/>
                  </a:cubicBezTo>
                  <a:cubicBezTo>
                    <a:pt x="26" y="185"/>
                    <a:pt x="27" y="184"/>
                    <a:pt x="28" y="184"/>
                  </a:cubicBezTo>
                  <a:cubicBezTo>
                    <a:pt x="29" y="183"/>
                    <a:pt x="29" y="181"/>
                    <a:pt x="29" y="180"/>
                  </a:cubicBezTo>
                  <a:cubicBezTo>
                    <a:pt x="30" y="178"/>
                    <a:pt x="31" y="178"/>
                    <a:pt x="33" y="178"/>
                  </a:cubicBezTo>
                  <a:cubicBezTo>
                    <a:pt x="34" y="177"/>
                    <a:pt x="36" y="175"/>
                    <a:pt x="37" y="175"/>
                  </a:cubicBezTo>
                  <a:cubicBezTo>
                    <a:pt x="39" y="173"/>
                    <a:pt x="41" y="174"/>
                    <a:pt x="44" y="174"/>
                  </a:cubicBezTo>
                  <a:cubicBezTo>
                    <a:pt x="47" y="174"/>
                    <a:pt x="47" y="173"/>
                    <a:pt x="49" y="171"/>
                  </a:cubicBezTo>
                  <a:cubicBezTo>
                    <a:pt x="50" y="170"/>
                    <a:pt x="53" y="169"/>
                    <a:pt x="55" y="169"/>
                  </a:cubicBezTo>
                  <a:cubicBezTo>
                    <a:pt x="56" y="168"/>
                    <a:pt x="57" y="168"/>
                    <a:pt x="58" y="168"/>
                  </a:cubicBezTo>
                  <a:cubicBezTo>
                    <a:pt x="62" y="168"/>
                    <a:pt x="60" y="166"/>
                    <a:pt x="61" y="164"/>
                  </a:cubicBezTo>
                  <a:cubicBezTo>
                    <a:pt x="62" y="162"/>
                    <a:pt x="68" y="162"/>
                    <a:pt x="69" y="163"/>
                  </a:cubicBezTo>
                  <a:cubicBezTo>
                    <a:pt x="70" y="163"/>
                    <a:pt x="71" y="164"/>
                    <a:pt x="72" y="164"/>
                  </a:cubicBezTo>
                  <a:cubicBezTo>
                    <a:pt x="73" y="164"/>
                    <a:pt x="74" y="165"/>
                    <a:pt x="75" y="165"/>
                  </a:cubicBezTo>
                  <a:cubicBezTo>
                    <a:pt x="79" y="166"/>
                    <a:pt x="83" y="166"/>
                    <a:pt x="86" y="166"/>
                  </a:cubicBezTo>
                  <a:cubicBezTo>
                    <a:pt x="89" y="166"/>
                    <a:pt x="91" y="166"/>
                    <a:pt x="94" y="167"/>
                  </a:cubicBezTo>
                  <a:cubicBezTo>
                    <a:pt x="97" y="168"/>
                    <a:pt x="99" y="168"/>
                    <a:pt x="102" y="168"/>
                  </a:cubicBezTo>
                  <a:cubicBezTo>
                    <a:pt x="104" y="168"/>
                    <a:pt x="105" y="168"/>
                    <a:pt x="107" y="168"/>
                  </a:cubicBezTo>
                  <a:cubicBezTo>
                    <a:pt x="107" y="168"/>
                    <a:pt x="108" y="168"/>
                    <a:pt x="109" y="168"/>
                  </a:cubicBezTo>
                  <a:cubicBezTo>
                    <a:pt x="110" y="168"/>
                    <a:pt x="110" y="167"/>
                    <a:pt x="111" y="166"/>
                  </a:cubicBezTo>
                  <a:cubicBezTo>
                    <a:pt x="112" y="166"/>
                    <a:pt x="113" y="166"/>
                    <a:pt x="114" y="166"/>
                  </a:cubicBezTo>
                  <a:cubicBezTo>
                    <a:pt x="115" y="166"/>
                    <a:pt x="117" y="166"/>
                    <a:pt x="118" y="167"/>
                  </a:cubicBezTo>
                  <a:cubicBezTo>
                    <a:pt x="118" y="167"/>
                    <a:pt x="120" y="166"/>
                    <a:pt x="120" y="167"/>
                  </a:cubicBezTo>
                  <a:cubicBezTo>
                    <a:pt x="120" y="167"/>
                    <a:pt x="120" y="168"/>
                    <a:pt x="120" y="169"/>
                  </a:cubicBezTo>
                  <a:cubicBezTo>
                    <a:pt x="120" y="169"/>
                    <a:pt x="121" y="169"/>
                    <a:pt x="121" y="170"/>
                  </a:cubicBezTo>
                  <a:cubicBezTo>
                    <a:pt x="121" y="171"/>
                    <a:pt x="121" y="174"/>
                    <a:pt x="123" y="175"/>
                  </a:cubicBezTo>
                  <a:cubicBezTo>
                    <a:pt x="125" y="175"/>
                    <a:pt x="129" y="173"/>
                    <a:pt x="129" y="171"/>
                  </a:cubicBezTo>
                  <a:cubicBezTo>
                    <a:pt x="130" y="170"/>
                    <a:pt x="132" y="171"/>
                    <a:pt x="133" y="171"/>
                  </a:cubicBezTo>
                  <a:cubicBezTo>
                    <a:pt x="135" y="171"/>
                    <a:pt x="135" y="169"/>
                    <a:pt x="136" y="168"/>
                  </a:cubicBezTo>
                  <a:cubicBezTo>
                    <a:pt x="137" y="168"/>
                    <a:pt x="139" y="169"/>
                    <a:pt x="140" y="169"/>
                  </a:cubicBezTo>
                  <a:cubicBezTo>
                    <a:pt x="142" y="169"/>
                    <a:pt x="143" y="170"/>
                    <a:pt x="145" y="171"/>
                  </a:cubicBezTo>
                  <a:cubicBezTo>
                    <a:pt x="146" y="171"/>
                    <a:pt x="148" y="171"/>
                    <a:pt x="150" y="171"/>
                  </a:cubicBezTo>
                  <a:cubicBezTo>
                    <a:pt x="151" y="171"/>
                    <a:pt x="152" y="170"/>
                    <a:pt x="153" y="170"/>
                  </a:cubicBezTo>
                  <a:cubicBezTo>
                    <a:pt x="156" y="169"/>
                    <a:pt x="158" y="169"/>
                    <a:pt x="161" y="170"/>
                  </a:cubicBezTo>
                  <a:cubicBezTo>
                    <a:pt x="161" y="171"/>
                    <a:pt x="161" y="173"/>
                    <a:pt x="162" y="174"/>
                  </a:cubicBezTo>
                  <a:cubicBezTo>
                    <a:pt x="163" y="174"/>
                    <a:pt x="162" y="171"/>
                    <a:pt x="164" y="171"/>
                  </a:cubicBezTo>
                  <a:cubicBezTo>
                    <a:pt x="165" y="171"/>
                    <a:pt x="166" y="172"/>
                    <a:pt x="167" y="173"/>
                  </a:cubicBezTo>
                  <a:cubicBezTo>
                    <a:pt x="169" y="174"/>
                    <a:pt x="171" y="175"/>
                    <a:pt x="173" y="176"/>
                  </a:cubicBezTo>
                  <a:cubicBezTo>
                    <a:pt x="174" y="176"/>
                    <a:pt x="176" y="176"/>
                    <a:pt x="176" y="177"/>
                  </a:cubicBezTo>
                  <a:cubicBezTo>
                    <a:pt x="177" y="178"/>
                    <a:pt x="176" y="179"/>
                    <a:pt x="177" y="180"/>
                  </a:cubicBezTo>
                  <a:cubicBezTo>
                    <a:pt x="177" y="181"/>
                    <a:pt x="178" y="181"/>
                    <a:pt x="179" y="181"/>
                  </a:cubicBezTo>
                  <a:cubicBezTo>
                    <a:pt x="181" y="181"/>
                    <a:pt x="182" y="179"/>
                    <a:pt x="183" y="179"/>
                  </a:cubicBezTo>
                  <a:cubicBezTo>
                    <a:pt x="187" y="176"/>
                    <a:pt x="192" y="178"/>
                    <a:pt x="197" y="179"/>
                  </a:cubicBezTo>
                  <a:cubicBezTo>
                    <a:pt x="198" y="179"/>
                    <a:pt x="201" y="179"/>
                    <a:pt x="203" y="178"/>
                  </a:cubicBezTo>
                  <a:cubicBezTo>
                    <a:pt x="204" y="177"/>
                    <a:pt x="204" y="176"/>
                    <a:pt x="205" y="175"/>
                  </a:cubicBezTo>
                  <a:cubicBezTo>
                    <a:pt x="206" y="175"/>
                    <a:pt x="207" y="175"/>
                    <a:pt x="208" y="175"/>
                  </a:cubicBezTo>
                  <a:cubicBezTo>
                    <a:pt x="208" y="174"/>
                    <a:pt x="208" y="173"/>
                    <a:pt x="208" y="172"/>
                  </a:cubicBezTo>
                  <a:cubicBezTo>
                    <a:pt x="208" y="171"/>
                    <a:pt x="208" y="169"/>
                    <a:pt x="209" y="168"/>
                  </a:cubicBezTo>
                  <a:cubicBezTo>
                    <a:pt x="210" y="167"/>
                    <a:pt x="212" y="166"/>
                    <a:pt x="213" y="165"/>
                  </a:cubicBezTo>
                  <a:cubicBezTo>
                    <a:pt x="214" y="165"/>
                    <a:pt x="215" y="165"/>
                    <a:pt x="215" y="164"/>
                  </a:cubicBezTo>
                  <a:cubicBezTo>
                    <a:pt x="216" y="164"/>
                    <a:pt x="216" y="163"/>
                    <a:pt x="216" y="163"/>
                  </a:cubicBezTo>
                  <a:cubicBezTo>
                    <a:pt x="218" y="161"/>
                    <a:pt x="225" y="161"/>
                    <a:pt x="225" y="164"/>
                  </a:cubicBezTo>
                  <a:cubicBezTo>
                    <a:pt x="222" y="166"/>
                    <a:pt x="222" y="166"/>
                    <a:pt x="222" y="166"/>
                  </a:cubicBezTo>
                  <a:cubicBezTo>
                    <a:pt x="221" y="167"/>
                    <a:pt x="222" y="167"/>
                    <a:pt x="221" y="168"/>
                  </a:cubicBezTo>
                  <a:cubicBezTo>
                    <a:pt x="221" y="169"/>
                    <a:pt x="221" y="169"/>
                    <a:pt x="221" y="170"/>
                  </a:cubicBezTo>
                  <a:cubicBezTo>
                    <a:pt x="222" y="170"/>
                    <a:pt x="223" y="171"/>
                    <a:pt x="224" y="172"/>
                  </a:cubicBezTo>
                  <a:cubicBezTo>
                    <a:pt x="225" y="175"/>
                    <a:pt x="227" y="177"/>
                    <a:pt x="229" y="180"/>
                  </a:cubicBezTo>
                  <a:cubicBezTo>
                    <a:pt x="230" y="183"/>
                    <a:pt x="231" y="185"/>
                    <a:pt x="234" y="186"/>
                  </a:cubicBezTo>
                  <a:cubicBezTo>
                    <a:pt x="234" y="187"/>
                    <a:pt x="235" y="190"/>
                    <a:pt x="237" y="190"/>
                  </a:cubicBezTo>
                  <a:cubicBezTo>
                    <a:pt x="237" y="188"/>
                    <a:pt x="240" y="187"/>
                    <a:pt x="241" y="188"/>
                  </a:cubicBezTo>
                  <a:cubicBezTo>
                    <a:pt x="242" y="188"/>
                    <a:pt x="243" y="190"/>
                    <a:pt x="244" y="190"/>
                  </a:cubicBezTo>
                  <a:cubicBezTo>
                    <a:pt x="247" y="192"/>
                    <a:pt x="251" y="191"/>
                    <a:pt x="254" y="191"/>
                  </a:cubicBezTo>
                  <a:cubicBezTo>
                    <a:pt x="256" y="191"/>
                    <a:pt x="258" y="191"/>
                    <a:pt x="260" y="193"/>
                  </a:cubicBezTo>
                  <a:cubicBezTo>
                    <a:pt x="261" y="193"/>
                    <a:pt x="262" y="195"/>
                    <a:pt x="263" y="196"/>
                  </a:cubicBezTo>
                  <a:cubicBezTo>
                    <a:pt x="266" y="197"/>
                    <a:pt x="268" y="198"/>
                    <a:pt x="270" y="200"/>
                  </a:cubicBezTo>
                  <a:cubicBezTo>
                    <a:pt x="273" y="201"/>
                    <a:pt x="275" y="203"/>
                    <a:pt x="278" y="205"/>
                  </a:cubicBezTo>
                  <a:cubicBezTo>
                    <a:pt x="281" y="207"/>
                    <a:pt x="283" y="209"/>
                    <a:pt x="286" y="211"/>
                  </a:cubicBezTo>
                  <a:cubicBezTo>
                    <a:pt x="288" y="213"/>
                    <a:pt x="291" y="216"/>
                    <a:pt x="292" y="219"/>
                  </a:cubicBezTo>
                  <a:cubicBezTo>
                    <a:pt x="292" y="220"/>
                    <a:pt x="292" y="221"/>
                    <a:pt x="293" y="221"/>
                  </a:cubicBezTo>
                  <a:cubicBezTo>
                    <a:pt x="293" y="222"/>
                    <a:pt x="294" y="223"/>
                    <a:pt x="295" y="224"/>
                  </a:cubicBezTo>
                  <a:cubicBezTo>
                    <a:pt x="296" y="226"/>
                    <a:pt x="298" y="228"/>
                    <a:pt x="299" y="230"/>
                  </a:cubicBezTo>
                  <a:cubicBezTo>
                    <a:pt x="299" y="231"/>
                    <a:pt x="299" y="232"/>
                    <a:pt x="300" y="233"/>
                  </a:cubicBezTo>
                  <a:cubicBezTo>
                    <a:pt x="301" y="234"/>
                    <a:pt x="305" y="234"/>
                    <a:pt x="307" y="235"/>
                  </a:cubicBezTo>
                  <a:cubicBezTo>
                    <a:pt x="309" y="235"/>
                    <a:pt x="311" y="236"/>
                    <a:pt x="313" y="236"/>
                  </a:cubicBezTo>
                  <a:cubicBezTo>
                    <a:pt x="313" y="236"/>
                    <a:pt x="313" y="236"/>
                    <a:pt x="314" y="236"/>
                  </a:cubicBezTo>
                  <a:cubicBezTo>
                    <a:pt x="315" y="236"/>
                    <a:pt x="315" y="236"/>
                    <a:pt x="316" y="235"/>
                  </a:cubicBezTo>
                  <a:cubicBezTo>
                    <a:pt x="317" y="235"/>
                    <a:pt x="319" y="236"/>
                    <a:pt x="321" y="236"/>
                  </a:cubicBezTo>
                  <a:cubicBezTo>
                    <a:pt x="323" y="236"/>
                    <a:pt x="324" y="236"/>
                    <a:pt x="325" y="234"/>
                  </a:cubicBezTo>
                  <a:cubicBezTo>
                    <a:pt x="326" y="233"/>
                    <a:pt x="327" y="230"/>
                    <a:pt x="329" y="229"/>
                  </a:cubicBezTo>
                  <a:cubicBezTo>
                    <a:pt x="329" y="228"/>
                    <a:pt x="331" y="227"/>
                    <a:pt x="332" y="227"/>
                  </a:cubicBezTo>
                  <a:cubicBezTo>
                    <a:pt x="333" y="226"/>
                    <a:pt x="334" y="226"/>
                    <a:pt x="335" y="226"/>
                  </a:cubicBezTo>
                  <a:cubicBezTo>
                    <a:pt x="336" y="226"/>
                    <a:pt x="336" y="224"/>
                    <a:pt x="337" y="224"/>
                  </a:cubicBezTo>
                  <a:cubicBezTo>
                    <a:pt x="339" y="222"/>
                    <a:pt x="343" y="220"/>
                    <a:pt x="346" y="222"/>
                  </a:cubicBezTo>
                  <a:cubicBezTo>
                    <a:pt x="348" y="223"/>
                    <a:pt x="348" y="223"/>
                    <a:pt x="351" y="224"/>
                  </a:cubicBezTo>
                  <a:cubicBezTo>
                    <a:pt x="353" y="224"/>
                    <a:pt x="356" y="224"/>
                    <a:pt x="359" y="224"/>
                  </a:cubicBezTo>
                  <a:cubicBezTo>
                    <a:pt x="363" y="223"/>
                    <a:pt x="366" y="228"/>
                    <a:pt x="370" y="225"/>
                  </a:cubicBezTo>
                  <a:cubicBezTo>
                    <a:pt x="374" y="222"/>
                    <a:pt x="371" y="217"/>
                    <a:pt x="372" y="213"/>
                  </a:cubicBezTo>
                  <a:cubicBezTo>
                    <a:pt x="373" y="208"/>
                    <a:pt x="376" y="206"/>
                    <a:pt x="381" y="205"/>
                  </a:cubicBezTo>
                  <a:cubicBezTo>
                    <a:pt x="385" y="205"/>
                    <a:pt x="389" y="200"/>
                    <a:pt x="392" y="197"/>
                  </a:cubicBezTo>
                  <a:cubicBezTo>
                    <a:pt x="392" y="196"/>
                    <a:pt x="393" y="195"/>
                    <a:pt x="394" y="194"/>
                  </a:cubicBezTo>
                  <a:cubicBezTo>
                    <a:pt x="394" y="191"/>
                    <a:pt x="395" y="188"/>
                    <a:pt x="395" y="187"/>
                  </a:cubicBezTo>
                  <a:cubicBezTo>
                    <a:pt x="396" y="182"/>
                    <a:pt x="398" y="177"/>
                    <a:pt x="399" y="173"/>
                  </a:cubicBezTo>
                  <a:cubicBezTo>
                    <a:pt x="399" y="170"/>
                    <a:pt x="399" y="167"/>
                    <a:pt x="399" y="165"/>
                  </a:cubicBezTo>
                  <a:cubicBezTo>
                    <a:pt x="399" y="164"/>
                    <a:pt x="399" y="162"/>
                    <a:pt x="399" y="16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9" name="Freeform 40">
              <a:extLst>
                <a:ext uri="{FF2B5EF4-FFF2-40B4-BE49-F238E27FC236}">
                  <a16:creationId xmlns:a16="http://schemas.microsoft.com/office/drawing/2014/main" id="{C0EF9169-7341-4FC1-A86A-D4D7DF542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2950" y="2852738"/>
              <a:ext cx="508000" cy="412750"/>
            </a:xfrm>
            <a:custGeom>
              <a:avLst/>
              <a:gdLst/>
              <a:ahLst/>
              <a:cxnLst>
                <a:cxn ang="0">
                  <a:pos x="269" y="22"/>
                </a:cxn>
                <a:cxn ang="0">
                  <a:pos x="268" y="32"/>
                </a:cxn>
                <a:cxn ang="0">
                  <a:pos x="255" y="49"/>
                </a:cxn>
                <a:cxn ang="0">
                  <a:pos x="252" y="66"/>
                </a:cxn>
                <a:cxn ang="0">
                  <a:pos x="234" y="69"/>
                </a:cxn>
                <a:cxn ang="0">
                  <a:pos x="209" y="77"/>
                </a:cxn>
                <a:cxn ang="0">
                  <a:pos x="212" y="94"/>
                </a:cxn>
                <a:cxn ang="0">
                  <a:pos x="219" y="119"/>
                </a:cxn>
                <a:cxn ang="0">
                  <a:pos x="240" y="136"/>
                </a:cxn>
                <a:cxn ang="0">
                  <a:pos x="237" y="157"/>
                </a:cxn>
                <a:cxn ang="0">
                  <a:pos x="242" y="171"/>
                </a:cxn>
                <a:cxn ang="0">
                  <a:pos x="248" y="184"/>
                </a:cxn>
                <a:cxn ang="0">
                  <a:pos x="236" y="187"/>
                </a:cxn>
                <a:cxn ang="0">
                  <a:pos x="232" y="195"/>
                </a:cxn>
                <a:cxn ang="0">
                  <a:pos x="228" y="209"/>
                </a:cxn>
                <a:cxn ang="0">
                  <a:pos x="217" y="218"/>
                </a:cxn>
                <a:cxn ang="0">
                  <a:pos x="204" y="212"/>
                </a:cxn>
                <a:cxn ang="0">
                  <a:pos x="188" y="217"/>
                </a:cxn>
                <a:cxn ang="0">
                  <a:pos x="176" y="214"/>
                </a:cxn>
                <a:cxn ang="0">
                  <a:pos x="164" y="207"/>
                </a:cxn>
                <a:cxn ang="0">
                  <a:pos x="153" y="192"/>
                </a:cxn>
                <a:cxn ang="0">
                  <a:pos x="132" y="179"/>
                </a:cxn>
                <a:cxn ang="0">
                  <a:pos x="114" y="164"/>
                </a:cxn>
                <a:cxn ang="0">
                  <a:pos x="101" y="169"/>
                </a:cxn>
                <a:cxn ang="0">
                  <a:pos x="81" y="177"/>
                </a:cxn>
                <a:cxn ang="0">
                  <a:pos x="69" y="186"/>
                </a:cxn>
                <a:cxn ang="0">
                  <a:pos x="70" y="159"/>
                </a:cxn>
                <a:cxn ang="0">
                  <a:pos x="78" y="138"/>
                </a:cxn>
                <a:cxn ang="0">
                  <a:pos x="44" y="143"/>
                </a:cxn>
                <a:cxn ang="0">
                  <a:pos x="23" y="119"/>
                </a:cxn>
                <a:cxn ang="0">
                  <a:pos x="21" y="107"/>
                </a:cxn>
                <a:cxn ang="0">
                  <a:pos x="28" y="96"/>
                </a:cxn>
                <a:cxn ang="0">
                  <a:pos x="22" y="87"/>
                </a:cxn>
                <a:cxn ang="0">
                  <a:pos x="20" y="68"/>
                </a:cxn>
                <a:cxn ang="0">
                  <a:pos x="3" y="63"/>
                </a:cxn>
                <a:cxn ang="0">
                  <a:pos x="13" y="59"/>
                </a:cxn>
                <a:cxn ang="0">
                  <a:pos x="17" y="44"/>
                </a:cxn>
                <a:cxn ang="0">
                  <a:pos x="29" y="39"/>
                </a:cxn>
                <a:cxn ang="0">
                  <a:pos x="46" y="32"/>
                </a:cxn>
                <a:cxn ang="0">
                  <a:pos x="58" y="25"/>
                </a:cxn>
                <a:cxn ang="0">
                  <a:pos x="81" y="18"/>
                </a:cxn>
                <a:cxn ang="0">
                  <a:pos x="97" y="8"/>
                </a:cxn>
                <a:cxn ang="0">
                  <a:pos x="109" y="14"/>
                </a:cxn>
                <a:cxn ang="0">
                  <a:pos x="128" y="5"/>
                </a:cxn>
                <a:cxn ang="0">
                  <a:pos x="136" y="4"/>
                </a:cxn>
                <a:cxn ang="0">
                  <a:pos x="153" y="6"/>
                </a:cxn>
                <a:cxn ang="0">
                  <a:pos x="167" y="6"/>
                </a:cxn>
                <a:cxn ang="0">
                  <a:pos x="183" y="12"/>
                </a:cxn>
                <a:cxn ang="0">
                  <a:pos x="195" y="14"/>
                </a:cxn>
                <a:cxn ang="0">
                  <a:pos x="227" y="23"/>
                </a:cxn>
                <a:cxn ang="0">
                  <a:pos x="247" y="19"/>
                </a:cxn>
              </a:cxnLst>
              <a:rect l="0" t="0" r="r" b="b"/>
              <a:pathLst>
                <a:path w="272" h="221">
                  <a:moveTo>
                    <a:pt x="264" y="14"/>
                  </a:moveTo>
                  <a:cubicBezTo>
                    <a:pt x="264" y="14"/>
                    <a:pt x="264" y="15"/>
                    <a:pt x="264" y="15"/>
                  </a:cubicBezTo>
                  <a:cubicBezTo>
                    <a:pt x="265" y="18"/>
                    <a:pt x="267" y="20"/>
                    <a:pt x="269" y="22"/>
                  </a:cubicBezTo>
                  <a:cubicBezTo>
                    <a:pt x="270" y="23"/>
                    <a:pt x="271" y="24"/>
                    <a:pt x="271" y="26"/>
                  </a:cubicBezTo>
                  <a:cubicBezTo>
                    <a:pt x="272" y="28"/>
                    <a:pt x="271" y="27"/>
                    <a:pt x="270" y="29"/>
                  </a:cubicBezTo>
                  <a:cubicBezTo>
                    <a:pt x="269" y="30"/>
                    <a:pt x="269" y="31"/>
                    <a:pt x="268" y="32"/>
                  </a:cubicBezTo>
                  <a:cubicBezTo>
                    <a:pt x="267" y="35"/>
                    <a:pt x="265" y="34"/>
                    <a:pt x="264" y="35"/>
                  </a:cubicBezTo>
                  <a:cubicBezTo>
                    <a:pt x="260" y="37"/>
                    <a:pt x="257" y="41"/>
                    <a:pt x="256" y="45"/>
                  </a:cubicBezTo>
                  <a:cubicBezTo>
                    <a:pt x="255" y="46"/>
                    <a:pt x="255" y="48"/>
                    <a:pt x="255" y="49"/>
                  </a:cubicBezTo>
                  <a:cubicBezTo>
                    <a:pt x="254" y="51"/>
                    <a:pt x="254" y="53"/>
                    <a:pt x="254" y="54"/>
                  </a:cubicBezTo>
                  <a:cubicBezTo>
                    <a:pt x="254" y="57"/>
                    <a:pt x="253" y="58"/>
                    <a:pt x="253" y="60"/>
                  </a:cubicBezTo>
                  <a:cubicBezTo>
                    <a:pt x="252" y="62"/>
                    <a:pt x="253" y="64"/>
                    <a:pt x="252" y="66"/>
                  </a:cubicBezTo>
                  <a:cubicBezTo>
                    <a:pt x="251" y="69"/>
                    <a:pt x="248" y="71"/>
                    <a:pt x="245" y="71"/>
                  </a:cubicBezTo>
                  <a:cubicBezTo>
                    <a:pt x="242" y="71"/>
                    <a:pt x="242" y="70"/>
                    <a:pt x="240" y="69"/>
                  </a:cubicBezTo>
                  <a:cubicBezTo>
                    <a:pt x="238" y="68"/>
                    <a:pt x="236" y="69"/>
                    <a:pt x="234" y="69"/>
                  </a:cubicBezTo>
                  <a:cubicBezTo>
                    <a:pt x="230" y="69"/>
                    <a:pt x="227" y="71"/>
                    <a:pt x="223" y="72"/>
                  </a:cubicBezTo>
                  <a:cubicBezTo>
                    <a:pt x="220" y="73"/>
                    <a:pt x="218" y="73"/>
                    <a:pt x="215" y="74"/>
                  </a:cubicBezTo>
                  <a:cubicBezTo>
                    <a:pt x="213" y="75"/>
                    <a:pt x="211" y="76"/>
                    <a:pt x="209" y="77"/>
                  </a:cubicBezTo>
                  <a:cubicBezTo>
                    <a:pt x="206" y="79"/>
                    <a:pt x="202" y="80"/>
                    <a:pt x="203" y="84"/>
                  </a:cubicBezTo>
                  <a:cubicBezTo>
                    <a:pt x="204" y="86"/>
                    <a:pt x="207" y="89"/>
                    <a:pt x="209" y="91"/>
                  </a:cubicBezTo>
                  <a:cubicBezTo>
                    <a:pt x="210" y="92"/>
                    <a:pt x="211" y="93"/>
                    <a:pt x="212" y="94"/>
                  </a:cubicBezTo>
                  <a:cubicBezTo>
                    <a:pt x="215" y="97"/>
                    <a:pt x="215" y="101"/>
                    <a:pt x="216" y="105"/>
                  </a:cubicBezTo>
                  <a:cubicBezTo>
                    <a:pt x="216" y="108"/>
                    <a:pt x="216" y="111"/>
                    <a:pt x="216" y="114"/>
                  </a:cubicBezTo>
                  <a:cubicBezTo>
                    <a:pt x="217" y="116"/>
                    <a:pt x="218" y="117"/>
                    <a:pt x="219" y="119"/>
                  </a:cubicBezTo>
                  <a:cubicBezTo>
                    <a:pt x="220" y="123"/>
                    <a:pt x="219" y="126"/>
                    <a:pt x="222" y="129"/>
                  </a:cubicBezTo>
                  <a:cubicBezTo>
                    <a:pt x="224" y="130"/>
                    <a:pt x="229" y="131"/>
                    <a:pt x="229" y="135"/>
                  </a:cubicBezTo>
                  <a:cubicBezTo>
                    <a:pt x="232" y="136"/>
                    <a:pt x="237" y="134"/>
                    <a:pt x="240" y="136"/>
                  </a:cubicBezTo>
                  <a:cubicBezTo>
                    <a:pt x="243" y="140"/>
                    <a:pt x="237" y="140"/>
                    <a:pt x="236" y="141"/>
                  </a:cubicBezTo>
                  <a:cubicBezTo>
                    <a:pt x="235" y="142"/>
                    <a:pt x="235" y="144"/>
                    <a:pt x="235" y="146"/>
                  </a:cubicBezTo>
                  <a:cubicBezTo>
                    <a:pt x="235" y="151"/>
                    <a:pt x="234" y="154"/>
                    <a:pt x="237" y="157"/>
                  </a:cubicBezTo>
                  <a:cubicBezTo>
                    <a:pt x="238" y="159"/>
                    <a:pt x="239" y="161"/>
                    <a:pt x="240" y="163"/>
                  </a:cubicBezTo>
                  <a:cubicBezTo>
                    <a:pt x="241" y="165"/>
                    <a:pt x="242" y="166"/>
                    <a:pt x="242" y="168"/>
                  </a:cubicBezTo>
                  <a:cubicBezTo>
                    <a:pt x="242" y="169"/>
                    <a:pt x="242" y="170"/>
                    <a:pt x="242" y="171"/>
                  </a:cubicBezTo>
                  <a:cubicBezTo>
                    <a:pt x="242" y="172"/>
                    <a:pt x="244" y="173"/>
                    <a:pt x="244" y="174"/>
                  </a:cubicBezTo>
                  <a:cubicBezTo>
                    <a:pt x="245" y="174"/>
                    <a:pt x="245" y="177"/>
                    <a:pt x="245" y="178"/>
                  </a:cubicBezTo>
                  <a:cubicBezTo>
                    <a:pt x="245" y="180"/>
                    <a:pt x="246" y="182"/>
                    <a:pt x="248" y="184"/>
                  </a:cubicBezTo>
                  <a:cubicBezTo>
                    <a:pt x="248" y="185"/>
                    <a:pt x="250" y="184"/>
                    <a:pt x="250" y="186"/>
                  </a:cubicBezTo>
                  <a:cubicBezTo>
                    <a:pt x="249" y="188"/>
                    <a:pt x="248" y="187"/>
                    <a:pt x="247" y="187"/>
                  </a:cubicBezTo>
                  <a:cubicBezTo>
                    <a:pt x="244" y="188"/>
                    <a:pt x="239" y="186"/>
                    <a:pt x="236" y="187"/>
                  </a:cubicBezTo>
                  <a:cubicBezTo>
                    <a:pt x="234" y="188"/>
                    <a:pt x="235" y="189"/>
                    <a:pt x="234" y="191"/>
                  </a:cubicBezTo>
                  <a:cubicBezTo>
                    <a:pt x="233" y="192"/>
                    <a:pt x="232" y="191"/>
                    <a:pt x="232" y="193"/>
                  </a:cubicBezTo>
                  <a:cubicBezTo>
                    <a:pt x="232" y="194"/>
                    <a:pt x="232" y="195"/>
                    <a:pt x="232" y="195"/>
                  </a:cubicBezTo>
                  <a:cubicBezTo>
                    <a:pt x="234" y="198"/>
                    <a:pt x="234" y="197"/>
                    <a:pt x="234" y="200"/>
                  </a:cubicBezTo>
                  <a:cubicBezTo>
                    <a:pt x="234" y="200"/>
                    <a:pt x="235" y="203"/>
                    <a:pt x="234" y="204"/>
                  </a:cubicBezTo>
                  <a:cubicBezTo>
                    <a:pt x="233" y="207"/>
                    <a:pt x="230" y="207"/>
                    <a:pt x="228" y="209"/>
                  </a:cubicBezTo>
                  <a:cubicBezTo>
                    <a:pt x="226" y="210"/>
                    <a:pt x="226" y="211"/>
                    <a:pt x="226" y="214"/>
                  </a:cubicBezTo>
                  <a:cubicBezTo>
                    <a:pt x="226" y="217"/>
                    <a:pt x="227" y="218"/>
                    <a:pt x="227" y="220"/>
                  </a:cubicBezTo>
                  <a:cubicBezTo>
                    <a:pt x="223" y="221"/>
                    <a:pt x="220" y="220"/>
                    <a:pt x="217" y="218"/>
                  </a:cubicBezTo>
                  <a:cubicBezTo>
                    <a:pt x="215" y="217"/>
                    <a:pt x="213" y="217"/>
                    <a:pt x="211" y="216"/>
                  </a:cubicBezTo>
                  <a:cubicBezTo>
                    <a:pt x="210" y="215"/>
                    <a:pt x="210" y="214"/>
                    <a:pt x="209" y="213"/>
                  </a:cubicBezTo>
                  <a:cubicBezTo>
                    <a:pt x="208" y="212"/>
                    <a:pt x="206" y="212"/>
                    <a:pt x="204" y="212"/>
                  </a:cubicBezTo>
                  <a:cubicBezTo>
                    <a:pt x="203" y="211"/>
                    <a:pt x="204" y="211"/>
                    <a:pt x="202" y="211"/>
                  </a:cubicBezTo>
                  <a:cubicBezTo>
                    <a:pt x="201" y="210"/>
                    <a:pt x="197" y="210"/>
                    <a:pt x="196" y="211"/>
                  </a:cubicBezTo>
                  <a:cubicBezTo>
                    <a:pt x="191" y="212"/>
                    <a:pt x="192" y="216"/>
                    <a:pt x="188" y="217"/>
                  </a:cubicBezTo>
                  <a:cubicBezTo>
                    <a:pt x="187" y="217"/>
                    <a:pt x="186" y="217"/>
                    <a:pt x="185" y="217"/>
                  </a:cubicBezTo>
                  <a:cubicBezTo>
                    <a:pt x="183" y="216"/>
                    <a:pt x="180" y="216"/>
                    <a:pt x="178" y="215"/>
                  </a:cubicBezTo>
                  <a:cubicBezTo>
                    <a:pt x="177" y="215"/>
                    <a:pt x="177" y="214"/>
                    <a:pt x="176" y="214"/>
                  </a:cubicBezTo>
                  <a:cubicBezTo>
                    <a:pt x="174" y="213"/>
                    <a:pt x="173" y="212"/>
                    <a:pt x="171" y="212"/>
                  </a:cubicBezTo>
                  <a:cubicBezTo>
                    <a:pt x="171" y="212"/>
                    <a:pt x="169" y="213"/>
                    <a:pt x="168" y="212"/>
                  </a:cubicBezTo>
                  <a:cubicBezTo>
                    <a:pt x="166" y="212"/>
                    <a:pt x="165" y="209"/>
                    <a:pt x="164" y="207"/>
                  </a:cubicBezTo>
                  <a:cubicBezTo>
                    <a:pt x="162" y="205"/>
                    <a:pt x="161" y="203"/>
                    <a:pt x="159" y="200"/>
                  </a:cubicBezTo>
                  <a:cubicBezTo>
                    <a:pt x="158" y="198"/>
                    <a:pt x="158" y="197"/>
                    <a:pt x="156" y="196"/>
                  </a:cubicBezTo>
                  <a:cubicBezTo>
                    <a:pt x="153" y="195"/>
                    <a:pt x="153" y="195"/>
                    <a:pt x="153" y="192"/>
                  </a:cubicBezTo>
                  <a:cubicBezTo>
                    <a:pt x="152" y="189"/>
                    <a:pt x="154" y="188"/>
                    <a:pt x="151" y="186"/>
                  </a:cubicBezTo>
                  <a:cubicBezTo>
                    <a:pt x="148" y="185"/>
                    <a:pt x="145" y="186"/>
                    <a:pt x="143" y="184"/>
                  </a:cubicBezTo>
                  <a:cubicBezTo>
                    <a:pt x="139" y="181"/>
                    <a:pt x="139" y="177"/>
                    <a:pt x="132" y="179"/>
                  </a:cubicBezTo>
                  <a:cubicBezTo>
                    <a:pt x="133" y="174"/>
                    <a:pt x="128" y="171"/>
                    <a:pt x="124" y="169"/>
                  </a:cubicBezTo>
                  <a:cubicBezTo>
                    <a:pt x="122" y="169"/>
                    <a:pt x="121" y="168"/>
                    <a:pt x="120" y="168"/>
                  </a:cubicBezTo>
                  <a:cubicBezTo>
                    <a:pt x="118" y="166"/>
                    <a:pt x="117" y="164"/>
                    <a:pt x="114" y="164"/>
                  </a:cubicBezTo>
                  <a:cubicBezTo>
                    <a:pt x="114" y="166"/>
                    <a:pt x="114" y="169"/>
                    <a:pt x="114" y="171"/>
                  </a:cubicBezTo>
                  <a:cubicBezTo>
                    <a:pt x="109" y="172"/>
                    <a:pt x="112" y="166"/>
                    <a:pt x="110" y="165"/>
                  </a:cubicBezTo>
                  <a:cubicBezTo>
                    <a:pt x="108" y="164"/>
                    <a:pt x="103" y="168"/>
                    <a:pt x="101" y="169"/>
                  </a:cubicBezTo>
                  <a:cubicBezTo>
                    <a:pt x="100" y="170"/>
                    <a:pt x="99" y="170"/>
                    <a:pt x="98" y="171"/>
                  </a:cubicBezTo>
                  <a:cubicBezTo>
                    <a:pt x="97" y="172"/>
                    <a:pt x="96" y="173"/>
                    <a:pt x="96" y="174"/>
                  </a:cubicBezTo>
                  <a:cubicBezTo>
                    <a:pt x="92" y="177"/>
                    <a:pt x="86" y="176"/>
                    <a:pt x="81" y="177"/>
                  </a:cubicBezTo>
                  <a:cubicBezTo>
                    <a:pt x="78" y="177"/>
                    <a:pt x="79" y="177"/>
                    <a:pt x="78" y="179"/>
                  </a:cubicBezTo>
                  <a:cubicBezTo>
                    <a:pt x="76" y="181"/>
                    <a:pt x="75" y="182"/>
                    <a:pt x="73" y="184"/>
                  </a:cubicBezTo>
                  <a:cubicBezTo>
                    <a:pt x="72" y="184"/>
                    <a:pt x="70" y="186"/>
                    <a:pt x="69" y="186"/>
                  </a:cubicBezTo>
                  <a:cubicBezTo>
                    <a:pt x="65" y="188"/>
                    <a:pt x="65" y="185"/>
                    <a:pt x="64" y="182"/>
                  </a:cubicBezTo>
                  <a:cubicBezTo>
                    <a:pt x="63" y="176"/>
                    <a:pt x="67" y="174"/>
                    <a:pt x="68" y="169"/>
                  </a:cubicBezTo>
                  <a:cubicBezTo>
                    <a:pt x="70" y="165"/>
                    <a:pt x="71" y="163"/>
                    <a:pt x="70" y="159"/>
                  </a:cubicBezTo>
                  <a:cubicBezTo>
                    <a:pt x="70" y="157"/>
                    <a:pt x="70" y="156"/>
                    <a:pt x="69" y="154"/>
                  </a:cubicBezTo>
                  <a:cubicBezTo>
                    <a:pt x="69" y="150"/>
                    <a:pt x="70" y="145"/>
                    <a:pt x="73" y="142"/>
                  </a:cubicBezTo>
                  <a:cubicBezTo>
                    <a:pt x="74" y="140"/>
                    <a:pt x="77" y="140"/>
                    <a:pt x="78" y="138"/>
                  </a:cubicBezTo>
                  <a:cubicBezTo>
                    <a:pt x="76" y="135"/>
                    <a:pt x="64" y="134"/>
                    <a:pt x="62" y="137"/>
                  </a:cubicBezTo>
                  <a:cubicBezTo>
                    <a:pt x="59" y="140"/>
                    <a:pt x="59" y="144"/>
                    <a:pt x="55" y="147"/>
                  </a:cubicBezTo>
                  <a:cubicBezTo>
                    <a:pt x="51" y="150"/>
                    <a:pt x="47" y="147"/>
                    <a:pt x="44" y="143"/>
                  </a:cubicBezTo>
                  <a:cubicBezTo>
                    <a:pt x="43" y="140"/>
                    <a:pt x="37" y="130"/>
                    <a:pt x="33" y="134"/>
                  </a:cubicBezTo>
                  <a:cubicBezTo>
                    <a:pt x="31" y="131"/>
                    <a:pt x="30" y="127"/>
                    <a:pt x="27" y="124"/>
                  </a:cubicBezTo>
                  <a:cubicBezTo>
                    <a:pt x="26" y="122"/>
                    <a:pt x="24" y="121"/>
                    <a:pt x="23" y="119"/>
                  </a:cubicBezTo>
                  <a:cubicBezTo>
                    <a:pt x="22" y="118"/>
                    <a:pt x="23" y="114"/>
                    <a:pt x="23" y="112"/>
                  </a:cubicBezTo>
                  <a:cubicBezTo>
                    <a:pt x="22" y="111"/>
                    <a:pt x="22" y="110"/>
                    <a:pt x="21" y="109"/>
                  </a:cubicBezTo>
                  <a:cubicBezTo>
                    <a:pt x="21" y="108"/>
                    <a:pt x="21" y="108"/>
                    <a:pt x="21" y="107"/>
                  </a:cubicBezTo>
                  <a:cubicBezTo>
                    <a:pt x="21" y="107"/>
                    <a:pt x="21" y="106"/>
                    <a:pt x="20" y="106"/>
                  </a:cubicBezTo>
                  <a:cubicBezTo>
                    <a:pt x="19" y="104"/>
                    <a:pt x="16" y="97"/>
                    <a:pt x="20" y="96"/>
                  </a:cubicBezTo>
                  <a:cubicBezTo>
                    <a:pt x="22" y="95"/>
                    <a:pt x="26" y="97"/>
                    <a:pt x="28" y="96"/>
                  </a:cubicBezTo>
                  <a:cubicBezTo>
                    <a:pt x="28" y="96"/>
                    <a:pt x="30" y="93"/>
                    <a:pt x="30" y="93"/>
                  </a:cubicBezTo>
                  <a:cubicBezTo>
                    <a:pt x="31" y="91"/>
                    <a:pt x="32" y="90"/>
                    <a:pt x="32" y="88"/>
                  </a:cubicBezTo>
                  <a:cubicBezTo>
                    <a:pt x="28" y="87"/>
                    <a:pt x="25" y="88"/>
                    <a:pt x="22" y="87"/>
                  </a:cubicBezTo>
                  <a:cubicBezTo>
                    <a:pt x="22" y="86"/>
                    <a:pt x="22" y="84"/>
                    <a:pt x="22" y="82"/>
                  </a:cubicBezTo>
                  <a:cubicBezTo>
                    <a:pt x="21" y="80"/>
                    <a:pt x="18" y="79"/>
                    <a:pt x="17" y="76"/>
                  </a:cubicBezTo>
                  <a:cubicBezTo>
                    <a:pt x="16" y="72"/>
                    <a:pt x="18" y="70"/>
                    <a:pt x="20" y="68"/>
                  </a:cubicBezTo>
                  <a:cubicBezTo>
                    <a:pt x="19" y="66"/>
                    <a:pt x="14" y="67"/>
                    <a:pt x="12" y="67"/>
                  </a:cubicBezTo>
                  <a:cubicBezTo>
                    <a:pt x="9" y="67"/>
                    <a:pt x="6" y="70"/>
                    <a:pt x="4" y="69"/>
                  </a:cubicBezTo>
                  <a:cubicBezTo>
                    <a:pt x="0" y="68"/>
                    <a:pt x="1" y="64"/>
                    <a:pt x="3" y="63"/>
                  </a:cubicBezTo>
                  <a:cubicBezTo>
                    <a:pt x="6" y="62"/>
                    <a:pt x="6" y="62"/>
                    <a:pt x="8" y="63"/>
                  </a:cubicBezTo>
                  <a:cubicBezTo>
                    <a:pt x="10" y="63"/>
                    <a:pt x="11" y="62"/>
                    <a:pt x="12" y="61"/>
                  </a:cubicBezTo>
                  <a:cubicBezTo>
                    <a:pt x="12" y="60"/>
                    <a:pt x="12" y="59"/>
                    <a:pt x="13" y="59"/>
                  </a:cubicBezTo>
                  <a:cubicBezTo>
                    <a:pt x="13" y="58"/>
                    <a:pt x="14" y="59"/>
                    <a:pt x="14" y="58"/>
                  </a:cubicBezTo>
                  <a:cubicBezTo>
                    <a:pt x="16" y="57"/>
                    <a:pt x="16" y="57"/>
                    <a:pt x="17" y="55"/>
                  </a:cubicBezTo>
                  <a:cubicBezTo>
                    <a:pt x="18" y="51"/>
                    <a:pt x="17" y="48"/>
                    <a:pt x="17" y="44"/>
                  </a:cubicBezTo>
                  <a:cubicBezTo>
                    <a:pt x="16" y="40"/>
                    <a:pt x="17" y="37"/>
                    <a:pt x="21" y="39"/>
                  </a:cubicBezTo>
                  <a:cubicBezTo>
                    <a:pt x="22" y="39"/>
                    <a:pt x="23" y="41"/>
                    <a:pt x="25" y="41"/>
                  </a:cubicBezTo>
                  <a:cubicBezTo>
                    <a:pt x="27" y="42"/>
                    <a:pt x="28" y="40"/>
                    <a:pt x="29" y="39"/>
                  </a:cubicBezTo>
                  <a:cubicBezTo>
                    <a:pt x="31" y="37"/>
                    <a:pt x="41" y="36"/>
                    <a:pt x="41" y="40"/>
                  </a:cubicBezTo>
                  <a:cubicBezTo>
                    <a:pt x="43" y="40"/>
                    <a:pt x="52" y="40"/>
                    <a:pt x="50" y="36"/>
                  </a:cubicBezTo>
                  <a:cubicBezTo>
                    <a:pt x="50" y="34"/>
                    <a:pt x="47" y="34"/>
                    <a:pt x="46" y="32"/>
                  </a:cubicBezTo>
                  <a:cubicBezTo>
                    <a:pt x="45" y="30"/>
                    <a:pt x="47" y="29"/>
                    <a:pt x="48" y="29"/>
                  </a:cubicBezTo>
                  <a:cubicBezTo>
                    <a:pt x="50" y="29"/>
                    <a:pt x="52" y="30"/>
                    <a:pt x="53" y="29"/>
                  </a:cubicBezTo>
                  <a:cubicBezTo>
                    <a:pt x="56" y="29"/>
                    <a:pt x="56" y="27"/>
                    <a:pt x="58" y="25"/>
                  </a:cubicBezTo>
                  <a:cubicBezTo>
                    <a:pt x="61" y="22"/>
                    <a:pt x="66" y="20"/>
                    <a:pt x="69" y="20"/>
                  </a:cubicBezTo>
                  <a:cubicBezTo>
                    <a:pt x="72" y="20"/>
                    <a:pt x="73" y="20"/>
                    <a:pt x="75" y="19"/>
                  </a:cubicBezTo>
                  <a:cubicBezTo>
                    <a:pt x="77" y="19"/>
                    <a:pt x="79" y="18"/>
                    <a:pt x="81" y="18"/>
                  </a:cubicBezTo>
                  <a:cubicBezTo>
                    <a:pt x="83" y="17"/>
                    <a:pt x="83" y="17"/>
                    <a:pt x="84" y="16"/>
                  </a:cubicBezTo>
                  <a:cubicBezTo>
                    <a:pt x="85" y="15"/>
                    <a:pt x="87" y="15"/>
                    <a:pt x="89" y="14"/>
                  </a:cubicBezTo>
                  <a:cubicBezTo>
                    <a:pt x="92" y="11"/>
                    <a:pt x="93" y="9"/>
                    <a:pt x="97" y="8"/>
                  </a:cubicBezTo>
                  <a:cubicBezTo>
                    <a:pt x="100" y="7"/>
                    <a:pt x="102" y="8"/>
                    <a:pt x="105" y="10"/>
                  </a:cubicBezTo>
                  <a:cubicBezTo>
                    <a:pt x="106" y="11"/>
                    <a:pt x="108" y="11"/>
                    <a:pt x="109" y="12"/>
                  </a:cubicBezTo>
                  <a:cubicBezTo>
                    <a:pt x="109" y="13"/>
                    <a:pt x="109" y="14"/>
                    <a:pt x="109" y="14"/>
                  </a:cubicBezTo>
                  <a:cubicBezTo>
                    <a:pt x="110" y="14"/>
                    <a:pt x="111" y="14"/>
                    <a:pt x="111" y="14"/>
                  </a:cubicBezTo>
                  <a:cubicBezTo>
                    <a:pt x="116" y="16"/>
                    <a:pt x="123" y="16"/>
                    <a:pt x="128" y="15"/>
                  </a:cubicBezTo>
                  <a:cubicBezTo>
                    <a:pt x="128" y="12"/>
                    <a:pt x="127" y="8"/>
                    <a:pt x="128" y="5"/>
                  </a:cubicBezTo>
                  <a:cubicBezTo>
                    <a:pt x="128" y="4"/>
                    <a:pt x="128" y="2"/>
                    <a:pt x="130" y="3"/>
                  </a:cubicBezTo>
                  <a:cubicBezTo>
                    <a:pt x="133" y="3"/>
                    <a:pt x="132" y="7"/>
                    <a:pt x="132" y="9"/>
                  </a:cubicBezTo>
                  <a:cubicBezTo>
                    <a:pt x="136" y="10"/>
                    <a:pt x="135" y="5"/>
                    <a:pt x="136" y="4"/>
                  </a:cubicBezTo>
                  <a:cubicBezTo>
                    <a:pt x="139" y="0"/>
                    <a:pt x="140" y="6"/>
                    <a:pt x="141" y="8"/>
                  </a:cubicBezTo>
                  <a:cubicBezTo>
                    <a:pt x="143" y="8"/>
                    <a:pt x="145" y="9"/>
                    <a:pt x="147" y="8"/>
                  </a:cubicBezTo>
                  <a:cubicBezTo>
                    <a:pt x="150" y="8"/>
                    <a:pt x="151" y="7"/>
                    <a:pt x="153" y="6"/>
                  </a:cubicBezTo>
                  <a:cubicBezTo>
                    <a:pt x="156" y="5"/>
                    <a:pt x="158" y="5"/>
                    <a:pt x="161" y="5"/>
                  </a:cubicBezTo>
                  <a:cubicBezTo>
                    <a:pt x="163" y="4"/>
                    <a:pt x="163" y="3"/>
                    <a:pt x="166" y="4"/>
                  </a:cubicBezTo>
                  <a:cubicBezTo>
                    <a:pt x="166" y="5"/>
                    <a:pt x="167" y="6"/>
                    <a:pt x="167" y="6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2" y="8"/>
                    <a:pt x="173" y="9"/>
                    <a:pt x="175" y="9"/>
                  </a:cubicBezTo>
                  <a:cubicBezTo>
                    <a:pt x="177" y="10"/>
                    <a:pt x="180" y="12"/>
                    <a:pt x="183" y="12"/>
                  </a:cubicBezTo>
                  <a:cubicBezTo>
                    <a:pt x="183" y="11"/>
                    <a:pt x="183" y="9"/>
                    <a:pt x="183" y="8"/>
                  </a:cubicBezTo>
                  <a:cubicBezTo>
                    <a:pt x="185" y="8"/>
                    <a:pt x="187" y="10"/>
                    <a:pt x="188" y="11"/>
                  </a:cubicBezTo>
                  <a:cubicBezTo>
                    <a:pt x="191" y="13"/>
                    <a:pt x="192" y="14"/>
                    <a:pt x="195" y="14"/>
                  </a:cubicBezTo>
                  <a:cubicBezTo>
                    <a:pt x="198" y="15"/>
                    <a:pt x="202" y="14"/>
                    <a:pt x="205" y="16"/>
                  </a:cubicBezTo>
                  <a:cubicBezTo>
                    <a:pt x="209" y="17"/>
                    <a:pt x="211" y="20"/>
                    <a:pt x="214" y="21"/>
                  </a:cubicBezTo>
                  <a:cubicBezTo>
                    <a:pt x="218" y="23"/>
                    <a:pt x="223" y="23"/>
                    <a:pt x="227" y="23"/>
                  </a:cubicBezTo>
                  <a:cubicBezTo>
                    <a:pt x="231" y="22"/>
                    <a:pt x="233" y="20"/>
                    <a:pt x="237" y="19"/>
                  </a:cubicBezTo>
                  <a:cubicBezTo>
                    <a:pt x="238" y="19"/>
                    <a:pt x="243" y="17"/>
                    <a:pt x="244" y="17"/>
                  </a:cubicBezTo>
                  <a:cubicBezTo>
                    <a:pt x="246" y="18"/>
                    <a:pt x="245" y="18"/>
                    <a:pt x="247" y="19"/>
                  </a:cubicBezTo>
                  <a:cubicBezTo>
                    <a:pt x="251" y="22"/>
                    <a:pt x="259" y="21"/>
                    <a:pt x="264" y="21"/>
                  </a:cubicBezTo>
                  <a:lnTo>
                    <a:pt x="264" y="14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0" name="Freeform 41">
              <a:extLst>
                <a:ext uri="{FF2B5EF4-FFF2-40B4-BE49-F238E27FC236}">
                  <a16:creationId xmlns:a16="http://schemas.microsoft.com/office/drawing/2014/main" id="{66C1073B-1847-4CED-961E-3C7F00F87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3250" y="3044825"/>
              <a:ext cx="171450" cy="144463"/>
            </a:xfrm>
            <a:custGeom>
              <a:avLst/>
              <a:gdLst/>
              <a:ahLst/>
              <a:cxnLst>
                <a:cxn ang="0">
                  <a:pos x="83" y="0"/>
                </a:cxn>
                <a:cxn ang="0">
                  <a:pos x="76" y="1"/>
                </a:cxn>
                <a:cxn ang="0">
                  <a:pos x="75" y="8"/>
                </a:cxn>
                <a:cxn ang="0">
                  <a:pos x="75" y="11"/>
                </a:cxn>
                <a:cxn ang="0">
                  <a:pos x="72" y="9"/>
                </a:cxn>
                <a:cxn ang="0">
                  <a:pos x="69" y="8"/>
                </a:cxn>
                <a:cxn ang="0">
                  <a:pos x="66" y="6"/>
                </a:cxn>
                <a:cxn ang="0">
                  <a:pos x="62" y="6"/>
                </a:cxn>
                <a:cxn ang="0">
                  <a:pos x="59" y="4"/>
                </a:cxn>
                <a:cxn ang="0">
                  <a:pos x="55" y="9"/>
                </a:cxn>
                <a:cxn ang="0">
                  <a:pos x="49" y="9"/>
                </a:cxn>
                <a:cxn ang="0">
                  <a:pos x="46" y="7"/>
                </a:cxn>
                <a:cxn ang="0">
                  <a:pos x="42" y="7"/>
                </a:cxn>
                <a:cxn ang="0">
                  <a:pos x="38" y="3"/>
                </a:cxn>
                <a:cxn ang="0">
                  <a:pos x="36" y="7"/>
                </a:cxn>
                <a:cxn ang="0">
                  <a:pos x="32" y="9"/>
                </a:cxn>
                <a:cxn ang="0">
                  <a:pos x="28" y="20"/>
                </a:cxn>
                <a:cxn ang="0">
                  <a:pos x="22" y="18"/>
                </a:cxn>
                <a:cxn ang="0">
                  <a:pos x="22" y="13"/>
                </a:cxn>
                <a:cxn ang="0">
                  <a:pos x="16" y="25"/>
                </a:cxn>
                <a:cxn ang="0">
                  <a:pos x="7" y="17"/>
                </a:cxn>
                <a:cxn ang="0">
                  <a:pos x="1" y="20"/>
                </a:cxn>
                <a:cxn ang="0">
                  <a:pos x="7" y="27"/>
                </a:cxn>
                <a:cxn ang="0">
                  <a:pos x="5" y="31"/>
                </a:cxn>
                <a:cxn ang="0">
                  <a:pos x="9" y="36"/>
                </a:cxn>
                <a:cxn ang="0">
                  <a:pos x="3" y="39"/>
                </a:cxn>
                <a:cxn ang="0">
                  <a:pos x="10" y="42"/>
                </a:cxn>
                <a:cxn ang="0">
                  <a:pos x="19" y="51"/>
                </a:cxn>
                <a:cxn ang="0">
                  <a:pos x="20" y="59"/>
                </a:cxn>
                <a:cxn ang="0">
                  <a:pos x="14" y="63"/>
                </a:cxn>
                <a:cxn ang="0">
                  <a:pos x="18" y="77"/>
                </a:cxn>
                <a:cxn ang="0">
                  <a:pos x="22" y="75"/>
                </a:cxn>
                <a:cxn ang="0">
                  <a:pos x="23" y="69"/>
                </a:cxn>
                <a:cxn ang="0">
                  <a:pos x="22" y="64"/>
                </a:cxn>
                <a:cxn ang="0">
                  <a:pos x="21" y="59"/>
                </a:cxn>
                <a:cxn ang="0">
                  <a:pos x="24" y="53"/>
                </a:cxn>
                <a:cxn ang="0">
                  <a:pos x="27" y="49"/>
                </a:cxn>
                <a:cxn ang="0">
                  <a:pos x="28" y="48"/>
                </a:cxn>
                <a:cxn ang="0">
                  <a:pos x="31" y="50"/>
                </a:cxn>
                <a:cxn ang="0">
                  <a:pos x="34" y="48"/>
                </a:cxn>
                <a:cxn ang="0">
                  <a:pos x="39" y="50"/>
                </a:cxn>
                <a:cxn ang="0">
                  <a:pos x="48" y="45"/>
                </a:cxn>
                <a:cxn ang="0">
                  <a:pos x="56" y="44"/>
                </a:cxn>
                <a:cxn ang="0">
                  <a:pos x="57" y="38"/>
                </a:cxn>
                <a:cxn ang="0">
                  <a:pos x="62" y="37"/>
                </a:cxn>
                <a:cxn ang="0">
                  <a:pos x="68" y="31"/>
                </a:cxn>
                <a:cxn ang="0">
                  <a:pos x="72" y="27"/>
                </a:cxn>
                <a:cxn ang="0">
                  <a:pos x="80" y="20"/>
                </a:cxn>
                <a:cxn ang="0">
                  <a:pos x="75" y="17"/>
                </a:cxn>
                <a:cxn ang="0">
                  <a:pos x="72" y="13"/>
                </a:cxn>
                <a:cxn ang="0">
                  <a:pos x="90" y="12"/>
                </a:cxn>
                <a:cxn ang="0">
                  <a:pos x="82" y="1"/>
                </a:cxn>
                <a:cxn ang="0">
                  <a:pos x="83" y="0"/>
                </a:cxn>
              </a:cxnLst>
              <a:rect l="0" t="0" r="r" b="b"/>
              <a:pathLst>
                <a:path w="91" h="77">
                  <a:moveTo>
                    <a:pt x="83" y="0"/>
                  </a:moveTo>
                  <a:cubicBezTo>
                    <a:pt x="81" y="0"/>
                    <a:pt x="77" y="0"/>
                    <a:pt x="76" y="1"/>
                  </a:cubicBezTo>
                  <a:cubicBezTo>
                    <a:pt x="72" y="2"/>
                    <a:pt x="74" y="5"/>
                    <a:pt x="75" y="8"/>
                  </a:cubicBezTo>
                  <a:cubicBezTo>
                    <a:pt x="75" y="9"/>
                    <a:pt x="76" y="10"/>
                    <a:pt x="75" y="11"/>
                  </a:cubicBezTo>
                  <a:cubicBezTo>
                    <a:pt x="73" y="12"/>
                    <a:pt x="73" y="10"/>
                    <a:pt x="72" y="9"/>
                  </a:cubicBezTo>
                  <a:cubicBezTo>
                    <a:pt x="70" y="8"/>
                    <a:pt x="70" y="9"/>
                    <a:pt x="69" y="8"/>
                  </a:cubicBezTo>
                  <a:cubicBezTo>
                    <a:pt x="68" y="7"/>
                    <a:pt x="68" y="7"/>
                    <a:pt x="66" y="6"/>
                  </a:cubicBezTo>
                  <a:cubicBezTo>
                    <a:pt x="65" y="6"/>
                    <a:pt x="63" y="6"/>
                    <a:pt x="62" y="6"/>
                  </a:cubicBezTo>
                  <a:cubicBezTo>
                    <a:pt x="61" y="6"/>
                    <a:pt x="60" y="4"/>
                    <a:pt x="59" y="4"/>
                  </a:cubicBezTo>
                  <a:cubicBezTo>
                    <a:pt x="56" y="4"/>
                    <a:pt x="57" y="8"/>
                    <a:pt x="55" y="9"/>
                  </a:cubicBezTo>
                  <a:cubicBezTo>
                    <a:pt x="54" y="9"/>
                    <a:pt x="50" y="9"/>
                    <a:pt x="49" y="9"/>
                  </a:cubicBezTo>
                  <a:cubicBezTo>
                    <a:pt x="48" y="8"/>
                    <a:pt x="47" y="7"/>
                    <a:pt x="46" y="7"/>
                  </a:cubicBezTo>
                  <a:cubicBezTo>
                    <a:pt x="44" y="7"/>
                    <a:pt x="43" y="7"/>
                    <a:pt x="42" y="7"/>
                  </a:cubicBezTo>
                  <a:cubicBezTo>
                    <a:pt x="41" y="5"/>
                    <a:pt x="41" y="1"/>
                    <a:pt x="38" y="3"/>
                  </a:cubicBezTo>
                  <a:cubicBezTo>
                    <a:pt x="36" y="4"/>
                    <a:pt x="37" y="6"/>
                    <a:pt x="36" y="7"/>
                  </a:cubicBezTo>
                  <a:cubicBezTo>
                    <a:pt x="34" y="9"/>
                    <a:pt x="33" y="8"/>
                    <a:pt x="32" y="9"/>
                  </a:cubicBezTo>
                  <a:cubicBezTo>
                    <a:pt x="28" y="11"/>
                    <a:pt x="31" y="17"/>
                    <a:pt x="28" y="20"/>
                  </a:cubicBezTo>
                  <a:cubicBezTo>
                    <a:pt x="27" y="21"/>
                    <a:pt x="23" y="19"/>
                    <a:pt x="22" y="18"/>
                  </a:cubicBezTo>
                  <a:cubicBezTo>
                    <a:pt x="22" y="17"/>
                    <a:pt x="23" y="15"/>
                    <a:pt x="22" y="13"/>
                  </a:cubicBezTo>
                  <a:cubicBezTo>
                    <a:pt x="16" y="12"/>
                    <a:pt x="16" y="21"/>
                    <a:pt x="16" y="25"/>
                  </a:cubicBezTo>
                  <a:cubicBezTo>
                    <a:pt x="12" y="27"/>
                    <a:pt x="9" y="18"/>
                    <a:pt x="7" y="17"/>
                  </a:cubicBezTo>
                  <a:cubicBezTo>
                    <a:pt x="5" y="15"/>
                    <a:pt x="0" y="16"/>
                    <a:pt x="1" y="20"/>
                  </a:cubicBezTo>
                  <a:cubicBezTo>
                    <a:pt x="5" y="20"/>
                    <a:pt x="7" y="24"/>
                    <a:pt x="7" y="27"/>
                  </a:cubicBezTo>
                  <a:cubicBezTo>
                    <a:pt x="6" y="28"/>
                    <a:pt x="5" y="29"/>
                    <a:pt x="5" y="31"/>
                  </a:cubicBezTo>
                  <a:cubicBezTo>
                    <a:pt x="4" y="34"/>
                    <a:pt x="7" y="34"/>
                    <a:pt x="9" y="36"/>
                  </a:cubicBezTo>
                  <a:cubicBezTo>
                    <a:pt x="8" y="38"/>
                    <a:pt x="4" y="37"/>
                    <a:pt x="3" y="39"/>
                  </a:cubicBezTo>
                  <a:cubicBezTo>
                    <a:pt x="1" y="42"/>
                    <a:pt x="8" y="42"/>
                    <a:pt x="10" y="42"/>
                  </a:cubicBezTo>
                  <a:cubicBezTo>
                    <a:pt x="10" y="48"/>
                    <a:pt x="18" y="45"/>
                    <a:pt x="19" y="51"/>
                  </a:cubicBezTo>
                  <a:cubicBezTo>
                    <a:pt x="19" y="53"/>
                    <a:pt x="21" y="57"/>
                    <a:pt x="20" y="59"/>
                  </a:cubicBezTo>
                  <a:cubicBezTo>
                    <a:pt x="19" y="60"/>
                    <a:pt x="16" y="62"/>
                    <a:pt x="14" y="63"/>
                  </a:cubicBezTo>
                  <a:cubicBezTo>
                    <a:pt x="9" y="67"/>
                    <a:pt x="10" y="77"/>
                    <a:pt x="18" y="77"/>
                  </a:cubicBezTo>
                  <a:cubicBezTo>
                    <a:pt x="21" y="77"/>
                    <a:pt x="21" y="77"/>
                    <a:pt x="22" y="75"/>
                  </a:cubicBezTo>
                  <a:cubicBezTo>
                    <a:pt x="23" y="74"/>
                    <a:pt x="24" y="70"/>
                    <a:pt x="23" y="69"/>
                  </a:cubicBezTo>
                  <a:cubicBezTo>
                    <a:pt x="23" y="67"/>
                    <a:pt x="22" y="66"/>
                    <a:pt x="22" y="64"/>
                  </a:cubicBezTo>
                  <a:cubicBezTo>
                    <a:pt x="21" y="62"/>
                    <a:pt x="22" y="61"/>
                    <a:pt x="21" y="59"/>
                  </a:cubicBezTo>
                  <a:cubicBezTo>
                    <a:pt x="23" y="59"/>
                    <a:pt x="23" y="55"/>
                    <a:pt x="24" y="53"/>
                  </a:cubicBezTo>
                  <a:cubicBezTo>
                    <a:pt x="25" y="52"/>
                    <a:pt x="25" y="50"/>
                    <a:pt x="27" y="49"/>
                  </a:cubicBezTo>
                  <a:cubicBezTo>
                    <a:pt x="28" y="48"/>
                    <a:pt x="27" y="48"/>
                    <a:pt x="28" y="48"/>
                  </a:cubicBezTo>
                  <a:cubicBezTo>
                    <a:pt x="30" y="48"/>
                    <a:pt x="30" y="50"/>
                    <a:pt x="31" y="50"/>
                  </a:cubicBezTo>
                  <a:cubicBezTo>
                    <a:pt x="33" y="51"/>
                    <a:pt x="32" y="49"/>
                    <a:pt x="34" y="48"/>
                  </a:cubicBezTo>
                  <a:cubicBezTo>
                    <a:pt x="37" y="46"/>
                    <a:pt x="38" y="49"/>
                    <a:pt x="39" y="50"/>
                  </a:cubicBezTo>
                  <a:cubicBezTo>
                    <a:pt x="44" y="53"/>
                    <a:pt x="46" y="47"/>
                    <a:pt x="48" y="45"/>
                  </a:cubicBezTo>
                  <a:cubicBezTo>
                    <a:pt x="51" y="42"/>
                    <a:pt x="53" y="45"/>
                    <a:pt x="56" y="44"/>
                  </a:cubicBezTo>
                  <a:cubicBezTo>
                    <a:pt x="56" y="42"/>
                    <a:pt x="55" y="40"/>
                    <a:pt x="57" y="38"/>
                  </a:cubicBezTo>
                  <a:cubicBezTo>
                    <a:pt x="59" y="36"/>
                    <a:pt x="60" y="37"/>
                    <a:pt x="62" y="37"/>
                  </a:cubicBezTo>
                  <a:cubicBezTo>
                    <a:pt x="66" y="36"/>
                    <a:pt x="66" y="34"/>
                    <a:pt x="68" y="31"/>
                  </a:cubicBezTo>
                  <a:cubicBezTo>
                    <a:pt x="69" y="28"/>
                    <a:pt x="69" y="28"/>
                    <a:pt x="72" y="27"/>
                  </a:cubicBezTo>
                  <a:cubicBezTo>
                    <a:pt x="76" y="25"/>
                    <a:pt x="84" y="25"/>
                    <a:pt x="80" y="20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2" y="16"/>
                    <a:pt x="73" y="15"/>
                    <a:pt x="72" y="13"/>
                  </a:cubicBezTo>
                  <a:cubicBezTo>
                    <a:pt x="76" y="15"/>
                    <a:pt x="87" y="17"/>
                    <a:pt x="90" y="12"/>
                  </a:cubicBezTo>
                  <a:cubicBezTo>
                    <a:pt x="91" y="8"/>
                    <a:pt x="85" y="2"/>
                    <a:pt x="82" y="1"/>
                  </a:cubicBezTo>
                  <a:lnTo>
                    <a:pt x="8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1" name="Freeform 42">
              <a:extLst>
                <a:ext uri="{FF2B5EF4-FFF2-40B4-BE49-F238E27FC236}">
                  <a16:creationId xmlns:a16="http://schemas.microsoft.com/office/drawing/2014/main" id="{94783B5F-A251-4BC7-9AF1-3C6D98E67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3413" y="2960688"/>
              <a:ext cx="101600" cy="79375"/>
            </a:xfrm>
            <a:custGeom>
              <a:avLst/>
              <a:gdLst/>
              <a:ahLst/>
              <a:cxnLst>
                <a:cxn ang="0">
                  <a:pos x="50" y="21"/>
                </a:cxn>
                <a:cxn ang="0">
                  <a:pos x="53" y="27"/>
                </a:cxn>
                <a:cxn ang="0">
                  <a:pos x="44" y="26"/>
                </a:cxn>
                <a:cxn ang="0">
                  <a:pos x="36" y="25"/>
                </a:cxn>
                <a:cxn ang="0">
                  <a:pos x="37" y="34"/>
                </a:cxn>
                <a:cxn ang="0">
                  <a:pos x="38" y="39"/>
                </a:cxn>
                <a:cxn ang="0">
                  <a:pos x="31" y="38"/>
                </a:cxn>
                <a:cxn ang="0">
                  <a:pos x="29" y="36"/>
                </a:cxn>
                <a:cxn ang="0">
                  <a:pos x="28" y="40"/>
                </a:cxn>
                <a:cxn ang="0">
                  <a:pos x="23" y="41"/>
                </a:cxn>
                <a:cxn ang="0">
                  <a:pos x="20" y="36"/>
                </a:cxn>
                <a:cxn ang="0">
                  <a:pos x="14" y="25"/>
                </a:cxn>
                <a:cxn ang="0">
                  <a:pos x="3" y="24"/>
                </a:cxn>
                <a:cxn ang="0">
                  <a:pos x="1" y="19"/>
                </a:cxn>
                <a:cxn ang="0">
                  <a:pos x="1" y="16"/>
                </a:cxn>
                <a:cxn ang="0">
                  <a:pos x="10" y="17"/>
                </a:cxn>
                <a:cxn ang="0">
                  <a:pos x="12" y="16"/>
                </a:cxn>
                <a:cxn ang="0">
                  <a:pos x="16" y="17"/>
                </a:cxn>
                <a:cxn ang="0">
                  <a:pos x="20" y="6"/>
                </a:cxn>
                <a:cxn ang="0">
                  <a:pos x="28" y="4"/>
                </a:cxn>
                <a:cxn ang="0">
                  <a:pos x="34" y="0"/>
                </a:cxn>
                <a:cxn ang="0">
                  <a:pos x="35" y="9"/>
                </a:cxn>
                <a:cxn ang="0">
                  <a:pos x="41" y="10"/>
                </a:cxn>
                <a:cxn ang="0">
                  <a:pos x="43" y="15"/>
                </a:cxn>
                <a:cxn ang="0">
                  <a:pos x="53" y="17"/>
                </a:cxn>
                <a:cxn ang="0">
                  <a:pos x="53" y="23"/>
                </a:cxn>
                <a:cxn ang="0">
                  <a:pos x="50" y="21"/>
                </a:cxn>
              </a:cxnLst>
              <a:rect l="0" t="0" r="r" b="b"/>
              <a:pathLst>
                <a:path w="54" h="42">
                  <a:moveTo>
                    <a:pt x="50" y="21"/>
                  </a:moveTo>
                  <a:cubicBezTo>
                    <a:pt x="50" y="24"/>
                    <a:pt x="54" y="24"/>
                    <a:pt x="53" y="27"/>
                  </a:cubicBezTo>
                  <a:cubicBezTo>
                    <a:pt x="50" y="28"/>
                    <a:pt x="47" y="27"/>
                    <a:pt x="44" y="26"/>
                  </a:cubicBezTo>
                  <a:cubicBezTo>
                    <a:pt x="41" y="24"/>
                    <a:pt x="39" y="21"/>
                    <a:pt x="36" y="25"/>
                  </a:cubicBezTo>
                  <a:cubicBezTo>
                    <a:pt x="34" y="29"/>
                    <a:pt x="34" y="31"/>
                    <a:pt x="37" y="34"/>
                  </a:cubicBezTo>
                  <a:cubicBezTo>
                    <a:pt x="38" y="36"/>
                    <a:pt x="39" y="37"/>
                    <a:pt x="38" y="39"/>
                  </a:cubicBezTo>
                  <a:cubicBezTo>
                    <a:pt x="36" y="39"/>
                    <a:pt x="33" y="39"/>
                    <a:pt x="31" y="38"/>
                  </a:cubicBezTo>
                  <a:cubicBezTo>
                    <a:pt x="30" y="38"/>
                    <a:pt x="31" y="36"/>
                    <a:pt x="29" y="36"/>
                  </a:cubicBezTo>
                  <a:cubicBezTo>
                    <a:pt x="28" y="37"/>
                    <a:pt x="29" y="39"/>
                    <a:pt x="28" y="40"/>
                  </a:cubicBezTo>
                  <a:cubicBezTo>
                    <a:pt x="28" y="42"/>
                    <a:pt x="25" y="42"/>
                    <a:pt x="23" y="41"/>
                  </a:cubicBezTo>
                  <a:cubicBezTo>
                    <a:pt x="20" y="40"/>
                    <a:pt x="20" y="39"/>
                    <a:pt x="20" y="36"/>
                  </a:cubicBezTo>
                  <a:cubicBezTo>
                    <a:pt x="20" y="31"/>
                    <a:pt x="20" y="26"/>
                    <a:pt x="14" y="25"/>
                  </a:cubicBezTo>
                  <a:cubicBezTo>
                    <a:pt x="11" y="25"/>
                    <a:pt x="5" y="27"/>
                    <a:pt x="3" y="24"/>
                  </a:cubicBezTo>
                  <a:cubicBezTo>
                    <a:pt x="2" y="23"/>
                    <a:pt x="1" y="20"/>
                    <a:pt x="1" y="19"/>
                  </a:cubicBezTo>
                  <a:cubicBezTo>
                    <a:pt x="1" y="18"/>
                    <a:pt x="0" y="17"/>
                    <a:pt x="1" y="16"/>
                  </a:cubicBezTo>
                  <a:cubicBezTo>
                    <a:pt x="4" y="15"/>
                    <a:pt x="6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4" y="16"/>
                    <a:pt x="15" y="17"/>
                    <a:pt x="16" y="17"/>
                  </a:cubicBezTo>
                  <a:cubicBezTo>
                    <a:pt x="17" y="12"/>
                    <a:pt x="14" y="9"/>
                    <a:pt x="20" y="6"/>
                  </a:cubicBezTo>
                  <a:cubicBezTo>
                    <a:pt x="22" y="5"/>
                    <a:pt x="25" y="5"/>
                    <a:pt x="28" y="4"/>
                  </a:cubicBezTo>
                  <a:cubicBezTo>
                    <a:pt x="30" y="3"/>
                    <a:pt x="31" y="1"/>
                    <a:pt x="34" y="0"/>
                  </a:cubicBezTo>
                  <a:cubicBezTo>
                    <a:pt x="34" y="3"/>
                    <a:pt x="34" y="6"/>
                    <a:pt x="35" y="9"/>
                  </a:cubicBezTo>
                  <a:cubicBezTo>
                    <a:pt x="37" y="9"/>
                    <a:pt x="39" y="9"/>
                    <a:pt x="41" y="10"/>
                  </a:cubicBezTo>
                  <a:cubicBezTo>
                    <a:pt x="42" y="12"/>
                    <a:pt x="41" y="14"/>
                    <a:pt x="43" y="15"/>
                  </a:cubicBezTo>
                  <a:cubicBezTo>
                    <a:pt x="45" y="17"/>
                    <a:pt x="50" y="14"/>
                    <a:pt x="53" y="17"/>
                  </a:cubicBezTo>
                  <a:cubicBezTo>
                    <a:pt x="53" y="18"/>
                    <a:pt x="54" y="21"/>
                    <a:pt x="53" y="23"/>
                  </a:cubicBezTo>
                  <a:lnTo>
                    <a:pt x="50" y="2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2" name="Freeform 43">
              <a:extLst>
                <a:ext uri="{FF2B5EF4-FFF2-40B4-BE49-F238E27FC236}">
                  <a16:creationId xmlns:a16="http://schemas.microsoft.com/office/drawing/2014/main" id="{BA49F373-3628-4E1B-B41A-8358212930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9250" y="5822950"/>
              <a:ext cx="688975" cy="779463"/>
            </a:xfrm>
            <a:custGeom>
              <a:avLst/>
              <a:gdLst/>
              <a:ahLst/>
              <a:cxnLst>
                <a:cxn ang="0">
                  <a:pos x="116" y="274"/>
                </a:cxn>
                <a:cxn ang="0">
                  <a:pos x="84" y="265"/>
                </a:cxn>
                <a:cxn ang="0">
                  <a:pos x="52" y="293"/>
                </a:cxn>
                <a:cxn ang="0">
                  <a:pos x="79" y="343"/>
                </a:cxn>
                <a:cxn ang="0">
                  <a:pos x="77" y="372"/>
                </a:cxn>
                <a:cxn ang="0">
                  <a:pos x="109" y="379"/>
                </a:cxn>
                <a:cxn ang="0">
                  <a:pos x="139" y="385"/>
                </a:cxn>
                <a:cxn ang="0">
                  <a:pos x="154" y="408"/>
                </a:cxn>
                <a:cxn ang="0">
                  <a:pos x="155" y="380"/>
                </a:cxn>
                <a:cxn ang="0">
                  <a:pos x="142" y="334"/>
                </a:cxn>
                <a:cxn ang="0">
                  <a:pos x="160" y="334"/>
                </a:cxn>
                <a:cxn ang="0">
                  <a:pos x="171" y="346"/>
                </a:cxn>
                <a:cxn ang="0">
                  <a:pos x="183" y="335"/>
                </a:cxn>
                <a:cxn ang="0">
                  <a:pos x="160" y="315"/>
                </a:cxn>
                <a:cxn ang="0">
                  <a:pos x="158" y="293"/>
                </a:cxn>
                <a:cxn ang="0">
                  <a:pos x="18" y="191"/>
                </a:cxn>
                <a:cxn ang="0">
                  <a:pos x="48" y="216"/>
                </a:cxn>
                <a:cxn ang="0">
                  <a:pos x="24" y="239"/>
                </a:cxn>
                <a:cxn ang="0">
                  <a:pos x="40" y="236"/>
                </a:cxn>
                <a:cxn ang="0">
                  <a:pos x="69" y="257"/>
                </a:cxn>
                <a:cxn ang="0">
                  <a:pos x="120" y="261"/>
                </a:cxn>
                <a:cxn ang="0">
                  <a:pos x="155" y="271"/>
                </a:cxn>
                <a:cxn ang="0">
                  <a:pos x="152" y="289"/>
                </a:cxn>
                <a:cxn ang="0">
                  <a:pos x="180" y="295"/>
                </a:cxn>
                <a:cxn ang="0">
                  <a:pos x="211" y="312"/>
                </a:cxn>
                <a:cxn ang="0">
                  <a:pos x="216" y="287"/>
                </a:cxn>
                <a:cxn ang="0">
                  <a:pos x="247" y="294"/>
                </a:cxn>
                <a:cxn ang="0">
                  <a:pos x="224" y="248"/>
                </a:cxn>
                <a:cxn ang="0">
                  <a:pos x="168" y="210"/>
                </a:cxn>
                <a:cxn ang="0">
                  <a:pos x="162" y="230"/>
                </a:cxn>
                <a:cxn ang="0">
                  <a:pos x="176" y="249"/>
                </a:cxn>
                <a:cxn ang="0">
                  <a:pos x="149" y="219"/>
                </a:cxn>
                <a:cxn ang="0">
                  <a:pos x="166" y="201"/>
                </a:cxn>
                <a:cxn ang="0">
                  <a:pos x="155" y="166"/>
                </a:cxn>
                <a:cxn ang="0">
                  <a:pos x="132" y="116"/>
                </a:cxn>
                <a:cxn ang="0">
                  <a:pos x="156" y="96"/>
                </a:cxn>
                <a:cxn ang="0">
                  <a:pos x="178" y="138"/>
                </a:cxn>
                <a:cxn ang="0">
                  <a:pos x="196" y="124"/>
                </a:cxn>
                <a:cxn ang="0">
                  <a:pos x="208" y="110"/>
                </a:cxn>
                <a:cxn ang="0">
                  <a:pos x="238" y="121"/>
                </a:cxn>
                <a:cxn ang="0">
                  <a:pos x="210" y="92"/>
                </a:cxn>
                <a:cxn ang="0">
                  <a:pos x="228" y="72"/>
                </a:cxn>
                <a:cxn ang="0">
                  <a:pos x="275" y="53"/>
                </a:cxn>
                <a:cxn ang="0">
                  <a:pos x="333" y="79"/>
                </a:cxn>
                <a:cxn ang="0">
                  <a:pos x="366" y="22"/>
                </a:cxn>
                <a:cxn ang="0">
                  <a:pos x="338" y="13"/>
                </a:cxn>
                <a:cxn ang="0">
                  <a:pos x="320" y="33"/>
                </a:cxn>
                <a:cxn ang="0">
                  <a:pos x="283" y="36"/>
                </a:cxn>
                <a:cxn ang="0">
                  <a:pos x="258" y="27"/>
                </a:cxn>
                <a:cxn ang="0">
                  <a:pos x="239" y="13"/>
                </a:cxn>
                <a:cxn ang="0">
                  <a:pos x="214" y="17"/>
                </a:cxn>
                <a:cxn ang="0">
                  <a:pos x="180" y="25"/>
                </a:cxn>
                <a:cxn ang="0">
                  <a:pos x="155" y="22"/>
                </a:cxn>
                <a:cxn ang="0">
                  <a:pos x="144" y="40"/>
                </a:cxn>
                <a:cxn ang="0">
                  <a:pos x="118" y="37"/>
                </a:cxn>
                <a:cxn ang="0">
                  <a:pos x="93" y="52"/>
                </a:cxn>
                <a:cxn ang="0">
                  <a:pos x="70" y="57"/>
                </a:cxn>
                <a:cxn ang="0">
                  <a:pos x="50" y="82"/>
                </a:cxn>
                <a:cxn ang="0">
                  <a:pos x="33" y="100"/>
                </a:cxn>
                <a:cxn ang="0">
                  <a:pos x="22" y="120"/>
                </a:cxn>
                <a:cxn ang="0">
                  <a:pos x="12" y="140"/>
                </a:cxn>
                <a:cxn ang="0">
                  <a:pos x="2" y="153"/>
                </a:cxn>
              </a:cxnLst>
              <a:rect l="0" t="0" r="r" b="b"/>
              <a:pathLst>
                <a:path w="368" h="417">
                  <a:moveTo>
                    <a:pt x="155" y="296"/>
                  </a:moveTo>
                  <a:cubicBezTo>
                    <a:pt x="155" y="296"/>
                    <a:pt x="155" y="296"/>
                    <a:pt x="155" y="296"/>
                  </a:cubicBezTo>
                  <a:cubicBezTo>
                    <a:pt x="151" y="295"/>
                    <a:pt x="146" y="291"/>
                    <a:pt x="145" y="290"/>
                  </a:cubicBezTo>
                  <a:cubicBezTo>
                    <a:pt x="144" y="289"/>
                    <a:pt x="142" y="288"/>
                    <a:pt x="141" y="287"/>
                  </a:cubicBezTo>
                  <a:cubicBezTo>
                    <a:pt x="141" y="285"/>
                    <a:pt x="140" y="283"/>
                    <a:pt x="139" y="282"/>
                  </a:cubicBezTo>
                  <a:cubicBezTo>
                    <a:pt x="137" y="281"/>
                    <a:pt x="135" y="282"/>
                    <a:pt x="134" y="281"/>
                  </a:cubicBezTo>
                  <a:cubicBezTo>
                    <a:pt x="132" y="281"/>
                    <a:pt x="131" y="280"/>
                    <a:pt x="129" y="279"/>
                  </a:cubicBezTo>
                  <a:cubicBezTo>
                    <a:pt x="125" y="277"/>
                    <a:pt x="120" y="275"/>
                    <a:pt x="116" y="274"/>
                  </a:cubicBezTo>
                  <a:cubicBezTo>
                    <a:pt x="114" y="273"/>
                    <a:pt x="112" y="272"/>
                    <a:pt x="110" y="271"/>
                  </a:cubicBezTo>
                  <a:cubicBezTo>
                    <a:pt x="109" y="271"/>
                    <a:pt x="108" y="271"/>
                    <a:pt x="107" y="270"/>
                  </a:cubicBezTo>
                  <a:cubicBezTo>
                    <a:pt x="106" y="269"/>
                    <a:pt x="107" y="268"/>
                    <a:pt x="106" y="267"/>
                  </a:cubicBezTo>
                  <a:cubicBezTo>
                    <a:pt x="104" y="265"/>
                    <a:pt x="100" y="267"/>
                    <a:pt x="98" y="264"/>
                  </a:cubicBezTo>
                  <a:cubicBezTo>
                    <a:pt x="97" y="262"/>
                    <a:pt x="97" y="261"/>
                    <a:pt x="94" y="261"/>
                  </a:cubicBezTo>
                  <a:cubicBezTo>
                    <a:pt x="92" y="261"/>
                    <a:pt x="91" y="260"/>
                    <a:pt x="89" y="261"/>
                  </a:cubicBezTo>
                  <a:cubicBezTo>
                    <a:pt x="87" y="261"/>
                    <a:pt x="87" y="262"/>
                    <a:pt x="86" y="263"/>
                  </a:cubicBezTo>
                  <a:cubicBezTo>
                    <a:pt x="85" y="264"/>
                    <a:pt x="85" y="265"/>
                    <a:pt x="84" y="265"/>
                  </a:cubicBezTo>
                  <a:cubicBezTo>
                    <a:pt x="82" y="266"/>
                    <a:pt x="81" y="267"/>
                    <a:pt x="79" y="268"/>
                  </a:cubicBezTo>
                  <a:cubicBezTo>
                    <a:pt x="78" y="268"/>
                    <a:pt x="77" y="270"/>
                    <a:pt x="77" y="270"/>
                  </a:cubicBezTo>
                  <a:cubicBezTo>
                    <a:pt x="75" y="271"/>
                    <a:pt x="73" y="270"/>
                    <a:pt x="71" y="269"/>
                  </a:cubicBezTo>
                  <a:cubicBezTo>
                    <a:pt x="70" y="269"/>
                    <a:pt x="67" y="266"/>
                    <a:pt x="65" y="266"/>
                  </a:cubicBezTo>
                  <a:cubicBezTo>
                    <a:pt x="65" y="269"/>
                    <a:pt x="66" y="274"/>
                    <a:pt x="64" y="276"/>
                  </a:cubicBezTo>
                  <a:cubicBezTo>
                    <a:pt x="63" y="277"/>
                    <a:pt x="61" y="277"/>
                    <a:pt x="60" y="278"/>
                  </a:cubicBezTo>
                  <a:cubicBezTo>
                    <a:pt x="57" y="281"/>
                    <a:pt x="55" y="288"/>
                    <a:pt x="55" y="292"/>
                  </a:cubicBezTo>
                  <a:cubicBezTo>
                    <a:pt x="54" y="292"/>
                    <a:pt x="53" y="293"/>
                    <a:pt x="52" y="293"/>
                  </a:cubicBezTo>
                  <a:cubicBezTo>
                    <a:pt x="51" y="293"/>
                    <a:pt x="49" y="292"/>
                    <a:pt x="48" y="293"/>
                  </a:cubicBezTo>
                  <a:cubicBezTo>
                    <a:pt x="45" y="294"/>
                    <a:pt x="44" y="297"/>
                    <a:pt x="46" y="299"/>
                  </a:cubicBezTo>
                  <a:cubicBezTo>
                    <a:pt x="49" y="302"/>
                    <a:pt x="54" y="301"/>
                    <a:pt x="57" y="304"/>
                  </a:cubicBezTo>
                  <a:cubicBezTo>
                    <a:pt x="60" y="307"/>
                    <a:pt x="56" y="309"/>
                    <a:pt x="57" y="312"/>
                  </a:cubicBezTo>
                  <a:cubicBezTo>
                    <a:pt x="61" y="313"/>
                    <a:pt x="65" y="314"/>
                    <a:pt x="69" y="315"/>
                  </a:cubicBezTo>
                  <a:cubicBezTo>
                    <a:pt x="74" y="316"/>
                    <a:pt x="75" y="319"/>
                    <a:pt x="75" y="325"/>
                  </a:cubicBezTo>
                  <a:cubicBezTo>
                    <a:pt x="75" y="328"/>
                    <a:pt x="74" y="331"/>
                    <a:pt x="75" y="334"/>
                  </a:cubicBezTo>
                  <a:cubicBezTo>
                    <a:pt x="76" y="337"/>
                    <a:pt x="80" y="340"/>
                    <a:pt x="79" y="343"/>
                  </a:cubicBezTo>
                  <a:cubicBezTo>
                    <a:pt x="79" y="345"/>
                    <a:pt x="76" y="345"/>
                    <a:pt x="74" y="345"/>
                  </a:cubicBezTo>
                  <a:cubicBezTo>
                    <a:pt x="70" y="346"/>
                    <a:pt x="70" y="346"/>
                    <a:pt x="71" y="349"/>
                  </a:cubicBezTo>
                  <a:cubicBezTo>
                    <a:pt x="71" y="352"/>
                    <a:pt x="71" y="355"/>
                    <a:pt x="71" y="358"/>
                  </a:cubicBezTo>
                  <a:cubicBezTo>
                    <a:pt x="72" y="359"/>
                    <a:pt x="72" y="361"/>
                    <a:pt x="72" y="361"/>
                  </a:cubicBezTo>
                  <a:cubicBezTo>
                    <a:pt x="73" y="362"/>
                    <a:pt x="74" y="362"/>
                    <a:pt x="74" y="362"/>
                  </a:cubicBezTo>
                  <a:cubicBezTo>
                    <a:pt x="75" y="363"/>
                    <a:pt x="75" y="364"/>
                    <a:pt x="76" y="364"/>
                  </a:cubicBezTo>
                  <a:cubicBezTo>
                    <a:pt x="77" y="366"/>
                    <a:pt x="77" y="368"/>
                    <a:pt x="78" y="370"/>
                  </a:cubicBezTo>
                  <a:cubicBezTo>
                    <a:pt x="78" y="371"/>
                    <a:pt x="77" y="371"/>
                    <a:pt x="77" y="372"/>
                  </a:cubicBezTo>
                  <a:cubicBezTo>
                    <a:pt x="75" y="376"/>
                    <a:pt x="76" y="380"/>
                    <a:pt x="77" y="384"/>
                  </a:cubicBezTo>
                  <a:cubicBezTo>
                    <a:pt x="80" y="384"/>
                    <a:pt x="82" y="384"/>
                    <a:pt x="84" y="386"/>
                  </a:cubicBezTo>
                  <a:cubicBezTo>
                    <a:pt x="85" y="387"/>
                    <a:pt x="86" y="388"/>
                    <a:pt x="87" y="389"/>
                  </a:cubicBezTo>
                  <a:cubicBezTo>
                    <a:pt x="88" y="390"/>
                    <a:pt x="90" y="390"/>
                    <a:pt x="90" y="390"/>
                  </a:cubicBezTo>
                  <a:cubicBezTo>
                    <a:pt x="94" y="385"/>
                    <a:pt x="90" y="377"/>
                    <a:pt x="91" y="371"/>
                  </a:cubicBezTo>
                  <a:cubicBezTo>
                    <a:pt x="92" y="364"/>
                    <a:pt x="98" y="366"/>
                    <a:pt x="103" y="367"/>
                  </a:cubicBezTo>
                  <a:cubicBezTo>
                    <a:pt x="103" y="369"/>
                    <a:pt x="103" y="372"/>
                    <a:pt x="104" y="373"/>
                  </a:cubicBezTo>
                  <a:cubicBezTo>
                    <a:pt x="105" y="375"/>
                    <a:pt x="107" y="377"/>
                    <a:pt x="109" y="379"/>
                  </a:cubicBezTo>
                  <a:cubicBezTo>
                    <a:pt x="111" y="381"/>
                    <a:pt x="112" y="383"/>
                    <a:pt x="113" y="386"/>
                  </a:cubicBezTo>
                  <a:cubicBezTo>
                    <a:pt x="114" y="389"/>
                    <a:pt x="116" y="391"/>
                    <a:pt x="117" y="394"/>
                  </a:cubicBezTo>
                  <a:cubicBezTo>
                    <a:pt x="119" y="400"/>
                    <a:pt x="113" y="411"/>
                    <a:pt x="120" y="414"/>
                  </a:cubicBezTo>
                  <a:cubicBezTo>
                    <a:pt x="126" y="417"/>
                    <a:pt x="124" y="408"/>
                    <a:pt x="124" y="405"/>
                  </a:cubicBezTo>
                  <a:cubicBezTo>
                    <a:pt x="124" y="401"/>
                    <a:pt x="123" y="399"/>
                    <a:pt x="125" y="396"/>
                  </a:cubicBezTo>
                  <a:cubicBezTo>
                    <a:pt x="126" y="393"/>
                    <a:pt x="127" y="392"/>
                    <a:pt x="129" y="390"/>
                  </a:cubicBezTo>
                  <a:cubicBezTo>
                    <a:pt x="132" y="388"/>
                    <a:pt x="131" y="385"/>
                    <a:pt x="135" y="385"/>
                  </a:cubicBezTo>
                  <a:cubicBezTo>
                    <a:pt x="136" y="385"/>
                    <a:pt x="138" y="384"/>
                    <a:pt x="139" y="385"/>
                  </a:cubicBezTo>
                  <a:cubicBezTo>
                    <a:pt x="141" y="385"/>
                    <a:pt x="140" y="386"/>
                    <a:pt x="140" y="387"/>
                  </a:cubicBezTo>
                  <a:cubicBezTo>
                    <a:pt x="141" y="389"/>
                    <a:pt x="140" y="389"/>
                    <a:pt x="141" y="391"/>
                  </a:cubicBezTo>
                  <a:cubicBezTo>
                    <a:pt x="142" y="391"/>
                    <a:pt x="143" y="391"/>
                    <a:pt x="144" y="392"/>
                  </a:cubicBezTo>
                  <a:cubicBezTo>
                    <a:pt x="145" y="393"/>
                    <a:pt x="145" y="393"/>
                    <a:pt x="145" y="394"/>
                  </a:cubicBezTo>
                  <a:cubicBezTo>
                    <a:pt x="146" y="396"/>
                    <a:pt x="145" y="398"/>
                    <a:pt x="146" y="400"/>
                  </a:cubicBezTo>
                  <a:cubicBezTo>
                    <a:pt x="146" y="402"/>
                    <a:pt x="146" y="402"/>
                    <a:pt x="147" y="403"/>
                  </a:cubicBezTo>
                  <a:cubicBezTo>
                    <a:pt x="148" y="405"/>
                    <a:pt x="148" y="406"/>
                    <a:pt x="150" y="407"/>
                  </a:cubicBezTo>
                  <a:cubicBezTo>
                    <a:pt x="151" y="407"/>
                    <a:pt x="153" y="407"/>
                    <a:pt x="154" y="408"/>
                  </a:cubicBezTo>
                  <a:cubicBezTo>
                    <a:pt x="155" y="409"/>
                    <a:pt x="155" y="410"/>
                    <a:pt x="155" y="411"/>
                  </a:cubicBezTo>
                  <a:cubicBezTo>
                    <a:pt x="156" y="412"/>
                    <a:pt x="160" y="415"/>
                    <a:pt x="162" y="415"/>
                  </a:cubicBezTo>
                  <a:cubicBezTo>
                    <a:pt x="162" y="413"/>
                    <a:pt x="160" y="412"/>
                    <a:pt x="160" y="410"/>
                  </a:cubicBezTo>
                  <a:cubicBezTo>
                    <a:pt x="159" y="408"/>
                    <a:pt x="159" y="405"/>
                    <a:pt x="157" y="404"/>
                  </a:cubicBezTo>
                  <a:cubicBezTo>
                    <a:pt x="156" y="401"/>
                    <a:pt x="155" y="402"/>
                    <a:pt x="155" y="399"/>
                  </a:cubicBezTo>
                  <a:cubicBezTo>
                    <a:pt x="155" y="397"/>
                    <a:pt x="154" y="395"/>
                    <a:pt x="155" y="393"/>
                  </a:cubicBezTo>
                  <a:cubicBezTo>
                    <a:pt x="155" y="390"/>
                    <a:pt x="157" y="389"/>
                    <a:pt x="156" y="386"/>
                  </a:cubicBezTo>
                  <a:cubicBezTo>
                    <a:pt x="156" y="384"/>
                    <a:pt x="155" y="382"/>
                    <a:pt x="155" y="380"/>
                  </a:cubicBezTo>
                  <a:cubicBezTo>
                    <a:pt x="154" y="378"/>
                    <a:pt x="155" y="375"/>
                    <a:pt x="155" y="373"/>
                  </a:cubicBezTo>
                  <a:cubicBezTo>
                    <a:pt x="155" y="371"/>
                    <a:pt x="155" y="368"/>
                    <a:pt x="155" y="367"/>
                  </a:cubicBezTo>
                  <a:cubicBezTo>
                    <a:pt x="154" y="366"/>
                    <a:pt x="152" y="365"/>
                    <a:pt x="150" y="363"/>
                  </a:cubicBezTo>
                  <a:cubicBezTo>
                    <a:pt x="149" y="362"/>
                    <a:pt x="149" y="361"/>
                    <a:pt x="149" y="359"/>
                  </a:cubicBezTo>
                  <a:cubicBezTo>
                    <a:pt x="149" y="356"/>
                    <a:pt x="150" y="352"/>
                    <a:pt x="149" y="350"/>
                  </a:cubicBezTo>
                  <a:cubicBezTo>
                    <a:pt x="148" y="349"/>
                    <a:pt x="147" y="348"/>
                    <a:pt x="146" y="347"/>
                  </a:cubicBezTo>
                  <a:cubicBezTo>
                    <a:pt x="145" y="345"/>
                    <a:pt x="144" y="342"/>
                    <a:pt x="144" y="340"/>
                  </a:cubicBezTo>
                  <a:cubicBezTo>
                    <a:pt x="143" y="338"/>
                    <a:pt x="143" y="337"/>
                    <a:pt x="142" y="334"/>
                  </a:cubicBezTo>
                  <a:cubicBezTo>
                    <a:pt x="141" y="333"/>
                    <a:pt x="141" y="332"/>
                    <a:pt x="141" y="331"/>
                  </a:cubicBezTo>
                  <a:cubicBezTo>
                    <a:pt x="140" y="330"/>
                    <a:pt x="139" y="329"/>
                    <a:pt x="139" y="329"/>
                  </a:cubicBezTo>
                  <a:cubicBezTo>
                    <a:pt x="138" y="327"/>
                    <a:pt x="138" y="323"/>
                    <a:pt x="140" y="322"/>
                  </a:cubicBezTo>
                  <a:cubicBezTo>
                    <a:pt x="141" y="322"/>
                    <a:pt x="142" y="324"/>
                    <a:pt x="143" y="325"/>
                  </a:cubicBezTo>
                  <a:cubicBezTo>
                    <a:pt x="145" y="325"/>
                    <a:pt x="147" y="324"/>
                    <a:pt x="149" y="326"/>
                  </a:cubicBezTo>
                  <a:cubicBezTo>
                    <a:pt x="149" y="326"/>
                    <a:pt x="150" y="328"/>
                    <a:pt x="150" y="328"/>
                  </a:cubicBezTo>
                  <a:cubicBezTo>
                    <a:pt x="150" y="329"/>
                    <a:pt x="152" y="330"/>
                    <a:pt x="152" y="330"/>
                  </a:cubicBezTo>
                  <a:cubicBezTo>
                    <a:pt x="154" y="332"/>
                    <a:pt x="158" y="332"/>
                    <a:pt x="160" y="334"/>
                  </a:cubicBezTo>
                  <a:cubicBezTo>
                    <a:pt x="160" y="335"/>
                    <a:pt x="159" y="337"/>
                    <a:pt x="159" y="339"/>
                  </a:cubicBezTo>
                  <a:cubicBezTo>
                    <a:pt x="159" y="341"/>
                    <a:pt x="160" y="343"/>
                    <a:pt x="158" y="345"/>
                  </a:cubicBezTo>
                  <a:cubicBezTo>
                    <a:pt x="157" y="347"/>
                    <a:pt x="155" y="347"/>
                    <a:pt x="156" y="350"/>
                  </a:cubicBezTo>
                  <a:cubicBezTo>
                    <a:pt x="156" y="352"/>
                    <a:pt x="156" y="352"/>
                    <a:pt x="158" y="352"/>
                  </a:cubicBezTo>
                  <a:cubicBezTo>
                    <a:pt x="158" y="352"/>
                    <a:pt x="160" y="352"/>
                    <a:pt x="161" y="352"/>
                  </a:cubicBezTo>
                  <a:cubicBezTo>
                    <a:pt x="163" y="351"/>
                    <a:pt x="163" y="349"/>
                    <a:pt x="165" y="349"/>
                  </a:cubicBezTo>
                  <a:cubicBezTo>
                    <a:pt x="165" y="347"/>
                    <a:pt x="165" y="346"/>
                    <a:pt x="165" y="345"/>
                  </a:cubicBezTo>
                  <a:cubicBezTo>
                    <a:pt x="167" y="345"/>
                    <a:pt x="169" y="346"/>
                    <a:pt x="171" y="346"/>
                  </a:cubicBezTo>
                  <a:cubicBezTo>
                    <a:pt x="173" y="346"/>
                    <a:pt x="180" y="347"/>
                    <a:pt x="180" y="344"/>
                  </a:cubicBezTo>
                  <a:cubicBezTo>
                    <a:pt x="179" y="344"/>
                    <a:pt x="178" y="344"/>
                    <a:pt x="177" y="344"/>
                  </a:cubicBezTo>
                  <a:cubicBezTo>
                    <a:pt x="175" y="343"/>
                    <a:pt x="174" y="343"/>
                    <a:pt x="172" y="343"/>
                  </a:cubicBezTo>
                  <a:cubicBezTo>
                    <a:pt x="170" y="343"/>
                    <a:pt x="168" y="342"/>
                    <a:pt x="170" y="339"/>
                  </a:cubicBezTo>
                  <a:cubicBezTo>
                    <a:pt x="171" y="339"/>
                    <a:pt x="172" y="340"/>
                    <a:pt x="172" y="339"/>
                  </a:cubicBezTo>
                  <a:cubicBezTo>
                    <a:pt x="172" y="339"/>
                    <a:pt x="173" y="338"/>
                    <a:pt x="173" y="338"/>
                  </a:cubicBezTo>
                  <a:cubicBezTo>
                    <a:pt x="173" y="337"/>
                    <a:pt x="174" y="336"/>
                    <a:pt x="175" y="336"/>
                  </a:cubicBezTo>
                  <a:cubicBezTo>
                    <a:pt x="177" y="334"/>
                    <a:pt x="180" y="336"/>
                    <a:pt x="183" y="335"/>
                  </a:cubicBezTo>
                  <a:cubicBezTo>
                    <a:pt x="184" y="333"/>
                    <a:pt x="184" y="331"/>
                    <a:pt x="183" y="330"/>
                  </a:cubicBezTo>
                  <a:cubicBezTo>
                    <a:pt x="182" y="329"/>
                    <a:pt x="177" y="327"/>
                    <a:pt x="176" y="327"/>
                  </a:cubicBezTo>
                  <a:cubicBezTo>
                    <a:pt x="174" y="327"/>
                    <a:pt x="172" y="329"/>
                    <a:pt x="170" y="329"/>
                  </a:cubicBezTo>
                  <a:cubicBezTo>
                    <a:pt x="169" y="328"/>
                    <a:pt x="169" y="326"/>
                    <a:pt x="167" y="325"/>
                  </a:cubicBezTo>
                  <a:cubicBezTo>
                    <a:pt x="166" y="325"/>
                    <a:pt x="166" y="326"/>
                    <a:pt x="165" y="326"/>
                  </a:cubicBezTo>
                  <a:cubicBezTo>
                    <a:pt x="164" y="326"/>
                    <a:pt x="161" y="324"/>
                    <a:pt x="161" y="323"/>
                  </a:cubicBezTo>
                  <a:cubicBezTo>
                    <a:pt x="160" y="321"/>
                    <a:pt x="161" y="319"/>
                    <a:pt x="161" y="318"/>
                  </a:cubicBezTo>
                  <a:cubicBezTo>
                    <a:pt x="161" y="317"/>
                    <a:pt x="160" y="316"/>
                    <a:pt x="160" y="315"/>
                  </a:cubicBezTo>
                  <a:cubicBezTo>
                    <a:pt x="159" y="313"/>
                    <a:pt x="160" y="313"/>
                    <a:pt x="161" y="312"/>
                  </a:cubicBezTo>
                  <a:cubicBezTo>
                    <a:pt x="162" y="310"/>
                    <a:pt x="162" y="311"/>
                    <a:pt x="162" y="309"/>
                  </a:cubicBezTo>
                  <a:cubicBezTo>
                    <a:pt x="162" y="305"/>
                    <a:pt x="162" y="304"/>
                    <a:pt x="159" y="301"/>
                  </a:cubicBezTo>
                  <a:cubicBezTo>
                    <a:pt x="157" y="300"/>
                    <a:pt x="154" y="299"/>
                    <a:pt x="155" y="296"/>
                  </a:cubicBezTo>
                  <a:moveTo>
                    <a:pt x="158" y="293"/>
                  </a:moveTo>
                  <a:cubicBezTo>
                    <a:pt x="156" y="293"/>
                    <a:pt x="155" y="294"/>
                    <a:pt x="155" y="296"/>
                  </a:cubicBezTo>
                  <a:cubicBezTo>
                    <a:pt x="156" y="296"/>
                    <a:pt x="157" y="295"/>
                    <a:pt x="158" y="294"/>
                  </a:cubicBezTo>
                  <a:cubicBezTo>
                    <a:pt x="158" y="293"/>
                    <a:pt x="158" y="293"/>
                    <a:pt x="158" y="293"/>
                  </a:cubicBezTo>
                  <a:moveTo>
                    <a:pt x="0" y="153"/>
                  </a:moveTo>
                  <a:cubicBezTo>
                    <a:pt x="0" y="154"/>
                    <a:pt x="0" y="155"/>
                    <a:pt x="0" y="156"/>
                  </a:cubicBezTo>
                  <a:cubicBezTo>
                    <a:pt x="0" y="158"/>
                    <a:pt x="1" y="159"/>
                    <a:pt x="1" y="161"/>
                  </a:cubicBezTo>
                  <a:cubicBezTo>
                    <a:pt x="2" y="163"/>
                    <a:pt x="2" y="164"/>
                    <a:pt x="2" y="165"/>
                  </a:cubicBezTo>
                  <a:cubicBezTo>
                    <a:pt x="2" y="169"/>
                    <a:pt x="2" y="171"/>
                    <a:pt x="4" y="174"/>
                  </a:cubicBezTo>
                  <a:cubicBezTo>
                    <a:pt x="6" y="176"/>
                    <a:pt x="7" y="179"/>
                    <a:pt x="8" y="181"/>
                  </a:cubicBezTo>
                  <a:cubicBezTo>
                    <a:pt x="10" y="183"/>
                    <a:pt x="13" y="182"/>
                    <a:pt x="15" y="182"/>
                  </a:cubicBezTo>
                  <a:cubicBezTo>
                    <a:pt x="18" y="184"/>
                    <a:pt x="18" y="188"/>
                    <a:pt x="18" y="191"/>
                  </a:cubicBezTo>
                  <a:cubicBezTo>
                    <a:pt x="19" y="196"/>
                    <a:pt x="23" y="197"/>
                    <a:pt x="26" y="200"/>
                  </a:cubicBezTo>
                  <a:cubicBezTo>
                    <a:pt x="28" y="202"/>
                    <a:pt x="29" y="204"/>
                    <a:pt x="30" y="207"/>
                  </a:cubicBezTo>
                  <a:cubicBezTo>
                    <a:pt x="33" y="208"/>
                    <a:pt x="33" y="202"/>
                    <a:pt x="34" y="200"/>
                  </a:cubicBezTo>
                  <a:cubicBezTo>
                    <a:pt x="35" y="199"/>
                    <a:pt x="39" y="198"/>
                    <a:pt x="41" y="199"/>
                  </a:cubicBezTo>
                  <a:cubicBezTo>
                    <a:pt x="43" y="200"/>
                    <a:pt x="42" y="204"/>
                    <a:pt x="43" y="205"/>
                  </a:cubicBezTo>
                  <a:cubicBezTo>
                    <a:pt x="45" y="207"/>
                    <a:pt x="48" y="205"/>
                    <a:pt x="51" y="206"/>
                  </a:cubicBezTo>
                  <a:cubicBezTo>
                    <a:pt x="53" y="206"/>
                    <a:pt x="53" y="207"/>
                    <a:pt x="54" y="209"/>
                  </a:cubicBezTo>
                  <a:cubicBezTo>
                    <a:pt x="57" y="214"/>
                    <a:pt x="54" y="217"/>
                    <a:pt x="48" y="216"/>
                  </a:cubicBezTo>
                  <a:cubicBezTo>
                    <a:pt x="48" y="214"/>
                    <a:pt x="49" y="211"/>
                    <a:pt x="48" y="210"/>
                  </a:cubicBezTo>
                  <a:cubicBezTo>
                    <a:pt x="47" y="208"/>
                    <a:pt x="38" y="209"/>
                    <a:pt x="36" y="210"/>
                  </a:cubicBezTo>
                  <a:cubicBezTo>
                    <a:pt x="30" y="211"/>
                    <a:pt x="32" y="215"/>
                    <a:pt x="32" y="220"/>
                  </a:cubicBezTo>
                  <a:cubicBezTo>
                    <a:pt x="30" y="219"/>
                    <a:pt x="30" y="216"/>
                    <a:pt x="28" y="215"/>
                  </a:cubicBezTo>
                  <a:cubicBezTo>
                    <a:pt x="25" y="215"/>
                    <a:pt x="23" y="218"/>
                    <a:pt x="22" y="220"/>
                  </a:cubicBezTo>
                  <a:cubicBezTo>
                    <a:pt x="21" y="222"/>
                    <a:pt x="22" y="223"/>
                    <a:pt x="20" y="224"/>
                  </a:cubicBezTo>
                  <a:cubicBezTo>
                    <a:pt x="18" y="227"/>
                    <a:pt x="14" y="230"/>
                    <a:pt x="15" y="233"/>
                  </a:cubicBezTo>
                  <a:cubicBezTo>
                    <a:pt x="19" y="234"/>
                    <a:pt x="20" y="238"/>
                    <a:pt x="24" y="239"/>
                  </a:cubicBezTo>
                  <a:cubicBezTo>
                    <a:pt x="25" y="239"/>
                    <a:pt x="28" y="238"/>
                    <a:pt x="29" y="236"/>
                  </a:cubicBezTo>
                  <a:cubicBezTo>
                    <a:pt x="31" y="233"/>
                    <a:pt x="29" y="233"/>
                    <a:pt x="28" y="231"/>
                  </a:cubicBezTo>
                  <a:cubicBezTo>
                    <a:pt x="27" y="230"/>
                    <a:pt x="28" y="227"/>
                    <a:pt x="28" y="226"/>
                  </a:cubicBezTo>
                  <a:cubicBezTo>
                    <a:pt x="29" y="226"/>
                    <a:pt x="30" y="227"/>
                    <a:pt x="32" y="226"/>
                  </a:cubicBezTo>
                  <a:cubicBezTo>
                    <a:pt x="32" y="224"/>
                    <a:pt x="32" y="223"/>
                    <a:pt x="34" y="224"/>
                  </a:cubicBezTo>
                  <a:cubicBezTo>
                    <a:pt x="34" y="225"/>
                    <a:pt x="34" y="226"/>
                    <a:pt x="34" y="227"/>
                  </a:cubicBezTo>
                  <a:cubicBezTo>
                    <a:pt x="35" y="227"/>
                    <a:pt x="36" y="227"/>
                    <a:pt x="37" y="227"/>
                  </a:cubicBezTo>
                  <a:cubicBezTo>
                    <a:pt x="40" y="230"/>
                    <a:pt x="40" y="232"/>
                    <a:pt x="40" y="236"/>
                  </a:cubicBezTo>
                  <a:cubicBezTo>
                    <a:pt x="40" y="238"/>
                    <a:pt x="39" y="240"/>
                    <a:pt x="40" y="242"/>
                  </a:cubicBezTo>
                  <a:cubicBezTo>
                    <a:pt x="41" y="243"/>
                    <a:pt x="44" y="245"/>
                    <a:pt x="46" y="246"/>
                  </a:cubicBezTo>
                  <a:cubicBezTo>
                    <a:pt x="48" y="247"/>
                    <a:pt x="49" y="247"/>
                    <a:pt x="48" y="250"/>
                  </a:cubicBezTo>
                  <a:cubicBezTo>
                    <a:pt x="47" y="252"/>
                    <a:pt x="46" y="252"/>
                    <a:pt x="46" y="254"/>
                  </a:cubicBezTo>
                  <a:cubicBezTo>
                    <a:pt x="45" y="258"/>
                    <a:pt x="46" y="261"/>
                    <a:pt x="51" y="261"/>
                  </a:cubicBezTo>
                  <a:cubicBezTo>
                    <a:pt x="54" y="262"/>
                    <a:pt x="57" y="260"/>
                    <a:pt x="59" y="258"/>
                  </a:cubicBezTo>
                  <a:cubicBezTo>
                    <a:pt x="61" y="257"/>
                    <a:pt x="63" y="256"/>
                    <a:pt x="65" y="256"/>
                  </a:cubicBezTo>
                  <a:cubicBezTo>
                    <a:pt x="67" y="256"/>
                    <a:pt x="68" y="256"/>
                    <a:pt x="69" y="257"/>
                  </a:cubicBezTo>
                  <a:cubicBezTo>
                    <a:pt x="70" y="258"/>
                    <a:pt x="69" y="260"/>
                    <a:pt x="71" y="260"/>
                  </a:cubicBezTo>
                  <a:cubicBezTo>
                    <a:pt x="71" y="255"/>
                    <a:pt x="77" y="260"/>
                    <a:pt x="79" y="260"/>
                  </a:cubicBezTo>
                  <a:cubicBezTo>
                    <a:pt x="81" y="260"/>
                    <a:pt x="83" y="258"/>
                    <a:pt x="86" y="258"/>
                  </a:cubicBezTo>
                  <a:cubicBezTo>
                    <a:pt x="88" y="258"/>
                    <a:pt x="91" y="259"/>
                    <a:pt x="91" y="256"/>
                  </a:cubicBezTo>
                  <a:cubicBezTo>
                    <a:pt x="95" y="256"/>
                    <a:pt x="100" y="256"/>
                    <a:pt x="103" y="258"/>
                  </a:cubicBezTo>
                  <a:cubicBezTo>
                    <a:pt x="107" y="259"/>
                    <a:pt x="110" y="262"/>
                    <a:pt x="115" y="262"/>
                  </a:cubicBezTo>
                  <a:cubicBezTo>
                    <a:pt x="116" y="262"/>
                    <a:pt x="117" y="262"/>
                    <a:pt x="118" y="262"/>
                  </a:cubicBezTo>
                  <a:cubicBezTo>
                    <a:pt x="119" y="262"/>
                    <a:pt x="119" y="261"/>
                    <a:pt x="120" y="261"/>
                  </a:cubicBezTo>
                  <a:cubicBezTo>
                    <a:pt x="121" y="260"/>
                    <a:pt x="123" y="259"/>
                    <a:pt x="124" y="259"/>
                  </a:cubicBezTo>
                  <a:cubicBezTo>
                    <a:pt x="126" y="259"/>
                    <a:pt x="125" y="261"/>
                    <a:pt x="126" y="263"/>
                  </a:cubicBezTo>
                  <a:cubicBezTo>
                    <a:pt x="127" y="265"/>
                    <a:pt x="129" y="267"/>
                    <a:pt x="132" y="266"/>
                  </a:cubicBezTo>
                  <a:cubicBezTo>
                    <a:pt x="133" y="264"/>
                    <a:pt x="131" y="260"/>
                    <a:pt x="134" y="259"/>
                  </a:cubicBezTo>
                  <a:cubicBezTo>
                    <a:pt x="138" y="259"/>
                    <a:pt x="137" y="267"/>
                    <a:pt x="139" y="269"/>
                  </a:cubicBezTo>
                  <a:cubicBezTo>
                    <a:pt x="139" y="266"/>
                    <a:pt x="139" y="266"/>
                    <a:pt x="141" y="266"/>
                  </a:cubicBezTo>
                  <a:cubicBezTo>
                    <a:pt x="144" y="265"/>
                    <a:pt x="146" y="267"/>
                    <a:pt x="148" y="268"/>
                  </a:cubicBezTo>
                  <a:cubicBezTo>
                    <a:pt x="150" y="270"/>
                    <a:pt x="152" y="270"/>
                    <a:pt x="155" y="271"/>
                  </a:cubicBezTo>
                  <a:cubicBezTo>
                    <a:pt x="157" y="272"/>
                    <a:pt x="159" y="274"/>
                    <a:pt x="161" y="275"/>
                  </a:cubicBezTo>
                  <a:cubicBezTo>
                    <a:pt x="164" y="276"/>
                    <a:pt x="167" y="275"/>
                    <a:pt x="170" y="275"/>
                  </a:cubicBezTo>
                  <a:cubicBezTo>
                    <a:pt x="172" y="275"/>
                    <a:pt x="173" y="275"/>
                    <a:pt x="171" y="278"/>
                  </a:cubicBezTo>
                  <a:cubicBezTo>
                    <a:pt x="171" y="279"/>
                    <a:pt x="169" y="280"/>
                    <a:pt x="168" y="281"/>
                  </a:cubicBezTo>
                  <a:cubicBezTo>
                    <a:pt x="168" y="282"/>
                    <a:pt x="166" y="283"/>
                    <a:pt x="165" y="283"/>
                  </a:cubicBezTo>
                  <a:cubicBezTo>
                    <a:pt x="163" y="284"/>
                    <a:pt x="161" y="282"/>
                    <a:pt x="158" y="282"/>
                  </a:cubicBezTo>
                  <a:cubicBezTo>
                    <a:pt x="155" y="282"/>
                    <a:pt x="149" y="282"/>
                    <a:pt x="150" y="286"/>
                  </a:cubicBezTo>
                  <a:cubicBezTo>
                    <a:pt x="151" y="288"/>
                    <a:pt x="151" y="288"/>
                    <a:pt x="152" y="289"/>
                  </a:cubicBezTo>
                  <a:cubicBezTo>
                    <a:pt x="153" y="290"/>
                    <a:pt x="152" y="290"/>
                    <a:pt x="153" y="291"/>
                  </a:cubicBezTo>
                  <a:cubicBezTo>
                    <a:pt x="154" y="292"/>
                    <a:pt x="155" y="291"/>
                    <a:pt x="155" y="291"/>
                  </a:cubicBezTo>
                  <a:cubicBezTo>
                    <a:pt x="156" y="292"/>
                    <a:pt x="157" y="292"/>
                    <a:pt x="158" y="293"/>
                  </a:cubicBezTo>
                  <a:cubicBezTo>
                    <a:pt x="159" y="292"/>
                    <a:pt x="160" y="292"/>
                    <a:pt x="161" y="292"/>
                  </a:cubicBezTo>
                  <a:cubicBezTo>
                    <a:pt x="160" y="289"/>
                    <a:pt x="162" y="290"/>
                    <a:pt x="163" y="291"/>
                  </a:cubicBezTo>
                  <a:cubicBezTo>
                    <a:pt x="165" y="291"/>
                    <a:pt x="164" y="292"/>
                    <a:pt x="166" y="292"/>
                  </a:cubicBezTo>
                  <a:cubicBezTo>
                    <a:pt x="169" y="292"/>
                    <a:pt x="171" y="288"/>
                    <a:pt x="175" y="287"/>
                  </a:cubicBezTo>
                  <a:cubicBezTo>
                    <a:pt x="179" y="287"/>
                    <a:pt x="181" y="291"/>
                    <a:pt x="180" y="295"/>
                  </a:cubicBezTo>
                  <a:cubicBezTo>
                    <a:pt x="180" y="297"/>
                    <a:pt x="178" y="299"/>
                    <a:pt x="179" y="302"/>
                  </a:cubicBezTo>
                  <a:cubicBezTo>
                    <a:pt x="181" y="303"/>
                    <a:pt x="184" y="302"/>
                    <a:pt x="187" y="301"/>
                  </a:cubicBezTo>
                  <a:cubicBezTo>
                    <a:pt x="187" y="297"/>
                    <a:pt x="186" y="292"/>
                    <a:pt x="186" y="288"/>
                  </a:cubicBezTo>
                  <a:cubicBezTo>
                    <a:pt x="188" y="287"/>
                    <a:pt x="188" y="288"/>
                    <a:pt x="190" y="289"/>
                  </a:cubicBezTo>
                  <a:cubicBezTo>
                    <a:pt x="191" y="289"/>
                    <a:pt x="194" y="289"/>
                    <a:pt x="195" y="290"/>
                  </a:cubicBezTo>
                  <a:cubicBezTo>
                    <a:pt x="199" y="293"/>
                    <a:pt x="197" y="298"/>
                    <a:pt x="198" y="302"/>
                  </a:cubicBezTo>
                  <a:cubicBezTo>
                    <a:pt x="198" y="305"/>
                    <a:pt x="201" y="309"/>
                    <a:pt x="203" y="311"/>
                  </a:cubicBezTo>
                  <a:cubicBezTo>
                    <a:pt x="206" y="313"/>
                    <a:pt x="208" y="312"/>
                    <a:pt x="211" y="312"/>
                  </a:cubicBezTo>
                  <a:cubicBezTo>
                    <a:pt x="211" y="314"/>
                    <a:pt x="211" y="315"/>
                    <a:pt x="211" y="316"/>
                  </a:cubicBezTo>
                  <a:cubicBezTo>
                    <a:pt x="212" y="317"/>
                    <a:pt x="211" y="318"/>
                    <a:pt x="211" y="320"/>
                  </a:cubicBezTo>
                  <a:cubicBezTo>
                    <a:pt x="212" y="323"/>
                    <a:pt x="213" y="323"/>
                    <a:pt x="216" y="322"/>
                  </a:cubicBezTo>
                  <a:cubicBezTo>
                    <a:pt x="217" y="319"/>
                    <a:pt x="216" y="316"/>
                    <a:pt x="216" y="312"/>
                  </a:cubicBezTo>
                  <a:cubicBezTo>
                    <a:pt x="216" y="309"/>
                    <a:pt x="216" y="306"/>
                    <a:pt x="215" y="303"/>
                  </a:cubicBezTo>
                  <a:cubicBezTo>
                    <a:pt x="215" y="301"/>
                    <a:pt x="214" y="299"/>
                    <a:pt x="214" y="297"/>
                  </a:cubicBezTo>
                  <a:cubicBezTo>
                    <a:pt x="215" y="295"/>
                    <a:pt x="216" y="294"/>
                    <a:pt x="216" y="293"/>
                  </a:cubicBezTo>
                  <a:cubicBezTo>
                    <a:pt x="216" y="291"/>
                    <a:pt x="216" y="288"/>
                    <a:pt x="216" y="287"/>
                  </a:cubicBezTo>
                  <a:cubicBezTo>
                    <a:pt x="215" y="285"/>
                    <a:pt x="214" y="285"/>
                    <a:pt x="214" y="283"/>
                  </a:cubicBezTo>
                  <a:cubicBezTo>
                    <a:pt x="213" y="281"/>
                    <a:pt x="215" y="280"/>
                    <a:pt x="216" y="278"/>
                  </a:cubicBezTo>
                  <a:cubicBezTo>
                    <a:pt x="216" y="277"/>
                    <a:pt x="220" y="272"/>
                    <a:pt x="221" y="272"/>
                  </a:cubicBezTo>
                  <a:cubicBezTo>
                    <a:pt x="223" y="272"/>
                    <a:pt x="226" y="280"/>
                    <a:pt x="227" y="282"/>
                  </a:cubicBezTo>
                  <a:cubicBezTo>
                    <a:pt x="229" y="284"/>
                    <a:pt x="230" y="286"/>
                    <a:pt x="231" y="288"/>
                  </a:cubicBezTo>
                  <a:cubicBezTo>
                    <a:pt x="232" y="291"/>
                    <a:pt x="233" y="291"/>
                    <a:pt x="235" y="293"/>
                  </a:cubicBezTo>
                  <a:cubicBezTo>
                    <a:pt x="237" y="296"/>
                    <a:pt x="238" y="298"/>
                    <a:pt x="241" y="297"/>
                  </a:cubicBezTo>
                  <a:cubicBezTo>
                    <a:pt x="244" y="297"/>
                    <a:pt x="246" y="296"/>
                    <a:pt x="247" y="294"/>
                  </a:cubicBezTo>
                  <a:cubicBezTo>
                    <a:pt x="250" y="292"/>
                    <a:pt x="250" y="286"/>
                    <a:pt x="249" y="283"/>
                  </a:cubicBezTo>
                  <a:cubicBezTo>
                    <a:pt x="247" y="279"/>
                    <a:pt x="241" y="281"/>
                    <a:pt x="238" y="280"/>
                  </a:cubicBezTo>
                  <a:cubicBezTo>
                    <a:pt x="235" y="279"/>
                    <a:pt x="233" y="279"/>
                    <a:pt x="231" y="277"/>
                  </a:cubicBezTo>
                  <a:cubicBezTo>
                    <a:pt x="230" y="276"/>
                    <a:pt x="230" y="274"/>
                    <a:pt x="229" y="273"/>
                  </a:cubicBezTo>
                  <a:cubicBezTo>
                    <a:pt x="228" y="273"/>
                    <a:pt x="226" y="272"/>
                    <a:pt x="225" y="271"/>
                  </a:cubicBezTo>
                  <a:cubicBezTo>
                    <a:pt x="223" y="270"/>
                    <a:pt x="221" y="268"/>
                    <a:pt x="220" y="265"/>
                  </a:cubicBezTo>
                  <a:cubicBezTo>
                    <a:pt x="217" y="261"/>
                    <a:pt x="216" y="258"/>
                    <a:pt x="220" y="254"/>
                  </a:cubicBezTo>
                  <a:cubicBezTo>
                    <a:pt x="222" y="252"/>
                    <a:pt x="224" y="252"/>
                    <a:pt x="224" y="248"/>
                  </a:cubicBezTo>
                  <a:cubicBezTo>
                    <a:pt x="224" y="247"/>
                    <a:pt x="224" y="246"/>
                    <a:pt x="222" y="245"/>
                  </a:cubicBezTo>
                  <a:cubicBezTo>
                    <a:pt x="217" y="242"/>
                    <a:pt x="209" y="241"/>
                    <a:pt x="204" y="238"/>
                  </a:cubicBezTo>
                  <a:cubicBezTo>
                    <a:pt x="203" y="237"/>
                    <a:pt x="203" y="236"/>
                    <a:pt x="202" y="236"/>
                  </a:cubicBezTo>
                  <a:cubicBezTo>
                    <a:pt x="201" y="235"/>
                    <a:pt x="199" y="234"/>
                    <a:pt x="198" y="234"/>
                  </a:cubicBezTo>
                  <a:cubicBezTo>
                    <a:pt x="196" y="233"/>
                    <a:pt x="195" y="232"/>
                    <a:pt x="193" y="231"/>
                  </a:cubicBezTo>
                  <a:cubicBezTo>
                    <a:pt x="190" y="228"/>
                    <a:pt x="183" y="229"/>
                    <a:pt x="182" y="224"/>
                  </a:cubicBezTo>
                  <a:cubicBezTo>
                    <a:pt x="180" y="219"/>
                    <a:pt x="182" y="214"/>
                    <a:pt x="181" y="209"/>
                  </a:cubicBezTo>
                  <a:cubicBezTo>
                    <a:pt x="177" y="210"/>
                    <a:pt x="172" y="209"/>
                    <a:pt x="168" y="210"/>
                  </a:cubicBezTo>
                  <a:cubicBezTo>
                    <a:pt x="167" y="211"/>
                    <a:pt x="165" y="211"/>
                    <a:pt x="164" y="213"/>
                  </a:cubicBezTo>
                  <a:cubicBezTo>
                    <a:pt x="163" y="214"/>
                    <a:pt x="164" y="215"/>
                    <a:pt x="163" y="216"/>
                  </a:cubicBezTo>
                  <a:cubicBezTo>
                    <a:pt x="161" y="218"/>
                    <a:pt x="157" y="218"/>
                    <a:pt x="155" y="218"/>
                  </a:cubicBezTo>
                  <a:cubicBezTo>
                    <a:pt x="151" y="218"/>
                    <a:pt x="145" y="220"/>
                    <a:pt x="145" y="224"/>
                  </a:cubicBezTo>
                  <a:cubicBezTo>
                    <a:pt x="148" y="225"/>
                    <a:pt x="148" y="225"/>
                    <a:pt x="150" y="226"/>
                  </a:cubicBezTo>
                  <a:cubicBezTo>
                    <a:pt x="152" y="228"/>
                    <a:pt x="155" y="229"/>
                    <a:pt x="157" y="229"/>
                  </a:cubicBezTo>
                  <a:cubicBezTo>
                    <a:pt x="158" y="229"/>
                    <a:pt x="159" y="229"/>
                    <a:pt x="160" y="229"/>
                  </a:cubicBezTo>
                  <a:cubicBezTo>
                    <a:pt x="161" y="229"/>
                    <a:pt x="161" y="230"/>
                    <a:pt x="162" y="230"/>
                  </a:cubicBezTo>
                  <a:cubicBezTo>
                    <a:pt x="165" y="231"/>
                    <a:pt x="167" y="230"/>
                    <a:pt x="169" y="231"/>
                  </a:cubicBezTo>
                  <a:cubicBezTo>
                    <a:pt x="170" y="232"/>
                    <a:pt x="172" y="233"/>
                    <a:pt x="172" y="234"/>
                  </a:cubicBezTo>
                  <a:cubicBezTo>
                    <a:pt x="173" y="235"/>
                    <a:pt x="172" y="237"/>
                    <a:pt x="172" y="239"/>
                  </a:cubicBezTo>
                  <a:cubicBezTo>
                    <a:pt x="173" y="241"/>
                    <a:pt x="177" y="241"/>
                    <a:pt x="180" y="242"/>
                  </a:cubicBezTo>
                  <a:cubicBezTo>
                    <a:pt x="182" y="243"/>
                    <a:pt x="189" y="246"/>
                    <a:pt x="189" y="249"/>
                  </a:cubicBezTo>
                  <a:cubicBezTo>
                    <a:pt x="189" y="250"/>
                    <a:pt x="188" y="252"/>
                    <a:pt x="186" y="253"/>
                  </a:cubicBezTo>
                  <a:cubicBezTo>
                    <a:pt x="184" y="254"/>
                    <a:pt x="178" y="254"/>
                    <a:pt x="177" y="252"/>
                  </a:cubicBezTo>
                  <a:cubicBezTo>
                    <a:pt x="176" y="252"/>
                    <a:pt x="177" y="250"/>
                    <a:pt x="176" y="249"/>
                  </a:cubicBezTo>
                  <a:cubicBezTo>
                    <a:pt x="175" y="248"/>
                    <a:pt x="175" y="247"/>
                    <a:pt x="174" y="246"/>
                  </a:cubicBezTo>
                  <a:cubicBezTo>
                    <a:pt x="170" y="244"/>
                    <a:pt x="167" y="241"/>
                    <a:pt x="164" y="239"/>
                  </a:cubicBezTo>
                  <a:cubicBezTo>
                    <a:pt x="163" y="238"/>
                    <a:pt x="161" y="237"/>
                    <a:pt x="160" y="236"/>
                  </a:cubicBezTo>
                  <a:cubicBezTo>
                    <a:pt x="158" y="234"/>
                    <a:pt x="157" y="234"/>
                    <a:pt x="154" y="233"/>
                  </a:cubicBezTo>
                  <a:cubicBezTo>
                    <a:pt x="151" y="232"/>
                    <a:pt x="148" y="229"/>
                    <a:pt x="145" y="228"/>
                  </a:cubicBezTo>
                  <a:cubicBezTo>
                    <a:pt x="142" y="228"/>
                    <a:pt x="132" y="227"/>
                    <a:pt x="133" y="223"/>
                  </a:cubicBezTo>
                  <a:cubicBezTo>
                    <a:pt x="133" y="219"/>
                    <a:pt x="139" y="221"/>
                    <a:pt x="141" y="221"/>
                  </a:cubicBezTo>
                  <a:cubicBezTo>
                    <a:pt x="145" y="222"/>
                    <a:pt x="146" y="221"/>
                    <a:pt x="149" y="219"/>
                  </a:cubicBezTo>
                  <a:cubicBezTo>
                    <a:pt x="152" y="217"/>
                    <a:pt x="157" y="217"/>
                    <a:pt x="161" y="215"/>
                  </a:cubicBezTo>
                  <a:cubicBezTo>
                    <a:pt x="157" y="216"/>
                    <a:pt x="157" y="209"/>
                    <a:pt x="157" y="207"/>
                  </a:cubicBezTo>
                  <a:cubicBezTo>
                    <a:pt x="157" y="205"/>
                    <a:pt x="156" y="205"/>
                    <a:pt x="156" y="204"/>
                  </a:cubicBezTo>
                  <a:cubicBezTo>
                    <a:pt x="155" y="202"/>
                    <a:pt x="156" y="202"/>
                    <a:pt x="155" y="200"/>
                  </a:cubicBezTo>
                  <a:cubicBezTo>
                    <a:pt x="153" y="198"/>
                    <a:pt x="150" y="196"/>
                    <a:pt x="150" y="193"/>
                  </a:cubicBezTo>
                  <a:cubicBezTo>
                    <a:pt x="151" y="191"/>
                    <a:pt x="153" y="189"/>
                    <a:pt x="154" y="188"/>
                  </a:cubicBezTo>
                  <a:cubicBezTo>
                    <a:pt x="157" y="185"/>
                    <a:pt x="161" y="186"/>
                    <a:pt x="163" y="189"/>
                  </a:cubicBezTo>
                  <a:cubicBezTo>
                    <a:pt x="165" y="192"/>
                    <a:pt x="163" y="199"/>
                    <a:pt x="166" y="201"/>
                  </a:cubicBezTo>
                  <a:cubicBezTo>
                    <a:pt x="168" y="202"/>
                    <a:pt x="174" y="199"/>
                    <a:pt x="175" y="198"/>
                  </a:cubicBezTo>
                  <a:cubicBezTo>
                    <a:pt x="178" y="197"/>
                    <a:pt x="177" y="193"/>
                    <a:pt x="175" y="192"/>
                  </a:cubicBezTo>
                  <a:cubicBezTo>
                    <a:pt x="173" y="190"/>
                    <a:pt x="171" y="189"/>
                    <a:pt x="170" y="187"/>
                  </a:cubicBezTo>
                  <a:cubicBezTo>
                    <a:pt x="169" y="185"/>
                    <a:pt x="169" y="184"/>
                    <a:pt x="168" y="182"/>
                  </a:cubicBezTo>
                  <a:cubicBezTo>
                    <a:pt x="166" y="181"/>
                    <a:pt x="164" y="179"/>
                    <a:pt x="163" y="177"/>
                  </a:cubicBezTo>
                  <a:cubicBezTo>
                    <a:pt x="161" y="175"/>
                    <a:pt x="160" y="172"/>
                    <a:pt x="158" y="170"/>
                  </a:cubicBezTo>
                  <a:cubicBezTo>
                    <a:pt x="158" y="169"/>
                    <a:pt x="157" y="169"/>
                    <a:pt x="156" y="168"/>
                  </a:cubicBezTo>
                  <a:cubicBezTo>
                    <a:pt x="156" y="167"/>
                    <a:pt x="156" y="167"/>
                    <a:pt x="155" y="166"/>
                  </a:cubicBezTo>
                  <a:cubicBezTo>
                    <a:pt x="154" y="165"/>
                    <a:pt x="151" y="166"/>
                    <a:pt x="150" y="165"/>
                  </a:cubicBezTo>
                  <a:cubicBezTo>
                    <a:pt x="149" y="165"/>
                    <a:pt x="147" y="163"/>
                    <a:pt x="146" y="162"/>
                  </a:cubicBezTo>
                  <a:cubicBezTo>
                    <a:pt x="144" y="160"/>
                    <a:pt x="143" y="158"/>
                    <a:pt x="143" y="155"/>
                  </a:cubicBezTo>
                  <a:cubicBezTo>
                    <a:pt x="142" y="152"/>
                    <a:pt x="143" y="150"/>
                    <a:pt x="143" y="148"/>
                  </a:cubicBezTo>
                  <a:cubicBezTo>
                    <a:pt x="143" y="144"/>
                    <a:pt x="143" y="143"/>
                    <a:pt x="141" y="140"/>
                  </a:cubicBezTo>
                  <a:cubicBezTo>
                    <a:pt x="139" y="138"/>
                    <a:pt x="138" y="136"/>
                    <a:pt x="137" y="133"/>
                  </a:cubicBezTo>
                  <a:cubicBezTo>
                    <a:pt x="136" y="132"/>
                    <a:pt x="135" y="131"/>
                    <a:pt x="134" y="129"/>
                  </a:cubicBezTo>
                  <a:cubicBezTo>
                    <a:pt x="131" y="126"/>
                    <a:pt x="131" y="120"/>
                    <a:pt x="132" y="116"/>
                  </a:cubicBezTo>
                  <a:cubicBezTo>
                    <a:pt x="132" y="113"/>
                    <a:pt x="135" y="111"/>
                    <a:pt x="135" y="109"/>
                  </a:cubicBezTo>
                  <a:cubicBezTo>
                    <a:pt x="135" y="107"/>
                    <a:pt x="135" y="105"/>
                    <a:pt x="135" y="104"/>
                  </a:cubicBezTo>
                  <a:cubicBezTo>
                    <a:pt x="135" y="102"/>
                    <a:pt x="136" y="97"/>
                    <a:pt x="133" y="97"/>
                  </a:cubicBezTo>
                  <a:cubicBezTo>
                    <a:pt x="135" y="91"/>
                    <a:pt x="138" y="86"/>
                    <a:pt x="144" y="83"/>
                  </a:cubicBezTo>
                  <a:cubicBezTo>
                    <a:pt x="147" y="82"/>
                    <a:pt x="155" y="79"/>
                    <a:pt x="157" y="84"/>
                  </a:cubicBezTo>
                  <a:cubicBezTo>
                    <a:pt x="157" y="86"/>
                    <a:pt x="157" y="88"/>
                    <a:pt x="157" y="90"/>
                  </a:cubicBezTo>
                  <a:cubicBezTo>
                    <a:pt x="157" y="92"/>
                    <a:pt x="158" y="93"/>
                    <a:pt x="157" y="95"/>
                  </a:cubicBezTo>
                  <a:cubicBezTo>
                    <a:pt x="157" y="95"/>
                    <a:pt x="157" y="95"/>
                    <a:pt x="156" y="96"/>
                  </a:cubicBezTo>
                  <a:cubicBezTo>
                    <a:pt x="156" y="96"/>
                    <a:pt x="155" y="96"/>
                    <a:pt x="155" y="96"/>
                  </a:cubicBezTo>
                  <a:cubicBezTo>
                    <a:pt x="153" y="101"/>
                    <a:pt x="158" y="105"/>
                    <a:pt x="162" y="106"/>
                  </a:cubicBezTo>
                  <a:cubicBezTo>
                    <a:pt x="164" y="108"/>
                    <a:pt x="166" y="108"/>
                    <a:pt x="168" y="110"/>
                  </a:cubicBezTo>
                  <a:cubicBezTo>
                    <a:pt x="170" y="112"/>
                    <a:pt x="172" y="113"/>
                    <a:pt x="173" y="115"/>
                  </a:cubicBezTo>
                  <a:cubicBezTo>
                    <a:pt x="176" y="116"/>
                    <a:pt x="177" y="116"/>
                    <a:pt x="177" y="119"/>
                  </a:cubicBezTo>
                  <a:cubicBezTo>
                    <a:pt x="177" y="123"/>
                    <a:pt x="176" y="127"/>
                    <a:pt x="175" y="131"/>
                  </a:cubicBezTo>
                  <a:cubicBezTo>
                    <a:pt x="175" y="132"/>
                    <a:pt x="175" y="135"/>
                    <a:pt x="175" y="137"/>
                  </a:cubicBezTo>
                  <a:cubicBezTo>
                    <a:pt x="176" y="138"/>
                    <a:pt x="177" y="138"/>
                    <a:pt x="178" y="138"/>
                  </a:cubicBezTo>
                  <a:cubicBezTo>
                    <a:pt x="183" y="139"/>
                    <a:pt x="189" y="140"/>
                    <a:pt x="194" y="140"/>
                  </a:cubicBezTo>
                  <a:cubicBezTo>
                    <a:pt x="194" y="136"/>
                    <a:pt x="194" y="134"/>
                    <a:pt x="190" y="133"/>
                  </a:cubicBezTo>
                  <a:cubicBezTo>
                    <a:pt x="187" y="132"/>
                    <a:pt x="186" y="132"/>
                    <a:pt x="184" y="128"/>
                  </a:cubicBezTo>
                  <a:cubicBezTo>
                    <a:pt x="183" y="125"/>
                    <a:pt x="180" y="121"/>
                    <a:pt x="180" y="118"/>
                  </a:cubicBezTo>
                  <a:cubicBezTo>
                    <a:pt x="181" y="114"/>
                    <a:pt x="183" y="116"/>
                    <a:pt x="186" y="116"/>
                  </a:cubicBezTo>
                  <a:cubicBezTo>
                    <a:pt x="187" y="117"/>
                    <a:pt x="188" y="116"/>
                    <a:pt x="190" y="117"/>
                  </a:cubicBezTo>
                  <a:cubicBezTo>
                    <a:pt x="191" y="117"/>
                    <a:pt x="192" y="119"/>
                    <a:pt x="193" y="119"/>
                  </a:cubicBezTo>
                  <a:cubicBezTo>
                    <a:pt x="195" y="121"/>
                    <a:pt x="195" y="123"/>
                    <a:pt x="196" y="124"/>
                  </a:cubicBezTo>
                  <a:cubicBezTo>
                    <a:pt x="196" y="125"/>
                    <a:pt x="197" y="126"/>
                    <a:pt x="198" y="127"/>
                  </a:cubicBezTo>
                  <a:cubicBezTo>
                    <a:pt x="200" y="130"/>
                    <a:pt x="201" y="136"/>
                    <a:pt x="204" y="137"/>
                  </a:cubicBezTo>
                  <a:cubicBezTo>
                    <a:pt x="206" y="138"/>
                    <a:pt x="212" y="137"/>
                    <a:pt x="214" y="137"/>
                  </a:cubicBezTo>
                  <a:cubicBezTo>
                    <a:pt x="215" y="136"/>
                    <a:pt x="215" y="135"/>
                    <a:pt x="214" y="134"/>
                  </a:cubicBezTo>
                  <a:cubicBezTo>
                    <a:pt x="214" y="131"/>
                    <a:pt x="214" y="132"/>
                    <a:pt x="212" y="130"/>
                  </a:cubicBezTo>
                  <a:cubicBezTo>
                    <a:pt x="210" y="128"/>
                    <a:pt x="208" y="126"/>
                    <a:pt x="205" y="123"/>
                  </a:cubicBezTo>
                  <a:cubicBezTo>
                    <a:pt x="202" y="121"/>
                    <a:pt x="194" y="118"/>
                    <a:pt x="196" y="113"/>
                  </a:cubicBezTo>
                  <a:cubicBezTo>
                    <a:pt x="199" y="107"/>
                    <a:pt x="203" y="108"/>
                    <a:pt x="208" y="110"/>
                  </a:cubicBezTo>
                  <a:cubicBezTo>
                    <a:pt x="211" y="111"/>
                    <a:pt x="214" y="111"/>
                    <a:pt x="217" y="112"/>
                  </a:cubicBezTo>
                  <a:cubicBezTo>
                    <a:pt x="219" y="112"/>
                    <a:pt x="220" y="113"/>
                    <a:pt x="221" y="114"/>
                  </a:cubicBezTo>
                  <a:cubicBezTo>
                    <a:pt x="222" y="114"/>
                    <a:pt x="222" y="115"/>
                    <a:pt x="223" y="116"/>
                  </a:cubicBezTo>
                  <a:cubicBezTo>
                    <a:pt x="225" y="117"/>
                    <a:pt x="227" y="119"/>
                    <a:pt x="228" y="121"/>
                  </a:cubicBezTo>
                  <a:cubicBezTo>
                    <a:pt x="229" y="122"/>
                    <a:pt x="230" y="125"/>
                    <a:pt x="232" y="125"/>
                  </a:cubicBezTo>
                  <a:cubicBezTo>
                    <a:pt x="232" y="126"/>
                    <a:pt x="238" y="126"/>
                    <a:pt x="238" y="125"/>
                  </a:cubicBezTo>
                  <a:cubicBezTo>
                    <a:pt x="239" y="124"/>
                    <a:pt x="239" y="123"/>
                    <a:pt x="239" y="122"/>
                  </a:cubicBezTo>
                  <a:cubicBezTo>
                    <a:pt x="238" y="122"/>
                    <a:pt x="238" y="121"/>
                    <a:pt x="238" y="121"/>
                  </a:cubicBezTo>
                  <a:cubicBezTo>
                    <a:pt x="237" y="120"/>
                    <a:pt x="237" y="119"/>
                    <a:pt x="237" y="119"/>
                  </a:cubicBezTo>
                  <a:cubicBezTo>
                    <a:pt x="235" y="116"/>
                    <a:pt x="231" y="115"/>
                    <a:pt x="229" y="113"/>
                  </a:cubicBezTo>
                  <a:cubicBezTo>
                    <a:pt x="226" y="109"/>
                    <a:pt x="223" y="107"/>
                    <a:pt x="218" y="106"/>
                  </a:cubicBezTo>
                  <a:cubicBezTo>
                    <a:pt x="215" y="105"/>
                    <a:pt x="212" y="105"/>
                    <a:pt x="210" y="104"/>
                  </a:cubicBezTo>
                  <a:cubicBezTo>
                    <a:pt x="208" y="104"/>
                    <a:pt x="208" y="103"/>
                    <a:pt x="206" y="103"/>
                  </a:cubicBezTo>
                  <a:cubicBezTo>
                    <a:pt x="205" y="101"/>
                    <a:pt x="206" y="100"/>
                    <a:pt x="207" y="98"/>
                  </a:cubicBezTo>
                  <a:cubicBezTo>
                    <a:pt x="207" y="97"/>
                    <a:pt x="207" y="96"/>
                    <a:pt x="207" y="96"/>
                  </a:cubicBezTo>
                  <a:cubicBezTo>
                    <a:pt x="207" y="94"/>
                    <a:pt x="208" y="93"/>
                    <a:pt x="210" y="92"/>
                  </a:cubicBezTo>
                  <a:cubicBezTo>
                    <a:pt x="207" y="91"/>
                    <a:pt x="208" y="88"/>
                    <a:pt x="207" y="86"/>
                  </a:cubicBezTo>
                  <a:cubicBezTo>
                    <a:pt x="205" y="84"/>
                    <a:pt x="204" y="84"/>
                    <a:pt x="202" y="83"/>
                  </a:cubicBezTo>
                  <a:cubicBezTo>
                    <a:pt x="198" y="80"/>
                    <a:pt x="203" y="75"/>
                    <a:pt x="204" y="72"/>
                  </a:cubicBezTo>
                  <a:cubicBezTo>
                    <a:pt x="205" y="70"/>
                    <a:pt x="207" y="67"/>
                    <a:pt x="209" y="68"/>
                  </a:cubicBezTo>
                  <a:cubicBezTo>
                    <a:pt x="212" y="68"/>
                    <a:pt x="212" y="70"/>
                    <a:pt x="212" y="72"/>
                  </a:cubicBezTo>
                  <a:cubicBezTo>
                    <a:pt x="213" y="75"/>
                    <a:pt x="213" y="75"/>
                    <a:pt x="217" y="76"/>
                  </a:cubicBezTo>
                  <a:cubicBezTo>
                    <a:pt x="219" y="76"/>
                    <a:pt x="220" y="76"/>
                    <a:pt x="223" y="76"/>
                  </a:cubicBezTo>
                  <a:cubicBezTo>
                    <a:pt x="225" y="75"/>
                    <a:pt x="226" y="73"/>
                    <a:pt x="228" y="72"/>
                  </a:cubicBezTo>
                  <a:cubicBezTo>
                    <a:pt x="230" y="71"/>
                    <a:pt x="232" y="70"/>
                    <a:pt x="234" y="70"/>
                  </a:cubicBezTo>
                  <a:cubicBezTo>
                    <a:pt x="237" y="68"/>
                    <a:pt x="237" y="65"/>
                    <a:pt x="239" y="62"/>
                  </a:cubicBezTo>
                  <a:cubicBezTo>
                    <a:pt x="240" y="60"/>
                    <a:pt x="241" y="59"/>
                    <a:pt x="243" y="59"/>
                  </a:cubicBezTo>
                  <a:cubicBezTo>
                    <a:pt x="245" y="59"/>
                    <a:pt x="247" y="60"/>
                    <a:pt x="249" y="61"/>
                  </a:cubicBezTo>
                  <a:cubicBezTo>
                    <a:pt x="250" y="61"/>
                    <a:pt x="251" y="61"/>
                    <a:pt x="252" y="61"/>
                  </a:cubicBezTo>
                  <a:cubicBezTo>
                    <a:pt x="255" y="61"/>
                    <a:pt x="257" y="63"/>
                    <a:pt x="259" y="63"/>
                  </a:cubicBezTo>
                  <a:cubicBezTo>
                    <a:pt x="262" y="64"/>
                    <a:pt x="267" y="63"/>
                    <a:pt x="269" y="61"/>
                  </a:cubicBezTo>
                  <a:cubicBezTo>
                    <a:pt x="271" y="59"/>
                    <a:pt x="272" y="54"/>
                    <a:pt x="275" y="53"/>
                  </a:cubicBezTo>
                  <a:cubicBezTo>
                    <a:pt x="280" y="52"/>
                    <a:pt x="279" y="56"/>
                    <a:pt x="279" y="59"/>
                  </a:cubicBezTo>
                  <a:cubicBezTo>
                    <a:pt x="278" y="62"/>
                    <a:pt x="279" y="62"/>
                    <a:pt x="282" y="63"/>
                  </a:cubicBezTo>
                  <a:cubicBezTo>
                    <a:pt x="283" y="63"/>
                    <a:pt x="284" y="65"/>
                    <a:pt x="285" y="66"/>
                  </a:cubicBezTo>
                  <a:cubicBezTo>
                    <a:pt x="288" y="68"/>
                    <a:pt x="293" y="70"/>
                    <a:pt x="297" y="70"/>
                  </a:cubicBezTo>
                  <a:cubicBezTo>
                    <a:pt x="303" y="70"/>
                    <a:pt x="309" y="70"/>
                    <a:pt x="315" y="70"/>
                  </a:cubicBezTo>
                  <a:cubicBezTo>
                    <a:pt x="317" y="70"/>
                    <a:pt x="318" y="70"/>
                    <a:pt x="320" y="71"/>
                  </a:cubicBezTo>
                  <a:cubicBezTo>
                    <a:pt x="323" y="72"/>
                    <a:pt x="326" y="73"/>
                    <a:pt x="328" y="74"/>
                  </a:cubicBezTo>
                  <a:cubicBezTo>
                    <a:pt x="329" y="75"/>
                    <a:pt x="333" y="79"/>
                    <a:pt x="333" y="79"/>
                  </a:cubicBezTo>
                  <a:cubicBezTo>
                    <a:pt x="335" y="79"/>
                    <a:pt x="335" y="77"/>
                    <a:pt x="336" y="75"/>
                  </a:cubicBezTo>
                  <a:cubicBezTo>
                    <a:pt x="338" y="72"/>
                    <a:pt x="339" y="69"/>
                    <a:pt x="342" y="67"/>
                  </a:cubicBezTo>
                  <a:cubicBezTo>
                    <a:pt x="344" y="65"/>
                    <a:pt x="348" y="63"/>
                    <a:pt x="349" y="61"/>
                  </a:cubicBezTo>
                  <a:cubicBezTo>
                    <a:pt x="350" y="59"/>
                    <a:pt x="350" y="59"/>
                    <a:pt x="350" y="57"/>
                  </a:cubicBezTo>
                  <a:cubicBezTo>
                    <a:pt x="350" y="53"/>
                    <a:pt x="351" y="50"/>
                    <a:pt x="351" y="46"/>
                  </a:cubicBezTo>
                  <a:cubicBezTo>
                    <a:pt x="351" y="42"/>
                    <a:pt x="351" y="37"/>
                    <a:pt x="355" y="35"/>
                  </a:cubicBezTo>
                  <a:cubicBezTo>
                    <a:pt x="357" y="33"/>
                    <a:pt x="362" y="35"/>
                    <a:pt x="364" y="33"/>
                  </a:cubicBezTo>
                  <a:cubicBezTo>
                    <a:pt x="368" y="31"/>
                    <a:pt x="366" y="26"/>
                    <a:pt x="366" y="22"/>
                  </a:cubicBezTo>
                  <a:cubicBezTo>
                    <a:pt x="365" y="18"/>
                    <a:pt x="365" y="15"/>
                    <a:pt x="365" y="10"/>
                  </a:cubicBezTo>
                  <a:cubicBezTo>
                    <a:pt x="365" y="6"/>
                    <a:pt x="362" y="7"/>
                    <a:pt x="359" y="6"/>
                  </a:cubicBezTo>
                  <a:cubicBezTo>
                    <a:pt x="357" y="5"/>
                    <a:pt x="356" y="3"/>
                    <a:pt x="354" y="2"/>
                  </a:cubicBezTo>
                  <a:cubicBezTo>
                    <a:pt x="354" y="3"/>
                    <a:pt x="354" y="4"/>
                    <a:pt x="354" y="5"/>
                  </a:cubicBezTo>
                  <a:cubicBezTo>
                    <a:pt x="351" y="5"/>
                    <a:pt x="348" y="3"/>
                    <a:pt x="346" y="3"/>
                  </a:cubicBezTo>
                  <a:cubicBezTo>
                    <a:pt x="344" y="2"/>
                    <a:pt x="342" y="0"/>
                    <a:pt x="340" y="0"/>
                  </a:cubicBezTo>
                  <a:cubicBezTo>
                    <a:pt x="336" y="0"/>
                    <a:pt x="333" y="2"/>
                    <a:pt x="334" y="6"/>
                  </a:cubicBezTo>
                  <a:cubicBezTo>
                    <a:pt x="335" y="9"/>
                    <a:pt x="338" y="10"/>
                    <a:pt x="338" y="13"/>
                  </a:cubicBezTo>
                  <a:cubicBezTo>
                    <a:pt x="338" y="15"/>
                    <a:pt x="339" y="16"/>
                    <a:pt x="338" y="18"/>
                  </a:cubicBezTo>
                  <a:cubicBezTo>
                    <a:pt x="338" y="19"/>
                    <a:pt x="337" y="19"/>
                    <a:pt x="337" y="21"/>
                  </a:cubicBezTo>
                  <a:cubicBezTo>
                    <a:pt x="337" y="21"/>
                    <a:pt x="337" y="22"/>
                    <a:pt x="337" y="22"/>
                  </a:cubicBezTo>
                  <a:cubicBezTo>
                    <a:pt x="337" y="25"/>
                    <a:pt x="338" y="28"/>
                    <a:pt x="336" y="30"/>
                  </a:cubicBezTo>
                  <a:cubicBezTo>
                    <a:pt x="335" y="30"/>
                    <a:pt x="334" y="30"/>
                    <a:pt x="333" y="31"/>
                  </a:cubicBezTo>
                  <a:cubicBezTo>
                    <a:pt x="332" y="31"/>
                    <a:pt x="331" y="32"/>
                    <a:pt x="330" y="33"/>
                  </a:cubicBezTo>
                  <a:cubicBezTo>
                    <a:pt x="329" y="33"/>
                    <a:pt x="327" y="34"/>
                    <a:pt x="326" y="34"/>
                  </a:cubicBezTo>
                  <a:cubicBezTo>
                    <a:pt x="323" y="35"/>
                    <a:pt x="322" y="34"/>
                    <a:pt x="320" y="33"/>
                  </a:cubicBezTo>
                  <a:cubicBezTo>
                    <a:pt x="319" y="33"/>
                    <a:pt x="318" y="32"/>
                    <a:pt x="317" y="32"/>
                  </a:cubicBezTo>
                  <a:cubicBezTo>
                    <a:pt x="316" y="32"/>
                    <a:pt x="316" y="32"/>
                    <a:pt x="315" y="33"/>
                  </a:cubicBezTo>
                  <a:cubicBezTo>
                    <a:pt x="312" y="34"/>
                    <a:pt x="310" y="30"/>
                    <a:pt x="307" y="31"/>
                  </a:cubicBezTo>
                  <a:cubicBezTo>
                    <a:pt x="309" y="32"/>
                    <a:pt x="309" y="34"/>
                    <a:pt x="309" y="36"/>
                  </a:cubicBezTo>
                  <a:cubicBezTo>
                    <a:pt x="304" y="36"/>
                    <a:pt x="298" y="37"/>
                    <a:pt x="293" y="37"/>
                  </a:cubicBezTo>
                  <a:cubicBezTo>
                    <a:pt x="291" y="37"/>
                    <a:pt x="289" y="37"/>
                    <a:pt x="287" y="37"/>
                  </a:cubicBezTo>
                  <a:cubicBezTo>
                    <a:pt x="287" y="37"/>
                    <a:pt x="286" y="37"/>
                    <a:pt x="286" y="36"/>
                  </a:cubicBezTo>
                  <a:cubicBezTo>
                    <a:pt x="285" y="36"/>
                    <a:pt x="284" y="37"/>
                    <a:pt x="283" y="36"/>
                  </a:cubicBezTo>
                  <a:cubicBezTo>
                    <a:pt x="282" y="36"/>
                    <a:pt x="281" y="34"/>
                    <a:pt x="279" y="33"/>
                  </a:cubicBezTo>
                  <a:cubicBezTo>
                    <a:pt x="279" y="33"/>
                    <a:pt x="278" y="32"/>
                    <a:pt x="277" y="32"/>
                  </a:cubicBezTo>
                  <a:cubicBezTo>
                    <a:pt x="275" y="32"/>
                    <a:pt x="274" y="33"/>
                    <a:pt x="273" y="31"/>
                  </a:cubicBezTo>
                  <a:cubicBezTo>
                    <a:pt x="272" y="31"/>
                    <a:pt x="271" y="31"/>
                    <a:pt x="270" y="30"/>
                  </a:cubicBezTo>
                  <a:cubicBezTo>
                    <a:pt x="269" y="30"/>
                    <a:pt x="269" y="29"/>
                    <a:pt x="268" y="28"/>
                  </a:cubicBezTo>
                  <a:cubicBezTo>
                    <a:pt x="266" y="28"/>
                    <a:pt x="264" y="29"/>
                    <a:pt x="262" y="29"/>
                  </a:cubicBezTo>
                  <a:cubicBezTo>
                    <a:pt x="261" y="30"/>
                    <a:pt x="261" y="31"/>
                    <a:pt x="260" y="30"/>
                  </a:cubicBezTo>
                  <a:cubicBezTo>
                    <a:pt x="259" y="29"/>
                    <a:pt x="259" y="27"/>
                    <a:pt x="258" y="27"/>
                  </a:cubicBezTo>
                  <a:cubicBezTo>
                    <a:pt x="257" y="26"/>
                    <a:pt x="257" y="26"/>
                    <a:pt x="257" y="26"/>
                  </a:cubicBezTo>
                  <a:cubicBezTo>
                    <a:pt x="256" y="25"/>
                    <a:pt x="255" y="24"/>
                    <a:pt x="255" y="23"/>
                  </a:cubicBezTo>
                  <a:cubicBezTo>
                    <a:pt x="253" y="21"/>
                    <a:pt x="251" y="21"/>
                    <a:pt x="249" y="20"/>
                  </a:cubicBezTo>
                  <a:cubicBezTo>
                    <a:pt x="248" y="20"/>
                    <a:pt x="247" y="19"/>
                    <a:pt x="247" y="18"/>
                  </a:cubicBezTo>
                  <a:cubicBezTo>
                    <a:pt x="247" y="18"/>
                    <a:pt x="246" y="17"/>
                    <a:pt x="246" y="17"/>
                  </a:cubicBezTo>
                  <a:cubicBezTo>
                    <a:pt x="245" y="16"/>
                    <a:pt x="246" y="13"/>
                    <a:pt x="245" y="12"/>
                  </a:cubicBezTo>
                  <a:cubicBezTo>
                    <a:pt x="244" y="11"/>
                    <a:pt x="242" y="12"/>
                    <a:pt x="241" y="13"/>
                  </a:cubicBezTo>
                  <a:cubicBezTo>
                    <a:pt x="241" y="11"/>
                    <a:pt x="240" y="13"/>
                    <a:pt x="239" y="13"/>
                  </a:cubicBezTo>
                  <a:cubicBezTo>
                    <a:pt x="237" y="13"/>
                    <a:pt x="238" y="11"/>
                    <a:pt x="236" y="11"/>
                  </a:cubicBezTo>
                  <a:cubicBezTo>
                    <a:pt x="236" y="12"/>
                    <a:pt x="235" y="11"/>
                    <a:pt x="235" y="12"/>
                  </a:cubicBezTo>
                  <a:cubicBezTo>
                    <a:pt x="234" y="12"/>
                    <a:pt x="234" y="13"/>
                    <a:pt x="234" y="13"/>
                  </a:cubicBezTo>
                  <a:cubicBezTo>
                    <a:pt x="232" y="14"/>
                    <a:pt x="231" y="13"/>
                    <a:pt x="229" y="13"/>
                  </a:cubicBezTo>
                  <a:cubicBezTo>
                    <a:pt x="228" y="13"/>
                    <a:pt x="226" y="13"/>
                    <a:pt x="225" y="13"/>
                  </a:cubicBezTo>
                  <a:cubicBezTo>
                    <a:pt x="224" y="13"/>
                    <a:pt x="223" y="12"/>
                    <a:pt x="222" y="11"/>
                  </a:cubicBezTo>
                  <a:cubicBezTo>
                    <a:pt x="219" y="10"/>
                    <a:pt x="220" y="14"/>
                    <a:pt x="220" y="15"/>
                  </a:cubicBezTo>
                  <a:cubicBezTo>
                    <a:pt x="219" y="18"/>
                    <a:pt x="216" y="19"/>
                    <a:pt x="214" y="17"/>
                  </a:cubicBezTo>
                  <a:cubicBezTo>
                    <a:pt x="213" y="18"/>
                    <a:pt x="212" y="19"/>
                    <a:pt x="211" y="19"/>
                  </a:cubicBezTo>
                  <a:cubicBezTo>
                    <a:pt x="211" y="19"/>
                    <a:pt x="210" y="19"/>
                    <a:pt x="209" y="19"/>
                  </a:cubicBezTo>
                  <a:cubicBezTo>
                    <a:pt x="208" y="19"/>
                    <a:pt x="208" y="20"/>
                    <a:pt x="207" y="21"/>
                  </a:cubicBezTo>
                  <a:cubicBezTo>
                    <a:pt x="206" y="22"/>
                    <a:pt x="203" y="23"/>
                    <a:pt x="201" y="23"/>
                  </a:cubicBezTo>
                  <a:cubicBezTo>
                    <a:pt x="199" y="24"/>
                    <a:pt x="197" y="23"/>
                    <a:pt x="195" y="24"/>
                  </a:cubicBezTo>
                  <a:cubicBezTo>
                    <a:pt x="194" y="24"/>
                    <a:pt x="193" y="24"/>
                    <a:pt x="191" y="24"/>
                  </a:cubicBezTo>
                  <a:cubicBezTo>
                    <a:pt x="190" y="24"/>
                    <a:pt x="189" y="23"/>
                    <a:pt x="188" y="23"/>
                  </a:cubicBezTo>
                  <a:cubicBezTo>
                    <a:pt x="186" y="22"/>
                    <a:pt x="182" y="24"/>
                    <a:pt x="180" y="25"/>
                  </a:cubicBezTo>
                  <a:cubicBezTo>
                    <a:pt x="177" y="26"/>
                    <a:pt x="175" y="26"/>
                    <a:pt x="172" y="26"/>
                  </a:cubicBezTo>
                  <a:cubicBezTo>
                    <a:pt x="170" y="26"/>
                    <a:pt x="168" y="26"/>
                    <a:pt x="167" y="26"/>
                  </a:cubicBezTo>
                  <a:cubicBezTo>
                    <a:pt x="165" y="26"/>
                    <a:pt x="164" y="27"/>
                    <a:pt x="163" y="26"/>
                  </a:cubicBezTo>
                  <a:cubicBezTo>
                    <a:pt x="162" y="25"/>
                    <a:pt x="162" y="24"/>
                    <a:pt x="161" y="24"/>
                  </a:cubicBezTo>
                  <a:cubicBezTo>
                    <a:pt x="160" y="23"/>
                    <a:pt x="159" y="22"/>
                    <a:pt x="158" y="21"/>
                  </a:cubicBezTo>
                  <a:cubicBezTo>
                    <a:pt x="158" y="21"/>
                    <a:pt x="158" y="21"/>
                    <a:pt x="158" y="21"/>
                  </a:cubicBezTo>
                  <a:cubicBezTo>
                    <a:pt x="158" y="21"/>
                    <a:pt x="157" y="21"/>
                    <a:pt x="157" y="21"/>
                  </a:cubicBezTo>
                  <a:cubicBezTo>
                    <a:pt x="157" y="22"/>
                    <a:pt x="156" y="22"/>
                    <a:pt x="155" y="22"/>
                  </a:cubicBezTo>
                  <a:cubicBezTo>
                    <a:pt x="154" y="23"/>
                    <a:pt x="154" y="23"/>
                    <a:pt x="153" y="24"/>
                  </a:cubicBezTo>
                  <a:cubicBezTo>
                    <a:pt x="152" y="24"/>
                    <a:pt x="151" y="26"/>
                    <a:pt x="150" y="26"/>
                  </a:cubicBezTo>
                  <a:cubicBezTo>
                    <a:pt x="149" y="26"/>
                    <a:pt x="147" y="25"/>
                    <a:pt x="147" y="27"/>
                  </a:cubicBezTo>
                  <a:cubicBezTo>
                    <a:pt x="146" y="27"/>
                    <a:pt x="147" y="29"/>
                    <a:pt x="147" y="29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1"/>
                    <a:pt x="146" y="31"/>
                    <a:pt x="146" y="32"/>
                  </a:cubicBezTo>
                  <a:cubicBezTo>
                    <a:pt x="145" y="34"/>
                    <a:pt x="145" y="35"/>
                    <a:pt x="145" y="37"/>
                  </a:cubicBezTo>
                  <a:cubicBezTo>
                    <a:pt x="145" y="38"/>
                    <a:pt x="145" y="39"/>
                    <a:pt x="144" y="40"/>
                  </a:cubicBezTo>
                  <a:cubicBezTo>
                    <a:pt x="143" y="40"/>
                    <a:pt x="143" y="38"/>
                    <a:pt x="142" y="37"/>
                  </a:cubicBezTo>
                  <a:cubicBezTo>
                    <a:pt x="141" y="37"/>
                    <a:pt x="138" y="39"/>
                    <a:pt x="138" y="40"/>
                  </a:cubicBezTo>
                  <a:cubicBezTo>
                    <a:pt x="137" y="40"/>
                    <a:pt x="136" y="40"/>
                    <a:pt x="135" y="40"/>
                  </a:cubicBezTo>
                  <a:cubicBezTo>
                    <a:pt x="133" y="40"/>
                    <a:pt x="132" y="39"/>
                    <a:pt x="131" y="39"/>
                  </a:cubicBezTo>
                  <a:cubicBezTo>
                    <a:pt x="129" y="39"/>
                    <a:pt x="127" y="39"/>
                    <a:pt x="125" y="39"/>
                  </a:cubicBezTo>
                  <a:cubicBezTo>
                    <a:pt x="125" y="39"/>
                    <a:pt x="124" y="39"/>
                    <a:pt x="124" y="39"/>
                  </a:cubicBezTo>
                  <a:cubicBezTo>
                    <a:pt x="123" y="39"/>
                    <a:pt x="123" y="39"/>
                    <a:pt x="122" y="39"/>
                  </a:cubicBezTo>
                  <a:cubicBezTo>
                    <a:pt x="121" y="38"/>
                    <a:pt x="119" y="38"/>
                    <a:pt x="118" y="37"/>
                  </a:cubicBezTo>
                  <a:cubicBezTo>
                    <a:pt x="117" y="37"/>
                    <a:pt x="116" y="37"/>
                    <a:pt x="115" y="38"/>
                  </a:cubicBezTo>
                  <a:cubicBezTo>
                    <a:pt x="115" y="38"/>
                    <a:pt x="114" y="39"/>
                    <a:pt x="113" y="39"/>
                  </a:cubicBezTo>
                  <a:cubicBezTo>
                    <a:pt x="112" y="39"/>
                    <a:pt x="110" y="38"/>
                    <a:pt x="109" y="38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5" y="37"/>
                    <a:pt x="103" y="39"/>
                    <a:pt x="102" y="41"/>
                  </a:cubicBezTo>
                  <a:cubicBezTo>
                    <a:pt x="101" y="42"/>
                    <a:pt x="100" y="43"/>
                    <a:pt x="99" y="44"/>
                  </a:cubicBezTo>
                  <a:cubicBezTo>
                    <a:pt x="98" y="46"/>
                    <a:pt x="95" y="47"/>
                    <a:pt x="94" y="49"/>
                  </a:cubicBezTo>
                  <a:cubicBezTo>
                    <a:pt x="93" y="50"/>
                    <a:pt x="93" y="51"/>
                    <a:pt x="93" y="52"/>
                  </a:cubicBezTo>
                  <a:cubicBezTo>
                    <a:pt x="92" y="52"/>
                    <a:pt x="91" y="54"/>
                    <a:pt x="90" y="54"/>
                  </a:cubicBezTo>
                  <a:cubicBezTo>
                    <a:pt x="89" y="55"/>
                    <a:pt x="87" y="56"/>
                    <a:pt x="86" y="56"/>
                  </a:cubicBezTo>
                  <a:cubicBezTo>
                    <a:pt x="85" y="56"/>
                    <a:pt x="83" y="56"/>
                    <a:pt x="82" y="56"/>
                  </a:cubicBezTo>
                  <a:cubicBezTo>
                    <a:pt x="81" y="57"/>
                    <a:pt x="80" y="56"/>
                    <a:pt x="79" y="56"/>
                  </a:cubicBezTo>
                  <a:cubicBezTo>
                    <a:pt x="79" y="56"/>
                    <a:pt x="78" y="56"/>
                    <a:pt x="78" y="56"/>
                  </a:cubicBezTo>
                  <a:cubicBezTo>
                    <a:pt x="77" y="57"/>
                    <a:pt x="78" y="57"/>
                    <a:pt x="77" y="58"/>
                  </a:cubicBezTo>
                  <a:cubicBezTo>
                    <a:pt x="77" y="58"/>
                    <a:pt x="76" y="58"/>
                    <a:pt x="75" y="58"/>
                  </a:cubicBezTo>
                  <a:cubicBezTo>
                    <a:pt x="73" y="58"/>
                    <a:pt x="72" y="57"/>
                    <a:pt x="70" y="57"/>
                  </a:cubicBezTo>
                  <a:cubicBezTo>
                    <a:pt x="68" y="57"/>
                    <a:pt x="67" y="57"/>
                    <a:pt x="65" y="57"/>
                  </a:cubicBezTo>
                  <a:cubicBezTo>
                    <a:pt x="64" y="57"/>
                    <a:pt x="62" y="57"/>
                    <a:pt x="60" y="57"/>
                  </a:cubicBezTo>
                  <a:cubicBezTo>
                    <a:pt x="59" y="58"/>
                    <a:pt x="57" y="59"/>
                    <a:pt x="56" y="60"/>
                  </a:cubicBezTo>
                  <a:cubicBezTo>
                    <a:pt x="54" y="60"/>
                    <a:pt x="52" y="61"/>
                    <a:pt x="51" y="62"/>
                  </a:cubicBezTo>
                  <a:cubicBezTo>
                    <a:pt x="49" y="64"/>
                    <a:pt x="47" y="66"/>
                    <a:pt x="45" y="67"/>
                  </a:cubicBezTo>
                  <a:cubicBezTo>
                    <a:pt x="46" y="69"/>
                    <a:pt x="49" y="71"/>
                    <a:pt x="50" y="73"/>
                  </a:cubicBezTo>
                  <a:cubicBezTo>
                    <a:pt x="51" y="74"/>
                    <a:pt x="53" y="79"/>
                    <a:pt x="52" y="81"/>
                  </a:cubicBezTo>
                  <a:cubicBezTo>
                    <a:pt x="51" y="81"/>
                    <a:pt x="50" y="82"/>
                    <a:pt x="50" y="82"/>
                  </a:cubicBezTo>
                  <a:cubicBezTo>
                    <a:pt x="48" y="83"/>
                    <a:pt x="48" y="83"/>
                    <a:pt x="48" y="85"/>
                  </a:cubicBezTo>
                  <a:cubicBezTo>
                    <a:pt x="47" y="87"/>
                    <a:pt x="48" y="89"/>
                    <a:pt x="46" y="90"/>
                  </a:cubicBezTo>
                  <a:cubicBezTo>
                    <a:pt x="45" y="90"/>
                    <a:pt x="43" y="90"/>
                    <a:pt x="42" y="90"/>
                  </a:cubicBezTo>
                  <a:cubicBezTo>
                    <a:pt x="42" y="90"/>
                    <a:pt x="41" y="90"/>
                    <a:pt x="41" y="90"/>
                  </a:cubicBezTo>
                  <a:cubicBezTo>
                    <a:pt x="41" y="91"/>
                    <a:pt x="40" y="91"/>
                    <a:pt x="40" y="91"/>
                  </a:cubicBezTo>
                  <a:cubicBezTo>
                    <a:pt x="39" y="92"/>
                    <a:pt x="38" y="91"/>
                    <a:pt x="37" y="91"/>
                  </a:cubicBezTo>
                  <a:cubicBezTo>
                    <a:pt x="36" y="92"/>
                    <a:pt x="36" y="93"/>
                    <a:pt x="35" y="94"/>
                  </a:cubicBezTo>
                  <a:cubicBezTo>
                    <a:pt x="34" y="96"/>
                    <a:pt x="33" y="98"/>
                    <a:pt x="33" y="100"/>
                  </a:cubicBezTo>
                  <a:cubicBezTo>
                    <a:pt x="33" y="102"/>
                    <a:pt x="33" y="103"/>
                    <a:pt x="32" y="105"/>
                  </a:cubicBezTo>
                  <a:cubicBezTo>
                    <a:pt x="31" y="106"/>
                    <a:pt x="31" y="107"/>
                    <a:pt x="31" y="108"/>
                  </a:cubicBezTo>
                  <a:cubicBezTo>
                    <a:pt x="30" y="109"/>
                    <a:pt x="29" y="110"/>
                    <a:pt x="29" y="112"/>
                  </a:cubicBezTo>
                  <a:cubicBezTo>
                    <a:pt x="28" y="112"/>
                    <a:pt x="29" y="113"/>
                    <a:pt x="29" y="113"/>
                  </a:cubicBezTo>
                  <a:cubicBezTo>
                    <a:pt x="29" y="115"/>
                    <a:pt x="28" y="115"/>
                    <a:pt x="28" y="116"/>
                  </a:cubicBezTo>
                  <a:cubicBezTo>
                    <a:pt x="27" y="117"/>
                    <a:pt x="27" y="118"/>
                    <a:pt x="27" y="119"/>
                  </a:cubicBezTo>
                  <a:cubicBezTo>
                    <a:pt x="27" y="119"/>
                    <a:pt x="26" y="121"/>
                    <a:pt x="26" y="121"/>
                  </a:cubicBezTo>
                  <a:cubicBezTo>
                    <a:pt x="25" y="121"/>
                    <a:pt x="23" y="120"/>
                    <a:pt x="22" y="120"/>
                  </a:cubicBezTo>
                  <a:cubicBezTo>
                    <a:pt x="20" y="120"/>
                    <a:pt x="19" y="120"/>
                    <a:pt x="18" y="121"/>
                  </a:cubicBezTo>
                  <a:cubicBezTo>
                    <a:pt x="16" y="122"/>
                    <a:pt x="14" y="123"/>
                    <a:pt x="13" y="125"/>
                  </a:cubicBezTo>
                  <a:cubicBezTo>
                    <a:pt x="12" y="126"/>
                    <a:pt x="12" y="126"/>
                    <a:pt x="11" y="127"/>
                  </a:cubicBezTo>
                  <a:cubicBezTo>
                    <a:pt x="11" y="128"/>
                    <a:pt x="11" y="128"/>
                    <a:pt x="10" y="129"/>
                  </a:cubicBezTo>
                  <a:cubicBezTo>
                    <a:pt x="10" y="129"/>
                    <a:pt x="9" y="131"/>
                    <a:pt x="9" y="132"/>
                  </a:cubicBezTo>
                  <a:cubicBezTo>
                    <a:pt x="9" y="133"/>
                    <a:pt x="10" y="133"/>
                    <a:pt x="10" y="134"/>
                  </a:cubicBezTo>
                  <a:cubicBezTo>
                    <a:pt x="11" y="135"/>
                    <a:pt x="11" y="136"/>
                    <a:pt x="11" y="137"/>
                  </a:cubicBezTo>
                  <a:cubicBezTo>
                    <a:pt x="12" y="138"/>
                    <a:pt x="13" y="139"/>
                    <a:pt x="12" y="140"/>
                  </a:cubicBezTo>
                  <a:cubicBezTo>
                    <a:pt x="12" y="141"/>
                    <a:pt x="11" y="141"/>
                    <a:pt x="11" y="142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7" y="144"/>
                    <a:pt x="7" y="145"/>
                    <a:pt x="7" y="147"/>
                  </a:cubicBezTo>
                  <a:cubicBezTo>
                    <a:pt x="6" y="148"/>
                    <a:pt x="5" y="150"/>
                    <a:pt x="4" y="150"/>
                  </a:cubicBezTo>
                  <a:cubicBezTo>
                    <a:pt x="4" y="151"/>
                    <a:pt x="3" y="151"/>
                    <a:pt x="3" y="151"/>
                  </a:cubicBezTo>
                  <a:cubicBezTo>
                    <a:pt x="2" y="152"/>
                    <a:pt x="2" y="152"/>
                    <a:pt x="2" y="153"/>
                  </a:cubicBezTo>
                  <a:cubicBezTo>
                    <a:pt x="1" y="153"/>
                    <a:pt x="0" y="153"/>
                    <a:pt x="0" y="15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3" name="Freeform 44">
              <a:extLst>
                <a:ext uri="{FF2B5EF4-FFF2-40B4-BE49-F238E27FC236}">
                  <a16:creationId xmlns:a16="http://schemas.microsoft.com/office/drawing/2014/main" id="{03BADDE0-B8BA-4C15-BE44-32ADF327D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188" y="6280150"/>
              <a:ext cx="52388" cy="61913"/>
            </a:xfrm>
            <a:custGeom>
              <a:avLst/>
              <a:gdLst/>
              <a:ahLst/>
              <a:cxnLst>
                <a:cxn ang="0">
                  <a:pos x="23" y="23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2" y="3"/>
                </a:cxn>
                <a:cxn ang="0">
                  <a:pos x="12" y="12"/>
                </a:cxn>
                <a:cxn ang="0">
                  <a:pos x="7" y="14"/>
                </a:cxn>
                <a:cxn ang="0">
                  <a:pos x="2" y="20"/>
                </a:cxn>
                <a:cxn ang="0">
                  <a:pos x="2" y="27"/>
                </a:cxn>
                <a:cxn ang="0">
                  <a:pos x="6" y="22"/>
                </a:cxn>
                <a:cxn ang="0">
                  <a:pos x="8" y="28"/>
                </a:cxn>
                <a:cxn ang="0">
                  <a:pos x="13" y="31"/>
                </a:cxn>
                <a:cxn ang="0">
                  <a:pos x="26" y="32"/>
                </a:cxn>
                <a:cxn ang="0">
                  <a:pos x="25" y="23"/>
                </a:cxn>
                <a:cxn ang="0">
                  <a:pos x="23" y="23"/>
                </a:cxn>
              </a:cxnLst>
              <a:rect l="0" t="0" r="r" b="b"/>
              <a:pathLst>
                <a:path w="28" h="33">
                  <a:moveTo>
                    <a:pt x="23" y="23"/>
                  </a:moveTo>
                  <a:cubicBezTo>
                    <a:pt x="20" y="23"/>
                    <a:pt x="18" y="18"/>
                    <a:pt x="17" y="16"/>
                  </a:cubicBezTo>
                  <a:cubicBezTo>
                    <a:pt x="17" y="13"/>
                    <a:pt x="17" y="10"/>
                    <a:pt x="17" y="8"/>
                  </a:cubicBezTo>
                  <a:cubicBezTo>
                    <a:pt x="17" y="6"/>
                    <a:pt x="15" y="0"/>
                    <a:pt x="12" y="3"/>
                  </a:cubicBezTo>
                  <a:cubicBezTo>
                    <a:pt x="10" y="5"/>
                    <a:pt x="13" y="9"/>
                    <a:pt x="12" y="12"/>
                  </a:cubicBezTo>
                  <a:cubicBezTo>
                    <a:pt x="11" y="13"/>
                    <a:pt x="9" y="14"/>
                    <a:pt x="7" y="14"/>
                  </a:cubicBezTo>
                  <a:cubicBezTo>
                    <a:pt x="4" y="15"/>
                    <a:pt x="3" y="16"/>
                    <a:pt x="2" y="20"/>
                  </a:cubicBezTo>
                  <a:cubicBezTo>
                    <a:pt x="1" y="22"/>
                    <a:pt x="0" y="27"/>
                    <a:pt x="2" y="27"/>
                  </a:cubicBezTo>
                  <a:cubicBezTo>
                    <a:pt x="5" y="27"/>
                    <a:pt x="6" y="24"/>
                    <a:pt x="6" y="22"/>
                  </a:cubicBezTo>
                  <a:cubicBezTo>
                    <a:pt x="7" y="24"/>
                    <a:pt x="7" y="27"/>
                    <a:pt x="8" y="28"/>
                  </a:cubicBezTo>
                  <a:cubicBezTo>
                    <a:pt x="9" y="30"/>
                    <a:pt x="11" y="30"/>
                    <a:pt x="13" y="31"/>
                  </a:cubicBezTo>
                  <a:cubicBezTo>
                    <a:pt x="17" y="32"/>
                    <a:pt x="22" y="33"/>
                    <a:pt x="26" y="32"/>
                  </a:cubicBezTo>
                  <a:cubicBezTo>
                    <a:pt x="27" y="30"/>
                    <a:pt x="28" y="24"/>
                    <a:pt x="25" y="23"/>
                  </a:cubicBezTo>
                  <a:lnTo>
                    <a:pt x="23" y="2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4" name="Freeform 45">
              <a:extLst>
                <a:ext uri="{FF2B5EF4-FFF2-40B4-BE49-F238E27FC236}">
                  <a16:creationId xmlns:a16="http://schemas.microsoft.com/office/drawing/2014/main" id="{F0DB6FEF-AA9E-4BBF-8902-B9E7CC95F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6359525"/>
              <a:ext cx="38100" cy="42863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3" y="2"/>
                </a:cxn>
                <a:cxn ang="0">
                  <a:pos x="1" y="11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13" y="23"/>
                </a:cxn>
                <a:cxn ang="0">
                  <a:pos x="14" y="20"/>
                </a:cxn>
                <a:cxn ang="0">
                  <a:pos x="19" y="20"/>
                </a:cxn>
                <a:cxn ang="0">
                  <a:pos x="12" y="8"/>
                </a:cxn>
                <a:cxn ang="0">
                  <a:pos x="10" y="7"/>
                </a:cxn>
              </a:cxnLst>
              <a:rect l="0" t="0" r="r" b="b"/>
              <a:pathLst>
                <a:path w="21" h="23">
                  <a:moveTo>
                    <a:pt x="10" y="7"/>
                  </a:moveTo>
                  <a:cubicBezTo>
                    <a:pt x="8" y="5"/>
                    <a:pt x="6" y="0"/>
                    <a:pt x="3" y="2"/>
                  </a:cubicBezTo>
                  <a:cubicBezTo>
                    <a:pt x="0" y="3"/>
                    <a:pt x="1" y="9"/>
                    <a:pt x="1" y="11"/>
                  </a:cubicBezTo>
                  <a:cubicBezTo>
                    <a:pt x="2" y="13"/>
                    <a:pt x="3" y="16"/>
                    <a:pt x="4" y="18"/>
                  </a:cubicBezTo>
                  <a:cubicBezTo>
                    <a:pt x="5" y="21"/>
                    <a:pt x="5" y="21"/>
                    <a:pt x="8" y="22"/>
                  </a:cubicBezTo>
                  <a:cubicBezTo>
                    <a:pt x="9" y="22"/>
                    <a:pt x="12" y="23"/>
                    <a:pt x="13" y="23"/>
                  </a:cubicBezTo>
                  <a:cubicBezTo>
                    <a:pt x="13" y="22"/>
                    <a:pt x="13" y="21"/>
                    <a:pt x="14" y="20"/>
                  </a:cubicBezTo>
                  <a:cubicBezTo>
                    <a:pt x="16" y="20"/>
                    <a:pt x="17" y="23"/>
                    <a:pt x="19" y="20"/>
                  </a:cubicBezTo>
                  <a:cubicBezTo>
                    <a:pt x="21" y="16"/>
                    <a:pt x="15" y="10"/>
                    <a:pt x="12" y="8"/>
                  </a:cubicBezTo>
                  <a:lnTo>
                    <a:pt x="10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5" name="Freeform 46">
              <a:extLst>
                <a:ext uri="{FF2B5EF4-FFF2-40B4-BE49-F238E27FC236}">
                  <a16:creationId xmlns:a16="http://schemas.microsoft.com/office/drawing/2014/main" id="{4DCE67DB-0A93-4835-BDDC-043ED9E8A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5" y="6384925"/>
              <a:ext cx="31750" cy="39688"/>
            </a:xfrm>
            <a:custGeom>
              <a:avLst/>
              <a:gdLst/>
              <a:ahLst/>
              <a:cxnLst>
                <a:cxn ang="0">
                  <a:pos x="10" y="6"/>
                </a:cxn>
                <a:cxn ang="0">
                  <a:pos x="1" y="1"/>
                </a:cxn>
                <a:cxn ang="0">
                  <a:pos x="7" y="12"/>
                </a:cxn>
                <a:cxn ang="0">
                  <a:pos x="16" y="21"/>
                </a:cxn>
                <a:cxn ang="0">
                  <a:pos x="15" y="14"/>
                </a:cxn>
                <a:cxn ang="0">
                  <a:pos x="10" y="7"/>
                </a:cxn>
                <a:cxn ang="0">
                  <a:pos x="10" y="6"/>
                </a:cxn>
              </a:cxnLst>
              <a:rect l="0" t="0" r="r" b="b"/>
              <a:pathLst>
                <a:path w="17" h="21">
                  <a:moveTo>
                    <a:pt x="10" y="6"/>
                  </a:moveTo>
                  <a:cubicBezTo>
                    <a:pt x="11" y="3"/>
                    <a:pt x="5" y="0"/>
                    <a:pt x="1" y="1"/>
                  </a:cubicBezTo>
                  <a:cubicBezTo>
                    <a:pt x="0" y="5"/>
                    <a:pt x="4" y="9"/>
                    <a:pt x="7" y="12"/>
                  </a:cubicBezTo>
                  <a:cubicBezTo>
                    <a:pt x="9" y="15"/>
                    <a:pt x="13" y="20"/>
                    <a:pt x="16" y="21"/>
                  </a:cubicBezTo>
                  <a:cubicBezTo>
                    <a:pt x="17" y="19"/>
                    <a:pt x="16" y="16"/>
                    <a:pt x="15" y="14"/>
                  </a:cubicBezTo>
                  <a:cubicBezTo>
                    <a:pt x="14" y="13"/>
                    <a:pt x="12" y="8"/>
                    <a:pt x="10" y="7"/>
                  </a:cubicBezTo>
                  <a:lnTo>
                    <a:pt x="10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6" name="Freeform 47">
              <a:extLst>
                <a:ext uri="{FF2B5EF4-FFF2-40B4-BE49-F238E27FC236}">
                  <a16:creationId xmlns:a16="http://schemas.microsoft.com/office/drawing/2014/main" id="{EB6CAD21-99D1-45D4-B43A-26BEE79D1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0425" y="6432550"/>
              <a:ext cx="31750" cy="15875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1"/>
                </a:cxn>
                <a:cxn ang="0">
                  <a:pos x="11" y="8"/>
                </a:cxn>
                <a:cxn ang="0">
                  <a:pos x="7" y="1"/>
                </a:cxn>
                <a:cxn ang="0">
                  <a:pos x="10" y="3"/>
                </a:cxn>
              </a:cxnLst>
              <a:rect l="0" t="0" r="r" b="b"/>
              <a:pathLst>
                <a:path w="17" h="9">
                  <a:moveTo>
                    <a:pt x="10" y="3"/>
                  </a:moveTo>
                  <a:cubicBezTo>
                    <a:pt x="7" y="2"/>
                    <a:pt x="4" y="0"/>
                    <a:pt x="1" y="1"/>
                  </a:cubicBezTo>
                  <a:cubicBezTo>
                    <a:pt x="0" y="6"/>
                    <a:pt x="6" y="9"/>
                    <a:pt x="11" y="8"/>
                  </a:cubicBezTo>
                  <a:cubicBezTo>
                    <a:pt x="17" y="8"/>
                    <a:pt x="11" y="1"/>
                    <a:pt x="7" y="1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7" name="Freeform 48">
              <a:extLst>
                <a:ext uri="{FF2B5EF4-FFF2-40B4-BE49-F238E27FC236}">
                  <a16:creationId xmlns:a16="http://schemas.microsoft.com/office/drawing/2014/main" id="{1327C9DD-EC77-42BB-ADF5-DC0EE0E29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4238" y="6497638"/>
              <a:ext cx="22225" cy="36513"/>
            </a:xfrm>
            <a:custGeom>
              <a:avLst/>
              <a:gdLst/>
              <a:ahLst/>
              <a:cxnLst>
                <a:cxn ang="0">
                  <a:pos x="12" y="1"/>
                </a:cxn>
                <a:cxn ang="0">
                  <a:pos x="1" y="3"/>
                </a:cxn>
                <a:cxn ang="0">
                  <a:pos x="1" y="10"/>
                </a:cxn>
                <a:cxn ang="0">
                  <a:pos x="11" y="19"/>
                </a:cxn>
                <a:cxn ang="0">
                  <a:pos x="12" y="5"/>
                </a:cxn>
                <a:cxn ang="0">
                  <a:pos x="12" y="1"/>
                </a:cxn>
              </a:cxnLst>
              <a:rect l="0" t="0" r="r" b="b"/>
              <a:pathLst>
                <a:path w="12" h="20">
                  <a:moveTo>
                    <a:pt x="12" y="1"/>
                  </a:moveTo>
                  <a:cubicBezTo>
                    <a:pt x="8" y="1"/>
                    <a:pt x="3" y="0"/>
                    <a:pt x="1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2" y="13"/>
                    <a:pt x="7" y="20"/>
                    <a:pt x="11" y="19"/>
                  </a:cubicBezTo>
                  <a:cubicBezTo>
                    <a:pt x="12" y="14"/>
                    <a:pt x="12" y="10"/>
                    <a:pt x="12" y="5"/>
                  </a:cubicBezTo>
                  <a:lnTo>
                    <a:pt x="12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8" name="Freeform 49">
              <a:extLst>
                <a:ext uri="{FF2B5EF4-FFF2-40B4-BE49-F238E27FC236}">
                  <a16:creationId xmlns:a16="http://schemas.microsoft.com/office/drawing/2014/main" id="{0725F74C-2B6D-493C-9A5D-4870FEFFF3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313" y="6503988"/>
              <a:ext cx="17463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11"/>
                </a:cxn>
                <a:cxn ang="0">
                  <a:pos x="8" y="14"/>
                </a:cxn>
                <a:cxn ang="0">
                  <a:pos x="9" y="4"/>
                </a:cxn>
                <a:cxn ang="0">
                  <a:pos x="10" y="0"/>
                </a:cxn>
              </a:cxnLst>
              <a:rect l="0" t="0" r="r" b="b"/>
              <a:pathLst>
                <a:path w="10" h="15">
                  <a:moveTo>
                    <a:pt x="10" y="0"/>
                  </a:moveTo>
                  <a:cubicBezTo>
                    <a:pt x="7" y="0"/>
                    <a:pt x="0" y="8"/>
                    <a:pt x="0" y="11"/>
                  </a:cubicBezTo>
                  <a:cubicBezTo>
                    <a:pt x="0" y="15"/>
                    <a:pt x="5" y="14"/>
                    <a:pt x="8" y="14"/>
                  </a:cubicBezTo>
                  <a:cubicBezTo>
                    <a:pt x="8" y="11"/>
                    <a:pt x="9" y="7"/>
                    <a:pt x="9" y="4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9" name="Freeform 50">
              <a:extLst>
                <a:ext uri="{FF2B5EF4-FFF2-40B4-BE49-F238E27FC236}">
                  <a16:creationId xmlns:a16="http://schemas.microsoft.com/office/drawing/2014/main" id="{763E9B73-C4C9-4CAA-9E18-E5B8E5E708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0875" y="6650038"/>
              <a:ext cx="273050" cy="58738"/>
            </a:xfrm>
            <a:custGeom>
              <a:avLst/>
              <a:gdLst/>
              <a:ahLst/>
              <a:cxnLst>
                <a:cxn ang="0">
                  <a:pos x="116" y="7"/>
                </a:cxn>
                <a:cxn ang="0">
                  <a:pos x="95" y="5"/>
                </a:cxn>
                <a:cxn ang="0">
                  <a:pos x="67" y="4"/>
                </a:cxn>
                <a:cxn ang="0">
                  <a:pos x="57" y="3"/>
                </a:cxn>
                <a:cxn ang="0">
                  <a:pos x="37" y="1"/>
                </a:cxn>
                <a:cxn ang="0">
                  <a:pos x="22" y="0"/>
                </a:cxn>
                <a:cxn ang="0">
                  <a:pos x="5" y="3"/>
                </a:cxn>
                <a:cxn ang="0">
                  <a:pos x="1" y="8"/>
                </a:cxn>
                <a:cxn ang="0">
                  <a:pos x="13" y="13"/>
                </a:cxn>
                <a:cxn ang="0">
                  <a:pos x="41" y="15"/>
                </a:cxn>
                <a:cxn ang="0">
                  <a:pos x="57" y="16"/>
                </a:cxn>
                <a:cxn ang="0">
                  <a:pos x="65" y="19"/>
                </a:cxn>
                <a:cxn ang="0">
                  <a:pos x="68" y="25"/>
                </a:cxn>
                <a:cxn ang="0">
                  <a:pos x="71" y="30"/>
                </a:cxn>
                <a:cxn ang="0">
                  <a:pos x="76" y="31"/>
                </a:cxn>
                <a:cxn ang="0">
                  <a:pos x="93" y="28"/>
                </a:cxn>
                <a:cxn ang="0">
                  <a:pos x="127" y="27"/>
                </a:cxn>
                <a:cxn ang="0">
                  <a:pos x="142" y="25"/>
                </a:cxn>
                <a:cxn ang="0">
                  <a:pos x="146" y="22"/>
                </a:cxn>
                <a:cxn ang="0">
                  <a:pos x="139" y="15"/>
                </a:cxn>
                <a:cxn ang="0">
                  <a:pos x="123" y="8"/>
                </a:cxn>
                <a:cxn ang="0">
                  <a:pos x="116" y="7"/>
                </a:cxn>
              </a:cxnLst>
              <a:rect l="0" t="0" r="r" b="b"/>
              <a:pathLst>
                <a:path w="146" h="31">
                  <a:moveTo>
                    <a:pt x="116" y="7"/>
                  </a:moveTo>
                  <a:cubicBezTo>
                    <a:pt x="109" y="5"/>
                    <a:pt x="102" y="5"/>
                    <a:pt x="95" y="5"/>
                  </a:cubicBezTo>
                  <a:cubicBezTo>
                    <a:pt x="86" y="5"/>
                    <a:pt x="77" y="4"/>
                    <a:pt x="67" y="4"/>
                  </a:cubicBezTo>
                  <a:cubicBezTo>
                    <a:pt x="64" y="3"/>
                    <a:pt x="60" y="3"/>
                    <a:pt x="57" y="3"/>
                  </a:cubicBezTo>
                  <a:cubicBezTo>
                    <a:pt x="50" y="3"/>
                    <a:pt x="44" y="1"/>
                    <a:pt x="37" y="1"/>
                  </a:cubicBezTo>
                  <a:cubicBezTo>
                    <a:pt x="32" y="0"/>
                    <a:pt x="27" y="1"/>
                    <a:pt x="22" y="0"/>
                  </a:cubicBezTo>
                  <a:cubicBezTo>
                    <a:pt x="16" y="0"/>
                    <a:pt x="10" y="0"/>
                    <a:pt x="5" y="3"/>
                  </a:cubicBezTo>
                  <a:cubicBezTo>
                    <a:pt x="3" y="4"/>
                    <a:pt x="0" y="5"/>
                    <a:pt x="1" y="8"/>
                  </a:cubicBezTo>
                  <a:cubicBezTo>
                    <a:pt x="3" y="11"/>
                    <a:pt x="11" y="12"/>
                    <a:pt x="13" y="13"/>
                  </a:cubicBezTo>
                  <a:cubicBezTo>
                    <a:pt x="22" y="14"/>
                    <a:pt x="31" y="14"/>
                    <a:pt x="41" y="15"/>
                  </a:cubicBezTo>
                  <a:cubicBezTo>
                    <a:pt x="46" y="15"/>
                    <a:pt x="52" y="15"/>
                    <a:pt x="57" y="16"/>
                  </a:cubicBezTo>
                  <a:cubicBezTo>
                    <a:pt x="59" y="17"/>
                    <a:pt x="64" y="18"/>
                    <a:pt x="65" y="19"/>
                  </a:cubicBezTo>
                  <a:cubicBezTo>
                    <a:pt x="67" y="21"/>
                    <a:pt x="67" y="23"/>
                    <a:pt x="68" y="25"/>
                  </a:cubicBezTo>
                  <a:cubicBezTo>
                    <a:pt x="68" y="27"/>
                    <a:pt x="69" y="30"/>
                    <a:pt x="71" y="30"/>
                  </a:cubicBezTo>
                  <a:cubicBezTo>
                    <a:pt x="72" y="31"/>
                    <a:pt x="75" y="31"/>
                    <a:pt x="76" y="31"/>
                  </a:cubicBezTo>
                  <a:cubicBezTo>
                    <a:pt x="82" y="30"/>
                    <a:pt x="88" y="28"/>
                    <a:pt x="93" y="28"/>
                  </a:cubicBezTo>
                  <a:cubicBezTo>
                    <a:pt x="104" y="27"/>
                    <a:pt x="116" y="27"/>
                    <a:pt x="127" y="27"/>
                  </a:cubicBezTo>
                  <a:cubicBezTo>
                    <a:pt x="132" y="27"/>
                    <a:pt x="137" y="27"/>
                    <a:pt x="142" y="25"/>
                  </a:cubicBezTo>
                  <a:cubicBezTo>
                    <a:pt x="143" y="25"/>
                    <a:pt x="145" y="23"/>
                    <a:pt x="146" y="22"/>
                  </a:cubicBezTo>
                  <a:cubicBezTo>
                    <a:pt x="146" y="19"/>
                    <a:pt x="140" y="16"/>
                    <a:pt x="139" y="15"/>
                  </a:cubicBezTo>
                  <a:cubicBezTo>
                    <a:pt x="134" y="12"/>
                    <a:pt x="129" y="10"/>
                    <a:pt x="123" y="8"/>
                  </a:cubicBezTo>
                  <a:lnTo>
                    <a:pt x="116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0" name="Freeform 51">
              <a:extLst>
                <a:ext uri="{FF2B5EF4-FFF2-40B4-BE49-F238E27FC236}">
                  <a16:creationId xmlns:a16="http://schemas.microsoft.com/office/drawing/2014/main" id="{ABF84A98-3309-4CD4-95C5-030D9B89A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975" y="6275388"/>
              <a:ext cx="39688" cy="76200"/>
            </a:xfrm>
            <a:custGeom>
              <a:avLst/>
              <a:gdLst/>
              <a:ahLst/>
              <a:cxnLst>
                <a:cxn ang="0">
                  <a:pos x="17" y="12"/>
                </a:cxn>
                <a:cxn ang="0">
                  <a:pos x="1" y="5"/>
                </a:cxn>
                <a:cxn ang="0">
                  <a:pos x="0" y="10"/>
                </a:cxn>
                <a:cxn ang="0">
                  <a:pos x="2" y="17"/>
                </a:cxn>
                <a:cxn ang="0">
                  <a:pos x="7" y="22"/>
                </a:cxn>
                <a:cxn ang="0">
                  <a:pos x="4" y="25"/>
                </a:cxn>
                <a:cxn ang="0">
                  <a:pos x="1" y="31"/>
                </a:cxn>
                <a:cxn ang="0">
                  <a:pos x="8" y="36"/>
                </a:cxn>
                <a:cxn ang="0">
                  <a:pos x="13" y="41"/>
                </a:cxn>
                <a:cxn ang="0">
                  <a:pos x="15" y="34"/>
                </a:cxn>
                <a:cxn ang="0">
                  <a:pos x="19" y="25"/>
                </a:cxn>
                <a:cxn ang="0">
                  <a:pos x="16" y="13"/>
                </a:cxn>
                <a:cxn ang="0">
                  <a:pos x="17" y="12"/>
                </a:cxn>
              </a:cxnLst>
              <a:rect l="0" t="0" r="r" b="b"/>
              <a:pathLst>
                <a:path w="22" h="41">
                  <a:moveTo>
                    <a:pt x="17" y="12"/>
                  </a:moveTo>
                  <a:cubicBezTo>
                    <a:pt x="14" y="9"/>
                    <a:pt x="6" y="0"/>
                    <a:pt x="1" y="5"/>
                  </a:cubicBezTo>
                  <a:cubicBezTo>
                    <a:pt x="0" y="7"/>
                    <a:pt x="0" y="9"/>
                    <a:pt x="0" y="10"/>
                  </a:cubicBezTo>
                  <a:cubicBezTo>
                    <a:pt x="0" y="13"/>
                    <a:pt x="1" y="15"/>
                    <a:pt x="2" y="17"/>
                  </a:cubicBezTo>
                  <a:cubicBezTo>
                    <a:pt x="3" y="18"/>
                    <a:pt x="6" y="20"/>
                    <a:pt x="7" y="22"/>
                  </a:cubicBezTo>
                  <a:cubicBezTo>
                    <a:pt x="8" y="25"/>
                    <a:pt x="6" y="24"/>
                    <a:pt x="4" y="25"/>
                  </a:cubicBezTo>
                  <a:cubicBezTo>
                    <a:pt x="1" y="26"/>
                    <a:pt x="1" y="28"/>
                    <a:pt x="1" y="31"/>
                  </a:cubicBezTo>
                  <a:cubicBezTo>
                    <a:pt x="2" y="35"/>
                    <a:pt x="5" y="34"/>
                    <a:pt x="8" y="36"/>
                  </a:cubicBezTo>
                  <a:cubicBezTo>
                    <a:pt x="10" y="38"/>
                    <a:pt x="10" y="41"/>
                    <a:pt x="13" y="41"/>
                  </a:cubicBezTo>
                  <a:cubicBezTo>
                    <a:pt x="15" y="40"/>
                    <a:pt x="15" y="36"/>
                    <a:pt x="15" y="34"/>
                  </a:cubicBezTo>
                  <a:cubicBezTo>
                    <a:pt x="15" y="29"/>
                    <a:pt x="17" y="28"/>
                    <a:pt x="19" y="25"/>
                  </a:cubicBezTo>
                  <a:cubicBezTo>
                    <a:pt x="22" y="21"/>
                    <a:pt x="22" y="14"/>
                    <a:pt x="16" y="13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1" name="Freeform 52">
              <a:extLst>
                <a:ext uri="{FF2B5EF4-FFF2-40B4-BE49-F238E27FC236}">
                  <a16:creationId xmlns:a16="http://schemas.microsoft.com/office/drawing/2014/main" id="{DEBA49AD-820D-4730-927A-9C43939C1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975" y="6175375"/>
              <a:ext cx="87313" cy="68263"/>
            </a:xfrm>
            <a:custGeom>
              <a:avLst/>
              <a:gdLst/>
              <a:ahLst/>
              <a:cxnLst>
                <a:cxn ang="0">
                  <a:pos x="39" y="6"/>
                </a:cxn>
                <a:cxn ang="0">
                  <a:pos x="35" y="5"/>
                </a:cxn>
                <a:cxn ang="0">
                  <a:pos x="25" y="0"/>
                </a:cxn>
                <a:cxn ang="0">
                  <a:pos x="19" y="3"/>
                </a:cxn>
                <a:cxn ang="0">
                  <a:pos x="16" y="5"/>
                </a:cxn>
                <a:cxn ang="0">
                  <a:pos x="5" y="9"/>
                </a:cxn>
                <a:cxn ang="0">
                  <a:pos x="0" y="14"/>
                </a:cxn>
                <a:cxn ang="0">
                  <a:pos x="6" y="20"/>
                </a:cxn>
                <a:cxn ang="0">
                  <a:pos x="10" y="23"/>
                </a:cxn>
                <a:cxn ang="0">
                  <a:pos x="12" y="22"/>
                </a:cxn>
                <a:cxn ang="0">
                  <a:pos x="31" y="22"/>
                </a:cxn>
                <a:cxn ang="0">
                  <a:pos x="20" y="30"/>
                </a:cxn>
                <a:cxn ang="0">
                  <a:pos x="33" y="33"/>
                </a:cxn>
                <a:cxn ang="0">
                  <a:pos x="39" y="34"/>
                </a:cxn>
                <a:cxn ang="0">
                  <a:pos x="43" y="35"/>
                </a:cxn>
                <a:cxn ang="0">
                  <a:pos x="45" y="27"/>
                </a:cxn>
                <a:cxn ang="0">
                  <a:pos x="40" y="25"/>
                </a:cxn>
                <a:cxn ang="0">
                  <a:pos x="39" y="21"/>
                </a:cxn>
                <a:cxn ang="0">
                  <a:pos x="37" y="16"/>
                </a:cxn>
                <a:cxn ang="0">
                  <a:pos x="34" y="11"/>
                </a:cxn>
                <a:cxn ang="0">
                  <a:pos x="34" y="5"/>
                </a:cxn>
                <a:cxn ang="0">
                  <a:pos x="39" y="6"/>
                </a:cxn>
              </a:cxnLst>
              <a:rect l="0" t="0" r="r" b="b"/>
              <a:pathLst>
                <a:path w="47" h="36">
                  <a:moveTo>
                    <a:pt x="39" y="6"/>
                  </a:moveTo>
                  <a:cubicBezTo>
                    <a:pt x="38" y="6"/>
                    <a:pt x="37" y="6"/>
                    <a:pt x="35" y="5"/>
                  </a:cubicBezTo>
                  <a:cubicBezTo>
                    <a:pt x="32" y="2"/>
                    <a:pt x="29" y="1"/>
                    <a:pt x="25" y="0"/>
                  </a:cubicBezTo>
                  <a:cubicBezTo>
                    <a:pt x="22" y="0"/>
                    <a:pt x="21" y="1"/>
                    <a:pt x="19" y="3"/>
                  </a:cubicBezTo>
                  <a:cubicBezTo>
                    <a:pt x="18" y="4"/>
                    <a:pt x="17" y="5"/>
                    <a:pt x="16" y="5"/>
                  </a:cubicBezTo>
                  <a:cubicBezTo>
                    <a:pt x="13" y="8"/>
                    <a:pt x="8" y="9"/>
                    <a:pt x="5" y="9"/>
                  </a:cubicBezTo>
                  <a:cubicBezTo>
                    <a:pt x="1" y="10"/>
                    <a:pt x="0" y="10"/>
                    <a:pt x="0" y="14"/>
                  </a:cubicBezTo>
                  <a:cubicBezTo>
                    <a:pt x="0" y="18"/>
                    <a:pt x="2" y="19"/>
                    <a:pt x="6" y="20"/>
                  </a:cubicBezTo>
                  <a:cubicBezTo>
                    <a:pt x="7" y="21"/>
                    <a:pt x="8" y="23"/>
                    <a:pt x="10" y="23"/>
                  </a:cubicBezTo>
                  <a:cubicBezTo>
                    <a:pt x="11" y="23"/>
                    <a:pt x="11" y="23"/>
                    <a:pt x="12" y="22"/>
                  </a:cubicBezTo>
                  <a:cubicBezTo>
                    <a:pt x="17" y="19"/>
                    <a:pt x="27" y="16"/>
                    <a:pt x="31" y="22"/>
                  </a:cubicBezTo>
                  <a:cubicBezTo>
                    <a:pt x="26" y="24"/>
                    <a:pt x="20" y="23"/>
                    <a:pt x="20" y="30"/>
                  </a:cubicBezTo>
                  <a:cubicBezTo>
                    <a:pt x="25" y="32"/>
                    <a:pt x="28" y="33"/>
                    <a:pt x="33" y="33"/>
                  </a:cubicBezTo>
                  <a:cubicBezTo>
                    <a:pt x="35" y="33"/>
                    <a:pt x="37" y="33"/>
                    <a:pt x="39" y="34"/>
                  </a:cubicBezTo>
                  <a:cubicBezTo>
                    <a:pt x="40" y="35"/>
                    <a:pt x="40" y="36"/>
                    <a:pt x="43" y="35"/>
                  </a:cubicBezTo>
                  <a:cubicBezTo>
                    <a:pt x="46" y="34"/>
                    <a:pt x="47" y="29"/>
                    <a:pt x="45" y="27"/>
                  </a:cubicBezTo>
                  <a:cubicBezTo>
                    <a:pt x="43" y="25"/>
                    <a:pt x="41" y="26"/>
                    <a:pt x="40" y="25"/>
                  </a:cubicBezTo>
                  <a:cubicBezTo>
                    <a:pt x="39" y="24"/>
                    <a:pt x="39" y="22"/>
                    <a:pt x="39" y="21"/>
                  </a:cubicBezTo>
                  <a:cubicBezTo>
                    <a:pt x="39" y="19"/>
                    <a:pt x="37" y="18"/>
                    <a:pt x="37" y="16"/>
                  </a:cubicBezTo>
                  <a:cubicBezTo>
                    <a:pt x="36" y="14"/>
                    <a:pt x="35" y="13"/>
                    <a:pt x="34" y="11"/>
                  </a:cubicBezTo>
                  <a:cubicBezTo>
                    <a:pt x="33" y="9"/>
                    <a:pt x="34" y="7"/>
                    <a:pt x="34" y="5"/>
                  </a:cubicBezTo>
                  <a:lnTo>
                    <a:pt x="39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2" name="Freeform 53">
              <a:extLst>
                <a:ext uri="{FF2B5EF4-FFF2-40B4-BE49-F238E27FC236}">
                  <a16:creationId xmlns:a16="http://schemas.microsoft.com/office/drawing/2014/main" id="{DD83F546-305A-4166-8F17-905EC2779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475" y="6632575"/>
              <a:ext cx="69850" cy="68263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5" y="7"/>
                </a:cxn>
                <a:cxn ang="0">
                  <a:pos x="12" y="11"/>
                </a:cxn>
                <a:cxn ang="0">
                  <a:pos x="12" y="13"/>
                </a:cxn>
                <a:cxn ang="0">
                  <a:pos x="3" y="21"/>
                </a:cxn>
                <a:cxn ang="0">
                  <a:pos x="7" y="24"/>
                </a:cxn>
                <a:cxn ang="0">
                  <a:pos x="11" y="28"/>
                </a:cxn>
                <a:cxn ang="0">
                  <a:pos x="12" y="31"/>
                </a:cxn>
                <a:cxn ang="0">
                  <a:pos x="14" y="31"/>
                </a:cxn>
                <a:cxn ang="0">
                  <a:pos x="17" y="35"/>
                </a:cxn>
                <a:cxn ang="0">
                  <a:pos x="22" y="23"/>
                </a:cxn>
                <a:cxn ang="0">
                  <a:pos x="33" y="11"/>
                </a:cxn>
                <a:cxn ang="0">
                  <a:pos x="33" y="3"/>
                </a:cxn>
                <a:cxn ang="0">
                  <a:pos x="23" y="6"/>
                </a:cxn>
                <a:cxn ang="0">
                  <a:pos x="27" y="0"/>
                </a:cxn>
              </a:cxnLst>
              <a:rect l="0" t="0" r="r" b="b"/>
              <a:pathLst>
                <a:path w="38" h="37">
                  <a:moveTo>
                    <a:pt x="27" y="0"/>
                  </a:moveTo>
                  <a:cubicBezTo>
                    <a:pt x="23" y="2"/>
                    <a:pt x="18" y="4"/>
                    <a:pt x="15" y="7"/>
                  </a:cubicBezTo>
                  <a:cubicBezTo>
                    <a:pt x="14" y="8"/>
                    <a:pt x="13" y="9"/>
                    <a:pt x="12" y="11"/>
                  </a:cubicBezTo>
                  <a:cubicBezTo>
                    <a:pt x="12" y="12"/>
                    <a:pt x="13" y="12"/>
                    <a:pt x="12" y="13"/>
                  </a:cubicBezTo>
                  <a:cubicBezTo>
                    <a:pt x="11" y="16"/>
                    <a:pt x="0" y="17"/>
                    <a:pt x="3" y="21"/>
                  </a:cubicBezTo>
                  <a:cubicBezTo>
                    <a:pt x="4" y="22"/>
                    <a:pt x="6" y="23"/>
                    <a:pt x="7" y="24"/>
                  </a:cubicBezTo>
                  <a:cubicBezTo>
                    <a:pt x="9" y="25"/>
                    <a:pt x="9" y="25"/>
                    <a:pt x="11" y="28"/>
                  </a:cubicBezTo>
                  <a:cubicBezTo>
                    <a:pt x="11" y="29"/>
                    <a:pt x="12" y="30"/>
                    <a:pt x="12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3"/>
                    <a:pt x="15" y="35"/>
                    <a:pt x="17" y="35"/>
                  </a:cubicBezTo>
                  <a:cubicBezTo>
                    <a:pt x="20" y="37"/>
                    <a:pt x="22" y="25"/>
                    <a:pt x="22" y="23"/>
                  </a:cubicBezTo>
                  <a:cubicBezTo>
                    <a:pt x="24" y="18"/>
                    <a:pt x="30" y="15"/>
                    <a:pt x="33" y="11"/>
                  </a:cubicBezTo>
                  <a:cubicBezTo>
                    <a:pt x="35" y="8"/>
                    <a:pt x="38" y="4"/>
                    <a:pt x="33" y="3"/>
                  </a:cubicBezTo>
                  <a:cubicBezTo>
                    <a:pt x="31" y="2"/>
                    <a:pt x="22" y="1"/>
                    <a:pt x="23" y="6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3" name="Freeform 54">
              <a:extLst>
                <a:ext uri="{FF2B5EF4-FFF2-40B4-BE49-F238E27FC236}">
                  <a16:creationId xmlns:a16="http://schemas.microsoft.com/office/drawing/2014/main" id="{B87D21CE-8A5A-4052-8794-DAEC97A6B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688" y="6553200"/>
              <a:ext cx="42863" cy="31750"/>
            </a:xfrm>
            <a:custGeom>
              <a:avLst/>
              <a:gdLst/>
              <a:ahLst/>
              <a:cxnLst>
                <a:cxn ang="0">
                  <a:pos x="21" y="2"/>
                </a:cxn>
                <a:cxn ang="0">
                  <a:pos x="5" y="7"/>
                </a:cxn>
                <a:cxn ang="0">
                  <a:pos x="3" y="15"/>
                </a:cxn>
                <a:cxn ang="0">
                  <a:pos x="18" y="5"/>
                </a:cxn>
                <a:cxn ang="0">
                  <a:pos x="22" y="3"/>
                </a:cxn>
                <a:cxn ang="0">
                  <a:pos x="23" y="0"/>
                </a:cxn>
                <a:cxn ang="0">
                  <a:pos x="21" y="2"/>
                </a:cxn>
              </a:cxnLst>
              <a:rect l="0" t="0" r="r" b="b"/>
              <a:pathLst>
                <a:path w="23" h="17">
                  <a:moveTo>
                    <a:pt x="21" y="2"/>
                  </a:moveTo>
                  <a:cubicBezTo>
                    <a:pt x="16" y="1"/>
                    <a:pt x="8" y="4"/>
                    <a:pt x="5" y="7"/>
                  </a:cubicBezTo>
                  <a:cubicBezTo>
                    <a:pt x="3" y="9"/>
                    <a:pt x="0" y="13"/>
                    <a:pt x="3" y="15"/>
                  </a:cubicBezTo>
                  <a:cubicBezTo>
                    <a:pt x="8" y="17"/>
                    <a:pt x="16" y="8"/>
                    <a:pt x="18" y="5"/>
                  </a:cubicBezTo>
                  <a:cubicBezTo>
                    <a:pt x="19" y="4"/>
                    <a:pt x="22" y="4"/>
                    <a:pt x="22" y="3"/>
                  </a:cubicBezTo>
                  <a:cubicBezTo>
                    <a:pt x="23" y="2"/>
                    <a:pt x="23" y="1"/>
                    <a:pt x="23" y="0"/>
                  </a:cubicBezTo>
                  <a:lnTo>
                    <a:pt x="21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4" name="Freeform 55">
              <a:extLst>
                <a:ext uri="{FF2B5EF4-FFF2-40B4-BE49-F238E27FC236}">
                  <a16:creationId xmlns:a16="http://schemas.microsoft.com/office/drawing/2014/main" id="{74D1231B-8409-486F-ABA2-0AAB3C8480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6432550"/>
              <a:ext cx="42863" cy="22225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4" y="7"/>
                </a:cxn>
                <a:cxn ang="0">
                  <a:pos x="2" y="11"/>
                </a:cxn>
                <a:cxn ang="0">
                  <a:pos x="9" y="11"/>
                </a:cxn>
                <a:cxn ang="0">
                  <a:pos x="19" y="9"/>
                </a:cxn>
                <a:cxn ang="0">
                  <a:pos x="23" y="0"/>
                </a:cxn>
                <a:cxn ang="0">
                  <a:pos x="17" y="0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11" y="0"/>
                    <a:pt x="8" y="4"/>
                    <a:pt x="4" y="7"/>
                  </a:cubicBezTo>
                  <a:cubicBezTo>
                    <a:pt x="3" y="8"/>
                    <a:pt x="0" y="9"/>
                    <a:pt x="2" y="11"/>
                  </a:cubicBezTo>
                  <a:cubicBezTo>
                    <a:pt x="3" y="12"/>
                    <a:pt x="7" y="11"/>
                    <a:pt x="9" y="11"/>
                  </a:cubicBezTo>
                  <a:cubicBezTo>
                    <a:pt x="13" y="11"/>
                    <a:pt x="16" y="12"/>
                    <a:pt x="19" y="9"/>
                  </a:cubicBezTo>
                  <a:cubicBezTo>
                    <a:pt x="23" y="7"/>
                    <a:pt x="23" y="4"/>
                    <a:pt x="23" y="0"/>
                  </a:cubicBezTo>
                  <a:lnTo>
                    <a:pt x="1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5" name="Freeform 56">
              <a:extLst>
                <a:ext uri="{FF2B5EF4-FFF2-40B4-BE49-F238E27FC236}">
                  <a16:creationId xmlns:a16="http://schemas.microsoft.com/office/drawing/2014/main" id="{7403EC24-8649-48E7-8335-10F7BFC07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4075" y="6078538"/>
              <a:ext cx="42863" cy="39688"/>
            </a:xfrm>
            <a:custGeom>
              <a:avLst/>
              <a:gdLst/>
              <a:ahLst/>
              <a:cxnLst>
                <a:cxn ang="0">
                  <a:pos x="19" y="5"/>
                </a:cxn>
                <a:cxn ang="0">
                  <a:pos x="20" y="3"/>
                </a:cxn>
                <a:cxn ang="0">
                  <a:pos x="17" y="1"/>
                </a:cxn>
                <a:cxn ang="0">
                  <a:pos x="14" y="1"/>
                </a:cxn>
                <a:cxn ang="0">
                  <a:pos x="13" y="3"/>
                </a:cxn>
                <a:cxn ang="0">
                  <a:pos x="6" y="1"/>
                </a:cxn>
                <a:cxn ang="0">
                  <a:pos x="3" y="3"/>
                </a:cxn>
                <a:cxn ang="0">
                  <a:pos x="2" y="13"/>
                </a:cxn>
                <a:cxn ang="0">
                  <a:pos x="14" y="11"/>
                </a:cxn>
                <a:cxn ang="0">
                  <a:pos x="21" y="17"/>
                </a:cxn>
                <a:cxn ang="0">
                  <a:pos x="22" y="9"/>
                </a:cxn>
                <a:cxn ang="0">
                  <a:pos x="18" y="5"/>
                </a:cxn>
                <a:cxn ang="0">
                  <a:pos x="19" y="5"/>
                </a:cxn>
              </a:cxnLst>
              <a:rect l="0" t="0" r="r" b="b"/>
              <a:pathLst>
                <a:path w="23" h="21">
                  <a:moveTo>
                    <a:pt x="19" y="5"/>
                  </a:moveTo>
                  <a:cubicBezTo>
                    <a:pt x="20" y="5"/>
                    <a:pt x="20" y="4"/>
                    <a:pt x="20" y="3"/>
                  </a:cubicBezTo>
                  <a:cubicBezTo>
                    <a:pt x="20" y="1"/>
                    <a:pt x="19" y="1"/>
                    <a:pt x="17" y="1"/>
                  </a:cubicBezTo>
                  <a:cubicBezTo>
                    <a:pt x="16" y="1"/>
                    <a:pt x="15" y="1"/>
                    <a:pt x="14" y="1"/>
                  </a:cubicBezTo>
                  <a:cubicBezTo>
                    <a:pt x="13" y="1"/>
                    <a:pt x="14" y="2"/>
                    <a:pt x="13" y="3"/>
                  </a:cubicBezTo>
                  <a:cubicBezTo>
                    <a:pt x="10" y="4"/>
                    <a:pt x="8" y="0"/>
                    <a:pt x="6" y="1"/>
                  </a:cubicBezTo>
                  <a:cubicBezTo>
                    <a:pt x="4" y="1"/>
                    <a:pt x="4" y="1"/>
                    <a:pt x="3" y="3"/>
                  </a:cubicBezTo>
                  <a:cubicBezTo>
                    <a:pt x="2" y="6"/>
                    <a:pt x="0" y="11"/>
                    <a:pt x="2" y="13"/>
                  </a:cubicBezTo>
                  <a:cubicBezTo>
                    <a:pt x="5" y="16"/>
                    <a:pt x="11" y="13"/>
                    <a:pt x="14" y="11"/>
                  </a:cubicBezTo>
                  <a:cubicBezTo>
                    <a:pt x="15" y="15"/>
                    <a:pt x="16" y="21"/>
                    <a:pt x="21" y="17"/>
                  </a:cubicBezTo>
                  <a:cubicBezTo>
                    <a:pt x="23" y="15"/>
                    <a:pt x="22" y="12"/>
                    <a:pt x="22" y="9"/>
                  </a:cubicBezTo>
                  <a:cubicBezTo>
                    <a:pt x="22" y="5"/>
                    <a:pt x="21" y="4"/>
                    <a:pt x="18" y="5"/>
                  </a:cubicBezTo>
                  <a:lnTo>
                    <a:pt x="19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6" name="Freeform 57">
              <a:extLst>
                <a:ext uri="{FF2B5EF4-FFF2-40B4-BE49-F238E27FC236}">
                  <a16:creationId xmlns:a16="http://schemas.microsoft.com/office/drawing/2014/main" id="{83FC2424-A173-47B6-A4A5-00B1EE144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75" y="5954713"/>
              <a:ext cx="38100" cy="3968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5" y="1"/>
                </a:cxn>
                <a:cxn ang="0">
                  <a:pos x="1" y="12"/>
                </a:cxn>
                <a:cxn ang="0">
                  <a:pos x="15" y="17"/>
                </a:cxn>
                <a:cxn ang="0">
                  <a:pos x="14" y="4"/>
                </a:cxn>
                <a:cxn ang="0">
                  <a:pos x="16" y="2"/>
                </a:cxn>
              </a:cxnLst>
              <a:rect l="0" t="0" r="r" b="b"/>
              <a:pathLst>
                <a:path w="20" h="21">
                  <a:moveTo>
                    <a:pt x="16" y="2"/>
                  </a:moveTo>
                  <a:cubicBezTo>
                    <a:pt x="12" y="3"/>
                    <a:pt x="9" y="0"/>
                    <a:pt x="5" y="1"/>
                  </a:cubicBezTo>
                  <a:cubicBezTo>
                    <a:pt x="1" y="2"/>
                    <a:pt x="0" y="8"/>
                    <a:pt x="1" y="12"/>
                  </a:cubicBezTo>
                  <a:cubicBezTo>
                    <a:pt x="4" y="17"/>
                    <a:pt x="10" y="21"/>
                    <a:pt x="15" y="17"/>
                  </a:cubicBezTo>
                  <a:cubicBezTo>
                    <a:pt x="20" y="14"/>
                    <a:pt x="16" y="8"/>
                    <a:pt x="14" y="4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7" name="Freeform 58">
              <a:extLst>
                <a:ext uri="{FF2B5EF4-FFF2-40B4-BE49-F238E27FC236}">
                  <a16:creationId xmlns:a16="http://schemas.microsoft.com/office/drawing/2014/main" id="{D6248059-2E64-4FA6-B11A-0AF86CA67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0" y="5995988"/>
              <a:ext cx="34925" cy="20638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5" y="2"/>
                </a:cxn>
                <a:cxn ang="0">
                  <a:pos x="0" y="8"/>
                </a:cxn>
                <a:cxn ang="0">
                  <a:pos x="8" y="11"/>
                </a:cxn>
                <a:cxn ang="0">
                  <a:pos x="19" y="11"/>
                </a:cxn>
                <a:cxn ang="0">
                  <a:pos x="16" y="9"/>
                </a:cxn>
                <a:cxn ang="0">
                  <a:pos x="17" y="7"/>
                </a:cxn>
              </a:cxnLst>
              <a:rect l="0" t="0" r="r" b="b"/>
              <a:pathLst>
                <a:path w="19" h="11">
                  <a:moveTo>
                    <a:pt x="17" y="7"/>
                  </a:moveTo>
                  <a:cubicBezTo>
                    <a:pt x="14" y="4"/>
                    <a:pt x="9" y="0"/>
                    <a:pt x="5" y="2"/>
                  </a:cubicBezTo>
                  <a:cubicBezTo>
                    <a:pt x="3" y="2"/>
                    <a:pt x="0" y="5"/>
                    <a:pt x="0" y="8"/>
                  </a:cubicBezTo>
                  <a:cubicBezTo>
                    <a:pt x="1" y="11"/>
                    <a:pt x="6" y="11"/>
                    <a:pt x="8" y="11"/>
                  </a:cubicBezTo>
                  <a:cubicBezTo>
                    <a:pt x="12" y="11"/>
                    <a:pt x="15" y="11"/>
                    <a:pt x="19" y="11"/>
                  </a:cubicBezTo>
                  <a:cubicBezTo>
                    <a:pt x="18" y="10"/>
                    <a:pt x="18" y="9"/>
                    <a:pt x="16" y="9"/>
                  </a:cubicBezTo>
                  <a:lnTo>
                    <a:pt x="17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8" name="Freeform 59">
              <a:extLst>
                <a:ext uri="{FF2B5EF4-FFF2-40B4-BE49-F238E27FC236}">
                  <a16:creationId xmlns:a16="http://schemas.microsoft.com/office/drawing/2014/main" id="{8E14B345-454B-4204-898B-9D803104CE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1863" y="5770563"/>
              <a:ext cx="2187575" cy="968375"/>
            </a:xfrm>
            <a:custGeom>
              <a:avLst/>
              <a:gdLst/>
              <a:ahLst/>
              <a:cxnLst>
                <a:cxn ang="0">
                  <a:pos x="135" y="37"/>
                </a:cxn>
                <a:cxn ang="0">
                  <a:pos x="102" y="10"/>
                </a:cxn>
                <a:cxn ang="0">
                  <a:pos x="53" y="16"/>
                </a:cxn>
                <a:cxn ang="0">
                  <a:pos x="54" y="38"/>
                </a:cxn>
                <a:cxn ang="0">
                  <a:pos x="19" y="104"/>
                </a:cxn>
                <a:cxn ang="0">
                  <a:pos x="59" y="122"/>
                </a:cxn>
                <a:cxn ang="0">
                  <a:pos x="74" y="124"/>
                </a:cxn>
                <a:cxn ang="0">
                  <a:pos x="113" y="111"/>
                </a:cxn>
                <a:cxn ang="0">
                  <a:pos x="104" y="96"/>
                </a:cxn>
                <a:cxn ang="0">
                  <a:pos x="141" y="88"/>
                </a:cxn>
                <a:cxn ang="0">
                  <a:pos x="187" y="95"/>
                </a:cxn>
                <a:cxn ang="0">
                  <a:pos x="311" y="435"/>
                </a:cxn>
                <a:cxn ang="0">
                  <a:pos x="1149" y="410"/>
                </a:cxn>
                <a:cxn ang="0">
                  <a:pos x="1131" y="343"/>
                </a:cxn>
                <a:cxn ang="0">
                  <a:pos x="1139" y="238"/>
                </a:cxn>
                <a:cxn ang="0">
                  <a:pos x="1079" y="167"/>
                </a:cxn>
                <a:cxn ang="0">
                  <a:pos x="1047" y="94"/>
                </a:cxn>
                <a:cxn ang="0">
                  <a:pos x="986" y="83"/>
                </a:cxn>
                <a:cxn ang="0">
                  <a:pos x="925" y="97"/>
                </a:cxn>
                <a:cxn ang="0">
                  <a:pos x="812" y="112"/>
                </a:cxn>
                <a:cxn ang="0">
                  <a:pos x="739" y="118"/>
                </a:cxn>
                <a:cxn ang="0">
                  <a:pos x="663" y="97"/>
                </a:cxn>
                <a:cxn ang="0">
                  <a:pos x="612" y="65"/>
                </a:cxn>
                <a:cxn ang="0">
                  <a:pos x="550" y="27"/>
                </a:cxn>
                <a:cxn ang="0">
                  <a:pos x="477" y="22"/>
                </a:cxn>
                <a:cxn ang="0">
                  <a:pos x="367" y="43"/>
                </a:cxn>
                <a:cxn ang="0">
                  <a:pos x="321" y="86"/>
                </a:cxn>
                <a:cxn ang="0">
                  <a:pos x="208" y="75"/>
                </a:cxn>
                <a:cxn ang="0">
                  <a:pos x="194" y="88"/>
                </a:cxn>
                <a:cxn ang="0">
                  <a:pos x="199" y="100"/>
                </a:cxn>
                <a:cxn ang="0">
                  <a:pos x="242" y="115"/>
                </a:cxn>
                <a:cxn ang="0">
                  <a:pos x="208" y="119"/>
                </a:cxn>
                <a:cxn ang="0">
                  <a:pos x="178" y="135"/>
                </a:cxn>
                <a:cxn ang="0">
                  <a:pos x="141" y="140"/>
                </a:cxn>
                <a:cxn ang="0">
                  <a:pos x="119" y="137"/>
                </a:cxn>
                <a:cxn ang="0">
                  <a:pos x="86" y="135"/>
                </a:cxn>
                <a:cxn ang="0">
                  <a:pos x="59" y="130"/>
                </a:cxn>
                <a:cxn ang="0">
                  <a:pos x="1" y="158"/>
                </a:cxn>
                <a:cxn ang="0">
                  <a:pos x="29" y="171"/>
                </a:cxn>
                <a:cxn ang="0">
                  <a:pos x="60" y="208"/>
                </a:cxn>
                <a:cxn ang="0">
                  <a:pos x="67" y="265"/>
                </a:cxn>
                <a:cxn ang="0">
                  <a:pos x="41" y="277"/>
                </a:cxn>
                <a:cxn ang="0">
                  <a:pos x="86" y="340"/>
                </a:cxn>
                <a:cxn ang="0">
                  <a:pos x="65" y="361"/>
                </a:cxn>
                <a:cxn ang="0">
                  <a:pos x="98" y="400"/>
                </a:cxn>
                <a:cxn ang="0">
                  <a:pos x="146" y="416"/>
                </a:cxn>
                <a:cxn ang="0">
                  <a:pos x="125" y="439"/>
                </a:cxn>
                <a:cxn ang="0">
                  <a:pos x="187" y="443"/>
                </a:cxn>
                <a:cxn ang="0">
                  <a:pos x="272" y="477"/>
                </a:cxn>
                <a:cxn ang="0">
                  <a:pos x="345" y="445"/>
                </a:cxn>
                <a:cxn ang="0">
                  <a:pos x="381" y="481"/>
                </a:cxn>
                <a:cxn ang="0">
                  <a:pos x="492" y="491"/>
                </a:cxn>
                <a:cxn ang="0">
                  <a:pos x="542" y="456"/>
                </a:cxn>
                <a:cxn ang="0">
                  <a:pos x="595" y="462"/>
                </a:cxn>
                <a:cxn ang="0">
                  <a:pos x="617" y="517"/>
                </a:cxn>
                <a:cxn ang="0">
                  <a:pos x="669" y="462"/>
                </a:cxn>
                <a:cxn ang="0">
                  <a:pos x="764" y="454"/>
                </a:cxn>
                <a:cxn ang="0">
                  <a:pos x="882" y="455"/>
                </a:cxn>
                <a:cxn ang="0">
                  <a:pos x="983" y="447"/>
                </a:cxn>
                <a:cxn ang="0">
                  <a:pos x="1079" y="436"/>
                </a:cxn>
              </a:cxnLst>
              <a:rect l="0" t="0" r="r" b="b"/>
              <a:pathLst>
                <a:path w="1171" h="518">
                  <a:moveTo>
                    <a:pt x="197" y="70"/>
                  </a:moveTo>
                  <a:cubicBezTo>
                    <a:pt x="193" y="69"/>
                    <a:pt x="188" y="67"/>
                    <a:pt x="184" y="66"/>
                  </a:cubicBezTo>
                  <a:cubicBezTo>
                    <a:pt x="181" y="65"/>
                    <a:pt x="178" y="66"/>
                    <a:pt x="175" y="65"/>
                  </a:cubicBezTo>
                  <a:cubicBezTo>
                    <a:pt x="172" y="65"/>
                    <a:pt x="171" y="64"/>
                    <a:pt x="168" y="63"/>
                  </a:cubicBezTo>
                  <a:cubicBezTo>
                    <a:pt x="165" y="61"/>
                    <a:pt x="164" y="62"/>
                    <a:pt x="162" y="59"/>
                  </a:cubicBezTo>
                  <a:cubicBezTo>
                    <a:pt x="161" y="58"/>
                    <a:pt x="160" y="56"/>
                    <a:pt x="159" y="55"/>
                  </a:cubicBezTo>
                  <a:cubicBezTo>
                    <a:pt x="158" y="53"/>
                    <a:pt x="156" y="54"/>
                    <a:pt x="154" y="54"/>
                  </a:cubicBezTo>
                  <a:cubicBezTo>
                    <a:pt x="152" y="53"/>
                    <a:pt x="150" y="51"/>
                    <a:pt x="148" y="49"/>
                  </a:cubicBezTo>
                  <a:cubicBezTo>
                    <a:pt x="145" y="47"/>
                    <a:pt x="142" y="48"/>
                    <a:pt x="140" y="47"/>
                  </a:cubicBezTo>
                  <a:cubicBezTo>
                    <a:pt x="135" y="45"/>
                    <a:pt x="137" y="41"/>
                    <a:pt x="135" y="37"/>
                  </a:cubicBezTo>
                  <a:cubicBezTo>
                    <a:pt x="135" y="36"/>
                    <a:pt x="134" y="35"/>
                    <a:pt x="134" y="34"/>
                  </a:cubicBezTo>
                  <a:cubicBezTo>
                    <a:pt x="134" y="32"/>
                    <a:pt x="134" y="30"/>
                    <a:pt x="134" y="28"/>
                  </a:cubicBezTo>
                  <a:cubicBezTo>
                    <a:pt x="133" y="24"/>
                    <a:pt x="131" y="23"/>
                    <a:pt x="131" y="19"/>
                  </a:cubicBezTo>
                  <a:cubicBezTo>
                    <a:pt x="131" y="16"/>
                    <a:pt x="130" y="14"/>
                    <a:pt x="128" y="11"/>
                  </a:cubicBezTo>
                  <a:cubicBezTo>
                    <a:pt x="128" y="11"/>
                    <a:pt x="127" y="11"/>
                    <a:pt x="126" y="11"/>
                  </a:cubicBezTo>
                  <a:cubicBezTo>
                    <a:pt x="123" y="12"/>
                    <a:pt x="121" y="13"/>
                    <a:pt x="118" y="13"/>
                  </a:cubicBezTo>
                  <a:cubicBezTo>
                    <a:pt x="116" y="13"/>
                    <a:pt x="114" y="14"/>
                    <a:pt x="112" y="15"/>
                  </a:cubicBezTo>
                  <a:cubicBezTo>
                    <a:pt x="111" y="15"/>
                    <a:pt x="110" y="16"/>
                    <a:pt x="108" y="16"/>
                  </a:cubicBezTo>
                  <a:cubicBezTo>
                    <a:pt x="106" y="16"/>
                    <a:pt x="107" y="16"/>
                    <a:pt x="106" y="14"/>
                  </a:cubicBezTo>
                  <a:cubicBezTo>
                    <a:pt x="105" y="13"/>
                    <a:pt x="103" y="11"/>
                    <a:pt x="102" y="10"/>
                  </a:cubicBezTo>
                  <a:cubicBezTo>
                    <a:pt x="101" y="8"/>
                    <a:pt x="101" y="8"/>
                    <a:pt x="99" y="8"/>
                  </a:cubicBezTo>
                  <a:cubicBezTo>
                    <a:pt x="98" y="7"/>
                    <a:pt x="98" y="6"/>
                    <a:pt x="97" y="6"/>
                  </a:cubicBezTo>
                  <a:cubicBezTo>
                    <a:pt x="96" y="5"/>
                    <a:pt x="95" y="6"/>
                    <a:pt x="93" y="6"/>
                  </a:cubicBezTo>
                  <a:cubicBezTo>
                    <a:pt x="90" y="6"/>
                    <a:pt x="88" y="3"/>
                    <a:pt x="86" y="2"/>
                  </a:cubicBezTo>
                  <a:cubicBezTo>
                    <a:pt x="83" y="0"/>
                    <a:pt x="82" y="3"/>
                    <a:pt x="80" y="4"/>
                  </a:cubicBezTo>
                  <a:cubicBezTo>
                    <a:pt x="76" y="6"/>
                    <a:pt x="74" y="8"/>
                    <a:pt x="71" y="10"/>
                  </a:cubicBezTo>
                  <a:cubicBezTo>
                    <a:pt x="69" y="11"/>
                    <a:pt x="69" y="11"/>
                    <a:pt x="67" y="10"/>
                  </a:cubicBezTo>
                  <a:cubicBezTo>
                    <a:pt x="66" y="10"/>
                    <a:pt x="65" y="11"/>
                    <a:pt x="64" y="11"/>
                  </a:cubicBezTo>
                  <a:cubicBezTo>
                    <a:pt x="62" y="12"/>
                    <a:pt x="60" y="12"/>
                    <a:pt x="58" y="12"/>
                  </a:cubicBezTo>
                  <a:cubicBezTo>
                    <a:pt x="57" y="13"/>
                    <a:pt x="55" y="14"/>
                    <a:pt x="53" y="16"/>
                  </a:cubicBezTo>
                  <a:cubicBezTo>
                    <a:pt x="53" y="16"/>
                    <a:pt x="53" y="17"/>
                    <a:pt x="53" y="17"/>
                  </a:cubicBezTo>
                  <a:cubicBezTo>
                    <a:pt x="52" y="18"/>
                    <a:pt x="52" y="18"/>
                    <a:pt x="51" y="19"/>
                  </a:cubicBezTo>
                  <a:cubicBezTo>
                    <a:pt x="51" y="19"/>
                    <a:pt x="50" y="19"/>
                    <a:pt x="50" y="20"/>
                  </a:cubicBezTo>
                  <a:cubicBezTo>
                    <a:pt x="50" y="20"/>
                    <a:pt x="49" y="20"/>
                    <a:pt x="50" y="21"/>
                  </a:cubicBezTo>
                  <a:cubicBezTo>
                    <a:pt x="47" y="21"/>
                    <a:pt x="47" y="21"/>
                    <a:pt x="45" y="23"/>
                  </a:cubicBezTo>
                  <a:cubicBezTo>
                    <a:pt x="44" y="24"/>
                    <a:pt x="44" y="25"/>
                    <a:pt x="43" y="27"/>
                  </a:cubicBezTo>
                  <a:cubicBezTo>
                    <a:pt x="43" y="29"/>
                    <a:pt x="43" y="31"/>
                    <a:pt x="43" y="33"/>
                  </a:cubicBezTo>
                  <a:cubicBezTo>
                    <a:pt x="43" y="32"/>
                    <a:pt x="43" y="31"/>
                    <a:pt x="43" y="30"/>
                  </a:cubicBezTo>
                  <a:cubicBezTo>
                    <a:pt x="45" y="31"/>
                    <a:pt x="46" y="33"/>
                    <a:pt x="48" y="34"/>
                  </a:cubicBezTo>
                  <a:cubicBezTo>
                    <a:pt x="51" y="35"/>
                    <a:pt x="54" y="34"/>
                    <a:pt x="54" y="38"/>
                  </a:cubicBezTo>
                  <a:cubicBezTo>
                    <a:pt x="54" y="43"/>
                    <a:pt x="54" y="46"/>
                    <a:pt x="55" y="50"/>
                  </a:cubicBezTo>
                  <a:cubicBezTo>
                    <a:pt x="55" y="54"/>
                    <a:pt x="57" y="59"/>
                    <a:pt x="53" y="61"/>
                  </a:cubicBezTo>
                  <a:cubicBezTo>
                    <a:pt x="51" y="63"/>
                    <a:pt x="46" y="61"/>
                    <a:pt x="44" y="63"/>
                  </a:cubicBezTo>
                  <a:cubicBezTo>
                    <a:pt x="40" y="65"/>
                    <a:pt x="40" y="70"/>
                    <a:pt x="40" y="74"/>
                  </a:cubicBezTo>
                  <a:cubicBezTo>
                    <a:pt x="40" y="78"/>
                    <a:pt x="39" y="81"/>
                    <a:pt x="39" y="85"/>
                  </a:cubicBezTo>
                  <a:cubicBezTo>
                    <a:pt x="39" y="87"/>
                    <a:pt x="39" y="87"/>
                    <a:pt x="38" y="89"/>
                  </a:cubicBezTo>
                  <a:cubicBezTo>
                    <a:pt x="37" y="91"/>
                    <a:pt x="33" y="93"/>
                    <a:pt x="31" y="95"/>
                  </a:cubicBezTo>
                  <a:cubicBezTo>
                    <a:pt x="28" y="97"/>
                    <a:pt x="27" y="100"/>
                    <a:pt x="25" y="103"/>
                  </a:cubicBezTo>
                  <a:cubicBezTo>
                    <a:pt x="24" y="105"/>
                    <a:pt x="24" y="107"/>
                    <a:pt x="22" y="107"/>
                  </a:cubicBezTo>
                  <a:cubicBezTo>
                    <a:pt x="22" y="107"/>
                    <a:pt x="21" y="106"/>
                    <a:pt x="19" y="104"/>
                  </a:cubicBezTo>
                  <a:cubicBezTo>
                    <a:pt x="19" y="105"/>
                    <a:pt x="19" y="106"/>
                    <a:pt x="19" y="107"/>
                  </a:cubicBezTo>
                  <a:cubicBezTo>
                    <a:pt x="20" y="108"/>
                    <a:pt x="21" y="109"/>
                    <a:pt x="21" y="111"/>
                  </a:cubicBezTo>
                  <a:cubicBezTo>
                    <a:pt x="22" y="116"/>
                    <a:pt x="22" y="120"/>
                    <a:pt x="29" y="121"/>
                  </a:cubicBezTo>
                  <a:cubicBezTo>
                    <a:pt x="35" y="122"/>
                    <a:pt x="42" y="121"/>
                    <a:pt x="48" y="121"/>
                  </a:cubicBezTo>
                  <a:cubicBezTo>
                    <a:pt x="50" y="121"/>
                    <a:pt x="51" y="121"/>
                    <a:pt x="52" y="122"/>
                  </a:cubicBezTo>
                  <a:cubicBezTo>
                    <a:pt x="51" y="121"/>
                    <a:pt x="56" y="124"/>
                    <a:pt x="56" y="123"/>
                  </a:cubicBezTo>
                  <a:cubicBezTo>
                    <a:pt x="57" y="124"/>
                    <a:pt x="57" y="126"/>
                    <a:pt x="58" y="126"/>
                  </a:cubicBezTo>
                  <a:cubicBezTo>
                    <a:pt x="58" y="126"/>
                    <a:pt x="59" y="126"/>
                    <a:pt x="59" y="126"/>
                  </a:cubicBezTo>
                  <a:cubicBezTo>
                    <a:pt x="59" y="126"/>
                    <a:pt x="59" y="126"/>
                    <a:pt x="59" y="125"/>
                  </a:cubicBezTo>
                  <a:cubicBezTo>
                    <a:pt x="59" y="124"/>
                    <a:pt x="58" y="123"/>
                    <a:pt x="59" y="122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60" y="122"/>
                    <a:pt x="60" y="123"/>
                    <a:pt x="61" y="123"/>
                  </a:cubicBezTo>
                  <a:cubicBezTo>
                    <a:pt x="61" y="124"/>
                    <a:pt x="61" y="125"/>
                    <a:pt x="61" y="12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2" y="127"/>
                    <a:pt x="62" y="127"/>
                    <a:pt x="62" y="128"/>
                  </a:cubicBezTo>
                  <a:cubicBezTo>
                    <a:pt x="62" y="128"/>
                    <a:pt x="63" y="128"/>
                    <a:pt x="63" y="128"/>
                  </a:cubicBezTo>
                  <a:cubicBezTo>
                    <a:pt x="64" y="128"/>
                    <a:pt x="64" y="128"/>
                    <a:pt x="65" y="128"/>
                  </a:cubicBezTo>
                  <a:cubicBezTo>
                    <a:pt x="66" y="128"/>
                    <a:pt x="67" y="128"/>
                    <a:pt x="68" y="128"/>
                  </a:cubicBezTo>
                  <a:cubicBezTo>
                    <a:pt x="69" y="127"/>
                    <a:pt x="70" y="126"/>
                    <a:pt x="71" y="126"/>
                  </a:cubicBezTo>
                  <a:cubicBezTo>
                    <a:pt x="72" y="125"/>
                    <a:pt x="73" y="124"/>
                    <a:pt x="74" y="124"/>
                  </a:cubicBezTo>
                  <a:cubicBezTo>
                    <a:pt x="75" y="124"/>
                    <a:pt x="76" y="124"/>
                    <a:pt x="76" y="124"/>
                  </a:cubicBezTo>
                  <a:cubicBezTo>
                    <a:pt x="77" y="123"/>
                    <a:pt x="78" y="122"/>
                    <a:pt x="79" y="121"/>
                  </a:cubicBezTo>
                  <a:cubicBezTo>
                    <a:pt x="81" y="120"/>
                    <a:pt x="84" y="119"/>
                    <a:pt x="85" y="117"/>
                  </a:cubicBezTo>
                  <a:cubicBezTo>
                    <a:pt x="85" y="116"/>
                    <a:pt x="85" y="115"/>
                    <a:pt x="86" y="114"/>
                  </a:cubicBezTo>
                  <a:cubicBezTo>
                    <a:pt x="87" y="113"/>
                    <a:pt x="90" y="112"/>
                    <a:pt x="92" y="112"/>
                  </a:cubicBezTo>
                  <a:cubicBezTo>
                    <a:pt x="93" y="112"/>
                    <a:pt x="94" y="112"/>
                    <a:pt x="95" y="112"/>
                  </a:cubicBezTo>
                  <a:cubicBezTo>
                    <a:pt x="97" y="112"/>
                    <a:pt x="100" y="112"/>
                    <a:pt x="103" y="112"/>
                  </a:cubicBezTo>
                  <a:cubicBezTo>
                    <a:pt x="104" y="112"/>
                    <a:pt x="105" y="112"/>
                    <a:pt x="106" y="112"/>
                  </a:cubicBezTo>
                  <a:cubicBezTo>
                    <a:pt x="107" y="111"/>
                    <a:pt x="107" y="111"/>
                    <a:pt x="108" y="111"/>
                  </a:cubicBezTo>
                  <a:cubicBezTo>
                    <a:pt x="109" y="110"/>
                    <a:pt x="111" y="111"/>
                    <a:pt x="113" y="111"/>
                  </a:cubicBezTo>
                  <a:cubicBezTo>
                    <a:pt x="113" y="111"/>
                    <a:pt x="114" y="111"/>
                    <a:pt x="115" y="111"/>
                  </a:cubicBezTo>
                  <a:cubicBezTo>
                    <a:pt x="117" y="113"/>
                    <a:pt x="119" y="114"/>
                    <a:pt x="121" y="115"/>
                  </a:cubicBezTo>
                  <a:cubicBezTo>
                    <a:pt x="124" y="116"/>
                    <a:pt x="127" y="117"/>
                    <a:pt x="129" y="114"/>
                  </a:cubicBezTo>
                  <a:cubicBezTo>
                    <a:pt x="130" y="112"/>
                    <a:pt x="132" y="109"/>
                    <a:pt x="132" y="107"/>
                  </a:cubicBezTo>
                  <a:cubicBezTo>
                    <a:pt x="131" y="106"/>
                    <a:pt x="130" y="105"/>
                    <a:pt x="129" y="104"/>
                  </a:cubicBezTo>
                  <a:cubicBezTo>
                    <a:pt x="128" y="104"/>
                    <a:pt x="128" y="103"/>
                    <a:pt x="127" y="102"/>
                  </a:cubicBezTo>
                  <a:cubicBezTo>
                    <a:pt x="126" y="101"/>
                    <a:pt x="125" y="101"/>
                    <a:pt x="124" y="101"/>
                  </a:cubicBezTo>
                  <a:cubicBezTo>
                    <a:pt x="121" y="101"/>
                    <a:pt x="119" y="101"/>
                    <a:pt x="117" y="100"/>
                  </a:cubicBezTo>
                  <a:cubicBezTo>
                    <a:pt x="115" y="100"/>
                    <a:pt x="113" y="99"/>
                    <a:pt x="111" y="98"/>
                  </a:cubicBezTo>
                  <a:cubicBezTo>
                    <a:pt x="109" y="98"/>
                    <a:pt x="105" y="98"/>
                    <a:pt x="104" y="96"/>
                  </a:cubicBezTo>
                  <a:cubicBezTo>
                    <a:pt x="103" y="95"/>
                    <a:pt x="104" y="94"/>
                    <a:pt x="104" y="93"/>
                  </a:cubicBezTo>
                  <a:cubicBezTo>
                    <a:pt x="105" y="92"/>
                    <a:pt x="107" y="92"/>
                    <a:pt x="108" y="92"/>
                  </a:cubicBezTo>
                  <a:cubicBezTo>
                    <a:pt x="110" y="91"/>
                    <a:pt x="112" y="91"/>
                    <a:pt x="114" y="91"/>
                  </a:cubicBezTo>
                  <a:cubicBezTo>
                    <a:pt x="116" y="91"/>
                    <a:pt x="118" y="91"/>
                    <a:pt x="120" y="91"/>
                  </a:cubicBezTo>
                  <a:cubicBezTo>
                    <a:pt x="123" y="91"/>
                    <a:pt x="125" y="92"/>
                    <a:pt x="128" y="92"/>
                  </a:cubicBezTo>
                  <a:cubicBezTo>
                    <a:pt x="129" y="92"/>
                    <a:pt x="129" y="92"/>
                    <a:pt x="130" y="91"/>
                  </a:cubicBezTo>
                  <a:cubicBezTo>
                    <a:pt x="131" y="91"/>
                    <a:pt x="132" y="90"/>
                    <a:pt x="132" y="89"/>
                  </a:cubicBezTo>
                  <a:cubicBezTo>
                    <a:pt x="132" y="88"/>
                    <a:pt x="131" y="87"/>
                    <a:pt x="132" y="87"/>
                  </a:cubicBezTo>
                  <a:cubicBezTo>
                    <a:pt x="133" y="86"/>
                    <a:pt x="135" y="87"/>
                    <a:pt x="136" y="87"/>
                  </a:cubicBezTo>
                  <a:cubicBezTo>
                    <a:pt x="138" y="87"/>
                    <a:pt x="140" y="87"/>
                    <a:pt x="141" y="88"/>
                  </a:cubicBezTo>
                  <a:cubicBezTo>
                    <a:pt x="143" y="88"/>
                    <a:pt x="145" y="88"/>
                    <a:pt x="146" y="88"/>
                  </a:cubicBezTo>
                  <a:cubicBezTo>
                    <a:pt x="150" y="87"/>
                    <a:pt x="153" y="87"/>
                    <a:pt x="156" y="88"/>
                  </a:cubicBezTo>
                  <a:cubicBezTo>
                    <a:pt x="157" y="89"/>
                    <a:pt x="158" y="90"/>
                    <a:pt x="159" y="90"/>
                  </a:cubicBezTo>
                  <a:cubicBezTo>
                    <a:pt x="160" y="91"/>
                    <a:pt x="161" y="91"/>
                    <a:pt x="162" y="92"/>
                  </a:cubicBezTo>
                  <a:cubicBezTo>
                    <a:pt x="164" y="92"/>
                    <a:pt x="166" y="93"/>
                    <a:pt x="168" y="94"/>
                  </a:cubicBezTo>
                  <a:cubicBezTo>
                    <a:pt x="171" y="95"/>
                    <a:pt x="173" y="95"/>
                    <a:pt x="175" y="96"/>
                  </a:cubicBezTo>
                  <a:cubicBezTo>
                    <a:pt x="177" y="97"/>
                    <a:pt x="178" y="96"/>
                    <a:pt x="179" y="95"/>
                  </a:cubicBezTo>
                  <a:cubicBezTo>
                    <a:pt x="180" y="95"/>
                    <a:pt x="181" y="94"/>
                    <a:pt x="183" y="94"/>
                  </a:cubicBezTo>
                  <a:cubicBezTo>
                    <a:pt x="183" y="94"/>
                    <a:pt x="184" y="95"/>
                    <a:pt x="185" y="95"/>
                  </a:cubicBezTo>
                  <a:cubicBezTo>
                    <a:pt x="185" y="95"/>
                    <a:pt x="187" y="95"/>
                    <a:pt x="187" y="95"/>
                  </a:cubicBezTo>
                  <a:cubicBezTo>
                    <a:pt x="188" y="95"/>
                    <a:pt x="188" y="94"/>
                    <a:pt x="189" y="94"/>
                  </a:cubicBezTo>
                  <a:cubicBezTo>
                    <a:pt x="189" y="93"/>
                    <a:pt x="190" y="92"/>
                    <a:pt x="191" y="92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2" y="90"/>
                    <a:pt x="191" y="88"/>
                    <a:pt x="191" y="87"/>
                  </a:cubicBezTo>
                  <a:cubicBezTo>
                    <a:pt x="191" y="85"/>
                    <a:pt x="192" y="84"/>
                    <a:pt x="193" y="82"/>
                  </a:cubicBezTo>
                  <a:cubicBezTo>
                    <a:pt x="194" y="80"/>
                    <a:pt x="195" y="77"/>
                    <a:pt x="195" y="75"/>
                  </a:cubicBezTo>
                  <a:cubicBezTo>
                    <a:pt x="195" y="74"/>
                    <a:pt x="196" y="72"/>
                    <a:pt x="197" y="71"/>
                  </a:cubicBezTo>
                  <a:cubicBezTo>
                    <a:pt x="197" y="71"/>
                    <a:pt x="197" y="70"/>
                    <a:pt x="197" y="70"/>
                  </a:cubicBezTo>
                  <a:moveTo>
                    <a:pt x="312" y="435"/>
                  </a:moveTo>
                  <a:cubicBezTo>
                    <a:pt x="312" y="435"/>
                    <a:pt x="311" y="435"/>
                    <a:pt x="311" y="435"/>
                  </a:cubicBezTo>
                  <a:cubicBezTo>
                    <a:pt x="311" y="435"/>
                    <a:pt x="312" y="435"/>
                    <a:pt x="312" y="435"/>
                  </a:cubicBezTo>
                  <a:moveTo>
                    <a:pt x="668" y="97"/>
                  </a:moveTo>
                  <a:cubicBezTo>
                    <a:pt x="669" y="97"/>
                    <a:pt x="670" y="97"/>
                    <a:pt x="671" y="97"/>
                  </a:cubicBezTo>
                  <a:cubicBezTo>
                    <a:pt x="670" y="97"/>
                    <a:pt x="669" y="97"/>
                    <a:pt x="668" y="97"/>
                  </a:cubicBezTo>
                  <a:cubicBezTo>
                    <a:pt x="668" y="97"/>
                    <a:pt x="668" y="97"/>
                    <a:pt x="668" y="97"/>
                  </a:cubicBezTo>
                  <a:moveTo>
                    <a:pt x="1170" y="445"/>
                  </a:moveTo>
                  <a:cubicBezTo>
                    <a:pt x="1169" y="442"/>
                    <a:pt x="1168" y="441"/>
                    <a:pt x="1165" y="439"/>
                  </a:cubicBezTo>
                  <a:cubicBezTo>
                    <a:pt x="1161" y="437"/>
                    <a:pt x="1159" y="436"/>
                    <a:pt x="1156" y="432"/>
                  </a:cubicBezTo>
                  <a:cubicBezTo>
                    <a:pt x="1151" y="428"/>
                    <a:pt x="1148" y="425"/>
                    <a:pt x="1149" y="419"/>
                  </a:cubicBezTo>
                  <a:cubicBezTo>
                    <a:pt x="1149" y="416"/>
                    <a:pt x="1149" y="413"/>
                    <a:pt x="1149" y="410"/>
                  </a:cubicBezTo>
                  <a:cubicBezTo>
                    <a:pt x="1149" y="407"/>
                    <a:pt x="1151" y="399"/>
                    <a:pt x="1149" y="396"/>
                  </a:cubicBezTo>
                  <a:cubicBezTo>
                    <a:pt x="1149" y="396"/>
                    <a:pt x="1145" y="394"/>
                    <a:pt x="1144" y="394"/>
                  </a:cubicBezTo>
                  <a:cubicBezTo>
                    <a:pt x="1142" y="393"/>
                    <a:pt x="1139" y="391"/>
                    <a:pt x="1137" y="390"/>
                  </a:cubicBezTo>
                  <a:cubicBezTo>
                    <a:pt x="1133" y="389"/>
                    <a:pt x="1131" y="391"/>
                    <a:pt x="1130" y="387"/>
                  </a:cubicBezTo>
                  <a:cubicBezTo>
                    <a:pt x="1129" y="384"/>
                    <a:pt x="1130" y="382"/>
                    <a:pt x="1132" y="380"/>
                  </a:cubicBezTo>
                  <a:cubicBezTo>
                    <a:pt x="1134" y="378"/>
                    <a:pt x="1134" y="380"/>
                    <a:pt x="1136" y="376"/>
                  </a:cubicBezTo>
                  <a:cubicBezTo>
                    <a:pt x="1138" y="372"/>
                    <a:pt x="1141" y="368"/>
                    <a:pt x="1142" y="363"/>
                  </a:cubicBezTo>
                  <a:cubicBezTo>
                    <a:pt x="1142" y="361"/>
                    <a:pt x="1143" y="354"/>
                    <a:pt x="1141" y="352"/>
                  </a:cubicBezTo>
                  <a:cubicBezTo>
                    <a:pt x="1140" y="350"/>
                    <a:pt x="1136" y="351"/>
                    <a:pt x="1134" y="351"/>
                  </a:cubicBezTo>
                  <a:cubicBezTo>
                    <a:pt x="1130" y="350"/>
                    <a:pt x="1131" y="347"/>
                    <a:pt x="1131" y="343"/>
                  </a:cubicBezTo>
                  <a:cubicBezTo>
                    <a:pt x="1131" y="339"/>
                    <a:pt x="1131" y="335"/>
                    <a:pt x="1131" y="331"/>
                  </a:cubicBezTo>
                  <a:cubicBezTo>
                    <a:pt x="1131" y="322"/>
                    <a:pt x="1128" y="312"/>
                    <a:pt x="1124" y="302"/>
                  </a:cubicBezTo>
                  <a:cubicBezTo>
                    <a:pt x="1123" y="299"/>
                    <a:pt x="1120" y="295"/>
                    <a:pt x="1119" y="291"/>
                  </a:cubicBezTo>
                  <a:cubicBezTo>
                    <a:pt x="1116" y="283"/>
                    <a:pt x="1122" y="275"/>
                    <a:pt x="1120" y="268"/>
                  </a:cubicBezTo>
                  <a:cubicBezTo>
                    <a:pt x="1118" y="267"/>
                    <a:pt x="1114" y="268"/>
                    <a:pt x="1111" y="266"/>
                  </a:cubicBezTo>
                  <a:cubicBezTo>
                    <a:pt x="1106" y="263"/>
                    <a:pt x="1111" y="262"/>
                    <a:pt x="1115" y="261"/>
                  </a:cubicBezTo>
                  <a:cubicBezTo>
                    <a:pt x="1119" y="261"/>
                    <a:pt x="1126" y="261"/>
                    <a:pt x="1128" y="257"/>
                  </a:cubicBezTo>
                  <a:cubicBezTo>
                    <a:pt x="1129" y="256"/>
                    <a:pt x="1129" y="255"/>
                    <a:pt x="1129" y="253"/>
                  </a:cubicBezTo>
                  <a:cubicBezTo>
                    <a:pt x="1130" y="252"/>
                    <a:pt x="1132" y="250"/>
                    <a:pt x="1133" y="248"/>
                  </a:cubicBezTo>
                  <a:cubicBezTo>
                    <a:pt x="1135" y="245"/>
                    <a:pt x="1136" y="241"/>
                    <a:pt x="1139" y="238"/>
                  </a:cubicBezTo>
                  <a:cubicBezTo>
                    <a:pt x="1140" y="237"/>
                    <a:pt x="1142" y="236"/>
                    <a:pt x="1144" y="235"/>
                  </a:cubicBezTo>
                  <a:cubicBezTo>
                    <a:pt x="1146" y="234"/>
                    <a:pt x="1149" y="232"/>
                    <a:pt x="1151" y="230"/>
                  </a:cubicBezTo>
                  <a:cubicBezTo>
                    <a:pt x="1147" y="228"/>
                    <a:pt x="1144" y="226"/>
                    <a:pt x="1140" y="224"/>
                  </a:cubicBezTo>
                  <a:cubicBezTo>
                    <a:pt x="1140" y="224"/>
                    <a:pt x="1133" y="222"/>
                    <a:pt x="1133" y="221"/>
                  </a:cubicBezTo>
                  <a:cubicBezTo>
                    <a:pt x="1131" y="220"/>
                    <a:pt x="1131" y="218"/>
                    <a:pt x="1130" y="216"/>
                  </a:cubicBezTo>
                  <a:cubicBezTo>
                    <a:pt x="1125" y="213"/>
                    <a:pt x="1119" y="214"/>
                    <a:pt x="1113" y="214"/>
                  </a:cubicBezTo>
                  <a:cubicBezTo>
                    <a:pt x="1104" y="213"/>
                    <a:pt x="1096" y="206"/>
                    <a:pt x="1090" y="201"/>
                  </a:cubicBezTo>
                  <a:cubicBezTo>
                    <a:pt x="1084" y="195"/>
                    <a:pt x="1083" y="190"/>
                    <a:pt x="1081" y="181"/>
                  </a:cubicBezTo>
                  <a:cubicBezTo>
                    <a:pt x="1080" y="178"/>
                    <a:pt x="1079" y="177"/>
                    <a:pt x="1078" y="175"/>
                  </a:cubicBezTo>
                  <a:cubicBezTo>
                    <a:pt x="1077" y="172"/>
                    <a:pt x="1078" y="169"/>
                    <a:pt x="1079" y="167"/>
                  </a:cubicBezTo>
                  <a:cubicBezTo>
                    <a:pt x="1081" y="161"/>
                    <a:pt x="1085" y="154"/>
                    <a:pt x="1084" y="148"/>
                  </a:cubicBezTo>
                  <a:cubicBezTo>
                    <a:pt x="1084" y="146"/>
                    <a:pt x="1083" y="144"/>
                    <a:pt x="1082" y="142"/>
                  </a:cubicBezTo>
                  <a:cubicBezTo>
                    <a:pt x="1082" y="141"/>
                    <a:pt x="1079" y="138"/>
                    <a:pt x="1078" y="136"/>
                  </a:cubicBezTo>
                  <a:cubicBezTo>
                    <a:pt x="1077" y="134"/>
                    <a:pt x="1072" y="133"/>
                    <a:pt x="1072" y="131"/>
                  </a:cubicBezTo>
                  <a:cubicBezTo>
                    <a:pt x="1068" y="125"/>
                    <a:pt x="1082" y="122"/>
                    <a:pt x="1080" y="116"/>
                  </a:cubicBezTo>
                  <a:cubicBezTo>
                    <a:pt x="1072" y="114"/>
                    <a:pt x="1065" y="111"/>
                    <a:pt x="1057" y="108"/>
                  </a:cubicBezTo>
                  <a:cubicBezTo>
                    <a:pt x="1056" y="107"/>
                    <a:pt x="1054" y="107"/>
                    <a:pt x="1052" y="107"/>
                  </a:cubicBezTo>
                  <a:cubicBezTo>
                    <a:pt x="1051" y="106"/>
                    <a:pt x="1051" y="106"/>
                    <a:pt x="1049" y="105"/>
                  </a:cubicBezTo>
                  <a:cubicBezTo>
                    <a:pt x="1047" y="104"/>
                    <a:pt x="1045" y="104"/>
                    <a:pt x="1045" y="101"/>
                  </a:cubicBezTo>
                  <a:cubicBezTo>
                    <a:pt x="1045" y="98"/>
                    <a:pt x="1047" y="96"/>
                    <a:pt x="1047" y="94"/>
                  </a:cubicBezTo>
                  <a:cubicBezTo>
                    <a:pt x="1044" y="93"/>
                    <a:pt x="1039" y="96"/>
                    <a:pt x="1037" y="94"/>
                  </a:cubicBezTo>
                  <a:cubicBezTo>
                    <a:pt x="1036" y="93"/>
                    <a:pt x="1035" y="90"/>
                    <a:pt x="1034" y="89"/>
                  </a:cubicBezTo>
                  <a:cubicBezTo>
                    <a:pt x="1032" y="87"/>
                    <a:pt x="1028" y="87"/>
                    <a:pt x="1027" y="85"/>
                  </a:cubicBezTo>
                  <a:cubicBezTo>
                    <a:pt x="1025" y="84"/>
                    <a:pt x="1026" y="82"/>
                    <a:pt x="1025" y="80"/>
                  </a:cubicBezTo>
                  <a:cubicBezTo>
                    <a:pt x="1023" y="77"/>
                    <a:pt x="1017" y="76"/>
                    <a:pt x="1014" y="75"/>
                  </a:cubicBezTo>
                  <a:cubicBezTo>
                    <a:pt x="1012" y="74"/>
                    <a:pt x="1008" y="72"/>
                    <a:pt x="1006" y="73"/>
                  </a:cubicBezTo>
                  <a:cubicBezTo>
                    <a:pt x="1005" y="75"/>
                    <a:pt x="1006" y="80"/>
                    <a:pt x="1006" y="81"/>
                  </a:cubicBezTo>
                  <a:cubicBezTo>
                    <a:pt x="1003" y="82"/>
                    <a:pt x="1000" y="81"/>
                    <a:pt x="996" y="81"/>
                  </a:cubicBezTo>
                  <a:cubicBezTo>
                    <a:pt x="995" y="81"/>
                    <a:pt x="992" y="81"/>
                    <a:pt x="990" y="81"/>
                  </a:cubicBezTo>
                  <a:cubicBezTo>
                    <a:pt x="988" y="82"/>
                    <a:pt x="988" y="83"/>
                    <a:pt x="986" y="83"/>
                  </a:cubicBezTo>
                  <a:cubicBezTo>
                    <a:pt x="985" y="82"/>
                    <a:pt x="983" y="82"/>
                    <a:pt x="982" y="81"/>
                  </a:cubicBezTo>
                  <a:cubicBezTo>
                    <a:pt x="981" y="81"/>
                    <a:pt x="979" y="79"/>
                    <a:pt x="978" y="79"/>
                  </a:cubicBezTo>
                  <a:cubicBezTo>
                    <a:pt x="976" y="78"/>
                    <a:pt x="973" y="79"/>
                    <a:pt x="970" y="79"/>
                  </a:cubicBezTo>
                  <a:cubicBezTo>
                    <a:pt x="969" y="79"/>
                    <a:pt x="968" y="79"/>
                    <a:pt x="967" y="79"/>
                  </a:cubicBezTo>
                  <a:cubicBezTo>
                    <a:pt x="965" y="79"/>
                    <a:pt x="966" y="80"/>
                    <a:pt x="964" y="80"/>
                  </a:cubicBezTo>
                  <a:cubicBezTo>
                    <a:pt x="962" y="82"/>
                    <a:pt x="959" y="83"/>
                    <a:pt x="955" y="83"/>
                  </a:cubicBezTo>
                  <a:cubicBezTo>
                    <a:pt x="953" y="82"/>
                    <a:pt x="951" y="81"/>
                    <a:pt x="949" y="81"/>
                  </a:cubicBezTo>
                  <a:cubicBezTo>
                    <a:pt x="945" y="80"/>
                    <a:pt x="942" y="81"/>
                    <a:pt x="938" y="81"/>
                  </a:cubicBezTo>
                  <a:cubicBezTo>
                    <a:pt x="939" y="86"/>
                    <a:pt x="930" y="93"/>
                    <a:pt x="926" y="96"/>
                  </a:cubicBezTo>
                  <a:cubicBezTo>
                    <a:pt x="926" y="97"/>
                    <a:pt x="926" y="97"/>
                    <a:pt x="925" y="97"/>
                  </a:cubicBezTo>
                  <a:cubicBezTo>
                    <a:pt x="923" y="98"/>
                    <a:pt x="921" y="98"/>
                    <a:pt x="920" y="99"/>
                  </a:cubicBezTo>
                  <a:cubicBezTo>
                    <a:pt x="919" y="99"/>
                    <a:pt x="918" y="101"/>
                    <a:pt x="917" y="102"/>
                  </a:cubicBezTo>
                  <a:cubicBezTo>
                    <a:pt x="916" y="102"/>
                    <a:pt x="914" y="103"/>
                    <a:pt x="913" y="104"/>
                  </a:cubicBezTo>
                  <a:cubicBezTo>
                    <a:pt x="910" y="105"/>
                    <a:pt x="907" y="106"/>
                    <a:pt x="904" y="107"/>
                  </a:cubicBezTo>
                  <a:cubicBezTo>
                    <a:pt x="901" y="109"/>
                    <a:pt x="897" y="110"/>
                    <a:pt x="893" y="110"/>
                  </a:cubicBezTo>
                  <a:cubicBezTo>
                    <a:pt x="886" y="110"/>
                    <a:pt x="879" y="110"/>
                    <a:pt x="874" y="115"/>
                  </a:cubicBezTo>
                  <a:cubicBezTo>
                    <a:pt x="870" y="119"/>
                    <a:pt x="866" y="120"/>
                    <a:pt x="862" y="122"/>
                  </a:cubicBezTo>
                  <a:cubicBezTo>
                    <a:pt x="854" y="125"/>
                    <a:pt x="848" y="121"/>
                    <a:pt x="841" y="118"/>
                  </a:cubicBezTo>
                  <a:cubicBezTo>
                    <a:pt x="833" y="115"/>
                    <a:pt x="824" y="117"/>
                    <a:pt x="816" y="115"/>
                  </a:cubicBezTo>
                  <a:cubicBezTo>
                    <a:pt x="814" y="114"/>
                    <a:pt x="813" y="113"/>
                    <a:pt x="812" y="112"/>
                  </a:cubicBezTo>
                  <a:cubicBezTo>
                    <a:pt x="810" y="112"/>
                    <a:pt x="809" y="113"/>
                    <a:pt x="808" y="113"/>
                  </a:cubicBezTo>
                  <a:cubicBezTo>
                    <a:pt x="806" y="112"/>
                    <a:pt x="804" y="111"/>
                    <a:pt x="802" y="111"/>
                  </a:cubicBezTo>
                  <a:cubicBezTo>
                    <a:pt x="801" y="111"/>
                    <a:pt x="800" y="111"/>
                    <a:pt x="799" y="111"/>
                  </a:cubicBezTo>
                  <a:cubicBezTo>
                    <a:pt x="798" y="111"/>
                    <a:pt x="798" y="113"/>
                    <a:pt x="796" y="113"/>
                  </a:cubicBezTo>
                  <a:cubicBezTo>
                    <a:pt x="794" y="114"/>
                    <a:pt x="789" y="113"/>
                    <a:pt x="786" y="113"/>
                  </a:cubicBezTo>
                  <a:cubicBezTo>
                    <a:pt x="780" y="113"/>
                    <a:pt x="777" y="114"/>
                    <a:pt x="771" y="116"/>
                  </a:cubicBezTo>
                  <a:cubicBezTo>
                    <a:pt x="768" y="118"/>
                    <a:pt x="765" y="117"/>
                    <a:pt x="762" y="118"/>
                  </a:cubicBezTo>
                  <a:cubicBezTo>
                    <a:pt x="759" y="118"/>
                    <a:pt x="757" y="121"/>
                    <a:pt x="754" y="121"/>
                  </a:cubicBezTo>
                  <a:cubicBezTo>
                    <a:pt x="753" y="121"/>
                    <a:pt x="752" y="121"/>
                    <a:pt x="752" y="121"/>
                  </a:cubicBezTo>
                  <a:cubicBezTo>
                    <a:pt x="748" y="120"/>
                    <a:pt x="743" y="119"/>
                    <a:pt x="739" y="118"/>
                  </a:cubicBezTo>
                  <a:cubicBezTo>
                    <a:pt x="736" y="116"/>
                    <a:pt x="735" y="114"/>
                    <a:pt x="731" y="113"/>
                  </a:cubicBezTo>
                  <a:cubicBezTo>
                    <a:pt x="729" y="112"/>
                    <a:pt x="726" y="113"/>
                    <a:pt x="723" y="112"/>
                  </a:cubicBezTo>
                  <a:cubicBezTo>
                    <a:pt x="720" y="112"/>
                    <a:pt x="719" y="111"/>
                    <a:pt x="717" y="108"/>
                  </a:cubicBezTo>
                  <a:cubicBezTo>
                    <a:pt x="714" y="105"/>
                    <a:pt x="710" y="100"/>
                    <a:pt x="706" y="99"/>
                  </a:cubicBezTo>
                  <a:cubicBezTo>
                    <a:pt x="704" y="98"/>
                    <a:pt x="701" y="99"/>
                    <a:pt x="698" y="99"/>
                  </a:cubicBezTo>
                  <a:cubicBezTo>
                    <a:pt x="695" y="98"/>
                    <a:pt x="692" y="97"/>
                    <a:pt x="689" y="97"/>
                  </a:cubicBezTo>
                  <a:cubicBezTo>
                    <a:pt x="683" y="97"/>
                    <a:pt x="677" y="97"/>
                    <a:pt x="671" y="97"/>
                  </a:cubicBezTo>
                  <a:cubicBezTo>
                    <a:pt x="672" y="98"/>
                    <a:pt x="673" y="98"/>
                    <a:pt x="674" y="99"/>
                  </a:cubicBezTo>
                  <a:cubicBezTo>
                    <a:pt x="672" y="99"/>
                    <a:pt x="670" y="98"/>
                    <a:pt x="668" y="97"/>
                  </a:cubicBezTo>
                  <a:cubicBezTo>
                    <a:pt x="666" y="97"/>
                    <a:pt x="665" y="97"/>
                    <a:pt x="663" y="97"/>
                  </a:cubicBezTo>
                  <a:cubicBezTo>
                    <a:pt x="665" y="97"/>
                    <a:pt x="666" y="97"/>
                    <a:pt x="668" y="97"/>
                  </a:cubicBezTo>
                  <a:cubicBezTo>
                    <a:pt x="665" y="96"/>
                    <a:pt x="662" y="94"/>
                    <a:pt x="659" y="92"/>
                  </a:cubicBezTo>
                  <a:cubicBezTo>
                    <a:pt x="655" y="90"/>
                    <a:pt x="653" y="89"/>
                    <a:pt x="653" y="84"/>
                  </a:cubicBezTo>
                  <a:cubicBezTo>
                    <a:pt x="652" y="80"/>
                    <a:pt x="652" y="80"/>
                    <a:pt x="648" y="81"/>
                  </a:cubicBezTo>
                  <a:cubicBezTo>
                    <a:pt x="646" y="81"/>
                    <a:pt x="640" y="81"/>
                    <a:pt x="640" y="84"/>
                  </a:cubicBezTo>
                  <a:cubicBezTo>
                    <a:pt x="638" y="84"/>
                    <a:pt x="634" y="84"/>
                    <a:pt x="632" y="84"/>
                  </a:cubicBezTo>
                  <a:cubicBezTo>
                    <a:pt x="629" y="83"/>
                    <a:pt x="625" y="81"/>
                    <a:pt x="623" y="80"/>
                  </a:cubicBezTo>
                  <a:cubicBezTo>
                    <a:pt x="618" y="79"/>
                    <a:pt x="620" y="80"/>
                    <a:pt x="619" y="78"/>
                  </a:cubicBezTo>
                  <a:cubicBezTo>
                    <a:pt x="617" y="76"/>
                    <a:pt x="618" y="71"/>
                    <a:pt x="616" y="69"/>
                  </a:cubicBezTo>
                  <a:cubicBezTo>
                    <a:pt x="615" y="67"/>
                    <a:pt x="613" y="68"/>
                    <a:pt x="612" y="65"/>
                  </a:cubicBezTo>
                  <a:cubicBezTo>
                    <a:pt x="611" y="64"/>
                    <a:pt x="610" y="62"/>
                    <a:pt x="610" y="60"/>
                  </a:cubicBezTo>
                  <a:cubicBezTo>
                    <a:pt x="610" y="55"/>
                    <a:pt x="612" y="46"/>
                    <a:pt x="609" y="41"/>
                  </a:cubicBezTo>
                  <a:cubicBezTo>
                    <a:pt x="606" y="38"/>
                    <a:pt x="602" y="38"/>
                    <a:pt x="598" y="38"/>
                  </a:cubicBezTo>
                  <a:cubicBezTo>
                    <a:pt x="596" y="39"/>
                    <a:pt x="596" y="39"/>
                    <a:pt x="594" y="40"/>
                  </a:cubicBezTo>
                  <a:cubicBezTo>
                    <a:pt x="592" y="41"/>
                    <a:pt x="591" y="42"/>
                    <a:pt x="589" y="43"/>
                  </a:cubicBezTo>
                  <a:cubicBezTo>
                    <a:pt x="588" y="44"/>
                    <a:pt x="587" y="45"/>
                    <a:pt x="586" y="46"/>
                  </a:cubicBezTo>
                  <a:cubicBezTo>
                    <a:pt x="582" y="49"/>
                    <a:pt x="571" y="46"/>
                    <a:pt x="566" y="46"/>
                  </a:cubicBezTo>
                  <a:cubicBezTo>
                    <a:pt x="564" y="46"/>
                    <a:pt x="563" y="46"/>
                    <a:pt x="561" y="46"/>
                  </a:cubicBezTo>
                  <a:cubicBezTo>
                    <a:pt x="559" y="44"/>
                    <a:pt x="557" y="38"/>
                    <a:pt x="555" y="36"/>
                  </a:cubicBezTo>
                  <a:cubicBezTo>
                    <a:pt x="552" y="33"/>
                    <a:pt x="549" y="32"/>
                    <a:pt x="550" y="27"/>
                  </a:cubicBezTo>
                  <a:cubicBezTo>
                    <a:pt x="550" y="24"/>
                    <a:pt x="552" y="22"/>
                    <a:pt x="550" y="20"/>
                  </a:cubicBezTo>
                  <a:cubicBezTo>
                    <a:pt x="548" y="19"/>
                    <a:pt x="543" y="19"/>
                    <a:pt x="541" y="19"/>
                  </a:cubicBezTo>
                  <a:cubicBezTo>
                    <a:pt x="539" y="20"/>
                    <a:pt x="538" y="23"/>
                    <a:pt x="536" y="24"/>
                  </a:cubicBezTo>
                  <a:cubicBezTo>
                    <a:pt x="533" y="25"/>
                    <a:pt x="527" y="27"/>
                    <a:pt x="523" y="27"/>
                  </a:cubicBezTo>
                  <a:cubicBezTo>
                    <a:pt x="520" y="27"/>
                    <a:pt x="519" y="26"/>
                    <a:pt x="516" y="25"/>
                  </a:cubicBezTo>
                  <a:cubicBezTo>
                    <a:pt x="513" y="25"/>
                    <a:pt x="510" y="25"/>
                    <a:pt x="508" y="24"/>
                  </a:cubicBezTo>
                  <a:cubicBezTo>
                    <a:pt x="505" y="24"/>
                    <a:pt x="502" y="22"/>
                    <a:pt x="499" y="23"/>
                  </a:cubicBezTo>
                  <a:cubicBezTo>
                    <a:pt x="496" y="23"/>
                    <a:pt x="495" y="24"/>
                    <a:pt x="491" y="25"/>
                  </a:cubicBezTo>
                  <a:cubicBezTo>
                    <a:pt x="490" y="25"/>
                    <a:pt x="487" y="25"/>
                    <a:pt x="486" y="25"/>
                  </a:cubicBezTo>
                  <a:cubicBezTo>
                    <a:pt x="482" y="25"/>
                    <a:pt x="480" y="23"/>
                    <a:pt x="477" y="22"/>
                  </a:cubicBezTo>
                  <a:cubicBezTo>
                    <a:pt x="469" y="21"/>
                    <a:pt x="462" y="20"/>
                    <a:pt x="454" y="20"/>
                  </a:cubicBezTo>
                  <a:cubicBezTo>
                    <a:pt x="447" y="20"/>
                    <a:pt x="437" y="19"/>
                    <a:pt x="430" y="21"/>
                  </a:cubicBezTo>
                  <a:cubicBezTo>
                    <a:pt x="426" y="22"/>
                    <a:pt x="422" y="23"/>
                    <a:pt x="418" y="25"/>
                  </a:cubicBezTo>
                  <a:cubicBezTo>
                    <a:pt x="416" y="27"/>
                    <a:pt x="413" y="27"/>
                    <a:pt x="411" y="28"/>
                  </a:cubicBezTo>
                  <a:cubicBezTo>
                    <a:pt x="411" y="28"/>
                    <a:pt x="408" y="29"/>
                    <a:pt x="408" y="29"/>
                  </a:cubicBezTo>
                  <a:cubicBezTo>
                    <a:pt x="406" y="30"/>
                    <a:pt x="403" y="30"/>
                    <a:pt x="400" y="30"/>
                  </a:cubicBezTo>
                  <a:cubicBezTo>
                    <a:pt x="398" y="31"/>
                    <a:pt x="395" y="30"/>
                    <a:pt x="393" y="31"/>
                  </a:cubicBezTo>
                  <a:cubicBezTo>
                    <a:pt x="389" y="32"/>
                    <a:pt x="386" y="34"/>
                    <a:pt x="383" y="35"/>
                  </a:cubicBezTo>
                  <a:cubicBezTo>
                    <a:pt x="380" y="36"/>
                    <a:pt x="378" y="37"/>
                    <a:pt x="375" y="39"/>
                  </a:cubicBezTo>
                  <a:cubicBezTo>
                    <a:pt x="373" y="41"/>
                    <a:pt x="370" y="41"/>
                    <a:pt x="367" y="43"/>
                  </a:cubicBezTo>
                  <a:cubicBezTo>
                    <a:pt x="365" y="45"/>
                    <a:pt x="365" y="45"/>
                    <a:pt x="362" y="46"/>
                  </a:cubicBezTo>
                  <a:cubicBezTo>
                    <a:pt x="361" y="46"/>
                    <a:pt x="360" y="46"/>
                    <a:pt x="358" y="46"/>
                  </a:cubicBezTo>
                  <a:cubicBezTo>
                    <a:pt x="355" y="47"/>
                    <a:pt x="356" y="47"/>
                    <a:pt x="354" y="49"/>
                  </a:cubicBezTo>
                  <a:cubicBezTo>
                    <a:pt x="353" y="51"/>
                    <a:pt x="351" y="52"/>
                    <a:pt x="350" y="55"/>
                  </a:cubicBezTo>
                  <a:cubicBezTo>
                    <a:pt x="348" y="59"/>
                    <a:pt x="351" y="63"/>
                    <a:pt x="347" y="66"/>
                  </a:cubicBezTo>
                  <a:cubicBezTo>
                    <a:pt x="346" y="67"/>
                    <a:pt x="343" y="67"/>
                    <a:pt x="341" y="68"/>
                  </a:cubicBezTo>
                  <a:cubicBezTo>
                    <a:pt x="340" y="69"/>
                    <a:pt x="340" y="71"/>
                    <a:pt x="339" y="72"/>
                  </a:cubicBezTo>
                  <a:cubicBezTo>
                    <a:pt x="338" y="74"/>
                    <a:pt x="336" y="74"/>
                    <a:pt x="335" y="76"/>
                  </a:cubicBezTo>
                  <a:cubicBezTo>
                    <a:pt x="333" y="78"/>
                    <a:pt x="335" y="81"/>
                    <a:pt x="334" y="84"/>
                  </a:cubicBezTo>
                  <a:cubicBezTo>
                    <a:pt x="332" y="88"/>
                    <a:pt x="324" y="86"/>
                    <a:pt x="321" y="86"/>
                  </a:cubicBezTo>
                  <a:cubicBezTo>
                    <a:pt x="319" y="86"/>
                    <a:pt x="314" y="85"/>
                    <a:pt x="312" y="86"/>
                  </a:cubicBezTo>
                  <a:cubicBezTo>
                    <a:pt x="310" y="87"/>
                    <a:pt x="309" y="89"/>
                    <a:pt x="307" y="89"/>
                  </a:cubicBezTo>
                  <a:cubicBezTo>
                    <a:pt x="304" y="91"/>
                    <a:pt x="302" y="91"/>
                    <a:pt x="299" y="90"/>
                  </a:cubicBezTo>
                  <a:cubicBezTo>
                    <a:pt x="295" y="88"/>
                    <a:pt x="292" y="86"/>
                    <a:pt x="288" y="85"/>
                  </a:cubicBezTo>
                  <a:cubicBezTo>
                    <a:pt x="282" y="83"/>
                    <a:pt x="274" y="85"/>
                    <a:pt x="269" y="81"/>
                  </a:cubicBezTo>
                  <a:cubicBezTo>
                    <a:pt x="266" y="79"/>
                    <a:pt x="266" y="78"/>
                    <a:pt x="262" y="80"/>
                  </a:cubicBezTo>
                  <a:cubicBezTo>
                    <a:pt x="259" y="82"/>
                    <a:pt x="255" y="81"/>
                    <a:pt x="251" y="81"/>
                  </a:cubicBezTo>
                  <a:cubicBezTo>
                    <a:pt x="243" y="81"/>
                    <a:pt x="234" y="83"/>
                    <a:pt x="226" y="81"/>
                  </a:cubicBezTo>
                  <a:cubicBezTo>
                    <a:pt x="223" y="81"/>
                    <a:pt x="221" y="79"/>
                    <a:pt x="218" y="77"/>
                  </a:cubicBezTo>
                  <a:cubicBezTo>
                    <a:pt x="214" y="76"/>
                    <a:pt x="211" y="76"/>
                    <a:pt x="208" y="75"/>
                  </a:cubicBezTo>
                  <a:cubicBezTo>
                    <a:pt x="205" y="74"/>
                    <a:pt x="202" y="72"/>
                    <a:pt x="200" y="71"/>
                  </a:cubicBezTo>
                  <a:cubicBezTo>
                    <a:pt x="200" y="71"/>
                    <a:pt x="200" y="71"/>
                    <a:pt x="200" y="72"/>
                  </a:cubicBezTo>
                  <a:cubicBezTo>
                    <a:pt x="200" y="72"/>
                    <a:pt x="199" y="73"/>
                    <a:pt x="199" y="74"/>
                  </a:cubicBezTo>
                  <a:cubicBezTo>
                    <a:pt x="198" y="74"/>
                    <a:pt x="198" y="75"/>
                    <a:pt x="198" y="76"/>
                  </a:cubicBezTo>
                  <a:cubicBezTo>
                    <a:pt x="197" y="78"/>
                    <a:pt x="197" y="80"/>
                    <a:pt x="195" y="82"/>
                  </a:cubicBezTo>
                  <a:cubicBezTo>
                    <a:pt x="195" y="82"/>
                    <a:pt x="195" y="82"/>
                    <a:pt x="194" y="83"/>
                  </a:cubicBezTo>
                  <a:cubicBezTo>
                    <a:pt x="194" y="83"/>
                    <a:pt x="195" y="83"/>
                    <a:pt x="195" y="83"/>
                  </a:cubicBezTo>
                  <a:cubicBezTo>
                    <a:pt x="194" y="84"/>
                    <a:pt x="194" y="84"/>
                    <a:pt x="194" y="84"/>
                  </a:cubicBezTo>
                  <a:cubicBezTo>
                    <a:pt x="194" y="85"/>
                    <a:pt x="194" y="85"/>
                    <a:pt x="194" y="86"/>
                  </a:cubicBezTo>
                  <a:cubicBezTo>
                    <a:pt x="194" y="87"/>
                    <a:pt x="194" y="87"/>
                    <a:pt x="194" y="88"/>
                  </a:cubicBezTo>
                  <a:cubicBezTo>
                    <a:pt x="194" y="90"/>
                    <a:pt x="194" y="92"/>
                    <a:pt x="194" y="94"/>
                  </a:cubicBezTo>
                  <a:cubicBezTo>
                    <a:pt x="194" y="95"/>
                    <a:pt x="194" y="96"/>
                    <a:pt x="194" y="96"/>
                  </a:cubicBezTo>
                  <a:cubicBezTo>
                    <a:pt x="195" y="98"/>
                    <a:pt x="198" y="99"/>
                    <a:pt x="199" y="100"/>
                  </a:cubicBezTo>
                  <a:cubicBezTo>
                    <a:pt x="199" y="100"/>
                    <a:pt x="200" y="100"/>
                    <a:pt x="201" y="101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199" y="99"/>
                    <a:pt x="199" y="99"/>
                    <a:pt x="198" y="99"/>
                  </a:cubicBezTo>
                  <a:cubicBezTo>
                    <a:pt x="198" y="99"/>
                    <a:pt x="198" y="99"/>
                    <a:pt x="197" y="98"/>
                  </a:cubicBezTo>
                  <a:cubicBezTo>
                    <a:pt x="197" y="98"/>
                    <a:pt x="196" y="98"/>
                    <a:pt x="196" y="97"/>
                  </a:cubicBezTo>
                  <a:cubicBezTo>
                    <a:pt x="196" y="97"/>
                    <a:pt x="196" y="97"/>
                    <a:pt x="195" y="97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200" y="100"/>
                    <a:pt x="200" y="100"/>
                    <a:pt x="201" y="100"/>
                  </a:cubicBezTo>
                  <a:cubicBezTo>
                    <a:pt x="204" y="100"/>
                    <a:pt x="206" y="103"/>
                    <a:pt x="209" y="105"/>
                  </a:cubicBezTo>
                  <a:cubicBezTo>
                    <a:pt x="209" y="106"/>
                    <a:pt x="210" y="106"/>
                    <a:pt x="211" y="106"/>
                  </a:cubicBezTo>
                  <a:cubicBezTo>
                    <a:pt x="212" y="106"/>
                    <a:pt x="213" y="106"/>
                    <a:pt x="215" y="107"/>
                  </a:cubicBezTo>
                  <a:cubicBezTo>
                    <a:pt x="216" y="107"/>
                    <a:pt x="218" y="108"/>
                    <a:pt x="219" y="108"/>
                  </a:cubicBezTo>
                  <a:cubicBezTo>
                    <a:pt x="222" y="110"/>
                    <a:pt x="225" y="112"/>
                    <a:pt x="228" y="113"/>
                  </a:cubicBezTo>
                  <a:cubicBezTo>
                    <a:pt x="230" y="114"/>
                    <a:pt x="231" y="114"/>
                    <a:pt x="233" y="114"/>
                  </a:cubicBezTo>
                  <a:cubicBezTo>
                    <a:pt x="237" y="114"/>
                    <a:pt x="241" y="113"/>
                    <a:pt x="245" y="113"/>
                  </a:cubicBezTo>
                  <a:cubicBezTo>
                    <a:pt x="246" y="114"/>
                    <a:pt x="247" y="114"/>
                    <a:pt x="248" y="115"/>
                  </a:cubicBezTo>
                  <a:cubicBezTo>
                    <a:pt x="246" y="115"/>
                    <a:pt x="244" y="115"/>
                    <a:pt x="242" y="115"/>
                  </a:cubicBezTo>
                  <a:cubicBezTo>
                    <a:pt x="241" y="115"/>
                    <a:pt x="240" y="115"/>
                    <a:pt x="239" y="115"/>
                  </a:cubicBezTo>
                  <a:cubicBezTo>
                    <a:pt x="237" y="115"/>
                    <a:pt x="235" y="115"/>
                    <a:pt x="233" y="116"/>
                  </a:cubicBezTo>
                  <a:cubicBezTo>
                    <a:pt x="232" y="117"/>
                    <a:pt x="232" y="118"/>
                    <a:pt x="232" y="119"/>
                  </a:cubicBezTo>
                  <a:cubicBezTo>
                    <a:pt x="231" y="122"/>
                    <a:pt x="227" y="119"/>
                    <a:pt x="225" y="118"/>
                  </a:cubicBezTo>
                  <a:cubicBezTo>
                    <a:pt x="225" y="118"/>
                    <a:pt x="224" y="117"/>
                    <a:pt x="224" y="117"/>
                  </a:cubicBezTo>
                  <a:cubicBezTo>
                    <a:pt x="223" y="118"/>
                    <a:pt x="222" y="118"/>
                    <a:pt x="222" y="118"/>
                  </a:cubicBezTo>
                  <a:cubicBezTo>
                    <a:pt x="221" y="118"/>
                    <a:pt x="220" y="119"/>
                    <a:pt x="219" y="118"/>
                  </a:cubicBezTo>
                  <a:cubicBezTo>
                    <a:pt x="217" y="118"/>
                    <a:pt x="216" y="118"/>
                    <a:pt x="214" y="118"/>
                  </a:cubicBezTo>
                  <a:cubicBezTo>
                    <a:pt x="212" y="117"/>
                    <a:pt x="212" y="116"/>
                    <a:pt x="210" y="117"/>
                  </a:cubicBezTo>
                  <a:cubicBezTo>
                    <a:pt x="210" y="117"/>
                    <a:pt x="208" y="118"/>
                    <a:pt x="208" y="119"/>
                  </a:cubicBezTo>
                  <a:cubicBezTo>
                    <a:pt x="208" y="119"/>
                    <a:pt x="208" y="120"/>
                    <a:pt x="208" y="120"/>
                  </a:cubicBezTo>
                  <a:cubicBezTo>
                    <a:pt x="207" y="121"/>
                    <a:pt x="208" y="121"/>
                    <a:pt x="207" y="121"/>
                  </a:cubicBezTo>
                  <a:cubicBezTo>
                    <a:pt x="206" y="121"/>
                    <a:pt x="206" y="121"/>
                    <a:pt x="205" y="121"/>
                  </a:cubicBezTo>
                  <a:cubicBezTo>
                    <a:pt x="201" y="120"/>
                    <a:pt x="195" y="119"/>
                    <a:pt x="191" y="122"/>
                  </a:cubicBezTo>
                  <a:cubicBezTo>
                    <a:pt x="191" y="122"/>
                    <a:pt x="191" y="122"/>
                    <a:pt x="191" y="122"/>
                  </a:cubicBezTo>
                  <a:cubicBezTo>
                    <a:pt x="192" y="123"/>
                    <a:pt x="191" y="124"/>
                    <a:pt x="191" y="125"/>
                  </a:cubicBezTo>
                  <a:cubicBezTo>
                    <a:pt x="191" y="126"/>
                    <a:pt x="189" y="126"/>
                    <a:pt x="188" y="126"/>
                  </a:cubicBezTo>
                  <a:cubicBezTo>
                    <a:pt x="186" y="127"/>
                    <a:pt x="183" y="126"/>
                    <a:pt x="181" y="127"/>
                  </a:cubicBezTo>
                  <a:cubicBezTo>
                    <a:pt x="178" y="128"/>
                    <a:pt x="182" y="131"/>
                    <a:pt x="183" y="132"/>
                  </a:cubicBezTo>
                  <a:cubicBezTo>
                    <a:pt x="183" y="134"/>
                    <a:pt x="179" y="135"/>
                    <a:pt x="178" y="135"/>
                  </a:cubicBezTo>
                  <a:cubicBezTo>
                    <a:pt x="176" y="135"/>
                    <a:pt x="176" y="134"/>
                    <a:pt x="175" y="134"/>
                  </a:cubicBezTo>
                  <a:cubicBezTo>
                    <a:pt x="173" y="133"/>
                    <a:pt x="170" y="134"/>
                    <a:pt x="168" y="133"/>
                  </a:cubicBezTo>
                  <a:cubicBezTo>
                    <a:pt x="167" y="132"/>
                    <a:pt x="166" y="131"/>
                    <a:pt x="166" y="130"/>
                  </a:cubicBezTo>
                  <a:cubicBezTo>
                    <a:pt x="166" y="130"/>
                    <a:pt x="164" y="127"/>
                    <a:pt x="163" y="127"/>
                  </a:cubicBezTo>
                  <a:cubicBezTo>
                    <a:pt x="163" y="127"/>
                    <a:pt x="161" y="128"/>
                    <a:pt x="161" y="129"/>
                  </a:cubicBezTo>
                  <a:cubicBezTo>
                    <a:pt x="159" y="130"/>
                    <a:pt x="157" y="131"/>
                    <a:pt x="156" y="133"/>
                  </a:cubicBezTo>
                  <a:cubicBezTo>
                    <a:pt x="153" y="134"/>
                    <a:pt x="152" y="136"/>
                    <a:pt x="150" y="137"/>
                  </a:cubicBezTo>
                  <a:cubicBezTo>
                    <a:pt x="149" y="138"/>
                    <a:pt x="148" y="138"/>
                    <a:pt x="148" y="138"/>
                  </a:cubicBezTo>
                  <a:cubicBezTo>
                    <a:pt x="147" y="139"/>
                    <a:pt x="146" y="139"/>
                    <a:pt x="145" y="140"/>
                  </a:cubicBezTo>
                  <a:cubicBezTo>
                    <a:pt x="143" y="140"/>
                    <a:pt x="143" y="140"/>
                    <a:pt x="141" y="140"/>
                  </a:cubicBezTo>
                  <a:cubicBezTo>
                    <a:pt x="140" y="139"/>
                    <a:pt x="140" y="139"/>
                    <a:pt x="138" y="140"/>
                  </a:cubicBezTo>
                  <a:cubicBezTo>
                    <a:pt x="137" y="140"/>
                    <a:pt x="136" y="140"/>
                    <a:pt x="134" y="140"/>
                  </a:cubicBezTo>
                  <a:cubicBezTo>
                    <a:pt x="134" y="140"/>
                    <a:pt x="133" y="140"/>
                    <a:pt x="133" y="140"/>
                  </a:cubicBezTo>
                  <a:cubicBezTo>
                    <a:pt x="132" y="140"/>
                    <a:pt x="132" y="138"/>
                    <a:pt x="132" y="138"/>
                  </a:cubicBezTo>
                  <a:cubicBezTo>
                    <a:pt x="133" y="136"/>
                    <a:pt x="134" y="134"/>
                    <a:pt x="133" y="132"/>
                  </a:cubicBezTo>
                  <a:cubicBezTo>
                    <a:pt x="133" y="130"/>
                    <a:pt x="131" y="129"/>
                    <a:pt x="129" y="129"/>
                  </a:cubicBezTo>
                  <a:cubicBezTo>
                    <a:pt x="127" y="129"/>
                    <a:pt x="126" y="129"/>
                    <a:pt x="125" y="129"/>
                  </a:cubicBezTo>
                  <a:cubicBezTo>
                    <a:pt x="122" y="129"/>
                    <a:pt x="118" y="127"/>
                    <a:pt x="115" y="128"/>
                  </a:cubicBezTo>
                  <a:cubicBezTo>
                    <a:pt x="113" y="129"/>
                    <a:pt x="113" y="132"/>
                    <a:pt x="114" y="134"/>
                  </a:cubicBezTo>
                  <a:cubicBezTo>
                    <a:pt x="115" y="136"/>
                    <a:pt x="116" y="136"/>
                    <a:pt x="119" y="137"/>
                  </a:cubicBezTo>
                  <a:cubicBezTo>
                    <a:pt x="121" y="137"/>
                    <a:pt x="125" y="140"/>
                    <a:pt x="126" y="143"/>
                  </a:cubicBezTo>
                  <a:cubicBezTo>
                    <a:pt x="126" y="145"/>
                    <a:pt x="123" y="146"/>
                    <a:pt x="121" y="147"/>
                  </a:cubicBezTo>
                  <a:cubicBezTo>
                    <a:pt x="118" y="147"/>
                    <a:pt x="114" y="145"/>
                    <a:pt x="111" y="144"/>
                  </a:cubicBezTo>
                  <a:cubicBezTo>
                    <a:pt x="110" y="144"/>
                    <a:pt x="109" y="143"/>
                    <a:pt x="107" y="143"/>
                  </a:cubicBezTo>
                  <a:cubicBezTo>
                    <a:pt x="105" y="143"/>
                    <a:pt x="102" y="144"/>
                    <a:pt x="100" y="143"/>
                  </a:cubicBezTo>
                  <a:cubicBezTo>
                    <a:pt x="98" y="143"/>
                    <a:pt x="95" y="141"/>
                    <a:pt x="93" y="140"/>
                  </a:cubicBezTo>
                  <a:cubicBezTo>
                    <a:pt x="93" y="139"/>
                    <a:pt x="92" y="138"/>
                    <a:pt x="92" y="137"/>
                  </a:cubicBezTo>
                  <a:cubicBezTo>
                    <a:pt x="91" y="136"/>
                    <a:pt x="92" y="136"/>
                    <a:pt x="91" y="135"/>
                  </a:cubicBezTo>
                  <a:cubicBezTo>
                    <a:pt x="91" y="135"/>
                    <a:pt x="90" y="133"/>
                    <a:pt x="89" y="132"/>
                  </a:cubicBezTo>
                  <a:cubicBezTo>
                    <a:pt x="88" y="132"/>
                    <a:pt x="87" y="134"/>
                    <a:pt x="86" y="135"/>
                  </a:cubicBezTo>
                  <a:cubicBezTo>
                    <a:pt x="86" y="135"/>
                    <a:pt x="85" y="135"/>
                    <a:pt x="85" y="135"/>
                  </a:cubicBezTo>
                  <a:cubicBezTo>
                    <a:pt x="84" y="135"/>
                    <a:pt x="84" y="135"/>
                    <a:pt x="83" y="135"/>
                  </a:cubicBezTo>
                  <a:cubicBezTo>
                    <a:pt x="81" y="136"/>
                    <a:pt x="78" y="136"/>
                    <a:pt x="76" y="136"/>
                  </a:cubicBezTo>
                  <a:cubicBezTo>
                    <a:pt x="74" y="135"/>
                    <a:pt x="72" y="135"/>
                    <a:pt x="71" y="135"/>
                  </a:cubicBezTo>
                  <a:cubicBezTo>
                    <a:pt x="69" y="135"/>
                    <a:pt x="68" y="136"/>
                    <a:pt x="66" y="136"/>
                  </a:cubicBezTo>
                  <a:cubicBezTo>
                    <a:pt x="64" y="137"/>
                    <a:pt x="63" y="138"/>
                    <a:pt x="60" y="137"/>
                  </a:cubicBezTo>
                  <a:cubicBezTo>
                    <a:pt x="59" y="137"/>
                    <a:pt x="58" y="138"/>
                    <a:pt x="58" y="136"/>
                  </a:cubicBezTo>
                  <a:cubicBezTo>
                    <a:pt x="58" y="136"/>
                    <a:pt x="58" y="135"/>
                    <a:pt x="58" y="134"/>
                  </a:cubicBezTo>
                  <a:cubicBezTo>
                    <a:pt x="58" y="134"/>
                    <a:pt x="59" y="133"/>
                    <a:pt x="59" y="132"/>
                  </a:cubicBezTo>
                  <a:cubicBezTo>
                    <a:pt x="59" y="132"/>
                    <a:pt x="59" y="131"/>
                    <a:pt x="59" y="130"/>
                  </a:cubicBezTo>
                  <a:cubicBezTo>
                    <a:pt x="59" y="130"/>
                    <a:pt x="59" y="130"/>
                    <a:pt x="59" y="129"/>
                  </a:cubicBezTo>
                  <a:cubicBezTo>
                    <a:pt x="57" y="130"/>
                    <a:pt x="55" y="130"/>
                    <a:pt x="54" y="131"/>
                  </a:cubicBezTo>
                  <a:cubicBezTo>
                    <a:pt x="52" y="132"/>
                    <a:pt x="51" y="132"/>
                    <a:pt x="49" y="133"/>
                  </a:cubicBezTo>
                  <a:cubicBezTo>
                    <a:pt x="48" y="134"/>
                    <a:pt x="47" y="136"/>
                    <a:pt x="46" y="136"/>
                  </a:cubicBezTo>
                  <a:cubicBezTo>
                    <a:pt x="42" y="138"/>
                    <a:pt x="34" y="136"/>
                    <a:pt x="30" y="136"/>
                  </a:cubicBezTo>
                  <a:cubicBezTo>
                    <a:pt x="27" y="136"/>
                    <a:pt x="20" y="135"/>
                    <a:pt x="17" y="137"/>
                  </a:cubicBezTo>
                  <a:cubicBezTo>
                    <a:pt x="15" y="138"/>
                    <a:pt x="16" y="139"/>
                    <a:pt x="16" y="140"/>
                  </a:cubicBezTo>
                  <a:cubicBezTo>
                    <a:pt x="15" y="142"/>
                    <a:pt x="15" y="145"/>
                    <a:pt x="14" y="147"/>
                  </a:cubicBezTo>
                  <a:cubicBezTo>
                    <a:pt x="11" y="150"/>
                    <a:pt x="8" y="150"/>
                    <a:pt x="5" y="151"/>
                  </a:cubicBezTo>
                  <a:cubicBezTo>
                    <a:pt x="2" y="152"/>
                    <a:pt x="0" y="155"/>
                    <a:pt x="1" y="158"/>
                  </a:cubicBezTo>
                  <a:cubicBezTo>
                    <a:pt x="4" y="164"/>
                    <a:pt x="6" y="158"/>
                    <a:pt x="8" y="156"/>
                  </a:cubicBezTo>
                  <a:cubicBezTo>
                    <a:pt x="9" y="155"/>
                    <a:pt x="11" y="154"/>
                    <a:pt x="12" y="154"/>
                  </a:cubicBezTo>
                  <a:cubicBezTo>
                    <a:pt x="14" y="153"/>
                    <a:pt x="19" y="150"/>
                    <a:pt x="21" y="150"/>
                  </a:cubicBezTo>
                  <a:cubicBezTo>
                    <a:pt x="21" y="151"/>
                    <a:pt x="23" y="152"/>
                    <a:pt x="25" y="153"/>
                  </a:cubicBezTo>
                  <a:cubicBezTo>
                    <a:pt x="26" y="153"/>
                    <a:pt x="29" y="153"/>
                    <a:pt x="30" y="154"/>
                  </a:cubicBezTo>
                  <a:cubicBezTo>
                    <a:pt x="32" y="156"/>
                    <a:pt x="28" y="161"/>
                    <a:pt x="29" y="163"/>
                  </a:cubicBezTo>
                  <a:cubicBezTo>
                    <a:pt x="32" y="165"/>
                    <a:pt x="39" y="157"/>
                    <a:pt x="38" y="166"/>
                  </a:cubicBezTo>
                  <a:cubicBezTo>
                    <a:pt x="37" y="169"/>
                    <a:pt x="37" y="167"/>
                    <a:pt x="34" y="168"/>
                  </a:cubicBezTo>
                  <a:cubicBezTo>
                    <a:pt x="33" y="169"/>
                    <a:pt x="32" y="169"/>
                    <a:pt x="32" y="170"/>
                  </a:cubicBezTo>
                  <a:cubicBezTo>
                    <a:pt x="31" y="171"/>
                    <a:pt x="30" y="171"/>
                    <a:pt x="29" y="171"/>
                  </a:cubicBezTo>
                  <a:cubicBezTo>
                    <a:pt x="27" y="172"/>
                    <a:pt x="27" y="170"/>
                    <a:pt x="26" y="173"/>
                  </a:cubicBezTo>
                  <a:cubicBezTo>
                    <a:pt x="26" y="175"/>
                    <a:pt x="26" y="180"/>
                    <a:pt x="27" y="182"/>
                  </a:cubicBezTo>
                  <a:cubicBezTo>
                    <a:pt x="27" y="187"/>
                    <a:pt x="29" y="194"/>
                    <a:pt x="26" y="198"/>
                  </a:cubicBezTo>
                  <a:cubicBezTo>
                    <a:pt x="25" y="201"/>
                    <a:pt x="25" y="201"/>
                    <a:pt x="24" y="204"/>
                  </a:cubicBezTo>
                  <a:cubicBezTo>
                    <a:pt x="24" y="205"/>
                    <a:pt x="25" y="207"/>
                    <a:pt x="24" y="208"/>
                  </a:cubicBezTo>
                  <a:cubicBezTo>
                    <a:pt x="26" y="209"/>
                    <a:pt x="29" y="209"/>
                    <a:pt x="31" y="209"/>
                  </a:cubicBezTo>
                  <a:cubicBezTo>
                    <a:pt x="34" y="210"/>
                    <a:pt x="35" y="211"/>
                    <a:pt x="38" y="211"/>
                  </a:cubicBezTo>
                  <a:cubicBezTo>
                    <a:pt x="41" y="211"/>
                    <a:pt x="46" y="212"/>
                    <a:pt x="48" y="211"/>
                  </a:cubicBezTo>
                  <a:cubicBezTo>
                    <a:pt x="51" y="210"/>
                    <a:pt x="51" y="209"/>
                    <a:pt x="53" y="208"/>
                  </a:cubicBezTo>
                  <a:cubicBezTo>
                    <a:pt x="55" y="208"/>
                    <a:pt x="58" y="208"/>
                    <a:pt x="60" y="208"/>
                  </a:cubicBezTo>
                  <a:cubicBezTo>
                    <a:pt x="64" y="208"/>
                    <a:pt x="68" y="208"/>
                    <a:pt x="73" y="208"/>
                  </a:cubicBezTo>
                  <a:cubicBezTo>
                    <a:pt x="74" y="213"/>
                    <a:pt x="61" y="217"/>
                    <a:pt x="58" y="220"/>
                  </a:cubicBezTo>
                  <a:cubicBezTo>
                    <a:pt x="55" y="222"/>
                    <a:pt x="52" y="226"/>
                    <a:pt x="54" y="229"/>
                  </a:cubicBezTo>
                  <a:cubicBezTo>
                    <a:pt x="55" y="232"/>
                    <a:pt x="60" y="233"/>
                    <a:pt x="61" y="235"/>
                  </a:cubicBezTo>
                  <a:cubicBezTo>
                    <a:pt x="62" y="237"/>
                    <a:pt x="63" y="239"/>
                    <a:pt x="63" y="241"/>
                  </a:cubicBezTo>
                  <a:cubicBezTo>
                    <a:pt x="65" y="244"/>
                    <a:pt x="63" y="248"/>
                    <a:pt x="64" y="252"/>
                  </a:cubicBezTo>
                  <a:cubicBezTo>
                    <a:pt x="65" y="253"/>
                    <a:pt x="66" y="256"/>
                    <a:pt x="66" y="256"/>
                  </a:cubicBezTo>
                  <a:cubicBezTo>
                    <a:pt x="68" y="257"/>
                    <a:pt x="69" y="256"/>
                    <a:pt x="70" y="257"/>
                  </a:cubicBezTo>
                  <a:cubicBezTo>
                    <a:pt x="71" y="258"/>
                    <a:pt x="72" y="259"/>
                    <a:pt x="72" y="261"/>
                  </a:cubicBezTo>
                  <a:cubicBezTo>
                    <a:pt x="72" y="265"/>
                    <a:pt x="70" y="264"/>
                    <a:pt x="67" y="265"/>
                  </a:cubicBezTo>
                  <a:cubicBezTo>
                    <a:pt x="66" y="266"/>
                    <a:pt x="65" y="268"/>
                    <a:pt x="64" y="269"/>
                  </a:cubicBezTo>
                  <a:cubicBezTo>
                    <a:pt x="62" y="270"/>
                    <a:pt x="60" y="270"/>
                    <a:pt x="59" y="273"/>
                  </a:cubicBezTo>
                  <a:cubicBezTo>
                    <a:pt x="58" y="277"/>
                    <a:pt x="64" y="286"/>
                    <a:pt x="66" y="288"/>
                  </a:cubicBezTo>
                  <a:cubicBezTo>
                    <a:pt x="68" y="290"/>
                    <a:pt x="69" y="290"/>
                    <a:pt x="70" y="291"/>
                  </a:cubicBezTo>
                  <a:cubicBezTo>
                    <a:pt x="70" y="292"/>
                    <a:pt x="72" y="296"/>
                    <a:pt x="72" y="297"/>
                  </a:cubicBezTo>
                  <a:cubicBezTo>
                    <a:pt x="72" y="303"/>
                    <a:pt x="60" y="299"/>
                    <a:pt x="57" y="299"/>
                  </a:cubicBezTo>
                  <a:cubicBezTo>
                    <a:pt x="52" y="299"/>
                    <a:pt x="50" y="298"/>
                    <a:pt x="49" y="293"/>
                  </a:cubicBezTo>
                  <a:cubicBezTo>
                    <a:pt x="48" y="291"/>
                    <a:pt x="49" y="289"/>
                    <a:pt x="49" y="287"/>
                  </a:cubicBezTo>
                  <a:cubicBezTo>
                    <a:pt x="48" y="285"/>
                    <a:pt x="47" y="284"/>
                    <a:pt x="46" y="283"/>
                  </a:cubicBezTo>
                  <a:cubicBezTo>
                    <a:pt x="45" y="280"/>
                    <a:pt x="46" y="275"/>
                    <a:pt x="41" y="277"/>
                  </a:cubicBezTo>
                  <a:cubicBezTo>
                    <a:pt x="35" y="280"/>
                    <a:pt x="37" y="289"/>
                    <a:pt x="39" y="293"/>
                  </a:cubicBezTo>
                  <a:cubicBezTo>
                    <a:pt x="40" y="295"/>
                    <a:pt x="41" y="297"/>
                    <a:pt x="40" y="299"/>
                  </a:cubicBezTo>
                  <a:cubicBezTo>
                    <a:pt x="40" y="302"/>
                    <a:pt x="36" y="301"/>
                    <a:pt x="35" y="302"/>
                  </a:cubicBezTo>
                  <a:cubicBezTo>
                    <a:pt x="34" y="305"/>
                    <a:pt x="37" y="310"/>
                    <a:pt x="40" y="310"/>
                  </a:cubicBezTo>
                  <a:cubicBezTo>
                    <a:pt x="40" y="314"/>
                    <a:pt x="48" y="315"/>
                    <a:pt x="51" y="315"/>
                  </a:cubicBezTo>
                  <a:cubicBezTo>
                    <a:pt x="54" y="315"/>
                    <a:pt x="56" y="315"/>
                    <a:pt x="58" y="316"/>
                  </a:cubicBezTo>
                  <a:cubicBezTo>
                    <a:pt x="60" y="317"/>
                    <a:pt x="60" y="320"/>
                    <a:pt x="62" y="320"/>
                  </a:cubicBezTo>
                  <a:cubicBezTo>
                    <a:pt x="67" y="322"/>
                    <a:pt x="71" y="321"/>
                    <a:pt x="75" y="326"/>
                  </a:cubicBezTo>
                  <a:cubicBezTo>
                    <a:pt x="78" y="329"/>
                    <a:pt x="81" y="332"/>
                    <a:pt x="82" y="336"/>
                  </a:cubicBezTo>
                  <a:cubicBezTo>
                    <a:pt x="85" y="336"/>
                    <a:pt x="85" y="337"/>
                    <a:pt x="86" y="340"/>
                  </a:cubicBezTo>
                  <a:cubicBezTo>
                    <a:pt x="87" y="343"/>
                    <a:pt x="90" y="347"/>
                    <a:pt x="89" y="350"/>
                  </a:cubicBezTo>
                  <a:cubicBezTo>
                    <a:pt x="86" y="357"/>
                    <a:pt x="73" y="350"/>
                    <a:pt x="70" y="348"/>
                  </a:cubicBezTo>
                  <a:cubicBezTo>
                    <a:pt x="67" y="346"/>
                    <a:pt x="68" y="344"/>
                    <a:pt x="63" y="344"/>
                  </a:cubicBezTo>
                  <a:cubicBezTo>
                    <a:pt x="62" y="344"/>
                    <a:pt x="59" y="344"/>
                    <a:pt x="57" y="344"/>
                  </a:cubicBezTo>
                  <a:cubicBezTo>
                    <a:pt x="57" y="345"/>
                    <a:pt x="56" y="346"/>
                    <a:pt x="55" y="347"/>
                  </a:cubicBezTo>
                  <a:cubicBezTo>
                    <a:pt x="55" y="347"/>
                    <a:pt x="53" y="348"/>
                    <a:pt x="52" y="348"/>
                  </a:cubicBezTo>
                  <a:cubicBezTo>
                    <a:pt x="51" y="349"/>
                    <a:pt x="47" y="351"/>
                    <a:pt x="48" y="353"/>
                  </a:cubicBezTo>
                  <a:cubicBezTo>
                    <a:pt x="50" y="356"/>
                    <a:pt x="52" y="354"/>
                    <a:pt x="54" y="355"/>
                  </a:cubicBezTo>
                  <a:cubicBezTo>
                    <a:pt x="56" y="355"/>
                    <a:pt x="57" y="358"/>
                    <a:pt x="59" y="359"/>
                  </a:cubicBezTo>
                  <a:cubicBezTo>
                    <a:pt x="61" y="360"/>
                    <a:pt x="62" y="361"/>
                    <a:pt x="65" y="361"/>
                  </a:cubicBezTo>
                  <a:cubicBezTo>
                    <a:pt x="68" y="362"/>
                    <a:pt x="69" y="362"/>
                    <a:pt x="71" y="364"/>
                  </a:cubicBezTo>
                  <a:cubicBezTo>
                    <a:pt x="73" y="365"/>
                    <a:pt x="74" y="366"/>
                    <a:pt x="75" y="367"/>
                  </a:cubicBezTo>
                  <a:cubicBezTo>
                    <a:pt x="77" y="368"/>
                    <a:pt x="78" y="370"/>
                    <a:pt x="79" y="371"/>
                  </a:cubicBezTo>
                  <a:cubicBezTo>
                    <a:pt x="80" y="371"/>
                    <a:pt x="81" y="371"/>
                    <a:pt x="82" y="371"/>
                  </a:cubicBezTo>
                  <a:cubicBezTo>
                    <a:pt x="83" y="371"/>
                    <a:pt x="84" y="374"/>
                    <a:pt x="84" y="375"/>
                  </a:cubicBezTo>
                  <a:cubicBezTo>
                    <a:pt x="86" y="380"/>
                    <a:pt x="82" y="386"/>
                    <a:pt x="89" y="387"/>
                  </a:cubicBezTo>
                  <a:cubicBezTo>
                    <a:pt x="94" y="388"/>
                    <a:pt x="96" y="382"/>
                    <a:pt x="101" y="384"/>
                  </a:cubicBezTo>
                  <a:cubicBezTo>
                    <a:pt x="104" y="385"/>
                    <a:pt x="108" y="392"/>
                    <a:pt x="108" y="396"/>
                  </a:cubicBezTo>
                  <a:cubicBezTo>
                    <a:pt x="107" y="400"/>
                    <a:pt x="102" y="405"/>
                    <a:pt x="98" y="402"/>
                  </a:cubicBezTo>
                  <a:cubicBezTo>
                    <a:pt x="98" y="402"/>
                    <a:pt x="98" y="401"/>
                    <a:pt x="98" y="400"/>
                  </a:cubicBezTo>
                  <a:cubicBezTo>
                    <a:pt x="97" y="399"/>
                    <a:pt x="95" y="401"/>
                    <a:pt x="94" y="400"/>
                  </a:cubicBezTo>
                  <a:cubicBezTo>
                    <a:pt x="93" y="400"/>
                    <a:pt x="93" y="399"/>
                    <a:pt x="93" y="398"/>
                  </a:cubicBezTo>
                  <a:cubicBezTo>
                    <a:pt x="91" y="397"/>
                    <a:pt x="90" y="397"/>
                    <a:pt x="88" y="398"/>
                  </a:cubicBezTo>
                  <a:cubicBezTo>
                    <a:pt x="85" y="399"/>
                    <a:pt x="86" y="401"/>
                    <a:pt x="85" y="403"/>
                  </a:cubicBezTo>
                  <a:cubicBezTo>
                    <a:pt x="84" y="406"/>
                    <a:pt x="82" y="404"/>
                    <a:pt x="85" y="407"/>
                  </a:cubicBezTo>
                  <a:cubicBezTo>
                    <a:pt x="88" y="410"/>
                    <a:pt x="92" y="412"/>
                    <a:pt x="96" y="412"/>
                  </a:cubicBezTo>
                  <a:cubicBezTo>
                    <a:pt x="105" y="412"/>
                    <a:pt x="114" y="411"/>
                    <a:pt x="123" y="412"/>
                  </a:cubicBezTo>
                  <a:cubicBezTo>
                    <a:pt x="125" y="412"/>
                    <a:pt x="128" y="412"/>
                    <a:pt x="130" y="413"/>
                  </a:cubicBezTo>
                  <a:cubicBezTo>
                    <a:pt x="133" y="413"/>
                    <a:pt x="137" y="412"/>
                    <a:pt x="140" y="413"/>
                  </a:cubicBezTo>
                  <a:cubicBezTo>
                    <a:pt x="142" y="414"/>
                    <a:pt x="144" y="416"/>
                    <a:pt x="146" y="416"/>
                  </a:cubicBezTo>
                  <a:cubicBezTo>
                    <a:pt x="147" y="417"/>
                    <a:pt x="149" y="416"/>
                    <a:pt x="150" y="416"/>
                  </a:cubicBezTo>
                  <a:cubicBezTo>
                    <a:pt x="149" y="422"/>
                    <a:pt x="139" y="415"/>
                    <a:pt x="139" y="423"/>
                  </a:cubicBezTo>
                  <a:cubicBezTo>
                    <a:pt x="138" y="423"/>
                    <a:pt x="138" y="424"/>
                    <a:pt x="137" y="424"/>
                  </a:cubicBezTo>
                  <a:cubicBezTo>
                    <a:pt x="135" y="425"/>
                    <a:pt x="134" y="425"/>
                    <a:pt x="132" y="425"/>
                  </a:cubicBezTo>
                  <a:cubicBezTo>
                    <a:pt x="129" y="426"/>
                    <a:pt x="126" y="425"/>
                    <a:pt x="124" y="425"/>
                  </a:cubicBezTo>
                  <a:cubicBezTo>
                    <a:pt x="121" y="426"/>
                    <a:pt x="121" y="428"/>
                    <a:pt x="118" y="429"/>
                  </a:cubicBezTo>
                  <a:cubicBezTo>
                    <a:pt x="112" y="432"/>
                    <a:pt x="106" y="425"/>
                    <a:pt x="101" y="427"/>
                  </a:cubicBezTo>
                  <a:cubicBezTo>
                    <a:pt x="98" y="428"/>
                    <a:pt x="96" y="431"/>
                    <a:pt x="96" y="433"/>
                  </a:cubicBezTo>
                  <a:cubicBezTo>
                    <a:pt x="97" y="439"/>
                    <a:pt x="102" y="438"/>
                    <a:pt x="106" y="438"/>
                  </a:cubicBezTo>
                  <a:cubicBezTo>
                    <a:pt x="113" y="438"/>
                    <a:pt x="119" y="440"/>
                    <a:pt x="125" y="439"/>
                  </a:cubicBezTo>
                  <a:cubicBezTo>
                    <a:pt x="127" y="438"/>
                    <a:pt x="134" y="436"/>
                    <a:pt x="134" y="440"/>
                  </a:cubicBezTo>
                  <a:cubicBezTo>
                    <a:pt x="133" y="442"/>
                    <a:pt x="130" y="442"/>
                    <a:pt x="128" y="444"/>
                  </a:cubicBezTo>
                  <a:cubicBezTo>
                    <a:pt x="130" y="448"/>
                    <a:pt x="143" y="452"/>
                    <a:pt x="147" y="448"/>
                  </a:cubicBezTo>
                  <a:cubicBezTo>
                    <a:pt x="150" y="444"/>
                    <a:pt x="144" y="435"/>
                    <a:pt x="149" y="433"/>
                  </a:cubicBezTo>
                  <a:cubicBezTo>
                    <a:pt x="150" y="432"/>
                    <a:pt x="156" y="433"/>
                    <a:pt x="157" y="434"/>
                  </a:cubicBezTo>
                  <a:cubicBezTo>
                    <a:pt x="159" y="434"/>
                    <a:pt x="160" y="436"/>
                    <a:pt x="162" y="436"/>
                  </a:cubicBezTo>
                  <a:cubicBezTo>
                    <a:pt x="164" y="436"/>
                    <a:pt x="165" y="435"/>
                    <a:pt x="166" y="436"/>
                  </a:cubicBezTo>
                  <a:cubicBezTo>
                    <a:pt x="170" y="438"/>
                    <a:pt x="169" y="443"/>
                    <a:pt x="174" y="443"/>
                  </a:cubicBezTo>
                  <a:cubicBezTo>
                    <a:pt x="176" y="443"/>
                    <a:pt x="180" y="441"/>
                    <a:pt x="181" y="439"/>
                  </a:cubicBezTo>
                  <a:cubicBezTo>
                    <a:pt x="183" y="439"/>
                    <a:pt x="186" y="441"/>
                    <a:pt x="187" y="443"/>
                  </a:cubicBezTo>
                  <a:cubicBezTo>
                    <a:pt x="190" y="445"/>
                    <a:pt x="189" y="446"/>
                    <a:pt x="190" y="449"/>
                  </a:cubicBezTo>
                  <a:cubicBezTo>
                    <a:pt x="191" y="456"/>
                    <a:pt x="195" y="458"/>
                    <a:pt x="200" y="462"/>
                  </a:cubicBezTo>
                  <a:cubicBezTo>
                    <a:pt x="202" y="463"/>
                    <a:pt x="204" y="464"/>
                    <a:pt x="206" y="466"/>
                  </a:cubicBezTo>
                  <a:cubicBezTo>
                    <a:pt x="207" y="467"/>
                    <a:pt x="207" y="468"/>
                    <a:pt x="208" y="470"/>
                  </a:cubicBezTo>
                  <a:cubicBezTo>
                    <a:pt x="211" y="475"/>
                    <a:pt x="213" y="481"/>
                    <a:pt x="217" y="486"/>
                  </a:cubicBezTo>
                  <a:cubicBezTo>
                    <a:pt x="221" y="492"/>
                    <a:pt x="225" y="494"/>
                    <a:pt x="232" y="495"/>
                  </a:cubicBezTo>
                  <a:cubicBezTo>
                    <a:pt x="236" y="495"/>
                    <a:pt x="240" y="495"/>
                    <a:pt x="243" y="495"/>
                  </a:cubicBezTo>
                  <a:cubicBezTo>
                    <a:pt x="248" y="494"/>
                    <a:pt x="250" y="491"/>
                    <a:pt x="254" y="489"/>
                  </a:cubicBezTo>
                  <a:cubicBezTo>
                    <a:pt x="257" y="487"/>
                    <a:pt x="259" y="485"/>
                    <a:pt x="262" y="483"/>
                  </a:cubicBezTo>
                  <a:cubicBezTo>
                    <a:pt x="265" y="481"/>
                    <a:pt x="269" y="479"/>
                    <a:pt x="272" y="477"/>
                  </a:cubicBezTo>
                  <a:cubicBezTo>
                    <a:pt x="274" y="476"/>
                    <a:pt x="272" y="474"/>
                    <a:pt x="275" y="475"/>
                  </a:cubicBezTo>
                  <a:cubicBezTo>
                    <a:pt x="277" y="475"/>
                    <a:pt x="279" y="480"/>
                    <a:pt x="282" y="477"/>
                  </a:cubicBezTo>
                  <a:cubicBezTo>
                    <a:pt x="286" y="475"/>
                    <a:pt x="283" y="463"/>
                    <a:pt x="283" y="459"/>
                  </a:cubicBezTo>
                  <a:cubicBezTo>
                    <a:pt x="284" y="452"/>
                    <a:pt x="288" y="444"/>
                    <a:pt x="291" y="438"/>
                  </a:cubicBezTo>
                  <a:cubicBezTo>
                    <a:pt x="293" y="433"/>
                    <a:pt x="295" y="431"/>
                    <a:pt x="300" y="433"/>
                  </a:cubicBezTo>
                  <a:cubicBezTo>
                    <a:pt x="304" y="435"/>
                    <a:pt x="307" y="435"/>
                    <a:pt x="311" y="435"/>
                  </a:cubicBezTo>
                  <a:cubicBezTo>
                    <a:pt x="309" y="435"/>
                    <a:pt x="307" y="434"/>
                    <a:pt x="307" y="432"/>
                  </a:cubicBezTo>
                  <a:cubicBezTo>
                    <a:pt x="312" y="431"/>
                    <a:pt x="313" y="433"/>
                    <a:pt x="316" y="436"/>
                  </a:cubicBezTo>
                  <a:cubicBezTo>
                    <a:pt x="319" y="438"/>
                    <a:pt x="323" y="439"/>
                    <a:pt x="327" y="440"/>
                  </a:cubicBezTo>
                  <a:cubicBezTo>
                    <a:pt x="333" y="441"/>
                    <a:pt x="339" y="444"/>
                    <a:pt x="345" y="445"/>
                  </a:cubicBezTo>
                  <a:cubicBezTo>
                    <a:pt x="349" y="447"/>
                    <a:pt x="351" y="449"/>
                    <a:pt x="355" y="451"/>
                  </a:cubicBezTo>
                  <a:cubicBezTo>
                    <a:pt x="359" y="453"/>
                    <a:pt x="362" y="454"/>
                    <a:pt x="365" y="457"/>
                  </a:cubicBezTo>
                  <a:cubicBezTo>
                    <a:pt x="368" y="459"/>
                    <a:pt x="368" y="461"/>
                    <a:pt x="369" y="464"/>
                  </a:cubicBezTo>
                  <a:cubicBezTo>
                    <a:pt x="369" y="464"/>
                    <a:pt x="371" y="466"/>
                    <a:pt x="371" y="467"/>
                  </a:cubicBezTo>
                  <a:cubicBezTo>
                    <a:pt x="371" y="467"/>
                    <a:pt x="371" y="468"/>
                    <a:pt x="371" y="468"/>
                  </a:cubicBezTo>
                  <a:cubicBezTo>
                    <a:pt x="371" y="470"/>
                    <a:pt x="372" y="470"/>
                    <a:pt x="373" y="471"/>
                  </a:cubicBezTo>
                  <a:cubicBezTo>
                    <a:pt x="372" y="470"/>
                    <a:pt x="375" y="474"/>
                    <a:pt x="374" y="473"/>
                  </a:cubicBezTo>
                  <a:cubicBezTo>
                    <a:pt x="375" y="475"/>
                    <a:pt x="377" y="474"/>
                    <a:pt x="378" y="476"/>
                  </a:cubicBezTo>
                  <a:cubicBezTo>
                    <a:pt x="378" y="476"/>
                    <a:pt x="378" y="477"/>
                    <a:pt x="379" y="478"/>
                  </a:cubicBezTo>
                  <a:cubicBezTo>
                    <a:pt x="379" y="479"/>
                    <a:pt x="380" y="480"/>
                    <a:pt x="381" y="481"/>
                  </a:cubicBezTo>
                  <a:cubicBezTo>
                    <a:pt x="383" y="483"/>
                    <a:pt x="384" y="484"/>
                    <a:pt x="385" y="486"/>
                  </a:cubicBezTo>
                  <a:cubicBezTo>
                    <a:pt x="387" y="487"/>
                    <a:pt x="390" y="489"/>
                    <a:pt x="392" y="491"/>
                  </a:cubicBezTo>
                  <a:cubicBezTo>
                    <a:pt x="394" y="493"/>
                    <a:pt x="394" y="496"/>
                    <a:pt x="398" y="497"/>
                  </a:cubicBezTo>
                  <a:cubicBezTo>
                    <a:pt x="403" y="499"/>
                    <a:pt x="408" y="501"/>
                    <a:pt x="413" y="502"/>
                  </a:cubicBezTo>
                  <a:cubicBezTo>
                    <a:pt x="417" y="504"/>
                    <a:pt x="419" y="504"/>
                    <a:pt x="424" y="503"/>
                  </a:cubicBezTo>
                  <a:cubicBezTo>
                    <a:pt x="429" y="502"/>
                    <a:pt x="433" y="500"/>
                    <a:pt x="438" y="500"/>
                  </a:cubicBezTo>
                  <a:cubicBezTo>
                    <a:pt x="447" y="500"/>
                    <a:pt x="456" y="500"/>
                    <a:pt x="465" y="500"/>
                  </a:cubicBezTo>
                  <a:cubicBezTo>
                    <a:pt x="472" y="500"/>
                    <a:pt x="479" y="501"/>
                    <a:pt x="486" y="500"/>
                  </a:cubicBezTo>
                  <a:cubicBezTo>
                    <a:pt x="490" y="500"/>
                    <a:pt x="490" y="498"/>
                    <a:pt x="491" y="495"/>
                  </a:cubicBezTo>
                  <a:cubicBezTo>
                    <a:pt x="492" y="493"/>
                    <a:pt x="491" y="493"/>
                    <a:pt x="492" y="491"/>
                  </a:cubicBezTo>
                  <a:cubicBezTo>
                    <a:pt x="492" y="490"/>
                    <a:pt x="495" y="489"/>
                    <a:pt x="496" y="488"/>
                  </a:cubicBezTo>
                  <a:cubicBezTo>
                    <a:pt x="498" y="485"/>
                    <a:pt x="500" y="483"/>
                    <a:pt x="501" y="480"/>
                  </a:cubicBezTo>
                  <a:cubicBezTo>
                    <a:pt x="503" y="478"/>
                    <a:pt x="502" y="479"/>
                    <a:pt x="504" y="477"/>
                  </a:cubicBezTo>
                  <a:cubicBezTo>
                    <a:pt x="505" y="476"/>
                    <a:pt x="507" y="474"/>
                    <a:pt x="508" y="473"/>
                  </a:cubicBezTo>
                  <a:cubicBezTo>
                    <a:pt x="512" y="470"/>
                    <a:pt x="519" y="473"/>
                    <a:pt x="520" y="465"/>
                  </a:cubicBezTo>
                  <a:cubicBezTo>
                    <a:pt x="520" y="463"/>
                    <a:pt x="519" y="459"/>
                    <a:pt x="521" y="457"/>
                  </a:cubicBezTo>
                  <a:cubicBezTo>
                    <a:pt x="522" y="455"/>
                    <a:pt x="523" y="455"/>
                    <a:pt x="525" y="454"/>
                  </a:cubicBezTo>
                  <a:cubicBezTo>
                    <a:pt x="527" y="453"/>
                    <a:pt x="526" y="452"/>
                    <a:pt x="528" y="451"/>
                  </a:cubicBezTo>
                  <a:cubicBezTo>
                    <a:pt x="531" y="450"/>
                    <a:pt x="535" y="452"/>
                    <a:pt x="537" y="454"/>
                  </a:cubicBezTo>
                  <a:cubicBezTo>
                    <a:pt x="539" y="455"/>
                    <a:pt x="540" y="456"/>
                    <a:pt x="542" y="456"/>
                  </a:cubicBezTo>
                  <a:cubicBezTo>
                    <a:pt x="544" y="457"/>
                    <a:pt x="546" y="456"/>
                    <a:pt x="547" y="456"/>
                  </a:cubicBezTo>
                  <a:cubicBezTo>
                    <a:pt x="550" y="457"/>
                    <a:pt x="551" y="459"/>
                    <a:pt x="554" y="461"/>
                  </a:cubicBezTo>
                  <a:cubicBezTo>
                    <a:pt x="558" y="464"/>
                    <a:pt x="561" y="464"/>
                    <a:pt x="565" y="466"/>
                  </a:cubicBezTo>
                  <a:cubicBezTo>
                    <a:pt x="565" y="466"/>
                    <a:pt x="568" y="467"/>
                    <a:pt x="568" y="467"/>
                  </a:cubicBezTo>
                  <a:cubicBezTo>
                    <a:pt x="570" y="468"/>
                    <a:pt x="571" y="468"/>
                    <a:pt x="573" y="469"/>
                  </a:cubicBezTo>
                  <a:cubicBezTo>
                    <a:pt x="574" y="469"/>
                    <a:pt x="575" y="470"/>
                    <a:pt x="576" y="470"/>
                  </a:cubicBezTo>
                  <a:cubicBezTo>
                    <a:pt x="579" y="471"/>
                    <a:pt x="582" y="470"/>
                    <a:pt x="585" y="470"/>
                  </a:cubicBezTo>
                  <a:cubicBezTo>
                    <a:pt x="588" y="470"/>
                    <a:pt x="589" y="470"/>
                    <a:pt x="591" y="468"/>
                  </a:cubicBezTo>
                  <a:cubicBezTo>
                    <a:pt x="592" y="467"/>
                    <a:pt x="591" y="465"/>
                    <a:pt x="592" y="464"/>
                  </a:cubicBezTo>
                  <a:cubicBezTo>
                    <a:pt x="593" y="462"/>
                    <a:pt x="594" y="463"/>
                    <a:pt x="595" y="462"/>
                  </a:cubicBezTo>
                  <a:cubicBezTo>
                    <a:pt x="598" y="462"/>
                    <a:pt x="600" y="461"/>
                    <a:pt x="602" y="459"/>
                  </a:cubicBezTo>
                  <a:cubicBezTo>
                    <a:pt x="605" y="458"/>
                    <a:pt x="607" y="457"/>
                    <a:pt x="610" y="456"/>
                  </a:cubicBezTo>
                  <a:cubicBezTo>
                    <a:pt x="614" y="455"/>
                    <a:pt x="621" y="451"/>
                    <a:pt x="624" y="457"/>
                  </a:cubicBezTo>
                  <a:cubicBezTo>
                    <a:pt x="625" y="460"/>
                    <a:pt x="623" y="462"/>
                    <a:pt x="621" y="464"/>
                  </a:cubicBezTo>
                  <a:cubicBezTo>
                    <a:pt x="619" y="467"/>
                    <a:pt x="619" y="470"/>
                    <a:pt x="616" y="472"/>
                  </a:cubicBezTo>
                  <a:cubicBezTo>
                    <a:pt x="612" y="474"/>
                    <a:pt x="608" y="475"/>
                    <a:pt x="605" y="477"/>
                  </a:cubicBezTo>
                  <a:cubicBezTo>
                    <a:pt x="601" y="479"/>
                    <a:pt x="601" y="480"/>
                    <a:pt x="601" y="484"/>
                  </a:cubicBezTo>
                  <a:cubicBezTo>
                    <a:pt x="601" y="491"/>
                    <a:pt x="605" y="495"/>
                    <a:pt x="608" y="500"/>
                  </a:cubicBezTo>
                  <a:cubicBezTo>
                    <a:pt x="609" y="503"/>
                    <a:pt x="611" y="507"/>
                    <a:pt x="613" y="510"/>
                  </a:cubicBezTo>
                  <a:cubicBezTo>
                    <a:pt x="614" y="512"/>
                    <a:pt x="614" y="515"/>
                    <a:pt x="617" y="517"/>
                  </a:cubicBezTo>
                  <a:cubicBezTo>
                    <a:pt x="619" y="518"/>
                    <a:pt x="624" y="518"/>
                    <a:pt x="627" y="518"/>
                  </a:cubicBezTo>
                  <a:cubicBezTo>
                    <a:pt x="631" y="518"/>
                    <a:pt x="632" y="514"/>
                    <a:pt x="634" y="511"/>
                  </a:cubicBezTo>
                  <a:cubicBezTo>
                    <a:pt x="636" y="508"/>
                    <a:pt x="637" y="504"/>
                    <a:pt x="640" y="503"/>
                  </a:cubicBezTo>
                  <a:cubicBezTo>
                    <a:pt x="643" y="502"/>
                    <a:pt x="646" y="503"/>
                    <a:pt x="648" y="503"/>
                  </a:cubicBezTo>
                  <a:cubicBezTo>
                    <a:pt x="650" y="502"/>
                    <a:pt x="654" y="502"/>
                    <a:pt x="655" y="500"/>
                  </a:cubicBezTo>
                  <a:cubicBezTo>
                    <a:pt x="657" y="497"/>
                    <a:pt x="652" y="493"/>
                    <a:pt x="651" y="490"/>
                  </a:cubicBezTo>
                  <a:cubicBezTo>
                    <a:pt x="650" y="488"/>
                    <a:pt x="650" y="483"/>
                    <a:pt x="651" y="481"/>
                  </a:cubicBezTo>
                  <a:cubicBezTo>
                    <a:pt x="651" y="477"/>
                    <a:pt x="654" y="475"/>
                    <a:pt x="655" y="472"/>
                  </a:cubicBezTo>
                  <a:cubicBezTo>
                    <a:pt x="657" y="469"/>
                    <a:pt x="657" y="466"/>
                    <a:pt x="661" y="464"/>
                  </a:cubicBezTo>
                  <a:cubicBezTo>
                    <a:pt x="663" y="463"/>
                    <a:pt x="666" y="462"/>
                    <a:pt x="669" y="462"/>
                  </a:cubicBezTo>
                  <a:cubicBezTo>
                    <a:pt x="672" y="462"/>
                    <a:pt x="675" y="462"/>
                    <a:pt x="678" y="462"/>
                  </a:cubicBezTo>
                  <a:cubicBezTo>
                    <a:pt x="679" y="463"/>
                    <a:pt x="680" y="464"/>
                    <a:pt x="682" y="464"/>
                  </a:cubicBezTo>
                  <a:cubicBezTo>
                    <a:pt x="683" y="465"/>
                    <a:pt x="685" y="464"/>
                    <a:pt x="686" y="464"/>
                  </a:cubicBezTo>
                  <a:cubicBezTo>
                    <a:pt x="689" y="465"/>
                    <a:pt x="691" y="465"/>
                    <a:pt x="694" y="466"/>
                  </a:cubicBezTo>
                  <a:cubicBezTo>
                    <a:pt x="696" y="466"/>
                    <a:pt x="698" y="467"/>
                    <a:pt x="701" y="467"/>
                  </a:cubicBezTo>
                  <a:cubicBezTo>
                    <a:pt x="703" y="467"/>
                    <a:pt x="706" y="467"/>
                    <a:pt x="708" y="467"/>
                  </a:cubicBezTo>
                  <a:cubicBezTo>
                    <a:pt x="714" y="467"/>
                    <a:pt x="719" y="465"/>
                    <a:pt x="724" y="464"/>
                  </a:cubicBezTo>
                  <a:cubicBezTo>
                    <a:pt x="730" y="464"/>
                    <a:pt x="735" y="460"/>
                    <a:pt x="741" y="459"/>
                  </a:cubicBezTo>
                  <a:cubicBezTo>
                    <a:pt x="744" y="457"/>
                    <a:pt x="749" y="457"/>
                    <a:pt x="752" y="456"/>
                  </a:cubicBezTo>
                  <a:cubicBezTo>
                    <a:pt x="756" y="455"/>
                    <a:pt x="759" y="453"/>
                    <a:pt x="764" y="454"/>
                  </a:cubicBezTo>
                  <a:cubicBezTo>
                    <a:pt x="767" y="454"/>
                    <a:pt x="771" y="457"/>
                    <a:pt x="774" y="459"/>
                  </a:cubicBezTo>
                  <a:cubicBezTo>
                    <a:pt x="780" y="462"/>
                    <a:pt x="786" y="466"/>
                    <a:pt x="793" y="467"/>
                  </a:cubicBezTo>
                  <a:cubicBezTo>
                    <a:pt x="799" y="468"/>
                    <a:pt x="806" y="468"/>
                    <a:pt x="813" y="468"/>
                  </a:cubicBezTo>
                  <a:cubicBezTo>
                    <a:pt x="824" y="468"/>
                    <a:pt x="834" y="467"/>
                    <a:pt x="845" y="467"/>
                  </a:cubicBezTo>
                  <a:cubicBezTo>
                    <a:pt x="850" y="467"/>
                    <a:pt x="852" y="466"/>
                    <a:pt x="857" y="465"/>
                  </a:cubicBezTo>
                  <a:cubicBezTo>
                    <a:pt x="859" y="464"/>
                    <a:pt x="861" y="463"/>
                    <a:pt x="863" y="462"/>
                  </a:cubicBezTo>
                  <a:cubicBezTo>
                    <a:pt x="865" y="462"/>
                    <a:pt x="866" y="462"/>
                    <a:pt x="868" y="462"/>
                  </a:cubicBezTo>
                  <a:cubicBezTo>
                    <a:pt x="869" y="462"/>
                    <a:pt x="871" y="461"/>
                    <a:pt x="872" y="460"/>
                  </a:cubicBezTo>
                  <a:cubicBezTo>
                    <a:pt x="873" y="459"/>
                    <a:pt x="874" y="459"/>
                    <a:pt x="875" y="459"/>
                  </a:cubicBezTo>
                  <a:cubicBezTo>
                    <a:pt x="878" y="458"/>
                    <a:pt x="880" y="456"/>
                    <a:pt x="882" y="455"/>
                  </a:cubicBezTo>
                  <a:cubicBezTo>
                    <a:pt x="886" y="452"/>
                    <a:pt x="888" y="449"/>
                    <a:pt x="893" y="449"/>
                  </a:cubicBezTo>
                  <a:cubicBezTo>
                    <a:pt x="901" y="449"/>
                    <a:pt x="909" y="449"/>
                    <a:pt x="917" y="448"/>
                  </a:cubicBezTo>
                  <a:cubicBezTo>
                    <a:pt x="925" y="448"/>
                    <a:pt x="937" y="447"/>
                    <a:pt x="945" y="448"/>
                  </a:cubicBezTo>
                  <a:cubicBezTo>
                    <a:pt x="947" y="449"/>
                    <a:pt x="948" y="450"/>
                    <a:pt x="950" y="451"/>
                  </a:cubicBezTo>
                  <a:cubicBezTo>
                    <a:pt x="952" y="452"/>
                    <a:pt x="954" y="451"/>
                    <a:pt x="957" y="451"/>
                  </a:cubicBezTo>
                  <a:cubicBezTo>
                    <a:pt x="959" y="451"/>
                    <a:pt x="961" y="451"/>
                    <a:pt x="962" y="451"/>
                  </a:cubicBezTo>
                  <a:cubicBezTo>
                    <a:pt x="963" y="449"/>
                    <a:pt x="964" y="449"/>
                    <a:pt x="965" y="449"/>
                  </a:cubicBezTo>
                  <a:cubicBezTo>
                    <a:pt x="964" y="450"/>
                    <a:pt x="963" y="450"/>
                    <a:pt x="962" y="451"/>
                  </a:cubicBezTo>
                  <a:cubicBezTo>
                    <a:pt x="962" y="452"/>
                    <a:pt x="962" y="455"/>
                    <a:pt x="963" y="456"/>
                  </a:cubicBezTo>
                  <a:cubicBezTo>
                    <a:pt x="970" y="455"/>
                    <a:pt x="976" y="450"/>
                    <a:pt x="983" y="447"/>
                  </a:cubicBezTo>
                  <a:cubicBezTo>
                    <a:pt x="985" y="446"/>
                    <a:pt x="988" y="445"/>
                    <a:pt x="990" y="444"/>
                  </a:cubicBezTo>
                  <a:cubicBezTo>
                    <a:pt x="992" y="443"/>
                    <a:pt x="994" y="441"/>
                    <a:pt x="996" y="441"/>
                  </a:cubicBezTo>
                  <a:cubicBezTo>
                    <a:pt x="1001" y="440"/>
                    <a:pt x="999" y="442"/>
                    <a:pt x="1001" y="445"/>
                  </a:cubicBezTo>
                  <a:cubicBezTo>
                    <a:pt x="1003" y="448"/>
                    <a:pt x="1008" y="448"/>
                    <a:pt x="1011" y="449"/>
                  </a:cubicBezTo>
                  <a:cubicBezTo>
                    <a:pt x="1013" y="449"/>
                    <a:pt x="1016" y="450"/>
                    <a:pt x="1018" y="449"/>
                  </a:cubicBezTo>
                  <a:cubicBezTo>
                    <a:pt x="1021" y="448"/>
                    <a:pt x="1026" y="444"/>
                    <a:pt x="1026" y="441"/>
                  </a:cubicBezTo>
                  <a:cubicBezTo>
                    <a:pt x="1029" y="441"/>
                    <a:pt x="1032" y="439"/>
                    <a:pt x="1035" y="437"/>
                  </a:cubicBezTo>
                  <a:cubicBezTo>
                    <a:pt x="1038" y="436"/>
                    <a:pt x="1039" y="435"/>
                    <a:pt x="1043" y="435"/>
                  </a:cubicBezTo>
                  <a:cubicBezTo>
                    <a:pt x="1050" y="435"/>
                    <a:pt x="1057" y="435"/>
                    <a:pt x="1064" y="435"/>
                  </a:cubicBezTo>
                  <a:cubicBezTo>
                    <a:pt x="1068" y="435"/>
                    <a:pt x="1074" y="435"/>
                    <a:pt x="1079" y="436"/>
                  </a:cubicBezTo>
                  <a:cubicBezTo>
                    <a:pt x="1081" y="436"/>
                    <a:pt x="1082" y="438"/>
                    <a:pt x="1084" y="439"/>
                  </a:cubicBezTo>
                  <a:cubicBezTo>
                    <a:pt x="1087" y="441"/>
                    <a:pt x="1089" y="441"/>
                    <a:pt x="1092" y="441"/>
                  </a:cubicBezTo>
                  <a:cubicBezTo>
                    <a:pt x="1098" y="440"/>
                    <a:pt x="1103" y="441"/>
                    <a:pt x="1109" y="441"/>
                  </a:cubicBezTo>
                  <a:cubicBezTo>
                    <a:pt x="1113" y="441"/>
                    <a:pt x="1118" y="440"/>
                    <a:pt x="1122" y="441"/>
                  </a:cubicBezTo>
                  <a:cubicBezTo>
                    <a:pt x="1128" y="442"/>
                    <a:pt x="1130" y="447"/>
                    <a:pt x="1132" y="452"/>
                  </a:cubicBezTo>
                  <a:cubicBezTo>
                    <a:pt x="1135" y="457"/>
                    <a:pt x="1137" y="469"/>
                    <a:pt x="1144" y="468"/>
                  </a:cubicBezTo>
                  <a:cubicBezTo>
                    <a:pt x="1149" y="467"/>
                    <a:pt x="1151" y="462"/>
                    <a:pt x="1154" y="459"/>
                  </a:cubicBezTo>
                  <a:cubicBezTo>
                    <a:pt x="1157" y="457"/>
                    <a:pt x="1159" y="455"/>
                    <a:pt x="1162" y="453"/>
                  </a:cubicBezTo>
                  <a:cubicBezTo>
                    <a:pt x="1167" y="451"/>
                    <a:pt x="1171" y="453"/>
                    <a:pt x="1170" y="44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9" name="Freeform 60">
              <a:extLst>
                <a:ext uri="{FF2B5EF4-FFF2-40B4-BE49-F238E27FC236}">
                  <a16:creationId xmlns:a16="http://schemas.microsoft.com/office/drawing/2014/main" id="{9CB6F71F-5824-43E4-9AF6-BE38363A6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623888"/>
              <a:ext cx="1301750" cy="3043238"/>
            </a:xfrm>
            <a:custGeom>
              <a:avLst/>
              <a:gdLst/>
              <a:ahLst/>
              <a:cxnLst>
                <a:cxn ang="0">
                  <a:pos x="16" y="1348"/>
                </a:cxn>
                <a:cxn ang="0">
                  <a:pos x="39" y="1406"/>
                </a:cxn>
                <a:cxn ang="0">
                  <a:pos x="65" y="1460"/>
                </a:cxn>
                <a:cxn ang="0">
                  <a:pos x="92" y="1509"/>
                </a:cxn>
                <a:cxn ang="0">
                  <a:pos x="77" y="1543"/>
                </a:cxn>
                <a:cxn ang="0">
                  <a:pos x="98" y="1574"/>
                </a:cxn>
                <a:cxn ang="0">
                  <a:pos x="94" y="1619"/>
                </a:cxn>
                <a:cxn ang="0">
                  <a:pos x="174" y="1598"/>
                </a:cxn>
                <a:cxn ang="0">
                  <a:pos x="197" y="1550"/>
                </a:cxn>
                <a:cxn ang="0">
                  <a:pos x="256" y="1552"/>
                </a:cxn>
                <a:cxn ang="0">
                  <a:pos x="290" y="1530"/>
                </a:cxn>
                <a:cxn ang="0">
                  <a:pos x="323" y="1440"/>
                </a:cxn>
                <a:cxn ang="0">
                  <a:pos x="291" y="1465"/>
                </a:cxn>
                <a:cxn ang="0">
                  <a:pos x="306" y="1384"/>
                </a:cxn>
                <a:cxn ang="0">
                  <a:pos x="313" y="1309"/>
                </a:cxn>
                <a:cxn ang="0">
                  <a:pos x="368" y="1274"/>
                </a:cxn>
                <a:cxn ang="0">
                  <a:pos x="405" y="1223"/>
                </a:cxn>
                <a:cxn ang="0">
                  <a:pos x="423" y="1177"/>
                </a:cxn>
                <a:cxn ang="0">
                  <a:pos x="411" y="1135"/>
                </a:cxn>
                <a:cxn ang="0">
                  <a:pos x="374" y="1103"/>
                </a:cxn>
                <a:cxn ang="0">
                  <a:pos x="335" y="1060"/>
                </a:cxn>
                <a:cxn ang="0">
                  <a:pos x="330" y="993"/>
                </a:cxn>
                <a:cxn ang="0">
                  <a:pos x="343" y="889"/>
                </a:cxn>
                <a:cxn ang="0">
                  <a:pos x="385" y="832"/>
                </a:cxn>
                <a:cxn ang="0">
                  <a:pos x="390" y="802"/>
                </a:cxn>
                <a:cxn ang="0">
                  <a:pos x="466" y="744"/>
                </a:cxn>
                <a:cxn ang="0">
                  <a:pos x="529" y="678"/>
                </a:cxn>
                <a:cxn ang="0">
                  <a:pos x="535" y="588"/>
                </a:cxn>
                <a:cxn ang="0">
                  <a:pos x="570" y="518"/>
                </a:cxn>
                <a:cxn ang="0">
                  <a:pos x="603" y="480"/>
                </a:cxn>
                <a:cxn ang="0">
                  <a:pos x="665" y="465"/>
                </a:cxn>
                <a:cxn ang="0">
                  <a:pos x="684" y="410"/>
                </a:cxn>
                <a:cxn ang="0">
                  <a:pos x="669" y="276"/>
                </a:cxn>
                <a:cxn ang="0">
                  <a:pos x="664" y="221"/>
                </a:cxn>
                <a:cxn ang="0">
                  <a:pos x="642" y="140"/>
                </a:cxn>
                <a:cxn ang="0">
                  <a:pos x="591" y="84"/>
                </a:cxn>
                <a:cxn ang="0">
                  <a:pos x="525" y="28"/>
                </a:cxn>
                <a:cxn ang="0">
                  <a:pos x="485" y="12"/>
                </a:cxn>
                <a:cxn ang="0">
                  <a:pos x="478" y="95"/>
                </a:cxn>
                <a:cxn ang="0">
                  <a:pos x="379" y="78"/>
                </a:cxn>
                <a:cxn ang="0">
                  <a:pos x="349" y="151"/>
                </a:cxn>
                <a:cxn ang="0">
                  <a:pos x="288" y="188"/>
                </a:cxn>
                <a:cxn ang="0">
                  <a:pos x="267" y="249"/>
                </a:cxn>
                <a:cxn ang="0">
                  <a:pos x="250" y="327"/>
                </a:cxn>
                <a:cxn ang="0">
                  <a:pos x="178" y="415"/>
                </a:cxn>
                <a:cxn ang="0">
                  <a:pos x="174" y="490"/>
                </a:cxn>
                <a:cxn ang="0">
                  <a:pos x="151" y="582"/>
                </a:cxn>
                <a:cxn ang="0">
                  <a:pos x="155" y="665"/>
                </a:cxn>
                <a:cxn ang="0">
                  <a:pos x="76" y="696"/>
                </a:cxn>
                <a:cxn ang="0">
                  <a:pos x="46" y="775"/>
                </a:cxn>
                <a:cxn ang="0">
                  <a:pos x="45" y="822"/>
                </a:cxn>
                <a:cxn ang="0">
                  <a:pos x="54" y="944"/>
                </a:cxn>
                <a:cxn ang="0">
                  <a:pos x="90" y="1011"/>
                </a:cxn>
                <a:cxn ang="0">
                  <a:pos x="61" y="1039"/>
                </a:cxn>
                <a:cxn ang="0">
                  <a:pos x="70" y="1128"/>
                </a:cxn>
                <a:cxn ang="0">
                  <a:pos x="36" y="1187"/>
                </a:cxn>
                <a:cxn ang="0">
                  <a:pos x="16" y="1270"/>
                </a:cxn>
              </a:cxnLst>
              <a:rect l="0" t="0" r="r" b="b"/>
              <a:pathLst>
                <a:path w="696" h="1628">
                  <a:moveTo>
                    <a:pt x="2" y="1255"/>
                  </a:moveTo>
                  <a:cubicBezTo>
                    <a:pt x="1" y="1264"/>
                    <a:pt x="0" y="1275"/>
                    <a:pt x="2" y="1284"/>
                  </a:cubicBezTo>
                  <a:cubicBezTo>
                    <a:pt x="3" y="1292"/>
                    <a:pt x="5" y="1298"/>
                    <a:pt x="4" y="1306"/>
                  </a:cubicBezTo>
                  <a:cubicBezTo>
                    <a:pt x="4" y="1308"/>
                    <a:pt x="4" y="1310"/>
                    <a:pt x="5" y="1312"/>
                  </a:cubicBezTo>
                  <a:cubicBezTo>
                    <a:pt x="6" y="1314"/>
                    <a:pt x="8" y="1315"/>
                    <a:pt x="9" y="1317"/>
                  </a:cubicBezTo>
                  <a:cubicBezTo>
                    <a:pt x="10" y="1319"/>
                    <a:pt x="9" y="1321"/>
                    <a:pt x="8" y="1324"/>
                  </a:cubicBezTo>
                  <a:cubicBezTo>
                    <a:pt x="8" y="1327"/>
                    <a:pt x="8" y="1330"/>
                    <a:pt x="8" y="1333"/>
                  </a:cubicBezTo>
                  <a:cubicBezTo>
                    <a:pt x="9" y="1339"/>
                    <a:pt x="14" y="1342"/>
                    <a:pt x="16" y="1348"/>
                  </a:cubicBezTo>
                  <a:cubicBezTo>
                    <a:pt x="18" y="1350"/>
                    <a:pt x="19" y="1357"/>
                    <a:pt x="20" y="1359"/>
                  </a:cubicBezTo>
                  <a:cubicBezTo>
                    <a:pt x="20" y="1357"/>
                    <a:pt x="20" y="1356"/>
                    <a:pt x="21" y="1354"/>
                  </a:cubicBezTo>
                  <a:cubicBezTo>
                    <a:pt x="23" y="1353"/>
                    <a:pt x="30" y="1355"/>
                    <a:pt x="32" y="1356"/>
                  </a:cubicBezTo>
                  <a:cubicBezTo>
                    <a:pt x="36" y="1358"/>
                    <a:pt x="33" y="1360"/>
                    <a:pt x="30" y="1361"/>
                  </a:cubicBezTo>
                  <a:cubicBezTo>
                    <a:pt x="28" y="1362"/>
                    <a:pt x="27" y="1362"/>
                    <a:pt x="27" y="1365"/>
                  </a:cubicBezTo>
                  <a:cubicBezTo>
                    <a:pt x="25" y="1372"/>
                    <a:pt x="27" y="1379"/>
                    <a:pt x="31" y="1384"/>
                  </a:cubicBezTo>
                  <a:cubicBezTo>
                    <a:pt x="34" y="1388"/>
                    <a:pt x="34" y="1394"/>
                    <a:pt x="35" y="1398"/>
                  </a:cubicBezTo>
                  <a:cubicBezTo>
                    <a:pt x="36" y="1401"/>
                    <a:pt x="37" y="1404"/>
                    <a:pt x="39" y="1406"/>
                  </a:cubicBezTo>
                  <a:cubicBezTo>
                    <a:pt x="40" y="1407"/>
                    <a:pt x="40" y="1407"/>
                    <a:pt x="41" y="1407"/>
                  </a:cubicBezTo>
                  <a:cubicBezTo>
                    <a:pt x="43" y="1408"/>
                    <a:pt x="44" y="1410"/>
                    <a:pt x="47" y="1410"/>
                  </a:cubicBezTo>
                  <a:cubicBezTo>
                    <a:pt x="48" y="1415"/>
                    <a:pt x="49" y="1420"/>
                    <a:pt x="49" y="1425"/>
                  </a:cubicBezTo>
                  <a:cubicBezTo>
                    <a:pt x="51" y="1426"/>
                    <a:pt x="54" y="1426"/>
                    <a:pt x="55" y="1427"/>
                  </a:cubicBezTo>
                  <a:cubicBezTo>
                    <a:pt x="57" y="1429"/>
                    <a:pt x="56" y="1432"/>
                    <a:pt x="57" y="1434"/>
                  </a:cubicBezTo>
                  <a:cubicBezTo>
                    <a:pt x="57" y="1438"/>
                    <a:pt x="59" y="1441"/>
                    <a:pt x="60" y="1445"/>
                  </a:cubicBezTo>
                  <a:cubicBezTo>
                    <a:pt x="61" y="1448"/>
                    <a:pt x="60" y="1452"/>
                    <a:pt x="62" y="1455"/>
                  </a:cubicBezTo>
                  <a:cubicBezTo>
                    <a:pt x="63" y="1457"/>
                    <a:pt x="64" y="1459"/>
                    <a:pt x="65" y="1460"/>
                  </a:cubicBezTo>
                  <a:cubicBezTo>
                    <a:pt x="67" y="1462"/>
                    <a:pt x="67" y="1464"/>
                    <a:pt x="68" y="1466"/>
                  </a:cubicBezTo>
                  <a:cubicBezTo>
                    <a:pt x="70" y="1470"/>
                    <a:pt x="73" y="1474"/>
                    <a:pt x="75" y="1479"/>
                  </a:cubicBezTo>
                  <a:cubicBezTo>
                    <a:pt x="75" y="1474"/>
                    <a:pt x="79" y="1474"/>
                    <a:pt x="81" y="1478"/>
                  </a:cubicBezTo>
                  <a:cubicBezTo>
                    <a:pt x="82" y="1479"/>
                    <a:pt x="82" y="1483"/>
                    <a:pt x="83" y="1484"/>
                  </a:cubicBezTo>
                  <a:cubicBezTo>
                    <a:pt x="83" y="1487"/>
                    <a:pt x="83" y="1490"/>
                    <a:pt x="85" y="1493"/>
                  </a:cubicBezTo>
                  <a:cubicBezTo>
                    <a:pt x="86" y="1495"/>
                    <a:pt x="88" y="1497"/>
                    <a:pt x="89" y="1498"/>
                  </a:cubicBezTo>
                  <a:cubicBezTo>
                    <a:pt x="91" y="1501"/>
                    <a:pt x="89" y="1500"/>
                    <a:pt x="91" y="1500"/>
                  </a:cubicBezTo>
                  <a:cubicBezTo>
                    <a:pt x="91" y="1503"/>
                    <a:pt x="90" y="1507"/>
                    <a:pt x="92" y="1509"/>
                  </a:cubicBezTo>
                  <a:cubicBezTo>
                    <a:pt x="93" y="1510"/>
                    <a:pt x="101" y="1514"/>
                    <a:pt x="97" y="1517"/>
                  </a:cubicBezTo>
                  <a:cubicBezTo>
                    <a:pt x="93" y="1512"/>
                    <a:pt x="87" y="1515"/>
                    <a:pt x="85" y="1521"/>
                  </a:cubicBezTo>
                  <a:cubicBezTo>
                    <a:pt x="84" y="1523"/>
                    <a:pt x="84" y="1525"/>
                    <a:pt x="85" y="1527"/>
                  </a:cubicBezTo>
                  <a:cubicBezTo>
                    <a:pt x="86" y="1531"/>
                    <a:pt x="95" y="1535"/>
                    <a:pt x="92" y="1540"/>
                  </a:cubicBezTo>
                  <a:cubicBezTo>
                    <a:pt x="90" y="1540"/>
                    <a:pt x="87" y="1541"/>
                    <a:pt x="85" y="1540"/>
                  </a:cubicBezTo>
                  <a:cubicBezTo>
                    <a:pt x="82" y="1539"/>
                    <a:pt x="83" y="1537"/>
                    <a:pt x="82" y="1534"/>
                  </a:cubicBezTo>
                  <a:cubicBezTo>
                    <a:pt x="81" y="1533"/>
                    <a:pt x="76" y="1535"/>
                    <a:pt x="75" y="1537"/>
                  </a:cubicBezTo>
                  <a:cubicBezTo>
                    <a:pt x="74" y="1539"/>
                    <a:pt x="76" y="1541"/>
                    <a:pt x="77" y="1543"/>
                  </a:cubicBezTo>
                  <a:cubicBezTo>
                    <a:pt x="78" y="1545"/>
                    <a:pt x="79" y="1547"/>
                    <a:pt x="81" y="1549"/>
                  </a:cubicBezTo>
                  <a:cubicBezTo>
                    <a:pt x="82" y="1550"/>
                    <a:pt x="83" y="1551"/>
                    <a:pt x="83" y="1551"/>
                  </a:cubicBezTo>
                  <a:cubicBezTo>
                    <a:pt x="84" y="1553"/>
                    <a:pt x="85" y="1554"/>
                    <a:pt x="86" y="1555"/>
                  </a:cubicBezTo>
                  <a:cubicBezTo>
                    <a:pt x="88" y="1556"/>
                    <a:pt x="92" y="1554"/>
                    <a:pt x="91" y="1558"/>
                  </a:cubicBezTo>
                  <a:cubicBezTo>
                    <a:pt x="90" y="1560"/>
                    <a:pt x="88" y="1559"/>
                    <a:pt x="88" y="1562"/>
                  </a:cubicBezTo>
                  <a:cubicBezTo>
                    <a:pt x="87" y="1563"/>
                    <a:pt x="88" y="1566"/>
                    <a:pt x="89" y="1568"/>
                  </a:cubicBezTo>
                  <a:cubicBezTo>
                    <a:pt x="90" y="1570"/>
                    <a:pt x="88" y="1569"/>
                    <a:pt x="91" y="1571"/>
                  </a:cubicBezTo>
                  <a:cubicBezTo>
                    <a:pt x="93" y="1572"/>
                    <a:pt x="96" y="1573"/>
                    <a:pt x="98" y="1574"/>
                  </a:cubicBezTo>
                  <a:cubicBezTo>
                    <a:pt x="104" y="1578"/>
                    <a:pt x="99" y="1583"/>
                    <a:pt x="98" y="1589"/>
                  </a:cubicBezTo>
                  <a:cubicBezTo>
                    <a:pt x="98" y="1591"/>
                    <a:pt x="98" y="1594"/>
                    <a:pt x="99" y="1596"/>
                  </a:cubicBezTo>
                  <a:cubicBezTo>
                    <a:pt x="100" y="1598"/>
                    <a:pt x="101" y="1598"/>
                    <a:pt x="102" y="1601"/>
                  </a:cubicBezTo>
                  <a:cubicBezTo>
                    <a:pt x="103" y="1606"/>
                    <a:pt x="98" y="1606"/>
                    <a:pt x="94" y="1606"/>
                  </a:cubicBezTo>
                  <a:cubicBezTo>
                    <a:pt x="91" y="1606"/>
                    <a:pt x="89" y="1605"/>
                    <a:pt x="88" y="1609"/>
                  </a:cubicBezTo>
                  <a:cubicBezTo>
                    <a:pt x="87" y="1611"/>
                    <a:pt x="87" y="1615"/>
                    <a:pt x="89" y="1617"/>
                  </a:cubicBezTo>
                  <a:cubicBezTo>
                    <a:pt x="90" y="1617"/>
                    <a:pt x="91" y="1617"/>
                    <a:pt x="92" y="1617"/>
                  </a:cubicBezTo>
                  <a:cubicBezTo>
                    <a:pt x="93" y="1617"/>
                    <a:pt x="93" y="1618"/>
                    <a:pt x="94" y="1619"/>
                  </a:cubicBezTo>
                  <a:cubicBezTo>
                    <a:pt x="95" y="1620"/>
                    <a:pt x="99" y="1620"/>
                    <a:pt x="100" y="1621"/>
                  </a:cubicBezTo>
                  <a:cubicBezTo>
                    <a:pt x="107" y="1623"/>
                    <a:pt x="114" y="1624"/>
                    <a:pt x="121" y="1626"/>
                  </a:cubicBezTo>
                  <a:cubicBezTo>
                    <a:pt x="123" y="1627"/>
                    <a:pt x="125" y="1628"/>
                    <a:pt x="127" y="1627"/>
                  </a:cubicBezTo>
                  <a:cubicBezTo>
                    <a:pt x="131" y="1626"/>
                    <a:pt x="133" y="1624"/>
                    <a:pt x="138" y="1624"/>
                  </a:cubicBezTo>
                  <a:cubicBezTo>
                    <a:pt x="143" y="1624"/>
                    <a:pt x="148" y="1625"/>
                    <a:pt x="153" y="1624"/>
                  </a:cubicBezTo>
                  <a:cubicBezTo>
                    <a:pt x="157" y="1624"/>
                    <a:pt x="160" y="1622"/>
                    <a:pt x="163" y="1619"/>
                  </a:cubicBezTo>
                  <a:cubicBezTo>
                    <a:pt x="167" y="1616"/>
                    <a:pt x="172" y="1611"/>
                    <a:pt x="173" y="1606"/>
                  </a:cubicBezTo>
                  <a:cubicBezTo>
                    <a:pt x="174" y="1605"/>
                    <a:pt x="174" y="1599"/>
                    <a:pt x="174" y="1598"/>
                  </a:cubicBezTo>
                  <a:cubicBezTo>
                    <a:pt x="173" y="1595"/>
                    <a:pt x="172" y="1595"/>
                    <a:pt x="170" y="1594"/>
                  </a:cubicBezTo>
                  <a:cubicBezTo>
                    <a:pt x="166" y="1592"/>
                    <a:pt x="162" y="1591"/>
                    <a:pt x="164" y="1585"/>
                  </a:cubicBezTo>
                  <a:cubicBezTo>
                    <a:pt x="165" y="1581"/>
                    <a:pt x="168" y="1577"/>
                    <a:pt x="171" y="1575"/>
                  </a:cubicBezTo>
                  <a:cubicBezTo>
                    <a:pt x="174" y="1572"/>
                    <a:pt x="179" y="1572"/>
                    <a:pt x="180" y="1568"/>
                  </a:cubicBezTo>
                  <a:cubicBezTo>
                    <a:pt x="181" y="1566"/>
                    <a:pt x="180" y="1564"/>
                    <a:pt x="180" y="1562"/>
                  </a:cubicBezTo>
                  <a:cubicBezTo>
                    <a:pt x="180" y="1560"/>
                    <a:pt x="183" y="1553"/>
                    <a:pt x="185" y="1553"/>
                  </a:cubicBezTo>
                  <a:cubicBezTo>
                    <a:pt x="185" y="1556"/>
                    <a:pt x="196" y="1562"/>
                    <a:pt x="198" y="1559"/>
                  </a:cubicBezTo>
                  <a:cubicBezTo>
                    <a:pt x="200" y="1556"/>
                    <a:pt x="195" y="1553"/>
                    <a:pt x="197" y="1550"/>
                  </a:cubicBezTo>
                  <a:cubicBezTo>
                    <a:pt x="199" y="1547"/>
                    <a:pt x="203" y="1547"/>
                    <a:pt x="206" y="1546"/>
                  </a:cubicBezTo>
                  <a:cubicBezTo>
                    <a:pt x="206" y="1545"/>
                    <a:pt x="206" y="1545"/>
                    <a:pt x="207" y="1545"/>
                  </a:cubicBezTo>
                  <a:cubicBezTo>
                    <a:pt x="208" y="1545"/>
                    <a:pt x="209" y="1545"/>
                    <a:pt x="209" y="1545"/>
                  </a:cubicBezTo>
                  <a:cubicBezTo>
                    <a:pt x="212" y="1545"/>
                    <a:pt x="213" y="1545"/>
                    <a:pt x="216" y="1544"/>
                  </a:cubicBezTo>
                  <a:cubicBezTo>
                    <a:pt x="220" y="1543"/>
                    <a:pt x="224" y="1543"/>
                    <a:pt x="228" y="1542"/>
                  </a:cubicBezTo>
                  <a:cubicBezTo>
                    <a:pt x="233" y="1540"/>
                    <a:pt x="236" y="1539"/>
                    <a:pt x="240" y="1544"/>
                  </a:cubicBezTo>
                  <a:cubicBezTo>
                    <a:pt x="243" y="1549"/>
                    <a:pt x="243" y="1556"/>
                    <a:pt x="250" y="1554"/>
                  </a:cubicBezTo>
                  <a:cubicBezTo>
                    <a:pt x="252" y="1554"/>
                    <a:pt x="254" y="1553"/>
                    <a:pt x="256" y="1552"/>
                  </a:cubicBezTo>
                  <a:cubicBezTo>
                    <a:pt x="257" y="1552"/>
                    <a:pt x="259" y="1553"/>
                    <a:pt x="261" y="1552"/>
                  </a:cubicBezTo>
                  <a:cubicBezTo>
                    <a:pt x="261" y="1550"/>
                    <a:pt x="263" y="1548"/>
                    <a:pt x="264" y="1546"/>
                  </a:cubicBezTo>
                  <a:cubicBezTo>
                    <a:pt x="265" y="1545"/>
                    <a:pt x="267" y="1543"/>
                    <a:pt x="268" y="1540"/>
                  </a:cubicBezTo>
                  <a:cubicBezTo>
                    <a:pt x="270" y="1536"/>
                    <a:pt x="272" y="1533"/>
                    <a:pt x="274" y="1529"/>
                  </a:cubicBezTo>
                  <a:cubicBezTo>
                    <a:pt x="276" y="1524"/>
                    <a:pt x="277" y="1519"/>
                    <a:pt x="278" y="1515"/>
                  </a:cubicBezTo>
                  <a:cubicBezTo>
                    <a:pt x="279" y="1512"/>
                    <a:pt x="282" y="1502"/>
                    <a:pt x="286" y="1502"/>
                  </a:cubicBezTo>
                  <a:cubicBezTo>
                    <a:pt x="289" y="1503"/>
                    <a:pt x="289" y="1512"/>
                    <a:pt x="290" y="1515"/>
                  </a:cubicBezTo>
                  <a:cubicBezTo>
                    <a:pt x="291" y="1520"/>
                    <a:pt x="291" y="1524"/>
                    <a:pt x="290" y="1530"/>
                  </a:cubicBezTo>
                  <a:cubicBezTo>
                    <a:pt x="290" y="1533"/>
                    <a:pt x="288" y="1543"/>
                    <a:pt x="290" y="1545"/>
                  </a:cubicBezTo>
                  <a:cubicBezTo>
                    <a:pt x="292" y="1543"/>
                    <a:pt x="294" y="1541"/>
                    <a:pt x="295" y="1539"/>
                  </a:cubicBezTo>
                  <a:cubicBezTo>
                    <a:pt x="296" y="1536"/>
                    <a:pt x="296" y="1533"/>
                    <a:pt x="297" y="1530"/>
                  </a:cubicBezTo>
                  <a:cubicBezTo>
                    <a:pt x="298" y="1524"/>
                    <a:pt x="300" y="1520"/>
                    <a:pt x="301" y="1514"/>
                  </a:cubicBezTo>
                  <a:cubicBezTo>
                    <a:pt x="303" y="1507"/>
                    <a:pt x="306" y="1500"/>
                    <a:pt x="309" y="1493"/>
                  </a:cubicBezTo>
                  <a:cubicBezTo>
                    <a:pt x="313" y="1485"/>
                    <a:pt x="317" y="1476"/>
                    <a:pt x="320" y="1467"/>
                  </a:cubicBezTo>
                  <a:cubicBezTo>
                    <a:pt x="321" y="1462"/>
                    <a:pt x="322" y="1456"/>
                    <a:pt x="323" y="1451"/>
                  </a:cubicBezTo>
                  <a:cubicBezTo>
                    <a:pt x="323" y="1448"/>
                    <a:pt x="323" y="1444"/>
                    <a:pt x="323" y="1440"/>
                  </a:cubicBezTo>
                  <a:cubicBezTo>
                    <a:pt x="323" y="1438"/>
                    <a:pt x="324" y="1430"/>
                    <a:pt x="320" y="1433"/>
                  </a:cubicBezTo>
                  <a:cubicBezTo>
                    <a:pt x="318" y="1434"/>
                    <a:pt x="317" y="1439"/>
                    <a:pt x="316" y="1441"/>
                  </a:cubicBezTo>
                  <a:cubicBezTo>
                    <a:pt x="315" y="1444"/>
                    <a:pt x="314" y="1446"/>
                    <a:pt x="312" y="1449"/>
                  </a:cubicBezTo>
                  <a:cubicBezTo>
                    <a:pt x="310" y="1454"/>
                    <a:pt x="308" y="1458"/>
                    <a:pt x="306" y="1462"/>
                  </a:cubicBezTo>
                  <a:cubicBezTo>
                    <a:pt x="304" y="1465"/>
                    <a:pt x="303" y="1469"/>
                    <a:pt x="303" y="1473"/>
                  </a:cubicBezTo>
                  <a:cubicBezTo>
                    <a:pt x="302" y="1475"/>
                    <a:pt x="302" y="1480"/>
                    <a:pt x="300" y="1482"/>
                  </a:cubicBezTo>
                  <a:cubicBezTo>
                    <a:pt x="299" y="1483"/>
                    <a:pt x="294" y="1486"/>
                    <a:pt x="293" y="1485"/>
                  </a:cubicBezTo>
                  <a:cubicBezTo>
                    <a:pt x="289" y="1484"/>
                    <a:pt x="290" y="1469"/>
                    <a:pt x="291" y="1465"/>
                  </a:cubicBezTo>
                  <a:cubicBezTo>
                    <a:pt x="292" y="1460"/>
                    <a:pt x="293" y="1456"/>
                    <a:pt x="293" y="1451"/>
                  </a:cubicBezTo>
                  <a:cubicBezTo>
                    <a:pt x="292" y="1450"/>
                    <a:pt x="292" y="1449"/>
                    <a:pt x="292" y="1447"/>
                  </a:cubicBezTo>
                  <a:cubicBezTo>
                    <a:pt x="292" y="1444"/>
                    <a:pt x="293" y="1440"/>
                    <a:pt x="295" y="1437"/>
                  </a:cubicBezTo>
                  <a:cubicBezTo>
                    <a:pt x="297" y="1435"/>
                    <a:pt x="299" y="1436"/>
                    <a:pt x="300" y="1433"/>
                  </a:cubicBezTo>
                  <a:cubicBezTo>
                    <a:pt x="301" y="1430"/>
                    <a:pt x="301" y="1426"/>
                    <a:pt x="302" y="1423"/>
                  </a:cubicBezTo>
                  <a:cubicBezTo>
                    <a:pt x="302" y="1414"/>
                    <a:pt x="301" y="1406"/>
                    <a:pt x="302" y="1397"/>
                  </a:cubicBezTo>
                  <a:cubicBezTo>
                    <a:pt x="303" y="1394"/>
                    <a:pt x="303" y="1391"/>
                    <a:pt x="304" y="1388"/>
                  </a:cubicBezTo>
                  <a:cubicBezTo>
                    <a:pt x="304" y="1387"/>
                    <a:pt x="305" y="1386"/>
                    <a:pt x="306" y="1384"/>
                  </a:cubicBezTo>
                  <a:cubicBezTo>
                    <a:pt x="306" y="1382"/>
                    <a:pt x="306" y="1379"/>
                    <a:pt x="307" y="1376"/>
                  </a:cubicBezTo>
                  <a:cubicBezTo>
                    <a:pt x="308" y="1369"/>
                    <a:pt x="310" y="1363"/>
                    <a:pt x="309" y="1356"/>
                  </a:cubicBezTo>
                  <a:cubicBezTo>
                    <a:pt x="309" y="1353"/>
                    <a:pt x="308" y="1349"/>
                    <a:pt x="309" y="1345"/>
                  </a:cubicBezTo>
                  <a:cubicBezTo>
                    <a:pt x="310" y="1341"/>
                    <a:pt x="317" y="1337"/>
                    <a:pt x="312" y="1332"/>
                  </a:cubicBezTo>
                  <a:cubicBezTo>
                    <a:pt x="310" y="1329"/>
                    <a:pt x="308" y="1330"/>
                    <a:pt x="309" y="1326"/>
                  </a:cubicBezTo>
                  <a:cubicBezTo>
                    <a:pt x="309" y="1325"/>
                    <a:pt x="310" y="1322"/>
                    <a:pt x="311" y="1321"/>
                  </a:cubicBezTo>
                  <a:cubicBezTo>
                    <a:pt x="313" y="1318"/>
                    <a:pt x="318" y="1317"/>
                    <a:pt x="316" y="1313"/>
                  </a:cubicBezTo>
                  <a:cubicBezTo>
                    <a:pt x="315" y="1311"/>
                    <a:pt x="313" y="1310"/>
                    <a:pt x="313" y="1309"/>
                  </a:cubicBezTo>
                  <a:cubicBezTo>
                    <a:pt x="312" y="1307"/>
                    <a:pt x="314" y="1306"/>
                    <a:pt x="314" y="1304"/>
                  </a:cubicBezTo>
                  <a:cubicBezTo>
                    <a:pt x="316" y="1300"/>
                    <a:pt x="315" y="1298"/>
                    <a:pt x="319" y="1298"/>
                  </a:cubicBezTo>
                  <a:cubicBezTo>
                    <a:pt x="322" y="1297"/>
                    <a:pt x="323" y="1297"/>
                    <a:pt x="325" y="1296"/>
                  </a:cubicBezTo>
                  <a:cubicBezTo>
                    <a:pt x="328" y="1294"/>
                    <a:pt x="330" y="1290"/>
                    <a:pt x="333" y="1288"/>
                  </a:cubicBezTo>
                  <a:cubicBezTo>
                    <a:pt x="336" y="1285"/>
                    <a:pt x="342" y="1286"/>
                    <a:pt x="346" y="1283"/>
                  </a:cubicBezTo>
                  <a:cubicBezTo>
                    <a:pt x="351" y="1280"/>
                    <a:pt x="352" y="1271"/>
                    <a:pt x="357" y="1268"/>
                  </a:cubicBezTo>
                  <a:cubicBezTo>
                    <a:pt x="357" y="1271"/>
                    <a:pt x="357" y="1277"/>
                    <a:pt x="361" y="1278"/>
                  </a:cubicBezTo>
                  <a:cubicBezTo>
                    <a:pt x="363" y="1278"/>
                    <a:pt x="367" y="1275"/>
                    <a:pt x="368" y="1274"/>
                  </a:cubicBezTo>
                  <a:cubicBezTo>
                    <a:pt x="369" y="1271"/>
                    <a:pt x="367" y="1267"/>
                    <a:pt x="368" y="1264"/>
                  </a:cubicBezTo>
                  <a:cubicBezTo>
                    <a:pt x="376" y="1264"/>
                    <a:pt x="387" y="1267"/>
                    <a:pt x="393" y="1262"/>
                  </a:cubicBezTo>
                  <a:cubicBezTo>
                    <a:pt x="394" y="1262"/>
                    <a:pt x="394" y="1260"/>
                    <a:pt x="395" y="1260"/>
                  </a:cubicBezTo>
                  <a:cubicBezTo>
                    <a:pt x="397" y="1259"/>
                    <a:pt x="399" y="1258"/>
                    <a:pt x="401" y="1257"/>
                  </a:cubicBezTo>
                  <a:cubicBezTo>
                    <a:pt x="403" y="1256"/>
                    <a:pt x="409" y="1254"/>
                    <a:pt x="407" y="1250"/>
                  </a:cubicBezTo>
                  <a:cubicBezTo>
                    <a:pt x="403" y="1249"/>
                    <a:pt x="399" y="1250"/>
                    <a:pt x="395" y="1248"/>
                  </a:cubicBezTo>
                  <a:cubicBezTo>
                    <a:pt x="395" y="1240"/>
                    <a:pt x="386" y="1235"/>
                    <a:pt x="388" y="1226"/>
                  </a:cubicBezTo>
                  <a:cubicBezTo>
                    <a:pt x="392" y="1225"/>
                    <a:pt x="407" y="1233"/>
                    <a:pt x="405" y="1223"/>
                  </a:cubicBezTo>
                  <a:cubicBezTo>
                    <a:pt x="398" y="1220"/>
                    <a:pt x="389" y="1218"/>
                    <a:pt x="392" y="1208"/>
                  </a:cubicBezTo>
                  <a:cubicBezTo>
                    <a:pt x="393" y="1204"/>
                    <a:pt x="401" y="1205"/>
                    <a:pt x="405" y="1206"/>
                  </a:cubicBezTo>
                  <a:cubicBezTo>
                    <a:pt x="412" y="1207"/>
                    <a:pt x="408" y="1204"/>
                    <a:pt x="410" y="1199"/>
                  </a:cubicBezTo>
                  <a:cubicBezTo>
                    <a:pt x="411" y="1196"/>
                    <a:pt x="411" y="1196"/>
                    <a:pt x="414" y="1195"/>
                  </a:cubicBezTo>
                  <a:cubicBezTo>
                    <a:pt x="416" y="1194"/>
                    <a:pt x="420" y="1194"/>
                    <a:pt x="423" y="1192"/>
                  </a:cubicBezTo>
                  <a:cubicBezTo>
                    <a:pt x="425" y="1190"/>
                    <a:pt x="426" y="1190"/>
                    <a:pt x="424" y="1187"/>
                  </a:cubicBezTo>
                  <a:cubicBezTo>
                    <a:pt x="424" y="1186"/>
                    <a:pt x="422" y="1185"/>
                    <a:pt x="421" y="1185"/>
                  </a:cubicBezTo>
                  <a:cubicBezTo>
                    <a:pt x="421" y="1183"/>
                    <a:pt x="422" y="1178"/>
                    <a:pt x="423" y="1177"/>
                  </a:cubicBezTo>
                  <a:cubicBezTo>
                    <a:pt x="425" y="1176"/>
                    <a:pt x="428" y="1178"/>
                    <a:pt x="430" y="1176"/>
                  </a:cubicBezTo>
                  <a:cubicBezTo>
                    <a:pt x="434" y="1174"/>
                    <a:pt x="433" y="1169"/>
                    <a:pt x="432" y="1166"/>
                  </a:cubicBezTo>
                  <a:cubicBezTo>
                    <a:pt x="431" y="1163"/>
                    <a:pt x="430" y="1161"/>
                    <a:pt x="428" y="1159"/>
                  </a:cubicBezTo>
                  <a:cubicBezTo>
                    <a:pt x="427" y="1159"/>
                    <a:pt x="426" y="1158"/>
                    <a:pt x="426" y="1157"/>
                  </a:cubicBezTo>
                  <a:cubicBezTo>
                    <a:pt x="422" y="1155"/>
                    <a:pt x="419" y="1155"/>
                    <a:pt x="417" y="1151"/>
                  </a:cubicBezTo>
                  <a:cubicBezTo>
                    <a:pt x="416" y="1148"/>
                    <a:pt x="417" y="1145"/>
                    <a:pt x="416" y="1143"/>
                  </a:cubicBezTo>
                  <a:cubicBezTo>
                    <a:pt x="416" y="1142"/>
                    <a:pt x="414" y="1141"/>
                    <a:pt x="413" y="1140"/>
                  </a:cubicBezTo>
                  <a:cubicBezTo>
                    <a:pt x="412" y="1139"/>
                    <a:pt x="412" y="1137"/>
                    <a:pt x="411" y="1135"/>
                  </a:cubicBezTo>
                  <a:cubicBezTo>
                    <a:pt x="410" y="1134"/>
                    <a:pt x="408" y="1134"/>
                    <a:pt x="408" y="1133"/>
                  </a:cubicBezTo>
                  <a:cubicBezTo>
                    <a:pt x="407" y="1131"/>
                    <a:pt x="408" y="1127"/>
                    <a:pt x="407" y="1125"/>
                  </a:cubicBezTo>
                  <a:cubicBezTo>
                    <a:pt x="407" y="1122"/>
                    <a:pt x="406" y="1122"/>
                    <a:pt x="404" y="1120"/>
                  </a:cubicBezTo>
                  <a:cubicBezTo>
                    <a:pt x="403" y="1119"/>
                    <a:pt x="400" y="1118"/>
                    <a:pt x="399" y="1117"/>
                  </a:cubicBezTo>
                  <a:cubicBezTo>
                    <a:pt x="399" y="1116"/>
                    <a:pt x="399" y="1114"/>
                    <a:pt x="399" y="1113"/>
                  </a:cubicBezTo>
                  <a:cubicBezTo>
                    <a:pt x="398" y="1108"/>
                    <a:pt x="394" y="1099"/>
                    <a:pt x="389" y="1098"/>
                  </a:cubicBezTo>
                  <a:cubicBezTo>
                    <a:pt x="389" y="1102"/>
                    <a:pt x="390" y="1109"/>
                    <a:pt x="385" y="1110"/>
                  </a:cubicBezTo>
                  <a:cubicBezTo>
                    <a:pt x="381" y="1111"/>
                    <a:pt x="377" y="1106"/>
                    <a:pt x="374" y="1103"/>
                  </a:cubicBezTo>
                  <a:cubicBezTo>
                    <a:pt x="371" y="1099"/>
                    <a:pt x="368" y="1096"/>
                    <a:pt x="366" y="1091"/>
                  </a:cubicBezTo>
                  <a:cubicBezTo>
                    <a:pt x="365" y="1089"/>
                    <a:pt x="364" y="1087"/>
                    <a:pt x="361" y="1088"/>
                  </a:cubicBezTo>
                  <a:cubicBezTo>
                    <a:pt x="361" y="1089"/>
                    <a:pt x="361" y="1093"/>
                    <a:pt x="360" y="1094"/>
                  </a:cubicBezTo>
                  <a:cubicBezTo>
                    <a:pt x="357" y="1095"/>
                    <a:pt x="354" y="1089"/>
                    <a:pt x="353" y="1088"/>
                  </a:cubicBezTo>
                  <a:cubicBezTo>
                    <a:pt x="351" y="1084"/>
                    <a:pt x="353" y="1083"/>
                    <a:pt x="348" y="1083"/>
                  </a:cubicBezTo>
                  <a:cubicBezTo>
                    <a:pt x="344" y="1083"/>
                    <a:pt x="338" y="1081"/>
                    <a:pt x="336" y="1076"/>
                  </a:cubicBezTo>
                  <a:cubicBezTo>
                    <a:pt x="334" y="1070"/>
                    <a:pt x="341" y="1072"/>
                    <a:pt x="341" y="1068"/>
                  </a:cubicBezTo>
                  <a:cubicBezTo>
                    <a:pt x="341" y="1064"/>
                    <a:pt x="336" y="1063"/>
                    <a:pt x="335" y="1060"/>
                  </a:cubicBezTo>
                  <a:cubicBezTo>
                    <a:pt x="334" y="1057"/>
                    <a:pt x="334" y="1054"/>
                    <a:pt x="334" y="1051"/>
                  </a:cubicBezTo>
                  <a:cubicBezTo>
                    <a:pt x="334" y="1047"/>
                    <a:pt x="333" y="1044"/>
                    <a:pt x="332" y="1041"/>
                  </a:cubicBezTo>
                  <a:cubicBezTo>
                    <a:pt x="331" y="1040"/>
                    <a:pt x="331" y="1040"/>
                    <a:pt x="330" y="1039"/>
                  </a:cubicBezTo>
                  <a:cubicBezTo>
                    <a:pt x="330" y="1038"/>
                    <a:pt x="330" y="1037"/>
                    <a:pt x="330" y="1036"/>
                  </a:cubicBezTo>
                  <a:cubicBezTo>
                    <a:pt x="330" y="1034"/>
                    <a:pt x="330" y="1032"/>
                    <a:pt x="330" y="1029"/>
                  </a:cubicBezTo>
                  <a:cubicBezTo>
                    <a:pt x="330" y="1024"/>
                    <a:pt x="330" y="1018"/>
                    <a:pt x="330" y="1013"/>
                  </a:cubicBezTo>
                  <a:cubicBezTo>
                    <a:pt x="330" y="1009"/>
                    <a:pt x="330" y="1006"/>
                    <a:pt x="329" y="1003"/>
                  </a:cubicBezTo>
                  <a:cubicBezTo>
                    <a:pt x="329" y="1000"/>
                    <a:pt x="330" y="996"/>
                    <a:pt x="330" y="993"/>
                  </a:cubicBezTo>
                  <a:cubicBezTo>
                    <a:pt x="331" y="988"/>
                    <a:pt x="330" y="983"/>
                    <a:pt x="330" y="979"/>
                  </a:cubicBezTo>
                  <a:cubicBezTo>
                    <a:pt x="330" y="977"/>
                    <a:pt x="330" y="974"/>
                    <a:pt x="330" y="973"/>
                  </a:cubicBezTo>
                  <a:cubicBezTo>
                    <a:pt x="331" y="969"/>
                    <a:pt x="336" y="969"/>
                    <a:pt x="338" y="966"/>
                  </a:cubicBezTo>
                  <a:cubicBezTo>
                    <a:pt x="343" y="960"/>
                    <a:pt x="342" y="946"/>
                    <a:pt x="342" y="938"/>
                  </a:cubicBezTo>
                  <a:cubicBezTo>
                    <a:pt x="342" y="930"/>
                    <a:pt x="340" y="920"/>
                    <a:pt x="342" y="912"/>
                  </a:cubicBezTo>
                  <a:cubicBezTo>
                    <a:pt x="343" y="909"/>
                    <a:pt x="344" y="907"/>
                    <a:pt x="344" y="903"/>
                  </a:cubicBezTo>
                  <a:cubicBezTo>
                    <a:pt x="344" y="901"/>
                    <a:pt x="343" y="899"/>
                    <a:pt x="342" y="897"/>
                  </a:cubicBezTo>
                  <a:cubicBezTo>
                    <a:pt x="342" y="895"/>
                    <a:pt x="342" y="890"/>
                    <a:pt x="343" y="889"/>
                  </a:cubicBezTo>
                  <a:cubicBezTo>
                    <a:pt x="345" y="887"/>
                    <a:pt x="350" y="888"/>
                    <a:pt x="352" y="888"/>
                  </a:cubicBezTo>
                  <a:cubicBezTo>
                    <a:pt x="356" y="887"/>
                    <a:pt x="356" y="886"/>
                    <a:pt x="358" y="882"/>
                  </a:cubicBezTo>
                  <a:cubicBezTo>
                    <a:pt x="360" y="877"/>
                    <a:pt x="362" y="872"/>
                    <a:pt x="365" y="867"/>
                  </a:cubicBezTo>
                  <a:cubicBezTo>
                    <a:pt x="365" y="865"/>
                    <a:pt x="366" y="861"/>
                    <a:pt x="368" y="860"/>
                  </a:cubicBezTo>
                  <a:cubicBezTo>
                    <a:pt x="368" y="859"/>
                    <a:pt x="369" y="859"/>
                    <a:pt x="370" y="858"/>
                  </a:cubicBezTo>
                  <a:cubicBezTo>
                    <a:pt x="372" y="857"/>
                    <a:pt x="374" y="853"/>
                    <a:pt x="374" y="851"/>
                  </a:cubicBezTo>
                  <a:cubicBezTo>
                    <a:pt x="375" y="848"/>
                    <a:pt x="375" y="845"/>
                    <a:pt x="377" y="841"/>
                  </a:cubicBezTo>
                  <a:cubicBezTo>
                    <a:pt x="378" y="839"/>
                    <a:pt x="382" y="834"/>
                    <a:pt x="385" y="832"/>
                  </a:cubicBezTo>
                  <a:cubicBezTo>
                    <a:pt x="387" y="832"/>
                    <a:pt x="388" y="833"/>
                    <a:pt x="389" y="832"/>
                  </a:cubicBezTo>
                  <a:cubicBezTo>
                    <a:pt x="389" y="831"/>
                    <a:pt x="391" y="828"/>
                    <a:pt x="391" y="827"/>
                  </a:cubicBezTo>
                  <a:cubicBezTo>
                    <a:pt x="392" y="825"/>
                    <a:pt x="393" y="822"/>
                    <a:pt x="393" y="819"/>
                  </a:cubicBezTo>
                  <a:cubicBezTo>
                    <a:pt x="393" y="817"/>
                    <a:pt x="391" y="815"/>
                    <a:pt x="392" y="812"/>
                  </a:cubicBezTo>
                  <a:cubicBezTo>
                    <a:pt x="392" y="811"/>
                    <a:pt x="393" y="812"/>
                    <a:pt x="393" y="811"/>
                  </a:cubicBezTo>
                  <a:cubicBezTo>
                    <a:pt x="393" y="809"/>
                    <a:pt x="393" y="809"/>
                    <a:pt x="393" y="808"/>
                  </a:cubicBezTo>
                  <a:cubicBezTo>
                    <a:pt x="392" y="806"/>
                    <a:pt x="392" y="804"/>
                    <a:pt x="391" y="803"/>
                  </a:cubicBezTo>
                  <a:cubicBezTo>
                    <a:pt x="391" y="802"/>
                    <a:pt x="390" y="802"/>
                    <a:pt x="390" y="802"/>
                  </a:cubicBezTo>
                  <a:cubicBezTo>
                    <a:pt x="395" y="801"/>
                    <a:pt x="400" y="800"/>
                    <a:pt x="404" y="798"/>
                  </a:cubicBezTo>
                  <a:cubicBezTo>
                    <a:pt x="407" y="796"/>
                    <a:pt x="407" y="795"/>
                    <a:pt x="409" y="793"/>
                  </a:cubicBezTo>
                  <a:cubicBezTo>
                    <a:pt x="415" y="783"/>
                    <a:pt x="422" y="775"/>
                    <a:pt x="431" y="768"/>
                  </a:cubicBezTo>
                  <a:cubicBezTo>
                    <a:pt x="434" y="766"/>
                    <a:pt x="437" y="764"/>
                    <a:pt x="440" y="761"/>
                  </a:cubicBezTo>
                  <a:cubicBezTo>
                    <a:pt x="443" y="759"/>
                    <a:pt x="445" y="756"/>
                    <a:pt x="448" y="753"/>
                  </a:cubicBezTo>
                  <a:cubicBezTo>
                    <a:pt x="451" y="750"/>
                    <a:pt x="452" y="750"/>
                    <a:pt x="456" y="752"/>
                  </a:cubicBezTo>
                  <a:cubicBezTo>
                    <a:pt x="458" y="752"/>
                    <a:pt x="459" y="753"/>
                    <a:pt x="461" y="753"/>
                  </a:cubicBezTo>
                  <a:cubicBezTo>
                    <a:pt x="464" y="752"/>
                    <a:pt x="464" y="746"/>
                    <a:pt x="466" y="744"/>
                  </a:cubicBezTo>
                  <a:cubicBezTo>
                    <a:pt x="471" y="740"/>
                    <a:pt x="476" y="739"/>
                    <a:pt x="481" y="736"/>
                  </a:cubicBezTo>
                  <a:cubicBezTo>
                    <a:pt x="484" y="735"/>
                    <a:pt x="487" y="731"/>
                    <a:pt x="490" y="730"/>
                  </a:cubicBezTo>
                  <a:cubicBezTo>
                    <a:pt x="493" y="729"/>
                    <a:pt x="497" y="731"/>
                    <a:pt x="500" y="732"/>
                  </a:cubicBezTo>
                  <a:cubicBezTo>
                    <a:pt x="503" y="732"/>
                    <a:pt x="507" y="732"/>
                    <a:pt x="510" y="732"/>
                  </a:cubicBezTo>
                  <a:cubicBezTo>
                    <a:pt x="513" y="732"/>
                    <a:pt x="514" y="733"/>
                    <a:pt x="515" y="729"/>
                  </a:cubicBezTo>
                  <a:cubicBezTo>
                    <a:pt x="517" y="725"/>
                    <a:pt x="518" y="719"/>
                    <a:pt x="518" y="715"/>
                  </a:cubicBezTo>
                  <a:cubicBezTo>
                    <a:pt x="519" y="706"/>
                    <a:pt x="520" y="697"/>
                    <a:pt x="523" y="689"/>
                  </a:cubicBezTo>
                  <a:cubicBezTo>
                    <a:pt x="525" y="685"/>
                    <a:pt x="527" y="681"/>
                    <a:pt x="529" y="678"/>
                  </a:cubicBezTo>
                  <a:cubicBezTo>
                    <a:pt x="530" y="675"/>
                    <a:pt x="530" y="672"/>
                    <a:pt x="532" y="670"/>
                  </a:cubicBezTo>
                  <a:cubicBezTo>
                    <a:pt x="533" y="668"/>
                    <a:pt x="535" y="667"/>
                    <a:pt x="536" y="665"/>
                  </a:cubicBezTo>
                  <a:cubicBezTo>
                    <a:pt x="538" y="663"/>
                    <a:pt x="538" y="661"/>
                    <a:pt x="540" y="659"/>
                  </a:cubicBezTo>
                  <a:cubicBezTo>
                    <a:pt x="544" y="655"/>
                    <a:pt x="548" y="651"/>
                    <a:pt x="552" y="647"/>
                  </a:cubicBezTo>
                  <a:cubicBezTo>
                    <a:pt x="557" y="641"/>
                    <a:pt x="556" y="634"/>
                    <a:pt x="554" y="627"/>
                  </a:cubicBezTo>
                  <a:cubicBezTo>
                    <a:pt x="553" y="624"/>
                    <a:pt x="551" y="618"/>
                    <a:pt x="547" y="619"/>
                  </a:cubicBezTo>
                  <a:cubicBezTo>
                    <a:pt x="546" y="612"/>
                    <a:pt x="540" y="605"/>
                    <a:pt x="537" y="599"/>
                  </a:cubicBezTo>
                  <a:cubicBezTo>
                    <a:pt x="536" y="595"/>
                    <a:pt x="535" y="592"/>
                    <a:pt x="535" y="588"/>
                  </a:cubicBezTo>
                  <a:cubicBezTo>
                    <a:pt x="536" y="581"/>
                    <a:pt x="541" y="575"/>
                    <a:pt x="544" y="569"/>
                  </a:cubicBezTo>
                  <a:cubicBezTo>
                    <a:pt x="546" y="566"/>
                    <a:pt x="551" y="563"/>
                    <a:pt x="551" y="559"/>
                  </a:cubicBezTo>
                  <a:cubicBezTo>
                    <a:pt x="552" y="558"/>
                    <a:pt x="551" y="556"/>
                    <a:pt x="552" y="555"/>
                  </a:cubicBezTo>
                  <a:cubicBezTo>
                    <a:pt x="552" y="551"/>
                    <a:pt x="553" y="547"/>
                    <a:pt x="554" y="543"/>
                  </a:cubicBezTo>
                  <a:cubicBezTo>
                    <a:pt x="556" y="540"/>
                    <a:pt x="558" y="537"/>
                    <a:pt x="558" y="533"/>
                  </a:cubicBezTo>
                  <a:cubicBezTo>
                    <a:pt x="558" y="531"/>
                    <a:pt x="558" y="529"/>
                    <a:pt x="559" y="527"/>
                  </a:cubicBezTo>
                  <a:cubicBezTo>
                    <a:pt x="559" y="526"/>
                    <a:pt x="562" y="524"/>
                    <a:pt x="563" y="523"/>
                  </a:cubicBezTo>
                  <a:cubicBezTo>
                    <a:pt x="565" y="521"/>
                    <a:pt x="566" y="518"/>
                    <a:pt x="570" y="518"/>
                  </a:cubicBezTo>
                  <a:cubicBezTo>
                    <a:pt x="571" y="518"/>
                    <a:pt x="572" y="518"/>
                    <a:pt x="573" y="518"/>
                  </a:cubicBezTo>
                  <a:cubicBezTo>
                    <a:pt x="576" y="517"/>
                    <a:pt x="582" y="517"/>
                    <a:pt x="584" y="516"/>
                  </a:cubicBezTo>
                  <a:cubicBezTo>
                    <a:pt x="586" y="514"/>
                    <a:pt x="584" y="509"/>
                    <a:pt x="587" y="507"/>
                  </a:cubicBezTo>
                  <a:cubicBezTo>
                    <a:pt x="588" y="506"/>
                    <a:pt x="589" y="507"/>
                    <a:pt x="590" y="507"/>
                  </a:cubicBezTo>
                  <a:cubicBezTo>
                    <a:pt x="592" y="507"/>
                    <a:pt x="592" y="506"/>
                    <a:pt x="593" y="505"/>
                  </a:cubicBezTo>
                  <a:cubicBezTo>
                    <a:pt x="596" y="503"/>
                    <a:pt x="598" y="502"/>
                    <a:pt x="599" y="499"/>
                  </a:cubicBezTo>
                  <a:cubicBezTo>
                    <a:pt x="599" y="498"/>
                    <a:pt x="599" y="495"/>
                    <a:pt x="600" y="494"/>
                  </a:cubicBezTo>
                  <a:cubicBezTo>
                    <a:pt x="601" y="489"/>
                    <a:pt x="603" y="485"/>
                    <a:pt x="603" y="480"/>
                  </a:cubicBezTo>
                  <a:cubicBezTo>
                    <a:pt x="604" y="474"/>
                    <a:pt x="602" y="468"/>
                    <a:pt x="603" y="462"/>
                  </a:cubicBezTo>
                  <a:cubicBezTo>
                    <a:pt x="606" y="461"/>
                    <a:pt x="607" y="465"/>
                    <a:pt x="610" y="465"/>
                  </a:cubicBezTo>
                  <a:cubicBezTo>
                    <a:pt x="615" y="465"/>
                    <a:pt x="612" y="460"/>
                    <a:pt x="615" y="460"/>
                  </a:cubicBezTo>
                  <a:cubicBezTo>
                    <a:pt x="621" y="469"/>
                    <a:pt x="632" y="472"/>
                    <a:pt x="642" y="467"/>
                  </a:cubicBezTo>
                  <a:cubicBezTo>
                    <a:pt x="643" y="467"/>
                    <a:pt x="643" y="467"/>
                    <a:pt x="644" y="467"/>
                  </a:cubicBezTo>
                  <a:cubicBezTo>
                    <a:pt x="645" y="466"/>
                    <a:pt x="645" y="465"/>
                    <a:pt x="646" y="464"/>
                  </a:cubicBezTo>
                  <a:cubicBezTo>
                    <a:pt x="648" y="462"/>
                    <a:pt x="651" y="463"/>
                    <a:pt x="653" y="463"/>
                  </a:cubicBezTo>
                  <a:cubicBezTo>
                    <a:pt x="657" y="463"/>
                    <a:pt x="661" y="464"/>
                    <a:pt x="665" y="465"/>
                  </a:cubicBezTo>
                  <a:cubicBezTo>
                    <a:pt x="668" y="466"/>
                    <a:pt x="670" y="467"/>
                    <a:pt x="672" y="468"/>
                  </a:cubicBezTo>
                  <a:cubicBezTo>
                    <a:pt x="676" y="468"/>
                    <a:pt x="675" y="467"/>
                    <a:pt x="677" y="465"/>
                  </a:cubicBezTo>
                  <a:cubicBezTo>
                    <a:pt x="676" y="465"/>
                    <a:pt x="680" y="463"/>
                    <a:pt x="680" y="463"/>
                  </a:cubicBezTo>
                  <a:cubicBezTo>
                    <a:pt x="682" y="462"/>
                    <a:pt x="685" y="460"/>
                    <a:pt x="687" y="460"/>
                  </a:cubicBezTo>
                  <a:cubicBezTo>
                    <a:pt x="690" y="459"/>
                    <a:pt x="692" y="460"/>
                    <a:pt x="694" y="459"/>
                  </a:cubicBezTo>
                  <a:cubicBezTo>
                    <a:pt x="694" y="458"/>
                    <a:pt x="695" y="456"/>
                    <a:pt x="695" y="455"/>
                  </a:cubicBezTo>
                  <a:cubicBezTo>
                    <a:pt x="696" y="450"/>
                    <a:pt x="695" y="444"/>
                    <a:pt x="694" y="439"/>
                  </a:cubicBezTo>
                  <a:cubicBezTo>
                    <a:pt x="691" y="429"/>
                    <a:pt x="690" y="419"/>
                    <a:pt x="684" y="410"/>
                  </a:cubicBezTo>
                  <a:cubicBezTo>
                    <a:pt x="682" y="406"/>
                    <a:pt x="679" y="405"/>
                    <a:pt x="677" y="401"/>
                  </a:cubicBezTo>
                  <a:cubicBezTo>
                    <a:pt x="676" y="398"/>
                    <a:pt x="677" y="394"/>
                    <a:pt x="677" y="391"/>
                  </a:cubicBezTo>
                  <a:cubicBezTo>
                    <a:pt x="677" y="387"/>
                    <a:pt x="676" y="384"/>
                    <a:pt x="677" y="380"/>
                  </a:cubicBezTo>
                  <a:cubicBezTo>
                    <a:pt x="677" y="376"/>
                    <a:pt x="679" y="374"/>
                    <a:pt x="681" y="371"/>
                  </a:cubicBezTo>
                  <a:cubicBezTo>
                    <a:pt x="684" y="365"/>
                    <a:pt x="683" y="359"/>
                    <a:pt x="684" y="353"/>
                  </a:cubicBezTo>
                  <a:cubicBezTo>
                    <a:pt x="686" y="345"/>
                    <a:pt x="689" y="337"/>
                    <a:pt x="687" y="328"/>
                  </a:cubicBezTo>
                  <a:cubicBezTo>
                    <a:pt x="686" y="320"/>
                    <a:pt x="682" y="312"/>
                    <a:pt x="677" y="305"/>
                  </a:cubicBezTo>
                  <a:cubicBezTo>
                    <a:pt x="672" y="296"/>
                    <a:pt x="669" y="286"/>
                    <a:pt x="669" y="276"/>
                  </a:cubicBezTo>
                  <a:cubicBezTo>
                    <a:pt x="669" y="273"/>
                    <a:pt x="668" y="267"/>
                    <a:pt x="670" y="265"/>
                  </a:cubicBezTo>
                  <a:cubicBezTo>
                    <a:pt x="671" y="263"/>
                    <a:pt x="673" y="264"/>
                    <a:pt x="673" y="262"/>
                  </a:cubicBezTo>
                  <a:cubicBezTo>
                    <a:pt x="674" y="259"/>
                    <a:pt x="673" y="255"/>
                    <a:pt x="672" y="253"/>
                  </a:cubicBezTo>
                  <a:cubicBezTo>
                    <a:pt x="672" y="249"/>
                    <a:pt x="671" y="246"/>
                    <a:pt x="670" y="243"/>
                  </a:cubicBezTo>
                  <a:cubicBezTo>
                    <a:pt x="670" y="241"/>
                    <a:pt x="670" y="240"/>
                    <a:pt x="669" y="239"/>
                  </a:cubicBezTo>
                  <a:cubicBezTo>
                    <a:pt x="667" y="238"/>
                    <a:pt x="663" y="239"/>
                    <a:pt x="661" y="237"/>
                  </a:cubicBezTo>
                  <a:cubicBezTo>
                    <a:pt x="659" y="236"/>
                    <a:pt x="658" y="233"/>
                    <a:pt x="657" y="230"/>
                  </a:cubicBezTo>
                  <a:cubicBezTo>
                    <a:pt x="656" y="225"/>
                    <a:pt x="661" y="224"/>
                    <a:pt x="664" y="221"/>
                  </a:cubicBezTo>
                  <a:cubicBezTo>
                    <a:pt x="666" y="218"/>
                    <a:pt x="666" y="214"/>
                    <a:pt x="666" y="211"/>
                  </a:cubicBezTo>
                  <a:cubicBezTo>
                    <a:pt x="665" y="204"/>
                    <a:pt x="662" y="199"/>
                    <a:pt x="662" y="192"/>
                  </a:cubicBezTo>
                  <a:cubicBezTo>
                    <a:pt x="662" y="188"/>
                    <a:pt x="662" y="184"/>
                    <a:pt x="662" y="180"/>
                  </a:cubicBezTo>
                  <a:cubicBezTo>
                    <a:pt x="662" y="178"/>
                    <a:pt x="663" y="176"/>
                    <a:pt x="663" y="174"/>
                  </a:cubicBezTo>
                  <a:cubicBezTo>
                    <a:pt x="665" y="169"/>
                    <a:pt x="668" y="167"/>
                    <a:pt x="667" y="162"/>
                  </a:cubicBezTo>
                  <a:cubicBezTo>
                    <a:pt x="660" y="161"/>
                    <a:pt x="659" y="153"/>
                    <a:pt x="656" y="148"/>
                  </a:cubicBezTo>
                  <a:cubicBezTo>
                    <a:pt x="654" y="145"/>
                    <a:pt x="653" y="143"/>
                    <a:pt x="649" y="142"/>
                  </a:cubicBezTo>
                  <a:cubicBezTo>
                    <a:pt x="647" y="141"/>
                    <a:pt x="645" y="140"/>
                    <a:pt x="642" y="140"/>
                  </a:cubicBezTo>
                  <a:cubicBezTo>
                    <a:pt x="641" y="137"/>
                    <a:pt x="642" y="133"/>
                    <a:pt x="641" y="129"/>
                  </a:cubicBezTo>
                  <a:cubicBezTo>
                    <a:pt x="641" y="128"/>
                    <a:pt x="642" y="125"/>
                    <a:pt x="641" y="123"/>
                  </a:cubicBezTo>
                  <a:cubicBezTo>
                    <a:pt x="639" y="122"/>
                    <a:pt x="634" y="121"/>
                    <a:pt x="632" y="120"/>
                  </a:cubicBezTo>
                  <a:cubicBezTo>
                    <a:pt x="629" y="119"/>
                    <a:pt x="628" y="120"/>
                    <a:pt x="627" y="117"/>
                  </a:cubicBezTo>
                  <a:cubicBezTo>
                    <a:pt x="626" y="115"/>
                    <a:pt x="625" y="114"/>
                    <a:pt x="624" y="112"/>
                  </a:cubicBezTo>
                  <a:cubicBezTo>
                    <a:pt x="621" y="106"/>
                    <a:pt x="616" y="100"/>
                    <a:pt x="613" y="95"/>
                  </a:cubicBezTo>
                  <a:cubicBezTo>
                    <a:pt x="609" y="90"/>
                    <a:pt x="607" y="89"/>
                    <a:pt x="602" y="86"/>
                  </a:cubicBezTo>
                  <a:cubicBezTo>
                    <a:pt x="598" y="85"/>
                    <a:pt x="595" y="84"/>
                    <a:pt x="591" y="84"/>
                  </a:cubicBezTo>
                  <a:cubicBezTo>
                    <a:pt x="589" y="84"/>
                    <a:pt x="588" y="84"/>
                    <a:pt x="587" y="83"/>
                  </a:cubicBezTo>
                  <a:cubicBezTo>
                    <a:pt x="585" y="82"/>
                    <a:pt x="583" y="80"/>
                    <a:pt x="582" y="78"/>
                  </a:cubicBezTo>
                  <a:cubicBezTo>
                    <a:pt x="579" y="76"/>
                    <a:pt x="577" y="74"/>
                    <a:pt x="574" y="72"/>
                  </a:cubicBezTo>
                  <a:cubicBezTo>
                    <a:pt x="570" y="69"/>
                    <a:pt x="568" y="69"/>
                    <a:pt x="563" y="68"/>
                  </a:cubicBezTo>
                  <a:cubicBezTo>
                    <a:pt x="559" y="67"/>
                    <a:pt x="555" y="62"/>
                    <a:pt x="552" y="59"/>
                  </a:cubicBezTo>
                  <a:cubicBezTo>
                    <a:pt x="549" y="54"/>
                    <a:pt x="547" y="50"/>
                    <a:pt x="542" y="47"/>
                  </a:cubicBezTo>
                  <a:cubicBezTo>
                    <a:pt x="538" y="44"/>
                    <a:pt x="537" y="39"/>
                    <a:pt x="534" y="35"/>
                  </a:cubicBezTo>
                  <a:cubicBezTo>
                    <a:pt x="531" y="32"/>
                    <a:pt x="528" y="30"/>
                    <a:pt x="525" y="28"/>
                  </a:cubicBezTo>
                  <a:cubicBezTo>
                    <a:pt x="523" y="26"/>
                    <a:pt x="522" y="24"/>
                    <a:pt x="519" y="22"/>
                  </a:cubicBezTo>
                  <a:cubicBezTo>
                    <a:pt x="516" y="19"/>
                    <a:pt x="513" y="17"/>
                    <a:pt x="510" y="14"/>
                  </a:cubicBezTo>
                  <a:cubicBezTo>
                    <a:pt x="508" y="11"/>
                    <a:pt x="505" y="8"/>
                    <a:pt x="504" y="5"/>
                  </a:cubicBezTo>
                  <a:cubicBezTo>
                    <a:pt x="503" y="4"/>
                    <a:pt x="503" y="2"/>
                    <a:pt x="502" y="1"/>
                  </a:cubicBezTo>
                  <a:cubicBezTo>
                    <a:pt x="502" y="1"/>
                    <a:pt x="502" y="0"/>
                    <a:pt x="502" y="0"/>
                  </a:cubicBezTo>
                  <a:cubicBezTo>
                    <a:pt x="500" y="0"/>
                    <a:pt x="498" y="0"/>
                    <a:pt x="497" y="1"/>
                  </a:cubicBezTo>
                  <a:cubicBezTo>
                    <a:pt x="494" y="1"/>
                    <a:pt x="481" y="1"/>
                    <a:pt x="480" y="4"/>
                  </a:cubicBezTo>
                  <a:cubicBezTo>
                    <a:pt x="482" y="6"/>
                    <a:pt x="483" y="10"/>
                    <a:pt x="485" y="12"/>
                  </a:cubicBezTo>
                  <a:cubicBezTo>
                    <a:pt x="487" y="17"/>
                    <a:pt x="490" y="22"/>
                    <a:pt x="493" y="26"/>
                  </a:cubicBezTo>
                  <a:cubicBezTo>
                    <a:pt x="498" y="33"/>
                    <a:pt x="500" y="39"/>
                    <a:pt x="500" y="47"/>
                  </a:cubicBezTo>
                  <a:cubicBezTo>
                    <a:pt x="500" y="54"/>
                    <a:pt x="497" y="56"/>
                    <a:pt x="492" y="60"/>
                  </a:cubicBezTo>
                  <a:cubicBezTo>
                    <a:pt x="487" y="64"/>
                    <a:pt x="483" y="67"/>
                    <a:pt x="478" y="70"/>
                  </a:cubicBezTo>
                  <a:cubicBezTo>
                    <a:pt x="475" y="72"/>
                    <a:pt x="470" y="73"/>
                    <a:pt x="468" y="76"/>
                  </a:cubicBezTo>
                  <a:cubicBezTo>
                    <a:pt x="471" y="78"/>
                    <a:pt x="484" y="81"/>
                    <a:pt x="484" y="85"/>
                  </a:cubicBezTo>
                  <a:cubicBezTo>
                    <a:pt x="484" y="86"/>
                    <a:pt x="481" y="88"/>
                    <a:pt x="481" y="89"/>
                  </a:cubicBezTo>
                  <a:cubicBezTo>
                    <a:pt x="480" y="91"/>
                    <a:pt x="480" y="92"/>
                    <a:pt x="478" y="95"/>
                  </a:cubicBezTo>
                  <a:cubicBezTo>
                    <a:pt x="478" y="96"/>
                    <a:pt x="475" y="100"/>
                    <a:pt x="474" y="101"/>
                  </a:cubicBezTo>
                  <a:cubicBezTo>
                    <a:pt x="472" y="102"/>
                    <a:pt x="471" y="101"/>
                    <a:pt x="469" y="101"/>
                  </a:cubicBezTo>
                  <a:cubicBezTo>
                    <a:pt x="462" y="100"/>
                    <a:pt x="456" y="98"/>
                    <a:pt x="449" y="94"/>
                  </a:cubicBezTo>
                  <a:cubicBezTo>
                    <a:pt x="444" y="91"/>
                    <a:pt x="438" y="92"/>
                    <a:pt x="432" y="91"/>
                  </a:cubicBezTo>
                  <a:cubicBezTo>
                    <a:pt x="423" y="89"/>
                    <a:pt x="414" y="87"/>
                    <a:pt x="405" y="84"/>
                  </a:cubicBezTo>
                  <a:cubicBezTo>
                    <a:pt x="403" y="83"/>
                    <a:pt x="399" y="83"/>
                    <a:pt x="397" y="82"/>
                  </a:cubicBezTo>
                  <a:cubicBezTo>
                    <a:pt x="394" y="81"/>
                    <a:pt x="393" y="80"/>
                    <a:pt x="391" y="80"/>
                  </a:cubicBezTo>
                  <a:cubicBezTo>
                    <a:pt x="387" y="80"/>
                    <a:pt x="382" y="81"/>
                    <a:pt x="379" y="78"/>
                  </a:cubicBezTo>
                  <a:cubicBezTo>
                    <a:pt x="380" y="83"/>
                    <a:pt x="380" y="89"/>
                    <a:pt x="380" y="94"/>
                  </a:cubicBezTo>
                  <a:cubicBezTo>
                    <a:pt x="380" y="117"/>
                    <a:pt x="380" y="117"/>
                    <a:pt x="380" y="117"/>
                  </a:cubicBezTo>
                  <a:cubicBezTo>
                    <a:pt x="380" y="119"/>
                    <a:pt x="380" y="123"/>
                    <a:pt x="380" y="124"/>
                  </a:cubicBezTo>
                  <a:cubicBezTo>
                    <a:pt x="379" y="126"/>
                    <a:pt x="378" y="128"/>
                    <a:pt x="378" y="129"/>
                  </a:cubicBezTo>
                  <a:cubicBezTo>
                    <a:pt x="377" y="132"/>
                    <a:pt x="375" y="134"/>
                    <a:pt x="373" y="137"/>
                  </a:cubicBezTo>
                  <a:cubicBezTo>
                    <a:pt x="371" y="142"/>
                    <a:pt x="368" y="147"/>
                    <a:pt x="366" y="151"/>
                  </a:cubicBezTo>
                  <a:cubicBezTo>
                    <a:pt x="365" y="153"/>
                    <a:pt x="365" y="155"/>
                    <a:pt x="364" y="157"/>
                  </a:cubicBezTo>
                  <a:cubicBezTo>
                    <a:pt x="359" y="155"/>
                    <a:pt x="354" y="152"/>
                    <a:pt x="349" y="151"/>
                  </a:cubicBezTo>
                  <a:cubicBezTo>
                    <a:pt x="345" y="149"/>
                    <a:pt x="343" y="147"/>
                    <a:pt x="340" y="146"/>
                  </a:cubicBezTo>
                  <a:cubicBezTo>
                    <a:pt x="336" y="144"/>
                    <a:pt x="329" y="144"/>
                    <a:pt x="325" y="145"/>
                  </a:cubicBezTo>
                  <a:cubicBezTo>
                    <a:pt x="322" y="146"/>
                    <a:pt x="319" y="149"/>
                    <a:pt x="317" y="151"/>
                  </a:cubicBezTo>
                  <a:cubicBezTo>
                    <a:pt x="313" y="153"/>
                    <a:pt x="311" y="155"/>
                    <a:pt x="308" y="159"/>
                  </a:cubicBezTo>
                  <a:cubicBezTo>
                    <a:pt x="305" y="163"/>
                    <a:pt x="302" y="168"/>
                    <a:pt x="299" y="172"/>
                  </a:cubicBezTo>
                  <a:cubicBezTo>
                    <a:pt x="298" y="173"/>
                    <a:pt x="295" y="175"/>
                    <a:pt x="295" y="177"/>
                  </a:cubicBezTo>
                  <a:cubicBezTo>
                    <a:pt x="292" y="178"/>
                    <a:pt x="292" y="181"/>
                    <a:pt x="291" y="183"/>
                  </a:cubicBezTo>
                  <a:cubicBezTo>
                    <a:pt x="290" y="185"/>
                    <a:pt x="289" y="186"/>
                    <a:pt x="288" y="188"/>
                  </a:cubicBezTo>
                  <a:cubicBezTo>
                    <a:pt x="289" y="187"/>
                    <a:pt x="290" y="187"/>
                    <a:pt x="290" y="187"/>
                  </a:cubicBezTo>
                  <a:cubicBezTo>
                    <a:pt x="289" y="188"/>
                    <a:pt x="289" y="190"/>
                    <a:pt x="288" y="192"/>
                  </a:cubicBezTo>
                  <a:cubicBezTo>
                    <a:pt x="287" y="195"/>
                    <a:pt x="285" y="199"/>
                    <a:pt x="284" y="202"/>
                  </a:cubicBezTo>
                  <a:cubicBezTo>
                    <a:pt x="282" y="207"/>
                    <a:pt x="280" y="211"/>
                    <a:pt x="279" y="216"/>
                  </a:cubicBezTo>
                  <a:cubicBezTo>
                    <a:pt x="279" y="220"/>
                    <a:pt x="278" y="223"/>
                    <a:pt x="274" y="224"/>
                  </a:cubicBezTo>
                  <a:cubicBezTo>
                    <a:pt x="269" y="227"/>
                    <a:pt x="268" y="229"/>
                    <a:pt x="267" y="234"/>
                  </a:cubicBezTo>
                  <a:cubicBezTo>
                    <a:pt x="266" y="237"/>
                    <a:pt x="266" y="239"/>
                    <a:pt x="266" y="243"/>
                  </a:cubicBezTo>
                  <a:cubicBezTo>
                    <a:pt x="266" y="245"/>
                    <a:pt x="266" y="247"/>
                    <a:pt x="267" y="249"/>
                  </a:cubicBezTo>
                  <a:cubicBezTo>
                    <a:pt x="268" y="253"/>
                    <a:pt x="268" y="256"/>
                    <a:pt x="269" y="259"/>
                  </a:cubicBezTo>
                  <a:cubicBezTo>
                    <a:pt x="269" y="261"/>
                    <a:pt x="271" y="263"/>
                    <a:pt x="272" y="265"/>
                  </a:cubicBezTo>
                  <a:cubicBezTo>
                    <a:pt x="272" y="266"/>
                    <a:pt x="272" y="268"/>
                    <a:pt x="272" y="270"/>
                  </a:cubicBezTo>
                  <a:cubicBezTo>
                    <a:pt x="272" y="272"/>
                    <a:pt x="274" y="275"/>
                    <a:pt x="275" y="278"/>
                  </a:cubicBezTo>
                  <a:cubicBezTo>
                    <a:pt x="276" y="282"/>
                    <a:pt x="277" y="294"/>
                    <a:pt x="273" y="297"/>
                  </a:cubicBezTo>
                  <a:cubicBezTo>
                    <a:pt x="269" y="299"/>
                    <a:pt x="265" y="300"/>
                    <a:pt x="261" y="303"/>
                  </a:cubicBezTo>
                  <a:cubicBezTo>
                    <a:pt x="258" y="306"/>
                    <a:pt x="256" y="310"/>
                    <a:pt x="256" y="314"/>
                  </a:cubicBezTo>
                  <a:cubicBezTo>
                    <a:pt x="255" y="319"/>
                    <a:pt x="252" y="323"/>
                    <a:pt x="250" y="327"/>
                  </a:cubicBezTo>
                  <a:cubicBezTo>
                    <a:pt x="247" y="335"/>
                    <a:pt x="243" y="344"/>
                    <a:pt x="239" y="352"/>
                  </a:cubicBezTo>
                  <a:cubicBezTo>
                    <a:pt x="237" y="357"/>
                    <a:pt x="236" y="360"/>
                    <a:pt x="231" y="363"/>
                  </a:cubicBezTo>
                  <a:cubicBezTo>
                    <a:pt x="227" y="366"/>
                    <a:pt x="224" y="368"/>
                    <a:pt x="225" y="374"/>
                  </a:cubicBezTo>
                  <a:cubicBezTo>
                    <a:pt x="225" y="379"/>
                    <a:pt x="233" y="388"/>
                    <a:pt x="230" y="394"/>
                  </a:cubicBezTo>
                  <a:cubicBezTo>
                    <a:pt x="228" y="397"/>
                    <a:pt x="223" y="396"/>
                    <a:pt x="220" y="398"/>
                  </a:cubicBezTo>
                  <a:cubicBezTo>
                    <a:pt x="215" y="401"/>
                    <a:pt x="215" y="408"/>
                    <a:pt x="209" y="410"/>
                  </a:cubicBezTo>
                  <a:cubicBezTo>
                    <a:pt x="206" y="412"/>
                    <a:pt x="201" y="413"/>
                    <a:pt x="197" y="414"/>
                  </a:cubicBezTo>
                  <a:cubicBezTo>
                    <a:pt x="193" y="415"/>
                    <a:pt x="181" y="412"/>
                    <a:pt x="178" y="415"/>
                  </a:cubicBezTo>
                  <a:cubicBezTo>
                    <a:pt x="178" y="415"/>
                    <a:pt x="178" y="416"/>
                    <a:pt x="178" y="416"/>
                  </a:cubicBezTo>
                  <a:cubicBezTo>
                    <a:pt x="178" y="418"/>
                    <a:pt x="178" y="422"/>
                    <a:pt x="178" y="422"/>
                  </a:cubicBezTo>
                  <a:cubicBezTo>
                    <a:pt x="179" y="428"/>
                    <a:pt x="180" y="435"/>
                    <a:pt x="181" y="441"/>
                  </a:cubicBezTo>
                  <a:cubicBezTo>
                    <a:pt x="182" y="449"/>
                    <a:pt x="186" y="456"/>
                    <a:pt x="184" y="463"/>
                  </a:cubicBezTo>
                  <a:cubicBezTo>
                    <a:pt x="184" y="466"/>
                    <a:pt x="184" y="467"/>
                    <a:pt x="183" y="469"/>
                  </a:cubicBezTo>
                  <a:cubicBezTo>
                    <a:pt x="182" y="470"/>
                    <a:pt x="181" y="471"/>
                    <a:pt x="180" y="471"/>
                  </a:cubicBezTo>
                  <a:cubicBezTo>
                    <a:pt x="179" y="473"/>
                    <a:pt x="179" y="475"/>
                    <a:pt x="178" y="477"/>
                  </a:cubicBezTo>
                  <a:cubicBezTo>
                    <a:pt x="177" y="481"/>
                    <a:pt x="174" y="485"/>
                    <a:pt x="174" y="490"/>
                  </a:cubicBezTo>
                  <a:cubicBezTo>
                    <a:pt x="173" y="496"/>
                    <a:pt x="174" y="502"/>
                    <a:pt x="175" y="508"/>
                  </a:cubicBezTo>
                  <a:cubicBezTo>
                    <a:pt x="175" y="513"/>
                    <a:pt x="175" y="518"/>
                    <a:pt x="175" y="524"/>
                  </a:cubicBezTo>
                  <a:cubicBezTo>
                    <a:pt x="175" y="530"/>
                    <a:pt x="175" y="531"/>
                    <a:pt x="171" y="534"/>
                  </a:cubicBezTo>
                  <a:cubicBezTo>
                    <a:pt x="168" y="536"/>
                    <a:pt x="166" y="540"/>
                    <a:pt x="165" y="543"/>
                  </a:cubicBezTo>
                  <a:cubicBezTo>
                    <a:pt x="163" y="547"/>
                    <a:pt x="162" y="552"/>
                    <a:pt x="160" y="556"/>
                  </a:cubicBezTo>
                  <a:cubicBezTo>
                    <a:pt x="157" y="561"/>
                    <a:pt x="157" y="567"/>
                    <a:pt x="154" y="570"/>
                  </a:cubicBezTo>
                  <a:cubicBezTo>
                    <a:pt x="153" y="572"/>
                    <a:pt x="153" y="574"/>
                    <a:pt x="152" y="576"/>
                  </a:cubicBezTo>
                  <a:cubicBezTo>
                    <a:pt x="151" y="578"/>
                    <a:pt x="151" y="580"/>
                    <a:pt x="151" y="582"/>
                  </a:cubicBezTo>
                  <a:cubicBezTo>
                    <a:pt x="150" y="586"/>
                    <a:pt x="149" y="590"/>
                    <a:pt x="147" y="593"/>
                  </a:cubicBezTo>
                  <a:cubicBezTo>
                    <a:pt x="145" y="598"/>
                    <a:pt x="142" y="602"/>
                    <a:pt x="139" y="606"/>
                  </a:cubicBezTo>
                  <a:cubicBezTo>
                    <a:pt x="137" y="609"/>
                    <a:pt x="135" y="612"/>
                    <a:pt x="134" y="615"/>
                  </a:cubicBezTo>
                  <a:cubicBezTo>
                    <a:pt x="137" y="616"/>
                    <a:pt x="138" y="618"/>
                    <a:pt x="140" y="620"/>
                  </a:cubicBezTo>
                  <a:cubicBezTo>
                    <a:pt x="143" y="621"/>
                    <a:pt x="145" y="622"/>
                    <a:pt x="148" y="624"/>
                  </a:cubicBezTo>
                  <a:cubicBezTo>
                    <a:pt x="153" y="628"/>
                    <a:pt x="151" y="636"/>
                    <a:pt x="151" y="642"/>
                  </a:cubicBezTo>
                  <a:cubicBezTo>
                    <a:pt x="151" y="646"/>
                    <a:pt x="151" y="650"/>
                    <a:pt x="151" y="653"/>
                  </a:cubicBezTo>
                  <a:cubicBezTo>
                    <a:pt x="152" y="657"/>
                    <a:pt x="154" y="661"/>
                    <a:pt x="155" y="665"/>
                  </a:cubicBezTo>
                  <a:cubicBezTo>
                    <a:pt x="155" y="669"/>
                    <a:pt x="154" y="672"/>
                    <a:pt x="152" y="676"/>
                  </a:cubicBezTo>
                  <a:cubicBezTo>
                    <a:pt x="151" y="679"/>
                    <a:pt x="150" y="684"/>
                    <a:pt x="148" y="687"/>
                  </a:cubicBezTo>
                  <a:cubicBezTo>
                    <a:pt x="144" y="685"/>
                    <a:pt x="138" y="685"/>
                    <a:pt x="134" y="684"/>
                  </a:cubicBezTo>
                  <a:cubicBezTo>
                    <a:pt x="128" y="684"/>
                    <a:pt x="123" y="683"/>
                    <a:pt x="117" y="682"/>
                  </a:cubicBezTo>
                  <a:cubicBezTo>
                    <a:pt x="112" y="682"/>
                    <a:pt x="108" y="683"/>
                    <a:pt x="103" y="683"/>
                  </a:cubicBezTo>
                  <a:cubicBezTo>
                    <a:pt x="98" y="683"/>
                    <a:pt x="94" y="684"/>
                    <a:pt x="89" y="686"/>
                  </a:cubicBezTo>
                  <a:cubicBezTo>
                    <a:pt x="85" y="688"/>
                    <a:pt x="84" y="692"/>
                    <a:pt x="81" y="694"/>
                  </a:cubicBezTo>
                  <a:cubicBezTo>
                    <a:pt x="80" y="695"/>
                    <a:pt x="78" y="695"/>
                    <a:pt x="76" y="696"/>
                  </a:cubicBezTo>
                  <a:cubicBezTo>
                    <a:pt x="74" y="697"/>
                    <a:pt x="73" y="699"/>
                    <a:pt x="71" y="700"/>
                  </a:cubicBezTo>
                  <a:cubicBezTo>
                    <a:pt x="70" y="702"/>
                    <a:pt x="70" y="703"/>
                    <a:pt x="68" y="705"/>
                  </a:cubicBezTo>
                  <a:cubicBezTo>
                    <a:pt x="67" y="706"/>
                    <a:pt x="67" y="708"/>
                    <a:pt x="67" y="710"/>
                  </a:cubicBezTo>
                  <a:cubicBezTo>
                    <a:pt x="66" y="712"/>
                    <a:pt x="65" y="715"/>
                    <a:pt x="64" y="718"/>
                  </a:cubicBezTo>
                  <a:cubicBezTo>
                    <a:pt x="63" y="722"/>
                    <a:pt x="60" y="727"/>
                    <a:pt x="57" y="731"/>
                  </a:cubicBezTo>
                  <a:cubicBezTo>
                    <a:pt x="54" y="736"/>
                    <a:pt x="49" y="738"/>
                    <a:pt x="48" y="745"/>
                  </a:cubicBezTo>
                  <a:cubicBezTo>
                    <a:pt x="48" y="749"/>
                    <a:pt x="48" y="753"/>
                    <a:pt x="48" y="757"/>
                  </a:cubicBezTo>
                  <a:cubicBezTo>
                    <a:pt x="48" y="762"/>
                    <a:pt x="49" y="770"/>
                    <a:pt x="46" y="775"/>
                  </a:cubicBezTo>
                  <a:cubicBezTo>
                    <a:pt x="45" y="777"/>
                    <a:pt x="44" y="778"/>
                    <a:pt x="44" y="780"/>
                  </a:cubicBezTo>
                  <a:cubicBezTo>
                    <a:pt x="44" y="782"/>
                    <a:pt x="45" y="784"/>
                    <a:pt x="45" y="786"/>
                  </a:cubicBezTo>
                  <a:cubicBezTo>
                    <a:pt x="47" y="789"/>
                    <a:pt x="48" y="792"/>
                    <a:pt x="49" y="795"/>
                  </a:cubicBezTo>
                  <a:cubicBezTo>
                    <a:pt x="50" y="799"/>
                    <a:pt x="50" y="803"/>
                    <a:pt x="52" y="807"/>
                  </a:cubicBezTo>
                  <a:cubicBezTo>
                    <a:pt x="53" y="809"/>
                    <a:pt x="54" y="810"/>
                    <a:pt x="53" y="812"/>
                  </a:cubicBezTo>
                  <a:cubicBezTo>
                    <a:pt x="53" y="814"/>
                    <a:pt x="50" y="816"/>
                    <a:pt x="49" y="817"/>
                  </a:cubicBezTo>
                  <a:cubicBezTo>
                    <a:pt x="48" y="818"/>
                    <a:pt x="48" y="820"/>
                    <a:pt x="47" y="821"/>
                  </a:cubicBezTo>
                  <a:cubicBezTo>
                    <a:pt x="47" y="822"/>
                    <a:pt x="45" y="821"/>
                    <a:pt x="45" y="822"/>
                  </a:cubicBezTo>
                  <a:cubicBezTo>
                    <a:pt x="44" y="824"/>
                    <a:pt x="45" y="828"/>
                    <a:pt x="45" y="830"/>
                  </a:cubicBezTo>
                  <a:cubicBezTo>
                    <a:pt x="45" y="836"/>
                    <a:pt x="45" y="841"/>
                    <a:pt x="45" y="847"/>
                  </a:cubicBezTo>
                  <a:cubicBezTo>
                    <a:pt x="45" y="851"/>
                    <a:pt x="44" y="855"/>
                    <a:pt x="43" y="860"/>
                  </a:cubicBezTo>
                  <a:cubicBezTo>
                    <a:pt x="43" y="863"/>
                    <a:pt x="44" y="863"/>
                    <a:pt x="45" y="866"/>
                  </a:cubicBezTo>
                  <a:cubicBezTo>
                    <a:pt x="49" y="872"/>
                    <a:pt x="52" y="879"/>
                    <a:pt x="55" y="886"/>
                  </a:cubicBezTo>
                  <a:cubicBezTo>
                    <a:pt x="56" y="888"/>
                    <a:pt x="57" y="890"/>
                    <a:pt x="57" y="892"/>
                  </a:cubicBezTo>
                  <a:cubicBezTo>
                    <a:pt x="58" y="896"/>
                    <a:pt x="57" y="900"/>
                    <a:pt x="57" y="904"/>
                  </a:cubicBezTo>
                  <a:cubicBezTo>
                    <a:pt x="57" y="918"/>
                    <a:pt x="57" y="931"/>
                    <a:pt x="54" y="944"/>
                  </a:cubicBezTo>
                  <a:cubicBezTo>
                    <a:pt x="53" y="950"/>
                    <a:pt x="48" y="958"/>
                    <a:pt x="51" y="964"/>
                  </a:cubicBezTo>
                  <a:cubicBezTo>
                    <a:pt x="53" y="968"/>
                    <a:pt x="58" y="969"/>
                    <a:pt x="61" y="971"/>
                  </a:cubicBezTo>
                  <a:cubicBezTo>
                    <a:pt x="64" y="973"/>
                    <a:pt x="65" y="976"/>
                    <a:pt x="68" y="979"/>
                  </a:cubicBezTo>
                  <a:cubicBezTo>
                    <a:pt x="72" y="983"/>
                    <a:pt x="80" y="979"/>
                    <a:pt x="84" y="985"/>
                  </a:cubicBezTo>
                  <a:cubicBezTo>
                    <a:pt x="85" y="985"/>
                    <a:pt x="84" y="987"/>
                    <a:pt x="85" y="987"/>
                  </a:cubicBezTo>
                  <a:cubicBezTo>
                    <a:pt x="86" y="989"/>
                    <a:pt x="87" y="989"/>
                    <a:pt x="88" y="990"/>
                  </a:cubicBezTo>
                  <a:cubicBezTo>
                    <a:pt x="90" y="992"/>
                    <a:pt x="93" y="998"/>
                    <a:pt x="96" y="999"/>
                  </a:cubicBezTo>
                  <a:cubicBezTo>
                    <a:pt x="97" y="1003"/>
                    <a:pt x="92" y="1008"/>
                    <a:pt x="90" y="1011"/>
                  </a:cubicBezTo>
                  <a:cubicBezTo>
                    <a:pt x="88" y="1016"/>
                    <a:pt x="86" y="1021"/>
                    <a:pt x="84" y="1026"/>
                  </a:cubicBezTo>
                  <a:cubicBezTo>
                    <a:pt x="82" y="1029"/>
                    <a:pt x="82" y="1028"/>
                    <a:pt x="82" y="1030"/>
                  </a:cubicBezTo>
                  <a:cubicBezTo>
                    <a:pt x="81" y="1032"/>
                    <a:pt x="82" y="1032"/>
                    <a:pt x="81" y="1034"/>
                  </a:cubicBezTo>
                  <a:cubicBezTo>
                    <a:pt x="80" y="1034"/>
                    <a:pt x="79" y="1035"/>
                    <a:pt x="77" y="1035"/>
                  </a:cubicBezTo>
                  <a:cubicBezTo>
                    <a:pt x="76" y="1035"/>
                    <a:pt x="76" y="1035"/>
                    <a:pt x="76" y="1036"/>
                  </a:cubicBezTo>
                  <a:cubicBezTo>
                    <a:pt x="75" y="1036"/>
                    <a:pt x="74" y="1036"/>
                    <a:pt x="73" y="1037"/>
                  </a:cubicBezTo>
                  <a:cubicBezTo>
                    <a:pt x="71" y="1038"/>
                    <a:pt x="69" y="1039"/>
                    <a:pt x="66" y="1039"/>
                  </a:cubicBezTo>
                  <a:cubicBezTo>
                    <a:pt x="64" y="1040"/>
                    <a:pt x="63" y="1039"/>
                    <a:pt x="61" y="1039"/>
                  </a:cubicBezTo>
                  <a:cubicBezTo>
                    <a:pt x="60" y="1042"/>
                    <a:pt x="62" y="1048"/>
                    <a:pt x="62" y="1051"/>
                  </a:cubicBezTo>
                  <a:cubicBezTo>
                    <a:pt x="63" y="1055"/>
                    <a:pt x="64" y="1059"/>
                    <a:pt x="65" y="1063"/>
                  </a:cubicBezTo>
                  <a:cubicBezTo>
                    <a:pt x="68" y="1075"/>
                    <a:pt x="76" y="1084"/>
                    <a:pt x="78" y="1096"/>
                  </a:cubicBezTo>
                  <a:cubicBezTo>
                    <a:pt x="78" y="1099"/>
                    <a:pt x="79" y="1102"/>
                    <a:pt x="78" y="1105"/>
                  </a:cubicBezTo>
                  <a:cubicBezTo>
                    <a:pt x="78" y="1107"/>
                    <a:pt x="77" y="1108"/>
                    <a:pt x="75" y="1111"/>
                  </a:cubicBezTo>
                  <a:cubicBezTo>
                    <a:pt x="72" y="1116"/>
                    <a:pt x="67" y="1122"/>
                    <a:pt x="65" y="1129"/>
                  </a:cubicBezTo>
                  <a:cubicBezTo>
                    <a:pt x="66" y="1128"/>
                    <a:pt x="67" y="1128"/>
                    <a:pt x="67" y="1128"/>
                  </a:cubicBezTo>
                  <a:cubicBezTo>
                    <a:pt x="68" y="1127"/>
                    <a:pt x="69" y="1126"/>
                    <a:pt x="70" y="1128"/>
                  </a:cubicBezTo>
                  <a:cubicBezTo>
                    <a:pt x="69" y="1128"/>
                    <a:pt x="68" y="1128"/>
                    <a:pt x="67" y="1128"/>
                  </a:cubicBezTo>
                  <a:cubicBezTo>
                    <a:pt x="67" y="1129"/>
                    <a:pt x="67" y="1131"/>
                    <a:pt x="67" y="1131"/>
                  </a:cubicBezTo>
                  <a:cubicBezTo>
                    <a:pt x="66" y="1134"/>
                    <a:pt x="64" y="1135"/>
                    <a:pt x="63" y="1138"/>
                  </a:cubicBezTo>
                  <a:cubicBezTo>
                    <a:pt x="61" y="1143"/>
                    <a:pt x="62" y="1150"/>
                    <a:pt x="60" y="1154"/>
                  </a:cubicBezTo>
                  <a:cubicBezTo>
                    <a:pt x="57" y="1158"/>
                    <a:pt x="52" y="1161"/>
                    <a:pt x="49" y="1162"/>
                  </a:cubicBezTo>
                  <a:cubicBezTo>
                    <a:pt x="44" y="1164"/>
                    <a:pt x="41" y="1169"/>
                    <a:pt x="35" y="1169"/>
                  </a:cubicBezTo>
                  <a:cubicBezTo>
                    <a:pt x="34" y="1173"/>
                    <a:pt x="39" y="1177"/>
                    <a:pt x="39" y="1181"/>
                  </a:cubicBezTo>
                  <a:cubicBezTo>
                    <a:pt x="38" y="1184"/>
                    <a:pt x="38" y="1185"/>
                    <a:pt x="36" y="1187"/>
                  </a:cubicBezTo>
                  <a:cubicBezTo>
                    <a:pt x="35" y="1189"/>
                    <a:pt x="31" y="1192"/>
                    <a:pt x="30" y="1195"/>
                  </a:cubicBezTo>
                  <a:cubicBezTo>
                    <a:pt x="30" y="1197"/>
                    <a:pt x="30" y="1200"/>
                    <a:pt x="30" y="1202"/>
                  </a:cubicBezTo>
                  <a:cubicBezTo>
                    <a:pt x="30" y="1210"/>
                    <a:pt x="33" y="1218"/>
                    <a:pt x="33" y="1226"/>
                  </a:cubicBezTo>
                  <a:cubicBezTo>
                    <a:pt x="33" y="1235"/>
                    <a:pt x="33" y="1244"/>
                    <a:pt x="30" y="1253"/>
                  </a:cubicBezTo>
                  <a:cubicBezTo>
                    <a:pt x="29" y="1258"/>
                    <a:pt x="30" y="1262"/>
                    <a:pt x="29" y="1266"/>
                  </a:cubicBezTo>
                  <a:cubicBezTo>
                    <a:pt x="28" y="1270"/>
                    <a:pt x="26" y="1274"/>
                    <a:pt x="21" y="1273"/>
                  </a:cubicBezTo>
                  <a:cubicBezTo>
                    <a:pt x="20" y="1273"/>
                    <a:pt x="21" y="1271"/>
                    <a:pt x="19" y="1271"/>
                  </a:cubicBezTo>
                  <a:cubicBezTo>
                    <a:pt x="18" y="1270"/>
                    <a:pt x="17" y="1270"/>
                    <a:pt x="16" y="1270"/>
                  </a:cubicBezTo>
                  <a:cubicBezTo>
                    <a:pt x="13" y="1268"/>
                    <a:pt x="13" y="1265"/>
                    <a:pt x="12" y="1262"/>
                  </a:cubicBezTo>
                  <a:cubicBezTo>
                    <a:pt x="11" y="1259"/>
                    <a:pt x="11" y="1253"/>
                    <a:pt x="8" y="1252"/>
                  </a:cubicBezTo>
                  <a:cubicBezTo>
                    <a:pt x="6" y="1251"/>
                    <a:pt x="3" y="1253"/>
                    <a:pt x="2" y="1254"/>
                  </a:cubicBezTo>
                  <a:cubicBezTo>
                    <a:pt x="2" y="1254"/>
                    <a:pt x="2" y="1255"/>
                    <a:pt x="2" y="125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0" name="Freeform 61">
              <a:extLst>
                <a:ext uri="{FF2B5EF4-FFF2-40B4-BE49-F238E27FC236}">
                  <a16:creationId xmlns:a16="http://schemas.microsoft.com/office/drawing/2014/main" id="{05BB674E-047B-4E55-AD8F-75231C79D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0188" y="3175000"/>
              <a:ext cx="106363" cy="204788"/>
            </a:xfrm>
            <a:custGeom>
              <a:avLst/>
              <a:gdLst/>
              <a:ahLst/>
              <a:cxnLst>
                <a:cxn ang="0">
                  <a:pos x="55" y="10"/>
                </a:cxn>
                <a:cxn ang="0">
                  <a:pos x="55" y="23"/>
                </a:cxn>
                <a:cxn ang="0">
                  <a:pos x="49" y="25"/>
                </a:cxn>
                <a:cxn ang="0">
                  <a:pos x="46" y="27"/>
                </a:cxn>
                <a:cxn ang="0">
                  <a:pos x="43" y="28"/>
                </a:cxn>
                <a:cxn ang="0">
                  <a:pos x="42" y="39"/>
                </a:cxn>
                <a:cxn ang="0">
                  <a:pos x="42" y="51"/>
                </a:cxn>
                <a:cxn ang="0">
                  <a:pos x="46" y="54"/>
                </a:cxn>
                <a:cxn ang="0">
                  <a:pos x="44" y="61"/>
                </a:cxn>
                <a:cxn ang="0">
                  <a:pos x="39" y="64"/>
                </a:cxn>
                <a:cxn ang="0">
                  <a:pos x="39" y="68"/>
                </a:cxn>
                <a:cxn ang="0">
                  <a:pos x="38" y="72"/>
                </a:cxn>
                <a:cxn ang="0">
                  <a:pos x="35" y="79"/>
                </a:cxn>
                <a:cxn ang="0">
                  <a:pos x="29" y="84"/>
                </a:cxn>
                <a:cxn ang="0">
                  <a:pos x="24" y="87"/>
                </a:cxn>
                <a:cxn ang="0">
                  <a:pos x="18" y="92"/>
                </a:cxn>
                <a:cxn ang="0">
                  <a:pos x="15" y="98"/>
                </a:cxn>
                <a:cxn ang="0">
                  <a:pos x="6" y="107"/>
                </a:cxn>
                <a:cxn ang="0">
                  <a:pos x="4" y="105"/>
                </a:cxn>
                <a:cxn ang="0">
                  <a:pos x="5" y="101"/>
                </a:cxn>
                <a:cxn ang="0">
                  <a:pos x="7" y="94"/>
                </a:cxn>
                <a:cxn ang="0">
                  <a:pos x="4" y="86"/>
                </a:cxn>
                <a:cxn ang="0">
                  <a:pos x="1" y="77"/>
                </a:cxn>
                <a:cxn ang="0">
                  <a:pos x="1" y="67"/>
                </a:cxn>
                <a:cxn ang="0">
                  <a:pos x="3" y="59"/>
                </a:cxn>
                <a:cxn ang="0">
                  <a:pos x="2" y="45"/>
                </a:cxn>
                <a:cxn ang="0">
                  <a:pos x="7" y="41"/>
                </a:cxn>
                <a:cxn ang="0">
                  <a:pos x="13" y="35"/>
                </a:cxn>
                <a:cxn ang="0">
                  <a:pos x="13" y="22"/>
                </a:cxn>
                <a:cxn ang="0">
                  <a:pos x="37" y="5"/>
                </a:cxn>
                <a:cxn ang="0">
                  <a:pos x="42" y="6"/>
                </a:cxn>
                <a:cxn ang="0">
                  <a:pos x="47" y="3"/>
                </a:cxn>
                <a:cxn ang="0">
                  <a:pos x="55" y="6"/>
                </a:cxn>
                <a:cxn ang="0">
                  <a:pos x="55" y="10"/>
                </a:cxn>
              </a:cxnLst>
              <a:rect l="0" t="0" r="r" b="b"/>
              <a:pathLst>
                <a:path w="57" h="109">
                  <a:moveTo>
                    <a:pt x="55" y="10"/>
                  </a:moveTo>
                  <a:cubicBezTo>
                    <a:pt x="55" y="13"/>
                    <a:pt x="57" y="20"/>
                    <a:pt x="55" y="23"/>
                  </a:cubicBezTo>
                  <a:cubicBezTo>
                    <a:pt x="54" y="26"/>
                    <a:pt x="51" y="24"/>
                    <a:pt x="49" y="25"/>
                  </a:cubicBezTo>
                  <a:cubicBezTo>
                    <a:pt x="48" y="26"/>
                    <a:pt x="46" y="27"/>
                    <a:pt x="46" y="27"/>
                  </a:cubicBezTo>
                  <a:cubicBezTo>
                    <a:pt x="44" y="27"/>
                    <a:pt x="45" y="26"/>
                    <a:pt x="43" y="28"/>
                  </a:cubicBezTo>
                  <a:cubicBezTo>
                    <a:pt x="39" y="31"/>
                    <a:pt x="42" y="36"/>
                    <a:pt x="42" y="39"/>
                  </a:cubicBezTo>
                  <a:cubicBezTo>
                    <a:pt x="42" y="43"/>
                    <a:pt x="40" y="47"/>
                    <a:pt x="42" y="51"/>
                  </a:cubicBezTo>
                  <a:cubicBezTo>
                    <a:pt x="43" y="53"/>
                    <a:pt x="45" y="52"/>
                    <a:pt x="46" y="54"/>
                  </a:cubicBezTo>
                  <a:cubicBezTo>
                    <a:pt x="48" y="55"/>
                    <a:pt x="45" y="59"/>
                    <a:pt x="44" y="61"/>
                  </a:cubicBezTo>
                  <a:cubicBezTo>
                    <a:pt x="43" y="62"/>
                    <a:pt x="40" y="62"/>
                    <a:pt x="39" y="64"/>
                  </a:cubicBezTo>
                  <a:cubicBezTo>
                    <a:pt x="38" y="65"/>
                    <a:pt x="39" y="67"/>
                    <a:pt x="39" y="68"/>
                  </a:cubicBezTo>
                  <a:cubicBezTo>
                    <a:pt x="39" y="69"/>
                    <a:pt x="38" y="70"/>
                    <a:pt x="38" y="72"/>
                  </a:cubicBezTo>
                  <a:cubicBezTo>
                    <a:pt x="37" y="74"/>
                    <a:pt x="37" y="77"/>
                    <a:pt x="35" y="79"/>
                  </a:cubicBezTo>
                  <a:cubicBezTo>
                    <a:pt x="34" y="81"/>
                    <a:pt x="31" y="83"/>
                    <a:pt x="29" y="84"/>
                  </a:cubicBezTo>
                  <a:cubicBezTo>
                    <a:pt x="27" y="86"/>
                    <a:pt x="26" y="86"/>
                    <a:pt x="24" y="87"/>
                  </a:cubicBezTo>
                  <a:cubicBezTo>
                    <a:pt x="21" y="88"/>
                    <a:pt x="20" y="90"/>
                    <a:pt x="18" y="92"/>
                  </a:cubicBezTo>
                  <a:cubicBezTo>
                    <a:pt x="14" y="94"/>
                    <a:pt x="15" y="94"/>
                    <a:pt x="15" y="98"/>
                  </a:cubicBezTo>
                  <a:cubicBezTo>
                    <a:pt x="15" y="102"/>
                    <a:pt x="12" y="109"/>
                    <a:pt x="6" y="107"/>
                  </a:cubicBezTo>
                  <a:cubicBezTo>
                    <a:pt x="4" y="106"/>
                    <a:pt x="5" y="108"/>
                    <a:pt x="4" y="105"/>
                  </a:cubicBezTo>
                  <a:cubicBezTo>
                    <a:pt x="3" y="103"/>
                    <a:pt x="4" y="102"/>
                    <a:pt x="5" y="101"/>
                  </a:cubicBezTo>
                  <a:cubicBezTo>
                    <a:pt x="6" y="98"/>
                    <a:pt x="7" y="97"/>
                    <a:pt x="7" y="94"/>
                  </a:cubicBezTo>
                  <a:cubicBezTo>
                    <a:pt x="8" y="91"/>
                    <a:pt x="6" y="89"/>
                    <a:pt x="4" y="86"/>
                  </a:cubicBezTo>
                  <a:cubicBezTo>
                    <a:pt x="3" y="83"/>
                    <a:pt x="2" y="80"/>
                    <a:pt x="1" y="77"/>
                  </a:cubicBezTo>
                  <a:cubicBezTo>
                    <a:pt x="1" y="74"/>
                    <a:pt x="0" y="71"/>
                    <a:pt x="1" y="67"/>
                  </a:cubicBezTo>
                  <a:cubicBezTo>
                    <a:pt x="1" y="64"/>
                    <a:pt x="3" y="62"/>
                    <a:pt x="3" y="59"/>
                  </a:cubicBezTo>
                  <a:cubicBezTo>
                    <a:pt x="2" y="55"/>
                    <a:pt x="0" y="48"/>
                    <a:pt x="2" y="45"/>
                  </a:cubicBezTo>
                  <a:cubicBezTo>
                    <a:pt x="4" y="43"/>
                    <a:pt x="6" y="42"/>
                    <a:pt x="7" y="41"/>
                  </a:cubicBezTo>
                  <a:cubicBezTo>
                    <a:pt x="9" y="39"/>
                    <a:pt x="11" y="37"/>
                    <a:pt x="13" y="35"/>
                  </a:cubicBezTo>
                  <a:cubicBezTo>
                    <a:pt x="16" y="32"/>
                    <a:pt x="14" y="27"/>
                    <a:pt x="13" y="22"/>
                  </a:cubicBezTo>
                  <a:cubicBezTo>
                    <a:pt x="7" y="8"/>
                    <a:pt x="37" y="17"/>
                    <a:pt x="37" y="5"/>
                  </a:cubicBezTo>
                  <a:cubicBezTo>
                    <a:pt x="39" y="4"/>
                    <a:pt x="40" y="6"/>
                    <a:pt x="42" y="6"/>
                  </a:cubicBezTo>
                  <a:cubicBezTo>
                    <a:pt x="45" y="6"/>
                    <a:pt x="45" y="5"/>
                    <a:pt x="47" y="3"/>
                  </a:cubicBezTo>
                  <a:cubicBezTo>
                    <a:pt x="51" y="0"/>
                    <a:pt x="55" y="1"/>
                    <a:pt x="55" y="6"/>
                  </a:cubicBezTo>
                  <a:lnTo>
                    <a:pt x="55" y="1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1" name="Freeform 62">
              <a:extLst>
                <a:ext uri="{FF2B5EF4-FFF2-40B4-BE49-F238E27FC236}">
                  <a16:creationId xmlns:a16="http://schemas.microsoft.com/office/drawing/2014/main" id="{F7CB4A2A-91C2-4DE7-AF6A-493805A2FA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4025" y="330200"/>
              <a:ext cx="1131888" cy="2497138"/>
            </a:xfrm>
            <a:custGeom>
              <a:avLst/>
              <a:gdLst/>
              <a:ahLst/>
              <a:cxnLst>
                <a:cxn ang="0">
                  <a:pos x="479" y="128"/>
                </a:cxn>
                <a:cxn ang="0">
                  <a:pos x="589" y="963"/>
                </a:cxn>
                <a:cxn ang="0">
                  <a:pos x="528" y="880"/>
                </a:cxn>
                <a:cxn ang="0">
                  <a:pos x="530" y="815"/>
                </a:cxn>
                <a:cxn ang="0">
                  <a:pos x="520" y="761"/>
                </a:cxn>
                <a:cxn ang="0">
                  <a:pos x="501" y="712"/>
                </a:cxn>
                <a:cxn ang="0">
                  <a:pos x="502" y="654"/>
                </a:cxn>
                <a:cxn ang="0">
                  <a:pos x="513" y="378"/>
                </a:cxn>
                <a:cxn ang="0">
                  <a:pos x="491" y="323"/>
                </a:cxn>
                <a:cxn ang="0">
                  <a:pos x="441" y="261"/>
                </a:cxn>
                <a:cxn ang="0">
                  <a:pos x="437" y="185"/>
                </a:cxn>
                <a:cxn ang="0">
                  <a:pos x="458" y="162"/>
                </a:cxn>
                <a:cxn ang="0">
                  <a:pos x="452" y="133"/>
                </a:cxn>
                <a:cxn ang="0">
                  <a:pos x="471" y="84"/>
                </a:cxn>
                <a:cxn ang="0">
                  <a:pos x="434" y="45"/>
                </a:cxn>
                <a:cxn ang="0">
                  <a:pos x="414" y="17"/>
                </a:cxn>
                <a:cxn ang="0">
                  <a:pos x="393" y="3"/>
                </a:cxn>
                <a:cxn ang="0">
                  <a:pos x="374" y="14"/>
                </a:cxn>
                <a:cxn ang="0">
                  <a:pos x="339" y="26"/>
                </a:cxn>
                <a:cxn ang="0">
                  <a:pos x="306" y="64"/>
                </a:cxn>
                <a:cxn ang="0">
                  <a:pos x="292" y="86"/>
                </a:cxn>
                <a:cxn ang="0">
                  <a:pos x="287" y="167"/>
                </a:cxn>
                <a:cxn ang="0">
                  <a:pos x="271" y="186"/>
                </a:cxn>
                <a:cxn ang="0">
                  <a:pos x="256" y="203"/>
                </a:cxn>
                <a:cxn ang="0">
                  <a:pos x="248" y="210"/>
                </a:cxn>
                <a:cxn ang="0">
                  <a:pos x="232" y="220"/>
                </a:cxn>
                <a:cxn ang="0">
                  <a:pos x="200" y="203"/>
                </a:cxn>
                <a:cxn ang="0">
                  <a:pos x="172" y="215"/>
                </a:cxn>
                <a:cxn ang="0">
                  <a:pos x="142" y="217"/>
                </a:cxn>
                <a:cxn ang="0">
                  <a:pos x="105" y="211"/>
                </a:cxn>
                <a:cxn ang="0">
                  <a:pos x="93" y="174"/>
                </a:cxn>
                <a:cxn ang="0">
                  <a:pos x="67" y="135"/>
                </a:cxn>
                <a:cxn ang="0">
                  <a:pos x="34" y="151"/>
                </a:cxn>
                <a:cxn ang="0">
                  <a:pos x="0" y="158"/>
                </a:cxn>
                <a:cxn ang="0">
                  <a:pos x="22" y="179"/>
                </a:cxn>
                <a:cxn ang="0">
                  <a:pos x="66" y="225"/>
                </a:cxn>
                <a:cxn ang="0">
                  <a:pos x="105" y="243"/>
                </a:cxn>
                <a:cxn ang="0">
                  <a:pos x="144" y="280"/>
                </a:cxn>
                <a:cxn ang="0">
                  <a:pos x="170" y="319"/>
                </a:cxn>
                <a:cxn ang="0">
                  <a:pos x="167" y="378"/>
                </a:cxn>
                <a:cxn ang="0">
                  <a:pos x="175" y="410"/>
                </a:cxn>
                <a:cxn ang="0">
                  <a:pos x="190" y="485"/>
                </a:cxn>
                <a:cxn ang="0">
                  <a:pos x="180" y="558"/>
                </a:cxn>
                <a:cxn ang="0">
                  <a:pos x="196" y="616"/>
                </a:cxn>
                <a:cxn ang="0">
                  <a:pos x="262" y="666"/>
                </a:cxn>
                <a:cxn ang="0">
                  <a:pos x="261" y="726"/>
                </a:cxn>
                <a:cxn ang="0">
                  <a:pos x="222" y="758"/>
                </a:cxn>
                <a:cxn ang="0">
                  <a:pos x="164" y="841"/>
                </a:cxn>
                <a:cxn ang="0">
                  <a:pos x="124" y="871"/>
                </a:cxn>
                <a:cxn ang="0">
                  <a:pos x="96" y="932"/>
                </a:cxn>
                <a:cxn ang="0">
                  <a:pos x="50" y="969"/>
                </a:cxn>
                <a:cxn ang="0">
                  <a:pos x="43" y="1013"/>
                </a:cxn>
                <a:cxn ang="0">
                  <a:pos x="60" y="1098"/>
                </a:cxn>
                <a:cxn ang="0">
                  <a:pos x="61" y="1178"/>
                </a:cxn>
                <a:cxn ang="0">
                  <a:pos x="50" y="1251"/>
                </a:cxn>
                <a:cxn ang="0">
                  <a:pos x="87" y="1294"/>
                </a:cxn>
                <a:cxn ang="0">
                  <a:pos x="130" y="1311"/>
                </a:cxn>
                <a:cxn ang="0">
                  <a:pos x="167" y="1328"/>
                </a:cxn>
                <a:cxn ang="0">
                  <a:pos x="210" y="1302"/>
                </a:cxn>
                <a:cxn ang="0">
                  <a:pos x="282" y="1292"/>
                </a:cxn>
                <a:cxn ang="0">
                  <a:pos x="347" y="1265"/>
                </a:cxn>
                <a:cxn ang="0">
                  <a:pos x="401" y="1244"/>
                </a:cxn>
                <a:cxn ang="0">
                  <a:pos x="494" y="1162"/>
                </a:cxn>
              </a:cxnLst>
              <a:rect l="0" t="0" r="r" b="b"/>
              <a:pathLst>
                <a:path w="605" h="1336">
                  <a:moveTo>
                    <a:pt x="477" y="135"/>
                  </a:moveTo>
                  <a:cubicBezTo>
                    <a:pt x="480" y="130"/>
                    <a:pt x="483" y="125"/>
                    <a:pt x="486" y="120"/>
                  </a:cubicBezTo>
                  <a:cubicBezTo>
                    <a:pt x="484" y="120"/>
                    <a:pt x="483" y="120"/>
                    <a:pt x="481" y="121"/>
                  </a:cubicBezTo>
                  <a:cubicBezTo>
                    <a:pt x="480" y="122"/>
                    <a:pt x="479" y="123"/>
                    <a:pt x="478" y="124"/>
                  </a:cubicBezTo>
                  <a:cubicBezTo>
                    <a:pt x="478" y="125"/>
                    <a:pt x="479" y="127"/>
                    <a:pt x="479" y="128"/>
                  </a:cubicBezTo>
                  <a:cubicBezTo>
                    <a:pt x="478" y="130"/>
                    <a:pt x="478" y="133"/>
                    <a:pt x="477" y="135"/>
                  </a:cubicBezTo>
                  <a:moveTo>
                    <a:pt x="603" y="991"/>
                  </a:moveTo>
                  <a:cubicBezTo>
                    <a:pt x="603" y="988"/>
                    <a:pt x="602" y="986"/>
                    <a:pt x="600" y="983"/>
                  </a:cubicBezTo>
                  <a:cubicBezTo>
                    <a:pt x="598" y="979"/>
                    <a:pt x="595" y="976"/>
                    <a:pt x="594" y="972"/>
                  </a:cubicBezTo>
                  <a:cubicBezTo>
                    <a:pt x="592" y="968"/>
                    <a:pt x="592" y="967"/>
                    <a:pt x="589" y="963"/>
                  </a:cubicBezTo>
                  <a:cubicBezTo>
                    <a:pt x="586" y="959"/>
                    <a:pt x="584" y="953"/>
                    <a:pt x="583" y="949"/>
                  </a:cubicBezTo>
                  <a:cubicBezTo>
                    <a:pt x="580" y="942"/>
                    <a:pt x="576" y="936"/>
                    <a:pt x="573" y="929"/>
                  </a:cubicBezTo>
                  <a:cubicBezTo>
                    <a:pt x="566" y="917"/>
                    <a:pt x="553" y="908"/>
                    <a:pt x="544" y="898"/>
                  </a:cubicBezTo>
                  <a:cubicBezTo>
                    <a:pt x="541" y="893"/>
                    <a:pt x="537" y="891"/>
                    <a:pt x="533" y="887"/>
                  </a:cubicBezTo>
                  <a:cubicBezTo>
                    <a:pt x="530" y="885"/>
                    <a:pt x="528" y="884"/>
                    <a:pt x="528" y="880"/>
                  </a:cubicBezTo>
                  <a:cubicBezTo>
                    <a:pt x="527" y="878"/>
                    <a:pt x="529" y="874"/>
                    <a:pt x="529" y="872"/>
                  </a:cubicBezTo>
                  <a:cubicBezTo>
                    <a:pt x="529" y="868"/>
                    <a:pt x="529" y="865"/>
                    <a:pt x="530" y="862"/>
                  </a:cubicBezTo>
                  <a:cubicBezTo>
                    <a:pt x="533" y="852"/>
                    <a:pt x="530" y="841"/>
                    <a:pt x="535" y="832"/>
                  </a:cubicBezTo>
                  <a:cubicBezTo>
                    <a:pt x="540" y="821"/>
                    <a:pt x="535" y="834"/>
                    <a:pt x="532" y="823"/>
                  </a:cubicBezTo>
                  <a:cubicBezTo>
                    <a:pt x="531" y="821"/>
                    <a:pt x="531" y="818"/>
                    <a:pt x="530" y="815"/>
                  </a:cubicBezTo>
                  <a:cubicBezTo>
                    <a:pt x="526" y="806"/>
                    <a:pt x="519" y="800"/>
                    <a:pt x="514" y="792"/>
                  </a:cubicBezTo>
                  <a:cubicBezTo>
                    <a:pt x="513" y="791"/>
                    <a:pt x="513" y="789"/>
                    <a:pt x="512" y="788"/>
                  </a:cubicBezTo>
                  <a:cubicBezTo>
                    <a:pt x="511" y="786"/>
                    <a:pt x="510" y="789"/>
                    <a:pt x="510" y="786"/>
                  </a:cubicBezTo>
                  <a:cubicBezTo>
                    <a:pt x="509" y="783"/>
                    <a:pt x="513" y="780"/>
                    <a:pt x="514" y="778"/>
                  </a:cubicBezTo>
                  <a:cubicBezTo>
                    <a:pt x="517" y="772"/>
                    <a:pt x="518" y="766"/>
                    <a:pt x="520" y="761"/>
                  </a:cubicBezTo>
                  <a:cubicBezTo>
                    <a:pt x="521" y="759"/>
                    <a:pt x="524" y="758"/>
                    <a:pt x="522" y="755"/>
                  </a:cubicBezTo>
                  <a:cubicBezTo>
                    <a:pt x="519" y="750"/>
                    <a:pt x="509" y="749"/>
                    <a:pt x="504" y="746"/>
                  </a:cubicBezTo>
                  <a:cubicBezTo>
                    <a:pt x="500" y="742"/>
                    <a:pt x="497" y="738"/>
                    <a:pt x="495" y="733"/>
                  </a:cubicBezTo>
                  <a:cubicBezTo>
                    <a:pt x="493" y="729"/>
                    <a:pt x="492" y="719"/>
                    <a:pt x="494" y="714"/>
                  </a:cubicBezTo>
                  <a:cubicBezTo>
                    <a:pt x="495" y="710"/>
                    <a:pt x="497" y="713"/>
                    <a:pt x="501" y="712"/>
                  </a:cubicBezTo>
                  <a:cubicBezTo>
                    <a:pt x="505" y="711"/>
                    <a:pt x="503" y="710"/>
                    <a:pt x="505" y="708"/>
                  </a:cubicBezTo>
                  <a:cubicBezTo>
                    <a:pt x="509" y="703"/>
                    <a:pt x="510" y="699"/>
                    <a:pt x="505" y="693"/>
                  </a:cubicBezTo>
                  <a:cubicBezTo>
                    <a:pt x="502" y="691"/>
                    <a:pt x="500" y="691"/>
                    <a:pt x="499" y="688"/>
                  </a:cubicBezTo>
                  <a:cubicBezTo>
                    <a:pt x="497" y="685"/>
                    <a:pt x="499" y="679"/>
                    <a:pt x="499" y="676"/>
                  </a:cubicBezTo>
                  <a:cubicBezTo>
                    <a:pt x="499" y="668"/>
                    <a:pt x="498" y="661"/>
                    <a:pt x="502" y="654"/>
                  </a:cubicBezTo>
                  <a:cubicBezTo>
                    <a:pt x="504" y="651"/>
                    <a:pt x="504" y="652"/>
                    <a:pt x="505" y="649"/>
                  </a:cubicBezTo>
                  <a:cubicBezTo>
                    <a:pt x="505" y="646"/>
                    <a:pt x="504" y="643"/>
                    <a:pt x="506" y="640"/>
                  </a:cubicBezTo>
                  <a:cubicBezTo>
                    <a:pt x="512" y="633"/>
                    <a:pt x="530" y="647"/>
                    <a:pt x="516" y="607"/>
                  </a:cubicBezTo>
                  <a:cubicBezTo>
                    <a:pt x="514" y="599"/>
                    <a:pt x="460" y="469"/>
                    <a:pt x="462" y="461"/>
                  </a:cubicBezTo>
                  <a:cubicBezTo>
                    <a:pt x="464" y="455"/>
                    <a:pt x="508" y="393"/>
                    <a:pt x="513" y="378"/>
                  </a:cubicBezTo>
                  <a:cubicBezTo>
                    <a:pt x="515" y="372"/>
                    <a:pt x="519" y="366"/>
                    <a:pt x="515" y="359"/>
                  </a:cubicBezTo>
                  <a:cubicBezTo>
                    <a:pt x="514" y="357"/>
                    <a:pt x="511" y="355"/>
                    <a:pt x="509" y="353"/>
                  </a:cubicBezTo>
                  <a:cubicBezTo>
                    <a:pt x="507" y="351"/>
                    <a:pt x="506" y="349"/>
                    <a:pt x="504" y="346"/>
                  </a:cubicBezTo>
                  <a:cubicBezTo>
                    <a:pt x="503" y="343"/>
                    <a:pt x="500" y="340"/>
                    <a:pt x="498" y="337"/>
                  </a:cubicBezTo>
                  <a:cubicBezTo>
                    <a:pt x="496" y="332"/>
                    <a:pt x="493" y="327"/>
                    <a:pt x="491" y="323"/>
                  </a:cubicBezTo>
                  <a:cubicBezTo>
                    <a:pt x="488" y="316"/>
                    <a:pt x="484" y="312"/>
                    <a:pt x="479" y="307"/>
                  </a:cubicBezTo>
                  <a:cubicBezTo>
                    <a:pt x="476" y="304"/>
                    <a:pt x="477" y="304"/>
                    <a:pt x="472" y="302"/>
                  </a:cubicBezTo>
                  <a:cubicBezTo>
                    <a:pt x="470" y="301"/>
                    <a:pt x="468" y="299"/>
                    <a:pt x="466" y="297"/>
                  </a:cubicBezTo>
                  <a:cubicBezTo>
                    <a:pt x="458" y="292"/>
                    <a:pt x="449" y="293"/>
                    <a:pt x="444" y="284"/>
                  </a:cubicBezTo>
                  <a:cubicBezTo>
                    <a:pt x="440" y="277"/>
                    <a:pt x="441" y="269"/>
                    <a:pt x="441" y="261"/>
                  </a:cubicBezTo>
                  <a:cubicBezTo>
                    <a:pt x="441" y="252"/>
                    <a:pt x="441" y="243"/>
                    <a:pt x="441" y="235"/>
                  </a:cubicBezTo>
                  <a:cubicBezTo>
                    <a:pt x="441" y="226"/>
                    <a:pt x="443" y="219"/>
                    <a:pt x="444" y="211"/>
                  </a:cubicBezTo>
                  <a:cubicBezTo>
                    <a:pt x="446" y="203"/>
                    <a:pt x="445" y="194"/>
                    <a:pt x="449" y="188"/>
                  </a:cubicBezTo>
                  <a:cubicBezTo>
                    <a:pt x="447" y="188"/>
                    <a:pt x="447" y="188"/>
                    <a:pt x="447" y="188"/>
                  </a:cubicBezTo>
                  <a:cubicBezTo>
                    <a:pt x="443" y="188"/>
                    <a:pt x="434" y="189"/>
                    <a:pt x="437" y="185"/>
                  </a:cubicBezTo>
                  <a:cubicBezTo>
                    <a:pt x="436" y="185"/>
                    <a:pt x="442" y="181"/>
                    <a:pt x="442" y="181"/>
                  </a:cubicBezTo>
                  <a:cubicBezTo>
                    <a:pt x="446" y="180"/>
                    <a:pt x="445" y="182"/>
                    <a:pt x="448" y="178"/>
                  </a:cubicBezTo>
                  <a:cubicBezTo>
                    <a:pt x="452" y="174"/>
                    <a:pt x="457" y="171"/>
                    <a:pt x="460" y="166"/>
                  </a:cubicBezTo>
                  <a:cubicBezTo>
                    <a:pt x="461" y="165"/>
                    <a:pt x="462" y="164"/>
                    <a:pt x="462" y="163"/>
                  </a:cubicBezTo>
                  <a:cubicBezTo>
                    <a:pt x="461" y="163"/>
                    <a:pt x="459" y="164"/>
                    <a:pt x="458" y="162"/>
                  </a:cubicBezTo>
                  <a:cubicBezTo>
                    <a:pt x="456" y="161"/>
                    <a:pt x="455" y="159"/>
                    <a:pt x="454" y="158"/>
                  </a:cubicBezTo>
                  <a:cubicBezTo>
                    <a:pt x="453" y="156"/>
                    <a:pt x="452" y="154"/>
                    <a:pt x="451" y="152"/>
                  </a:cubicBezTo>
                  <a:cubicBezTo>
                    <a:pt x="450" y="150"/>
                    <a:pt x="450" y="148"/>
                    <a:pt x="449" y="147"/>
                  </a:cubicBezTo>
                  <a:cubicBezTo>
                    <a:pt x="447" y="143"/>
                    <a:pt x="448" y="140"/>
                    <a:pt x="450" y="136"/>
                  </a:cubicBezTo>
                  <a:cubicBezTo>
                    <a:pt x="450" y="135"/>
                    <a:pt x="451" y="134"/>
                    <a:pt x="452" y="133"/>
                  </a:cubicBezTo>
                  <a:cubicBezTo>
                    <a:pt x="454" y="130"/>
                    <a:pt x="455" y="127"/>
                    <a:pt x="456" y="125"/>
                  </a:cubicBezTo>
                  <a:cubicBezTo>
                    <a:pt x="460" y="118"/>
                    <a:pt x="463" y="112"/>
                    <a:pt x="467" y="107"/>
                  </a:cubicBezTo>
                  <a:cubicBezTo>
                    <a:pt x="469" y="104"/>
                    <a:pt x="470" y="102"/>
                    <a:pt x="472" y="100"/>
                  </a:cubicBezTo>
                  <a:cubicBezTo>
                    <a:pt x="473" y="98"/>
                    <a:pt x="474" y="96"/>
                    <a:pt x="474" y="94"/>
                  </a:cubicBezTo>
                  <a:cubicBezTo>
                    <a:pt x="474" y="91"/>
                    <a:pt x="472" y="87"/>
                    <a:pt x="471" y="84"/>
                  </a:cubicBezTo>
                  <a:cubicBezTo>
                    <a:pt x="469" y="80"/>
                    <a:pt x="468" y="77"/>
                    <a:pt x="467" y="73"/>
                  </a:cubicBezTo>
                  <a:cubicBezTo>
                    <a:pt x="466" y="72"/>
                    <a:pt x="466" y="70"/>
                    <a:pt x="466" y="69"/>
                  </a:cubicBezTo>
                  <a:cubicBezTo>
                    <a:pt x="465" y="67"/>
                    <a:pt x="464" y="66"/>
                    <a:pt x="462" y="65"/>
                  </a:cubicBezTo>
                  <a:cubicBezTo>
                    <a:pt x="458" y="63"/>
                    <a:pt x="456" y="59"/>
                    <a:pt x="452" y="56"/>
                  </a:cubicBezTo>
                  <a:cubicBezTo>
                    <a:pt x="447" y="51"/>
                    <a:pt x="441" y="48"/>
                    <a:pt x="434" y="45"/>
                  </a:cubicBezTo>
                  <a:cubicBezTo>
                    <a:pt x="432" y="43"/>
                    <a:pt x="431" y="42"/>
                    <a:pt x="430" y="40"/>
                  </a:cubicBezTo>
                  <a:cubicBezTo>
                    <a:pt x="429" y="39"/>
                    <a:pt x="428" y="37"/>
                    <a:pt x="428" y="36"/>
                  </a:cubicBezTo>
                  <a:cubicBezTo>
                    <a:pt x="426" y="34"/>
                    <a:pt x="425" y="32"/>
                    <a:pt x="423" y="29"/>
                  </a:cubicBezTo>
                  <a:cubicBezTo>
                    <a:pt x="422" y="26"/>
                    <a:pt x="419" y="24"/>
                    <a:pt x="417" y="21"/>
                  </a:cubicBezTo>
                  <a:cubicBezTo>
                    <a:pt x="417" y="21"/>
                    <a:pt x="415" y="18"/>
                    <a:pt x="414" y="17"/>
                  </a:cubicBezTo>
                  <a:cubicBezTo>
                    <a:pt x="412" y="16"/>
                    <a:pt x="410" y="17"/>
                    <a:pt x="409" y="14"/>
                  </a:cubicBezTo>
                  <a:cubicBezTo>
                    <a:pt x="408" y="13"/>
                    <a:pt x="409" y="10"/>
                    <a:pt x="409" y="9"/>
                  </a:cubicBezTo>
                  <a:cubicBezTo>
                    <a:pt x="409" y="8"/>
                    <a:pt x="408" y="5"/>
                    <a:pt x="407" y="5"/>
                  </a:cubicBezTo>
                  <a:cubicBezTo>
                    <a:pt x="405" y="2"/>
                    <a:pt x="408" y="4"/>
                    <a:pt x="404" y="3"/>
                  </a:cubicBezTo>
                  <a:cubicBezTo>
                    <a:pt x="401" y="3"/>
                    <a:pt x="397" y="5"/>
                    <a:pt x="393" y="3"/>
                  </a:cubicBezTo>
                  <a:cubicBezTo>
                    <a:pt x="392" y="2"/>
                    <a:pt x="392" y="1"/>
                    <a:pt x="390" y="0"/>
                  </a:cubicBezTo>
                  <a:cubicBezTo>
                    <a:pt x="389" y="1"/>
                    <a:pt x="388" y="1"/>
                    <a:pt x="387" y="1"/>
                  </a:cubicBezTo>
                  <a:cubicBezTo>
                    <a:pt x="386" y="1"/>
                    <a:pt x="385" y="2"/>
                    <a:pt x="385" y="2"/>
                  </a:cubicBezTo>
                  <a:cubicBezTo>
                    <a:pt x="382" y="4"/>
                    <a:pt x="381" y="7"/>
                    <a:pt x="379" y="9"/>
                  </a:cubicBezTo>
                  <a:cubicBezTo>
                    <a:pt x="377" y="11"/>
                    <a:pt x="375" y="12"/>
                    <a:pt x="374" y="14"/>
                  </a:cubicBezTo>
                  <a:cubicBezTo>
                    <a:pt x="371" y="17"/>
                    <a:pt x="372" y="21"/>
                    <a:pt x="371" y="25"/>
                  </a:cubicBezTo>
                  <a:cubicBezTo>
                    <a:pt x="368" y="26"/>
                    <a:pt x="365" y="26"/>
                    <a:pt x="362" y="27"/>
                  </a:cubicBezTo>
                  <a:cubicBezTo>
                    <a:pt x="359" y="27"/>
                    <a:pt x="355" y="29"/>
                    <a:pt x="352" y="28"/>
                  </a:cubicBezTo>
                  <a:cubicBezTo>
                    <a:pt x="352" y="28"/>
                    <a:pt x="352" y="26"/>
                    <a:pt x="352" y="26"/>
                  </a:cubicBezTo>
                  <a:cubicBezTo>
                    <a:pt x="348" y="25"/>
                    <a:pt x="343" y="26"/>
                    <a:pt x="339" y="26"/>
                  </a:cubicBezTo>
                  <a:cubicBezTo>
                    <a:pt x="335" y="26"/>
                    <a:pt x="330" y="25"/>
                    <a:pt x="326" y="27"/>
                  </a:cubicBezTo>
                  <a:cubicBezTo>
                    <a:pt x="321" y="30"/>
                    <a:pt x="315" y="36"/>
                    <a:pt x="312" y="41"/>
                  </a:cubicBezTo>
                  <a:cubicBezTo>
                    <a:pt x="311" y="43"/>
                    <a:pt x="311" y="46"/>
                    <a:pt x="309" y="48"/>
                  </a:cubicBezTo>
                  <a:cubicBezTo>
                    <a:pt x="308" y="49"/>
                    <a:pt x="307" y="50"/>
                    <a:pt x="307" y="52"/>
                  </a:cubicBezTo>
                  <a:cubicBezTo>
                    <a:pt x="306" y="56"/>
                    <a:pt x="309" y="61"/>
                    <a:pt x="306" y="64"/>
                  </a:cubicBezTo>
                  <a:cubicBezTo>
                    <a:pt x="303" y="67"/>
                    <a:pt x="297" y="65"/>
                    <a:pt x="295" y="69"/>
                  </a:cubicBezTo>
                  <a:cubicBezTo>
                    <a:pt x="294" y="70"/>
                    <a:pt x="294" y="71"/>
                    <a:pt x="294" y="72"/>
                  </a:cubicBezTo>
                  <a:cubicBezTo>
                    <a:pt x="293" y="73"/>
                    <a:pt x="293" y="73"/>
                    <a:pt x="293" y="74"/>
                  </a:cubicBezTo>
                  <a:cubicBezTo>
                    <a:pt x="292" y="75"/>
                    <a:pt x="293" y="77"/>
                    <a:pt x="293" y="78"/>
                  </a:cubicBezTo>
                  <a:cubicBezTo>
                    <a:pt x="293" y="80"/>
                    <a:pt x="292" y="83"/>
                    <a:pt x="292" y="86"/>
                  </a:cubicBezTo>
                  <a:cubicBezTo>
                    <a:pt x="291" y="91"/>
                    <a:pt x="292" y="97"/>
                    <a:pt x="290" y="102"/>
                  </a:cubicBezTo>
                  <a:cubicBezTo>
                    <a:pt x="289" y="107"/>
                    <a:pt x="288" y="110"/>
                    <a:pt x="288" y="115"/>
                  </a:cubicBezTo>
                  <a:cubicBezTo>
                    <a:pt x="288" y="121"/>
                    <a:pt x="288" y="128"/>
                    <a:pt x="288" y="135"/>
                  </a:cubicBezTo>
                  <a:cubicBezTo>
                    <a:pt x="288" y="143"/>
                    <a:pt x="288" y="152"/>
                    <a:pt x="288" y="160"/>
                  </a:cubicBezTo>
                  <a:cubicBezTo>
                    <a:pt x="288" y="164"/>
                    <a:pt x="288" y="165"/>
                    <a:pt x="287" y="167"/>
                  </a:cubicBezTo>
                  <a:cubicBezTo>
                    <a:pt x="286" y="169"/>
                    <a:pt x="285" y="169"/>
                    <a:pt x="284" y="170"/>
                  </a:cubicBezTo>
                  <a:cubicBezTo>
                    <a:pt x="283" y="172"/>
                    <a:pt x="282" y="175"/>
                    <a:pt x="281" y="177"/>
                  </a:cubicBezTo>
                  <a:cubicBezTo>
                    <a:pt x="280" y="178"/>
                    <a:pt x="279" y="180"/>
                    <a:pt x="278" y="183"/>
                  </a:cubicBezTo>
                  <a:cubicBezTo>
                    <a:pt x="278" y="184"/>
                    <a:pt x="279" y="185"/>
                    <a:pt x="278" y="187"/>
                  </a:cubicBezTo>
                  <a:cubicBezTo>
                    <a:pt x="275" y="187"/>
                    <a:pt x="274" y="186"/>
                    <a:pt x="271" y="186"/>
                  </a:cubicBezTo>
                  <a:cubicBezTo>
                    <a:pt x="268" y="185"/>
                    <a:pt x="268" y="185"/>
                    <a:pt x="266" y="189"/>
                  </a:cubicBezTo>
                  <a:cubicBezTo>
                    <a:pt x="265" y="192"/>
                    <a:pt x="265" y="194"/>
                    <a:pt x="263" y="196"/>
                  </a:cubicBezTo>
                  <a:cubicBezTo>
                    <a:pt x="263" y="196"/>
                    <a:pt x="260" y="198"/>
                    <a:pt x="260" y="198"/>
                  </a:cubicBezTo>
                  <a:cubicBezTo>
                    <a:pt x="260" y="199"/>
                    <a:pt x="259" y="200"/>
                    <a:pt x="258" y="201"/>
                  </a:cubicBezTo>
                  <a:cubicBezTo>
                    <a:pt x="257" y="202"/>
                    <a:pt x="256" y="201"/>
                    <a:pt x="256" y="203"/>
                  </a:cubicBezTo>
                  <a:cubicBezTo>
                    <a:pt x="255" y="203"/>
                    <a:pt x="255" y="202"/>
                    <a:pt x="255" y="201"/>
                  </a:cubicBezTo>
                  <a:cubicBezTo>
                    <a:pt x="254" y="201"/>
                    <a:pt x="254" y="199"/>
                    <a:pt x="252" y="198"/>
                  </a:cubicBezTo>
                  <a:cubicBezTo>
                    <a:pt x="249" y="195"/>
                    <a:pt x="244" y="196"/>
                    <a:pt x="241" y="195"/>
                  </a:cubicBezTo>
                  <a:cubicBezTo>
                    <a:pt x="243" y="198"/>
                    <a:pt x="250" y="201"/>
                    <a:pt x="254" y="201"/>
                  </a:cubicBezTo>
                  <a:cubicBezTo>
                    <a:pt x="252" y="203"/>
                    <a:pt x="249" y="207"/>
                    <a:pt x="248" y="210"/>
                  </a:cubicBezTo>
                  <a:cubicBezTo>
                    <a:pt x="247" y="214"/>
                    <a:pt x="255" y="224"/>
                    <a:pt x="249" y="227"/>
                  </a:cubicBezTo>
                  <a:cubicBezTo>
                    <a:pt x="247" y="228"/>
                    <a:pt x="245" y="226"/>
                    <a:pt x="243" y="228"/>
                  </a:cubicBezTo>
                  <a:cubicBezTo>
                    <a:pt x="241" y="229"/>
                    <a:pt x="241" y="231"/>
                    <a:pt x="239" y="232"/>
                  </a:cubicBezTo>
                  <a:cubicBezTo>
                    <a:pt x="236" y="232"/>
                    <a:pt x="237" y="226"/>
                    <a:pt x="235" y="224"/>
                  </a:cubicBezTo>
                  <a:cubicBezTo>
                    <a:pt x="234" y="223"/>
                    <a:pt x="234" y="221"/>
                    <a:pt x="232" y="220"/>
                  </a:cubicBezTo>
                  <a:cubicBezTo>
                    <a:pt x="229" y="219"/>
                    <a:pt x="225" y="217"/>
                    <a:pt x="222" y="216"/>
                  </a:cubicBezTo>
                  <a:cubicBezTo>
                    <a:pt x="220" y="215"/>
                    <a:pt x="218" y="215"/>
                    <a:pt x="217" y="214"/>
                  </a:cubicBezTo>
                  <a:cubicBezTo>
                    <a:pt x="216" y="213"/>
                    <a:pt x="215" y="213"/>
                    <a:pt x="214" y="213"/>
                  </a:cubicBezTo>
                  <a:cubicBezTo>
                    <a:pt x="214" y="212"/>
                    <a:pt x="213" y="212"/>
                    <a:pt x="213" y="211"/>
                  </a:cubicBezTo>
                  <a:cubicBezTo>
                    <a:pt x="209" y="208"/>
                    <a:pt x="204" y="206"/>
                    <a:pt x="200" y="203"/>
                  </a:cubicBezTo>
                  <a:cubicBezTo>
                    <a:pt x="195" y="200"/>
                    <a:pt x="190" y="196"/>
                    <a:pt x="184" y="196"/>
                  </a:cubicBezTo>
                  <a:cubicBezTo>
                    <a:pt x="183" y="198"/>
                    <a:pt x="183" y="200"/>
                    <a:pt x="182" y="202"/>
                  </a:cubicBezTo>
                  <a:cubicBezTo>
                    <a:pt x="181" y="203"/>
                    <a:pt x="179" y="205"/>
                    <a:pt x="178" y="206"/>
                  </a:cubicBezTo>
                  <a:cubicBezTo>
                    <a:pt x="176" y="209"/>
                    <a:pt x="176" y="212"/>
                    <a:pt x="175" y="214"/>
                  </a:cubicBezTo>
                  <a:cubicBezTo>
                    <a:pt x="174" y="215"/>
                    <a:pt x="172" y="214"/>
                    <a:pt x="172" y="215"/>
                  </a:cubicBezTo>
                  <a:cubicBezTo>
                    <a:pt x="172" y="216"/>
                    <a:pt x="172" y="217"/>
                    <a:pt x="172" y="217"/>
                  </a:cubicBezTo>
                  <a:cubicBezTo>
                    <a:pt x="170" y="220"/>
                    <a:pt x="172" y="220"/>
                    <a:pt x="169" y="220"/>
                  </a:cubicBezTo>
                  <a:cubicBezTo>
                    <a:pt x="167" y="220"/>
                    <a:pt x="165" y="220"/>
                    <a:pt x="163" y="220"/>
                  </a:cubicBezTo>
                  <a:cubicBezTo>
                    <a:pt x="159" y="220"/>
                    <a:pt x="154" y="224"/>
                    <a:pt x="150" y="223"/>
                  </a:cubicBezTo>
                  <a:cubicBezTo>
                    <a:pt x="146" y="222"/>
                    <a:pt x="146" y="219"/>
                    <a:pt x="142" y="217"/>
                  </a:cubicBezTo>
                  <a:cubicBezTo>
                    <a:pt x="140" y="217"/>
                    <a:pt x="137" y="217"/>
                    <a:pt x="135" y="217"/>
                  </a:cubicBezTo>
                  <a:cubicBezTo>
                    <a:pt x="133" y="217"/>
                    <a:pt x="132" y="216"/>
                    <a:pt x="130" y="215"/>
                  </a:cubicBezTo>
                  <a:cubicBezTo>
                    <a:pt x="125" y="213"/>
                    <a:pt x="121" y="212"/>
                    <a:pt x="115" y="211"/>
                  </a:cubicBezTo>
                  <a:cubicBezTo>
                    <a:pt x="114" y="210"/>
                    <a:pt x="112" y="210"/>
                    <a:pt x="110" y="210"/>
                  </a:cubicBezTo>
                  <a:cubicBezTo>
                    <a:pt x="108" y="210"/>
                    <a:pt x="107" y="211"/>
                    <a:pt x="105" y="211"/>
                  </a:cubicBezTo>
                  <a:cubicBezTo>
                    <a:pt x="104" y="204"/>
                    <a:pt x="105" y="196"/>
                    <a:pt x="104" y="189"/>
                  </a:cubicBezTo>
                  <a:cubicBezTo>
                    <a:pt x="103" y="186"/>
                    <a:pt x="103" y="188"/>
                    <a:pt x="101" y="186"/>
                  </a:cubicBezTo>
                  <a:cubicBezTo>
                    <a:pt x="100" y="185"/>
                    <a:pt x="100" y="184"/>
                    <a:pt x="99" y="183"/>
                  </a:cubicBezTo>
                  <a:cubicBezTo>
                    <a:pt x="99" y="181"/>
                    <a:pt x="97" y="180"/>
                    <a:pt x="96" y="178"/>
                  </a:cubicBezTo>
                  <a:cubicBezTo>
                    <a:pt x="95" y="177"/>
                    <a:pt x="94" y="175"/>
                    <a:pt x="93" y="174"/>
                  </a:cubicBezTo>
                  <a:cubicBezTo>
                    <a:pt x="91" y="171"/>
                    <a:pt x="88" y="167"/>
                    <a:pt x="85" y="164"/>
                  </a:cubicBezTo>
                  <a:cubicBezTo>
                    <a:pt x="83" y="162"/>
                    <a:pt x="81" y="160"/>
                    <a:pt x="79" y="157"/>
                  </a:cubicBezTo>
                  <a:cubicBezTo>
                    <a:pt x="76" y="153"/>
                    <a:pt x="74" y="148"/>
                    <a:pt x="73" y="144"/>
                  </a:cubicBezTo>
                  <a:cubicBezTo>
                    <a:pt x="72" y="142"/>
                    <a:pt x="72" y="141"/>
                    <a:pt x="71" y="139"/>
                  </a:cubicBezTo>
                  <a:cubicBezTo>
                    <a:pt x="70" y="138"/>
                    <a:pt x="68" y="137"/>
                    <a:pt x="67" y="135"/>
                  </a:cubicBezTo>
                  <a:cubicBezTo>
                    <a:pt x="66" y="133"/>
                    <a:pt x="66" y="129"/>
                    <a:pt x="64" y="127"/>
                  </a:cubicBezTo>
                  <a:cubicBezTo>
                    <a:pt x="62" y="125"/>
                    <a:pt x="57" y="126"/>
                    <a:pt x="55" y="126"/>
                  </a:cubicBezTo>
                  <a:cubicBezTo>
                    <a:pt x="49" y="126"/>
                    <a:pt x="44" y="129"/>
                    <a:pt x="39" y="130"/>
                  </a:cubicBezTo>
                  <a:cubicBezTo>
                    <a:pt x="34" y="132"/>
                    <a:pt x="27" y="134"/>
                    <a:pt x="30" y="141"/>
                  </a:cubicBezTo>
                  <a:cubicBezTo>
                    <a:pt x="31" y="144"/>
                    <a:pt x="33" y="146"/>
                    <a:pt x="34" y="151"/>
                  </a:cubicBezTo>
                  <a:cubicBezTo>
                    <a:pt x="34" y="154"/>
                    <a:pt x="34" y="158"/>
                    <a:pt x="34" y="161"/>
                  </a:cubicBezTo>
                  <a:cubicBezTo>
                    <a:pt x="31" y="160"/>
                    <a:pt x="28" y="158"/>
                    <a:pt x="25" y="157"/>
                  </a:cubicBezTo>
                  <a:cubicBezTo>
                    <a:pt x="23" y="156"/>
                    <a:pt x="19" y="153"/>
                    <a:pt x="17" y="154"/>
                  </a:cubicBezTo>
                  <a:cubicBezTo>
                    <a:pt x="17" y="154"/>
                    <a:pt x="17" y="155"/>
                    <a:pt x="17" y="156"/>
                  </a:cubicBezTo>
                  <a:cubicBezTo>
                    <a:pt x="11" y="157"/>
                    <a:pt x="5" y="157"/>
                    <a:pt x="0" y="158"/>
                  </a:cubicBezTo>
                  <a:cubicBezTo>
                    <a:pt x="1" y="157"/>
                    <a:pt x="3" y="157"/>
                    <a:pt x="5" y="157"/>
                  </a:cubicBezTo>
                  <a:cubicBezTo>
                    <a:pt x="5" y="157"/>
                    <a:pt x="5" y="158"/>
                    <a:pt x="5" y="158"/>
                  </a:cubicBezTo>
                  <a:cubicBezTo>
                    <a:pt x="6" y="159"/>
                    <a:pt x="6" y="161"/>
                    <a:pt x="7" y="162"/>
                  </a:cubicBezTo>
                  <a:cubicBezTo>
                    <a:pt x="8" y="165"/>
                    <a:pt x="11" y="168"/>
                    <a:pt x="13" y="171"/>
                  </a:cubicBezTo>
                  <a:cubicBezTo>
                    <a:pt x="16" y="174"/>
                    <a:pt x="19" y="176"/>
                    <a:pt x="22" y="179"/>
                  </a:cubicBezTo>
                  <a:cubicBezTo>
                    <a:pt x="25" y="181"/>
                    <a:pt x="26" y="183"/>
                    <a:pt x="28" y="185"/>
                  </a:cubicBezTo>
                  <a:cubicBezTo>
                    <a:pt x="31" y="187"/>
                    <a:pt x="34" y="189"/>
                    <a:pt x="37" y="192"/>
                  </a:cubicBezTo>
                  <a:cubicBezTo>
                    <a:pt x="40" y="196"/>
                    <a:pt x="41" y="201"/>
                    <a:pt x="45" y="204"/>
                  </a:cubicBezTo>
                  <a:cubicBezTo>
                    <a:pt x="50" y="207"/>
                    <a:pt x="52" y="211"/>
                    <a:pt x="55" y="216"/>
                  </a:cubicBezTo>
                  <a:cubicBezTo>
                    <a:pt x="58" y="219"/>
                    <a:pt x="62" y="224"/>
                    <a:pt x="66" y="225"/>
                  </a:cubicBezTo>
                  <a:cubicBezTo>
                    <a:pt x="71" y="226"/>
                    <a:pt x="73" y="226"/>
                    <a:pt x="77" y="229"/>
                  </a:cubicBezTo>
                  <a:cubicBezTo>
                    <a:pt x="80" y="231"/>
                    <a:pt x="82" y="233"/>
                    <a:pt x="85" y="235"/>
                  </a:cubicBezTo>
                  <a:cubicBezTo>
                    <a:pt x="86" y="237"/>
                    <a:pt x="88" y="239"/>
                    <a:pt x="90" y="240"/>
                  </a:cubicBezTo>
                  <a:cubicBezTo>
                    <a:pt x="91" y="241"/>
                    <a:pt x="92" y="241"/>
                    <a:pt x="94" y="241"/>
                  </a:cubicBezTo>
                  <a:cubicBezTo>
                    <a:pt x="98" y="241"/>
                    <a:pt x="101" y="242"/>
                    <a:pt x="105" y="243"/>
                  </a:cubicBezTo>
                  <a:cubicBezTo>
                    <a:pt x="110" y="246"/>
                    <a:pt x="112" y="247"/>
                    <a:pt x="116" y="252"/>
                  </a:cubicBezTo>
                  <a:cubicBezTo>
                    <a:pt x="119" y="257"/>
                    <a:pt x="124" y="263"/>
                    <a:pt x="127" y="269"/>
                  </a:cubicBezTo>
                  <a:cubicBezTo>
                    <a:pt x="128" y="271"/>
                    <a:pt x="129" y="272"/>
                    <a:pt x="130" y="274"/>
                  </a:cubicBezTo>
                  <a:cubicBezTo>
                    <a:pt x="131" y="277"/>
                    <a:pt x="132" y="276"/>
                    <a:pt x="135" y="277"/>
                  </a:cubicBezTo>
                  <a:cubicBezTo>
                    <a:pt x="137" y="278"/>
                    <a:pt x="142" y="279"/>
                    <a:pt x="144" y="280"/>
                  </a:cubicBezTo>
                  <a:cubicBezTo>
                    <a:pt x="145" y="282"/>
                    <a:pt x="144" y="285"/>
                    <a:pt x="144" y="286"/>
                  </a:cubicBezTo>
                  <a:cubicBezTo>
                    <a:pt x="145" y="290"/>
                    <a:pt x="144" y="294"/>
                    <a:pt x="145" y="297"/>
                  </a:cubicBezTo>
                  <a:cubicBezTo>
                    <a:pt x="148" y="297"/>
                    <a:pt x="150" y="298"/>
                    <a:pt x="152" y="299"/>
                  </a:cubicBezTo>
                  <a:cubicBezTo>
                    <a:pt x="156" y="300"/>
                    <a:pt x="157" y="302"/>
                    <a:pt x="159" y="305"/>
                  </a:cubicBezTo>
                  <a:cubicBezTo>
                    <a:pt x="162" y="310"/>
                    <a:pt x="163" y="318"/>
                    <a:pt x="170" y="319"/>
                  </a:cubicBezTo>
                  <a:cubicBezTo>
                    <a:pt x="171" y="324"/>
                    <a:pt x="168" y="326"/>
                    <a:pt x="166" y="331"/>
                  </a:cubicBezTo>
                  <a:cubicBezTo>
                    <a:pt x="166" y="333"/>
                    <a:pt x="165" y="335"/>
                    <a:pt x="165" y="337"/>
                  </a:cubicBezTo>
                  <a:cubicBezTo>
                    <a:pt x="165" y="341"/>
                    <a:pt x="165" y="345"/>
                    <a:pt x="165" y="349"/>
                  </a:cubicBezTo>
                  <a:cubicBezTo>
                    <a:pt x="165" y="356"/>
                    <a:pt x="168" y="361"/>
                    <a:pt x="169" y="368"/>
                  </a:cubicBezTo>
                  <a:cubicBezTo>
                    <a:pt x="169" y="371"/>
                    <a:pt x="169" y="375"/>
                    <a:pt x="167" y="378"/>
                  </a:cubicBezTo>
                  <a:cubicBezTo>
                    <a:pt x="164" y="381"/>
                    <a:pt x="159" y="382"/>
                    <a:pt x="160" y="387"/>
                  </a:cubicBezTo>
                  <a:cubicBezTo>
                    <a:pt x="161" y="390"/>
                    <a:pt x="162" y="393"/>
                    <a:pt x="164" y="394"/>
                  </a:cubicBezTo>
                  <a:cubicBezTo>
                    <a:pt x="166" y="396"/>
                    <a:pt x="170" y="395"/>
                    <a:pt x="172" y="396"/>
                  </a:cubicBezTo>
                  <a:cubicBezTo>
                    <a:pt x="173" y="397"/>
                    <a:pt x="173" y="398"/>
                    <a:pt x="173" y="400"/>
                  </a:cubicBezTo>
                  <a:cubicBezTo>
                    <a:pt x="174" y="403"/>
                    <a:pt x="175" y="406"/>
                    <a:pt x="175" y="410"/>
                  </a:cubicBezTo>
                  <a:cubicBezTo>
                    <a:pt x="176" y="412"/>
                    <a:pt x="177" y="416"/>
                    <a:pt x="176" y="419"/>
                  </a:cubicBezTo>
                  <a:cubicBezTo>
                    <a:pt x="176" y="421"/>
                    <a:pt x="174" y="420"/>
                    <a:pt x="173" y="422"/>
                  </a:cubicBezTo>
                  <a:cubicBezTo>
                    <a:pt x="171" y="424"/>
                    <a:pt x="172" y="430"/>
                    <a:pt x="172" y="433"/>
                  </a:cubicBezTo>
                  <a:cubicBezTo>
                    <a:pt x="172" y="443"/>
                    <a:pt x="175" y="453"/>
                    <a:pt x="180" y="462"/>
                  </a:cubicBezTo>
                  <a:cubicBezTo>
                    <a:pt x="185" y="469"/>
                    <a:pt x="189" y="477"/>
                    <a:pt x="190" y="485"/>
                  </a:cubicBezTo>
                  <a:cubicBezTo>
                    <a:pt x="192" y="494"/>
                    <a:pt x="189" y="502"/>
                    <a:pt x="187" y="510"/>
                  </a:cubicBezTo>
                  <a:cubicBezTo>
                    <a:pt x="186" y="516"/>
                    <a:pt x="187" y="522"/>
                    <a:pt x="184" y="528"/>
                  </a:cubicBezTo>
                  <a:cubicBezTo>
                    <a:pt x="182" y="531"/>
                    <a:pt x="180" y="533"/>
                    <a:pt x="180" y="537"/>
                  </a:cubicBezTo>
                  <a:cubicBezTo>
                    <a:pt x="179" y="541"/>
                    <a:pt x="180" y="544"/>
                    <a:pt x="180" y="548"/>
                  </a:cubicBezTo>
                  <a:cubicBezTo>
                    <a:pt x="180" y="551"/>
                    <a:pt x="179" y="555"/>
                    <a:pt x="180" y="558"/>
                  </a:cubicBezTo>
                  <a:cubicBezTo>
                    <a:pt x="182" y="562"/>
                    <a:pt x="185" y="563"/>
                    <a:pt x="187" y="567"/>
                  </a:cubicBezTo>
                  <a:cubicBezTo>
                    <a:pt x="193" y="576"/>
                    <a:pt x="194" y="586"/>
                    <a:pt x="197" y="596"/>
                  </a:cubicBezTo>
                  <a:cubicBezTo>
                    <a:pt x="198" y="601"/>
                    <a:pt x="199" y="607"/>
                    <a:pt x="198" y="612"/>
                  </a:cubicBezTo>
                  <a:cubicBezTo>
                    <a:pt x="198" y="613"/>
                    <a:pt x="197" y="615"/>
                    <a:pt x="197" y="616"/>
                  </a:cubicBezTo>
                  <a:cubicBezTo>
                    <a:pt x="197" y="616"/>
                    <a:pt x="197" y="616"/>
                    <a:pt x="196" y="616"/>
                  </a:cubicBezTo>
                  <a:cubicBezTo>
                    <a:pt x="199" y="619"/>
                    <a:pt x="202" y="620"/>
                    <a:pt x="205" y="620"/>
                  </a:cubicBezTo>
                  <a:cubicBezTo>
                    <a:pt x="205" y="630"/>
                    <a:pt x="221" y="632"/>
                    <a:pt x="228" y="634"/>
                  </a:cubicBezTo>
                  <a:cubicBezTo>
                    <a:pt x="234" y="636"/>
                    <a:pt x="242" y="639"/>
                    <a:pt x="247" y="644"/>
                  </a:cubicBezTo>
                  <a:cubicBezTo>
                    <a:pt x="252" y="648"/>
                    <a:pt x="255" y="654"/>
                    <a:pt x="258" y="659"/>
                  </a:cubicBezTo>
                  <a:cubicBezTo>
                    <a:pt x="259" y="661"/>
                    <a:pt x="260" y="664"/>
                    <a:pt x="262" y="666"/>
                  </a:cubicBezTo>
                  <a:cubicBezTo>
                    <a:pt x="263" y="667"/>
                    <a:pt x="265" y="667"/>
                    <a:pt x="266" y="667"/>
                  </a:cubicBezTo>
                  <a:cubicBezTo>
                    <a:pt x="270" y="674"/>
                    <a:pt x="265" y="686"/>
                    <a:pt x="264" y="693"/>
                  </a:cubicBezTo>
                  <a:cubicBezTo>
                    <a:pt x="264" y="698"/>
                    <a:pt x="264" y="702"/>
                    <a:pt x="267" y="706"/>
                  </a:cubicBezTo>
                  <a:cubicBezTo>
                    <a:pt x="269" y="711"/>
                    <a:pt x="276" y="716"/>
                    <a:pt x="274" y="723"/>
                  </a:cubicBezTo>
                  <a:cubicBezTo>
                    <a:pt x="271" y="723"/>
                    <a:pt x="263" y="723"/>
                    <a:pt x="261" y="726"/>
                  </a:cubicBezTo>
                  <a:cubicBezTo>
                    <a:pt x="264" y="728"/>
                    <a:pt x="271" y="735"/>
                    <a:pt x="267" y="738"/>
                  </a:cubicBezTo>
                  <a:cubicBezTo>
                    <a:pt x="263" y="735"/>
                    <a:pt x="261" y="733"/>
                    <a:pt x="256" y="735"/>
                  </a:cubicBezTo>
                  <a:cubicBezTo>
                    <a:pt x="251" y="737"/>
                    <a:pt x="250" y="741"/>
                    <a:pt x="246" y="743"/>
                  </a:cubicBezTo>
                  <a:cubicBezTo>
                    <a:pt x="239" y="746"/>
                    <a:pt x="228" y="739"/>
                    <a:pt x="224" y="749"/>
                  </a:cubicBezTo>
                  <a:cubicBezTo>
                    <a:pt x="223" y="752"/>
                    <a:pt x="224" y="755"/>
                    <a:pt x="222" y="758"/>
                  </a:cubicBezTo>
                  <a:cubicBezTo>
                    <a:pt x="221" y="763"/>
                    <a:pt x="217" y="763"/>
                    <a:pt x="214" y="767"/>
                  </a:cubicBezTo>
                  <a:cubicBezTo>
                    <a:pt x="208" y="774"/>
                    <a:pt x="201" y="783"/>
                    <a:pt x="195" y="791"/>
                  </a:cubicBezTo>
                  <a:cubicBezTo>
                    <a:pt x="187" y="802"/>
                    <a:pt x="180" y="816"/>
                    <a:pt x="171" y="826"/>
                  </a:cubicBezTo>
                  <a:cubicBezTo>
                    <a:pt x="169" y="828"/>
                    <a:pt x="167" y="830"/>
                    <a:pt x="166" y="833"/>
                  </a:cubicBezTo>
                  <a:cubicBezTo>
                    <a:pt x="165" y="836"/>
                    <a:pt x="168" y="840"/>
                    <a:pt x="164" y="841"/>
                  </a:cubicBezTo>
                  <a:cubicBezTo>
                    <a:pt x="160" y="843"/>
                    <a:pt x="158" y="839"/>
                    <a:pt x="155" y="841"/>
                  </a:cubicBezTo>
                  <a:cubicBezTo>
                    <a:pt x="151" y="844"/>
                    <a:pt x="146" y="853"/>
                    <a:pt x="145" y="857"/>
                  </a:cubicBezTo>
                  <a:cubicBezTo>
                    <a:pt x="144" y="862"/>
                    <a:pt x="147" y="868"/>
                    <a:pt x="140" y="869"/>
                  </a:cubicBezTo>
                  <a:cubicBezTo>
                    <a:pt x="134" y="870"/>
                    <a:pt x="133" y="864"/>
                    <a:pt x="128" y="863"/>
                  </a:cubicBezTo>
                  <a:cubicBezTo>
                    <a:pt x="127" y="866"/>
                    <a:pt x="125" y="868"/>
                    <a:pt x="124" y="871"/>
                  </a:cubicBezTo>
                  <a:cubicBezTo>
                    <a:pt x="124" y="874"/>
                    <a:pt x="125" y="877"/>
                    <a:pt x="124" y="881"/>
                  </a:cubicBezTo>
                  <a:cubicBezTo>
                    <a:pt x="124" y="884"/>
                    <a:pt x="124" y="885"/>
                    <a:pt x="122" y="887"/>
                  </a:cubicBezTo>
                  <a:cubicBezTo>
                    <a:pt x="119" y="890"/>
                    <a:pt x="112" y="890"/>
                    <a:pt x="109" y="893"/>
                  </a:cubicBezTo>
                  <a:cubicBezTo>
                    <a:pt x="105" y="898"/>
                    <a:pt x="109" y="905"/>
                    <a:pt x="111" y="910"/>
                  </a:cubicBezTo>
                  <a:cubicBezTo>
                    <a:pt x="116" y="919"/>
                    <a:pt x="105" y="929"/>
                    <a:pt x="96" y="932"/>
                  </a:cubicBezTo>
                  <a:cubicBezTo>
                    <a:pt x="93" y="930"/>
                    <a:pt x="89" y="931"/>
                    <a:pt x="86" y="931"/>
                  </a:cubicBezTo>
                  <a:cubicBezTo>
                    <a:pt x="82" y="931"/>
                    <a:pt x="78" y="929"/>
                    <a:pt x="75" y="929"/>
                  </a:cubicBezTo>
                  <a:cubicBezTo>
                    <a:pt x="65" y="928"/>
                    <a:pt x="66" y="935"/>
                    <a:pt x="66" y="943"/>
                  </a:cubicBezTo>
                  <a:cubicBezTo>
                    <a:pt x="66" y="949"/>
                    <a:pt x="67" y="964"/>
                    <a:pt x="62" y="967"/>
                  </a:cubicBezTo>
                  <a:cubicBezTo>
                    <a:pt x="58" y="970"/>
                    <a:pt x="54" y="967"/>
                    <a:pt x="50" y="969"/>
                  </a:cubicBezTo>
                  <a:cubicBezTo>
                    <a:pt x="43" y="972"/>
                    <a:pt x="42" y="986"/>
                    <a:pt x="43" y="994"/>
                  </a:cubicBezTo>
                  <a:cubicBezTo>
                    <a:pt x="43" y="994"/>
                    <a:pt x="43" y="994"/>
                    <a:pt x="43" y="995"/>
                  </a:cubicBezTo>
                  <a:cubicBezTo>
                    <a:pt x="43" y="994"/>
                    <a:pt x="43" y="994"/>
                    <a:pt x="43" y="994"/>
                  </a:cubicBezTo>
                  <a:cubicBezTo>
                    <a:pt x="43" y="993"/>
                    <a:pt x="42" y="993"/>
                    <a:pt x="42" y="993"/>
                  </a:cubicBezTo>
                  <a:cubicBezTo>
                    <a:pt x="39" y="997"/>
                    <a:pt x="41" y="1008"/>
                    <a:pt x="43" y="1013"/>
                  </a:cubicBezTo>
                  <a:cubicBezTo>
                    <a:pt x="46" y="1025"/>
                    <a:pt x="59" y="1035"/>
                    <a:pt x="55" y="1049"/>
                  </a:cubicBezTo>
                  <a:cubicBezTo>
                    <a:pt x="53" y="1054"/>
                    <a:pt x="51" y="1056"/>
                    <a:pt x="52" y="1061"/>
                  </a:cubicBezTo>
                  <a:cubicBezTo>
                    <a:pt x="53" y="1066"/>
                    <a:pt x="54" y="1070"/>
                    <a:pt x="54" y="1075"/>
                  </a:cubicBezTo>
                  <a:cubicBezTo>
                    <a:pt x="54" y="1082"/>
                    <a:pt x="52" y="1095"/>
                    <a:pt x="56" y="1101"/>
                  </a:cubicBezTo>
                  <a:cubicBezTo>
                    <a:pt x="58" y="1101"/>
                    <a:pt x="60" y="1099"/>
                    <a:pt x="60" y="1098"/>
                  </a:cubicBezTo>
                  <a:cubicBezTo>
                    <a:pt x="58" y="1105"/>
                    <a:pt x="54" y="1112"/>
                    <a:pt x="55" y="1120"/>
                  </a:cubicBezTo>
                  <a:cubicBezTo>
                    <a:pt x="56" y="1127"/>
                    <a:pt x="61" y="1131"/>
                    <a:pt x="64" y="1137"/>
                  </a:cubicBezTo>
                  <a:cubicBezTo>
                    <a:pt x="68" y="1142"/>
                    <a:pt x="70" y="1145"/>
                    <a:pt x="68" y="1152"/>
                  </a:cubicBezTo>
                  <a:cubicBezTo>
                    <a:pt x="67" y="1156"/>
                    <a:pt x="64" y="1158"/>
                    <a:pt x="62" y="1162"/>
                  </a:cubicBezTo>
                  <a:cubicBezTo>
                    <a:pt x="60" y="1166"/>
                    <a:pt x="61" y="1173"/>
                    <a:pt x="61" y="1178"/>
                  </a:cubicBezTo>
                  <a:cubicBezTo>
                    <a:pt x="61" y="1180"/>
                    <a:pt x="62" y="1183"/>
                    <a:pt x="61" y="1185"/>
                  </a:cubicBezTo>
                  <a:cubicBezTo>
                    <a:pt x="60" y="1192"/>
                    <a:pt x="55" y="1197"/>
                    <a:pt x="55" y="1204"/>
                  </a:cubicBezTo>
                  <a:cubicBezTo>
                    <a:pt x="55" y="1210"/>
                    <a:pt x="57" y="1216"/>
                    <a:pt x="56" y="1221"/>
                  </a:cubicBezTo>
                  <a:cubicBezTo>
                    <a:pt x="55" y="1228"/>
                    <a:pt x="49" y="1232"/>
                    <a:pt x="47" y="1238"/>
                  </a:cubicBezTo>
                  <a:cubicBezTo>
                    <a:pt x="46" y="1243"/>
                    <a:pt x="47" y="1247"/>
                    <a:pt x="50" y="1251"/>
                  </a:cubicBezTo>
                  <a:cubicBezTo>
                    <a:pt x="53" y="1257"/>
                    <a:pt x="54" y="1254"/>
                    <a:pt x="59" y="1251"/>
                  </a:cubicBezTo>
                  <a:cubicBezTo>
                    <a:pt x="64" y="1249"/>
                    <a:pt x="68" y="1248"/>
                    <a:pt x="70" y="1253"/>
                  </a:cubicBezTo>
                  <a:cubicBezTo>
                    <a:pt x="73" y="1260"/>
                    <a:pt x="66" y="1266"/>
                    <a:pt x="65" y="1272"/>
                  </a:cubicBezTo>
                  <a:cubicBezTo>
                    <a:pt x="71" y="1275"/>
                    <a:pt x="76" y="1277"/>
                    <a:pt x="80" y="1282"/>
                  </a:cubicBezTo>
                  <a:cubicBezTo>
                    <a:pt x="84" y="1285"/>
                    <a:pt x="84" y="1292"/>
                    <a:pt x="87" y="1294"/>
                  </a:cubicBezTo>
                  <a:cubicBezTo>
                    <a:pt x="92" y="1288"/>
                    <a:pt x="97" y="1281"/>
                    <a:pt x="106" y="1280"/>
                  </a:cubicBezTo>
                  <a:cubicBezTo>
                    <a:pt x="113" y="1279"/>
                    <a:pt x="112" y="1282"/>
                    <a:pt x="114" y="1288"/>
                  </a:cubicBezTo>
                  <a:cubicBezTo>
                    <a:pt x="114" y="1291"/>
                    <a:pt x="117" y="1310"/>
                    <a:pt x="122" y="1309"/>
                  </a:cubicBezTo>
                  <a:cubicBezTo>
                    <a:pt x="125" y="1308"/>
                    <a:pt x="126" y="1302"/>
                    <a:pt x="129" y="1303"/>
                  </a:cubicBezTo>
                  <a:cubicBezTo>
                    <a:pt x="130" y="1306"/>
                    <a:pt x="129" y="1309"/>
                    <a:pt x="130" y="1311"/>
                  </a:cubicBezTo>
                  <a:cubicBezTo>
                    <a:pt x="134" y="1308"/>
                    <a:pt x="141" y="1303"/>
                    <a:pt x="146" y="1303"/>
                  </a:cubicBezTo>
                  <a:cubicBezTo>
                    <a:pt x="144" y="1307"/>
                    <a:pt x="134" y="1311"/>
                    <a:pt x="134" y="1316"/>
                  </a:cubicBezTo>
                  <a:cubicBezTo>
                    <a:pt x="135" y="1318"/>
                    <a:pt x="139" y="1322"/>
                    <a:pt x="140" y="1325"/>
                  </a:cubicBezTo>
                  <a:cubicBezTo>
                    <a:pt x="145" y="1336"/>
                    <a:pt x="151" y="1324"/>
                    <a:pt x="157" y="1319"/>
                  </a:cubicBezTo>
                  <a:cubicBezTo>
                    <a:pt x="161" y="1323"/>
                    <a:pt x="162" y="1327"/>
                    <a:pt x="167" y="1328"/>
                  </a:cubicBezTo>
                  <a:cubicBezTo>
                    <a:pt x="173" y="1328"/>
                    <a:pt x="175" y="1322"/>
                    <a:pt x="180" y="1319"/>
                  </a:cubicBezTo>
                  <a:cubicBezTo>
                    <a:pt x="186" y="1314"/>
                    <a:pt x="191" y="1311"/>
                    <a:pt x="199" y="1310"/>
                  </a:cubicBezTo>
                  <a:cubicBezTo>
                    <a:pt x="203" y="1309"/>
                    <a:pt x="209" y="1306"/>
                    <a:pt x="210" y="1302"/>
                  </a:cubicBezTo>
                  <a:cubicBezTo>
                    <a:pt x="210" y="1301"/>
                    <a:pt x="210" y="1301"/>
                    <a:pt x="211" y="1301"/>
                  </a:cubicBezTo>
                  <a:cubicBezTo>
                    <a:pt x="211" y="1301"/>
                    <a:pt x="210" y="1301"/>
                    <a:pt x="210" y="1302"/>
                  </a:cubicBezTo>
                  <a:cubicBezTo>
                    <a:pt x="213" y="1303"/>
                    <a:pt x="233" y="1303"/>
                    <a:pt x="240" y="1295"/>
                  </a:cubicBezTo>
                  <a:cubicBezTo>
                    <a:pt x="244" y="1296"/>
                    <a:pt x="249" y="1299"/>
                    <a:pt x="253" y="1297"/>
                  </a:cubicBezTo>
                  <a:cubicBezTo>
                    <a:pt x="257" y="1296"/>
                    <a:pt x="259" y="1289"/>
                    <a:pt x="263" y="1288"/>
                  </a:cubicBezTo>
                  <a:cubicBezTo>
                    <a:pt x="265" y="1287"/>
                    <a:pt x="266" y="1289"/>
                    <a:pt x="268" y="1290"/>
                  </a:cubicBezTo>
                  <a:cubicBezTo>
                    <a:pt x="272" y="1291"/>
                    <a:pt x="277" y="1291"/>
                    <a:pt x="282" y="1292"/>
                  </a:cubicBezTo>
                  <a:cubicBezTo>
                    <a:pt x="284" y="1293"/>
                    <a:pt x="291" y="1294"/>
                    <a:pt x="293" y="1291"/>
                  </a:cubicBezTo>
                  <a:cubicBezTo>
                    <a:pt x="295" y="1288"/>
                    <a:pt x="293" y="1275"/>
                    <a:pt x="293" y="1272"/>
                  </a:cubicBezTo>
                  <a:cubicBezTo>
                    <a:pt x="293" y="1267"/>
                    <a:pt x="292" y="1265"/>
                    <a:pt x="297" y="1263"/>
                  </a:cubicBezTo>
                  <a:cubicBezTo>
                    <a:pt x="303" y="1261"/>
                    <a:pt x="309" y="1266"/>
                    <a:pt x="314" y="1268"/>
                  </a:cubicBezTo>
                  <a:cubicBezTo>
                    <a:pt x="323" y="1270"/>
                    <a:pt x="338" y="1269"/>
                    <a:pt x="347" y="1265"/>
                  </a:cubicBezTo>
                  <a:cubicBezTo>
                    <a:pt x="352" y="1264"/>
                    <a:pt x="355" y="1259"/>
                    <a:pt x="359" y="1257"/>
                  </a:cubicBezTo>
                  <a:cubicBezTo>
                    <a:pt x="363" y="1256"/>
                    <a:pt x="370" y="1257"/>
                    <a:pt x="374" y="1257"/>
                  </a:cubicBezTo>
                  <a:cubicBezTo>
                    <a:pt x="382" y="1256"/>
                    <a:pt x="390" y="1255"/>
                    <a:pt x="398" y="1253"/>
                  </a:cubicBezTo>
                  <a:cubicBezTo>
                    <a:pt x="397" y="1251"/>
                    <a:pt x="399" y="1250"/>
                    <a:pt x="400" y="1248"/>
                  </a:cubicBezTo>
                  <a:cubicBezTo>
                    <a:pt x="401" y="1247"/>
                    <a:pt x="400" y="1246"/>
                    <a:pt x="401" y="1244"/>
                  </a:cubicBezTo>
                  <a:cubicBezTo>
                    <a:pt x="404" y="1242"/>
                    <a:pt x="409" y="1240"/>
                    <a:pt x="412" y="1239"/>
                  </a:cubicBezTo>
                  <a:cubicBezTo>
                    <a:pt x="423" y="1233"/>
                    <a:pt x="430" y="1223"/>
                    <a:pt x="439" y="1216"/>
                  </a:cubicBezTo>
                  <a:cubicBezTo>
                    <a:pt x="445" y="1211"/>
                    <a:pt x="451" y="1207"/>
                    <a:pt x="456" y="1201"/>
                  </a:cubicBezTo>
                  <a:cubicBezTo>
                    <a:pt x="462" y="1196"/>
                    <a:pt x="467" y="1190"/>
                    <a:pt x="472" y="1184"/>
                  </a:cubicBezTo>
                  <a:cubicBezTo>
                    <a:pt x="480" y="1177"/>
                    <a:pt x="488" y="1170"/>
                    <a:pt x="494" y="1162"/>
                  </a:cubicBezTo>
                  <a:cubicBezTo>
                    <a:pt x="498" y="1156"/>
                    <a:pt x="501" y="1149"/>
                    <a:pt x="505" y="1143"/>
                  </a:cubicBezTo>
                  <a:cubicBezTo>
                    <a:pt x="520" y="1121"/>
                    <a:pt x="533" y="1097"/>
                    <a:pt x="546" y="1073"/>
                  </a:cubicBezTo>
                  <a:cubicBezTo>
                    <a:pt x="555" y="1054"/>
                    <a:pt x="569" y="1034"/>
                    <a:pt x="586" y="1019"/>
                  </a:cubicBezTo>
                  <a:cubicBezTo>
                    <a:pt x="594" y="1012"/>
                    <a:pt x="605" y="1004"/>
                    <a:pt x="603" y="99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2" name="Freeform 63">
              <a:extLst>
                <a:ext uri="{FF2B5EF4-FFF2-40B4-BE49-F238E27FC236}">
                  <a16:creationId xmlns:a16="http://schemas.microsoft.com/office/drawing/2014/main" id="{7B38935B-D6FD-432F-9E68-3AA4486981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3097213"/>
              <a:ext cx="850900" cy="1528763"/>
            </a:xfrm>
            <a:custGeom>
              <a:avLst/>
              <a:gdLst/>
              <a:ahLst/>
              <a:cxnLst>
                <a:cxn ang="0">
                  <a:pos x="416" y="555"/>
                </a:cxn>
                <a:cxn ang="0">
                  <a:pos x="363" y="502"/>
                </a:cxn>
                <a:cxn ang="0">
                  <a:pos x="302" y="396"/>
                </a:cxn>
                <a:cxn ang="0">
                  <a:pos x="260" y="298"/>
                </a:cxn>
                <a:cxn ang="0">
                  <a:pos x="170" y="270"/>
                </a:cxn>
                <a:cxn ang="0">
                  <a:pos x="230" y="236"/>
                </a:cxn>
                <a:cxn ang="0">
                  <a:pos x="246" y="155"/>
                </a:cxn>
                <a:cxn ang="0">
                  <a:pos x="184" y="99"/>
                </a:cxn>
                <a:cxn ang="0">
                  <a:pos x="139" y="117"/>
                </a:cxn>
                <a:cxn ang="0">
                  <a:pos x="157" y="88"/>
                </a:cxn>
                <a:cxn ang="0">
                  <a:pos x="158" y="69"/>
                </a:cxn>
                <a:cxn ang="0">
                  <a:pos x="198" y="27"/>
                </a:cxn>
                <a:cxn ang="0">
                  <a:pos x="183" y="3"/>
                </a:cxn>
                <a:cxn ang="0">
                  <a:pos x="136" y="16"/>
                </a:cxn>
                <a:cxn ang="0">
                  <a:pos x="109" y="24"/>
                </a:cxn>
                <a:cxn ang="0">
                  <a:pos x="89" y="25"/>
                </a:cxn>
                <a:cxn ang="0">
                  <a:pos x="78" y="63"/>
                </a:cxn>
                <a:cxn ang="0">
                  <a:pos x="72" y="84"/>
                </a:cxn>
                <a:cxn ang="0">
                  <a:pos x="50" y="91"/>
                </a:cxn>
                <a:cxn ang="0">
                  <a:pos x="59" y="121"/>
                </a:cxn>
                <a:cxn ang="0">
                  <a:pos x="66" y="137"/>
                </a:cxn>
                <a:cxn ang="0">
                  <a:pos x="46" y="148"/>
                </a:cxn>
                <a:cxn ang="0">
                  <a:pos x="33" y="129"/>
                </a:cxn>
                <a:cxn ang="0">
                  <a:pos x="9" y="116"/>
                </a:cxn>
                <a:cxn ang="0">
                  <a:pos x="12" y="136"/>
                </a:cxn>
                <a:cxn ang="0">
                  <a:pos x="42" y="159"/>
                </a:cxn>
                <a:cxn ang="0">
                  <a:pos x="64" y="164"/>
                </a:cxn>
                <a:cxn ang="0">
                  <a:pos x="48" y="183"/>
                </a:cxn>
                <a:cxn ang="0">
                  <a:pos x="32" y="205"/>
                </a:cxn>
                <a:cxn ang="0">
                  <a:pos x="50" y="220"/>
                </a:cxn>
                <a:cxn ang="0">
                  <a:pos x="26" y="221"/>
                </a:cxn>
                <a:cxn ang="0">
                  <a:pos x="18" y="239"/>
                </a:cxn>
                <a:cxn ang="0">
                  <a:pos x="67" y="218"/>
                </a:cxn>
                <a:cxn ang="0">
                  <a:pos x="79" y="206"/>
                </a:cxn>
                <a:cxn ang="0">
                  <a:pos x="64" y="258"/>
                </a:cxn>
                <a:cxn ang="0">
                  <a:pos x="73" y="277"/>
                </a:cxn>
                <a:cxn ang="0">
                  <a:pos x="98" y="290"/>
                </a:cxn>
                <a:cxn ang="0">
                  <a:pos x="84" y="377"/>
                </a:cxn>
                <a:cxn ang="0">
                  <a:pos x="156" y="388"/>
                </a:cxn>
                <a:cxn ang="0">
                  <a:pos x="180" y="380"/>
                </a:cxn>
                <a:cxn ang="0">
                  <a:pos x="195" y="451"/>
                </a:cxn>
                <a:cxn ang="0">
                  <a:pos x="194" y="504"/>
                </a:cxn>
                <a:cxn ang="0">
                  <a:pos x="136" y="525"/>
                </a:cxn>
                <a:cxn ang="0">
                  <a:pos x="107" y="574"/>
                </a:cxn>
                <a:cxn ang="0">
                  <a:pos x="137" y="614"/>
                </a:cxn>
                <a:cxn ang="0">
                  <a:pos x="85" y="655"/>
                </a:cxn>
                <a:cxn ang="0">
                  <a:pos x="134" y="682"/>
                </a:cxn>
                <a:cxn ang="0">
                  <a:pos x="205" y="682"/>
                </a:cxn>
                <a:cxn ang="0">
                  <a:pos x="165" y="708"/>
                </a:cxn>
                <a:cxn ang="0">
                  <a:pos x="91" y="770"/>
                </a:cxn>
                <a:cxn ang="0">
                  <a:pos x="67" y="795"/>
                </a:cxn>
                <a:cxn ang="0">
                  <a:pos x="57" y="810"/>
                </a:cxn>
                <a:cxn ang="0">
                  <a:pos x="86" y="815"/>
                </a:cxn>
                <a:cxn ang="0">
                  <a:pos x="107" y="784"/>
                </a:cxn>
                <a:cxn ang="0">
                  <a:pos x="141" y="787"/>
                </a:cxn>
                <a:cxn ang="0">
                  <a:pos x="172" y="789"/>
                </a:cxn>
                <a:cxn ang="0">
                  <a:pos x="187" y="755"/>
                </a:cxn>
                <a:cxn ang="0">
                  <a:pos x="259" y="751"/>
                </a:cxn>
                <a:cxn ang="0">
                  <a:pos x="341" y="743"/>
                </a:cxn>
                <a:cxn ang="0">
                  <a:pos x="415" y="731"/>
                </a:cxn>
                <a:cxn ang="0">
                  <a:pos x="370" y="685"/>
                </a:cxn>
                <a:cxn ang="0">
                  <a:pos x="444" y="635"/>
                </a:cxn>
              </a:cxnLst>
              <a:rect l="0" t="0" r="r" b="b"/>
              <a:pathLst>
                <a:path w="455" h="818">
                  <a:moveTo>
                    <a:pt x="126" y="139"/>
                  </a:moveTo>
                  <a:cubicBezTo>
                    <a:pt x="126" y="141"/>
                    <a:pt x="126" y="142"/>
                    <a:pt x="125" y="144"/>
                  </a:cubicBezTo>
                  <a:cubicBezTo>
                    <a:pt x="124" y="145"/>
                    <a:pt x="117" y="155"/>
                    <a:pt x="116" y="157"/>
                  </a:cubicBezTo>
                  <a:cubicBezTo>
                    <a:pt x="114" y="159"/>
                    <a:pt x="111" y="160"/>
                    <a:pt x="110" y="163"/>
                  </a:cubicBezTo>
                  <a:cubicBezTo>
                    <a:pt x="106" y="164"/>
                    <a:pt x="109" y="162"/>
                    <a:pt x="109" y="161"/>
                  </a:cubicBezTo>
                  <a:cubicBezTo>
                    <a:pt x="110" y="160"/>
                    <a:pt x="112" y="159"/>
                    <a:pt x="112" y="157"/>
                  </a:cubicBezTo>
                  <a:cubicBezTo>
                    <a:pt x="113" y="154"/>
                    <a:pt x="117" y="148"/>
                    <a:pt x="118" y="147"/>
                  </a:cubicBezTo>
                  <a:cubicBezTo>
                    <a:pt x="119" y="146"/>
                    <a:pt x="119" y="145"/>
                    <a:pt x="120" y="144"/>
                  </a:cubicBezTo>
                  <a:cubicBezTo>
                    <a:pt x="120" y="144"/>
                    <a:pt x="122" y="142"/>
                    <a:pt x="122" y="141"/>
                  </a:cubicBezTo>
                  <a:cubicBezTo>
                    <a:pt x="123" y="140"/>
                    <a:pt x="124" y="139"/>
                    <a:pt x="124" y="138"/>
                  </a:cubicBezTo>
                  <a:cubicBezTo>
                    <a:pt x="126" y="137"/>
                    <a:pt x="126" y="138"/>
                    <a:pt x="126" y="139"/>
                  </a:cubicBezTo>
                  <a:moveTo>
                    <a:pt x="452" y="569"/>
                  </a:moveTo>
                  <a:cubicBezTo>
                    <a:pt x="450" y="566"/>
                    <a:pt x="446" y="568"/>
                    <a:pt x="443" y="567"/>
                  </a:cubicBezTo>
                  <a:cubicBezTo>
                    <a:pt x="441" y="566"/>
                    <a:pt x="441" y="564"/>
                    <a:pt x="440" y="563"/>
                  </a:cubicBezTo>
                  <a:cubicBezTo>
                    <a:pt x="439" y="562"/>
                    <a:pt x="436" y="561"/>
                    <a:pt x="434" y="560"/>
                  </a:cubicBezTo>
                  <a:cubicBezTo>
                    <a:pt x="432" y="559"/>
                    <a:pt x="431" y="559"/>
                    <a:pt x="429" y="558"/>
                  </a:cubicBezTo>
                  <a:cubicBezTo>
                    <a:pt x="427" y="558"/>
                    <a:pt x="425" y="555"/>
                    <a:pt x="422" y="555"/>
                  </a:cubicBezTo>
                  <a:cubicBezTo>
                    <a:pt x="420" y="554"/>
                    <a:pt x="418" y="555"/>
                    <a:pt x="416" y="555"/>
                  </a:cubicBezTo>
                  <a:cubicBezTo>
                    <a:pt x="413" y="556"/>
                    <a:pt x="410" y="555"/>
                    <a:pt x="407" y="555"/>
                  </a:cubicBezTo>
                  <a:cubicBezTo>
                    <a:pt x="402" y="555"/>
                    <a:pt x="398" y="554"/>
                    <a:pt x="393" y="554"/>
                  </a:cubicBezTo>
                  <a:cubicBezTo>
                    <a:pt x="388" y="554"/>
                    <a:pt x="387" y="555"/>
                    <a:pt x="385" y="559"/>
                  </a:cubicBezTo>
                  <a:cubicBezTo>
                    <a:pt x="384" y="561"/>
                    <a:pt x="383" y="562"/>
                    <a:pt x="382" y="563"/>
                  </a:cubicBezTo>
                  <a:cubicBezTo>
                    <a:pt x="380" y="565"/>
                    <a:pt x="380" y="567"/>
                    <a:pt x="378" y="568"/>
                  </a:cubicBezTo>
                  <a:cubicBezTo>
                    <a:pt x="376" y="570"/>
                    <a:pt x="375" y="570"/>
                    <a:pt x="373" y="569"/>
                  </a:cubicBezTo>
                  <a:cubicBezTo>
                    <a:pt x="370" y="568"/>
                    <a:pt x="371" y="565"/>
                    <a:pt x="368" y="563"/>
                  </a:cubicBezTo>
                  <a:cubicBezTo>
                    <a:pt x="366" y="561"/>
                    <a:pt x="364" y="562"/>
                    <a:pt x="364" y="558"/>
                  </a:cubicBezTo>
                  <a:cubicBezTo>
                    <a:pt x="364" y="556"/>
                    <a:pt x="364" y="555"/>
                    <a:pt x="365" y="553"/>
                  </a:cubicBezTo>
                  <a:cubicBezTo>
                    <a:pt x="367" y="550"/>
                    <a:pt x="372" y="551"/>
                    <a:pt x="375" y="549"/>
                  </a:cubicBezTo>
                  <a:cubicBezTo>
                    <a:pt x="377" y="547"/>
                    <a:pt x="377" y="545"/>
                    <a:pt x="378" y="543"/>
                  </a:cubicBezTo>
                  <a:cubicBezTo>
                    <a:pt x="378" y="540"/>
                    <a:pt x="380" y="538"/>
                    <a:pt x="380" y="536"/>
                  </a:cubicBezTo>
                  <a:cubicBezTo>
                    <a:pt x="382" y="532"/>
                    <a:pt x="381" y="528"/>
                    <a:pt x="380" y="524"/>
                  </a:cubicBezTo>
                  <a:cubicBezTo>
                    <a:pt x="379" y="522"/>
                    <a:pt x="379" y="519"/>
                    <a:pt x="378" y="518"/>
                  </a:cubicBezTo>
                  <a:cubicBezTo>
                    <a:pt x="377" y="517"/>
                    <a:pt x="376" y="518"/>
                    <a:pt x="375" y="517"/>
                  </a:cubicBezTo>
                  <a:cubicBezTo>
                    <a:pt x="373" y="517"/>
                    <a:pt x="372" y="514"/>
                    <a:pt x="370" y="513"/>
                  </a:cubicBezTo>
                  <a:cubicBezTo>
                    <a:pt x="368" y="511"/>
                    <a:pt x="368" y="508"/>
                    <a:pt x="367" y="506"/>
                  </a:cubicBezTo>
                  <a:cubicBezTo>
                    <a:pt x="366" y="505"/>
                    <a:pt x="365" y="502"/>
                    <a:pt x="363" y="502"/>
                  </a:cubicBezTo>
                  <a:cubicBezTo>
                    <a:pt x="362" y="501"/>
                    <a:pt x="358" y="501"/>
                    <a:pt x="358" y="499"/>
                  </a:cubicBezTo>
                  <a:cubicBezTo>
                    <a:pt x="360" y="498"/>
                    <a:pt x="365" y="498"/>
                    <a:pt x="367" y="499"/>
                  </a:cubicBezTo>
                  <a:cubicBezTo>
                    <a:pt x="370" y="499"/>
                    <a:pt x="371" y="501"/>
                    <a:pt x="375" y="501"/>
                  </a:cubicBezTo>
                  <a:cubicBezTo>
                    <a:pt x="376" y="498"/>
                    <a:pt x="374" y="498"/>
                    <a:pt x="372" y="497"/>
                  </a:cubicBezTo>
                  <a:cubicBezTo>
                    <a:pt x="371" y="496"/>
                    <a:pt x="370" y="495"/>
                    <a:pt x="369" y="495"/>
                  </a:cubicBezTo>
                  <a:cubicBezTo>
                    <a:pt x="368" y="489"/>
                    <a:pt x="364" y="485"/>
                    <a:pt x="361" y="481"/>
                  </a:cubicBezTo>
                  <a:cubicBezTo>
                    <a:pt x="359" y="476"/>
                    <a:pt x="358" y="470"/>
                    <a:pt x="354" y="466"/>
                  </a:cubicBezTo>
                  <a:cubicBezTo>
                    <a:pt x="352" y="464"/>
                    <a:pt x="350" y="459"/>
                    <a:pt x="349" y="456"/>
                  </a:cubicBezTo>
                  <a:cubicBezTo>
                    <a:pt x="348" y="452"/>
                    <a:pt x="354" y="451"/>
                    <a:pt x="354" y="447"/>
                  </a:cubicBezTo>
                  <a:cubicBezTo>
                    <a:pt x="350" y="445"/>
                    <a:pt x="347" y="443"/>
                    <a:pt x="345" y="439"/>
                  </a:cubicBezTo>
                  <a:cubicBezTo>
                    <a:pt x="344" y="437"/>
                    <a:pt x="343" y="434"/>
                    <a:pt x="341" y="432"/>
                  </a:cubicBezTo>
                  <a:cubicBezTo>
                    <a:pt x="340" y="430"/>
                    <a:pt x="338" y="429"/>
                    <a:pt x="337" y="427"/>
                  </a:cubicBezTo>
                  <a:cubicBezTo>
                    <a:pt x="335" y="424"/>
                    <a:pt x="333" y="419"/>
                    <a:pt x="330" y="417"/>
                  </a:cubicBezTo>
                  <a:cubicBezTo>
                    <a:pt x="327" y="414"/>
                    <a:pt x="323" y="414"/>
                    <a:pt x="319" y="412"/>
                  </a:cubicBezTo>
                  <a:cubicBezTo>
                    <a:pt x="317" y="410"/>
                    <a:pt x="315" y="408"/>
                    <a:pt x="313" y="407"/>
                  </a:cubicBezTo>
                  <a:cubicBezTo>
                    <a:pt x="312" y="406"/>
                    <a:pt x="310" y="406"/>
                    <a:pt x="308" y="405"/>
                  </a:cubicBezTo>
                  <a:cubicBezTo>
                    <a:pt x="306" y="403"/>
                    <a:pt x="304" y="403"/>
                    <a:pt x="304" y="400"/>
                  </a:cubicBezTo>
                  <a:cubicBezTo>
                    <a:pt x="304" y="397"/>
                    <a:pt x="305" y="397"/>
                    <a:pt x="302" y="396"/>
                  </a:cubicBezTo>
                  <a:cubicBezTo>
                    <a:pt x="299" y="396"/>
                    <a:pt x="292" y="397"/>
                    <a:pt x="292" y="392"/>
                  </a:cubicBezTo>
                  <a:cubicBezTo>
                    <a:pt x="291" y="388"/>
                    <a:pt x="293" y="391"/>
                    <a:pt x="295" y="390"/>
                  </a:cubicBezTo>
                  <a:cubicBezTo>
                    <a:pt x="296" y="389"/>
                    <a:pt x="297" y="386"/>
                    <a:pt x="295" y="385"/>
                  </a:cubicBezTo>
                  <a:cubicBezTo>
                    <a:pt x="297" y="385"/>
                    <a:pt x="299" y="382"/>
                    <a:pt x="299" y="380"/>
                  </a:cubicBezTo>
                  <a:cubicBezTo>
                    <a:pt x="299" y="378"/>
                    <a:pt x="297" y="377"/>
                    <a:pt x="295" y="376"/>
                  </a:cubicBezTo>
                  <a:cubicBezTo>
                    <a:pt x="292" y="374"/>
                    <a:pt x="290" y="373"/>
                    <a:pt x="290" y="368"/>
                  </a:cubicBezTo>
                  <a:cubicBezTo>
                    <a:pt x="290" y="364"/>
                    <a:pt x="292" y="360"/>
                    <a:pt x="288" y="357"/>
                  </a:cubicBezTo>
                  <a:cubicBezTo>
                    <a:pt x="286" y="356"/>
                    <a:pt x="284" y="356"/>
                    <a:pt x="282" y="358"/>
                  </a:cubicBezTo>
                  <a:cubicBezTo>
                    <a:pt x="282" y="359"/>
                    <a:pt x="282" y="359"/>
                    <a:pt x="280" y="360"/>
                  </a:cubicBezTo>
                  <a:cubicBezTo>
                    <a:pt x="281" y="359"/>
                    <a:pt x="282" y="358"/>
                    <a:pt x="282" y="358"/>
                  </a:cubicBezTo>
                  <a:cubicBezTo>
                    <a:pt x="284" y="353"/>
                    <a:pt x="279" y="343"/>
                    <a:pt x="278" y="341"/>
                  </a:cubicBezTo>
                  <a:cubicBezTo>
                    <a:pt x="277" y="338"/>
                    <a:pt x="276" y="336"/>
                    <a:pt x="276" y="332"/>
                  </a:cubicBezTo>
                  <a:cubicBezTo>
                    <a:pt x="276" y="327"/>
                    <a:pt x="277" y="324"/>
                    <a:pt x="283" y="328"/>
                  </a:cubicBezTo>
                  <a:cubicBezTo>
                    <a:pt x="279" y="323"/>
                    <a:pt x="277" y="318"/>
                    <a:pt x="274" y="312"/>
                  </a:cubicBezTo>
                  <a:cubicBezTo>
                    <a:pt x="272" y="310"/>
                    <a:pt x="272" y="310"/>
                    <a:pt x="270" y="309"/>
                  </a:cubicBezTo>
                  <a:cubicBezTo>
                    <a:pt x="268" y="308"/>
                    <a:pt x="267" y="308"/>
                    <a:pt x="267" y="306"/>
                  </a:cubicBezTo>
                  <a:cubicBezTo>
                    <a:pt x="266" y="303"/>
                    <a:pt x="269" y="302"/>
                    <a:pt x="266" y="300"/>
                  </a:cubicBezTo>
                  <a:cubicBezTo>
                    <a:pt x="265" y="299"/>
                    <a:pt x="262" y="298"/>
                    <a:pt x="260" y="298"/>
                  </a:cubicBezTo>
                  <a:cubicBezTo>
                    <a:pt x="256" y="297"/>
                    <a:pt x="251" y="294"/>
                    <a:pt x="250" y="290"/>
                  </a:cubicBezTo>
                  <a:cubicBezTo>
                    <a:pt x="249" y="286"/>
                    <a:pt x="252" y="283"/>
                    <a:pt x="252" y="279"/>
                  </a:cubicBezTo>
                  <a:cubicBezTo>
                    <a:pt x="251" y="277"/>
                    <a:pt x="250" y="275"/>
                    <a:pt x="249" y="273"/>
                  </a:cubicBezTo>
                  <a:cubicBezTo>
                    <a:pt x="248" y="273"/>
                    <a:pt x="245" y="271"/>
                    <a:pt x="243" y="271"/>
                  </a:cubicBezTo>
                  <a:cubicBezTo>
                    <a:pt x="239" y="271"/>
                    <a:pt x="239" y="277"/>
                    <a:pt x="233" y="273"/>
                  </a:cubicBezTo>
                  <a:cubicBezTo>
                    <a:pt x="233" y="273"/>
                    <a:pt x="233" y="272"/>
                    <a:pt x="232" y="272"/>
                  </a:cubicBezTo>
                  <a:cubicBezTo>
                    <a:pt x="231" y="271"/>
                    <a:pt x="229" y="271"/>
                    <a:pt x="229" y="271"/>
                  </a:cubicBezTo>
                  <a:cubicBezTo>
                    <a:pt x="227" y="270"/>
                    <a:pt x="227" y="267"/>
                    <a:pt x="224" y="268"/>
                  </a:cubicBezTo>
                  <a:cubicBezTo>
                    <a:pt x="225" y="272"/>
                    <a:pt x="222" y="269"/>
                    <a:pt x="221" y="268"/>
                  </a:cubicBezTo>
                  <a:cubicBezTo>
                    <a:pt x="220" y="266"/>
                    <a:pt x="220" y="266"/>
                    <a:pt x="217" y="266"/>
                  </a:cubicBezTo>
                  <a:cubicBezTo>
                    <a:pt x="214" y="266"/>
                    <a:pt x="209" y="265"/>
                    <a:pt x="207" y="268"/>
                  </a:cubicBezTo>
                  <a:cubicBezTo>
                    <a:pt x="207" y="269"/>
                    <a:pt x="208" y="271"/>
                    <a:pt x="206" y="272"/>
                  </a:cubicBezTo>
                  <a:cubicBezTo>
                    <a:pt x="204" y="273"/>
                    <a:pt x="203" y="271"/>
                    <a:pt x="202" y="270"/>
                  </a:cubicBezTo>
                  <a:cubicBezTo>
                    <a:pt x="198" y="270"/>
                    <a:pt x="195" y="274"/>
                    <a:pt x="192" y="275"/>
                  </a:cubicBezTo>
                  <a:cubicBezTo>
                    <a:pt x="190" y="276"/>
                    <a:pt x="187" y="275"/>
                    <a:pt x="185" y="274"/>
                  </a:cubicBezTo>
                  <a:cubicBezTo>
                    <a:pt x="184" y="274"/>
                    <a:pt x="183" y="274"/>
                    <a:pt x="183" y="274"/>
                  </a:cubicBezTo>
                  <a:cubicBezTo>
                    <a:pt x="182" y="274"/>
                    <a:pt x="181" y="273"/>
                    <a:pt x="180" y="272"/>
                  </a:cubicBezTo>
                  <a:cubicBezTo>
                    <a:pt x="177" y="270"/>
                    <a:pt x="174" y="271"/>
                    <a:pt x="170" y="270"/>
                  </a:cubicBezTo>
                  <a:cubicBezTo>
                    <a:pt x="167" y="270"/>
                    <a:pt x="163" y="270"/>
                    <a:pt x="160" y="269"/>
                  </a:cubicBezTo>
                  <a:cubicBezTo>
                    <a:pt x="158" y="269"/>
                    <a:pt x="156" y="268"/>
                    <a:pt x="154" y="268"/>
                  </a:cubicBezTo>
                  <a:cubicBezTo>
                    <a:pt x="152" y="268"/>
                    <a:pt x="152" y="269"/>
                    <a:pt x="150" y="269"/>
                  </a:cubicBezTo>
                  <a:cubicBezTo>
                    <a:pt x="149" y="268"/>
                    <a:pt x="149" y="268"/>
                    <a:pt x="150" y="267"/>
                  </a:cubicBezTo>
                  <a:cubicBezTo>
                    <a:pt x="156" y="266"/>
                    <a:pt x="163" y="267"/>
                    <a:pt x="170" y="267"/>
                  </a:cubicBezTo>
                  <a:cubicBezTo>
                    <a:pt x="173" y="267"/>
                    <a:pt x="176" y="267"/>
                    <a:pt x="179" y="267"/>
                  </a:cubicBezTo>
                  <a:cubicBezTo>
                    <a:pt x="182" y="267"/>
                    <a:pt x="185" y="268"/>
                    <a:pt x="188" y="268"/>
                  </a:cubicBezTo>
                  <a:cubicBezTo>
                    <a:pt x="188" y="264"/>
                    <a:pt x="191" y="266"/>
                    <a:pt x="193" y="265"/>
                  </a:cubicBezTo>
                  <a:cubicBezTo>
                    <a:pt x="196" y="264"/>
                    <a:pt x="194" y="261"/>
                    <a:pt x="195" y="258"/>
                  </a:cubicBezTo>
                  <a:cubicBezTo>
                    <a:pt x="196" y="256"/>
                    <a:pt x="200" y="256"/>
                    <a:pt x="202" y="255"/>
                  </a:cubicBezTo>
                  <a:cubicBezTo>
                    <a:pt x="204" y="254"/>
                    <a:pt x="205" y="254"/>
                    <a:pt x="206" y="253"/>
                  </a:cubicBezTo>
                  <a:cubicBezTo>
                    <a:pt x="207" y="252"/>
                    <a:pt x="208" y="251"/>
                    <a:pt x="210" y="251"/>
                  </a:cubicBezTo>
                  <a:cubicBezTo>
                    <a:pt x="210" y="252"/>
                    <a:pt x="210" y="253"/>
                    <a:pt x="210" y="254"/>
                  </a:cubicBezTo>
                  <a:cubicBezTo>
                    <a:pt x="212" y="255"/>
                    <a:pt x="214" y="254"/>
                    <a:pt x="216" y="254"/>
                  </a:cubicBezTo>
                  <a:cubicBezTo>
                    <a:pt x="216" y="252"/>
                    <a:pt x="216" y="249"/>
                    <a:pt x="217" y="247"/>
                  </a:cubicBezTo>
                  <a:cubicBezTo>
                    <a:pt x="218" y="243"/>
                    <a:pt x="222" y="243"/>
                    <a:pt x="225" y="243"/>
                  </a:cubicBezTo>
                  <a:cubicBezTo>
                    <a:pt x="228" y="243"/>
                    <a:pt x="230" y="243"/>
                    <a:pt x="232" y="241"/>
                  </a:cubicBezTo>
                  <a:cubicBezTo>
                    <a:pt x="234" y="239"/>
                    <a:pt x="233" y="237"/>
                    <a:pt x="230" y="236"/>
                  </a:cubicBezTo>
                  <a:cubicBezTo>
                    <a:pt x="227" y="236"/>
                    <a:pt x="226" y="237"/>
                    <a:pt x="224" y="237"/>
                  </a:cubicBezTo>
                  <a:cubicBezTo>
                    <a:pt x="221" y="237"/>
                    <a:pt x="219" y="234"/>
                    <a:pt x="217" y="233"/>
                  </a:cubicBezTo>
                  <a:cubicBezTo>
                    <a:pt x="215" y="232"/>
                    <a:pt x="213" y="231"/>
                    <a:pt x="212" y="230"/>
                  </a:cubicBezTo>
                  <a:cubicBezTo>
                    <a:pt x="210" y="228"/>
                    <a:pt x="212" y="225"/>
                    <a:pt x="209" y="224"/>
                  </a:cubicBezTo>
                  <a:cubicBezTo>
                    <a:pt x="213" y="223"/>
                    <a:pt x="215" y="219"/>
                    <a:pt x="220" y="219"/>
                  </a:cubicBezTo>
                  <a:cubicBezTo>
                    <a:pt x="221" y="219"/>
                    <a:pt x="222" y="219"/>
                    <a:pt x="223" y="219"/>
                  </a:cubicBezTo>
                  <a:cubicBezTo>
                    <a:pt x="224" y="219"/>
                    <a:pt x="224" y="217"/>
                    <a:pt x="225" y="217"/>
                  </a:cubicBezTo>
                  <a:cubicBezTo>
                    <a:pt x="225" y="216"/>
                    <a:pt x="226" y="216"/>
                    <a:pt x="227" y="216"/>
                  </a:cubicBezTo>
                  <a:cubicBezTo>
                    <a:pt x="228" y="215"/>
                    <a:pt x="230" y="210"/>
                    <a:pt x="230" y="209"/>
                  </a:cubicBezTo>
                  <a:cubicBezTo>
                    <a:pt x="231" y="205"/>
                    <a:pt x="230" y="202"/>
                    <a:pt x="227" y="201"/>
                  </a:cubicBezTo>
                  <a:cubicBezTo>
                    <a:pt x="227" y="198"/>
                    <a:pt x="228" y="196"/>
                    <a:pt x="230" y="195"/>
                  </a:cubicBezTo>
                  <a:cubicBezTo>
                    <a:pt x="231" y="194"/>
                    <a:pt x="232" y="194"/>
                    <a:pt x="233" y="194"/>
                  </a:cubicBezTo>
                  <a:cubicBezTo>
                    <a:pt x="235" y="193"/>
                    <a:pt x="235" y="192"/>
                    <a:pt x="237" y="191"/>
                  </a:cubicBezTo>
                  <a:cubicBezTo>
                    <a:pt x="239" y="190"/>
                    <a:pt x="240" y="188"/>
                    <a:pt x="242" y="186"/>
                  </a:cubicBezTo>
                  <a:cubicBezTo>
                    <a:pt x="245" y="183"/>
                    <a:pt x="247" y="183"/>
                    <a:pt x="246" y="179"/>
                  </a:cubicBezTo>
                  <a:cubicBezTo>
                    <a:pt x="246" y="177"/>
                    <a:pt x="245" y="174"/>
                    <a:pt x="245" y="172"/>
                  </a:cubicBezTo>
                  <a:cubicBezTo>
                    <a:pt x="246" y="169"/>
                    <a:pt x="248" y="169"/>
                    <a:pt x="250" y="167"/>
                  </a:cubicBezTo>
                  <a:cubicBezTo>
                    <a:pt x="251" y="164"/>
                    <a:pt x="250" y="151"/>
                    <a:pt x="246" y="155"/>
                  </a:cubicBezTo>
                  <a:cubicBezTo>
                    <a:pt x="249" y="154"/>
                    <a:pt x="251" y="151"/>
                    <a:pt x="252" y="149"/>
                  </a:cubicBezTo>
                  <a:cubicBezTo>
                    <a:pt x="253" y="145"/>
                    <a:pt x="255" y="145"/>
                    <a:pt x="258" y="142"/>
                  </a:cubicBezTo>
                  <a:cubicBezTo>
                    <a:pt x="261" y="140"/>
                    <a:pt x="265" y="138"/>
                    <a:pt x="266" y="134"/>
                  </a:cubicBezTo>
                  <a:cubicBezTo>
                    <a:pt x="266" y="130"/>
                    <a:pt x="266" y="126"/>
                    <a:pt x="266" y="123"/>
                  </a:cubicBezTo>
                  <a:cubicBezTo>
                    <a:pt x="266" y="120"/>
                    <a:pt x="267" y="115"/>
                    <a:pt x="266" y="112"/>
                  </a:cubicBezTo>
                  <a:cubicBezTo>
                    <a:pt x="264" y="109"/>
                    <a:pt x="261" y="107"/>
                    <a:pt x="258" y="106"/>
                  </a:cubicBezTo>
                  <a:cubicBezTo>
                    <a:pt x="257" y="106"/>
                    <a:pt x="254" y="104"/>
                    <a:pt x="253" y="104"/>
                  </a:cubicBezTo>
                  <a:cubicBezTo>
                    <a:pt x="252" y="102"/>
                    <a:pt x="252" y="100"/>
                    <a:pt x="250" y="100"/>
                  </a:cubicBezTo>
                  <a:cubicBezTo>
                    <a:pt x="247" y="99"/>
                    <a:pt x="243" y="103"/>
                    <a:pt x="242" y="105"/>
                  </a:cubicBezTo>
                  <a:cubicBezTo>
                    <a:pt x="238" y="106"/>
                    <a:pt x="236" y="104"/>
                    <a:pt x="232" y="106"/>
                  </a:cubicBezTo>
                  <a:cubicBezTo>
                    <a:pt x="231" y="107"/>
                    <a:pt x="230" y="108"/>
                    <a:pt x="228" y="108"/>
                  </a:cubicBezTo>
                  <a:cubicBezTo>
                    <a:pt x="228" y="107"/>
                    <a:pt x="227" y="106"/>
                    <a:pt x="226" y="105"/>
                  </a:cubicBezTo>
                  <a:cubicBezTo>
                    <a:pt x="225" y="105"/>
                    <a:pt x="225" y="105"/>
                    <a:pt x="224" y="105"/>
                  </a:cubicBezTo>
                  <a:cubicBezTo>
                    <a:pt x="222" y="104"/>
                    <a:pt x="222" y="102"/>
                    <a:pt x="220" y="102"/>
                  </a:cubicBezTo>
                  <a:cubicBezTo>
                    <a:pt x="219" y="101"/>
                    <a:pt x="215" y="102"/>
                    <a:pt x="213" y="102"/>
                  </a:cubicBezTo>
                  <a:cubicBezTo>
                    <a:pt x="210" y="102"/>
                    <a:pt x="206" y="101"/>
                    <a:pt x="203" y="102"/>
                  </a:cubicBezTo>
                  <a:cubicBezTo>
                    <a:pt x="202" y="107"/>
                    <a:pt x="197" y="105"/>
                    <a:pt x="194" y="104"/>
                  </a:cubicBezTo>
                  <a:cubicBezTo>
                    <a:pt x="191" y="101"/>
                    <a:pt x="188" y="99"/>
                    <a:pt x="184" y="99"/>
                  </a:cubicBezTo>
                  <a:cubicBezTo>
                    <a:pt x="182" y="99"/>
                    <a:pt x="177" y="99"/>
                    <a:pt x="176" y="101"/>
                  </a:cubicBezTo>
                  <a:cubicBezTo>
                    <a:pt x="174" y="103"/>
                    <a:pt x="175" y="105"/>
                    <a:pt x="174" y="106"/>
                  </a:cubicBezTo>
                  <a:cubicBezTo>
                    <a:pt x="173" y="107"/>
                    <a:pt x="171" y="106"/>
                    <a:pt x="169" y="106"/>
                  </a:cubicBezTo>
                  <a:cubicBezTo>
                    <a:pt x="167" y="107"/>
                    <a:pt x="165" y="108"/>
                    <a:pt x="162" y="109"/>
                  </a:cubicBezTo>
                  <a:cubicBezTo>
                    <a:pt x="161" y="110"/>
                    <a:pt x="159" y="111"/>
                    <a:pt x="157" y="112"/>
                  </a:cubicBezTo>
                  <a:cubicBezTo>
                    <a:pt x="157" y="113"/>
                    <a:pt x="157" y="113"/>
                    <a:pt x="157" y="114"/>
                  </a:cubicBezTo>
                  <a:cubicBezTo>
                    <a:pt x="157" y="114"/>
                    <a:pt x="157" y="115"/>
                    <a:pt x="156" y="115"/>
                  </a:cubicBezTo>
                  <a:cubicBezTo>
                    <a:pt x="156" y="115"/>
                    <a:pt x="153" y="117"/>
                    <a:pt x="153" y="117"/>
                  </a:cubicBezTo>
                  <a:cubicBezTo>
                    <a:pt x="150" y="117"/>
                    <a:pt x="147" y="116"/>
                    <a:pt x="144" y="117"/>
                  </a:cubicBezTo>
                  <a:cubicBezTo>
                    <a:pt x="142" y="118"/>
                    <a:pt x="143" y="118"/>
                    <a:pt x="141" y="120"/>
                  </a:cubicBezTo>
                  <a:cubicBezTo>
                    <a:pt x="140" y="122"/>
                    <a:pt x="139" y="122"/>
                    <a:pt x="136" y="123"/>
                  </a:cubicBezTo>
                  <a:cubicBezTo>
                    <a:pt x="134" y="125"/>
                    <a:pt x="134" y="126"/>
                    <a:pt x="132" y="128"/>
                  </a:cubicBezTo>
                  <a:cubicBezTo>
                    <a:pt x="130" y="129"/>
                    <a:pt x="129" y="132"/>
                    <a:pt x="130" y="128"/>
                  </a:cubicBezTo>
                  <a:cubicBezTo>
                    <a:pt x="131" y="127"/>
                    <a:pt x="132" y="125"/>
                    <a:pt x="131" y="126"/>
                  </a:cubicBezTo>
                  <a:cubicBezTo>
                    <a:pt x="132" y="125"/>
                    <a:pt x="132" y="125"/>
                    <a:pt x="132" y="124"/>
                  </a:cubicBezTo>
                  <a:cubicBezTo>
                    <a:pt x="133" y="123"/>
                    <a:pt x="134" y="122"/>
                    <a:pt x="135" y="121"/>
                  </a:cubicBezTo>
                  <a:cubicBezTo>
                    <a:pt x="136" y="120"/>
                    <a:pt x="136" y="120"/>
                    <a:pt x="137" y="119"/>
                  </a:cubicBezTo>
                  <a:cubicBezTo>
                    <a:pt x="137" y="118"/>
                    <a:pt x="138" y="118"/>
                    <a:pt x="139" y="117"/>
                  </a:cubicBezTo>
                  <a:cubicBezTo>
                    <a:pt x="141" y="115"/>
                    <a:pt x="143" y="111"/>
                    <a:pt x="145" y="109"/>
                  </a:cubicBezTo>
                  <a:cubicBezTo>
                    <a:pt x="145" y="108"/>
                    <a:pt x="146" y="108"/>
                    <a:pt x="146" y="107"/>
                  </a:cubicBezTo>
                  <a:cubicBezTo>
                    <a:pt x="146" y="106"/>
                    <a:pt x="143" y="105"/>
                    <a:pt x="142" y="105"/>
                  </a:cubicBezTo>
                  <a:cubicBezTo>
                    <a:pt x="139" y="104"/>
                    <a:pt x="136" y="107"/>
                    <a:pt x="134" y="108"/>
                  </a:cubicBezTo>
                  <a:cubicBezTo>
                    <a:pt x="132" y="109"/>
                    <a:pt x="130" y="111"/>
                    <a:pt x="128" y="112"/>
                  </a:cubicBezTo>
                  <a:cubicBezTo>
                    <a:pt x="128" y="113"/>
                    <a:pt x="127" y="113"/>
                    <a:pt x="127" y="114"/>
                  </a:cubicBezTo>
                  <a:cubicBezTo>
                    <a:pt x="125" y="114"/>
                    <a:pt x="124" y="114"/>
                    <a:pt x="125" y="112"/>
                  </a:cubicBezTo>
                  <a:cubicBezTo>
                    <a:pt x="126" y="111"/>
                    <a:pt x="127" y="110"/>
                    <a:pt x="128" y="108"/>
                  </a:cubicBezTo>
                  <a:cubicBezTo>
                    <a:pt x="129" y="107"/>
                    <a:pt x="130" y="106"/>
                    <a:pt x="132" y="105"/>
                  </a:cubicBezTo>
                  <a:cubicBezTo>
                    <a:pt x="135" y="103"/>
                    <a:pt x="138" y="102"/>
                    <a:pt x="141" y="101"/>
                  </a:cubicBezTo>
                  <a:cubicBezTo>
                    <a:pt x="142" y="100"/>
                    <a:pt x="143" y="100"/>
                    <a:pt x="144" y="100"/>
                  </a:cubicBezTo>
                  <a:cubicBezTo>
                    <a:pt x="146" y="100"/>
                    <a:pt x="145" y="102"/>
                    <a:pt x="146" y="102"/>
                  </a:cubicBezTo>
                  <a:cubicBezTo>
                    <a:pt x="147" y="103"/>
                    <a:pt x="147" y="103"/>
                    <a:pt x="148" y="103"/>
                  </a:cubicBezTo>
                  <a:cubicBezTo>
                    <a:pt x="149" y="102"/>
                    <a:pt x="150" y="102"/>
                    <a:pt x="150" y="101"/>
                  </a:cubicBezTo>
                  <a:cubicBezTo>
                    <a:pt x="151" y="98"/>
                    <a:pt x="152" y="96"/>
                    <a:pt x="154" y="94"/>
                  </a:cubicBezTo>
                  <a:cubicBezTo>
                    <a:pt x="155" y="92"/>
                    <a:pt x="157" y="90"/>
                    <a:pt x="159" y="88"/>
                  </a:cubicBezTo>
                  <a:cubicBezTo>
                    <a:pt x="160" y="87"/>
                    <a:pt x="161" y="86"/>
                    <a:pt x="161" y="85"/>
                  </a:cubicBezTo>
                  <a:cubicBezTo>
                    <a:pt x="159" y="85"/>
                    <a:pt x="158" y="87"/>
                    <a:pt x="157" y="88"/>
                  </a:cubicBezTo>
                  <a:cubicBezTo>
                    <a:pt x="157" y="89"/>
                    <a:pt x="156" y="89"/>
                    <a:pt x="155" y="89"/>
                  </a:cubicBezTo>
                  <a:cubicBezTo>
                    <a:pt x="154" y="90"/>
                    <a:pt x="153" y="89"/>
                    <a:pt x="152" y="89"/>
                  </a:cubicBezTo>
                  <a:cubicBezTo>
                    <a:pt x="150" y="89"/>
                    <a:pt x="148" y="87"/>
                    <a:pt x="147" y="88"/>
                  </a:cubicBezTo>
                  <a:cubicBezTo>
                    <a:pt x="145" y="88"/>
                    <a:pt x="143" y="90"/>
                    <a:pt x="141" y="89"/>
                  </a:cubicBezTo>
                  <a:cubicBezTo>
                    <a:pt x="139" y="89"/>
                    <a:pt x="138" y="88"/>
                    <a:pt x="136" y="87"/>
                  </a:cubicBezTo>
                  <a:cubicBezTo>
                    <a:pt x="134" y="85"/>
                    <a:pt x="131" y="85"/>
                    <a:pt x="129" y="85"/>
                  </a:cubicBezTo>
                  <a:cubicBezTo>
                    <a:pt x="128" y="85"/>
                    <a:pt x="123" y="86"/>
                    <a:pt x="123" y="84"/>
                  </a:cubicBezTo>
                  <a:cubicBezTo>
                    <a:pt x="124" y="83"/>
                    <a:pt x="128" y="83"/>
                    <a:pt x="130" y="83"/>
                  </a:cubicBezTo>
                  <a:cubicBezTo>
                    <a:pt x="131" y="83"/>
                    <a:pt x="132" y="84"/>
                    <a:pt x="133" y="84"/>
                  </a:cubicBezTo>
                  <a:cubicBezTo>
                    <a:pt x="135" y="84"/>
                    <a:pt x="139" y="83"/>
                    <a:pt x="141" y="84"/>
                  </a:cubicBezTo>
                  <a:cubicBezTo>
                    <a:pt x="143" y="84"/>
                    <a:pt x="144" y="85"/>
                    <a:pt x="146" y="84"/>
                  </a:cubicBezTo>
                  <a:cubicBezTo>
                    <a:pt x="147" y="84"/>
                    <a:pt x="147" y="83"/>
                    <a:pt x="147" y="81"/>
                  </a:cubicBezTo>
                  <a:cubicBezTo>
                    <a:pt x="147" y="80"/>
                    <a:pt x="147" y="79"/>
                    <a:pt x="148" y="78"/>
                  </a:cubicBezTo>
                  <a:cubicBezTo>
                    <a:pt x="148" y="77"/>
                    <a:pt x="149" y="76"/>
                    <a:pt x="150" y="76"/>
                  </a:cubicBezTo>
                  <a:cubicBezTo>
                    <a:pt x="152" y="75"/>
                    <a:pt x="154" y="74"/>
                    <a:pt x="155" y="73"/>
                  </a:cubicBezTo>
                  <a:cubicBezTo>
                    <a:pt x="156" y="72"/>
                    <a:pt x="156" y="73"/>
                    <a:pt x="156" y="72"/>
                  </a:cubicBezTo>
                  <a:cubicBezTo>
                    <a:pt x="157" y="72"/>
                    <a:pt x="157" y="71"/>
                    <a:pt x="157" y="71"/>
                  </a:cubicBezTo>
                  <a:cubicBezTo>
                    <a:pt x="157" y="70"/>
                    <a:pt x="157" y="70"/>
                    <a:pt x="158" y="69"/>
                  </a:cubicBezTo>
                  <a:cubicBezTo>
                    <a:pt x="158" y="68"/>
                    <a:pt x="159" y="68"/>
                    <a:pt x="159" y="68"/>
                  </a:cubicBezTo>
                  <a:cubicBezTo>
                    <a:pt x="160" y="67"/>
                    <a:pt x="161" y="66"/>
                    <a:pt x="161" y="65"/>
                  </a:cubicBezTo>
                  <a:cubicBezTo>
                    <a:pt x="162" y="64"/>
                    <a:pt x="164" y="63"/>
                    <a:pt x="164" y="62"/>
                  </a:cubicBezTo>
                  <a:cubicBezTo>
                    <a:pt x="166" y="61"/>
                    <a:pt x="166" y="59"/>
                    <a:pt x="168" y="58"/>
                  </a:cubicBezTo>
                  <a:cubicBezTo>
                    <a:pt x="168" y="58"/>
                    <a:pt x="169" y="58"/>
                    <a:pt x="169" y="58"/>
                  </a:cubicBezTo>
                  <a:cubicBezTo>
                    <a:pt x="170" y="57"/>
                    <a:pt x="169" y="57"/>
                    <a:pt x="170" y="57"/>
                  </a:cubicBezTo>
                  <a:cubicBezTo>
                    <a:pt x="170" y="56"/>
                    <a:pt x="171" y="56"/>
                    <a:pt x="172" y="56"/>
                  </a:cubicBezTo>
                  <a:cubicBezTo>
                    <a:pt x="175" y="54"/>
                    <a:pt x="177" y="53"/>
                    <a:pt x="179" y="50"/>
                  </a:cubicBezTo>
                  <a:cubicBezTo>
                    <a:pt x="180" y="48"/>
                    <a:pt x="180" y="47"/>
                    <a:pt x="181" y="45"/>
                  </a:cubicBezTo>
                  <a:cubicBezTo>
                    <a:pt x="182" y="45"/>
                    <a:pt x="182" y="44"/>
                    <a:pt x="182" y="43"/>
                  </a:cubicBezTo>
                  <a:cubicBezTo>
                    <a:pt x="183" y="43"/>
                    <a:pt x="186" y="44"/>
                    <a:pt x="187" y="43"/>
                  </a:cubicBezTo>
                  <a:cubicBezTo>
                    <a:pt x="187" y="42"/>
                    <a:pt x="187" y="42"/>
                    <a:pt x="188" y="41"/>
                  </a:cubicBezTo>
                  <a:cubicBezTo>
                    <a:pt x="188" y="40"/>
                    <a:pt x="190" y="40"/>
                    <a:pt x="190" y="39"/>
                  </a:cubicBezTo>
                  <a:cubicBezTo>
                    <a:pt x="191" y="38"/>
                    <a:pt x="191" y="37"/>
                    <a:pt x="192" y="36"/>
                  </a:cubicBezTo>
                  <a:cubicBezTo>
                    <a:pt x="192" y="35"/>
                    <a:pt x="193" y="35"/>
                    <a:pt x="194" y="34"/>
                  </a:cubicBezTo>
                  <a:cubicBezTo>
                    <a:pt x="194" y="33"/>
                    <a:pt x="195" y="32"/>
                    <a:pt x="195" y="31"/>
                  </a:cubicBezTo>
                  <a:cubicBezTo>
                    <a:pt x="196" y="30"/>
                    <a:pt x="197" y="30"/>
                    <a:pt x="197" y="29"/>
                  </a:cubicBezTo>
                  <a:cubicBezTo>
                    <a:pt x="197" y="28"/>
                    <a:pt x="197" y="28"/>
                    <a:pt x="198" y="27"/>
                  </a:cubicBezTo>
                  <a:cubicBezTo>
                    <a:pt x="198" y="26"/>
                    <a:pt x="198" y="26"/>
                    <a:pt x="199" y="25"/>
                  </a:cubicBezTo>
                  <a:cubicBezTo>
                    <a:pt x="199" y="24"/>
                    <a:pt x="199" y="24"/>
                    <a:pt x="199" y="24"/>
                  </a:cubicBezTo>
                  <a:cubicBezTo>
                    <a:pt x="198" y="23"/>
                    <a:pt x="195" y="23"/>
                    <a:pt x="194" y="22"/>
                  </a:cubicBezTo>
                  <a:cubicBezTo>
                    <a:pt x="194" y="22"/>
                    <a:pt x="194" y="21"/>
                    <a:pt x="193" y="21"/>
                  </a:cubicBezTo>
                  <a:cubicBezTo>
                    <a:pt x="193" y="20"/>
                    <a:pt x="193" y="20"/>
                    <a:pt x="192" y="19"/>
                  </a:cubicBezTo>
                  <a:cubicBezTo>
                    <a:pt x="192" y="18"/>
                    <a:pt x="193" y="17"/>
                    <a:pt x="194" y="15"/>
                  </a:cubicBezTo>
                  <a:cubicBezTo>
                    <a:pt x="195" y="15"/>
                    <a:pt x="195" y="14"/>
                    <a:pt x="196" y="13"/>
                  </a:cubicBezTo>
                  <a:cubicBezTo>
                    <a:pt x="196" y="13"/>
                    <a:pt x="197" y="13"/>
                    <a:pt x="198" y="12"/>
                  </a:cubicBezTo>
                  <a:cubicBezTo>
                    <a:pt x="198" y="12"/>
                    <a:pt x="198" y="11"/>
                    <a:pt x="199" y="11"/>
                  </a:cubicBezTo>
                  <a:cubicBezTo>
                    <a:pt x="200" y="9"/>
                    <a:pt x="202" y="8"/>
                    <a:pt x="201" y="6"/>
                  </a:cubicBezTo>
                  <a:cubicBezTo>
                    <a:pt x="201" y="6"/>
                    <a:pt x="199" y="5"/>
                    <a:pt x="199" y="4"/>
                  </a:cubicBezTo>
                  <a:cubicBezTo>
                    <a:pt x="198" y="4"/>
                    <a:pt x="197" y="4"/>
                    <a:pt x="196" y="4"/>
                  </a:cubicBezTo>
                  <a:cubicBezTo>
                    <a:pt x="195" y="4"/>
                    <a:pt x="194" y="3"/>
                    <a:pt x="193" y="4"/>
                  </a:cubicBezTo>
                  <a:cubicBezTo>
                    <a:pt x="193" y="4"/>
                    <a:pt x="192" y="5"/>
                    <a:pt x="191" y="5"/>
                  </a:cubicBezTo>
                  <a:cubicBezTo>
                    <a:pt x="191" y="5"/>
                    <a:pt x="190" y="4"/>
                    <a:pt x="189" y="4"/>
                  </a:cubicBezTo>
                  <a:cubicBezTo>
                    <a:pt x="188" y="4"/>
                    <a:pt x="188" y="4"/>
                    <a:pt x="187" y="4"/>
                  </a:cubicBezTo>
                  <a:cubicBezTo>
                    <a:pt x="186" y="4"/>
                    <a:pt x="186" y="4"/>
                    <a:pt x="185" y="4"/>
                  </a:cubicBezTo>
                  <a:cubicBezTo>
                    <a:pt x="184" y="4"/>
                    <a:pt x="184" y="3"/>
                    <a:pt x="183" y="3"/>
                  </a:cubicBezTo>
                  <a:cubicBezTo>
                    <a:pt x="183" y="3"/>
                    <a:pt x="182" y="3"/>
                    <a:pt x="182" y="3"/>
                  </a:cubicBezTo>
                  <a:cubicBezTo>
                    <a:pt x="182" y="2"/>
                    <a:pt x="181" y="2"/>
                    <a:pt x="181" y="2"/>
                  </a:cubicBezTo>
                  <a:cubicBezTo>
                    <a:pt x="181" y="1"/>
                    <a:pt x="181" y="0"/>
                    <a:pt x="180" y="1"/>
                  </a:cubicBezTo>
                  <a:cubicBezTo>
                    <a:pt x="179" y="1"/>
                    <a:pt x="179" y="4"/>
                    <a:pt x="179" y="5"/>
                  </a:cubicBezTo>
                  <a:cubicBezTo>
                    <a:pt x="180" y="7"/>
                    <a:pt x="182" y="5"/>
                    <a:pt x="183" y="7"/>
                  </a:cubicBezTo>
                  <a:cubicBezTo>
                    <a:pt x="184" y="8"/>
                    <a:pt x="180" y="10"/>
                    <a:pt x="179" y="11"/>
                  </a:cubicBezTo>
                  <a:cubicBezTo>
                    <a:pt x="178" y="11"/>
                    <a:pt x="176" y="11"/>
                    <a:pt x="175" y="11"/>
                  </a:cubicBezTo>
                  <a:cubicBezTo>
                    <a:pt x="173" y="10"/>
                    <a:pt x="169" y="6"/>
                    <a:pt x="167" y="9"/>
                  </a:cubicBezTo>
                  <a:cubicBezTo>
                    <a:pt x="166" y="9"/>
                    <a:pt x="164" y="9"/>
                    <a:pt x="163" y="10"/>
                  </a:cubicBezTo>
                  <a:cubicBezTo>
                    <a:pt x="162" y="11"/>
                    <a:pt x="162" y="12"/>
                    <a:pt x="162" y="12"/>
                  </a:cubicBezTo>
                  <a:cubicBezTo>
                    <a:pt x="160" y="13"/>
                    <a:pt x="157" y="12"/>
                    <a:pt x="156" y="12"/>
                  </a:cubicBezTo>
                  <a:cubicBezTo>
                    <a:pt x="154" y="13"/>
                    <a:pt x="152" y="13"/>
                    <a:pt x="151" y="13"/>
                  </a:cubicBezTo>
                  <a:cubicBezTo>
                    <a:pt x="149" y="13"/>
                    <a:pt x="149" y="11"/>
                    <a:pt x="147" y="11"/>
                  </a:cubicBezTo>
                  <a:cubicBezTo>
                    <a:pt x="146" y="11"/>
                    <a:pt x="146" y="11"/>
                    <a:pt x="145" y="12"/>
                  </a:cubicBezTo>
                  <a:cubicBezTo>
                    <a:pt x="143" y="13"/>
                    <a:pt x="142" y="12"/>
                    <a:pt x="141" y="13"/>
                  </a:cubicBezTo>
                  <a:cubicBezTo>
                    <a:pt x="140" y="13"/>
                    <a:pt x="139" y="13"/>
                    <a:pt x="139" y="13"/>
                  </a:cubicBezTo>
                  <a:cubicBezTo>
                    <a:pt x="139" y="14"/>
                    <a:pt x="139" y="14"/>
                    <a:pt x="139" y="15"/>
                  </a:cubicBezTo>
                  <a:cubicBezTo>
                    <a:pt x="138" y="15"/>
                    <a:pt x="137" y="16"/>
                    <a:pt x="136" y="16"/>
                  </a:cubicBezTo>
                  <a:cubicBezTo>
                    <a:pt x="136" y="17"/>
                    <a:pt x="135" y="17"/>
                    <a:pt x="134" y="17"/>
                  </a:cubicBezTo>
                  <a:cubicBezTo>
                    <a:pt x="134" y="17"/>
                    <a:pt x="133" y="17"/>
                    <a:pt x="132" y="17"/>
                  </a:cubicBezTo>
                  <a:cubicBezTo>
                    <a:pt x="131" y="17"/>
                    <a:pt x="131" y="18"/>
                    <a:pt x="131" y="18"/>
                  </a:cubicBezTo>
                  <a:cubicBezTo>
                    <a:pt x="130" y="19"/>
                    <a:pt x="129" y="18"/>
                    <a:pt x="129" y="18"/>
                  </a:cubicBezTo>
                  <a:cubicBezTo>
                    <a:pt x="129" y="20"/>
                    <a:pt x="127" y="22"/>
                    <a:pt x="126" y="23"/>
                  </a:cubicBezTo>
                  <a:cubicBezTo>
                    <a:pt x="125" y="25"/>
                    <a:pt x="124" y="27"/>
                    <a:pt x="122" y="28"/>
                  </a:cubicBezTo>
                  <a:cubicBezTo>
                    <a:pt x="121" y="27"/>
                    <a:pt x="122" y="25"/>
                    <a:pt x="122" y="24"/>
                  </a:cubicBezTo>
                  <a:cubicBezTo>
                    <a:pt x="122" y="24"/>
                    <a:pt x="122" y="23"/>
                    <a:pt x="122" y="22"/>
                  </a:cubicBezTo>
                  <a:cubicBezTo>
                    <a:pt x="122" y="21"/>
                    <a:pt x="122" y="20"/>
                    <a:pt x="123" y="19"/>
                  </a:cubicBezTo>
                  <a:cubicBezTo>
                    <a:pt x="123" y="18"/>
                    <a:pt x="123" y="17"/>
                    <a:pt x="123" y="16"/>
                  </a:cubicBezTo>
                  <a:cubicBezTo>
                    <a:pt x="123" y="15"/>
                    <a:pt x="123" y="15"/>
                    <a:pt x="123" y="14"/>
                  </a:cubicBezTo>
                  <a:cubicBezTo>
                    <a:pt x="122" y="14"/>
                    <a:pt x="123" y="14"/>
                    <a:pt x="122" y="13"/>
                  </a:cubicBezTo>
                  <a:cubicBezTo>
                    <a:pt x="121" y="12"/>
                    <a:pt x="117" y="13"/>
                    <a:pt x="116" y="14"/>
                  </a:cubicBezTo>
                  <a:cubicBezTo>
                    <a:pt x="115" y="15"/>
                    <a:pt x="115" y="17"/>
                    <a:pt x="115" y="18"/>
                  </a:cubicBezTo>
                  <a:cubicBezTo>
                    <a:pt x="114" y="19"/>
                    <a:pt x="114" y="20"/>
                    <a:pt x="113" y="20"/>
                  </a:cubicBezTo>
                  <a:cubicBezTo>
                    <a:pt x="112" y="21"/>
                    <a:pt x="112" y="21"/>
                    <a:pt x="112" y="21"/>
                  </a:cubicBezTo>
                  <a:cubicBezTo>
                    <a:pt x="111" y="21"/>
                    <a:pt x="111" y="22"/>
                    <a:pt x="111" y="23"/>
                  </a:cubicBezTo>
                  <a:cubicBezTo>
                    <a:pt x="110" y="23"/>
                    <a:pt x="110" y="23"/>
                    <a:pt x="109" y="24"/>
                  </a:cubicBezTo>
                  <a:cubicBezTo>
                    <a:pt x="109" y="24"/>
                    <a:pt x="108" y="25"/>
                    <a:pt x="107" y="25"/>
                  </a:cubicBezTo>
                  <a:cubicBezTo>
                    <a:pt x="105" y="25"/>
                    <a:pt x="107" y="23"/>
                    <a:pt x="108" y="22"/>
                  </a:cubicBezTo>
                  <a:cubicBezTo>
                    <a:pt x="109" y="20"/>
                    <a:pt x="111" y="20"/>
                    <a:pt x="111" y="18"/>
                  </a:cubicBezTo>
                  <a:cubicBezTo>
                    <a:pt x="111" y="16"/>
                    <a:pt x="109" y="14"/>
                    <a:pt x="107" y="13"/>
                  </a:cubicBezTo>
                  <a:cubicBezTo>
                    <a:pt x="106" y="13"/>
                    <a:pt x="106" y="14"/>
                    <a:pt x="106" y="15"/>
                  </a:cubicBezTo>
                  <a:cubicBezTo>
                    <a:pt x="106" y="15"/>
                    <a:pt x="105" y="15"/>
                    <a:pt x="105" y="15"/>
                  </a:cubicBezTo>
                  <a:cubicBezTo>
                    <a:pt x="105" y="15"/>
                    <a:pt x="105" y="16"/>
                    <a:pt x="105" y="16"/>
                  </a:cubicBezTo>
                  <a:cubicBezTo>
                    <a:pt x="105" y="16"/>
                    <a:pt x="105" y="17"/>
                    <a:pt x="105" y="17"/>
                  </a:cubicBezTo>
                  <a:cubicBezTo>
                    <a:pt x="104" y="17"/>
                    <a:pt x="103" y="14"/>
                    <a:pt x="103" y="13"/>
                  </a:cubicBezTo>
                  <a:cubicBezTo>
                    <a:pt x="103" y="11"/>
                    <a:pt x="104" y="10"/>
                    <a:pt x="102" y="9"/>
                  </a:cubicBezTo>
                  <a:cubicBezTo>
                    <a:pt x="101" y="8"/>
                    <a:pt x="100" y="7"/>
                    <a:pt x="98" y="8"/>
                  </a:cubicBezTo>
                  <a:cubicBezTo>
                    <a:pt x="98" y="8"/>
                    <a:pt x="96" y="8"/>
                    <a:pt x="96" y="9"/>
                  </a:cubicBezTo>
                  <a:cubicBezTo>
                    <a:pt x="95" y="10"/>
                    <a:pt x="95" y="12"/>
                    <a:pt x="94" y="13"/>
                  </a:cubicBezTo>
                  <a:cubicBezTo>
                    <a:pt x="94" y="14"/>
                    <a:pt x="93" y="15"/>
                    <a:pt x="92" y="16"/>
                  </a:cubicBezTo>
                  <a:cubicBezTo>
                    <a:pt x="90" y="18"/>
                    <a:pt x="88" y="20"/>
                    <a:pt x="88" y="22"/>
                  </a:cubicBezTo>
                  <a:cubicBezTo>
                    <a:pt x="89" y="22"/>
                    <a:pt x="89" y="23"/>
                    <a:pt x="89" y="23"/>
                  </a:cubicBezTo>
                  <a:cubicBezTo>
                    <a:pt x="90" y="23"/>
                    <a:pt x="90" y="24"/>
                    <a:pt x="90" y="24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7" y="28"/>
                    <a:pt x="92" y="28"/>
                    <a:pt x="89" y="30"/>
                  </a:cubicBezTo>
                  <a:cubicBezTo>
                    <a:pt x="87" y="31"/>
                    <a:pt x="85" y="34"/>
                    <a:pt x="84" y="37"/>
                  </a:cubicBezTo>
                  <a:cubicBezTo>
                    <a:pt x="84" y="38"/>
                    <a:pt x="85" y="38"/>
                    <a:pt x="86" y="39"/>
                  </a:cubicBezTo>
                  <a:cubicBezTo>
                    <a:pt x="87" y="40"/>
                    <a:pt x="87" y="40"/>
                    <a:pt x="87" y="42"/>
                  </a:cubicBezTo>
                  <a:cubicBezTo>
                    <a:pt x="87" y="43"/>
                    <a:pt x="87" y="43"/>
                    <a:pt x="89" y="43"/>
                  </a:cubicBezTo>
                  <a:cubicBezTo>
                    <a:pt x="89" y="43"/>
                    <a:pt x="90" y="43"/>
                    <a:pt x="90" y="44"/>
                  </a:cubicBezTo>
                  <a:cubicBezTo>
                    <a:pt x="91" y="45"/>
                    <a:pt x="89" y="45"/>
                    <a:pt x="89" y="45"/>
                  </a:cubicBezTo>
                  <a:cubicBezTo>
                    <a:pt x="86" y="46"/>
                    <a:pt x="84" y="45"/>
                    <a:pt x="81" y="45"/>
                  </a:cubicBezTo>
                  <a:cubicBezTo>
                    <a:pt x="80" y="45"/>
                    <a:pt x="79" y="45"/>
                    <a:pt x="77" y="46"/>
                  </a:cubicBezTo>
                  <a:cubicBezTo>
                    <a:pt x="76" y="46"/>
                    <a:pt x="75" y="45"/>
                    <a:pt x="74" y="46"/>
                  </a:cubicBezTo>
                  <a:cubicBezTo>
                    <a:pt x="74" y="47"/>
                    <a:pt x="73" y="50"/>
                    <a:pt x="74" y="50"/>
                  </a:cubicBezTo>
                  <a:cubicBezTo>
                    <a:pt x="74" y="51"/>
                    <a:pt x="75" y="52"/>
                    <a:pt x="76" y="52"/>
                  </a:cubicBezTo>
                  <a:cubicBezTo>
                    <a:pt x="76" y="53"/>
                    <a:pt x="76" y="54"/>
                    <a:pt x="76" y="55"/>
                  </a:cubicBezTo>
                  <a:cubicBezTo>
                    <a:pt x="76" y="56"/>
                    <a:pt x="76" y="57"/>
                    <a:pt x="76" y="58"/>
                  </a:cubicBezTo>
                  <a:cubicBezTo>
                    <a:pt x="76" y="60"/>
                    <a:pt x="77" y="61"/>
                    <a:pt x="77" y="62"/>
                  </a:cubicBezTo>
                  <a:cubicBezTo>
                    <a:pt x="78" y="62"/>
                    <a:pt x="77" y="59"/>
                    <a:pt x="78" y="59"/>
                  </a:cubicBezTo>
                  <a:cubicBezTo>
                    <a:pt x="79" y="59"/>
                    <a:pt x="79" y="61"/>
                    <a:pt x="79" y="61"/>
                  </a:cubicBezTo>
                  <a:cubicBezTo>
                    <a:pt x="78" y="62"/>
                    <a:pt x="78" y="62"/>
                    <a:pt x="78" y="63"/>
                  </a:cubicBezTo>
                  <a:cubicBezTo>
                    <a:pt x="77" y="64"/>
                    <a:pt x="77" y="67"/>
                    <a:pt x="78" y="67"/>
                  </a:cubicBezTo>
                  <a:cubicBezTo>
                    <a:pt x="76" y="68"/>
                    <a:pt x="75" y="66"/>
                    <a:pt x="73" y="65"/>
                  </a:cubicBezTo>
                  <a:cubicBezTo>
                    <a:pt x="73" y="65"/>
                    <a:pt x="70" y="63"/>
                    <a:pt x="69" y="64"/>
                  </a:cubicBezTo>
                  <a:cubicBezTo>
                    <a:pt x="67" y="67"/>
                    <a:pt x="72" y="70"/>
                    <a:pt x="73" y="71"/>
                  </a:cubicBezTo>
                  <a:cubicBezTo>
                    <a:pt x="74" y="72"/>
                    <a:pt x="75" y="73"/>
                    <a:pt x="76" y="74"/>
                  </a:cubicBezTo>
                  <a:cubicBezTo>
                    <a:pt x="77" y="74"/>
                    <a:pt x="78" y="74"/>
                    <a:pt x="78" y="75"/>
                  </a:cubicBezTo>
                  <a:cubicBezTo>
                    <a:pt x="79" y="75"/>
                    <a:pt x="79" y="76"/>
                    <a:pt x="80" y="76"/>
                  </a:cubicBezTo>
                  <a:cubicBezTo>
                    <a:pt x="81" y="78"/>
                    <a:pt x="83" y="77"/>
                    <a:pt x="84" y="79"/>
                  </a:cubicBezTo>
                  <a:cubicBezTo>
                    <a:pt x="86" y="80"/>
                    <a:pt x="84" y="82"/>
                    <a:pt x="84" y="84"/>
                  </a:cubicBezTo>
                  <a:cubicBezTo>
                    <a:pt x="84" y="86"/>
                    <a:pt x="86" y="86"/>
                    <a:pt x="87" y="88"/>
                  </a:cubicBezTo>
                  <a:cubicBezTo>
                    <a:pt x="86" y="86"/>
                    <a:pt x="84" y="85"/>
                    <a:pt x="82" y="84"/>
                  </a:cubicBezTo>
                  <a:cubicBezTo>
                    <a:pt x="81" y="84"/>
                    <a:pt x="79" y="83"/>
                    <a:pt x="77" y="82"/>
                  </a:cubicBezTo>
                  <a:cubicBezTo>
                    <a:pt x="76" y="81"/>
                    <a:pt x="75" y="81"/>
                    <a:pt x="75" y="81"/>
                  </a:cubicBezTo>
                  <a:cubicBezTo>
                    <a:pt x="74" y="83"/>
                    <a:pt x="76" y="84"/>
                    <a:pt x="77" y="85"/>
                  </a:cubicBezTo>
                  <a:cubicBezTo>
                    <a:pt x="78" y="86"/>
                    <a:pt x="79" y="87"/>
                    <a:pt x="80" y="89"/>
                  </a:cubicBezTo>
                  <a:cubicBezTo>
                    <a:pt x="78" y="88"/>
                    <a:pt x="77" y="87"/>
                    <a:pt x="75" y="86"/>
                  </a:cubicBezTo>
                  <a:cubicBezTo>
                    <a:pt x="75" y="85"/>
                    <a:pt x="74" y="85"/>
                    <a:pt x="74" y="84"/>
                  </a:cubicBezTo>
                  <a:cubicBezTo>
                    <a:pt x="73" y="84"/>
                    <a:pt x="73" y="84"/>
                    <a:pt x="72" y="84"/>
                  </a:cubicBezTo>
                  <a:cubicBezTo>
                    <a:pt x="72" y="83"/>
                    <a:pt x="71" y="82"/>
                    <a:pt x="70" y="83"/>
                  </a:cubicBezTo>
                  <a:cubicBezTo>
                    <a:pt x="70" y="83"/>
                    <a:pt x="69" y="85"/>
                    <a:pt x="69" y="86"/>
                  </a:cubicBezTo>
                  <a:cubicBezTo>
                    <a:pt x="69" y="86"/>
                    <a:pt x="68" y="88"/>
                    <a:pt x="67" y="87"/>
                  </a:cubicBezTo>
                  <a:cubicBezTo>
                    <a:pt x="66" y="87"/>
                    <a:pt x="66" y="86"/>
                    <a:pt x="66" y="85"/>
                  </a:cubicBezTo>
                  <a:cubicBezTo>
                    <a:pt x="65" y="84"/>
                    <a:pt x="66" y="84"/>
                    <a:pt x="65" y="83"/>
                  </a:cubicBezTo>
                  <a:cubicBezTo>
                    <a:pt x="65" y="83"/>
                    <a:pt x="64" y="83"/>
                    <a:pt x="64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2" y="82"/>
                    <a:pt x="62" y="82"/>
                  </a:cubicBezTo>
                  <a:cubicBezTo>
                    <a:pt x="61" y="82"/>
                    <a:pt x="60" y="82"/>
                    <a:pt x="60" y="83"/>
                  </a:cubicBezTo>
                  <a:cubicBezTo>
                    <a:pt x="60" y="84"/>
                    <a:pt x="60" y="86"/>
                    <a:pt x="60" y="86"/>
                  </a:cubicBezTo>
                  <a:cubicBezTo>
                    <a:pt x="60" y="89"/>
                    <a:pt x="60" y="91"/>
                    <a:pt x="60" y="93"/>
                  </a:cubicBezTo>
                  <a:cubicBezTo>
                    <a:pt x="60" y="94"/>
                    <a:pt x="60" y="96"/>
                    <a:pt x="59" y="96"/>
                  </a:cubicBezTo>
                  <a:cubicBezTo>
                    <a:pt x="58" y="96"/>
                    <a:pt x="57" y="92"/>
                    <a:pt x="57" y="91"/>
                  </a:cubicBezTo>
                  <a:cubicBezTo>
                    <a:pt x="57" y="90"/>
                    <a:pt x="57" y="88"/>
                    <a:pt x="56" y="87"/>
                  </a:cubicBezTo>
                  <a:cubicBezTo>
                    <a:pt x="54" y="85"/>
                    <a:pt x="52" y="87"/>
                    <a:pt x="51" y="88"/>
                  </a:cubicBezTo>
                  <a:cubicBezTo>
                    <a:pt x="50" y="88"/>
                    <a:pt x="49" y="89"/>
                    <a:pt x="49" y="90"/>
                  </a:cubicBezTo>
                  <a:cubicBezTo>
                    <a:pt x="49" y="90"/>
                    <a:pt x="50" y="90"/>
                    <a:pt x="50" y="90"/>
                  </a:cubicBezTo>
                  <a:cubicBezTo>
                    <a:pt x="50" y="90"/>
                    <a:pt x="50" y="91"/>
                    <a:pt x="50" y="91"/>
                  </a:cubicBezTo>
                  <a:cubicBezTo>
                    <a:pt x="50" y="92"/>
                    <a:pt x="50" y="92"/>
                    <a:pt x="50" y="93"/>
                  </a:cubicBezTo>
                  <a:cubicBezTo>
                    <a:pt x="50" y="95"/>
                    <a:pt x="50" y="97"/>
                    <a:pt x="51" y="100"/>
                  </a:cubicBezTo>
                  <a:cubicBezTo>
                    <a:pt x="51" y="101"/>
                    <a:pt x="52" y="101"/>
                    <a:pt x="52" y="101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54" y="102"/>
                    <a:pt x="56" y="103"/>
                    <a:pt x="55" y="104"/>
                  </a:cubicBezTo>
                  <a:cubicBezTo>
                    <a:pt x="54" y="104"/>
                    <a:pt x="52" y="104"/>
                    <a:pt x="51" y="105"/>
                  </a:cubicBezTo>
                  <a:cubicBezTo>
                    <a:pt x="52" y="105"/>
                    <a:pt x="53" y="106"/>
                    <a:pt x="53" y="106"/>
                  </a:cubicBezTo>
                  <a:cubicBezTo>
                    <a:pt x="53" y="106"/>
                    <a:pt x="53" y="107"/>
                    <a:pt x="52" y="107"/>
                  </a:cubicBezTo>
                  <a:cubicBezTo>
                    <a:pt x="52" y="108"/>
                    <a:pt x="51" y="107"/>
                    <a:pt x="51" y="108"/>
                  </a:cubicBezTo>
                  <a:cubicBezTo>
                    <a:pt x="51" y="109"/>
                    <a:pt x="50" y="109"/>
                    <a:pt x="50" y="110"/>
                  </a:cubicBezTo>
                  <a:cubicBezTo>
                    <a:pt x="51" y="111"/>
                    <a:pt x="51" y="110"/>
                    <a:pt x="52" y="111"/>
                  </a:cubicBezTo>
                  <a:cubicBezTo>
                    <a:pt x="52" y="111"/>
                    <a:pt x="53" y="112"/>
                    <a:pt x="54" y="112"/>
                  </a:cubicBezTo>
                  <a:cubicBezTo>
                    <a:pt x="54" y="113"/>
                    <a:pt x="54" y="114"/>
                    <a:pt x="55" y="114"/>
                  </a:cubicBezTo>
                  <a:cubicBezTo>
                    <a:pt x="55" y="115"/>
                    <a:pt x="56" y="116"/>
                    <a:pt x="57" y="117"/>
                  </a:cubicBezTo>
                  <a:cubicBezTo>
                    <a:pt x="57" y="117"/>
                    <a:pt x="57" y="118"/>
                    <a:pt x="57" y="119"/>
                  </a:cubicBezTo>
                  <a:cubicBezTo>
                    <a:pt x="59" y="120"/>
                    <a:pt x="61" y="117"/>
                    <a:pt x="62" y="118"/>
                  </a:cubicBezTo>
                  <a:cubicBezTo>
                    <a:pt x="63" y="118"/>
                    <a:pt x="64" y="119"/>
                    <a:pt x="64" y="120"/>
                  </a:cubicBezTo>
                  <a:cubicBezTo>
                    <a:pt x="63" y="121"/>
                    <a:pt x="60" y="121"/>
                    <a:pt x="59" y="121"/>
                  </a:cubicBezTo>
                  <a:cubicBezTo>
                    <a:pt x="58" y="121"/>
                    <a:pt x="58" y="121"/>
                    <a:pt x="58" y="122"/>
                  </a:cubicBezTo>
                  <a:cubicBezTo>
                    <a:pt x="55" y="121"/>
                    <a:pt x="53" y="118"/>
                    <a:pt x="50" y="117"/>
                  </a:cubicBezTo>
                  <a:cubicBezTo>
                    <a:pt x="50" y="117"/>
                    <a:pt x="48" y="117"/>
                    <a:pt x="48" y="117"/>
                  </a:cubicBezTo>
                  <a:cubicBezTo>
                    <a:pt x="47" y="118"/>
                    <a:pt x="47" y="121"/>
                    <a:pt x="47" y="122"/>
                  </a:cubicBezTo>
                  <a:cubicBezTo>
                    <a:pt x="47" y="123"/>
                    <a:pt x="47" y="124"/>
                    <a:pt x="47" y="125"/>
                  </a:cubicBezTo>
                  <a:cubicBezTo>
                    <a:pt x="48" y="126"/>
                    <a:pt x="48" y="127"/>
                    <a:pt x="49" y="129"/>
                  </a:cubicBezTo>
                  <a:cubicBezTo>
                    <a:pt x="49" y="130"/>
                    <a:pt x="49" y="131"/>
                    <a:pt x="49" y="132"/>
                  </a:cubicBezTo>
                  <a:cubicBezTo>
                    <a:pt x="49" y="133"/>
                    <a:pt x="49" y="133"/>
                    <a:pt x="49" y="134"/>
                  </a:cubicBezTo>
                  <a:cubicBezTo>
                    <a:pt x="49" y="135"/>
                    <a:pt x="49" y="136"/>
                    <a:pt x="49" y="137"/>
                  </a:cubicBezTo>
                  <a:cubicBezTo>
                    <a:pt x="49" y="139"/>
                    <a:pt x="50" y="140"/>
                    <a:pt x="51" y="140"/>
                  </a:cubicBezTo>
                  <a:cubicBezTo>
                    <a:pt x="51" y="140"/>
                    <a:pt x="52" y="140"/>
                    <a:pt x="52" y="140"/>
                  </a:cubicBezTo>
                  <a:cubicBezTo>
                    <a:pt x="53" y="139"/>
                    <a:pt x="53" y="139"/>
                    <a:pt x="53" y="138"/>
                  </a:cubicBezTo>
                  <a:cubicBezTo>
                    <a:pt x="54" y="137"/>
                    <a:pt x="55" y="137"/>
                    <a:pt x="56" y="136"/>
                  </a:cubicBezTo>
                  <a:cubicBezTo>
                    <a:pt x="57" y="136"/>
                    <a:pt x="59" y="135"/>
                    <a:pt x="60" y="135"/>
                  </a:cubicBezTo>
                  <a:cubicBezTo>
                    <a:pt x="61" y="135"/>
                    <a:pt x="61" y="135"/>
                    <a:pt x="61" y="136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8"/>
                    <a:pt x="63" y="138"/>
                    <a:pt x="63" y="138"/>
                  </a:cubicBezTo>
                  <a:cubicBezTo>
                    <a:pt x="65" y="138"/>
                    <a:pt x="65" y="138"/>
                    <a:pt x="66" y="137"/>
                  </a:cubicBezTo>
                  <a:cubicBezTo>
                    <a:pt x="67" y="136"/>
                    <a:pt x="66" y="135"/>
                    <a:pt x="67" y="134"/>
                  </a:cubicBezTo>
                  <a:cubicBezTo>
                    <a:pt x="68" y="134"/>
                    <a:pt x="70" y="134"/>
                    <a:pt x="71" y="134"/>
                  </a:cubicBezTo>
                  <a:cubicBezTo>
                    <a:pt x="72" y="136"/>
                    <a:pt x="70" y="137"/>
                    <a:pt x="69" y="138"/>
                  </a:cubicBezTo>
                  <a:cubicBezTo>
                    <a:pt x="68" y="139"/>
                    <a:pt x="67" y="140"/>
                    <a:pt x="66" y="140"/>
                  </a:cubicBezTo>
                  <a:cubicBezTo>
                    <a:pt x="64" y="141"/>
                    <a:pt x="62" y="141"/>
                    <a:pt x="61" y="142"/>
                  </a:cubicBezTo>
                  <a:cubicBezTo>
                    <a:pt x="60" y="142"/>
                    <a:pt x="58" y="141"/>
                    <a:pt x="57" y="142"/>
                  </a:cubicBezTo>
                  <a:cubicBezTo>
                    <a:pt x="56" y="142"/>
                    <a:pt x="56" y="144"/>
                    <a:pt x="55" y="144"/>
                  </a:cubicBezTo>
                  <a:cubicBezTo>
                    <a:pt x="56" y="144"/>
                    <a:pt x="58" y="145"/>
                    <a:pt x="59" y="145"/>
                  </a:cubicBezTo>
                  <a:cubicBezTo>
                    <a:pt x="59" y="146"/>
                    <a:pt x="61" y="146"/>
                    <a:pt x="62" y="146"/>
                  </a:cubicBezTo>
                  <a:cubicBezTo>
                    <a:pt x="63" y="146"/>
                    <a:pt x="65" y="146"/>
                    <a:pt x="64" y="147"/>
                  </a:cubicBezTo>
                  <a:cubicBezTo>
                    <a:pt x="64" y="148"/>
                    <a:pt x="62" y="148"/>
                    <a:pt x="61" y="149"/>
                  </a:cubicBezTo>
                  <a:cubicBezTo>
                    <a:pt x="60" y="149"/>
                    <a:pt x="60" y="150"/>
                    <a:pt x="60" y="151"/>
                  </a:cubicBezTo>
                  <a:cubicBezTo>
                    <a:pt x="59" y="152"/>
                    <a:pt x="59" y="151"/>
                    <a:pt x="59" y="150"/>
                  </a:cubicBezTo>
                  <a:cubicBezTo>
                    <a:pt x="58" y="150"/>
                    <a:pt x="58" y="149"/>
                    <a:pt x="58" y="148"/>
                  </a:cubicBezTo>
                  <a:cubicBezTo>
                    <a:pt x="58" y="147"/>
                    <a:pt x="55" y="147"/>
                    <a:pt x="55" y="148"/>
                  </a:cubicBezTo>
                  <a:cubicBezTo>
                    <a:pt x="54" y="148"/>
                    <a:pt x="54" y="149"/>
                    <a:pt x="54" y="149"/>
                  </a:cubicBezTo>
                  <a:cubicBezTo>
                    <a:pt x="53" y="149"/>
                    <a:pt x="52" y="149"/>
                    <a:pt x="51" y="149"/>
                  </a:cubicBezTo>
                  <a:cubicBezTo>
                    <a:pt x="49" y="149"/>
                    <a:pt x="48" y="149"/>
                    <a:pt x="46" y="148"/>
                  </a:cubicBezTo>
                  <a:cubicBezTo>
                    <a:pt x="46" y="148"/>
                    <a:pt x="46" y="147"/>
                    <a:pt x="45" y="146"/>
                  </a:cubicBezTo>
                  <a:cubicBezTo>
                    <a:pt x="45" y="146"/>
                    <a:pt x="45" y="144"/>
                    <a:pt x="45" y="143"/>
                  </a:cubicBezTo>
                  <a:cubicBezTo>
                    <a:pt x="44" y="142"/>
                    <a:pt x="42" y="141"/>
                    <a:pt x="41" y="141"/>
                  </a:cubicBezTo>
                  <a:cubicBezTo>
                    <a:pt x="41" y="141"/>
                    <a:pt x="40" y="141"/>
                    <a:pt x="40" y="141"/>
                  </a:cubicBezTo>
                  <a:cubicBezTo>
                    <a:pt x="39" y="140"/>
                    <a:pt x="39" y="139"/>
                    <a:pt x="39" y="138"/>
                  </a:cubicBezTo>
                  <a:cubicBezTo>
                    <a:pt x="39" y="137"/>
                    <a:pt x="39" y="136"/>
                    <a:pt x="39" y="134"/>
                  </a:cubicBezTo>
                  <a:cubicBezTo>
                    <a:pt x="40" y="133"/>
                    <a:pt x="40" y="131"/>
                    <a:pt x="41" y="130"/>
                  </a:cubicBezTo>
                  <a:cubicBezTo>
                    <a:pt x="41" y="129"/>
                    <a:pt x="41" y="128"/>
                    <a:pt x="42" y="126"/>
                  </a:cubicBezTo>
                  <a:cubicBezTo>
                    <a:pt x="43" y="124"/>
                    <a:pt x="43" y="122"/>
                    <a:pt x="43" y="119"/>
                  </a:cubicBezTo>
                  <a:cubicBezTo>
                    <a:pt x="43" y="119"/>
                    <a:pt x="43" y="118"/>
                    <a:pt x="43" y="117"/>
                  </a:cubicBezTo>
                  <a:cubicBezTo>
                    <a:pt x="42" y="115"/>
                    <a:pt x="40" y="116"/>
                    <a:pt x="40" y="117"/>
                  </a:cubicBezTo>
                  <a:cubicBezTo>
                    <a:pt x="39" y="119"/>
                    <a:pt x="39" y="121"/>
                    <a:pt x="39" y="122"/>
                  </a:cubicBezTo>
                  <a:cubicBezTo>
                    <a:pt x="40" y="124"/>
                    <a:pt x="39" y="124"/>
                    <a:pt x="38" y="125"/>
                  </a:cubicBezTo>
                  <a:cubicBezTo>
                    <a:pt x="37" y="127"/>
                    <a:pt x="37" y="130"/>
                    <a:pt x="36" y="132"/>
                  </a:cubicBezTo>
                  <a:cubicBezTo>
                    <a:pt x="36" y="134"/>
                    <a:pt x="36" y="134"/>
                    <a:pt x="36" y="136"/>
                  </a:cubicBezTo>
                  <a:cubicBezTo>
                    <a:pt x="36" y="136"/>
                    <a:pt x="37" y="138"/>
                    <a:pt x="36" y="139"/>
                  </a:cubicBezTo>
                  <a:cubicBezTo>
                    <a:pt x="35" y="138"/>
                    <a:pt x="34" y="135"/>
                    <a:pt x="33" y="133"/>
                  </a:cubicBezTo>
                  <a:cubicBezTo>
                    <a:pt x="33" y="132"/>
                    <a:pt x="33" y="130"/>
                    <a:pt x="33" y="129"/>
                  </a:cubicBezTo>
                  <a:cubicBezTo>
                    <a:pt x="33" y="126"/>
                    <a:pt x="33" y="124"/>
                    <a:pt x="33" y="121"/>
                  </a:cubicBezTo>
                  <a:cubicBezTo>
                    <a:pt x="33" y="118"/>
                    <a:pt x="31" y="114"/>
                    <a:pt x="30" y="112"/>
                  </a:cubicBezTo>
                  <a:cubicBezTo>
                    <a:pt x="29" y="111"/>
                    <a:pt x="28" y="110"/>
                    <a:pt x="28" y="109"/>
                  </a:cubicBezTo>
                  <a:cubicBezTo>
                    <a:pt x="27" y="108"/>
                    <a:pt x="26" y="107"/>
                    <a:pt x="26" y="106"/>
                  </a:cubicBezTo>
                  <a:cubicBezTo>
                    <a:pt x="24" y="104"/>
                    <a:pt x="22" y="103"/>
                    <a:pt x="20" y="105"/>
                  </a:cubicBezTo>
                  <a:cubicBezTo>
                    <a:pt x="19" y="107"/>
                    <a:pt x="18" y="109"/>
                    <a:pt x="17" y="110"/>
                  </a:cubicBezTo>
                  <a:cubicBezTo>
                    <a:pt x="17" y="112"/>
                    <a:pt x="18" y="114"/>
                    <a:pt x="18" y="115"/>
                  </a:cubicBezTo>
                  <a:cubicBezTo>
                    <a:pt x="18" y="117"/>
                    <a:pt x="18" y="118"/>
                    <a:pt x="20" y="119"/>
                  </a:cubicBezTo>
                  <a:cubicBezTo>
                    <a:pt x="20" y="119"/>
                    <a:pt x="21" y="120"/>
                    <a:pt x="21" y="121"/>
                  </a:cubicBezTo>
                  <a:cubicBezTo>
                    <a:pt x="21" y="121"/>
                    <a:pt x="21" y="122"/>
                    <a:pt x="21" y="123"/>
                  </a:cubicBezTo>
                  <a:cubicBezTo>
                    <a:pt x="21" y="123"/>
                    <a:pt x="23" y="124"/>
                    <a:pt x="22" y="125"/>
                  </a:cubicBezTo>
                  <a:cubicBezTo>
                    <a:pt x="22" y="125"/>
                    <a:pt x="21" y="124"/>
                    <a:pt x="20" y="123"/>
                  </a:cubicBezTo>
                  <a:cubicBezTo>
                    <a:pt x="20" y="123"/>
                    <a:pt x="20" y="123"/>
                    <a:pt x="19" y="123"/>
                  </a:cubicBezTo>
                  <a:cubicBezTo>
                    <a:pt x="18" y="123"/>
                    <a:pt x="17" y="124"/>
                    <a:pt x="16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3" y="120"/>
                    <a:pt x="12" y="120"/>
                    <a:pt x="11" y="119"/>
                  </a:cubicBezTo>
                  <a:cubicBezTo>
                    <a:pt x="11" y="119"/>
                    <a:pt x="10" y="118"/>
                    <a:pt x="10" y="118"/>
                  </a:cubicBezTo>
                  <a:cubicBezTo>
                    <a:pt x="9" y="117"/>
                    <a:pt x="9" y="117"/>
                    <a:pt x="9" y="116"/>
                  </a:cubicBezTo>
                  <a:cubicBezTo>
                    <a:pt x="8" y="115"/>
                    <a:pt x="8" y="113"/>
                    <a:pt x="7" y="113"/>
                  </a:cubicBezTo>
                  <a:cubicBezTo>
                    <a:pt x="6" y="114"/>
                    <a:pt x="6" y="116"/>
                    <a:pt x="6" y="117"/>
                  </a:cubicBezTo>
                  <a:cubicBezTo>
                    <a:pt x="7" y="118"/>
                    <a:pt x="7" y="119"/>
                    <a:pt x="8" y="120"/>
                  </a:cubicBezTo>
                  <a:cubicBezTo>
                    <a:pt x="8" y="121"/>
                    <a:pt x="7" y="123"/>
                    <a:pt x="8" y="123"/>
                  </a:cubicBezTo>
                  <a:cubicBezTo>
                    <a:pt x="8" y="123"/>
                    <a:pt x="8" y="123"/>
                    <a:pt x="8" y="123"/>
                  </a:cubicBezTo>
                  <a:cubicBezTo>
                    <a:pt x="7" y="124"/>
                    <a:pt x="8" y="126"/>
                    <a:pt x="8" y="127"/>
                  </a:cubicBezTo>
                  <a:cubicBezTo>
                    <a:pt x="8" y="127"/>
                    <a:pt x="8" y="128"/>
                    <a:pt x="8" y="129"/>
                  </a:cubicBezTo>
                  <a:cubicBezTo>
                    <a:pt x="8" y="129"/>
                    <a:pt x="9" y="130"/>
                    <a:pt x="8" y="131"/>
                  </a:cubicBezTo>
                  <a:cubicBezTo>
                    <a:pt x="7" y="132"/>
                    <a:pt x="5" y="128"/>
                    <a:pt x="4" y="127"/>
                  </a:cubicBezTo>
                  <a:cubicBezTo>
                    <a:pt x="4" y="126"/>
                    <a:pt x="3" y="123"/>
                    <a:pt x="1" y="123"/>
                  </a:cubicBezTo>
                  <a:cubicBezTo>
                    <a:pt x="1" y="124"/>
                    <a:pt x="1" y="124"/>
                    <a:pt x="1" y="125"/>
                  </a:cubicBezTo>
                  <a:cubicBezTo>
                    <a:pt x="1" y="125"/>
                    <a:pt x="0" y="126"/>
                    <a:pt x="0" y="126"/>
                  </a:cubicBezTo>
                  <a:cubicBezTo>
                    <a:pt x="0" y="129"/>
                    <a:pt x="0" y="131"/>
                    <a:pt x="0" y="133"/>
                  </a:cubicBezTo>
                  <a:cubicBezTo>
                    <a:pt x="0" y="135"/>
                    <a:pt x="0" y="136"/>
                    <a:pt x="2" y="137"/>
                  </a:cubicBezTo>
                  <a:cubicBezTo>
                    <a:pt x="2" y="138"/>
                    <a:pt x="3" y="139"/>
                    <a:pt x="4" y="139"/>
                  </a:cubicBezTo>
                  <a:cubicBezTo>
                    <a:pt x="5" y="140"/>
                    <a:pt x="6" y="140"/>
                    <a:pt x="7" y="140"/>
                  </a:cubicBezTo>
                  <a:cubicBezTo>
                    <a:pt x="8" y="140"/>
                    <a:pt x="8" y="140"/>
                    <a:pt x="9" y="139"/>
                  </a:cubicBezTo>
                  <a:cubicBezTo>
                    <a:pt x="9" y="138"/>
                    <a:pt x="10" y="136"/>
                    <a:pt x="12" y="136"/>
                  </a:cubicBezTo>
                  <a:cubicBezTo>
                    <a:pt x="13" y="136"/>
                    <a:pt x="15" y="137"/>
                    <a:pt x="16" y="138"/>
                  </a:cubicBezTo>
                  <a:cubicBezTo>
                    <a:pt x="16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8" y="140"/>
                  </a:cubicBezTo>
                  <a:cubicBezTo>
                    <a:pt x="19" y="141"/>
                    <a:pt x="21" y="142"/>
                    <a:pt x="22" y="144"/>
                  </a:cubicBezTo>
                  <a:cubicBezTo>
                    <a:pt x="20" y="144"/>
                    <a:pt x="19" y="143"/>
                    <a:pt x="17" y="143"/>
                  </a:cubicBezTo>
                  <a:cubicBezTo>
                    <a:pt x="17" y="143"/>
                    <a:pt x="14" y="141"/>
                    <a:pt x="13" y="141"/>
                  </a:cubicBezTo>
                  <a:cubicBezTo>
                    <a:pt x="12" y="141"/>
                    <a:pt x="12" y="143"/>
                    <a:pt x="12" y="144"/>
                  </a:cubicBezTo>
                  <a:cubicBezTo>
                    <a:pt x="11" y="148"/>
                    <a:pt x="14" y="150"/>
                    <a:pt x="17" y="153"/>
                  </a:cubicBezTo>
                  <a:cubicBezTo>
                    <a:pt x="18" y="154"/>
                    <a:pt x="19" y="155"/>
                    <a:pt x="20" y="156"/>
                  </a:cubicBezTo>
                  <a:cubicBezTo>
                    <a:pt x="20" y="157"/>
                    <a:pt x="21" y="157"/>
                    <a:pt x="21" y="158"/>
                  </a:cubicBezTo>
                  <a:cubicBezTo>
                    <a:pt x="22" y="159"/>
                    <a:pt x="23" y="160"/>
                    <a:pt x="26" y="160"/>
                  </a:cubicBezTo>
                  <a:cubicBezTo>
                    <a:pt x="27" y="160"/>
                    <a:pt x="27" y="160"/>
                    <a:pt x="28" y="159"/>
                  </a:cubicBezTo>
                  <a:cubicBezTo>
                    <a:pt x="28" y="159"/>
                    <a:pt x="29" y="159"/>
                    <a:pt x="30" y="159"/>
                  </a:cubicBezTo>
                  <a:cubicBezTo>
                    <a:pt x="30" y="159"/>
                    <a:pt x="30" y="158"/>
                    <a:pt x="31" y="158"/>
                  </a:cubicBezTo>
                  <a:cubicBezTo>
                    <a:pt x="32" y="158"/>
                    <a:pt x="32" y="158"/>
                    <a:pt x="33" y="159"/>
                  </a:cubicBezTo>
                  <a:cubicBezTo>
                    <a:pt x="33" y="159"/>
                    <a:pt x="33" y="160"/>
                    <a:pt x="33" y="160"/>
                  </a:cubicBezTo>
                  <a:cubicBezTo>
                    <a:pt x="34" y="160"/>
                    <a:pt x="35" y="160"/>
                    <a:pt x="36" y="160"/>
                  </a:cubicBezTo>
                  <a:cubicBezTo>
                    <a:pt x="37" y="159"/>
                    <a:pt x="40" y="158"/>
                    <a:pt x="42" y="159"/>
                  </a:cubicBezTo>
                  <a:cubicBezTo>
                    <a:pt x="44" y="160"/>
                    <a:pt x="38" y="165"/>
                    <a:pt x="38" y="167"/>
                  </a:cubicBezTo>
                  <a:cubicBezTo>
                    <a:pt x="38" y="168"/>
                    <a:pt x="38" y="169"/>
                    <a:pt x="39" y="170"/>
                  </a:cubicBezTo>
                  <a:cubicBezTo>
                    <a:pt x="40" y="170"/>
                    <a:pt x="40" y="171"/>
                    <a:pt x="41" y="171"/>
                  </a:cubicBezTo>
                  <a:cubicBezTo>
                    <a:pt x="42" y="172"/>
                    <a:pt x="43" y="171"/>
                    <a:pt x="44" y="171"/>
                  </a:cubicBezTo>
                  <a:cubicBezTo>
                    <a:pt x="46" y="170"/>
                    <a:pt x="47" y="169"/>
                    <a:pt x="48" y="168"/>
                  </a:cubicBezTo>
                  <a:cubicBezTo>
                    <a:pt x="50" y="167"/>
                    <a:pt x="49" y="166"/>
                    <a:pt x="50" y="164"/>
                  </a:cubicBezTo>
                  <a:cubicBezTo>
                    <a:pt x="50" y="163"/>
                    <a:pt x="51" y="161"/>
                    <a:pt x="52" y="160"/>
                  </a:cubicBezTo>
                  <a:cubicBezTo>
                    <a:pt x="53" y="159"/>
                    <a:pt x="53" y="159"/>
                    <a:pt x="54" y="158"/>
                  </a:cubicBezTo>
                  <a:cubicBezTo>
                    <a:pt x="54" y="158"/>
                    <a:pt x="55" y="157"/>
                    <a:pt x="55" y="156"/>
                  </a:cubicBezTo>
                  <a:cubicBezTo>
                    <a:pt x="56" y="155"/>
                    <a:pt x="58" y="154"/>
                    <a:pt x="59" y="154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60" y="156"/>
                    <a:pt x="56" y="157"/>
                    <a:pt x="58" y="159"/>
                  </a:cubicBezTo>
                  <a:cubicBezTo>
                    <a:pt x="59" y="159"/>
                    <a:pt x="60" y="159"/>
                    <a:pt x="60" y="160"/>
                  </a:cubicBezTo>
                  <a:cubicBezTo>
                    <a:pt x="61" y="160"/>
                    <a:pt x="61" y="161"/>
                    <a:pt x="62" y="162"/>
                  </a:cubicBezTo>
                  <a:cubicBezTo>
                    <a:pt x="63" y="163"/>
                    <a:pt x="64" y="163"/>
                    <a:pt x="66" y="163"/>
                  </a:cubicBezTo>
                  <a:cubicBezTo>
                    <a:pt x="67" y="163"/>
                    <a:pt x="67" y="163"/>
                    <a:pt x="68" y="164"/>
                  </a:cubicBezTo>
                  <a:cubicBezTo>
                    <a:pt x="69" y="166"/>
                    <a:pt x="66" y="165"/>
                    <a:pt x="65" y="165"/>
                  </a:cubicBezTo>
                  <a:cubicBezTo>
                    <a:pt x="64" y="165"/>
                    <a:pt x="64" y="165"/>
                    <a:pt x="64" y="164"/>
                  </a:cubicBezTo>
                  <a:cubicBezTo>
                    <a:pt x="62" y="164"/>
                    <a:pt x="62" y="163"/>
                    <a:pt x="60" y="163"/>
                  </a:cubicBezTo>
                  <a:cubicBezTo>
                    <a:pt x="60" y="163"/>
                    <a:pt x="59" y="163"/>
                    <a:pt x="59" y="163"/>
                  </a:cubicBezTo>
                  <a:cubicBezTo>
                    <a:pt x="58" y="163"/>
                    <a:pt x="57" y="162"/>
                    <a:pt x="56" y="162"/>
                  </a:cubicBezTo>
                  <a:cubicBezTo>
                    <a:pt x="56" y="163"/>
                    <a:pt x="55" y="164"/>
                    <a:pt x="55" y="165"/>
                  </a:cubicBezTo>
                  <a:cubicBezTo>
                    <a:pt x="54" y="166"/>
                    <a:pt x="54" y="167"/>
                    <a:pt x="54" y="168"/>
                  </a:cubicBezTo>
                  <a:cubicBezTo>
                    <a:pt x="54" y="171"/>
                    <a:pt x="57" y="171"/>
                    <a:pt x="59" y="172"/>
                  </a:cubicBezTo>
                  <a:cubicBezTo>
                    <a:pt x="59" y="173"/>
                    <a:pt x="60" y="173"/>
                    <a:pt x="60" y="174"/>
                  </a:cubicBezTo>
                  <a:cubicBezTo>
                    <a:pt x="61" y="174"/>
                    <a:pt x="61" y="175"/>
                    <a:pt x="61" y="175"/>
                  </a:cubicBezTo>
                  <a:cubicBezTo>
                    <a:pt x="60" y="175"/>
                    <a:pt x="59" y="175"/>
                    <a:pt x="58" y="175"/>
                  </a:cubicBezTo>
                  <a:cubicBezTo>
                    <a:pt x="57" y="174"/>
                    <a:pt x="57" y="173"/>
                    <a:pt x="55" y="173"/>
                  </a:cubicBezTo>
                  <a:cubicBezTo>
                    <a:pt x="53" y="173"/>
                    <a:pt x="51" y="174"/>
                    <a:pt x="49" y="174"/>
                  </a:cubicBezTo>
                  <a:cubicBezTo>
                    <a:pt x="49" y="175"/>
                    <a:pt x="48" y="175"/>
                    <a:pt x="48" y="176"/>
                  </a:cubicBezTo>
                  <a:cubicBezTo>
                    <a:pt x="47" y="177"/>
                    <a:pt x="48" y="177"/>
                    <a:pt x="49" y="178"/>
                  </a:cubicBezTo>
                  <a:cubicBezTo>
                    <a:pt x="50" y="178"/>
                    <a:pt x="52" y="179"/>
                    <a:pt x="50" y="180"/>
                  </a:cubicBezTo>
                  <a:cubicBezTo>
                    <a:pt x="50" y="180"/>
                    <a:pt x="49" y="179"/>
                    <a:pt x="49" y="180"/>
                  </a:cubicBezTo>
                  <a:cubicBezTo>
                    <a:pt x="49" y="180"/>
                    <a:pt x="49" y="180"/>
                    <a:pt x="49" y="181"/>
                  </a:cubicBezTo>
                  <a:cubicBezTo>
                    <a:pt x="48" y="181"/>
                    <a:pt x="48" y="181"/>
                    <a:pt x="48" y="182"/>
                  </a:cubicBezTo>
                  <a:cubicBezTo>
                    <a:pt x="48" y="182"/>
                    <a:pt x="48" y="182"/>
                    <a:pt x="48" y="183"/>
                  </a:cubicBezTo>
                  <a:cubicBezTo>
                    <a:pt x="48" y="184"/>
                    <a:pt x="47" y="183"/>
                    <a:pt x="46" y="183"/>
                  </a:cubicBezTo>
                  <a:cubicBezTo>
                    <a:pt x="45" y="184"/>
                    <a:pt x="43" y="186"/>
                    <a:pt x="44" y="187"/>
                  </a:cubicBezTo>
                  <a:cubicBezTo>
                    <a:pt x="45" y="188"/>
                    <a:pt x="47" y="186"/>
                    <a:pt x="47" y="186"/>
                  </a:cubicBezTo>
                  <a:cubicBezTo>
                    <a:pt x="48" y="186"/>
                    <a:pt x="50" y="185"/>
                    <a:pt x="51" y="185"/>
                  </a:cubicBezTo>
                  <a:cubicBezTo>
                    <a:pt x="53" y="186"/>
                    <a:pt x="54" y="188"/>
                    <a:pt x="54" y="189"/>
                  </a:cubicBezTo>
                  <a:cubicBezTo>
                    <a:pt x="52" y="190"/>
                    <a:pt x="49" y="189"/>
                    <a:pt x="48" y="190"/>
                  </a:cubicBezTo>
                  <a:cubicBezTo>
                    <a:pt x="47" y="191"/>
                    <a:pt x="47" y="192"/>
                    <a:pt x="47" y="192"/>
                  </a:cubicBezTo>
                  <a:cubicBezTo>
                    <a:pt x="46" y="194"/>
                    <a:pt x="47" y="195"/>
                    <a:pt x="46" y="196"/>
                  </a:cubicBezTo>
                  <a:cubicBezTo>
                    <a:pt x="45" y="196"/>
                    <a:pt x="44" y="197"/>
                    <a:pt x="44" y="198"/>
                  </a:cubicBezTo>
                  <a:cubicBezTo>
                    <a:pt x="44" y="198"/>
                    <a:pt x="44" y="196"/>
                    <a:pt x="43" y="196"/>
                  </a:cubicBezTo>
                  <a:cubicBezTo>
                    <a:pt x="42" y="196"/>
                    <a:pt x="42" y="197"/>
                    <a:pt x="41" y="197"/>
                  </a:cubicBezTo>
                  <a:cubicBezTo>
                    <a:pt x="40" y="197"/>
                    <a:pt x="39" y="197"/>
                    <a:pt x="39" y="197"/>
                  </a:cubicBezTo>
                  <a:cubicBezTo>
                    <a:pt x="38" y="198"/>
                    <a:pt x="38" y="198"/>
                    <a:pt x="38" y="198"/>
                  </a:cubicBezTo>
                  <a:cubicBezTo>
                    <a:pt x="37" y="198"/>
                    <a:pt x="35" y="198"/>
                    <a:pt x="34" y="198"/>
                  </a:cubicBezTo>
                  <a:cubicBezTo>
                    <a:pt x="33" y="198"/>
                    <a:pt x="33" y="198"/>
                    <a:pt x="32" y="198"/>
                  </a:cubicBezTo>
                  <a:cubicBezTo>
                    <a:pt x="30" y="197"/>
                    <a:pt x="28" y="200"/>
                    <a:pt x="26" y="201"/>
                  </a:cubicBezTo>
                  <a:cubicBezTo>
                    <a:pt x="24" y="203"/>
                    <a:pt x="24" y="203"/>
                    <a:pt x="26" y="204"/>
                  </a:cubicBezTo>
                  <a:cubicBezTo>
                    <a:pt x="28" y="204"/>
                    <a:pt x="30" y="204"/>
                    <a:pt x="32" y="205"/>
                  </a:cubicBezTo>
                  <a:cubicBezTo>
                    <a:pt x="32" y="207"/>
                    <a:pt x="35" y="205"/>
                    <a:pt x="36" y="205"/>
                  </a:cubicBezTo>
                  <a:cubicBezTo>
                    <a:pt x="36" y="207"/>
                    <a:pt x="39" y="207"/>
                    <a:pt x="40" y="207"/>
                  </a:cubicBezTo>
                  <a:cubicBezTo>
                    <a:pt x="42" y="207"/>
                    <a:pt x="44" y="207"/>
                    <a:pt x="45" y="207"/>
                  </a:cubicBezTo>
                  <a:cubicBezTo>
                    <a:pt x="46" y="206"/>
                    <a:pt x="46" y="206"/>
                    <a:pt x="47" y="206"/>
                  </a:cubicBezTo>
                  <a:cubicBezTo>
                    <a:pt x="49" y="207"/>
                    <a:pt x="51" y="206"/>
                    <a:pt x="52" y="206"/>
                  </a:cubicBezTo>
                  <a:cubicBezTo>
                    <a:pt x="55" y="206"/>
                    <a:pt x="57" y="207"/>
                    <a:pt x="59" y="207"/>
                  </a:cubicBezTo>
                  <a:cubicBezTo>
                    <a:pt x="58" y="209"/>
                    <a:pt x="52" y="208"/>
                    <a:pt x="50" y="208"/>
                  </a:cubicBezTo>
                  <a:cubicBezTo>
                    <a:pt x="49" y="208"/>
                    <a:pt x="48" y="207"/>
                    <a:pt x="46" y="207"/>
                  </a:cubicBezTo>
                  <a:cubicBezTo>
                    <a:pt x="45" y="208"/>
                    <a:pt x="44" y="209"/>
                    <a:pt x="43" y="209"/>
                  </a:cubicBezTo>
                  <a:cubicBezTo>
                    <a:pt x="43" y="210"/>
                    <a:pt x="42" y="210"/>
                    <a:pt x="42" y="210"/>
                  </a:cubicBezTo>
                  <a:cubicBezTo>
                    <a:pt x="41" y="211"/>
                    <a:pt x="40" y="210"/>
                    <a:pt x="39" y="210"/>
                  </a:cubicBezTo>
                  <a:cubicBezTo>
                    <a:pt x="38" y="211"/>
                    <a:pt x="38" y="213"/>
                    <a:pt x="39" y="213"/>
                  </a:cubicBezTo>
                  <a:cubicBezTo>
                    <a:pt x="40" y="214"/>
                    <a:pt x="40" y="214"/>
                    <a:pt x="41" y="214"/>
                  </a:cubicBezTo>
                  <a:cubicBezTo>
                    <a:pt x="42" y="215"/>
                    <a:pt x="42" y="214"/>
                    <a:pt x="42" y="216"/>
                  </a:cubicBezTo>
                  <a:cubicBezTo>
                    <a:pt x="42" y="216"/>
                    <a:pt x="42" y="217"/>
                    <a:pt x="43" y="217"/>
                  </a:cubicBezTo>
                  <a:cubicBezTo>
                    <a:pt x="44" y="218"/>
                    <a:pt x="44" y="218"/>
                    <a:pt x="45" y="218"/>
                  </a:cubicBezTo>
                  <a:cubicBezTo>
                    <a:pt x="46" y="218"/>
                    <a:pt x="47" y="219"/>
                    <a:pt x="48" y="219"/>
                  </a:cubicBezTo>
                  <a:cubicBezTo>
                    <a:pt x="49" y="220"/>
                    <a:pt x="50" y="220"/>
                    <a:pt x="50" y="220"/>
                  </a:cubicBezTo>
                  <a:cubicBezTo>
                    <a:pt x="51" y="220"/>
                    <a:pt x="52" y="221"/>
                    <a:pt x="52" y="220"/>
                  </a:cubicBezTo>
                  <a:cubicBezTo>
                    <a:pt x="54" y="221"/>
                    <a:pt x="54" y="222"/>
                    <a:pt x="56" y="222"/>
                  </a:cubicBezTo>
                  <a:cubicBezTo>
                    <a:pt x="57" y="222"/>
                    <a:pt x="58" y="222"/>
                    <a:pt x="58" y="223"/>
                  </a:cubicBezTo>
                  <a:cubicBezTo>
                    <a:pt x="59" y="224"/>
                    <a:pt x="59" y="225"/>
                    <a:pt x="57" y="225"/>
                  </a:cubicBezTo>
                  <a:cubicBezTo>
                    <a:pt x="57" y="225"/>
                    <a:pt x="56" y="225"/>
                    <a:pt x="55" y="224"/>
                  </a:cubicBezTo>
                  <a:cubicBezTo>
                    <a:pt x="54" y="224"/>
                    <a:pt x="54" y="224"/>
                    <a:pt x="53" y="223"/>
                  </a:cubicBezTo>
                  <a:cubicBezTo>
                    <a:pt x="52" y="222"/>
                    <a:pt x="50" y="222"/>
                    <a:pt x="49" y="221"/>
                  </a:cubicBezTo>
                  <a:cubicBezTo>
                    <a:pt x="47" y="220"/>
                    <a:pt x="46" y="220"/>
                    <a:pt x="44" y="219"/>
                  </a:cubicBezTo>
                  <a:cubicBezTo>
                    <a:pt x="43" y="218"/>
                    <a:pt x="43" y="218"/>
                    <a:pt x="42" y="218"/>
                  </a:cubicBezTo>
                  <a:cubicBezTo>
                    <a:pt x="41" y="217"/>
                    <a:pt x="41" y="217"/>
                    <a:pt x="41" y="217"/>
                  </a:cubicBezTo>
                  <a:cubicBezTo>
                    <a:pt x="41" y="217"/>
                    <a:pt x="41" y="216"/>
                    <a:pt x="40" y="215"/>
                  </a:cubicBezTo>
                  <a:cubicBezTo>
                    <a:pt x="39" y="214"/>
                    <a:pt x="38" y="214"/>
                    <a:pt x="38" y="213"/>
                  </a:cubicBezTo>
                  <a:cubicBezTo>
                    <a:pt x="37" y="212"/>
                    <a:pt x="37" y="211"/>
                    <a:pt x="36" y="211"/>
                  </a:cubicBezTo>
                  <a:cubicBezTo>
                    <a:pt x="35" y="210"/>
                    <a:pt x="34" y="210"/>
                    <a:pt x="33" y="210"/>
                  </a:cubicBezTo>
                  <a:cubicBezTo>
                    <a:pt x="30" y="209"/>
                    <a:pt x="28" y="212"/>
                    <a:pt x="26" y="213"/>
                  </a:cubicBezTo>
                  <a:cubicBezTo>
                    <a:pt x="25" y="214"/>
                    <a:pt x="24" y="215"/>
                    <a:pt x="23" y="216"/>
                  </a:cubicBezTo>
                  <a:cubicBezTo>
                    <a:pt x="23" y="216"/>
                    <a:pt x="22" y="218"/>
                    <a:pt x="23" y="219"/>
                  </a:cubicBezTo>
                  <a:cubicBezTo>
                    <a:pt x="23" y="220"/>
                    <a:pt x="25" y="221"/>
                    <a:pt x="26" y="221"/>
                  </a:cubicBezTo>
                  <a:cubicBezTo>
                    <a:pt x="27" y="222"/>
                    <a:pt x="29" y="221"/>
                    <a:pt x="30" y="222"/>
                  </a:cubicBezTo>
                  <a:cubicBezTo>
                    <a:pt x="31" y="222"/>
                    <a:pt x="30" y="223"/>
                    <a:pt x="31" y="222"/>
                  </a:cubicBezTo>
                  <a:cubicBezTo>
                    <a:pt x="31" y="223"/>
                    <a:pt x="31" y="225"/>
                    <a:pt x="30" y="225"/>
                  </a:cubicBezTo>
                  <a:cubicBezTo>
                    <a:pt x="30" y="225"/>
                    <a:pt x="28" y="225"/>
                    <a:pt x="27" y="225"/>
                  </a:cubicBezTo>
                  <a:cubicBezTo>
                    <a:pt x="25" y="225"/>
                    <a:pt x="22" y="225"/>
                    <a:pt x="22" y="228"/>
                  </a:cubicBezTo>
                  <a:cubicBezTo>
                    <a:pt x="23" y="228"/>
                    <a:pt x="25" y="228"/>
                    <a:pt x="26" y="228"/>
                  </a:cubicBezTo>
                  <a:cubicBezTo>
                    <a:pt x="26" y="228"/>
                    <a:pt x="26" y="228"/>
                    <a:pt x="27" y="229"/>
                  </a:cubicBezTo>
                  <a:cubicBezTo>
                    <a:pt x="27" y="229"/>
                    <a:pt x="28" y="229"/>
                    <a:pt x="28" y="229"/>
                  </a:cubicBezTo>
                  <a:cubicBezTo>
                    <a:pt x="29" y="229"/>
                    <a:pt x="30" y="229"/>
                    <a:pt x="31" y="229"/>
                  </a:cubicBezTo>
                  <a:cubicBezTo>
                    <a:pt x="33" y="228"/>
                    <a:pt x="34" y="227"/>
                    <a:pt x="35" y="226"/>
                  </a:cubicBezTo>
                  <a:cubicBezTo>
                    <a:pt x="36" y="226"/>
                    <a:pt x="39" y="225"/>
                    <a:pt x="39" y="226"/>
                  </a:cubicBezTo>
                  <a:cubicBezTo>
                    <a:pt x="40" y="229"/>
                    <a:pt x="35" y="231"/>
                    <a:pt x="33" y="232"/>
                  </a:cubicBezTo>
                  <a:cubicBezTo>
                    <a:pt x="32" y="233"/>
                    <a:pt x="26" y="237"/>
                    <a:pt x="30" y="238"/>
                  </a:cubicBezTo>
                  <a:cubicBezTo>
                    <a:pt x="31" y="238"/>
                    <a:pt x="34" y="238"/>
                    <a:pt x="36" y="238"/>
                  </a:cubicBezTo>
                  <a:cubicBezTo>
                    <a:pt x="38" y="238"/>
                    <a:pt x="39" y="236"/>
                    <a:pt x="41" y="236"/>
                  </a:cubicBezTo>
                  <a:cubicBezTo>
                    <a:pt x="42" y="240"/>
                    <a:pt x="35" y="240"/>
                    <a:pt x="33" y="240"/>
                  </a:cubicBezTo>
                  <a:cubicBezTo>
                    <a:pt x="30" y="240"/>
                    <a:pt x="26" y="240"/>
                    <a:pt x="23" y="239"/>
                  </a:cubicBezTo>
                  <a:cubicBezTo>
                    <a:pt x="22" y="239"/>
                    <a:pt x="20" y="239"/>
                    <a:pt x="18" y="239"/>
                  </a:cubicBezTo>
                  <a:cubicBezTo>
                    <a:pt x="17" y="240"/>
                    <a:pt x="17" y="242"/>
                    <a:pt x="18" y="243"/>
                  </a:cubicBezTo>
                  <a:cubicBezTo>
                    <a:pt x="22" y="245"/>
                    <a:pt x="25" y="247"/>
                    <a:pt x="29" y="247"/>
                  </a:cubicBezTo>
                  <a:cubicBezTo>
                    <a:pt x="30" y="247"/>
                    <a:pt x="32" y="247"/>
                    <a:pt x="34" y="247"/>
                  </a:cubicBezTo>
                  <a:cubicBezTo>
                    <a:pt x="34" y="247"/>
                    <a:pt x="35" y="246"/>
                    <a:pt x="35" y="246"/>
                  </a:cubicBezTo>
                  <a:cubicBezTo>
                    <a:pt x="37" y="245"/>
                    <a:pt x="39" y="245"/>
                    <a:pt x="40" y="244"/>
                  </a:cubicBezTo>
                  <a:cubicBezTo>
                    <a:pt x="43" y="243"/>
                    <a:pt x="47" y="244"/>
                    <a:pt x="50" y="243"/>
                  </a:cubicBezTo>
                  <a:cubicBezTo>
                    <a:pt x="51" y="242"/>
                    <a:pt x="53" y="241"/>
                    <a:pt x="54" y="241"/>
                  </a:cubicBezTo>
                  <a:cubicBezTo>
                    <a:pt x="56" y="240"/>
                    <a:pt x="58" y="239"/>
                    <a:pt x="59" y="236"/>
                  </a:cubicBezTo>
                  <a:cubicBezTo>
                    <a:pt x="59" y="234"/>
                    <a:pt x="58" y="233"/>
                    <a:pt x="58" y="231"/>
                  </a:cubicBezTo>
                  <a:cubicBezTo>
                    <a:pt x="58" y="230"/>
                    <a:pt x="58" y="228"/>
                    <a:pt x="57" y="228"/>
                  </a:cubicBezTo>
                  <a:cubicBezTo>
                    <a:pt x="57" y="228"/>
                    <a:pt x="56" y="227"/>
                    <a:pt x="56" y="227"/>
                  </a:cubicBezTo>
                  <a:cubicBezTo>
                    <a:pt x="57" y="227"/>
                    <a:pt x="57" y="227"/>
                    <a:pt x="58" y="226"/>
                  </a:cubicBezTo>
                  <a:cubicBezTo>
                    <a:pt x="58" y="226"/>
                    <a:pt x="60" y="226"/>
                    <a:pt x="60" y="226"/>
                  </a:cubicBezTo>
                  <a:cubicBezTo>
                    <a:pt x="60" y="226"/>
                    <a:pt x="61" y="225"/>
                    <a:pt x="61" y="225"/>
                  </a:cubicBezTo>
                  <a:cubicBezTo>
                    <a:pt x="62" y="224"/>
                    <a:pt x="62" y="223"/>
                    <a:pt x="62" y="223"/>
                  </a:cubicBezTo>
                  <a:cubicBezTo>
                    <a:pt x="62" y="222"/>
                    <a:pt x="62" y="222"/>
                    <a:pt x="63" y="221"/>
                  </a:cubicBezTo>
                  <a:cubicBezTo>
                    <a:pt x="64" y="221"/>
                    <a:pt x="64" y="220"/>
                    <a:pt x="64" y="220"/>
                  </a:cubicBezTo>
                  <a:cubicBezTo>
                    <a:pt x="65" y="219"/>
                    <a:pt x="66" y="219"/>
                    <a:pt x="67" y="218"/>
                  </a:cubicBezTo>
                  <a:cubicBezTo>
                    <a:pt x="67" y="217"/>
                    <a:pt x="67" y="215"/>
                    <a:pt x="68" y="214"/>
                  </a:cubicBezTo>
                  <a:cubicBezTo>
                    <a:pt x="69" y="213"/>
                    <a:pt x="70" y="213"/>
                    <a:pt x="71" y="212"/>
                  </a:cubicBezTo>
                  <a:cubicBezTo>
                    <a:pt x="71" y="211"/>
                    <a:pt x="72" y="211"/>
                    <a:pt x="72" y="210"/>
                  </a:cubicBezTo>
                  <a:cubicBezTo>
                    <a:pt x="72" y="210"/>
                    <a:pt x="73" y="209"/>
                    <a:pt x="73" y="209"/>
                  </a:cubicBezTo>
                  <a:cubicBezTo>
                    <a:pt x="73" y="209"/>
                    <a:pt x="73" y="209"/>
                    <a:pt x="74" y="208"/>
                  </a:cubicBezTo>
                  <a:cubicBezTo>
                    <a:pt x="74" y="208"/>
                    <a:pt x="74" y="208"/>
                    <a:pt x="74" y="208"/>
                  </a:cubicBezTo>
                  <a:cubicBezTo>
                    <a:pt x="75" y="207"/>
                    <a:pt x="76" y="207"/>
                    <a:pt x="76" y="206"/>
                  </a:cubicBezTo>
                  <a:cubicBezTo>
                    <a:pt x="78" y="204"/>
                    <a:pt x="84" y="196"/>
                    <a:pt x="85" y="195"/>
                  </a:cubicBezTo>
                  <a:cubicBezTo>
                    <a:pt x="85" y="194"/>
                    <a:pt x="86" y="193"/>
                    <a:pt x="86" y="193"/>
                  </a:cubicBezTo>
                  <a:cubicBezTo>
                    <a:pt x="86" y="193"/>
                    <a:pt x="87" y="193"/>
                    <a:pt x="87" y="192"/>
                  </a:cubicBezTo>
                  <a:cubicBezTo>
                    <a:pt x="87" y="192"/>
                    <a:pt x="87" y="191"/>
                    <a:pt x="87" y="191"/>
                  </a:cubicBezTo>
                  <a:cubicBezTo>
                    <a:pt x="88" y="189"/>
                    <a:pt x="98" y="179"/>
                    <a:pt x="99" y="177"/>
                  </a:cubicBezTo>
                  <a:cubicBezTo>
                    <a:pt x="99" y="176"/>
                    <a:pt x="100" y="176"/>
                    <a:pt x="100" y="175"/>
                  </a:cubicBezTo>
                  <a:cubicBezTo>
                    <a:pt x="101" y="174"/>
                    <a:pt x="102" y="172"/>
                    <a:pt x="101" y="175"/>
                  </a:cubicBezTo>
                  <a:cubicBezTo>
                    <a:pt x="100" y="177"/>
                    <a:pt x="92" y="189"/>
                    <a:pt x="92" y="189"/>
                  </a:cubicBezTo>
                  <a:cubicBezTo>
                    <a:pt x="90" y="190"/>
                    <a:pt x="90" y="191"/>
                    <a:pt x="89" y="192"/>
                  </a:cubicBezTo>
                  <a:cubicBezTo>
                    <a:pt x="86" y="195"/>
                    <a:pt x="85" y="198"/>
                    <a:pt x="82" y="202"/>
                  </a:cubicBezTo>
                  <a:cubicBezTo>
                    <a:pt x="81" y="203"/>
                    <a:pt x="81" y="204"/>
                    <a:pt x="79" y="206"/>
                  </a:cubicBezTo>
                  <a:cubicBezTo>
                    <a:pt x="78" y="208"/>
                    <a:pt x="76" y="209"/>
                    <a:pt x="75" y="211"/>
                  </a:cubicBezTo>
                  <a:cubicBezTo>
                    <a:pt x="72" y="214"/>
                    <a:pt x="72" y="218"/>
                    <a:pt x="70" y="222"/>
                  </a:cubicBezTo>
                  <a:cubicBezTo>
                    <a:pt x="70" y="223"/>
                    <a:pt x="69" y="222"/>
                    <a:pt x="69" y="223"/>
                  </a:cubicBezTo>
                  <a:cubicBezTo>
                    <a:pt x="68" y="224"/>
                    <a:pt x="69" y="226"/>
                    <a:pt x="68" y="226"/>
                  </a:cubicBezTo>
                  <a:cubicBezTo>
                    <a:pt x="68" y="227"/>
                    <a:pt x="68" y="229"/>
                    <a:pt x="68" y="230"/>
                  </a:cubicBezTo>
                  <a:cubicBezTo>
                    <a:pt x="70" y="229"/>
                    <a:pt x="73" y="229"/>
                    <a:pt x="75" y="229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2"/>
                    <a:pt x="68" y="232"/>
                  </a:cubicBezTo>
                  <a:cubicBezTo>
                    <a:pt x="67" y="232"/>
                    <a:pt x="67" y="232"/>
                    <a:pt x="66" y="232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0"/>
                    <a:pt x="68" y="230"/>
                  </a:cubicBezTo>
                  <a:cubicBezTo>
                    <a:pt x="68" y="230"/>
                    <a:pt x="67" y="230"/>
                    <a:pt x="67" y="231"/>
                  </a:cubicBezTo>
                  <a:cubicBezTo>
                    <a:pt x="65" y="232"/>
                    <a:pt x="66" y="233"/>
                    <a:pt x="66" y="236"/>
                  </a:cubicBezTo>
                  <a:cubicBezTo>
                    <a:pt x="62" y="237"/>
                    <a:pt x="63" y="239"/>
                    <a:pt x="61" y="243"/>
                  </a:cubicBezTo>
                  <a:cubicBezTo>
                    <a:pt x="60" y="245"/>
                    <a:pt x="59" y="245"/>
                    <a:pt x="59" y="248"/>
                  </a:cubicBezTo>
                  <a:cubicBezTo>
                    <a:pt x="59" y="250"/>
                    <a:pt x="59" y="252"/>
                    <a:pt x="59" y="254"/>
                  </a:cubicBezTo>
                  <a:cubicBezTo>
                    <a:pt x="60" y="254"/>
                    <a:pt x="64" y="244"/>
                    <a:pt x="67" y="250"/>
                  </a:cubicBezTo>
                  <a:cubicBezTo>
                    <a:pt x="63" y="252"/>
                    <a:pt x="65" y="255"/>
                    <a:pt x="64" y="258"/>
                  </a:cubicBezTo>
                  <a:cubicBezTo>
                    <a:pt x="64" y="258"/>
                    <a:pt x="63" y="258"/>
                    <a:pt x="63" y="258"/>
                  </a:cubicBezTo>
                  <a:cubicBezTo>
                    <a:pt x="62" y="259"/>
                    <a:pt x="62" y="260"/>
                    <a:pt x="63" y="261"/>
                  </a:cubicBezTo>
                  <a:cubicBezTo>
                    <a:pt x="63" y="262"/>
                    <a:pt x="64" y="262"/>
                    <a:pt x="64" y="262"/>
                  </a:cubicBezTo>
                  <a:cubicBezTo>
                    <a:pt x="64" y="262"/>
                    <a:pt x="64" y="263"/>
                    <a:pt x="64" y="264"/>
                  </a:cubicBezTo>
                  <a:cubicBezTo>
                    <a:pt x="61" y="263"/>
                    <a:pt x="62" y="270"/>
                    <a:pt x="62" y="272"/>
                  </a:cubicBezTo>
                  <a:cubicBezTo>
                    <a:pt x="62" y="275"/>
                    <a:pt x="60" y="277"/>
                    <a:pt x="60" y="280"/>
                  </a:cubicBezTo>
                  <a:cubicBezTo>
                    <a:pt x="60" y="283"/>
                    <a:pt x="60" y="286"/>
                    <a:pt x="60" y="288"/>
                  </a:cubicBezTo>
                  <a:cubicBezTo>
                    <a:pt x="59" y="289"/>
                    <a:pt x="60" y="291"/>
                    <a:pt x="60" y="291"/>
                  </a:cubicBezTo>
                  <a:cubicBezTo>
                    <a:pt x="59" y="292"/>
                    <a:pt x="58" y="292"/>
                    <a:pt x="58" y="293"/>
                  </a:cubicBezTo>
                  <a:cubicBezTo>
                    <a:pt x="57" y="294"/>
                    <a:pt x="57" y="294"/>
                    <a:pt x="57" y="296"/>
                  </a:cubicBezTo>
                  <a:cubicBezTo>
                    <a:pt x="62" y="297"/>
                    <a:pt x="63" y="295"/>
                    <a:pt x="65" y="291"/>
                  </a:cubicBezTo>
                  <a:cubicBezTo>
                    <a:pt x="68" y="287"/>
                    <a:pt x="71" y="285"/>
                    <a:pt x="71" y="280"/>
                  </a:cubicBezTo>
                  <a:cubicBezTo>
                    <a:pt x="71" y="277"/>
                    <a:pt x="70" y="271"/>
                    <a:pt x="71" y="268"/>
                  </a:cubicBezTo>
                  <a:cubicBezTo>
                    <a:pt x="73" y="267"/>
                    <a:pt x="75" y="268"/>
                    <a:pt x="77" y="267"/>
                  </a:cubicBezTo>
                  <a:cubicBezTo>
                    <a:pt x="78" y="267"/>
                    <a:pt x="80" y="266"/>
                    <a:pt x="81" y="265"/>
                  </a:cubicBezTo>
                  <a:cubicBezTo>
                    <a:pt x="83" y="269"/>
                    <a:pt x="78" y="270"/>
                    <a:pt x="76" y="273"/>
                  </a:cubicBezTo>
                  <a:cubicBezTo>
                    <a:pt x="75" y="274"/>
                    <a:pt x="76" y="275"/>
                    <a:pt x="75" y="275"/>
                  </a:cubicBezTo>
                  <a:cubicBezTo>
                    <a:pt x="75" y="276"/>
                    <a:pt x="73" y="276"/>
                    <a:pt x="73" y="277"/>
                  </a:cubicBezTo>
                  <a:cubicBezTo>
                    <a:pt x="72" y="278"/>
                    <a:pt x="72" y="281"/>
                    <a:pt x="72" y="282"/>
                  </a:cubicBezTo>
                  <a:cubicBezTo>
                    <a:pt x="73" y="286"/>
                    <a:pt x="75" y="291"/>
                    <a:pt x="79" y="290"/>
                  </a:cubicBezTo>
                  <a:cubicBezTo>
                    <a:pt x="82" y="289"/>
                    <a:pt x="81" y="290"/>
                    <a:pt x="81" y="286"/>
                  </a:cubicBezTo>
                  <a:cubicBezTo>
                    <a:pt x="82" y="284"/>
                    <a:pt x="83" y="283"/>
                    <a:pt x="86" y="284"/>
                  </a:cubicBezTo>
                  <a:cubicBezTo>
                    <a:pt x="86" y="287"/>
                    <a:pt x="86" y="288"/>
                    <a:pt x="88" y="290"/>
                  </a:cubicBezTo>
                  <a:cubicBezTo>
                    <a:pt x="90" y="292"/>
                    <a:pt x="91" y="294"/>
                    <a:pt x="92" y="296"/>
                  </a:cubicBezTo>
                  <a:cubicBezTo>
                    <a:pt x="93" y="298"/>
                    <a:pt x="94" y="301"/>
                    <a:pt x="95" y="298"/>
                  </a:cubicBezTo>
                  <a:cubicBezTo>
                    <a:pt x="95" y="297"/>
                    <a:pt x="95" y="294"/>
                    <a:pt x="95" y="293"/>
                  </a:cubicBezTo>
                  <a:cubicBezTo>
                    <a:pt x="95" y="291"/>
                    <a:pt x="93" y="290"/>
                    <a:pt x="94" y="288"/>
                  </a:cubicBezTo>
                  <a:cubicBezTo>
                    <a:pt x="95" y="288"/>
                    <a:pt x="96" y="288"/>
                    <a:pt x="98" y="288"/>
                  </a:cubicBezTo>
                  <a:cubicBezTo>
                    <a:pt x="98" y="287"/>
                    <a:pt x="98" y="285"/>
                    <a:pt x="98" y="283"/>
                  </a:cubicBezTo>
                  <a:cubicBezTo>
                    <a:pt x="98" y="280"/>
                    <a:pt x="98" y="279"/>
                    <a:pt x="99" y="277"/>
                  </a:cubicBezTo>
                  <a:cubicBezTo>
                    <a:pt x="100" y="276"/>
                    <a:pt x="100" y="273"/>
                    <a:pt x="101" y="272"/>
                  </a:cubicBezTo>
                  <a:cubicBezTo>
                    <a:pt x="104" y="272"/>
                    <a:pt x="103" y="275"/>
                    <a:pt x="103" y="277"/>
                  </a:cubicBezTo>
                  <a:cubicBezTo>
                    <a:pt x="106" y="277"/>
                    <a:pt x="112" y="275"/>
                    <a:pt x="110" y="279"/>
                  </a:cubicBezTo>
                  <a:cubicBezTo>
                    <a:pt x="108" y="280"/>
                    <a:pt x="105" y="279"/>
                    <a:pt x="103" y="280"/>
                  </a:cubicBezTo>
                  <a:cubicBezTo>
                    <a:pt x="101" y="281"/>
                    <a:pt x="102" y="283"/>
                    <a:pt x="102" y="285"/>
                  </a:cubicBezTo>
                  <a:cubicBezTo>
                    <a:pt x="101" y="288"/>
                    <a:pt x="99" y="288"/>
                    <a:pt x="98" y="290"/>
                  </a:cubicBezTo>
                  <a:cubicBezTo>
                    <a:pt x="97" y="292"/>
                    <a:pt x="97" y="294"/>
                    <a:pt x="97" y="296"/>
                  </a:cubicBezTo>
                  <a:cubicBezTo>
                    <a:pt x="98" y="297"/>
                    <a:pt x="98" y="298"/>
                    <a:pt x="99" y="299"/>
                  </a:cubicBezTo>
                  <a:cubicBezTo>
                    <a:pt x="99" y="300"/>
                    <a:pt x="98" y="301"/>
                    <a:pt x="99" y="301"/>
                  </a:cubicBezTo>
                  <a:cubicBezTo>
                    <a:pt x="99" y="302"/>
                    <a:pt x="100" y="302"/>
                    <a:pt x="100" y="302"/>
                  </a:cubicBezTo>
                  <a:cubicBezTo>
                    <a:pt x="101" y="303"/>
                    <a:pt x="102" y="305"/>
                    <a:pt x="103" y="306"/>
                  </a:cubicBezTo>
                  <a:cubicBezTo>
                    <a:pt x="103" y="307"/>
                    <a:pt x="105" y="307"/>
                    <a:pt x="106" y="308"/>
                  </a:cubicBezTo>
                  <a:cubicBezTo>
                    <a:pt x="107" y="308"/>
                    <a:pt x="108" y="310"/>
                    <a:pt x="110" y="310"/>
                  </a:cubicBezTo>
                  <a:cubicBezTo>
                    <a:pt x="111" y="310"/>
                    <a:pt x="112" y="310"/>
                    <a:pt x="113" y="311"/>
                  </a:cubicBezTo>
                  <a:cubicBezTo>
                    <a:pt x="114" y="312"/>
                    <a:pt x="114" y="319"/>
                    <a:pt x="113" y="320"/>
                  </a:cubicBezTo>
                  <a:cubicBezTo>
                    <a:pt x="110" y="320"/>
                    <a:pt x="109" y="324"/>
                    <a:pt x="108" y="327"/>
                  </a:cubicBezTo>
                  <a:cubicBezTo>
                    <a:pt x="107" y="330"/>
                    <a:pt x="107" y="332"/>
                    <a:pt x="106" y="336"/>
                  </a:cubicBezTo>
                  <a:cubicBezTo>
                    <a:pt x="105" y="341"/>
                    <a:pt x="102" y="347"/>
                    <a:pt x="98" y="351"/>
                  </a:cubicBezTo>
                  <a:cubicBezTo>
                    <a:pt x="97" y="353"/>
                    <a:pt x="95" y="355"/>
                    <a:pt x="93" y="356"/>
                  </a:cubicBezTo>
                  <a:cubicBezTo>
                    <a:pt x="91" y="359"/>
                    <a:pt x="91" y="362"/>
                    <a:pt x="91" y="365"/>
                  </a:cubicBezTo>
                  <a:cubicBezTo>
                    <a:pt x="91" y="369"/>
                    <a:pt x="92" y="377"/>
                    <a:pt x="96" y="379"/>
                  </a:cubicBezTo>
                  <a:cubicBezTo>
                    <a:pt x="93" y="380"/>
                    <a:pt x="92" y="373"/>
                    <a:pt x="91" y="372"/>
                  </a:cubicBezTo>
                  <a:cubicBezTo>
                    <a:pt x="90" y="368"/>
                    <a:pt x="88" y="367"/>
                    <a:pt x="84" y="368"/>
                  </a:cubicBezTo>
                  <a:cubicBezTo>
                    <a:pt x="83" y="371"/>
                    <a:pt x="83" y="374"/>
                    <a:pt x="84" y="377"/>
                  </a:cubicBezTo>
                  <a:cubicBezTo>
                    <a:pt x="85" y="380"/>
                    <a:pt x="87" y="383"/>
                    <a:pt x="89" y="385"/>
                  </a:cubicBezTo>
                  <a:cubicBezTo>
                    <a:pt x="90" y="386"/>
                    <a:pt x="92" y="387"/>
                    <a:pt x="93" y="388"/>
                  </a:cubicBezTo>
                  <a:cubicBezTo>
                    <a:pt x="94" y="390"/>
                    <a:pt x="97" y="405"/>
                    <a:pt x="101" y="403"/>
                  </a:cubicBezTo>
                  <a:cubicBezTo>
                    <a:pt x="102" y="398"/>
                    <a:pt x="99" y="392"/>
                    <a:pt x="99" y="387"/>
                  </a:cubicBezTo>
                  <a:cubicBezTo>
                    <a:pt x="99" y="383"/>
                    <a:pt x="98" y="380"/>
                    <a:pt x="102" y="378"/>
                  </a:cubicBezTo>
                  <a:cubicBezTo>
                    <a:pt x="105" y="377"/>
                    <a:pt x="105" y="378"/>
                    <a:pt x="107" y="381"/>
                  </a:cubicBezTo>
                  <a:cubicBezTo>
                    <a:pt x="107" y="382"/>
                    <a:pt x="109" y="382"/>
                    <a:pt x="109" y="382"/>
                  </a:cubicBezTo>
                  <a:cubicBezTo>
                    <a:pt x="110" y="384"/>
                    <a:pt x="111" y="385"/>
                    <a:pt x="112" y="386"/>
                  </a:cubicBezTo>
                  <a:cubicBezTo>
                    <a:pt x="113" y="388"/>
                    <a:pt x="115" y="389"/>
                    <a:pt x="117" y="390"/>
                  </a:cubicBezTo>
                  <a:cubicBezTo>
                    <a:pt x="121" y="394"/>
                    <a:pt x="123" y="399"/>
                    <a:pt x="130" y="399"/>
                  </a:cubicBezTo>
                  <a:cubicBezTo>
                    <a:pt x="131" y="395"/>
                    <a:pt x="130" y="395"/>
                    <a:pt x="128" y="391"/>
                  </a:cubicBezTo>
                  <a:cubicBezTo>
                    <a:pt x="127" y="388"/>
                    <a:pt x="127" y="385"/>
                    <a:pt x="127" y="381"/>
                  </a:cubicBezTo>
                  <a:cubicBezTo>
                    <a:pt x="127" y="376"/>
                    <a:pt x="130" y="380"/>
                    <a:pt x="133" y="382"/>
                  </a:cubicBezTo>
                  <a:cubicBezTo>
                    <a:pt x="137" y="384"/>
                    <a:pt x="136" y="385"/>
                    <a:pt x="137" y="390"/>
                  </a:cubicBezTo>
                  <a:cubicBezTo>
                    <a:pt x="139" y="390"/>
                    <a:pt x="142" y="391"/>
                    <a:pt x="145" y="391"/>
                  </a:cubicBezTo>
                  <a:cubicBezTo>
                    <a:pt x="145" y="391"/>
                    <a:pt x="147" y="392"/>
                    <a:pt x="147" y="392"/>
                  </a:cubicBezTo>
                  <a:cubicBezTo>
                    <a:pt x="148" y="392"/>
                    <a:pt x="149" y="390"/>
                    <a:pt x="150" y="390"/>
                  </a:cubicBezTo>
                  <a:cubicBezTo>
                    <a:pt x="153" y="389"/>
                    <a:pt x="154" y="390"/>
                    <a:pt x="156" y="388"/>
                  </a:cubicBezTo>
                  <a:cubicBezTo>
                    <a:pt x="158" y="386"/>
                    <a:pt x="158" y="385"/>
                    <a:pt x="160" y="383"/>
                  </a:cubicBezTo>
                  <a:cubicBezTo>
                    <a:pt x="162" y="381"/>
                    <a:pt x="162" y="380"/>
                    <a:pt x="165" y="381"/>
                  </a:cubicBezTo>
                  <a:cubicBezTo>
                    <a:pt x="166" y="381"/>
                    <a:pt x="166" y="382"/>
                    <a:pt x="166" y="383"/>
                  </a:cubicBezTo>
                  <a:cubicBezTo>
                    <a:pt x="167" y="383"/>
                    <a:pt x="168" y="382"/>
                    <a:pt x="168" y="383"/>
                  </a:cubicBezTo>
                  <a:cubicBezTo>
                    <a:pt x="169" y="383"/>
                    <a:pt x="170" y="383"/>
                    <a:pt x="171" y="383"/>
                  </a:cubicBezTo>
                  <a:cubicBezTo>
                    <a:pt x="174" y="382"/>
                    <a:pt x="175" y="381"/>
                    <a:pt x="174" y="378"/>
                  </a:cubicBezTo>
                  <a:cubicBezTo>
                    <a:pt x="174" y="377"/>
                    <a:pt x="172" y="376"/>
                    <a:pt x="171" y="375"/>
                  </a:cubicBezTo>
                  <a:cubicBezTo>
                    <a:pt x="171" y="374"/>
                    <a:pt x="171" y="373"/>
                    <a:pt x="172" y="372"/>
                  </a:cubicBezTo>
                  <a:cubicBezTo>
                    <a:pt x="175" y="371"/>
                    <a:pt x="177" y="372"/>
                    <a:pt x="180" y="372"/>
                  </a:cubicBezTo>
                  <a:cubicBezTo>
                    <a:pt x="183" y="372"/>
                    <a:pt x="185" y="372"/>
                    <a:pt x="187" y="372"/>
                  </a:cubicBezTo>
                  <a:cubicBezTo>
                    <a:pt x="189" y="371"/>
                    <a:pt x="191" y="370"/>
                    <a:pt x="193" y="369"/>
                  </a:cubicBezTo>
                  <a:cubicBezTo>
                    <a:pt x="196" y="368"/>
                    <a:pt x="197" y="366"/>
                    <a:pt x="201" y="367"/>
                  </a:cubicBezTo>
                  <a:cubicBezTo>
                    <a:pt x="201" y="368"/>
                    <a:pt x="201" y="369"/>
                    <a:pt x="201" y="371"/>
                  </a:cubicBezTo>
                  <a:cubicBezTo>
                    <a:pt x="197" y="370"/>
                    <a:pt x="195" y="375"/>
                    <a:pt x="192" y="375"/>
                  </a:cubicBezTo>
                  <a:cubicBezTo>
                    <a:pt x="190" y="376"/>
                    <a:pt x="189" y="373"/>
                    <a:pt x="187" y="374"/>
                  </a:cubicBezTo>
                  <a:cubicBezTo>
                    <a:pt x="186" y="375"/>
                    <a:pt x="186" y="377"/>
                    <a:pt x="186" y="378"/>
                  </a:cubicBezTo>
                  <a:cubicBezTo>
                    <a:pt x="185" y="378"/>
                    <a:pt x="183" y="378"/>
                    <a:pt x="182" y="378"/>
                  </a:cubicBezTo>
                  <a:cubicBezTo>
                    <a:pt x="180" y="379"/>
                    <a:pt x="182" y="378"/>
                    <a:pt x="180" y="380"/>
                  </a:cubicBezTo>
                  <a:cubicBezTo>
                    <a:pt x="179" y="382"/>
                    <a:pt x="178" y="385"/>
                    <a:pt x="176" y="388"/>
                  </a:cubicBezTo>
                  <a:cubicBezTo>
                    <a:pt x="175" y="389"/>
                    <a:pt x="175" y="390"/>
                    <a:pt x="174" y="391"/>
                  </a:cubicBezTo>
                  <a:cubicBezTo>
                    <a:pt x="174" y="391"/>
                    <a:pt x="174" y="392"/>
                    <a:pt x="173" y="392"/>
                  </a:cubicBezTo>
                  <a:cubicBezTo>
                    <a:pt x="173" y="392"/>
                    <a:pt x="172" y="392"/>
                    <a:pt x="171" y="392"/>
                  </a:cubicBezTo>
                  <a:cubicBezTo>
                    <a:pt x="170" y="393"/>
                    <a:pt x="170" y="394"/>
                    <a:pt x="169" y="395"/>
                  </a:cubicBezTo>
                  <a:cubicBezTo>
                    <a:pt x="169" y="396"/>
                    <a:pt x="169" y="397"/>
                    <a:pt x="169" y="397"/>
                  </a:cubicBezTo>
                  <a:cubicBezTo>
                    <a:pt x="169" y="398"/>
                    <a:pt x="168" y="398"/>
                    <a:pt x="168" y="399"/>
                  </a:cubicBezTo>
                  <a:cubicBezTo>
                    <a:pt x="165" y="402"/>
                    <a:pt x="164" y="409"/>
                    <a:pt x="165" y="414"/>
                  </a:cubicBezTo>
                  <a:cubicBezTo>
                    <a:pt x="166" y="418"/>
                    <a:pt x="171" y="422"/>
                    <a:pt x="172" y="425"/>
                  </a:cubicBezTo>
                  <a:cubicBezTo>
                    <a:pt x="173" y="427"/>
                    <a:pt x="173" y="429"/>
                    <a:pt x="174" y="430"/>
                  </a:cubicBezTo>
                  <a:cubicBezTo>
                    <a:pt x="174" y="431"/>
                    <a:pt x="175" y="432"/>
                    <a:pt x="176" y="433"/>
                  </a:cubicBezTo>
                  <a:cubicBezTo>
                    <a:pt x="176" y="434"/>
                    <a:pt x="177" y="434"/>
                    <a:pt x="177" y="435"/>
                  </a:cubicBezTo>
                  <a:cubicBezTo>
                    <a:pt x="178" y="435"/>
                    <a:pt x="177" y="436"/>
                    <a:pt x="177" y="437"/>
                  </a:cubicBezTo>
                  <a:cubicBezTo>
                    <a:pt x="180" y="441"/>
                    <a:pt x="186" y="442"/>
                    <a:pt x="185" y="448"/>
                  </a:cubicBezTo>
                  <a:cubicBezTo>
                    <a:pt x="184" y="450"/>
                    <a:pt x="182" y="452"/>
                    <a:pt x="185" y="454"/>
                  </a:cubicBezTo>
                  <a:cubicBezTo>
                    <a:pt x="185" y="455"/>
                    <a:pt x="187" y="456"/>
                    <a:pt x="188" y="456"/>
                  </a:cubicBezTo>
                  <a:cubicBezTo>
                    <a:pt x="190" y="455"/>
                    <a:pt x="189" y="454"/>
                    <a:pt x="190" y="453"/>
                  </a:cubicBezTo>
                  <a:cubicBezTo>
                    <a:pt x="192" y="452"/>
                    <a:pt x="193" y="453"/>
                    <a:pt x="195" y="451"/>
                  </a:cubicBezTo>
                  <a:cubicBezTo>
                    <a:pt x="196" y="449"/>
                    <a:pt x="196" y="447"/>
                    <a:pt x="199" y="448"/>
                  </a:cubicBezTo>
                  <a:cubicBezTo>
                    <a:pt x="202" y="449"/>
                    <a:pt x="203" y="452"/>
                    <a:pt x="205" y="448"/>
                  </a:cubicBezTo>
                  <a:cubicBezTo>
                    <a:pt x="206" y="446"/>
                    <a:pt x="206" y="442"/>
                    <a:pt x="209" y="443"/>
                  </a:cubicBezTo>
                  <a:cubicBezTo>
                    <a:pt x="212" y="443"/>
                    <a:pt x="213" y="447"/>
                    <a:pt x="212" y="449"/>
                  </a:cubicBezTo>
                  <a:cubicBezTo>
                    <a:pt x="212" y="452"/>
                    <a:pt x="209" y="452"/>
                    <a:pt x="208" y="455"/>
                  </a:cubicBezTo>
                  <a:cubicBezTo>
                    <a:pt x="206" y="455"/>
                    <a:pt x="205" y="459"/>
                    <a:pt x="205" y="461"/>
                  </a:cubicBezTo>
                  <a:cubicBezTo>
                    <a:pt x="205" y="461"/>
                    <a:pt x="206" y="462"/>
                    <a:pt x="206" y="462"/>
                  </a:cubicBezTo>
                  <a:cubicBezTo>
                    <a:pt x="206" y="463"/>
                    <a:pt x="206" y="464"/>
                    <a:pt x="206" y="465"/>
                  </a:cubicBezTo>
                  <a:cubicBezTo>
                    <a:pt x="205" y="466"/>
                    <a:pt x="205" y="466"/>
                    <a:pt x="204" y="468"/>
                  </a:cubicBezTo>
                  <a:cubicBezTo>
                    <a:pt x="204" y="468"/>
                    <a:pt x="203" y="467"/>
                    <a:pt x="203" y="467"/>
                  </a:cubicBezTo>
                  <a:cubicBezTo>
                    <a:pt x="202" y="468"/>
                    <a:pt x="202" y="468"/>
                    <a:pt x="202" y="469"/>
                  </a:cubicBezTo>
                  <a:cubicBezTo>
                    <a:pt x="201" y="469"/>
                    <a:pt x="200" y="470"/>
                    <a:pt x="200" y="471"/>
                  </a:cubicBezTo>
                  <a:cubicBezTo>
                    <a:pt x="198" y="473"/>
                    <a:pt x="197" y="474"/>
                    <a:pt x="199" y="476"/>
                  </a:cubicBezTo>
                  <a:cubicBezTo>
                    <a:pt x="198" y="478"/>
                    <a:pt x="196" y="478"/>
                    <a:pt x="195" y="480"/>
                  </a:cubicBezTo>
                  <a:cubicBezTo>
                    <a:pt x="193" y="483"/>
                    <a:pt x="195" y="483"/>
                    <a:pt x="196" y="485"/>
                  </a:cubicBezTo>
                  <a:cubicBezTo>
                    <a:pt x="197" y="487"/>
                    <a:pt x="198" y="490"/>
                    <a:pt x="197" y="492"/>
                  </a:cubicBezTo>
                  <a:cubicBezTo>
                    <a:pt x="196" y="494"/>
                    <a:pt x="194" y="494"/>
                    <a:pt x="194" y="498"/>
                  </a:cubicBezTo>
                  <a:cubicBezTo>
                    <a:pt x="194" y="500"/>
                    <a:pt x="195" y="502"/>
                    <a:pt x="194" y="504"/>
                  </a:cubicBezTo>
                  <a:cubicBezTo>
                    <a:pt x="194" y="506"/>
                    <a:pt x="195" y="510"/>
                    <a:pt x="194" y="511"/>
                  </a:cubicBezTo>
                  <a:cubicBezTo>
                    <a:pt x="193" y="515"/>
                    <a:pt x="187" y="512"/>
                    <a:pt x="188" y="516"/>
                  </a:cubicBezTo>
                  <a:cubicBezTo>
                    <a:pt x="188" y="517"/>
                    <a:pt x="190" y="518"/>
                    <a:pt x="190" y="519"/>
                  </a:cubicBezTo>
                  <a:cubicBezTo>
                    <a:pt x="190" y="520"/>
                    <a:pt x="189" y="521"/>
                    <a:pt x="189" y="522"/>
                  </a:cubicBezTo>
                  <a:cubicBezTo>
                    <a:pt x="187" y="523"/>
                    <a:pt x="186" y="521"/>
                    <a:pt x="185" y="519"/>
                  </a:cubicBezTo>
                  <a:cubicBezTo>
                    <a:pt x="184" y="518"/>
                    <a:pt x="182" y="518"/>
                    <a:pt x="181" y="517"/>
                  </a:cubicBezTo>
                  <a:cubicBezTo>
                    <a:pt x="180" y="516"/>
                    <a:pt x="179" y="514"/>
                    <a:pt x="178" y="514"/>
                  </a:cubicBezTo>
                  <a:cubicBezTo>
                    <a:pt x="176" y="513"/>
                    <a:pt x="173" y="515"/>
                    <a:pt x="174" y="517"/>
                  </a:cubicBezTo>
                  <a:cubicBezTo>
                    <a:pt x="169" y="518"/>
                    <a:pt x="161" y="511"/>
                    <a:pt x="157" y="514"/>
                  </a:cubicBezTo>
                  <a:cubicBezTo>
                    <a:pt x="163" y="515"/>
                    <a:pt x="160" y="523"/>
                    <a:pt x="163" y="525"/>
                  </a:cubicBezTo>
                  <a:cubicBezTo>
                    <a:pt x="160" y="525"/>
                    <a:pt x="155" y="524"/>
                    <a:pt x="152" y="525"/>
                  </a:cubicBezTo>
                  <a:cubicBezTo>
                    <a:pt x="150" y="526"/>
                    <a:pt x="151" y="530"/>
                    <a:pt x="148" y="531"/>
                  </a:cubicBezTo>
                  <a:cubicBezTo>
                    <a:pt x="148" y="531"/>
                    <a:pt x="146" y="532"/>
                    <a:pt x="146" y="532"/>
                  </a:cubicBezTo>
                  <a:cubicBezTo>
                    <a:pt x="144" y="533"/>
                    <a:pt x="143" y="533"/>
                    <a:pt x="142" y="531"/>
                  </a:cubicBezTo>
                  <a:cubicBezTo>
                    <a:pt x="141" y="529"/>
                    <a:pt x="143" y="529"/>
                    <a:pt x="143" y="528"/>
                  </a:cubicBezTo>
                  <a:cubicBezTo>
                    <a:pt x="144" y="526"/>
                    <a:pt x="144" y="526"/>
                    <a:pt x="144" y="523"/>
                  </a:cubicBezTo>
                  <a:cubicBezTo>
                    <a:pt x="142" y="522"/>
                    <a:pt x="142" y="524"/>
                    <a:pt x="141" y="525"/>
                  </a:cubicBezTo>
                  <a:cubicBezTo>
                    <a:pt x="139" y="525"/>
                    <a:pt x="138" y="525"/>
                    <a:pt x="136" y="525"/>
                  </a:cubicBezTo>
                  <a:cubicBezTo>
                    <a:pt x="136" y="523"/>
                    <a:pt x="136" y="522"/>
                    <a:pt x="135" y="520"/>
                  </a:cubicBezTo>
                  <a:cubicBezTo>
                    <a:pt x="134" y="518"/>
                    <a:pt x="132" y="515"/>
                    <a:pt x="130" y="514"/>
                  </a:cubicBezTo>
                  <a:cubicBezTo>
                    <a:pt x="128" y="512"/>
                    <a:pt x="123" y="513"/>
                    <a:pt x="120" y="513"/>
                  </a:cubicBezTo>
                  <a:cubicBezTo>
                    <a:pt x="116" y="513"/>
                    <a:pt x="112" y="516"/>
                    <a:pt x="114" y="521"/>
                  </a:cubicBezTo>
                  <a:cubicBezTo>
                    <a:pt x="115" y="523"/>
                    <a:pt x="119" y="525"/>
                    <a:pt x="118" y="526"/>
                  </a:cubicBezTo>
                  <a:cubicBezTo>
                    <a:pt x="116" y="529"/>
                    <a:pt x="109" y="520"/>
                    <a:pt x="107" y="521"/>
                  </a:cubicBezTo>
                  <a:cubicBezTo>
                    <a:pt x="109" y="525"/>
                    <a:pt x="112" y="529"/>
                    <a:pt x="115" y="531"/>
                  </a:cubicBezTo>
                  <a:cubicBezTo>
                    <a:pt x="118" y="534"/>
                    <a:pt x="121" y="532"/>
                    <a:pt x="122" y="537"/>
                  </a:cubicBezTo>
                  <a:cubicBezTo>
                    <a:pt x="125" y="537"/>
                    <a:pt x="124" y="539"/>
                    <a:pt x="126" y="541"/>
                  </a:cubicBezTo>
                  <a:cubicBezTo>
                    <a:pt x="127" y="543"/>
                    <a:pt x="129" y="543"/>
                    <a:pt x="130" y="545"/>
                  </a:cubicBezTo>
                  <a:cubicBezTo>
                    <a:pt x="129" y="545"/>
                    <a:pt x="128" y="548"/>
                    <a:pt x="127" y="549"/>
                  </a:cubicBezTo>
                  <a:cubicBezTo>
                    <a:pt x="125" y="552"/>
                    <a:pt x="124" y="556"/>
                    <a:pt x="123" y="560"/>
                  </a:cubicBezTo>
                  <a:cubicBezTo>
                    <a:pt x="123" y="559"/>
                    <a:pt x="123" y="559"/>
                    <a:pt x="123" y="558"/>
                  </a:cubicBezTo>
                  <a:cubicBezTo>
                    <a:pt x="122" y="560"/>
                    <a:pt x="120" y="562"/>
                    <a:pt x="118" y="563"/>
                  </a:cubicBezTo>
                  <a:cubicBezTo>
                    <a:pt x="117" y="564"/>
                    <a:pt x="114" y="563"/>
                    <a:pt x="112" y="564"/>
                  </a:cubicBezTo>
                  <a:cubicBezTo>
                    <a:pt x="112" y="564"/>
                    <a:pt x="111" y="565"/>
                    <a:pt x="110" y="566"/>
                  </a:cubicBezTo>
                  <a:cubicBezTo>
                    <a:pt x="109" y="567"/>
                    <a:pt x="109" y="566"/>
                    <a:pt x="108" y="568"/>
                  </a:cubicBezTo>
                  <a:cubicBezTo>
                    <a:pt x="106" y="570"/>
                    <a:pt x="106" y="572"/>
                    <a:pt x="107" y="574"/>
                  </a:cubicBezTo>
                  <a:cubicBezTo>
                    <a:pt x="108" y="574"/>
                    <a:pt x="110" y="574"/>
                    <a:pt x="112" y="574"/>
                  </a:cubicBezTo>
                  <a:cubicBezTo>
                    <a:pt x="113" y="574"/>
                    <a:pt x="112" y="575"/>
                    <a:pt x="113" y="576"/>
                  </a:cubicBezTo>
                  <a:cubicBezTo>
                    <a:pt x="114" y="576"/>
                    <a:pt x="116" y="576"/>
                    <a:pt x="117" y="576"/>
                  </a:cubicBezTo>
                  <a:cubicBezTo>
                    <a:pt x="122" y="577"/>
                    <a:pt x="121" y="570"/>
                    <a:pt x="124" y="567"/>
                  </a:cubicBezTo>
                  <a:cubicBezTo>
                    <a:pt x="126" y="564"/>
                    <a:pt x="129" y="563"/>
                    <a:pt x="132" y="561"/>
                  </a:cubicBezTo>
                  <a:cubicBezTo>
                    <a:pt x="135" y="559"/>
                    <a:pt x="141" y="558"/>
                    <a:pt x="144" y="559"/>
                  </a:cubicBezTo>
                  <a:cubicBezTo>
                    <a:pt x="144" y="561"/>
                    <a:pt x="143" y="562"/>
                    <a:pt x="143" y="563"/>
                  </a:cubicBezTo>
                  <a:cubicBezTo>
                    <a:pt x="142" y="565"/>
                    <a:pt x="142" y="565"/>
                    <a:pt x="142" y="567"/>
                  </a:cubicBezTo>
                  <a:cubicBezTo>
                    <a:pt x="142" y="570"/>
                    <a:pt x="146" y="574"/>
                    <a:pt x="142" y="574"/>
                  </a:cubicBezTo>
                  <a:cubicBezTo>
                    <a:pt x="142" y="576"/>
                    <a:pt x="141" y="577"/>
                    <a:pt x="141" y="578"/>
                  </a:cubicBezTo>
                  <a:cubicBezTo>
                    <a:pt x="141" y="580"/>
                    <a:pt x="143" y="582"/>
                    <a:pt x="143" y="584"/>
                  </a:cubicBezTo>
                  <a:cubicBezTo>
                    <a:pt x="143" y="585"/>
                    <a:pt x="139" y="589"/>
                    <a:pt x="143" y="590"/>
                  </a:cubicBezTo>
                  <a:cubicBezTo>
                    <a:pt x="143" y="592"/>
                    <a:pt x="145" y="595"/>
                    <a:pt x="144" y="597"/>
                  </a:cubicBezTo>
                  <a:cubicBezTo>
                    <a:pt x="144" y="598"/>
                    <a:pt x="143" y="598"/>
                    <a:pt x="142" y="600"/>
                  </a:cubicBezTo>
                  <a:cubicBezTo>
                    <a:pt x="141" y="601"/>
                    <a:pt x="141" y="602"/>
                    <a:pt x="141" y="603"/>
                  </a:cubicBezTo>
                  <a:cubicBezTo>
                    <a:pt x="141" y="605"/>
                    <a:pt x="140" y="606"/>
                    <a:pt x="139" y="608"/>
                  </a:cubicBezTo>
                  <a:cubicBezTo>
                    <a:pt x="139" y="609"/>
                    <a:pt x="140" y="611"/>
                    <a:pt x="139" y="612"/>
                  </a:cubicBezTo>
                  <a:cubicBezTo>
                    <a:pt x="139" y="613"/>
                    <a:pt x="137" y="613"/>
                    <a:pt x="137" y="614"/>
                  </a:cubicBezTo>
                  <a:cubicBezTo>
                    <a:pt x="136" y="615"/>
                    <a:pt x="136" y="616"/>
                    <a:pt x="136" y="617"/>
                  </a:cubicBezTo>
                  <a:cubicBezTo>
                    <a:pt x="134" y="621"/>
                    <a:pt x="134" y="619"/>
                    <a:pt x="132" y="620"/>
                  </a:cubicBezTo>
                  <a:cubicBezTo>
                    <a:pt x="130" y="621"/>
                    <a:pt x="129" y="623"/>
                    <a:pt x="128" y="624"/>
                  </a:cubicBezTo>
                  <a:cubicBezTo>
                    <a:pt x="127" y="624"/>
                    <a:pt x="126" y="625"/>
                    <a:pt x="125" y="625"/>
                  </a:cubicBezTo>
                  <a:cubicBezTo>
                    <a:pt x="125" y="626"/>
                    <a:pt x="124" y="625"/>
                    <a:pt x="123" y="626"/>
                  </a:cubicBezTo>
                  <a:cubicBezTo>
                    <a:pt x="122" y="626"/>
                    <a:pt x="121" y="629"/>
                    <a:pt x="120" y="630"/>
                  </a:cubicBezTo>
                  <a:cubicBezTo>
                    <a:pt x="118" y="631"/>
                    <a:pt x="115" y="629"/>
                    <a:pt x="113" y="630"/>
                  </a:cubicBezTo>
                  <a:cubicBezTo>
                    <a:pt x="113" y="630"/>
                    <a:pt x="112" y="631"/>
                    <a:pt x="112" y="631"/>
                  </a:cubicBezTo>
                  <a:cubicBezTo>
                    <a:pt x="111" y="631"/>
                    <a:pt x="109" y="631"/>
                    <a:pt x="109" y="631"/>
                  </a:cubicBezTo>
                  <a:cubicBezTo>
                    <a:pt x="108" y="632"/>
                    <a:pt x="106" y="633"/>
                    <a:pt x="105" y="634"/>
                  </a:cubicBezTo>
                  <a:cubicBezTo>
                    <a:pt x="104" y="635"/>
                    <a:pt x="104" y="637"/>
                    <a:pt x="103" y="638"/>
                  </a:cubicBezTo>
                  <a:cubicBezTo>
                    <a:pt x="101" y="640"/>
                    <a:pt x="95" y="639"/>
                    <a:pt x="93" y="637"/>
                  </a:cubicBezTo>
                  <a:cubicBezTo>
                    <a:pt x="91" y="636"/>
                    <a:pt x="92" y="635"/>
                    <a:pt x="89" y="636"/>
                  </a:cubicBezTo>
                  <a:cubicBezTo>
                    <a:pt x="87" y="638"/>
                    <a:pt x="88" y="639"/>
                    <a:pt x="87" y="642"/>
                  </a:cubicBezTo>
                  <a:cubicBezTo>
                    <a:pt x="86" y="643"/>
                    <a:pt x="82" y="642"/>
                    <a:pt x="82" y="643"/>
                  </a:cubicBezTo>
                  <a:cubicBezTo>
                    <a:pt x="81" y="644"/>
                    <a:pt x="82" y="648"/>
                    <a:pt x="81" y="650"/>
                  </a:cubicBezTo>
                  <a:cubicBezTo>
                    <a:pt x="79" y="653"/>
                    <a:pt x="76" y="651"/>
                    <a:pt x="75" y="655"/>
                  </a:cubicBezTo>
                  <a:cubicBezTo>
                    <a:pt x="77" y="655"/>
                    <a:pt x="82" y="654"/>
                    <a:pt x="85" y="655"/>
                  </a:cubicBezTo>
                  <a:cubicBezTo>
                    <a:pt x="88" y="656"/>
                    <a:pt x="86" y="658"/>
                    <a:pt x="85" y="660"/>
                  </a:cubicBezTo>
                  <a:cubicBezTo>
                    <a:pt x="83" y="662"/>
                    <a:pt x="82" y="663"/>
                    <a:pt x="79" y="664"/>
                  </a:cubicBezTo>
                  <a:cubicBezTo>
                    <a:pt x="78" y="665"/>
                    <a:pt x="77" y="664"/>
                    <a:pt x="76" y="666"/>
                  </a:cubicBezTo>
                  <a:cubicBezTo>
                    <a:pt x="76" y="669"/>
                    <a:pt x="77" y="669"/>
                    <a:pt x="79" y="670"/>
                  </a:cubicBezTo>
                  <a:cubicBezTo>
                    <a:pt x="82" y="672"/>
                    <a:pt x="84" y="672"/>
                    <a:pt x="87" y="672"/>
                  </a:cubicBezTo>
                  <a:cubicBezTo>
                    <a:pt x="88" y="672"/>
                    <a:pt x="89" y="672"/>
                    <a:pt x="89" y="672"/>
                  </a:cubicBezTo>
                  <a:cubicBezTo>
                    <a:pt x="90" y="673"/>
                    <a:pt x="90" y="674"/>
                    <a:pt x="90" y="674"/>
                  </a:cubicBezTo>
                  <a:cubicBezTo>
                    <a:pt x="92" y="675"/>
                    <a:pt x="93" y="675"/>
                    <a:pt x="95" y="675"/>
                  </a:cubicBezTo>
                  <a:cubicBezTo>
                    <a:pt x="97" y="675"/>
                    <a:pt x="100" y="675"/>
                    <a:pt x="102" y="675"/>
                  </a:cubicBezTo>
                  <a:cubicBezTo>
                    <a:pt x="104" y="676"/>
                    <a:pt x="103" y="676"/>
                    <a:pt x="105" y="677"/>
                  </a:cubicBezTo>
                  <a:cubicBezTo>
                    <a:pt x="105" y="678"/>
                    <a:pt x="105" y="679"/>
                    <a:pt x="107" y="678"/>
                  </a:cubicBezTo>
                  <a:cubicBezTo>
                    <a:pt x="110" y="677"/>
                    <a:pt x="107" y="674"/>
                    <a:pt x="108" y="672"/>
                  </a:cubicBezTo>
                  <a:cubicBezTo>
                    <a:pt x="111" y="671"/>
                    <a:pt x="113" y="671"/>
                    <a:pt x="116" y="671"/>
                  </a:cubicBezTo>
                  <a:cubicBezTo>
                    <a:pt x="119" y="671"/>
                    <a:pt x="119" y="669"/>
                    <a:pt x="122" y="669"/>
                  </a:cubicBezTo>
                  <a:cubicBezTo>
                    <a:pt x="125" y="668"/>
                    <a:pt x="127" y="668"/>
                    <a:pt x="128" y="671"/>
                  </a:cubicBezTo>
                  <a:cubicBezTo>
                    <a:pt x="128" y="673"/>
                    <a:pt x="127" y="677"/>
                    <a:pt x="128" y="678"/>
                  </a:cubicBezTo>
                  <a:cubicBezTo>
                    <a:pt x="129" y="679"/>
                    <a:pt x="131" y="679"/>
                    <a:pt x="131" y="679"/>
                  </a:cubicBezTo>
                  <a:cubicBezTo>
                    <a:pt x="133" y="680"/>
                    <a:pt x="133" y="682"/>
                    <a:pt x="134" y="682"/>
                  </a:cubicBezTo>
                  <a:cubicBezTo>
                    <a:pt x="135" y="683"/>
                    <a:pt x="139" y="682"/>
                    <a:pt x="140" y="682"/>
                  </a:cubicBezTo>
                  <a:cubicBezTo>
                    <a:pt x="143" y="682"/>
                    <a:pt x="143" y="682"/>
                    <a:pt x="145" y="680"/>
                  </a:cubicBezTo>
                  <a:cubicBezTo>
                    <a:pt x="148" y="678"/>
                    <a:pt x="147" y="678"/>
                    <a:pt x="147" y="675"/>
                  </a:cubicBezTo>
                  <a:cubicBezTo>
                    <a:pt x="148" y="672"/>
                    <a:pt x="148" y="671"/>
                    <a:pt x="151" y="672"/>
                  </a:cubicBezTo>
                  <a:cubicBezTo>
                    <a:pt x="153" y="672"/>
                    <a:pt x="154" y="672"/>
                    <a:pt x="155" y="675"/>
                  </a:cubicBezTo>
                  <a:cubicBezTo>
                    <a:pt x="155" y="676"/>
                    <a:pt x="154" y="678"/>
                    <a:pt x="155" y="678"/>
                  </a:cubicBezTo>
                  <a:cubicBezTo>
                    <a:pt x="156" y="680"/>
                    <a:pt x="158" y="680"/>
                    <a:pt x="160" y="681"/>
                  </a:cubicBezTo>
                  <a:cubicBezTo>
                    <a:pt x="162" y="682"/>
                    <a:pt x="163" y="684"/>
                    <a:pt x="165" y="686"/>
                  </a:cubicBezTo>
                  <a:cubicBezTo>
                    <a:pt x="166" y="689"/>
                    <a:pt x="167" y="691"/>
                    <a:pt x="169" y="691"/>
                  </a:cubicBezTo>
                  <a:cubicBezTo>
                    <a:pt x="171" y="692"/>
                    <a:pt x="172" y="691"/>
                    <a:pt x="173" y="692"/>
                  </a:cubicBezTo>
                  <a:cubicBezTo>
                    <a:pt x="176" y="693"/>
                    <a:pt x="176" y="694"/>
                    <a:pt x="179" y="695"/>
                  </a:cubicBezTo>
                  <a:cubicBezTo>
                    <a:pt x="182" y="696"/>
                    <a:pt x="185" y="697"/>
                    <a:pt x="189" y="697"/>
                  </a:cubicBezTo>
                  <a:cubicBezTo>
                    <a:pt x="191" y="697"/>
                    <a:pt x="193" y="696"/>
                    <a:pt x="194" y="694"/>
                  </a:cubicBezTo>
                  <a:cubicBezTo>
                    <a:pt x="195" y="691"/>
                    <a:pt x="192" y="689"/>
                    <a:pt x="194" y="687"/>
                  </a:cubicBezTo>
                  <a:cubicBezTo>
                    <a:pt x="196" y="685"/>
                    <a:pt x="196" y="685"/>
                    <a:pt x="198" y="685"/>
                  </a:cubicBezTo>
                  <a:cubicBezTo>
                    <a:pt x="198" y="685"/>
                    <a:pt x="199" y="685"/>
                    <a:pt x="200" y="685"/>
                  </a:cubicBezTo>
                  <a:cubicBezTo>
                    <a:pt x="201" y="685"/>
                    <a:pt x="201" y="684"/>
                    <a:pt x="202" y="683"/>
                  </a:cubicBezTo>
                  <a:cubicBezTo>
                    <a:pt x="203" y="683"/>
                    <a:pt x="204" y="683"/>
                    <a:pt x="205" y="682"/>
                  </a:cubicBezTo>
                  <a:cubicBezTo>
                    <a:pt x="206" y="682"/>
                    <a:pt x="208" y="680"/>
                    <a:pt x="209" y="679"/>
                  </a:cubicBezTo>
                  <a:cubicBezTo>
                    <a:pt x="211" y="678"/>
                    <a:pt x="214" y="680"/>
                    <a:pt x="216" y="678"/>
                  </a:cubicBezTo>
                  <a:cubicBezTo>
                    <a:pt x="218" y="677"/>
                    <a:pt x="218" y="676"/>
                    <a:pt x="219" y="675"/>
                  </a:cubicBezTo>
                  <a:cubicBezTo>
                    <a:pt x="220" y="674"/>
                    <a:pt x="221" y="675"/>
                    <a:pt x="222" y="675"/>
                  </a:cubicBezTo>
                  <a:cubicBezTo>
                    <a:pt x="223" y="674"/>
                    <a:pt x="223" y="673"/>
                    <a:pt x="224" y="673"/>
                  </a:cubicBezTo>
                  <a:cubicBezTo>
                    <a:pt x="225" y="674"/>
                    <a:pt x="218" y="677"/>
                    <a:pt x="217" y="679"/>
                  </a:cubicBezTo>
                  <a:cubicBezTo>
                    <a:pt x="215" y="680"/>
                    <a:pt x="216" y="682"/>
                    <a:pt x="215" y="683"/>
                  </a:cubicBezTo>
                  <a:cubicBezTo>
                    <a:pt x="214" y="686"/>
                    <a:pt x="212" y="686"/>
                    <a:pt x="210" y="687"/>
                  </a:cubicBezTo>
                  <a:cubicBezTo>
                    <a:pt x="208" y="689"/>
                    <a:pt x="206" y="690"/>
                    <a:pt x="204" y="692"/>
                  </a:cubicBezTo>
                  <a:cubicBezTo>
                    <a:pt x="204" y="693"/>
                    <a:pt x="203" y="695"/>
                    <a:pt x="202" y="696"/>
                  </a:cubicBezTo>
                  <a:cubicBezTo>
                    <a:pt x="202" y="696"/>
                    <a:pt x="202" y="697"/>
                    <a:pt x="202" y="698"/>
                  </a:cubicBezTo>
                  <a:cubicBezTo>
                    <a:pt x="201" y="698"/>
                    <a:pt x="200" y="700"/>
                    <a:pt x="200" y="700"/>
                  </a:cubicBezTo>
                  <a:cubicBezTo>
                    <a:pt x="199" y="704"/>
                    <a:pt x="200" y="708"/>
                    <a:pt x="195" y="709"/>
                  </a:cubicBezTo>
                  <a:cubicBezTo>
                    <a:pt x="193" y="709"/>
                    <a:pt x="192" y="709"/>
                    <a:pt x="190" y="709"/>
                  </a:cubicBezTo>
                  <a:cubicBezTo>
                    <a:pt x="190" y="709"/>
                    <a:pt x="188" y="708"/>
                    <a:pt x="187" y="709"/>
                  </a:cubicBezTo>
                  <a:cubicBezTo>
                    <a:pt x="186" y="709"/>
                    <a:pt x="186" y="710"/>
                    <a:pt x="185" y="711"/>
                  </a:cubicBezTo>
                  <a:cubicBezTo>
                    <a:pt x="182" y="713"/>
                    <a:pt x="179" y="711"/>
                    <a:pt x="177" y="709"/>
                  </a:cubicBezTo>
                  <a:cubicBezTo>
                    <a:pt x="174" y="707"/>
                    <a:pt x="169" y="708"/>
                    <a:pt x="165" y="708"/>
                  </a:cubicBezTo>
                  <a:cubicBezTo>
                    <a:pt x="161" y="708"/>
                    <a:pt x="157" y="707"/>
                    <a:pt x="152" y="707"/>
                  </a:cubicBezTo>
                  <a:cubicBezTo>
                    <a:pt x="149" y="707"/>
                    <a:pt x="145" y="708"/>
                    <a:pt x="141" y="708"/>
                  </a:cubicBezTo>
                  <a:cubicBezTo>
                    <a:pt x="137" y="708"/>
                    <a:pt x="134" y="707"/>
                    <a:pt x="134" y="712"/>
                  </a:cubicBezTo>
                  <a:cubicBezTo>
                    <a:pt x="134" y="714"/>
                    <a:pt x="134" y="715"/>
                    <a:pt x="133" y="717"/>
                  </a:cubicBezTo>
                  <a:cubicBezTo>
                    <a:pt x="133" y="717"/>
                    <a:pt x="132" y="718"/>
                    <a:pt x="132" y="719"/>
                  </a:cubicBezTo>
                  <a:cubicBezTo>
                    <a:pt x="132" y="720"/>
                    <a:pt x="132" y="722"/>
                    <a:pt x="132" y="724"/>
                  </a:cubicBezTo>
                  <a:cubicBezTo>
                    <a:pt x="132" y="726"/>
                    <a:pt x="132" y="727"/>
                    <a:pt x="130" y="728"/>
                  </a:cubicBezTo>
                  <a:cubicBezTo>
                    <a:pt x="129" y="729"/>
                    <a:pt x="125" y="729"/>
                    <a:pt x="124" y="728"/>
                  </a:cubicBezTo>
                  <a:cubicBezTo>
                    <a:pt x="123" y="727"/>
                    <a:pt x="122" y="721"/>
                    <a:pt x="118" y="724"/>
                  </a:cubicBezTo>
                  <a:cubicBezTo>
                    <a:pt x="116" y="727"/>
                    <a:pt x="117" y="733"/>
                    <a:pt x="117" y="736"/>
                  </a:cubicBezTo>
                  <a:cubicBezTo>
                    <a:pt x="117" y="738"/>
                    <a:pt x="117" y="740"/>
                    <a:pt x="116" y="742"/>
                  </a:cubicBezTo>
                  <a:cubicBezTo>
                    <a:pt x="115" y="744"/>
                    <a:pt x="114" y="746"/>
                    <a:pt x="114" y="748"/>
                  </a:cubicBezTo>
                  <a:cubicBezTo>
                    <a:pt x="113" y="749"/>
                    <a:pt x="110" y="750"/>
                    <a:pt x="109" y="751"/>
                  </a:cubicBezTo>
                  <a:cubicBezTo>
                    <a:pt x="108" y="753"/>
                    <a:pt x="107" y="755"/>
                    <a:pt x="106" y="756"/>
                  </a:cubicBezTo>
                  <a:cubicBezTo>
                    <a:pt x="105" y="758"/>
                    <a:pt x="105" y="760"/>
                    <a:pt x="104" y="761"/>
                  </a:cubicBezTo>
                  <a:cubicBezTo>
                    <a:pt x="103" y="763"/>
                    <a:pt x="101" y="762"/>
                    <a:pt x="100" y="762"/>
                  </a:cubicBezTo>
                  <a:cubicBezTo>
                    <a:pt x="96" y="763"/>
                    <a:pt x="96" y="763"/>
                    <a:pt x="94" y="766"/>
                  </a:cubicBezTo>
                  <a:cubicBezTo>
                    <a:pt x="94" y="767"/>
                    <a:pt x="92" y="769"/>
                    <a:pt x="91" y="770"/>
                  </a:cubicBezTo>
                  <a:cubicBezTo>
                    <a:pt x="91" y="771"/>
                    <a:pt x="91" y="771"/>
                    <a:pt x="92" y="772"/>
                  </a:cubicBezTo>
                  <a:cubicBezTo>
                    <a:pt x="91" y="773"/>
                    <a:pt x="91" y="774"/>
                    <a:pt x="90" y="775"/>
                  </a:cubicBezTo>
                  <a:cubicBezTo>
                    <a:pt x="83" y="781"/>
                    <a:pt x="83" y="781"/>
                    <a:pt x="83" y="781"/>
                  </a:cubicBezTo>
                  <a:cubicBezTo>
                    <a:pt x="83" y="782"/>
                    <a:pt x="82" y="782"/>
                    <a:pt x="82" y="783"/>
                  </a:cubicBezTo>
                  <a:cubicBezTo>
                    <a:pt x="82" y="783"/>
                    <a:pt x="82" y="783"/>
                    <a:pt x="81" y="784"/>
                  </a:cubicBezTo>
                  <a:cubicBezTo>
                    <a:pt x="81" y="784"/>
                    <a:pt x="81" y="784"/>
                    <a:pt x="81" y="784"/>
                  </a:cubicBezTo>
                  <a:cubicBezTo>
                    <a:pt x="80" y="784"/>
                    <a:pt x="81" y="785"/>
                    <a:pt x="81" y="785"/>
                  </a:cubicBezTo>
                  <a:cubicBezTo>
                    <a:pt x="81" y="786"/>
                    <a:pt x="81" y="786"/>
                    <a:pt x="81" y="787"/>
                  </a:cubicBezTo>
                  <a:cubicBezTo>
                    <a:pt x="81" y="787"/>
                    <a:pt x="81" y="787"/>
                    <a:pt x="80" y="787"/>
                  </a:cubicBezTo>
                  <a:cubicBezTo>
                    <a:pt x="80" y="787"/>
                    <a:pt x="80" y="788"/>
                    <a:pt x="79" y="788"/>
                  </a:cubicBezTo>
                  <a:cubicBezTo>
                    <a:pt x="79" y="788"/>
                    <a:pt x="78" y="788"/>
                    <a:pt x="78" y="788"/>
                  </a:cubicBezTo>
                  <a:cubicBezTo>
                    <a:pt x="77" y="789"/>
                    <a:pt x="77" y="790"/>
                    <a:pt x="76" y="791"/>
                  </a:cubicBezTo>
                  <a:cubicBezTo>
                    <a:pt x="75" y="792"/>
                    <a:pt x="74" y="793"/>
                    <a:pt x="73" y="793"/>
                  </a:cubicBezTo>
                  <a:cubicBezTo>
                    <a:pt x="73" y="793"/>
                    <a:pt x="73" y="793"/>
                    <a:pt x="73" y="793"/>
                  </a:cubicBezTo>
                  <a:cubicBezTo>
                    <a:pt x="72" y="794"/>
                    <a:pt x="72" y="794"/>
                    <a:pt x="72" y="794"/>
                  </a:cubicBezTo>
                  <a:cubicBezTo>
                    <a:pt x="71" y="795"/>
                    <a:pt x="71" y="795"/>
                    <a:pt x="70" y="796"/>
                  </a:cubicBezTo>
                  <a:cubicBezTo>
                    <a:pt x="70" y="796"/>
                    <a:pt x="70" y="796"/>
                    <a:pt x="70" y="796"/>
                  </a:cubicBezTo>
                  <a:cubicBezTo>
                    <a:pt x="69" y="796"/>
                    <a:pt x="67" y="795"/>
                    <a:pt x="67" y="795"/>
                  </a:cubicBezTo>
                  <a:cubicBezTo>
                    <a:pt x="67" y="795"/>
                    <a:pt x="66" y="794"/>
                    <a:pt x="66" y="794"/>
                  </a:cubicBezTo>
                  <a:cubicBezTo>
                    <a:pt x="66" y="794"/>
                    <a:pt x="66" y="793"/>
                    <a:pt x="65" y="793"/>
                  </a:cubicBezTo>
                  <a:cubicBezTo>
                    <a:pt x="65" y="793"/>
                    <a:pt x="64" y="794"/>
                    <a:pt x="64" y="794"/>
                  </a:cubicBezTo>
                  <a:cubicBezTo>
                    <a:pt x="63" y="794"/>
                    <a:pt x="63" y="794"/>
                    <a:pt x="63" y="795"/>
                  </a:cubicBezTo>
                  <a:cubicBezTo>
                    <a:pt x="62" y="795"/>
                    <a:pt x="62" y="795"/>
                    <a:pt x="62" y="796"/>
                  </a:cubicBezTo>
                  <a:cubicBezTo>
                    <a:pt x="62" y="796"/>
                    <a:pt x="62" y="796"/>
                    <a:pt x="62" y="796"/>
                  </a:cubicBezTo>
                  <a:cubicBezTo>
                    <a:pt x="62" y="796"/>
                    <a:pt x="61" y="796"/>
                    <a:pt x="61" y="796"/>
                  </a:cubicBezTo>
                  <a:cubicBezTo>
                    <a:pt x="60" y="796"/>
                    <a:pt x="59" y="796"/>
                    <a:pt x="59" y="796"/>
                  </a:cubicBezTo>
                  <a:cubicBezTo>
                    <a:pt x="58" y="797"/>
                    <a:pt x="57" y="797"/>
                    <a:pt x="57" y="798"/>
                  </a:cubicBezTo>
                  <a:cubicBezTo>
                    <a:pt x="56" y="799"/>
                    <a:pt x="56" y="800"/>
                    <a:pt x="55" y="801"/>
                  </a:cubicBezTo>
                  <a:cubicBezTo>
                    <a:pt x="55" y="802"/>
                    <a:pt x="54" y="802"/>
                    <a:pt x="54" y="803"/>
                  </a:cubicBezTo>
                  <a:cubicBezTo>
                    <a:pt x="54" y="804"/>
                    <a:pt x="54" y="804"/>
                    <a:pt x="54" y="805"/>
                  </a:cubicBezTo>
                  <a:cubicBezTo>
                    <a:pt x="54" y="805"/>
                    <a:pt x="53" y="806"/>
                    <a:pt x="54" y="806"/>
                  </a:cubicBezTo>
                  <a:cubicBezTo>
                    <a:pt x="54" y="807"/>
                    <a:pt x="54" y="808"/>
                    <a:pt x="55" y="808"/>
                  </a:cubicBezTo>
                  <a:cubicBezTo>
                    <a:pt x="55" y="808"/>
                    <a:pt x="55" y="809"/>
                    <a:pt x="55" y="809"/>
                  </a:cubicBezTo>
                  <a:cubicBezTo>
                    <a:pt x="56" y="809"/>
                    <a:pt x="56" y="809"/>
                    <a:pt x="56" y="809"/>
                  </a:cubicBezTo>
                  <a:cubicBezTo>
                    <a:pt x="56" y="809"/>
                    <a:pt x="56" y="809"/>
                    <a:pt x="57" y="810"/>
                  </a:cubicBezTo>
                  <a:cubicBezTo>
                    <a:pt x="57" y="810"/>
                    <a:pt x="57" y="810"/>
                    <a:pt x="57" y="810"/>
                  </a:cubicBezTo>
                  <a:cubicBezTo>
                    <a:pt x="58" y="810"/>
                    <a:pt x="58" y="810"/>
                    <a:pt x="59" y="811"/>
                  </a:cubicBezTo>
                  <a:cubicBezTo>
                    <a:pt x="60" y="811"/>
                    <a:pt x="60" y="811"/>
                    <a:pt x="61" y="810"/>
                  </a:cubicBezTo>
                  <a:cubicBezTo>
                    <a:pt x="62" y="810"/>
                    <a:pt x="62" y="810"/>
                    <a:pt x="63" y="809"/>
                  </a:cubicBezTo>
                  <a:cubicBezTo>
                    <a:pt x="63" y="809"/>
                    <a:pt x="64" y="809"/>
                    <a:pt x="64" y="808"/>
                  </a:cubicBezTo>
                  <a:cubicBezTo>
                    <a:pt x="65" y="808"/>
                    <a:pt x="65" y="807"/>
                    <a:pt x="65" y="806"/>
                  </a:cubicBezTo>
                  <a:cubicBezTo>
                    <a:pt x="65" y="806"/>
                    <a:pt x="66" y="805"/>
                    <a:pt x="66" y="804"/>
                  </a:cubicBezTo>
                  <a:cubicBezTo>
                    <a:pt x="67" y="804"/>
                    <a:pt x="67" y="804"/>
                    <a:pt x="68" y="804"/>
                  </a:cubicBezTo>
                  <a:cubicBezTo>
                    <a:pt x="69" y="804"/>
                    <a:pt x="70" y="805"/>
                    <a:pt x="70" y="805"/>
                  </a:cubicBezTo>
                  <a:cubicBezTo>
                    <a:pt x="71" y="805"/>
                    <a:pt x="72" y="806"/>
                    <a:pt x="73" y="806"/>
                  </a:cubicBezTo>
                  <a:cubicBezTo>
                    <a:pt x="73" y="806"/>
                    <a:pt x="74" y="807"/>
                    <a:pt x="74" y="807"/>
                  </a:cubicBezTo>
                  <a:cubicBezTo>
                    <a:pt x="74" y="807"/>
                    <a:pt x="74" y="808"/>
                    <a:pt x="74" y="808"/>
                  </a:cubicBezTo>
                  <a:cubicBezTo>
                    <a:pt x="74" y="808"/>
                    <a:pt x="75" y="809"/>
                    <a:pt x="75" y="810"/>
                  </a:cubicBezTo>
                  <a:cubicBezTo>
                    <a:pt x="76" y="811"/>
                    <a:pt x="77" y="811"/>
                    <a:pt x="77" y="812"/>
                  </a:cubicBezTo>
                  <a:cubicBezTo>
                    <a:pt x="78" y="813"/>
                    <a:pt x="78" y="814"/>
                    <a:pt x="78" y="815"/>
                  </a:cubicBezTo>
                  <a:cubicBezTo>
                    <a:pt x="79" y="817"/>
                    <a:pt x="81" y="818"/>
                    <a:pt x="83" y="818"/>
                  </a:cubicBezTo>
                  <a:cubicBezTo>
                    <a:pt x="83" y="818"/>
                    <a:pt x="84" y="818"/>
                    <a:pt x="85" y="817"/>
                  </a:cubicBezTo>
                  <a:cubicBezTo>
                    <a:pt x="85" y="817"/>
                    <a:pt x="85" y="817"/>
                    <a:pt x="85" y="817"/>
                  </a:cubicBezTo>
                  <a:cubicBezTo>
                    <a:pt x="85" y="816"/>
                    <a:pt x="85" y="816"/>
                    <a:pt x="86" y="815"/>
                  </a:cubicBezTo>
                  <a:cubicBezTo>
                    <a:pt x="87" y="814"/>
                    <a:pt x="88" y="813"/>
                    <a:pt x="88" y="811"/>
                  </a:cubicBezTo>
                  <a:cubicBezTo>
                    <a:pt x="89" y="811"/>
                    <a:pt x="89" y="811"/>
                    <a:pt x="89" y="810"/>
                  </a:cubicBezTo>
                  <a:cubicBezTo>
                    <a:pt x="90" y="810"/>
                    <a:pt x="90" y="809"/>
                    <a:pt x="90" y="809"/>
                  </a:cubicBezTo>
                  <a:cubicBezTo>
                    <a:pt x="91" y="807"/>
                    <a:pt x="90" y="806"/>
                    <a:pt x="89" y="805"/>
                  </a:cubicBezTo>
                  <a:cubicBezTo>
                    <a:pt x="89" y="804"/>
                    <a:pt x="89" y="804"/>
                    <a:pt x="89" y="803"/>
                  </a:cubicBezTo>
                  <a:cubicBezTo>
                    <a:pt x="89" y="802"/>
                    <a:pt x="89" y="802"/>
                    <a:pt x="90" y="802"/>
                  </a:cubicBezTo>
                  <a:cubicBezTo>
                    <a:pt x="91" y="802"/>
                    <a:pt x="91" y="802"/>
                    <a:pt x="91" y="802"/>
                  </a:cubicBezTo>
                  <a:cubicBezTo>
                    <a:pt x="91" y="801"/>
                    <a:pt x="92" y="801"/>
                    <a:pt x="92" y="801"/>
                  </a:cubicBezTo>
                  <a:cubicBezTo>
                    <a:pt x="93" y="800"/>
                    <a:pt x="93" y="800"/>
                    <a:pt x="94" y="800"/>
                  </a:cubicBezTo>
                  <a:cubicBezTo>
                    <a:pt x="94" y="799"/>
                    <a:pt x="95" y="799"/>
                    <a:pt x="96" y="799"/>
                  </a:cubicBezTo>
                  <a:cubicBezTo>
                    <a:pt x="97" y="798"/>
                    <a:pt x="98" y="798"/>
                    <a:pt x="99" y="797"/>
                  </a:cubicBezTo>
                  <a:cubicBezTo>
                    <a:pt x="100" y="797"/>
                    <a:pt x="101" y="796"/>
                    <a:pt x="103" y="795"/>
                  </a:cubicBezTo>
                  <a:cubicBezTo>
                    <a:pt x="104" y="794"/>
                    <a:pt x="105" y="793"/>
                    <a:pt x="105" y="792"/>
                  </a:cubicBezTo>
                  <a:cubicBezTo>
                    <a:pt x="105" y="791"/>
                    <a:pt x="105" y="791"/>
                    <a:pt x="105" y="791"/>
                  </a:cubicBezTo>
                  <a:cubicBezTo>
                    <a:pt x="105" y="790"/>
                    <a:pt x="106" y="789"/>
                    <a:pt x="106" y="788"/>
                  </a:cubicBezTo>
                  <a:cubicBezTo>
                    <a:pt x="106" y="788"/>
                    <a:pt x="106" y="787"/>
                    <a:pt x="106" y="786"/>
                  </a:cubicBezTo>
                  <a:cubicBezTo>
                    <a:pt x="106" y="786"/>
                    <a:pt x="106" y="786"/>
                    <a:pt x="106" y="785"/>
                  </a:cubicBezTo>
                  <a:cubicBezTo>
                    <a:pt x="107" y="785"/>
                    <a:pt x="106" y="784"/>
                    <a:pt x="107" y="784"/>
                  </a:cubicBezTo>
                  <a:cubicBezTo>
                    <a:pt x="107" y="783"/>
                    <a:pt x="107" y="783"/>
                    <a:pt x="108" y="783"/>
                  </a:cubicBezTo>
                  <a:cubicBezTo>
                    <a:pt x="108" y="783"/>
                    <a:pt x="108" y="783"/>
                    <a:pt x="109" y="783"/>
                  </a:cubicBezTo>
                  <a:cubicBezTo>
                    <a:pt x="109" y="784"/>
                    <a:pt x="109" y="785"/>
                    <a:pt x="109" y="785"/>
                  </a:cubicBezTo>
                  <a:cubicBezTo>
                    <a:pt x="111" y="787"/>
                    <a:pt x="112" y="787"/>
                    <a:pt x="114" y="786"/>
                  </a:cubicBezTo>
                  <a:cubicBezTo>
                    <a:pt x="115" y="786"/>
                    <a:pt x="116" y="786"/>
                    <a:pt x="117" y="786"/>
                  </a:cubicBezTo>
                  <a:cubicBezTo>
                    <a:pt x="118" y="785"/>
                    <a:pt x="119" y="786"/>
                    <a:pt x="120" y="786"/>
                  </a:cubicBezTo>
                  <a:cubicBezTo>
                    <a:pt x="121" y="785"/>
                    <a:pt x="122" y="785"/>
                    <a:pt x="124" y="784"/>
                  </a:cubicBezTo>
                  <a:cubicBezTo>
                    <a:pt x="124" y="783"/>
                    <a:pt x="124" y="783"/>
                    <a:pt x="125" y="783"/>
                  </a:cubicBezTo>
                  <a:cubicBezTo>
                    <a:pt x="125" y="783"/>
                    <a:pt x="126" y="783"/>
                    <a:pt x="127" y="783"/>
                  </a:cubicBezTo>
                  <a:cubicBezTo>
                    <a:pt x="128" y="782"/>
                    <a:pt x="128" y="782"/>
                    <a:pt x="129" y="781"/>
                  </a:cubicBezTo>
                  <a:cubicBezTo>
                    <a:pt x="129" y="781"/>
                    <a:pt x="130" y="780"/>
                    <a:pt x="130" y="780"/>
                  </a:cubicBezTo>
                  <a:cubicBezTo>
                    <a:pt x="131" y="779"/>
                    <a:pt x="131" y="780"/>
                    <a:pt x="132" y="780"/>
                  </a:cubicBezTo>
                  <a:cubicBezTo>
                    <a:pt x="133" y="780"/>
                    <a:pt x="133" y="780"/>
                    <a:pt x="134" y="781"/>
                  </a:cubicBezTo>
                  <a:cubicBezTo>
                    <a:pt x="134" y="781"/>
                    <a:pt x="134" y="781"/>
                    <a:pt x="134" y="781"/>
                  </a:cubicBezTo>
                  <a:cubicBezTo>
                    <a:pt x="134" y="782"/>
                    <a:pt x="134" y="782"/>
                    <a:pt x="135" y="783"/>
                  </a:cubicBezTo>
                  <a:cubicBezTo>
                    <a:pt x="135" y="784"/>
                    <a:pt x="135" y="785"/>
                    <a:pt x="136" y="786"/>
                  </a:cubicBezTo>
                  <a:cubicBezTo>
                    <a:pt x="136" y="786"/>
                    <a:pt x="138" y="786"/>
                    <a:pt x="138" y="786"/>
                  </a:cubicBezTo>
                  <a:cubicBezTo>
                    <a:pt x="139" y="786"/>
                    <a:pt x="140" y="787"/>
                    <a:pt x="141" y="787"/>
                  </a:cubicBezTo>
                  <a:cubicBezTo>
                    <a:pt x="141" y="788"/>
                    <a:pt x="141" y="787"/>
                    <a:pt x="142" y="788"/>
                  </a:cubicBezTo>
                  <a:cubicBezTo>
                    <a:pt x="142" y="788"/>
                    <a:pt x="143" y="788"/>
                    <a:pt x="144" y="788"/>
                  </a:cubicBezTo>
                  <a:cubicBezTo>
                    <a:pt x="145" y="788"/>
                    <a:pt x="146" y="789"/>
                    <a:pt x="147" y="788"/>
                  </a:cubicBezTo>
                  <a:cubicBezTo>
                    <a:pt x="147" y="787"/>
                    <a:pt x="147" y="787"/>
                    <a:pt x="148" y="787"/>
                  </a:cubicBezTo>
                  <a:cubicBezTo>
                    <a:pt x="148" y="788"/>
                    <a:pt x="149" y="788"/>
                    <a:pt x="149" y="788"/>
                  </a:cubicBezTo>
                  <a:cubicBezTo>
                    <a:pt x="150" y="788"/>
                    <a:pt x="151" y="789"/>
                    <a:pt x="151" y="790"/>
                  </a:cubicBezTo>
                  <a:cubicBezTo>
                    <a:pt x="151" y="791"/>
                    <a:pt x="151" y="791"/>
                    <a:pt x="151" y="792"/>
                  </a:cubicBezTo>
                  <a:cubicBezTo>
                    <a:pt x="152" y="793"/>
                    <a:pt x="152" y="793"/>
                    <a:pt x="153" y="793"/>
                  </a:cubicBezTo>
                  <a:cubicBezTo>
                    <a:pt x="153" y="794"/>
                    <a:pt x="154" y="794"/>
                    <a:pt x="154" y="795"/>
                  </a:cubicBezTo>
                  <a:cubicBezTo>
                    <a:pt x="156" y="795"/>
                    <a:pt x="157" y="796"/>
                    <a:pt x="158" y="796"/>
                  </a:cubicBezTo>
                  <a:cubicBezTo>
                    <a:pt x="159" y="796"/>
                    <a:pt x="160" y="796"/>
                    <a:pt x="160" y="796"/>
                  </a:cubicBezTo>
                  <a:cubicBezTo>
                    <a:pt x="161" y="796"/>
                    <a:pt x="163" y="797"/>
                    <a:pt x="163" y="796"/>
                  </a:cubicBezTo>
                  <a:cubicBezTo>
                    <a:pt x="165" y="796"/>
                    <a:pt x="164" y="795"/>
                    <a:pt x="165" y="794"/>
                  </a:cubicBezTo>
                  <a:cubicBezTo>
                    <a:pt x="165" y="793"/>
                    <a:pt x="165" y="793"/>
                    <a:pt x="165" y="792"/>
                  </a:cubicBezTo>
                  <a:cubicBezTo>
                    <a:pt x="165" y="791"/>
                    <a:pt x="165" y="790"/>
                    <a:pt x="165" y="789"/>
                  </a:cubicBezTo>
                  <a:cubicBezTo>
                    <a:pt x="166" y="789"/>
                    <a:pt x="166" y="789"/>
                    <a:pt x="166" y="789"/>
                  </a:cubicBezTo>
                  <a:cubicBezTo>
                    <a:pt x="167" y="789"/>
                    <a:pt x="168" y="789"/>
                    <a:pt x="169" y="789"/>
                  </a:cubicBezTo>
                  <a:cubicBezTo>
                    <a:pt x="170" y="789"/>
                    <a:pt x="171" y="789"/>
                    <a:pt x="172" y="789"/>
                  </a:cubicBezTo>
                  <a:cubicBezTo>
                    <a:pt x="173" y="789"/>
                    <a:pt x="174" y="789"/>
                    <a:pt x="176" y="789"/>
                  </a:cubicBezTo>
                  <a:cubicBezTo>
                    <a:pt x="176" y="789"/>
                    <a:pt x="177" y="789"/>
                    <a:pt x="178" y="789"/>
                  </a:cubicBezTo>
                  <a:cubicBezTo>
                    <a:pt x="180" y="789"/>
                    <a:pt x="181" y="788"/>
                    <a:pt x="183" y="788"/>
                  </a:cubicBezTo>
                  <a:cubicBezTo>
                    <a:pt x="187" y="787"/>
                    <a:pt x="193" y="788"/>
                    <a:pt x="193" y="786"/>
                  </a:cubicBezTo>
                  <a:cubicBezTo>
                    <a:pt x="195" y="780"/>
                    <a:pt x="191" y="779"/>
                    <a:pt x="191" y="778"/>
                  </a:cubicBezTo>
                  <a:cubicBezTo>
                    <a:pt x="189" y="777"/>
                    <a:pt x="182" y="777"/>
                    <a:pt x="180" y="777"/>
                  </a:cubicBezTo>
                  <a:cubicBezTo>
                    <a:pt x="177" y="777"/>
                    <a:pt x="174" y="777"/>
                    <a:pt x="172" y="777"/>
                  </a:cubicBezTo>
                  <a:cubicBezTo>
                    <a:pt x="171" y="777"/>
                    <a:pt x="169" y="777"/>
                    <a:pt x="169" y="776"/>
                  </a:cubicBezTo>
                  <a:cubicBezTo>
                    <a:pt x="169" y="775"/>
                    <a:pt x="170" y="773"/>
                    <a:pt x="171" y="773"/>
                  </a:cubicBezTo>
                  <a:cubicBezTo>
                    <a:pt x="172" y="771"/>
                    <a:pt x="174" y="769"/>
                    <a:pt x="175" y="767"/>
                  </a:cubicBezTo>
                  <a:cubicBezTo>
                    <a:pt x="176" y="766"/>
                    <a:pt x="176" y="764"/>
                    <a:pt x="177" y="763"/>
                  </a:cubicBezTo>
                  <a:cubicBezTo>
                    <a:pt x="178" y="762"/>
                    <a:pt x="178" y="761"/>
                    <a:pt x="178" y="760"/>
                  </a:cubicBezTo>
                  <a:cubicBezTo>
                    <a:pt x="179" y="760"/>
                    <a:pt x="179" y="760"/>
                    <a:pt x="180" y="759"/>
                  </a:cubicBezTo>
                  <a:cubicBezTo>
                    <a:pt x="181" y="759"/>
                    <a:pt x="181" y="759"/>
                    <a:pt x="181" y="759"/>
                  </a:cubicBezTo>
                  <a:cubicBezTo>
                    <a:pt x="182" y="759"/>
                    <a:pt x="182" y="759"/>
                    <a:pt x="183" y="759"/>
                  </a:cubicBezTo>
                  <a:cubicBezTo>
                    <a:pt x="183" y="759"/>
                    <a:pt x="183" y="759"/>
                    <a:pt x="183" y="759"/>
                  </a:cubicBezTo>
                  <a:cubicBezTo>
                    <a:pt x="184" y="758"/>
                    <a:pt x="184" y="758"/>
                    <a:pt x="185" y="757"/>
                  </a:cubicBezTo>
                  <a:cubicBezTo>
                    <a:pt x="185" y="756"/>
                    <a:pt x="186" y="755"/>
                    <a:pt x="187" y="755"/>
                  </a:cubicBezTo>
                  <a:cubicBezTo>
                    <a:pt x="188" y="755"/>
                    <a:pt x="189" y="754"/>
                    <a:pt x="190" y="754"/>
                  </a:cubicBezTo>
                  <a:cubicBezTo>
                    <a:pt x="191" y="754"/>
                    <a:pt x="192" y="754"/>
                    <a:pt x="192" y="754"/>
                  </a:cubicBezTo>
                  <a:cubicBezTo>
                    <a:pt x="194" y="754"/>
                    <a:pt x="195" y="755"/>
                    <a:pt x="196" y="755"/>
                  </a:cubicBezTo>
                  <a:cubicBezTo>
                    <a:pt x="196" y="755"/>
                    <a:pt x="196" y="755"/>
                    <a:pt x="196" y="755"/>
                  </a:cubicBezTo>
                  <a:cubicBezTo>
                    <a:pt x="198" y="754"/>
                    <a:pt x="199" y="755"/>
                    <a:pt x="200" y="754"/>
                  </a:cubicBezTo>
                  <a:cubicBezTo>
                    <a:pt x="201" y="754"/>
                    <a:pt x="200" y="753"/>
                    <a:pt x="201" y="752"/>
                  </a:cubicBezTo>
                  <a:cubicBezTo>
                    <a:pt x="201" y="752"/>
                    <a:pt x="202" y="751"/>
                    <a:pt x="202" y="751"/>
                  </a:cubicBezTo>
                  <a:cubicBezTo>
                    <a:pt x="203" y="749"/>
                    <a:pt x="202" y="748"/>
                    <a:pt x="204" y="747"/>
                  </a:cubicBezTo>
                  <a:cubicBezTo>
                    <a:pt x="205" y="747"/>
                    <a:pt x="209" y="748"/>
                    <a:pt x="210" y="749"/>
                  </a:cubicBezTo>
                  <a:cubicBezTo>
                    <a:pt x="211" y="750"/>
                    <a:pt x="211" y="752"/>
                    <a:pt x="211" y="754"/>
                  </a:cubicBezTo>
                  <a:cubicBezTo>
                    <a:pt x="213" y="755"/>
                    <a:pt x="216" y="754"/>
                    <a:pt x="218" y="755"/>
                  </a:cubicBezTo>
                  <a:cubicBezTo>
                    <a:pt x="220" y="756"/>
                    <a:pt x="222" y="757"/>
                    <a:pt x="225" y="759"/>
                  </a:cubicBezTo>
                  <a:cubicBezTo>
                    <a:pt x="228" y="760"/>
                    <a:pt x="231" y="763"/>
                    <a:pt x="235" y="763"/>
                  </a:cubicBezTo>
                  <a:cubicBezTo>
                    <a:pt x="238" y="763"/>
                    <a:pt x="240" y="762"/>
                    <a:pt x="243" y="762"/>
                  </a:cubicBezTo>
                  <a:cubicBezTo>
                    <a:pt x="246" y="762"/>
                    <a:pt x="250" y="762"/>
                    <a:pt x="254" y="762"/>
                  </a:cubicBezTo>
                  <a:cubicBezTo>
                    <a:pt x="256" y="762"/>
                    <a:pt x="257" y="763"/>
                    <a:pt x="258" y="760"/>
                  </a:cubicBezTo>
                  <a:cubicBezTo>
                    <a:pt x="258" y="759"/>
                    <a:pt x="255" y="755"/>
                    <a:pt x="253" y="755"/>
                  </a:cubicBezTo>
                  <a:cubicBezTo>
                    <a:pt x="252" y="750"/>
                    <a:pt x="257" y="751"/>
                    <a:pt x="259" y="751"/>
                  </a:cubicBezTo>
                  <a:cubicBezTo>
                    <a:pt x="261" y="752"/>
                    <a:pt x="264" y="752"/>
                    <a:pt x="266" y="753"/>
                  </a:cubicBezTo>
                  <a:cubicBezTo>
                    <a:pt x="268" y="753"/>
                    <a:pt x="268" y="753"/>
                    <a:pt x="269" y="754"/>
                  </a:cubicBezTo>
                  <a:cubicBezTo>
                    <a:pt x="269" y="754"/>
                    <a:pt x="270" y="754"/>
                    <a:pt x="270" y="754"/>
                  </a:cubicBezTo>
                  <a:cubicBezTo>
                    <a:pt x="271" y="753"/>
                    <a:pt x="272" y="752"/>
                    <a:pt x="273" y="752"/>
                  </a:cubicBezTo>
                  <a:cubicBezTo>
                    <a:pt x="274" y="751"/>
                    <a:pt x="274" y="751"/>
                    <a:pt x="275" y="751"/>
                  </a:cubicBezTo>
                  <a:cubicBezTo>
                    <a:pt x="276" y="750"/>
                    <a:pt x="276" y="750"/>
                    <a:pt x="277" y="750"/>
                  </a:cubicBezTo>
                  <a:cubicBezTo>
                    <a:pt x="279" y="750"/>
                    <a:pt x="280" y="750"/>
                    <a:pt x="281" y="749"/>
                  </a:cubicBezTo>
                  <a:cubicBezTo>
                    <a:pt x="282" y="749"/>
                    <a:pt x="282" y="749"/>
                    <a:pt x="282" y="749"/>
                  </a:cubicBezTo>
                  <a:cubicBezTo>
                    <a:pt x="282" y="748"/>
                    <a:pt x="282" y="746"/>
                    <a:pt x="283" y="746"/>
                  </a:cubicBezTo>
                  <a:cubicBezTo>
                    <a:pt x="285" y="742"/>
                    <a:pt x="287" y="744"/>
                    <a:pt x="289" y="745"/>
                  </a:cubicBezTo>
                  <a:cubicBezTo>
                    <a:pt x="290" y="746"/>
                    <a:pt x="292" y="745"/>
                    <a:pt x="293" y="745"/>
                  </a:cubicBezTo>
                  <a:cubicBezTo>
                    <a:pt x="296" y="745"/>
                    <a:pt x="297" y="746"/>
                    <a:pt x="299" y="747"/>
                  </a:cubicBezTo>
                  <a:cubicBezTo>
                    <a:pt x="303" y="749"/>
                    <a:pt x="307" y="746"/>
                    <a:pt x="310" y="748"/>
                  </a:cubicBezTo>
                  <a:cubicBezTo>
                    <a:pt x="312" y="749"/>
                    <a:pt x="312" y="750"/>
                    <a:pt x="314" y="751"/>
                  </a:cubicBezTo>
                  <a:cubicBezTo>
                    <a:pt x="316" y="751"/>
                    <a:pt x="318" y="751"/>
                    <a:pt x="319" y="751"/>
                  </a:cubicBezTo>
                  <a:cubicBezTo>
                    <a:pt x="324" y="751"/>
                    <a:pt x="325" y="748"/>
                    <a:pt x="329" y="748"/>
                  </a:cubicBezTo>
                  <a:cubicBezTo>
                    <a:pt x="332" y="748"/>
                    <a:pt x="334" y="748"/>
                    <a:pt x="336" y="747"/>
                  </a:cubicBezTo>
                  <a:cubicBezTo>
                    <a:pt x="338" y="746"/>
                    <a:pt x="340" y="745"/>
                    <a:pt x="341" y="743"/>
                  </a:cubicBezTo>
                  <a:cubicBezTo>
                    <a:pt x="342" y="743"/>
                    <a:pt x="343" y="743"/>
                    <a:pt x="344" y="743"/>
                  </a:cubicBezTo>
                  <a:cubicBezTo>
                    <a:pt x="344" y="742"/>
                    <a:pt x="344" y="742"/>
                    <a:pt x="345" y="741"/>
                  </a:cubicBezTo>
                  <a:cubicBezTo>
                    <a:pt x="346" y="740"/>
                    <a:pt x="347" y="739"/>
                    <a:pt x="349" y="740"/>
                  </a:cubicBezTo>
                  <a:cubicBezTo>
                    <a:pt x="350" y="740"/>
                    <a:pt x="352" y="742"/>
                    <a:pt x="353" y="743"/>
                  </a:cubicBezTo>
                  <a:cubicBezTo>
                    <a:pt x="355" y="744"/>
                    <a:pt x="356" y="745"/>
                    <a:pt x="358" y="745"/>
                  </a:cubicBezTo>
                  <a:cubicBezTo>
                    <a:pt x="360" y="746"/>
                    <a:pt x="361" y="745"/>
                    <a:pt x="364" y="748"/>
                  </a:cubicBezTo>
                  <a:cubicBezTo>
                    <a:pt x="366" y="750"/>
                    <a:pt x="366" y="751"/>
                    <a:pt x="369" y="750"/>
                  </a:cubicBezTo>
                  <a:cubicBezTo>
                    <a:pt x="371" y="750"/>
                    <a:pt x="372" y="749"/>
                    <a:pt x="374" y="748"/>
                  </a:cubicBezTo>
                  <a:cubicBezTo>
                    <a:pt x="374" y="748"/>
                    <a:pt x="377" y="747"/>
                    <a:pt x="377" y="747"/>
                  </a:cubicBezTo>
                  <a:cubicBezTo>
                    <a:pt x="378" y="746"/>
                    <a:pt x="378" y="744"/>
                    <a:pt x="378" y="743"/>
                  </a:cubicBezTo>
                  <a:cubicBezTo>
                    <a:pt x="380" y="743"/>
                    <a:pt x="383" y="743"/>
                    <a:pt x="385" y="743"/>
                  </a:cubicBezTo>
                  <a:cubicBezTo>
                    <a:pt x="386" y="742"/>
                    <a:pt x="387" y="741"/>
                    <a:pt x="388" y="740"/>
                  </a:cubicBezTo>
                  <a:cubicBezTo>
                    <a:pt x="390" y="738"/>
                    <a:pt x="394" y="738"/>
                    <a:pt x="397" y="737"/>
                  </a:cubicBezTo>
                  <a:cubicBezTo>
                    <a:pt x="400" y="737"/>
                    <a:pt x="403" y="738"/>
                    <a:pt x="406" y="737"/>
                  </a:cubicBezTo>
                  <a:cubicBezTo>
                    <a:pt x="407" y="737"/>
                    <a:pt x="408" y="736"/>
                    <a:pt x="410" y="736"/>
                  </a:cubicBezTo>
                  <a:cubicBezTo>
                    <a:pt x="411" y="736"/>
                    <a:pt x="413" y="736"/>
                    <a:pt x="414" y="736"/>
                  </a:cubicBezTo>
                  <a:cubicBezTo>
                    <a:pt x="415" y="736"/>
                    <a:pt x="417" y="735"/>
                    <a:pt x="417" y="735"/>
                  </a:cubicBezTo>
                  <a:cubicBezTo>
                    <a:pt x="419" y="732"/>
                    <a:pt x="417" y="733"/>
                    <a:pt x="415" y="731"/>
                  </a:cubicBezTo>
                  <a:cubicBezTo>
                    <a:pt x="413" y="728"/>
                    <a:pt x="416" y="726"/>
                    <a:pt x="418" y="724"/>
                  </a:cubicBezTo>
                  <a:cubicBezTo>
                    <a:pt x="420" y="722"/>
                    <a:pt x="423" y="722"/>
                    <a:pt x="426" y="722"/>
                  </a:cubicBezTo>
                  <a:cubicBezTo>
                    <a:pt x="430" y="722"/>
                    <a:pt x="431" y="722"/>
                    <a:pt x="432" y="718"/>
                  </a:cubicBezTo>
                  <a:cubicBezTo>
                    <a:pt x="435" y="717"/>
                    <a:pt x="440" y="719"/>
                    <a:pt x="443" y="717"/>
                  </a:cubicBezTo>
                  <a:cubicBezTo>
                    <a:pt x="445" y="716"/>
                    <a:pt x="446" y="713"/>
                    <a:pt x="447" y="712"/>
                  </a:cubicBezTo>
                  <a:cubicBezTo>
                    <a:pt x="448" y="711"/>
                    <a:pt x="451" y="709"/>
                    <a:pt x="451" y="708"/>
                  </a:cubicBezTo>
                  <a:cubicBezTo>
                    <a:pt x="450" y="707"/>
                    <a:pt x="448" y="707"/>
                    <a:pt x="448" y="706"/>
                  </a:cubicBezTo>
                  <a:cubicBezTo>
                    <a:pt x="446" y="705"/>
                    <a:pt x="444" y="704"/>
                    <a:pt x="442" y="703"/>
                  </a:cubicBezTo>
                  <a:cubicBezTo>
                    <a:pt x="439" y="702"/>
                    <a:pt x="433" y="703"/>
                    <a:pt x="433" y="700"/>
                  </a:cubicBezTo>
                  <a:cubicBezTo>
                    <a:pt x="433" y="698"/>
                    <a:pt x="437" y="697"/>
                    <a:pt x="436" y="694"/>
                  </a:cubicBezTo>
                  <a:cubicBezTo>
                    <a:pt x="434" y="692"/>
                    <a:pt x="424" y="694"/>
                    <a:pt x="422" y="694"/>
                  </a:cubicBezTo>
                  <a:cubicBezTo>
                    <a:pt x="418" y="695"/>
                    <a:pt x="417" y="695"/>
                    <a:pt x="413" y="694"/>
                  </a:cubicBezTo>
                  <a:cubicBezTo>
                    <a:pt x="412" y="693"/>
                    <a:pt x="410" y="692"/>
                    <a:pt x="408" y="691"/>
                  </a:cubicBezTo>
                  <a:cubicBezTo>
                    <a:pt x="405" y="690"/>
                    <a:pt x="403" y="693"/>
                    <a:pt x="401" y="693"/>
                  </a:cubicBezTo>
                  <a:cubicBezTo>
                    <a:pt x="399" y="693"/>
                    <a:pt x="397" y="690"/>
                    <a:pt x="395" y="690"/>
                  </a:cubicBezTo>
                  <a:cubicBezTo>
                    <a:pt x="391" y="689"/>
                    <a:pt x="387" y="690"/>
                    <a:pt x="383" y="690"/>
                  </a:cubicBezTo>
                  <a:cubicBezTo>
                    <a:pt x="381" y="689"/>
                    <a:pt x="378" y="689"/>
                    <a:pt x="375" y="688"/>
                  </a:cubicBezTo>
                  <a:cubicBezTo>
                    <a:pt x="373" y="688"/>
                    <a:pt x="371" y="687"/>
                    <a:pt x="370" y="685"/>
                  </a:cubicBezTo>
                  <a:cubicBezTo>
                    <a:pt x="375" y="684"/>
                    <a:pt x="381" y="685"/>
                    <a:pt x="385" y="685"/>
                  </a:cubicBezTo>
                  <a:cubicBezTo>
                    <a:pt x="391" y="685"/>
                    <a:pt x="399" y="687"/>
                    <a:pt x="403" y="682"/>
                  </a:cubicBezTo>
                  <a:cubicBezTo>
                    <a:pt x="404" y="681"/>
                    <a:pt x="405" y="679"/>
                    <a:pt x="406" y="677"/>
                  </a:cubicBezTo>
                  <a:cubicBezTo>
                    <a:pt x="406" y="676"/>
                    <a:pt x="406" y="675"/>
                    <a:pt x="407" y="674"/>
                  </a:cubicBezTo>
                  <a:cubicBezTo>
                    <a:pt x="409" y="672"/>
                    <a:pt x="412" y="674"/>
                    <a:pt x="413" y="672"/>
                  </a:cubicBezTo>
                  <a:cubicBezTo>
                    <a:pt x="414" y="669"/>
                    <a:pt x="412" y="665"/>
                    <a:pt x="410" y="664"/>
                  </a:cubicBezTo>
                  <a:cubicBezTo>
                    <a:pt x="408" y="663"/>
                    <a:pt x="405" y="663"/>
                    <a:pt x="403" y="664"/>
                  </a:cubicBezTo>
                  <a:cubicBezTo>
                    <a:pt x="403" y="660"/>
                    <a:pt x="407" y="661"/>
                    <a:pt x="410" y="661"/>
                  </a:cubicBezTo>
                  <a:cubicBezTo>
                    <a:pt x="411" y="660"/>
                    <a:pt x="413" y="660"/>
                    <a:pt x="414" y="660"/>
                  </a:cubicBezTo>
                  <a:cubicBezTo>
                    <a:pt x="417" y="660"/>
                    <a:pt x="415" y="661"/>
                    <a:pt x="417" y="661"/>
                  </a:cubicBezTo>
                  <a:cubicBezTo>
                    <a:pt x="419" y="662"/>
                    <a:pt x="420" y="662"/>
                    <a:pt x="422" y="661"/>
                  </a:cubicBezTo>
                  <a:cubicBezTo>
                    <a:pt x="423" y="661"/>
                    <a:pt x="424" y="659"/>
                    <a:pt x="425" y="658"/>
                  </a:cubicBezTo>
                  <a:cubicBezTo>
                    <a:pt x="426" y="657"/>
                    <a:pt x="426" y="657"/>
                    <a:pt x="427" y="656"/>
                  </a:cubicBezTo>
                  <a:cubicBezTo>
                    <a:pt x="427" y="655"/>
                    <a:pt x="429" y="655"/>
                    <a:pt x="429" y="655"/>
                  </a:cubicBezTo>
                  <a:cubicBezTo>
                    <a:pt x="431" y="654"/>
                    <a:pt x="433" y="651"/>
                    <a:pt x="434" y="649"/>
                  </a:cubicBezTo>
                  <a:cubicBezTo>
                    <a:pt x="434" y="648"/>
                    <a:pt x="433" y="644"/>
                    <a:pt x="432" y="644"/>
                  </a:cubicBezTo>
                  <a:cubicBezTo>
                    <a:pt x="433" y="640"/>
                    <a:pt x="435" y="640"/>
                    <a:pt x="439" y="639"/>
                  </a:cubicBezTo>
                  <a:cubicBezTo>
                    <a:pt x="442" y="639"/>
                    <a:pt x="443" y="638"/>
                    <a:pt x="444" y="635"/>
                  </a:cubicBezTo>
                  <a:cubicBezTo>
                    <a:pt x="445" y="631"/>
                    <a:pt x="447" y="627"/>
                    <a:pt x="447" y="622"/>
                  </a:cubicBezTo>
                  <a:cubicBezTo>
                    <a:pt x="448" y="620"/>
                    <a:pt x="448" y="619"/>
                    <a:pt x="449" y="617"/>
                  </a:cubicBezTo>
                  <a:cubicBezTo>
                    <a:pt x="450" y="614"/>
                    <a:pt x="451" y="613"/>
                    <a:pt x="451" y="611"/>
                  </a:cubicBezTo>
                  <a:cubicBezTo>
                    <a:pt x="451" y="609"/>
                    <a:pt x="452" y="607"/>
                    <a:pt x="452" y="604"/>
                  </a:cubicBezTo>
                  <a:cubicBezTo>
                    <a:pt x="452" y="601"/>
                    <a:pt x="453" y="599"/>
                    <a:pt x="453" y="596"/>
                  </a:cubicBezTo>
                  <a:cubicBezTo>
                    <a:pt x="454" y="592"/>
                    <a:pt x="453" y="587"/>
                    <a:pt x="453" y="583"/>
                  </a:cubicBezTo>
                  <a:cubicBezTo>
                    <a:pt x="453" y="579"/>
                    <a:pt x="455" y="572"/>
                    <a:pt x="452" y="569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3" name="Freeform 64">
              <a:extLst>
                <a:ext uri="{FF2B5EF4-FFF2-40B4-BE49-F238E27FC236}">
                  <a16:creationId xmlns:a16="http://schemas.microsoft.com/office/drawing/2014/main" id="{8997F039-67FA-44A3-86AB-C869EB185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3584575"/>
              <a:ext cx="41275" cy="63500"/>
            </a:xfrm>
            <a:custGeom>
              <a:avLst/>
              <a:gdLst/>
              <a:ahLst/>
              <a:cxnLst>
                <a:cxn ang="0">
                  <a:pos x="18" y="2"/>
                </a:cxn>
                <a:cxn ang="0">
                  <a:pos x="22" y="1"/>
                </a:cxn>
                <a:cxn ang="0">
                  <a:pos x="17" y="10"/>
                </a:cxn>
                <a:cxn ang="0">
                  <a:pos x="12" y="15"/>
                </a:cxn>
                <a:cxn ang="0">
                  <a:pos x="10" y="19"/>
                </a:cxn>
                <a:cxn ang="0">
                  <a:pos x="10" y="23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2" y="32"/>
                </a:cxn>
                <a:cxn ang="0">
                  <a:pos x="1" y="25"/>
                </a:cxn>
                <a:cxn ang="0">
                  <a:pos x="1" y="21"/>
                </a:cxn>
                <a:cxn ang="0">
                  <a:pos x="3" y="19"/>
                </a:cxn>
                <a:cxn ang="0">
                  <a:pos x="9" y="15"/>
                </a:cxn>
                <a:cxn ang="0">
                  <a:pos x="3" y="14"/>
                </a:cxn>
                <a:cxn ang="0">
                  <a:pos x="5" y="13"/>
                </a:cxn>
                <a:cxn ang="0">
                  <a:pos x="6" y="9"/>
                </a:cxn>
                <a:cxn ang="0">
                  <a:pos x="10" y="5"/>
                </a:cxn>
                <a:cxn ang="0">
                  <a:pos x="18" y="0"/>
                </a:cxn>
                <a:cxn ang="0">
                  <a:pos x="18" y="2"/>
                </a:cxn>
              </a:cxnLst>
              <a:rect l="0" t="0" r="r" b="b"/>
              <a:pathLst>
                <a:path w="22" h="34">
                  <a:moveTo>
                    <a:pt x="18" y="2"/>
                  </a:moveTo>
                  <a:cubicBezTo>
                    <a:pt x="19" y="1"/>
                    <a:pt x="21" y="1"/>
                    <a:pt x="22" y="1"/>
                  </a:cubicBezTo>
                  <a:cubicBezTo>
                    <a:pt x="22" y="4"/>
                    <a:pt x="19" y="7"/>
                    <a:pt x="17" y="10"/>
                  </a:cubicBezTo>
                  <a:cubicBezTo>
                    <a:pt x="16" y="11"/>
                    <a:pt x="14" y="13"/>
                    <a:pt x="12" y="15"/>
                  </a:cubicBezTo>
                  <a:cubicBezTo>
                    <a:pt x="12" y="16"/>
                    <a:pt x="11" y="17"/>
                    <a:pt x="10" y="19"/>
                  </a:cubicBezTo>
                  <a:cubicBezTo>
                    <a:pt x="10" y="20"/>
                    <a:pt x="10" y="21"/>
                    <a:pt x="10" y="23"/>
                  </a:cubicBezTo>
                  <a:cubicBezTo>
                    <a:pt x="10" y="26"/>
                    <a:pt x="8" y="29"/>
                    <a:pt x="6" y="32"/>
                  </a:cubicBezTo>
                  <a:cubicBezTo>
                    <a:pt x="6" y="32"/>
                    <a:pt x="6" y="33"/>
                    <a:pt x="5" y="34"/>
                  </a:cubicBezTo>
                  <a:cubicBezTo>
                    <a:pt x="4" y="34"/>
                    <a:pt x="3" y="32"/>
                    <a:pt x="2" y="32"/>
                  </a:cubicBezTo>
                  <a:cubicBezTo>
                    <a:pt x="1" y="29"/>
                    <a:pt x="2" y="27"/>
                    <a:pt x="1" y="25"/>
                  </a:cubicBezTo>
                  <a:cubicBezTo>
                    <a:pt x="1" y="23"/>
                    <a:pt x="0" y="23"/>
                    <a:pt x="1" y="21"/>
                  </a:cubicBezTo>
                  <a:cubicBezTo>
                    <a:pt x="1" y="20"/>
                    <a:pt x="2" y="19"/>
                    <a:pt x="3" y="19"/>
                  </a:cubicBezTo>
                  <a:cubicBezTo>
                    <a:pt x="5" y="17"/>
                    <a:pt x="8" y="17"/>
                    <a:pt x="9" y="15"/>
                  </a:cubicBezTo>
                  <a:cubicBezTo>
                    <a:pt x="8" y="13"/>
                    <a:pt x="2" y="18"/>
                    <a:pt x="3" y="14"/>
                  </a:cubicBezTo>
                  <a:cubicBezTo>
                    <a:pt x="3" y="14"/>
                    <a:pt x="4" y="13"/>
                    <a:pt x="5" y="13"/>
                  </a:cubicBezTo>
                  <a:cubicBezTo>
                    <a:pt x="5" y="12"/>
                    <a:pt x="5" y="10"/>
                    <a:pt x="6" y="9"/>
                  </a:cubicBezTo>
                  <a:cubicBezTo>
                    <a:pt x="7" y="7"/>
                    <a:pt x="8" y="7"/>
                    <a:pt x="10" y="5"/>
                  </a:cubicBezTo>
                  <a:cubicBezTo>
                    <a:pt x="13" y="4"/>
                    <a:pt x="15" y="0"/>
                    <a:pt x="18" y="0"/>
                  </a:cubicBezTo>
                  <a:lnTo>
                    <a:pt x="18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4" name="Freeform 65">
              <a:extLst>
                <a:ext uri="{FF2B5EF4-FFF2-40B4-BE49-F238E27FC236}">
                  <a16:creationId xmlns:a16="http://schemas.microsoft.com/office/drawing/2014/main" id="{B1FB8775-AE59-4FE9-B0EC-7BB2F873B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2100" y="3638550"/>
              <a:ext cx="44450" cy="92075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9" y="11"/>
                </a:cxn>
                <a:cxn ang="0">
                  <a:pos x="6" y="13"/>
                </a:cxn>
                <a:cxn ang="0">
                  <a:pos x="5" y="13"/>
                </a:cxn>
                <a:cxn ang="0">
                  <a:pos x="3" y="16"/>
                </a:cxn>
                <a:cxn ang="0">
                  <a:pos x="3" y="23"/>
                </a:cxn>
                <a:cxn ang="0">
                  <a:pos x="4" y="28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6" y="38"/>
                </a:cxn>
                <a:cxn ang="0">
                  <a:pos x="7" y="38"/>
                </a:cxn>
                <a:cxn ang="0">
                  <a:pos x="8" y="40"/>
                </a:cxn>
                <a:cxn ang="0">
                  <a:pos x="1" y="40"/>
                </a:cxn>
                <a:cxn ang="0">
                  <a:pos x="0" y="44"/>
                </a:cxn>
                <a:cxn ang="0">
                  <a:pos x="2" y="48"/>
                </a:cxn>
                <a:cxn ang="0">
                  <a:pos x="7" y="47"/>
                </a:cxn>
                <a:cxn ang="0">
                  <a:pos x="11" y="44"/>
                </a:cxn>
                <a:cxn ang="0">
                  <a:pos x="12" y="41"/>
                </a:cxn>
                <a:cxn ang="0">
                  <a:pos x="10" y="37"/>
                </a:cxn>
                <a:cxn ang="0">
                  <a:pos x="11" y="34"/>
                </a:cxn>
                <a:cxn ang="0">
                  <a:pos x="12" y="31"/>
                </a:cxn>
                <a:cxn ang="0">
                  <a:pos x="14" y="29"/>
                </a:cxn>
                <a:cxn ang="0">
                  <a:pos x="13" y="25"/>
                </a:cxn>
                <a:cxn ang="0">
                  <a:pos x="13" y="19"/>
                </a:cxn>
                <a:cxn ang="0">
                  <a:pos x="14" y="13"/>
                </a:cxn>
                <a:cxn ang="0">
                  <a:pos x="17" y="9"/>
                </a:cxn>
                <a:cxn ang="0">
                  <a:pos x="22" y="6"/>
                </a:cxn>
                <a:cxn ang="0">
                  <a:pos x="19" y="2"/>
                </a:cxn>
                <a:cxn ang="0">
                  <a:pos x="19" y="0"/>
                </a:cxn>
              </a:cxnLst>
              <a:rect l="0" t="0" r="r" b="b"/>
              <a:pathLst>
                <a:path w="24" h="49">
                  <a:moveTo>
                    <a:pt x="19" y="0"/>
                  </a:moveTo>
                  <a:cubicBezTo>
                    <a:pt x="15" y="3"/>
                    <a:pt x="12" y="7"/>
                    <a:pt x="9" y="11"/>
                  </a:cubicBezTo>
                  <a:cubicBezTo>
                    <a:pt x="8" y="12"/>
                    <a:pt x="7" y="12"/>
                    <a:pt x="6" y="13"/>
                  </a:cubicBezTo>
                  <a:cubicBezTo>
                    <a:pt x="6" y="13"/>
                    <a:pt x="5" y="13"/>
                    <a:pt x="5" y="13"/>
                  </a:cubicBezTo>
                  <a:cubicBezTo>
                    <a:pt x="4" y="13"/>
                    <a:pt x="3" y="15"/>
                    <a:pt x="3" y="16"/>
                  </a:cubicBezTo>
                  <a:cubicBezTo>
                    <a:pt x="3" y="18"/>
                    <a:pt x="3" y="20"/>
                    <a:pt x="3" y="23"/>
                  </a:cubicBezTo>
                  <a:cubicBezTo>
                    <a:pt x="3" y="25"/>
                    <a:pt x="3" y="26"/>
                    <a:pt x="4" y="28"/>
                  </a:cubicBezTo>
                  <a:cubicBezTo>
                    <a:pt x="4" y="29"/>
                    <a:pt x="6" y="30"/>
                    <a:pt x="6" y="32"/>
                  </a:cubicBezTo>
                  <a:cubicBezTo>
                    <a:pt x="6" y="32"/>
                    <a:pt x="5" y="33"/>
                    <a:pt x="5" y="34"/>
                  </a:cubicBezTo>
                  <a:cubicBezTo>
                    <a:pt x="4" y="35"/>
                    <a:pt x="4" y="36"/>
                    <a:pt x="6" y="38"/>
                  </a:cubicBezTo>
                  <a:cubicBezTo>
                    <a:pt x="6" y="38"/>
                    <a:pt x="7" y="38"/>
                    <a:pt x="7" y="38"/>
                  </a:cubicBezTo>
                  <a:cubicBezTo>
                    <a:pt x="8" y="39"/>
                    <a:pt x="8" y="40"/>
                    <a:pt x="8" y="40"/>
                  </a:cubicBezTo>
                  <a:cubicBezTo>
                    <a:pt x="6" y="40"/>
                    <a:pt x="3" y="39"/>
                    <a:pt x="1" y="40"/>
                  </a:cubicBezTo>
                  <a:cubicBezTo>
                    <a:pt x="1" y="41"/>
                    <a:pt x="0" y="42"/>
                    <a:pt x="0" y="44"/>
                  </a:cubicBezTo>
                  <a:cubicBezTo>
                    <a:pt x="0" y="45"/>
                    <a:pt x="1" y="47"/>
                    <a:pt x="2" y="48"/>
                  </a:cubicBezTo>
                  <a:cubicBezTo>
                    <a:pt x="4" y="49"/>
                    <a:pt x="5" y="48"/>
                    <a:pt x="7" y="47"/>
                  </a:cubicBezTo>
                  <a:cubicBezTo>
                    <a:pt x="8" y="46"/>
                    <a:pt x="9" y="45"/>
                    <a:pt x="11" y="44"/>
                  </a:cubicBezTo>
                  <a:cubicBezTo>
                    <a:pt x="11" y="43"/>
                    <a:pt x="12" y="42"/>
                    <a:pt x="12" y="41"/>
                  </a:cubicBezTo>
                  <a:cubicBezTo>
                    <a:pt x="10" y="41"/>
                    <a:pt x="10" y="38"/>
                    <a:pt x="10" y="37"/>
                  </a:cubicBezTo>
                  <a:cubicBezTo>
                    <a:pt x="10" y="35"/>
                    <a:pt x="11" y="35"/>
                    <a:pt x="11" y="34"/>
                  </a:cubicBezTo>
                  <a:cubicBezTo>
                    <a:pt x="12" y="33"/>
                    <a:pt x="12" y="32"/>
                    <a:pt x="12" y="31"/>
                  </a:cubicBezTo>
                  <a:cubicBezTo>
                    <a:pt x="12" y="30"/>
                    <a:pt x="13" y="29"/>
                    <a:pt x="14" y="29"/>
                  </a:cubicBezTo>
                  <a:cubicBezTo>
                    <a:pt x="14" y="28"/>
                    <a:pt x="13" y="26"/>
                    <a:pt x="13" y="25"/>
                  </a:cubicBezTo>
                  <a:cubicBezTo>
                    <a:pt x="13" y="23"/>
                    <a:pt x="13" y="21"/>
                    <a:pt x="13" y="19"/>
                  </a:cubicBezTo>
                  <a:cubicBezTo>
                    <a:pt x="14" y="17"/>
                    <a:pt x="14" y="15"/>
                    <a:pt x="14" y="13"/>
                  </a:cubicBezTo>
                  <a:cubicBezTo>
                    <a:pt x="14" y="10"/>
                    <a:pt x="14" y="10"/>
                    <a:pt x="17" y="9"/>
                  </a:cubicBezTo>
                  <a:cubicBezTo>
                    <a:pt x="19" y="8"/>
                    <a:pt x="21" y="8"/>
                    <a:pt x="22" y="6"/>
                  </a:cubicBezTo>
                  <a:cubicBezTo>
                    <a:pt x="24" y="2"/>
                    <a:pt x="20" y="4"/>
                    <a:pt x="19" y="2"/>
                  </a:cubicBezTo>
                  <a:lnTo>
                    <a:pt x="19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5" name="Freeform 66">
              <a:extLst>
                <a:ext uri="{FF2B5EF4-FFF2-40B4-BE49-F238E27FC236}">
                  <a16:creationId xmlns:a16="http://schemas.microsoft.com/office/drawing/2014/main" id="{3C8B1A34-C73B-4EC6-90DB-A769FC39A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3850" y="3654425"/>
              <a:ext cx="36513" cy="60325"/>
            </a:xfrm>
            <a:custGeom>
              <a:avLst/>
              <a:gdLst/>
              <a:ahLst/>
              <a:cxnLst>
                <a:cxn ang="0">
                  <a:pos x="13" y="5"/>
                </a:cxn>
                <a:cxn ang="0">
                  <a:pos x="0" y="5"/>
                </a:cxn>
                <a:cxn ang="0">
                  <a:pos x="2" y="14"/>
                </a:cxn>
                <a:cxn ang="0">
                  <a:pos x="4" y="17"/>
                </a:cxn>
                <a:cxn ang="0">
                  <a:pos x="4" y="20"/>
                </a:cxn>
                <a:cxn ang="0">
                  <a:pos x="6" y="26"/>
                </a:cxn>
                <a:cxn ang="0">
                  <a:pos x="13" y="30"/>
                </a:cxn>
                <a:cxn ang="0">
                  <a:pos x="16" y="31"/>
                </a:cxn>
                <a:cxn ang="0">
                  <a:pos x="19" y="25"/>
                </a:cxn>
                <a:cxn ang="0">
                  <a:pos x="13" y="19"/>
                </a:cxn>
                <a:cxn ang="0">
                  <a:pos x="15" y="16"/>
                </a:cxn>
                <a:cxn ang="0">
                  <a:pos x="16" y="13"/>
                </a:cxn>
                <a:cxn ang="0">
                  <a:pos x="16" y="11"/>
                </a:cxn>
                <a:cxn ang="0">
                  <a:pos x="16" y="9"/>
                </a:cxn>
                <a:cxn ang="0">
                  <a:pos x="13" y="7"/>
                </a:cxn>
                <a:cxn ang="0">
                  <a:pos x="13" y="5"/>
                </a:cxn>
              </a:cxnLst>
              <a:rect l="0" t="0" r="r" b="b"/>
              <a:pathLst>
                <a:path w="20" h="32">
                  <a:moveTo>
                    <a:pt x="13" y="5"/>
                  </a:moveTo>
                  <a:cubicBezTo>
                    <a:pt x="11" y="1"/>
                    <a:pt x="2" y="0"/>
                    <a:pt x="0" y="5"/>
                  </a:cubicBezTo>
                  <a:cubicBezTo>
                    <a:pt x="0" y="8"/>
                    <a:pt x="1" y="11"/>
                    <a:pt x="2" y="14"/>
                  </a:cubicBezTo>
                  <a:cubicBezTo>
                    <a:pt x="3" y="15"/>
                    <a:pt x="4" y="16"/>
                    <a:pt x="4" y="17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2"/>
                    <a:pt x="4" y="24"/>
                    <a:pt x="6" y="26"/>
                  </a:cubicBezTo>
                  <a:cubicBezTo>
                    <a:pt x="8" y="28"/>
                    <a:pt x="10" y="29"/>
                    <a:pt x="13" y="30"/>
                  </a:cubicBezTo>
                  <a:cubicBezTo>
                    <a:pt x="14" y="30"/>
                    <a:pt x="15" y="31"/>
                    <a:pt x="16" y="31"/>
                  </a:cubicBezTo>
                  <a:cubicBezTo>
                    <a:pt x="20" y="32"/>
                    <a:pt x="19" y="27"/>
                    <a:pt x="19" y="25"/>
                  </a:cubicBezTo>
                  <a:cubicBezTo>
                    <a:pt x="19" y="21"/>
                    <a:pt x="16" y="19"/>
                    <a:pt x="13" y="19"/>
                  </a:cubicBezTo>
                  <a:cubicBezTo>
                    <a:pt x="15" y="20"/>
                    <a:pt x="15" y="18"/>
                    <a:pt x="15" y="16"/>
                  </a:cubicBezTo>
                  <a:cubicBezTo>
                    <a:pt x="16" y="15"/>
                    <a:pt x="16" y="14"/>
                    <a:pt x="16" y="13"/>
                  </a:cubicBezTo>
                  <a:cubicBezTo>
                    <a:pt x="16" y="13"/>
                    <a:pt x="16" y="12"/>
                    <a:pt x="16" y="11"/>
                  </a:cubicBezTo>
                  <a:cubicBezTo>
                    <a:pt x="16" y="11"/>
                    <a:pt x="16" y="10"/>
                    <a:pt x="16" y="9"/>
                  </a:cubicBezTo>
                  <a:cubicBezTo>
                    <a:pt x="15" y="7"/>
                    <a:pt x="14" y="8"/>
                    <a:pt x="13" y="7"/>
                  </a:cubicBezTo>
                  <a:lnTo>
                    <a:pt x="13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6" name="Freeform 67">
              <a:extLst>
                <a:ext uri="{FF2B5EF4-FFF2-40B4-BE49-F238E27FC236}">
                  <a16:creationId xmlns:a16="http://schemas.microsoft.com/office/drawing/2014/main" id="{C1841183-578C-44F7-AB60-8ED0FEDA47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7488" y="3619500"/>
              <a:ext cx="46038" cy="6508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7" y="1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6"/>
                </a:cxn>
                <a:cxn ang="0">
                  <a:pos x="4" y="11"/>
                </a:cxn>
                <a:cxn ang="0">
                  <a:pos x="3" y="12"/>
                </a:cxn>
                <a:cxn ang="0">
                  <a:pos x="1" y="13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3" y="24"/>
                </a:cxn>
                <a:cxn ang="0">
                  <a:pos x="4" y="21"/>
                </a:cxn>
                <a:cxn ang="0">
                  <a:pos x="6" y="19"/>
                </a:cxn>
                <a:cxn ang="0">
                  <a:pos x="7" y="18"/>
                </a:cxn>
                <a:cxn ang="0">
                  <a:pos x="10" y="17"/>
                </a:cxn>
                <a:cxn ang="0">
                  <a:pos x="15" y="14"/>
                </a:cxn>
                <a:cxn ang="0">
                  <a:pos x="11" y="19"/>
                </a:cxn>
                <a:cxn ang="0">
                  <a:pos x="8" y="21"/>
                </a:cxn>
                <a:cxn ang="0">
                  <a:pos x="11" y="24"/>
                </a:cxn>
                <a:cxn ang="0">
                  <a:pos x="9" y="27"/>
                </a:cxn>
                <a:cxn ang="0">
                  <a:pos x="11" y="31"/>
                </a:cxn>
                <a:cxn ang="0">
                  <a:pos x="10" y="34"/>
                </a:cxn>
                <a:cxn ang="0">
                  <a:pos x="15" y="30"/>
                </a:cxn>
                <a:cxn ang="0">
                  <a:pos x="22" y="30"/>
                </a:cxn>
                <a:cxn ang="0">
                  <a:pos x="24" y="26"/>
                </a:cxn>
                <a:cxn ang="0">
                  <a:pos x="21" y="16"/>
                </a:cxn>
                <a:cxn ang="0">
                  <a:pos x="19" y="16"/>
                </a:cxn>
                <a:cxn ang="0">
                  <a:pos x="19" y="14"/>
                </a:cxn>
                <a:cxn ang="0">
                  <a:pos x="19" y="9"/>
                </a:cxn>
                <a:cxn ang="0">
                  <a:pos x="18" y="2"/>
                </a:cxn>
                <a:cxn ang="0">
                  <a:pos x="18" y="0"/>
                </a:cxn>
              </a:cxnLst>
              <a:rect l="0" t="0" r="r" b="b"/>
              <a:pathLst>
                <a:path w="25" h="35">
                  <a:moveTo>
                    <a:pt x="18" y="0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5" y="2"/>
                    <a:pt x="13" y="1"/>
                    <a:pt x="12" y="4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2" y="6"/>
                    <a:pt x="11" y="6"/>
                    <a:pt x="11" y="7"/>
                  </a:cubicBezTo>
                  <a:cubicBezTo>
                    <a:pt x="10" y="8"/>
                    <a:pt x="10" y="9"/>
                    <a:pt x="10" y="10"/>
                  </a:cubicBezTo>
                  <a:cubicBezTo>
                    <a:pt x="9" y="9"/>
                    <a:pt x="8" y="5"/>
                    <a:pt x="6" y="6"/>
                  </a:cubicBezTo>
                  <a:cubicBezTo>
                    <a:pt x="5" y="6"/>
                    <a:pt x="5" y="10"/>
                    <a:pt x="4" y="11"/>
                  </a:cubicBezTo>
                  <a:cubicBezTo>
                    <a:pt x="3" y="12"/>
                    <a:pt x="4" y="12"/>
                    <a:pt x="3" y="12"/>
                  </a:cubicBezTo>
                  <a:cubicBezTo>
                    <a:pt x="2" y="13"/>
                    <a:pt x="1" y="12"/>
                    <a:pt x="1" y="13"/>
                  </a:cubicBezTo>
                  <a:cubicBezTo>
                    <a:pt x="0" y="15"/>
                    <a:pt x="1" y="17"/>
                    <a:pt x="1" y="19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0" y="24"/>
                    <a:pt x="2" y="25"/>
                    <a:pt x="3" y="24"/>
                  </a:cubicBezTo>
                  <a:cubicBezTo>
                    <a:pt x="5" y="23"/>
                    <a:pt x="4" y="23"/>
                    <a:pt x="4" y="21"/>
                  </a:cubicBezTo>
                  <a:cubicBezTo>
                    <a:pt x="5" y="20"/>
                    <a:pt x="5" y="20"/>
                    <a:pt x="6" y="19"/>
                  </a:cubicBezTo>
                  <a:cubicBezTo>
                    <a:pt x="6" y="19"/>
                    <a:pt x="6" y="18"/>
                    <a:pt x="7" y="18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1" y="16"/>
                    <a:pt x="13" y="15"/>
                    <a:pt x="15" y="14"/>
                  </a:cubicBezTo>
                  <a:cubicBezTo>
                    <a:pt x="15" y="17"/>
                    <a:pt x="12" y="18"/>
                    <a:pt x="11" y="19"/>
                  </a:cubicBezTo>
                  <a:cubicBezTo>
                    <a:pt x="10" y="20"/>
                    <a:pt x="9" y="21"/>
                    <a:pt x="8" y="21"/>
                  </a:cubicBezTo>
                  <a:cubicBezTo>
                    <a:pt x="9" y="22"/>
                    <a:pt x="10" y="23"/>
                    <a:pt x="11" y="24"/>
                  </a:cubicBezTo>
                  <a:cubicBezTo>
                    <a:pt x="11" y="25"/>
                    <a:pt x="9" y="26"/>
                    <a:pt x="9" y="27"/>
                  </a:cubicBezTo>
                  <a:cubicBezTo>
                    <a:pt x="8" y="29"/>
                    <a:pt x="11" y="29"/>
                    <a:pt x="11" y="31"/>
                  </a:cubicBezTo>
                  <a:cubicBezTo>
                    <a:pt x="10" y="32"/>
                    <a:pt x="10" y="33"/>
                    <a:pt x="10" y="34"/>
                  </a:cubicBezTo>
                  <a:cubicBezTo>
                    <a:pt x="14" y="35"/>
                    <a:pt x="15" y="33"/>
                    <a:pt x="15" y="30"/>
                  </a:cubicBezTo>
                  <a:cubicBezTo>
                    <a:pt x="16" y="32"/>
                    <a:pt x="20" y="31"/>
                    <a:pt x="22" y="30"/>
                  </a:cubicBezTo>
                  <a:cubicBezTo>
                    <a:pt x="23" y="29"/>
                    <a:pt x="24" y="27"/>
                    <a:pt x="24" y="26"/>
                  </a:cubicBezTo>
                  <a:cubicBezTo>
                    <a:pt x="25" y="23"/>
                    <a:pt x="23" y="18"/>
                    <a:pt x="21" y="16"/>
                  </a:cubicBezTo>
                  <a:cubicBezTo>
                    <a:pt x="20" y="16"/>
                    <a:pt x="20" y="16"/>
                    <a:pt x="19" y="16"/>
                  </a:cubicBezTo>
                  <a:cubicBezTo>
                    <a:pt x="19" y="15"/>
                    <a:pt x="19" y="14"/>
                    <a:pt x="19" y="14"/>
                  </a:cubicBezTo>
                  <a:cubicBezTo>
                    <a:pt x="19" y="12"/>
                    <a:pt x="19" y="11"/>
                    <a:pt x="19" y="9"/>
                  </a:cubicBezTo>
                  <a:cubicBezTo>
                    <a:pt x="19" y="7"/>
                    <a:pt x="20" y="2"/>
                    <a:pt x="18" y="2"/>
                  </a:cubicBezTo>
                  <a:lnTo>
                    <a:pt x="18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7" name="Freeform 68">
              <a:extLst>
                <a:ext uri="{FF2B5EF4-FFF2-40B4-BE49-F238E27FC236}">
                  <a16:creationId xmlns:a16="http://schemas.microsoft.com/office/drawing/2014/main" id="{C203159A-8883-4271-B7F5-F4834B812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6538" y="3581400"/>
              <a:ext cx="14288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" y="4"/>
                </a:cxn>
                <a:cxn ang="0">
                  <a:pos x="0" y="10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6" y="6"/>
                </a:cxn>
                <a:cxn ang="0">
                  <a:pos x="8" y="3"/>
                </a:cxn>
                <a:cxn ang="0">
                  <a:pos x="8" y="0"/>
                </a:cxn>
              </a:cxnLst>
              <a:rect l="0" t="0" r="r" b="b"/>
              <a:pathLst>
                <a:path w="8" h="13">
                  <a:moveTo>
                    <a:pt x="8" y="0"/>
                  </a:moveTo>
                  <a:cubicBezTo>
                    <a:pt x="5" y="0"/>
                    <a:pt x="3" y="3"/>
                    <a:pt x="2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1" y="11"/>
                    <a:pt x="0" y="12"/>
                    <a:pt x="1" y="12"/>
                  </a:cubicBezTo>
                  <a:cubicBezTo>
                    <a:pt x="1" y="13"/>
                    <a:pt x="3" y="12"/>
                    <a:pt x="3" y="12"/>
                  </a:cubicBezTo>
                  <a:cubicBezTo>
                    <a:pt x="5" y="11"/>
                    <a:pt x="5" y="8"/>
                    <a:pt x="6" y="6"/>
                  </a:cubicBezTo>
                  <a:cubicBezTo>
                    <a:pt x="7" y="5"/>
                    <a:pt x="8" y="4"/>
                    <a:pt x="8" y="3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8" name="Freeform 69">
              <a:extLst>
                <a:ext uri="{FF2B5EF4-FFF2-40B4-BE49-F238E27FC236}">
                  <a16:creationId xmlns:a16="http://schemas.microsoft.com/office/drawing/2014/main" id="{80D09A7D-0C00-4A67-84A1-FD85BD95B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8275" y="3482975"/>
              <a:ext cx="58738" cy="39688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0" y="7"/>
                </a:cxn>
                <a:cxn ang="0">
                  <a:pos x="19" y="9"/>
                </a:cxn>
                <a:cxn ang="0">
                  <a:pos x="16" y="10"/>
                </a:cxn>
                <a:cxn ang="0">
                  <a:pos x="15" y="12"/>
                </a:cxn>
                <a:cxn ang="0">
                  <a:pos x="13" y="13"/>
                </a:cxn>
                <a:cxn ang="0">
                  <a:pos x="9" y="15"/>
                </a:cxn>
                <a:cxn ang="0">
                  <a:pos x="4" y="15"/>
                </a:cxn>
                <a:cxn ang="0">
                  <a:pos x="0" y="19"/>
                </a:cxn>
                <a:cxn ang="0">
                  <a:pos x="3" y="22"/>
                </a:cxn>
                <a:cxn ang="0">
                  <a:pos x="5" y="18"/>
                </a:cxn>
                <a:cxn ang="0">
                  <a:pos x="10" y="18"/>
                </a:cxn>
                <a:cxn ang="0">
                  <a:pos x="14" y="15"/>
                </a:cxn>
                <a:cxn ang="0">
                  <a:pos x="15" y="12"/>
                </a:cxn>
                <a:cxn ang="0">
                  <a:pos x="21" y="11"/>
                </a:cxn>
                <a:cxn ang="0">
                  <a:pos x="23" y="10"/>
                </a:cxn>
                <a:cxn ang="0">
                  <a:pos x="28" y="6"/>
                </a:cxn>
                <a:cxn ang="0">
                  <a:pos x="31" y="1"/>
                </a:cxn>
                <a:cxn ang="0">
                  <a:pos x="27" y="0"/>
                </a:cxn>
              </a:cxnLst>
              <a:rect l="0" t="0" r="r" b="b"/>
              <a:pathLst>
                <a:path w="31" h="22">
                  <a:moveTo>
                    <a:pt x="27" y="0"/>
                  </a:moveTo>
                  <a:cubicBezTo>
                    <a:pt x="24" y="2"/>
                    <a:pt x="21" y="4"/>
                    <a:pt x="20" y="7"/>
                  </a:cubicBezTo>
                  <a:cubicBezTo>
                    <a:pt x="19" y="8"/>
                    <a:pt x="19" y="9"/>
                    <a:pt x="19" y="9"/>
                  </a:cubicBezTo>
                  <a:cubicBezTo>
                    <a:pt x="18" y="11"/>
                    <a:pt x="17" y="9"/>
                    <a:pt x="16" y="10"/>
                  </a:cubicBezTo>
                  <a:cubicBezTo>
                    <a:pt x="14" y="11"/>
                    <a:pt x="15" y="11"/>
                    <a:pt x="15" y="12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2" y="13"/>
                    <a:pt x="8" y="14"/>
                    <a:pt x="9" y="15"/>
                  </a:cubicBezTo>
                  <a:cubicBezTo>
                    <a:pt x="7" y="16"/>
                    <a:pt x="6" y="15"/>
                    <a:pt x="4" y="15"/>
                  </a:cubicBezTo>
                  <a:cubicBezTo>
                    <a:pt x="2" y="15"/>
                    <a:pt x="1" y="16"/>
                    <a:pt x="0" y="19"/>
                  </a:cubicBezTo>
                  <a:cubicBezTo>
                    <a:pt x="0" y="21"/>
                    <a:pt x="1" y="21"/>
                    <a:pt x="3" y="22"/>
                  </a:cubicBezTo>
                  <a:cubicBezTo>
                    <a:pt x="6" y="22"/>
                    <a:pt x="4" y="20"/>
                    <a:pt x="5" y="18"/>
                  </a:cubicBezTo>
                  <a:cubicBezTo>
                    <a:pt x="8" y="20"/>
                    <a:pt x="7" y="19"/>
                    <a:pt x="10" y="18"/>
                  </a:cubicBezTo>
                  <a:cubicBezTo>
                    <a:pt x="12" y="18"/>
                    <a:pt x="14" y="18"/>
                    <a:pt x="14" y="15"/>
                  </a:cubicBezTo>
                  <a:cubicBezTo>
                    <a:pt x="14" y="13"/>
                    <a:pt x="15" y="13"/>
                    <a:pt x="15" y="12"/>
                  </a:cubicBezTo>
                  <a:cubicBezTo>
                    <a:pt x="17" y="11"/>
                    <a:pt x="19" y="11"/>
                    <a:pt x="21" y="11"/>
                  </a:cubicBezTo>
                  <a:cubicBezTo>
                    <a:pt x="22" y="11"/>
                    <a:pt x="22" y="11"/>
                    <a:pt x="23" y="10"/>
                  </a:cubicBezTo>
                  <a:cubicBezTo>
                    <a:pt x="25" y="9"/>
                    <a:pt x="27" y="8"/>
                    <a:pt x="28" y="6"/>
                  </a:cubicBezTo>
                  <a:cubicBezTo>
                    <a:pt x="29" y="5"/>
                    <a:pt x="30" y="2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9" name="Freeform 70">
              <a:extLst>
                <a:ext uri="{FF2B5EF4-FFF2-40B4-BE49-F238E27FC236}">
                  <a16:creationId xmlns:a16="http://schemas.microsoft.com/office/drawing/2014/main" id="{9D2A02BE-A801-4513-AB66-7B1ECC1D9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9238" y="3435350"/>
              <a:ext cx="7938" cy="952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0" y="5"/>
                </a:cxn>
                <a:cxn ang="0">
                  <a:pos x="2" y="1"/>
                </a:cxn>
                <a:cxn ang="0">
                  <a:pos x="3" y="2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4" y="4"/>
                    <a:pt x="2" y="5"/>
                    <a:pt x="0" y="5"/>
                  </a:cubicBezTo>
                  <a:cubicBezTo>
                    <a:pt x="0" y="4"/>
                    <a:pt x="0" y="0"/>
                    <a:pt x="2" y="1"/>
                  </a:cubicBezTo>
                  <a:cubicBezTo>
                    <a:pt x="2" y="1"/>
                    <a:pt x="2" y="2"/>
                    <a:pt x="3" y="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0" name="Freeform 71">
              <a:extLst>
                <a:ext uri="{FF2B5EF4-FFF2-40B4-BE49-F238E27FC236}">
                  <a16:creationId xmlns:a16="http://schemas.microsoft.com/office/drawing/2014/main" id="{D4F0B49A-70C5-4B0C-87F1-18C3EEEEB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538" y="3416300"/>
              <a:ext cx="22225" cy="26988"/>
            </a:xfrm>
            <a:custGeom>
              <a:avLst/>
              <a:gdLst/>
              <a:ahLst/>
              <a:cxnLst>
                <a:cxn ang="0">
                  <a:pos x="12" y="5"/>
                </a:cxn>
                <a:cxn ang="0">
                  <a:pos x="10" y="0"/>
                </a:cxn>
                <a:cxn ang="0">
                  <a:pos x="7" y="3"/>
                </a:cxn>
                <a:cxn ang="0">
                  <a:pos x="1" y="9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9"/>
                </a:cxn>
                <a:cxn ang="0">
                  <a:pos x="8" y="7"/>
                </a:cxn>
                <a:cxn ang="0">
                  <a:pos x="11" y="4"/>
                </a:cxn>
                <a:cxn ang="0">
                  <a:pos x="12" y="5"/>
                </a:cxn>
              </a:cxnLst>
              <a:rect l="0" t="0" r="r" b="b"/>
              <a:pathLst>
                <a:path w="12" h="14">
                  <a:moveTo>
                    <a:pt x="12" y="5"/>
                  </a:moveTo>
                  <a:cubicBezTo>
                    <a:pt x="12" y="3"/>
                    <a:pt x="12" y="1"/>
                    <a:pt x="10" y="0"/>
                  </a:cubicBezTo>
                  <a:cubicBezTo>
                    <a:pt x="7" y="0"/>
                    <a:pt x="8" y="2"/>
                    <a:pt x="7" y="3"/>
                  </a:cubicBezTo>
                  <a:cubicBezTo>
                    <a:pt x="6" y="6"/>
                    <a:pt x="2" y="6"/>
                    <a:pt x="1" y="9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1" y="14"/>
                    <a:pt x="4" y="14"/>
                    <a:pt x="4" y="12"/>
                  </a:cubicBezTo>
                  <a:cubicBezTo>
                    <a:pt x="4" y="11"/>
                    <a:pt x="3" y="10"/>
                    <a:pt x="4" y="9"/>
                  </a:cubicBezTo>
                  <a:cubicBezTo>
                    <a:pt x="4" y="8"/>
                    <a:pt x="7" y="7"/>
                    <a:pt x="8" y="7"/>
                  </a:cubicBezTo>
                  <a:cubicBezTo>
                    <a:pt x="9" y="6"/>
                    <a:pt x="11" y="6"/>
                    <a:pt x="11" y="4"/>
                  </a:cubicBezTo>
                  <a:lnTo>
                    <a:pt x="12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1" name="Freeform 72">
              <a:extLst>
                <a:ext uri="{FF2B5EF4-FFF2-40B4-BE49-F238E27FC236}">
                  <a16:creationId xmlns:a16="http://schemas.microsoft.com/office/drawing/2014/main" id="{FDB3C5D0-82E7-478E-9777-86DBF1B48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3455988"/>
              <a:ext cx="6350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2" y="3"/>
                    <a:pt x="3" y="2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2" name="Freeform 73">
              <a:extLst>
                <a:ext uri="{FF2B5EF4-FFF2-40B4-BE49-F238E27FC236}">
                  <a16:creationId xmlns:a16="http://schemas.microsoft.com/office/drawing/2014/main" id="{DF0F50BC-293B-4306-9912-FA605B592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300" y="3294063"/>
              <a:ext cx="42863" cy="120650"/>
            </a:xfrm>
            <a:custGeom>
              <a:avLst/>
              <a:gdLst/>
              <a:ahLst/>
              <a:cxnLst>
                <a:cxn ang="0">
                  <a:pos x="7" y="61"/>
                </a:cxn>
                <a:cxn ang="0">
                  <a:pos x="12" y="62"/>
                </a:cxn>
                <a:cxn ang="0">
                  <a:pos x="12" y="65"/>
                </a:cxn>
                <a:cxn ang="0">
                  <a:pos x="14" y="61"/>
                </a:cxn>
                <a:cxn ang="0">
                  <a:pos x="15" y="58"/>
                </a:cxn>
                <a:cxn ang="0">
                  <a:pos x="17" y="58"/>
                </a:cxn>
                <a:cxn ang="0">
                  <a:pos x="14" y="57"/>
                </a:cxn>
                <a:cxn ang="0">
                  <a:pos x="14" y="55"/>
                </a:cxn>
                <a:cxn ang="0">
                  <a:pos x="13" y="50"/>
                </a:cxn>
                <a:cxn ang="0">
                  <a:pos x="16" y="47"/>
                </a:cxn>
                <a:cxn ang="0">
                  <a:pos x="13" y="41"/>
                </a:cxn>
                <a:cxn ang="0">
                  <a:pos x="14" y="38"/>
                </a:cxn>
                <a:cxn ang="0">
                  <a:pos x="12" y="37"/>
                </a:cxn>
                <a:cxn ang="0">
                  <a:pos x="13" y="33"/>
                </a:cxn>
                <a:cxn ang="0">
                  <a:pos x="12" y="31"/>
                </a:cxn>
                <a:cxn ang="0">
                  <a:pos x="16" y="30"/>
                </a:cxn>
                <a:cxn ang="0">
                  <a:pos x="13" y="25"/>
                </a:cxn>
                <a:cxn ang="0">
                  <a:pos x="20" y="22"/>
                </a:cxn>
                <a:cxn ang="0">
                  <a:pos x="20" y="18"/>
                </a:cxn>
                <a:cxn ang="0">
                  <a:pos x="20" y="17"/>
                </a:cxn>
                <a:cxn ang="0">
                  <a:pos x="19" y="13"/>
                </a:cxn>
                <a:cxn ang="0">
                  <a:pos x="22" y="12"/>
                </a:cxn>
                <a:cxn ang="0">
                  <a:pos x="23" y="6"/>
                </a:cxn>
                <a:cxn ang="0">
                  <a:pos x="20" y="4"/>
                </a:cxn>
                <a:cxn ang="0">
                  <a:pos x="20" y="5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7" y="5"/>
                </a:cxn>
                <a:cxn ang="0">
                  <a:pos x="2" y="2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6" y="14"/>
                </a:cxn>
                <a:cxn ang="0">
                  <a:pos x="6" y="17"/>
                </a:cxn>
                <a:cxn ang="0">
                  <a:pos x="8" y="17"/>
                </a:cxn>
                <a:cxn ang="0">
                  <a:pos x="8" y="20"/>
                </a:cxn>
                <a:cxn ang="0">
                  <a:pos x="9" y="20"/>
                </a:cxn>
                <a:cxn ang="0">
                  <a:pos x="4" y="23"/>
                </a:cxn>
                <a:cxn ang="0">
                  <a:pos x="8" y="27"/>
                </a:cxn>
                <a:cxn ang="0">
                  <a:pos x="2" y="32"/>
                </a:cxn>
                <a:cxn ang="0">
                  <a:pos x="3" y="33"/>
                </a:cxn>
                <a:cxn ang="0">
                  <a:pos x="4" y="34"/>
                </a:cxn>
                <a:cxn ang="0">
                  <a:pos x="5" y="39"/>
                </a:cxn>
                <a:cxn ang="0">
                  <a:pos x="6" y="41"/>
                </a:cxn>
                <a:cxn ang="0">
                  <a:pos x="5" y="41"/>
                </a:cxn>
                <a:cxn ang="0">
                  <a:pos x="4" y="44"/>
                </a:cxn>
                <a:cxn ang="0">
                  <a:pos x="6" y="55"/>
                </a:cxn>
                <a:cxn ang="0">
                  <a:pos x="6" y="58"/>
                </a:cxn>
                <a:cxn ang="0">
                  <a:pos x="9" y="61"/>
                </a:cxn>
                <a:cxn ang="0">
                  <a:pos x="10" y="61"/>
                </a:cxn>
                <a:cxn ang="0">
                  <a:pos x="7" y="61"/>
                </a:cxn>
              </a:cxnLst>
              <a:rect l="0" t="0" r="r" b="b"/>
              <a:pathLst>
                <a:path w="23" h="65">
                  <a:moveTo>
                    <a:pt x="7" y="61"/>
                  </a:moveTo>
                  <a:cubicBezTo>
                    <a:pt x="9" y="62"/>
                    <a:pt x="10" y="62"/>
                    <a:pt x="12" y="62"/>
                  </a:cubicBezTo>
                  <a:cubicBezTo>
                    <a:pt x="13" y="63"/>
                    <a:pt x="12" y="64"/>
                    <a:pt x="12" y="65"/>
                  </a:cubicBezTo>
                  <a:cubicBezTo>
                    <a:pt x="13" y="64"/>
                    <a:pt x="14" y="63"/>
                    <a:pt x="14" y="61"/>
                  </a:cubicBezTo>
                  <a:cubicBezTo>
                    <a:pt x="15" y="60"/>
                    <a:pt x="14" y="59"/>
                    <a:pt x="15" y="58"/>
                  </a:cubicBezTo>
                  <a:cubicBezTo>
                    <a:pt x="15" y="58"/>
                    <a:pt x="16" y="58"/>
                    <a:pt x="17" y="58"/>
                  </a:cubicBezTo>
                  <a:cubicBezTo>
                    <a:pt x="17" y="57"/>
                    <a:pt x="15" y="57"/>
                    <a:pt x="14" y="57"/>
                  </a:cubicBezTo>
                  <a:cubicBezTo>
                    <a:pt x="13" y="56"/>
                    <a:pt x="14" y="56"/>
                    <a:pt x="14" y="55"/>
                  </a:cubicBezTo>
                  <a:cubicBezTo>
                    <a:pt x="13" y="53"/>
                    <a:pt x="15" y="52"/>
                    <a:pt x="13" y="50"/>
                  </a:cubicBezTo>
                  <a:cubicBezTo>
                    <a:pt x="14" y="49"/>
                    <a:pt x="15" y="47"/>
                    <a:pt x="16" y="47"/>
                  </a:cubicBezTo>
                  <a:cubicBezTo>
                    <a:pt x="17" y="44"/>
                    <a:pt x="14" y="43"/>
                    <a:pt x="13" y="41"/>
                  </a:cubicBezTo>
                  <a:cubicBezTo>
                    <a:pt x="13" y="40"/>
                    <a:pt x="15" y="39"/>
                    <a:pt x="14" y="38"/>
                  </a:cubicBezTo>
                  <a:cubicBezTo>
                    <a:pt x="14" y="37"/>
                    <a:pt x="13" y="38"/>
                    <a:pt x="12" y="37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32"/>
                    <a:pt x="12" y="32"/>
                    <a:pt x="12" y="31"/>
                  </a:cubicBezTo>
                  <a:cubicBezTo>
                    <a:pt x="13" y="30"/>
                    <a:pt x="16" y="32"/>
                    <a:pt x="16" y="30"/>
                  </a:cubicBezTo>
                  <a:cubicBezTo>
                    <a:pt x="17" y="28"/>
                    <a:pt x="11" y="28"/>
                    <a:pt x="13" y="25"/>
                  </a:cubicBezTo>
                  <a:cubicBezTo>
                    <a:pt x="15" y="25"/>
                    <a:pt x="17" y="22"/>
                    <a:pt x="20" y="22"/>
                  </a:cubicBezTo>
                  <a:cubicBezTo>
                    <a:pt x="20" y="20"/>
                    <a:pt x="20" y="20"/>
                    <a:pt x="20" y="18"/>
                  </a:cubicBezTo>
                  <a:cubicBezTo>
                    <a:pt x="21" y="19"/>
                    <a:pt x="21" y="17"/>
                    <a:pt x="20" y="17"/>
                  </a:cubicBezTo>
                  <a:cubicBezTo>
                    <a:pt x="19" y="15"/>
                    <a:pt x="18" y="14"/>
                    <a:pt x="19" y="13"/>
                  </a:cubicBezTo>
                  <a:cubicBezTo>
                    <a:pt x="20" y="12"/>
                    <a:pt x="22" y="14"/>
                    <a:pt x="22" y="12"/>
                  </a:cubicBezTo>
                  <a:cubicBezTo>
                    <a:pt x="23" y="10"/>
                    <a:pt x="23" y="8"/>
                    <a:pt x="23" y="6"/>
                  </a:cubicBezTo>
                  <a:cubicBezTo>
                    <a:pt x="23" y="5"/>
                    <a:pt x="22" y="3"/>
                    <a:pt x="20" y="4"/>
                  </a:cubicBezTo>
                  <a:cubicBezTo>
                    <a:pt x="20" y="4"/>
                    <a:pt x="21" y="5"/>
                    <a:pt x="20" y="5"/>
                  </a:cubicBezTo>
                  <a:cubicBezTo>
                    <a:pt x="19" y="6"/>
                    <a:pt x="17" y="2"/>
                    <a:pt x="16" y="2"/>
                  </a:cubicBezTo>
                  <a:cubicBezTo>
                    <a:pt x="15" y="0"/>
                    <a:pt x="14" y="1"/>
                    <a:pt x="13" y="2"/>
                  </a:cubicBezTo>
                  <a:cubicBezTo>
                    <a:pt x="11" y="4"/>
                    <a:pt x="10" y="6"/>
                    <a:pt x="7" y="5"/>
                  </a:cubicBezTo>
                  <a:cubicBezTo>
                    <a:pt x="5" y="4"/>
                    <a:pt x="4" y="2"/>
                    <a:pt x="2" y="2"/>
                  </a:cubicBezTo>
                  <a:cubicBezTo>
                    <a:pt x="0" y="3"/>
                    <a:pt x="0" y="10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4"/>
                    <a:pt x="7" y="15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8" y="18"/>
                    <a:pt x="8" y="19"/>
                    <a:pt x="8" y="20"/>
                  </a:cubicBezTo>
                  <a:cubicBezTo>
                    <a:pt x="8" y="20"/>
                    <a:pt x="8" y="20"/>
                    <a:pt x="9" y="20"/>
                  </a:cubicBezTo>
                  <a:cubicBezTo>
                    <a:pt x="7" y="21"/>
                    <a:pt x="5" y="22"/>
                    <a:pt x="4" y="23"/>
                  </a:cubicBezTo>
                  <a:cubicBezTo>
                    <a:pt x="3" y="27"/>
                    <a:pt x="6" y="25"/>
                    <a:pt x="8" y="27"/>
                  </a:cubicBezTo>
                  <a:cubicBezTo>
                    <a:pt x="7" y="29"/>
                    <a:pt x="2" y="29"/>
                    <a:pt x="2" y="32"/>
                  </a:cubicBezTo>
                  <a:cubicBezTo>
                    <a:pt x="2" y="32"/>
                    <a:pt x="3" y="32"/>
                    <a:pt x="3" y="33"/>
                  </a:cubicBezTo>
                  <a:cubicBezTo>
                    <a:pt x="4" y="33"/>
                    <a:pt x="4" y="34"/>
                    <a:pt x="4" y="34"/>
                  </a:cubicBezTo>
                  <a:cubicBezTo>
                    <a:pt x="5" y="36"/>
                    <a:pt x="5" y="37"/>
                    <a:pt x="5" y="39"/>
                  </a:cubicBezTo>
                  <a:cubicBezTo>
                    <a:pt x="6" y="39"/>
                    <a:pt x="6" y="40"/>
                    <a:pt x="6" y="41"/>
                  </a:cubicBezTo>
                  <a:cubicBezTo>
                    <a:pt x="6" y="41"/>
                    <a:pt x="6" y="41"/>
                    <a:pt x="5" y="41"/>
                  </a:cubicBezTo>
                  <a:cubicBezTo>
                    <a:pt x="5" y="42"/>
                    <a:pt x="4" y="43"/>
                    <a:pt x="4" y="44"/>
                  </a:cubicBezTo>
                  <a:cubicBezTo>
                    <a:pt x="3" y="48"/>
                    <a:pt x="5" y="51"/>
                    <a:pt x="6" y="55"/>
                  </a:cubicBezTo>
                  <a:cubicBezTo>
                    <a:pt x="6" y="55"/>
                    <a:pt x="6" y="57"/>
                    <a:pt x="6" y="58"/>
                  </a:cubicBezTo>
                  <a:cubicBezTo>
                    <a:pt x="7" y="59"/>
                    <a:pt x="9" y="59"/>
                    <a:pt x="9" y="61"/>
                  </a:cubicBezTo>
                  <a:cubicBezTo>
                    <a:pt x="10" y="61"/>
                    <a:pt x="10" y="61"/>
                    <a:pt x="10" y="61"/>
                  </a:cubicBezTo>
                  <a:lnTo>
                    <a:pt x="7" y="6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3" name="Freeform 74">
              <a:extLst>
                <a:ext uri="{FF2B5EF4-FFF2-40B4-BE49-F238E27FC236}">
                  <a16:creationId xmlns:a16="http://schemas.microsoft.com/office/drawing/2014/main" id="{5DF146F1-3671-4DB4-8535-92FF637D1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713" y="3184525"/>
              <a:ext cx="17463" cy="1746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7" y="6"/>
                </a:cxn>
                <a:cxn ang="0">
                  <a:pos x="8" y="2"/>
                </a:cxn>
                <a:cxn ang="0">
                  <a:pos x="3" y="3"/>
                </a:cxn>
                <a:cxn ang="0">
                  <a:pos x="0" y="7"/>
                </a:cxn>
              </a:cxnLst>
              <a:rect l="0" t="0" r="r" b="b"/>
              <a:pathLst>
                <a:path w="9" h="9">
                  <a:moveTo>
                    <a:pt x="0" y="7"/>
                  </a:moveTo>
                  <a:cubicBezTo>
                    <a:pt x="0" y="9"/>
                    <a:pt x="6" y="7"/>
                    <a:pt x="7" y="6"/>
                  </a:cubicBezTo>
                  <a:cubicBezTo>
                    <a:pt x="8" y="5"/>
                    <a:pt x="9" y="3"/>
                    <a:pt x="8" y="2"/>
                  </a:cubicBezTo>
                  <a:cubicBezTo>
                    <a:pt x="7" y="0"/>
                    <a:pt x="4" y="2"/>
                    <a:pt x="3" y="3"/>
                  </a:cubicBezTo>
                  <a:cubicBezTo>
                    <a:pt x="1" y="5"/>
                    <a:pt x="0" y="7"/>
                    <a:pt x="0" y="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4" name="Freeform 75">
              <a:extLst>
                <a:ext uri="{FF2B5EF4-FFF2-40B4-BE49-F238E27FC236}">
                  <a16:creationId xmlns:a16="http://schemas.microsoft.com/office/drawing/2014/main" id="{63B78981-6A7F-482C-AD3C-472B820BC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136900"/>
              <a:ext cx="100013" cy="147638"/>
            </a:xfrm>
            <a:custGeom>
              <a:avLst/>
              <a:gdLst/>
              <a:ahLst/>
              <a:cxnLst>
                <a:cxn ang="0">
                  <a:pos x="51" y="15"/>
                </a:cxn>
                <a:cxn ang="0">
                  <a:pos x="52" y="10"/>
                </a:cxn>
                <a:cxn ang="0">
                  <a:pos x="52" y="6"/>
                </a:cxn>
                <a:cxn ang="0">
                  <a:pos x="51" y="2"/>
                </a:cxn>
                <a:cxn ang="0">
                  <a:pos x="44" y="7"/>
                </a:cxn>
                <a:cxn ang="0">
                  <a:pos x="41" y="8"/>
                </a:cxn>
                <a:cxn ang="0">
                  <a:pos x="38" y="10"/>
                </a:cxn>
                <a:cxn ang="0">
                  <a:pos x="38" y="11"/>
                </a:cxn>
                <a:cxn ang="0">
                  <a:pos x="34" y="11"/>
                </a:cxn>
                <a:cxn ang="0">
                  <a:pos x="32" y="15"/>
                </a:cxn>
                <a:cxn ang="0">
                  <a:pos x="21" y="19"/>
                </a:cxn>
                <a:cxn ang="0">
                  <a:pos x="18" y="24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14" y="29"/>
                </a:cxn>
                <a:cxn ang="0">
                  <a:pos x="12" y="30"/>
                </a:cxn>
                <a:cxn ang="0">
                  <a:pos x="13" y="32"/>
                </a:cxn>
                <a:cxn ang="0">
                  <a:pos x="8" y="29"/>
                </a:cxn>
                <a:cxn ang="0">
                  <a:pos x="5" y="32"/>
                </a:cxn>
                <a:cxn ang="0">
                  <a:pos x="4" y="36"/>
                </a:cxn>
                <a:cxn ang="0">
                  <a:pos x="5" y="39"/>
                </a:cxn>
                <a:cxn ang="0">
                  <a:pos x="3" y="42"/>
                </a:cxn>
                <a:cxn ang="0">
                  <a:pos x="9" y="50"/>
                </a:cxn>
                <a:cxn ang="0">
                  <a:pos x="1" y="52"/>
                </a:cxn>
                <a:cxn ang="0">
                  <a:pos x="3" y="58"/>
                </a:cxn>
                <a:cxn ang="0">
                  <a:pos x="14" y="63"/>
                </a:cxn>
                <a:cxn ang="0">
                  <a:pos x="8" y="65"/>
                </a:cxn>
                <a:cxn ang="0">
                  <a:pos x="9" y="67"/>
                </a:cxn>
                <a:cxn ang="0">
                  <a:pos x="8" y="68"/>
                </a:cxn>
                <a:cxn ang="0">
                  <a:pos x="7" y="70"/>
                </a:cxn>
                <a:cxn ang="0">
                  <a:pos x="4" y="72"/>
                </a:cxn>
                <a:cxn ang="0">
                  <a:pos x="5" y="75"/>
                </a:cxn>
                <a:cxn ang="0">
                  <a:pos x="6" y="77"/>
                </a:cxn>
                <a:cxn ang="0">
                  <a:pos x="10" y="79"/>
                </a:cxn>
                <a:cxn ang="0">
                  <a:pos x="13" y="75"/>
                </a:cxn>
                <a:cxn ang="0">
                  <a:pos x="23" y="75"/>
                </a:cxn>
                <a:cxn ang="0">
                  <a:pos x="20" y="66"/>
                </a:cxn>
                <a:cxn ang="0">
                  <a:pos x="23" y="67"/>
                </a:cxn>
                <a:cxn ang="0">
                  <a:pos x="28" y="68"/>
                </a:cxn>
                <a:cxn ang="0">
                  <a:pos x="26" y="61"/>
                </a:cxn>
                <a:cxn ang="0">
                  <a:pos x="31" y="61"/>
                </a:cxn>
                <a:cxn ang="0">
                  <a:pos x="34" y="59"/>
                </a:cxn>
                <a:cxn ang="0">
                  <a:pos x="37" y="57"/>
                </a:cxn>
                <a:cxn ang="0">
                  <a:pos x="31" y="54"/>
                </a:cxn>
                <a:cxn ang="0">
                  <a:pos x="42" y="49"/>
                </a:cxn>
                <a:cxn ang="0">
                  <a:pos x="38" y="41"/>
                </a:cxn>
                <a:cxn ang="0">
                  <a:pos x="42" y="39"/>
                </a:cxn>
                <a:cxn ang="0">
                  <a:pos x="41" y="37"/>
                </a:cxn>
                <a:cxn ang="0">
                  <a:pos x="41" y="34"/>
                </a:cxn>
                <a:cxn ang="0">
                  <a:pos x="42" y="32"/>
                </a:cxn>
                <a:cxn ang="0">
                  <a:pos x="41" y="30"/>
                </a:cxn>
                <a:cxn ang="0">
                  <a:pos x="45" y="25"/>
                </a:cxn>
                <a:cxn ang="0">
                  <a:pos x="49" y="21"/>
                </a:cxn>
                <a:cxn ang="0">
                  <a:pos x="51" y="15"/>
                </a:cxn>
              </a:cxnLst>
              <a:rect l="0" t="0" r="r" b="b"/>
              <a:pathLst>
                <a:path w="54" h="79">
                  <a:moveTo>
                    <a:pt x="51" y="15"/>
                  </a:moveTo>
                  <a:cubicBezTo>
                    <a:pt x="54" y="11"/>
                    <a:pt x="53" y="15"/>
                    <a:pt x="52" y="10"/>
                  </a:cubicBezTo>
                  <a:cubicBezTo>
                    <a:pt x="52" y="8"/>
                    <a:pt x="52" y="7"/>
                    <a:pt x="52" y="6"/>
                  </a:cubicBezTo>
                  <a:cubicBezTo>
                    <a:pt x="52" y="4"/>
                    <a:pt x="52" y="3"/>
                    <a:pt x="51" y="2"/>
                  </a:cubicBezTo>
                  <a:cubicBezTo>
                    <a:pt x="47" y="0"/>
                    <a:pt x="46" y="4"/>
                    <a:pt x="44" y="7"/>
                  </a:cubicBezTo>
                  <a:cubicBezTo>
                    <a:pt x="43" y="7"/>
                    <a:pt x="42" y="8"/>
                    <a:pt x="41" y="8"/>
                  </a:cubicBezTo>
                  <a:cubicBezTo>
                    <a:pt x="40" y="9"/>
                    <a:pt x="39" y="9"/>
                    <a:pt x="38" y="10"/>
                  </a:cubicBezTo>
                  <a:cubicBezTo>
                    <a:pt x="38" y="10"/>
                    <a:pt x="38" y="10"/>
                    <a:pt x="38" y="11"/>
                  </a:cubicBezTo>
                  <a:cubicBezTo>
                    <a:pt x="37" y="11"/>
                    <a:pt x="35" y="10"/>
                    <a:pt x="34" y="11"/>
                  </a:cubicBezTo>
                  <a:cubicBezTo>
                    <a:pt x="33" y="11"/>
                    <a:pt x="32" y="14"/>
                    <a:pt x="32" y="15"/>
                  </a:cubicBezTo>
                  <a:cubicBezTo>
                    <a:pt x="29" y="19"/>
                    <a:pt x="25" y="19"/>
                    <a:pt x="21" y="19"/>
                  </a:cubicBezTo>
                  <a:cubicBezTo>
                    <a:pt x="19" y="19"/>
                    <a:pt x="19" y="22"/>
                    <a:pt x="18" y="24"/>
                  </a:cubicBezTo>
                  <a:cubicBezTo>
                    <a:pt x="18" y="26"/>
                    <a:pt x="17" y="29"/>
                    <a:pt x="17" y="30"/>
                  </a:cubicBezTo>
                  <a:cubicBezTo>
                    <a:pt x="17" y="32"/>
                    <a:pt x="19" y="31"/>
                    <a:pt x="19" y="32"/>
                  </a:cubicBezTo>
                  <a:cubicBezTo>
                    <a:pt x="18" y="31"/>
                    <a:pt x="16" y="30"/>
                    <a:pt x="14" y="29"/>
                  </a:cubicBezTo>
                  <a:cubicBezTo>
                    <a:pt x="13" y="29"/>
                    <a:pt x="13" y="28"/>
                    <a:pt x="12" y="30"/>
                  </a:cubicBezTo>
                  <a:cubicBezTo>
                    <a:pt x="12" y="30"/>
                    <a:pt x="12" y="31"/>
                    <a:pt x="13" y="32"/>
                  </a:cubicBezTo>
                  <a:cubicBezTo>
                    <a:pt x="10" y="32"/>
                    <a:pt x="8" y="31"/>
                    <a:pt x="8" y="29"/>
                  </a:cubicBezTo>
                  <a:cubicBezTo>
                    <a:pt x="7" y="29"/>
                    <a:pt x="6" y="31"/>
                    <a:pt x="5" y="32"/>
                  </a:cubicBezTo>
                  <a:cubicBezTo>
                    <a:pt x="4" y="33"/>
                    <a:pt x="4" y="35"/>
                    <a:pt x="4" y="36"/>
                  </a:cubicBezTo>
                  <a:cubicBezTo>
                    <a:pt x="5" y="37"/>
                    <a:pt x="5" y="38"/>
                    <a:pt x="5" y="39"/>
                  </a:cubicBezTo>
                  <a:cubicBezTo>
                    <a:pt x="5" y="40"/>
                    <a:pt x="3" y="41"/>
                    <a:pt x="3" y="42"/>
                  </a:cubicBezTo>
                  <a:cubicBezTo>
                    <a:pt x="3" y="45"/>
                    <a:pt x="9" y="46"/>
                    <a:pt x="9" y="50"/>
                  </a:cubicBezTo>
                  <a:cubicBezTo>
                    <a:pt x="7" y="50"/>
                    <a:pt x="2" y="50"/>
                    <a:pt x="1" y="52"/>
                  </a:cubicBezTo>
                  <a:cubicBezTo>
                    <a:pt x="0" y="53"/>
                    <a:pt x="2" y="57"/>
                    <a:pt x="3" y="58"/>
                  </a:cubicBezTo>
                  <a:cubicBezTo>
                    <a:pt x="5" y="59"/>
                    <a:pt x="15" y="60"/>
                    <a:pt x="14" y="63"/>
                  </a:cubicBezTo>
                  <a:cubicBezTo>
                    <a:pt x="13" y="63"/>
                    <a:pt x="9" y="62"/>
                    <a:pt x="8" y="65"/>
                  </a:cubicBezTo>
                  <a:cubicBezTo>
                    <a:pt x="8" y="65"/>
                    <a:pt x="9" y="66"/>
                    <a:pt x="9" y="67"/>
                  </a:cubicBezTo>
                  <a:cubicBezTo>
                    <a:pt x="9" y="67"/>
                    <a:pt x="8" y="67"/>
                    <a:pt x="8" y="68"/>
                  </a:cubicBezTo>
                  <a:cubicBezTo>
                    <a:pt x="7" y="69"/>
                    <a:pt x="7" y="69"/>
                    <a:pt x="7" y="70"/>
                  </a:cubicBezTo>
                  <a:cubicBezTo>
                    <a:pt x="5" y="71"/>
                    <a:pt x="5" y="71"/>
                    <a:pt x="4" y="72"/>
                  </a:cubicBezTo>
                  <a:cubicBezTo>
                    <a:pt x="4" y="73"/>
                    <a:pt x="4" y="74"/>
                    <a:pt x="5" y="75"/>
                  </a:cubicBezTo>
                  <a:cubicBezTo>
                    <a:pt x="5" y="76"/>
                    <a:pt x="6" y="76"/>
                    <a:pt x="6" y="77"/>
                  </a:cubicBezTo>
                  <a:cubicBezTo>
                    <a:pt x="7" y="77"/>
                    <a:pt x="8" y="79"/>
                    <a:pt x="10" y="79"/>
                  </a:cubicBezTo>
                  <a:cubicBezTo>
                    <a:pt x="12" y="79"/>
                    <a:pt x="13" y="77"/>
                    <a:pt x="13" y="75"/>
                  </a:cubicBezTo>
                  <a:cubicBezTo>
                    <a:pt x="16" y="74"/>
                    <a:pt x="20" y="75"/>
                    <a:pt x="23" y="75"/>
                  </a:cubicBezTo>
                  <a:cubicBezTo>
                    <a:pt x="24" y="71"/>
                    <a:pt x="22" y="69"/>
                    <a:pt x="20" y="66"/>
                  </a:cubicBezTo>
                  <a:cubicBezTo>
                    <a:pt x="21" y="65"/>
                    <a:pt x="22" y="66"/>
                    <a:pt x="23" y="67"/>
                  </a:cubicBezTo>
                  <a:cubicBezTo>
                    <a:pt x="25" y="69"/>
                    <a:pt x="26" y="69"/>
                    <a:pt x="28" y="68"/>
                  </a:cubicBezTo>
                  <a:cubicBezTo>
                    <a:pt x="31" y="65"/>
                    <a:pt x="29" y="63"/>
                    <a:pt x="26" y="61"/>
                  </a:cubicBezTo>
                  <a:cubicBezTo>
                    <a:pt x="27" y="60"/>
                    <a:pt x="29" y="61"/>
                    <a:pt x="31" y="61"/>
                  </a:cubicBezTo>
                  <a:cubicBezTo>
                    <a:pt x="33" y="61"/>
                    <a:pt x="33" y="60"/>
                    <a:pt x="34" y="59"/>
                  </a:cubicBezTo>
                  <a:cubicBezTo>
                    <a:pt x="35" y="59"/>
                    <a:pt x="37" y="58"/>
                    <a:pt x="37" y="57"/>
                  </a:cubicBezTo>
                  <a:cubicBezTo>
                    <a:pt x="37" y="56"/>
                    <a:pt x="33" y="54"/>
                    <a:pt x="31" y="54"/>
                  </a:cubicBezTo>
                  <a:cubicBezTo>
                    <a:pt x="34" y="54"/>
                    <a:pt x="42" y="52"/>
                    <a:pt x="42" y="49"/>
                  </a:cubicBezTo>
                  <a:cubicBezTo>
                    <a:pt x="42" y="46"/>
                    <a:pt x="35" y="43"/>
                    <a:pt x="38" y="41"/>
                  </a:cubicBezTo>
                  <a:cubicBezTo>
                    <a:pt x="39" y="40"/>
                    <a:pt x="41" y="41"/>
                    <a:pt x="42" y="39"/>
                  </a:cubicBezTo>
                  <a:cubicBezTo>
                    <a:pt x="44" y="38"/>
                    <a:pt x="42" y="38"/>
                    <a:pt x="41" y="37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1" y="33"/>
                    <a:pt x="42" y="33"/>
                    <a:pt x="42" y="32"/>
                  </a:cubicBezTo>
                  <a:cubicBezTo>
                    <a:pt x="42" y="32"/>
                    <a:pt x="41" y="31"/>
                    <a:pt x="41" y="30"/>
                  </a:cubicBezTo>
                  <a:cubicBezTo>
                    <a:pt x="41" y="28"/>
                    <a:pt x="43" y="26"/>
                    <a:pt x="45" y="25"/>
                  </a:cubicBezTo>
                  <a:cubicBezTo>
                    <a:pt x="47" y="24"/>
                    <a:pt x="49" y="24"/>
                    <a:pt x="49" y="21"/>
                  </a:cubicBezTo>
                  <a:lnTo>
                    <a:pt x="51" y="1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5" name="Freeform 76">
              <a:extLst>
                <a:ext uri="{FF2B5EF4-FFF2-40B4-BE49-F238E27FC236}">
                  <a16:creationId xmlns:a16="http://schemas.microsoft.com/office/drawing/2014/main" id="{3C7A07D6-73B2-4614-9C45-072C90827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463" y="3005138"/>
              <a:ext cx="69850" cy="53975"/>
            </a:xfrm>
            <a:custGeom>
              <a:avLst/>
              <a:gdLst/>
              <a:ahLst/>
              <a:cxnLst>
                <a:cxn ang="0">
                  <a:pos x="20" y="7"/>
                </a:cxn>
                <a:cxn ang="0">
                  <a:pos x="13" y="2"/>
                </a:cxn>
                <a:cxn ang="0">
                  <a:pos x="9" y="1"/>
                </a:cxn>
                <a:cxn ang="0">
                  <a:pos x="5" y="11"/>
                </a:cxn>
                <a:cxn ang="0">
                  <a:pos x="3" y="21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0" y="13"/>
                </a:cxn>
                <a:cxn ang="0">
                  <a:pos x="12" y="19"/>
                </a:cxn>
                <a:cxn ang="0">
                  <a:pos x="11" y="24"/>
                </a:cxn>
                <a:cxn ang="0">
                  <a:pos x="19" y="22"/>
                </a:cxn>
                <a:cxn ang="0">
                  <a:pos x="23" y="25"/>
                </a:cxn>
                <a:cxn ang="0">
                  <a:pos x="26" y="26"/>
                </a:cxn>
                <a:cxn ang="0">
                  <a:pos x="28" y="27"/>
                </a:cxn>
                <a:cxn ang="0">
                  <a:pos x="33" y="28"/>
                </a:cxn>
                <a:cxn ang="0">
                  <a:pos x="37" y="23"/>
                </a:cxn>
                <a:cxn ang="0">
                  <a:pos x="31" y="22"/>
                </a:cxn>
                <a:cxn ang="0">
                  <a:pos x="31" y="19"/>
                </a:cxn>
                <a:cxn ang="0">
                  <a:pos x="23" y="15"/>
                </a:cxn>
                <a:cxn ang="0">
                  <a:pos x="20" y="15"/>
                </a:cxn>
                <a:cxn ang="0">
                  <a:pos x="19" y="7"/>
                </a:cxn>
                <a:cxn ang="0">
                  <a:pos x="20" y="7"/>
                </a:cxn>
              </a:cxnLst>
              <a:rect l="0" t="0" r="r" b="b"/>
              <a:pathLst>
                <a:path w="37" h="29">
                  <a:moveTo>
                    <a:pt x="20" y="7"/>
                  </a:moveTo>
                  <a:cubicBezTo>
                    <a:pt x="20" y="5"/>
                    <a:pt x="15" y="3"/>
                    <a:pt x="13" y="2"/>
                  </a:cubicBezTo>
                  <a:cubicBezTo>
                    <a:pt x="12" y="1"/>
                    <a:pt x="10" y="0"/>
                    <a:pt x="9" y="1"/>
                  </a:cubicBezTo>
                  <a:cubicBezTo>
                    <a:pt x="8" y="5"/>
                    <a:pt x="6" y="7"/>
                    <a:pt x="5" y="11"/>
                  </a:cubicBezTo>
                  <a:cubicBezTo>
                    <a:pt x="3" y="14"/>
                    <a:pt x="0" y="17"/>
                    <a:pt x="3" y="21"/>
                  </a:cubicBezTo>
                  <a:cubicBezTo>
                    <a:pt x="5" y="24"/>
                    <a:pt x="8" y="23"/>
                    <a:pt x="8" y="20"/>
                  </a:cubicBezTo>
                  <a:cubicBezTo>
                    <a:pt x="9" y="19"/>
                    <a:pt x="8" y="17"/>
                    <a:pt x="8" y="16"/>
                  </a:cubicBezTo>
                  <a:cubicBezTo>
                    <a:pt x="9" y="15"/>
                    <a:pt x="10" y="14"/>
                    <a:pt x="10" y="13"/>
                  </a:cubicBezTo>
                  <a:cubicBezTo>
                    <a:pt x="12" y="13"/>
                    <a:pt x="13" y="17"/>
                    <a:pt x="12" y="19"/>
                  </a:cubicBezTo>
                  <a:cubicBezTo>
                    <a:pt x="12" y="20"/>
                    <a:pt x="10" y="22"/>
                    <a:pt x="11" y="24"/>
                  </a:cubicBezTo>
                  <a:cubicBezTo>
                    <a:pt x="12" y="26"/>
                    <a:pt x="17" y="23"/>
                    <a:pt x="19" y="22"/>
                  </a:cubicBezTo>
                  <a:cubicBezTo>
                    <a:pt x="21" y="22"/>
                    <a:pt x="22" y="24"/>
                    <a:pt x="23" y="25"/>
                  </a:cubicBezTo>
                  <a:cubicBezTo>
                    <a:pt x="24" y="25"/>
                    <a:pt x="25" y="25"/>
                    <a:pt x="26" y="26"/>
                  </a:cubicBezTo>
                  <a:cubicBezTo>
                    <a:pt x="28" y="26"/>
                    <a:pt x="27" y="26"/>
                    <a:pt x="28" y="27"/>
                  </a:cubicBezTo>
                  <a:cubicBezTo>
                    <a:pt x="30" y="28"/>
                    <a:pt x="31" y="29"/>
                    <a:pt x="33" y="28"/>
                  </a:cubicBezTo>
                  <a:cubicBezTo>
                    <a:pt x="34" y="28"/>
                    <a:pt x="37" y="24"/>
                    <a:pt x="37" y="23"/>
                  </a:cubicBezTo>
                  <a:cubicBezTo>
                    <a:pt x="36" y="22"/>
                    <a:pt x="33" y="23"/>
                    <a:pt x="31" y="22"/>
                  </a:cubicBezTo>
                  <a:cubicBezTo>
                    <a:pt x="31" y="22"/>
                    <a:pt x="31" y="20"/>
                    <a:pt x="31" y="19"/>
                  </a:cubicBezTo>
                  <a:cubicBezTo>
                    <a:pt x="29" y="18"/>
                    <a:pt x="22" y="18"/>
                    <a:pt x="23" y="15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20" y="14"/>
                    <a:pt x="25" y="6"/>
                    <a:pt x="19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6" name="Freeform 77">
              <a:extLst>
                <a:ext uri="{FF2B5EF4-FFF2-40B4-BE49-F238E27FC236}">
                  <a16:creationId xmlns:a16="http://schemas.microsoft.com/office/drawing/2014/main" id="{4AB45264-ED0F-43A2-A2F9-7470718C7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2994025"/>
              <a:ext cx="25400" cy="26988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2"/>
                </a:cxn>
                <a:cxn ang="0">
                  <a:pos x="8" y="9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4" y="11"/>
                </a:cxn>
                <a:cxn ang="0">
                  <a:pos x="10" y="6"/>
                </a:cxn>
                <a:cxn ang="0">
                  <a:pos x="10" y="3"/>
                </a:cxn>
              </a:cxnLst>
              <a:rect l="0" t="0" r="r" b="b"/>
              <a:pathLst>
                <a:path w="14" h="14">
                  <a:moveTo>
                    <a:pt x="10" y="3"/>
                  </a:moveTo>
                  <a:cubicBezTo>
                    <a:pt x="8" y="3"/>
                    <a:pt x="3" y="0"/>
                    <a:pt x="1" y="2"/>
                  </a:cubicBezTo>
                  <a:cubicBezTo>
                    <a:pt x="0" y="5"/>
                    <a:pt x="6" y="7"/>
                    <a:pt x="8" y="9"/>
                  </a:cubicBezTo>
                  <a:cubicBezTo>
                    <a:pt x="9" y="10"/>
                    <a:pt x="10" y="11"/>
                    <a:pt x="11" y="12"/>
                  </a:cubicBezTo>
                  <a:cubicBezTo>
                    <a:pt x="11" y="13"/>
                    <a:pt x="11" y="14"/>
                    <a:pt x="12" y="14"/>
                  </a:cubicBezTo>
                  <a:cubicBezTo>
                    <a:pt x="14" y="14"/>
                    <a:pt x="14" y="12"/>
                    <a:pt x="14" y="11"/>
                  </a:cubicBezTo>
                  <a:cubicBezTo>
                    <a:pt x="14" y="8"/>
                    <a:pt x="13" y="7"/>
                    <a:pt x="10" y="6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7" name="Freeform 78">
              <a:extLst>
                <a:ext uri="{FF2B5EF4-FFF2-40B4-BE49-F238E27FC236}">
                  <a16:creationId xmlns:a16="http://schemas.microsoft.com/office/drawing/2014/main" id="{DE71FEA0-C156-4164-B714-FD1D95C9C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150" y="2962275"/>
              <a:ext cx="23813" cy="285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7"/>
                </a:cxn>
                <a:cxn ang="0">
                  <a:pos x="4" y="9"/>
                </a:cxn>
                <a:cxn ang="0">
                  <a:pos x="4" y="12"/>
                </a:cxn>
                <a:cxn ang="0">
                  <a:pos x="11" y="14"/>
                </a:cxn>
                <a:cxn ang="0">
                  <a:pos x="5" y="8"/>
                </a:cxn>
                <a:cxn ang="0">
                  <a:pos x="11" y="5"/>
                </a:cxn>
                <a:cxn ang="0">
                  <a:pos x="7" y="0"/>
                </a:cxn>
              </a:cxnLst>
              <a:rect l="0" t="0" r="r" b="b"/>
              <a:pathLst>
                <a:path w="13" h="15">
                  <a:moveTo>
                    <a:pt x="7" y="0"/>
                  </a:moveTo>
                  <a:cubicBezTo>
                    <a:pt x="4" y="0"/>
                    <a:pt x="0" y="3"/>
                    <a:pt x="0" y="7"/>
                  </a:cubicBezTo>
                  <a:cubicBezTo>
                    <a:pt x="0" y="9"/>
                    <a:pt x="2" y="8"/>
                    <a:pt x="4" y="9"/>
                  </a:cubicBezTo>
                  <a:cubicBezTo>
                    <a:pt x="4" y="10"/>
                    <a:pt x="4" y="11"/>
                    <a:pt x="4" y="12"/>
                  </a:cubicBezTo>
                  <a:cubicBezTo>
                    <a:pt x="5" y="14"/>
                    <a:pt x="9" y="15"/>
                    <a:pt x="11" y="14"/>
                  </a:cubicBezTo>
                  <a:cubicBezTo>
                    <a:pt x="11" y="11"/>
                    <a:pt x="8" y="8"/>
                    <a:pt x="5" y="8"/>
                  </a:cubicBezTo>
                  <a:cubicBezTo>
                    <a:pt x="6" y="6"/>
                    <a:pt x="10" y="6"/>
                    <a:pt x="11" y="5"/>
                  </a:cubicBezTo>
                  <a:cubicBezTo>
                    <a:pt x="13" y="2"/>
                    <a:pt x="9" y="0"/>
                    <a:pt x="7" y="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8" name="Freeform 79">
              <a:extLst>
                <a:ext uri="{FF2B5EF4-FFF2-40B4-BE49-F238E27FC236}">
                  <a16:creationId xmlns:a16="http://schemas.microsoft.com/office/drawing/2014/main" id="{DBF872EE-0A0C-4282-8EEA-5E3A70996D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138" y="2974975"/>
              <a:ext cx="36513" cy="26988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1" y="11"/>
                </a:cxn>
                <a:cxn ang="0">
                  <a:pos x="8" y="13"/>
                </a:cxn>
                <a:cxn ang="0">
                  <a:pos x="10" y="10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5" y="7"/>
                </a:cxn>
                <a:cxn ang="0">
                  <a:pos x="19" y="1"/>
                </a:cxn>
                <a:cxn ang="0">
                  <a:pos x="11" y="3"/>
                </a:cxn>
                <a:cxn ang="0">
                  <a:pos x="10" y="1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10"/>
                </a:cxn>
                <a:cxn ang="0">
                  <a:pos x="0" y="8"/>
                </a:cxn>
                <a:cxn ang="0">
                  <a:pos x="2" y="9"/>
                </a:cxn>
              </a:cxnLst>
              <a:rect l="0" t="0" r="r" b="b"/>
              <a:pathLst>
                <a:path w="19" h="14">
                  <a:moveTo>
                    <a:pt x="2" y="9"/>
                  </a:moveTo>
                  <a:cubicBezTo>
                    <a:pt x="1" y="8"/>
                    <a:pt x="0" y="10"/>
                    <a:pt x="1" y="11"/>
                  </a:cubicBezTo>
                  <a:cubicBezTo>
                    <a:pt x="2" y="13"/>
                    <a:pt x="6" y="14"/>
                    <a:pt x="8" y="13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9"/>
                    <a:pt x="9" y="7"/>
                    <a:pt x="10" y="7"/>
                  </a:cubicBezTo>
                  <a:cubicBezTo>
                    <a:pt x="11" y="6"/>
                    <a:pt x="13" y="7"/>
                    <a:pt x="13" y="7"/>
                  </a:cubicBezTo>
                  <a:cubicBezTo>
                    <a:pt x="15" y="7"/>
                    <a:pt x="14" y="8"/>
                    <a:pt x="15" y="7"/>
                  </a:cubicBezTo>
                  <a:cubicBezTo>
                    <a:pt x="17" y="5"/>
                    <a:pt x="17" y="3"/>
                    <a:pt x="19" y="1"/>
                  </a:cubicBezTo>
                  <a:cubicBezTo>
                    <a:pt x="17" y="1"/>
                    <a:pt x="10" y="0"/>
                    <a:pt x="11" y="3"/>
                  </a:cubicBezTo>
                  <a:cubicBezTo>
                    <a:pt x="11" y="3"/>
                    <a:pt x="11" y="1"/>
                    <a:pt x="10" y="1"/>
                  </a:cubicBezTo>
                  <a:cubicBezTo>
                    <a:pt x="8" y="0"/>
                    <a:pt x="8" y="3"/>
                    <a:pt x="8" y="4"/>
                  </a:cubicBezTo>
                  <a:cubicBezTo>
                    <a:pt x="8" y="6"/>
                    <a:pt x="7" y="5"/>
                    <a:pt x="6" y="6"/>
                  </a:cubicBezTo>
                  <a:cubicBezTo>
                    <a:pt x="5" y="7"/>
                    <a:pt x="5" y="9"/>
                    <a:pt x="4" y="10"/>
                  </a:cubicBezTo>
                  <a:cubicBezTo>
                    <a:pt x="3" y="9"/>
                    <a:pt x="2" y="8"/>
                    <a:pt x="0" y="8"/>
                  </a:cubicBezTo>
                  <a:lnTo>
                    <a:pt x="2" y="9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9" name="Freeform 80">
              <a:extLst>
                <a:ext uri="{FF2B5EF4-FFF2-40B4-BE49-F238E27FC236}">
                  <a16:creationId xmlns:a16="http://schemas.microsoft.com/office/drawing/2014/main" id="{4C2A30F9-B158-4785-9E23-89988653B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663" y="3013075"/>
              <a:ext cx="17463" cy="11113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5" y="6"/>
                </a:cxn>
                <a:cxn ang="0">
                  <a:pos x="1" y="1"/>
                </a:cxn>
                <a:cxn ang="0">
                  <a:pos x="3" y="1"/>
                </a:cxn>
              </a:cxnLst>
              <a:rect l="0" t="0" r="r" b="b"/>
              <a:pathLst>
                <a:path w="9" h="6">
                  <a:moveTo>
                    <a:pt x="3" y="1"/>
                  </a:moveTo>
                  <a:cubicBezTo>
                    <a:pt x="3" y="1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4" y="6"/>
                    <a:pt x="5" y="6"/>
                  </a:cubicBezTo>
                  <a:cubicBezTo>
                    <a:pt x="9" y="5"/>
                    <a:pt x="4" y="0"/>
                    <a:pt x="1" y="1"/>
                  </a:cubicBezTo>
                  <a:lnTo>
                    <a:pt x="3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0" name="Freeform 81">
              <a:extLst>
                <a:ext uri="{FF2B5EF4-FFF2-40B4-BE49-F238E27FC236}">
                  <a16:creationId xmlns:a16="http://schemas.microsoft.com/office/drawing/2014/main" id="{559BAA9F-778B-4E39-A195-55916114C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463" y="3054350"/>
              <a:ext cx="30163" cy="31750"/>
            </a:xfrm>
            <a:custGeom>
              <a:avLst/>
              <a:gdLst/>
              <a:ahLst/>
              <a:cxnLst>
                <a:cxn ang="0">
                  <a:pos x="11" y="6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9" y="15"/>
                </a:cxn>
                <a:cxn ang="0">
                  <a:pos x="13" y="16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8" y="5"/>
                </a:cxn>
                <a:cxn ang="0">
                  <a:pos x="11" y="6"/>
                </a:cxn>
              </a:cxnLst>
              <a:rect l="0" t="0" r="r" b="b"/>
              <a:pathLst>
                <a:path w="16" h="17">
                  <a:moveTo>
                    <a:pt x="11" y="6"/>
                  </a:moveTo>
                  <a:cubicBezTo>
                    <a:pt x="12" y="3"/>
                    <a:pt x="7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0" y="0"/>
                    <a:pt x="0" y="3"/>
                  </a:cubicBezTo>
                  <a:cubicBezTo>
                    <a:pt x="0" y="8"/>
                    <a:pt x="4" y="13"/>
                    <a:pt x="9" y="15"/>
                  </a:cubicBezTo>
                  <a:cubicBezTo>
                    <a:pt x="10" y="16"/>
                    <a:pt x="12" y="17"/>
                    <a:pt x="13" y="16"/>
                  </a:cubicBezTo>
                  <a:cubicBezTo>
                    <a:pt x="14" y="15"/>
                    <a:pt x="12" y="12"/>
                    <a:pt x="13" y="11"/>
                  </a:cubicBezTo>
                  <a:cubicBezTo>
                    <a:pt x="13" y="11"/>
                    <a:pt x="14" y="11"/>
                    <a:pt x="15" y="11"/>
                  </a:cubicBezTo>
                  <a:cubicBezTo>
                    <a:pt x="16" y="9"/>
                    <a:pt x="9" y="6"/>
                    <a:pt x="8" y="5"/>
                  </a:cubicBezTo>
                  <a:lnTo>
                    <a:pt x="11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1" name="Freeform 82">
              <a:extLst>
                <a:ext uri="{FF2B5EF4-FFF2-40B4-BE49-F238E27FC236}">
                  <a16:creationId xmlns:a16="http://schemas.microsoft.com/office/drawing/2014/main" id="{67045F80-E1EE-42D2-AA50-036AE7A7E1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6738" y="3063875"/>
              <a:ext cx="14288" cy="26988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3" y="2"/>
                </a:cxn>
                <a:cxn ang="0">
                  <a:pos x="1" y="6"/>
                </a:cxn>
                <a:cxn ang="0">
                  <a:pos x="0" y="11"/>
                </a:cxn>
                <a:cxn ang="0">
                  <a:pos x="5" y="12"/>
                </a:cxn>
                <a:cxn ang="0">
                  <a:pos x="4" y="5"/>
                </a:cxn>
                <a:cxn ang="0">
                  <a:pos x="5" y="0"/>
                </a:cxn>
                <a:cxn ang="0">
                  <a:pos x="6" y="3"/>
                </a:cxn>
              </a:cxnLst>
              <a:rect l="0" t="0" r="r" b="b"/>
              <a:pathLst>
                <a:path w="8" h="15">
                  <a:moveTo>
                    <a:pt x="6" y="3"/>
                  </a:moveTo>
                  <a:cubicBezTo>
                    <a:pt x="6" y="2"/>
                    <a:pt x="4" y="2"/>
                    <a:pt x="3" y="2"/>
                  </a:cubicBezTo>
                  <a:cubicBezTo>
                    <a:pt x="2" y="3"/>
                    <a:pt x="1" y="4"/>
                    <a:pt x="1" y="6"/>
                  </a:cubicBezTo>
                  <a:cubicBezTo>
                    <a:pt x="1" y="7"/>
                    <a:pt x="0" y="9"/>
                    <a:pt x="0" y="11"/>
                  </a:cubicBezTo>
                  <a:cubicBezTo>
                    <a:pt x="0" y="14"/>
                    <a:pt x="4" y="15"/>
                    <a:pt x="5" y="12"/>
                  </a:cubicBezTo>
                  <a:cubicBezTo>
                    <a:pt x="6" y="9"/>
                    <a:pt x="3" y="7"/>
                    <a:pt x="4" y="5"/>
                  </a:cubicBezTo>
                  <a:cubicBezTo>
                    <a:pt x="8" y="4"/>
                    <a:pt x="7" y="3"/>
                    <a:pt x="5" y="0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2" name="Freeform 83">
              <a:extLst>
                <a:ext uri="{FF2B5EF4-FFF2-40B4-BE49-F238E27FC236}">
                  <a16:creationId xmlns:a16="http://schemas.microsoft.com/office/drawing/2014/main" id="{E6214714-CB4C-42CB-BA41-DF52A86275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8825" y="2697163"/>
              <a:ext cx="28575" cy="60325"/>
            </a:xfrm>
            <a:custGeom>
              <a:avLst/>
              <a:gdLst/>
              <a:ahLst/>
              <a:cxnLst>
                <a:cxn ang="0">
                  <a:pos x="11" y="5"/>
                </a:cxn>
                <a:cxn ang="0">
                  <a:pos x="10" y="1"/>
                </a:cxn>
                <a:cxn ang="0">
                  <a:pos x="1" y="8"/>
                </a:cxn>
                <a:cxn ang="0">
                  <a:pos x="3" y="11"/>
                </a:cxn>
                <a:cxn ang="0">
                  <a:pos x="1" y="14"/>
                </a:cxn>
                <a:cxn ang="0">
                  <a:pos x="2" y="21"/>
                </a:cxn>
                <a:cxn ang="0">
                  <a:pos x="3" y="27"/>
                </a:cxn>
                <a:cxn ang="0">
                  <a:pos x="4" y="29"/>
                </a:cxn>
                <a:cxn ang="0">
                  <a:pos x="8" y="32"/>
                </a:cxn>
                <a:cxn ang="0">
                  <a:pos x="11" y="29"/>
                </a:cxn>
                <a:cxn ang="0">
                  <a:pos x="11" y="24"/>
                </a:cxn>
                <a:cxn ang="0">
                  <a:pos x="12" y="20"/>
                </a:cxn>
                <a:cxn ang="0">
                  <a:pos x="11" y="16"/>
                </a:cxn>
                <a:cxn ang="0">
                  <a:pos x="10" y="12"/>
                </a:cxn>
                <a:cxn ang="0">
                  <a:pos x="14" y="6"/>
                </a:cxn>
                <a:cxn ang="0">
                  <a:pos x="9" y="1"/>
                </a:cxn>
                <a:cxn ang="0">
                  <a:pos x="11" y="5"/>
                </a:cxn>
              </a:cxnLst>
              <a:rect l="0" t="0" r="r" b="b"/>
              <a:pathLst>
                <a:path w="15" h="32">
                  <a:moveTo>
                    <a:pt x="11" y="5"/>
                  </a:moveTo>
                  <a:cubicBezTo>
                    <a:pt x="13" y="4"/>
                    <a:pt x="12" y="2"/>
                    <a:pt x="10" y="1"/>
                  </a:cubicBezTo>
                  <a:cubicBezTo>
                    <a:pt x="6" y="0"/>
                    <a:pt x="1" y="4"/>
                    <a:pt x="1" y="8"/>
                  </a:cubicBezTo>
                  <a:cubicBezTo>
                    <a:pt x="0" y="10"/>
                    <a:pt x="2" y="9"/>
                    <a:pt x="3" y="11"/>
                  </a:cubicBezTo>
                  <a:cubicBezTo>
                    <a:pt x="3" y="12"/>
                    <a:pt x="2" y="14"/>
                    <a:pt x="1" y="14"/>
                  </a:cubicBezTo>
                  <a:cubicBezTo>
                    <a:pt x="0" y="16"/>
                    <a:pt x="1" y="19"/>
                    <a:pt x="2" y="21"/>
                  </a:cubicBezTo>
                  <a:cubicBezTo>
                    <a:pt x="2" y="23"/>
                    <a:pt x="3" y="25"/>
                    <a:pt x="3" y="27"/>
                  </a:cubicBezTo>
                  <a:cubicBezTo>
                    <a:pt x="4" y="29"/>
                    <a:pt x="3" y="28"/>
                    <a:pt x="4" y="29"/>
                  </a:cubicBezTo>
                  <a:cubicBezTo>
                    <a:pt x="5" y="30"/>
                    <a:pt x="7" y="31"/>
                    <a:pt x="8" y="32"/>
                  </a:cubicBezTo>
                  <a:cubicBezTo>
                    <a:pt x="10" y="32"/>
                    <a:pt x="10" y="31"/>
                    <a:pt x="11" y="29"/>
                  </a:cubicBezTo>
                  <a:cubicBezTo>
                    <a:pt x="11" y="27"/>
                    <a:pt x="11" y="25"/>
                    <a:pt x="11" y="24"/>
                  </a:cubicBezTo>
                  <a:cubicBezTo>
                    <a:pt x="11" y="23"/>
                    <a:pt x="12" y="22"/>
                    <a:pt x="12" y="20"/>
                  </a:cubicBezTo>
                  <a:cubicBezTo>
                    <a:pt x="12" y="18"/>
                    <a:pt x="12" y="17"/>
                    <a:pt x="11" y="16"/>
                  </a:cubicBezTo>
                  <a:cubicBezTo>
                    <a:pt x="11" y="15"/>
                    <a:pt x="10" y="13"/>
                    <a:pt x="10" y="12"/>
                  </a:cubicBezTo>
                  <a:cubicBezTo>
                    <a:pt x="10" y="10"/>
                    <a:pt x="13" y="8"/>
                    <a:pt x="14" y="6"/>
                  </a:cubicBezTo>
                  <a:cubicBezTo>
                    <a:pt x="15" y="3"/>
                    <a:pt x="10" y="3"/>
                    <a:pt x="9" y="1"/>
                  </a:cubicBezTo>
                  <a:lnTo>
                    <a:pt x="11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3" name="Freeform 84">
              <a:extLst>
                <a:ext uri="{FF2B5EF4-FFF2-40B4-BE49-F238E27FC236}">
                  <a16:creationId xmlns:a16="http://schemas.microsoft.com/office/drawing/2014/main" id="{A834F0E3-EE47-445D-9CFA-CAFE6516F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575" y="2724150"/>
              <a:ext cx="11113" cy="1270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5" y="6"/>
                </a:cxn>
                <a:cxn ang="0">
                  <a:pos x="3" y="7"/>
                </a:cxn>
                <a:cxn ang="0">
                  <a:pos x="1" y="5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6" y="0"/>
                    <a:pt x="6" y="4"/>
                    <a:pt x="5" y="6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2" y="7"/>
                    <a:pt x="1" y="6"/>
                    <a:pt x="1" y="5"/>
                  </a:cubicBezTo>
                  <a:cubicBezTo>
                    <a:pt x="0" y="3"/>
                    <a:pt x="2" y="0"/>
                    <a:pt x="5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4" name="Freeform 85">
              <a:extLst>
                <a:ext uri="{FF2B5EF4-FFF2-40B4-BE49-F238E27FC236}">
                  <a16:creationId xmlns:a16="http://schemas.microsoft.com/office/drawing/2014/main" id="{BAB23251-92B3-44AF-986E-417C097F9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8025" y="2706688"/>
              <a:ext cx="82550" cy="173038"/>
            </a:xfrm>
            <a:custGeom>
              <a:avLst/>
              <a:gdLst/>
              <a:ahLst/>
              <a:cxnLst>
                <a:cxn ang="0">
                  <a:pos x="36" y="35"/>
                </a:cxn>
                <a:cxn ang="0">
                  <a:pos x="44" y="37"/>
                </a:cxn>
                <a:cxn ang="0">
                  <a:pos x="41" y="34"/>
                </a:cxn>
                <a:cxn ang="0">
                  <a:pos x="33" y="33"/>
                </a:cxn>
                <a:cxn ang="0">
                  <a:pos x="30" y="32"/>
                </a:cxn>
                <a:cxn ang="0">
                  <a:pos x="28" y="26"/>
                </a:cxn>
                <a:cxn ang="0">
                  <a:pos x="20" y="26"/>
                </a:cxn>
                <a:cxn ang="0">
                  <a:pos x="20" y="16"/>
                </a:cxn>
                <a:cxn ang="0">
                  <a:pos x="21" y="12"/>
                </a:cxn>
                <a:cxn ang="0">
                  <a:pos x="6" y="20"/>
                </a:cxn>
                <a:cxn ang="0">
                  <a:pos x="9" y="25"/>
                </a:cxn>
                <a:cxn ang="0">
                  <a:pos x="12" y="28"/>
                </a:cxn>
                <a:cxn ang="0">
                  <a:pos x="13" y="32"/>
                </a:cxn>
                <a:cxn ang="0">
                  <a:pos x="16" y="36"/>
                </a:cxn>
                <a:cxn ang="0">
                  <a:pos x="13" y="41"/>
                </a:cxn>
                <a:cxn ang="0">
                  <a:pos x="11" y="44"/>
                </a:cxn>
                <a:cxn ang="0">
                  <a:pos x="4" y="41"/>
                </a:cxn>
                <a:cxn ang="0">
                  <a:pos x="0" y="44"/>
                </a:cxn>
                <a:cxn ang="0">
                  <a:pos x="3" y="48"/>
                </a:cxn>
                <a:cxn ang="0">
                  <a:pos x="6" y="54"/>
                </a:cxn>
                <a:cxn ang="0">
                  <a:pos x="21" y="54"/>
                </a:cxn>
                <a:cxn ang="0">
                  <a:pos x="21" y="67"/>
                </a:cxn>
                <a:cxn ang="0">
                  <a:pos x="20" y="80"/>
                </a:cxn>
                <a:cxn ang="0">
                  <a:pos x="20" y="92"/>
                </a:cxn>
                <a:cxn ang="0">
                  <a:pos x="25" y="82"/>
                </a:cxn>
                <a:cxn ang="0">
                  <a:pos x="28" y="68"/>
                </a:cxn>
                <a:cxn ang="0">
                  <a:pos x="30" y="61"/>
                </a:cxn>
                <a:cxn ang="0">
                  <a:pos x="36" y="62"/>
                </a:cxn>
                <a:cxn ang="0">
                  <a:pos x="33" y="58"/>
                </a:cxn>
                <a:cxn ang="0">
                  <a:pos x="29" y="52"/>
                </a:cxn>
                <a:cxn ang="0">
                  <a:pos x="34" y="44"/>
                </a:cxn>
                <a:cxn ang="0">
                  <a:pos x="33" y="38"/>
                </a:cxn>
                <a:cxn ang="0">
                  <a:pos x="37" y="34"/>
                </a:cxn>
              </a:cxnLst>
              <a:rect l="0" t="0" r="r" b="b"/>
              <a:pathLst>
                <a:path w="44" h="93">
                  <a:moveTo>
                    <a:pt x="37" y="34"/>
                  </a:moveTo>
                  <a:cubicBezTo>
                    <a:pt x="37" y="35"/>
                    <a:pt x="37" y="35"/>
                    <a:pt x="36" y="35"/>
                  </a:cubicBezTo>
                  <a:cubicBezTo>
                    <a:pt x="36" y="35"/>
                    <a:pt x="36" y="37"/>
                    <a:pt x="36" y="38"/>
                  </a:cubicBezTo>
                  <a:cubicBezTo>
                    <a:pt x="38" y="38"/>
                    <a:pt x="43" y="39"/>
                    <a:pt x="44" y="37"/>
                  </a:cubicBezTo>
                  <a:cubicBezTo>
                    <a:pt x="43" y="37"/>
                    <a:pt x="42" y="37"/>
                    <a:pt x="42" y="36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0" y="33"/>
                    <a:pt x="35" y="32"/>
                    <a:pt x="35" y="35"/>
                  </a:cubicBezTo>
                  <a:cubicBezTo>
                    <a:pt x="34" y="35"/>
                    <a:pt x="33" y="34"/>
                    <a:pt x="33" y="33"/>
                  </a:cubicBezTo>
                  <a:cubicBezTo>
                    <a:pt x="32" y="32"/>
                    <a:pt x="33" y="32"/>
                    <a:pt x="33" y="31"/>
                  </a:cubicBezTo>
                  <a:cubicBezTo>
                    <a:pt x="32" y="31"/>
                    <a:pt x="29" y="30"/>
                    <a:pt x="30" y="32"/>
                  </a:cubicBezTo>
                  <a:cubicBezTo>
                    <a:pt x="30" y="31"/>
                    <a:pt x="30" y="30"/>
                    <a:pt x="30" y="29"/>
                  </a:cubicBezTo>
                  <a:cubicBezTo>
                    <a:pt x="30" y="27"/>
                    <a:pt x="30" y="27"/>
                    <a:pt x="28" y="26"/>
                  </a:cubicBezTo>
                  <a:cubicBezTo>
                    <a:pt x="24" y="25"/>
                    <a:pt x="22" y="25"/>
                    <a:pt x="22" y="30"/>
                  </a:cubicBezTo>
                  <a:cubicBezTo>
                    <a:pt x="22" y="28"/>
                    <a:pt x="20" y="27"/>
                    <a:pt x="20" y="26"/>
                  </a:cubicBezTo>
                  <a:cubicBezTo>
                    <a:pt x="19" y="25"/>
                    <a:pt x="20" y="22"/>
                    <a:pt x="20" y="21"/>
                  </a:cubicBezTo>
                  <a:cubicBezTo>
                    <a:pt x="20" y="19"/>
                    <a:pt x="19" y="18"/>
                    <a:pt x="20" y="16"/>
                  </a:cubicBezTo>
                  <a:cubicBezTo>
                    <a:pt x="20" y="16"/>
                    <a:pt x="20" y="16"/>
                    <a:pt x="21" y="15"/>
                  </a:cubicBezTo>
                  <a:cubicBezTo>
                    <a:pt x="21" y="14"/>
                    <a:pt x="21" y="13"/>
                    <a:pt x="21" y="12"/>
                  </a:cubicBezTo>
                  <a:cubicBezTo>
                    <a:pt x="21" y="0"/>
                    <a:pt x="8" y="20"/>
                    <a:pt x="10" y="21"/>
                  </a:cubicBezTo>
                  <a:cubicBezTo>
                    <a:pt x="9" y="21"/>
                    <a:pt x="7" y="20"/>
                    <a:pt x="6" y="20"/>
                  </a:cubicBezTo>
                  <a:cubicBezTo>
                    <a:pt x="6" y="21"/>
                    <a:pt x="6" y="22"/>
                    <a:pt x="6" y="22"/>
                  </a:cubicBezTo>
                  <a:cubicBezTo>
                    <a:pt x="6" y="24"/>
                    <a:pt x="8" y="24"/>
                    <a:pt x="9" y="25"/>
                  </a:cubicBezTo>
                  <a:cubicBezTo>
                    <a:pt x="9" y="25"/>
                    <a:pt x="8" y="26"/>
                    <a:pt x="9" y="26"/>
                  </a:cubicBezTo>
                  <a:cubicBezTo>
                    <a:pt x="10" y="28"/>
                    <a:pt x="10" y="27"/>
                    <a:pt x="12" y="28"/>
                  </a:cubicBezTo>
                  <a:cubicBezTo>
                    <a:pt x="14" y="28"/>
                    <a:pt x="13" y="28"/>
                    <a:pt x="14" y="29"/>
                  </a:cubicBezTo>
                  <a:cubicBezTo>
                    <a:pt x="14" y="30"/>
                    <a:pt x="13" y="31"/>
                    <a:pt x="13" y="32"/>
                  </a:cubicBezTo>
                  <a:cubicBezTo>
                    <a:pt x="14" y="33"/>
                    <a:pt x="14" y="33"/>
                    <a:pt x="15" y="35"/>
                  </a:cubicBezTo>
                  <a:cubicBezTo>
                    <a:pt x="16" y="35"/>
                    <a:pt x="16" y="35"/>
                    <a:pt x="16" y="36"/>
                  </a:cubicBezTo>
                  <a:cubicBezTo>
                    <a:pt x="15" y="36"/>
                    <a:pt x="12" y="35"/>
                    <a:pt x="11" y="36"/>
                  </a:cubicBezTo>
                  <a:cubicBezTo>
                    <a:pt x="11" y="37"/>
                    <a:pt x="12" y="40"/>
                    <a:pt x="13" y="41"/>
                  </a:cubicBezTo>
                  <a:cubicBezTo>
                    <a:pt x="12" y="42"/>
                    <a:pt x="11" y="41"/>
                    <a:pt x="11" y="42"/>
                  </a:cubicBezTo>
                  <a:cubicBezTo>
                    <a:pt x="10" y="42"/>
                    <a:pt x="11" y="43"/>
                    <a:pt x="11" y="44"/>
                  </a:cubicBezTo>
                  <a:cubicBezTo>
                    <a:pt x="9" y="44"/>
                    <a:pt x="6" y="45"/>
                    <a:pt x="5" y="44"/>
                  </a:cubicBezTo>
                  <a:cubicBezTo>
                    <a:pt x="3" y="44"/>
                    <a:pt x="4" y="43"/>
                    <a:pt x="4" y="41"/>
                  </a:cubicBezTo>
                  <a:cubicBezTo>
                    <a:pt x="4" y="40"/>
                    <a:pt x="2" y="38"/>
                    <a:pt x="0" y="40"/>
                  </a:cubicBezTo>
                  <a:cubicBezTo>
                    <a:pt x="0" y="40"/>
                    <a:pt x="0" y="43"/>
                    <a:pt x="0" y="44"/>
                  </a:cubicBezTo>
                  <a:cubicBezTo>
                    <a:pt x="0" y="45"/>
                    <a:pt x="0" y="47"/>
                    <a:pt x="0" y="47"/>
                  </a:cubicBezTo>
                  <a:cubicBezTo>
                    <a:pt x="1" y="48"/>
                    <a:pt x="2" y="47"/>
                    <a:pt x="3" y="48"/>
                  </a:cubicBezTo>
                  <a:cubicBezTo>
                    <a:pt x="5" y="49"/>
                    <a:pt x="4" y="50"/>
                    <a:pt x="4" y="51"/>
                  </a:cubicBezTo>
                  <a:cubicBezTo>
                    <a:pt x="4" y="52"/>
                    <a:pt x="5" y="53"/>
                    <a:pt x="6" y="54"/>
                  </a:cubicBezTo>
                  <a:cubicBezTo>
                    <a:pt x="9" y="56"/>
                    <a:pt x="11" y="54"/>
                    <a:pt x="14" y="55"/>
                  </a:cubicBezTo>
                  <a:cubicBezTo>
                    <a:pt x="14" y="60"/>
                    <a:pt x="20" y="57"/>
                    <a:pt x="21" y="54"/>
                  </a:cubicBezTo>
                  <a:cubicBezTo>
                    <a:pt x="21" y="57"/>
                    <a:pt x="20" y="60"/>
                    <a:pt x="20" y="63"/>
                  </a:cubicBezTo>
                  <a:cubicBezTo>
                    <a:pt x="20" y="64"/>
                    <a:pt x="21" y="66"/>
                    <a:pt x="21" y="67"/>
                  </a:cubicBezTo>
                  <a:cubicBezTo>
                    <a:pt x="20" y="69"/>
                    <a:pt x="18" y="70"/>
                    <a:pt x="17" y="72"/>
                  </a:cubicBezTo>
                  <a:cubicBezTo>
                    <a:pt x="17" y="76"/>
                    <a:pt x="20" y="77"/>
                    <a:pt x="20" y="80"/>
                  </a:cubicBezTo>
                  <a:cubicBezTo>
                    <a:pt x="19" y="83"/>
                    <a:pt x="19" y="86"/>
                    <a:pt x="19" y="89"/>
                  </a:cubicBezTo>
                  <a:cubicBezTo>
                    <a:pt x="19" y="90"/>
                    <a:pt x="19" y="91"/>
                    <a:pt x="20" y="92"/>
                  </a:cubicBezTo>
                  <a:cubicBezTo>
                    <a:pt x="21" y="93"/>
                    <a:pt x="22" y="92"/>
                    <a:pt x="23" y="91"/>
                  </a:cubicBezTo>
                  <a:cubicBezTo>
                    <a:pt x="25" y="88"/>
                    <a:pt x="26" y="86"/>
                    <a:pt x="25" y="82"/>
                  </a:cubicBezTo>
                  <a:cubicBezTo>
                    <a:pt x="24" y="80"/>
                    <a:pt x="25" y="78"/>
                    <a:pt x="25" y="76"/>
                  </a:cubicBezTo>
                  <a:cubicBezTo>
                    <a:pt x="25" y="73"/>
                    <a:pt x="25" y="70"/>
                    <a:pt x="28" y="68"/>
                  </a:cubicBezTo>
                  <a:cubicBezTo>
                    <a:pt x="29" y="68"/>
                    <a:pt x="31" y="67"/>
                    <a:pt x="31" y="65"/>
                  </a:cubicBezTo>
                  <a:cubicBezTo>
                    <a:pt x="30" y="64"/>
                    <a:pt x="29" y="63"/>
                    <a:pt x="30" y="61"/>
                  </a:cubicBezTo>
                  <a:cubicBezTo>
                    <a:pt x="32" y="61"/>
                    <a:pt x="31" y="63"/>
                    <a:pt x="32" y="64"/>
                  </a:cubicBezTo>
                  <a:cubicBezTo>
                    <a:pt x="33" y="65"/>
                    <a:pt x="35" y="63"/>
                    <a:pt x="36" y="62"/>
                  </a:cubicBezTo>
                  <a:cubicBezTo>
                    <a:pt x="37" y="60"/>
                    <a:pt x="39" y="58"/>
                    <a:pt x="37" y="57"/>
                  </a:cubicBezTo>
                  <a:cubicBezTo>
                    <a:pt x="36" y="56"/>
                    <a:pt x="33" y="56"/>
                    <a:pt x="33" y="58"/>
                  </a:cubicBezTo>
                  <a:cubicBezTo>
                    <a:pt x="32" y="58"/>
                    <a:pt x="32" y="57"/>
                    <a:pt x="31" y="56"/>
                  </a:cubicBezTo>
                  <a:cubicBezTo>
                    <a:pt x="31" y="55"/>
                    <a:pt x="28" y="53"/>
                    <a:pt x="29" y="52"/>
                  </a:cubicBezTo>
                  <a:cubicBezTo>
                    <a:pt x="31" y="51"/>
                    <a:pt x="34" y="52"/>
                    <a:pt x="36" y="50"/>
                  </a:cubicBezTo>
                  <a:cubicBezTo>
                    <a:pt x="37" y="48"/>
                    <a:pt x="33" y="46"/>
                    <a:pt x="34" y="44"/>
                  </a:cubicBezTo>
                  <a:cubicBezTo>
                    <a:pt x="34" y="43"/>
                    <a:pt x="34" y="43"/>
                    <a:pt x="34" y="42"/>
                  </a:cubicBezTo>
                  <a:cubicBezTo>
                    <a:pt x="35" y="40"/>
                    <a:pt x="34" y="39"/>
                    <a:pt x="33" y="38"/>
                  </a:cubicBezTo>
                  <a:cubicBezTo>
                    <a:pt x="33" y="38"/>
                    <a:pt x="34" y="37"/>
                    <a:pt x="35" y="37"/>
                  </a:cubicBezTo>
                  <a:lnTo>
                    <a:pt x="37" y="34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5" name="Freeform 86">
              <a:extLst>
                <a:ext uri="{FF2B5EF4-FFF2-40B4-BE49-F238E27FC236}">
                  <a16:creationId xmlns:a16="http://schemas.microsoft.com/office/drawing/2014/main" id="{7BE3853E-F13C-4290-83D1-693522673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813" y="2676525"/>
              <a:ext cx="20638" cy="39688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1" y="11"/>
                </a:cxn>
                <a:cxn ang="0">
                  <a:pos x="1" y="18"/>
                </a:cxn>
                <a:cxn ang="0">
                  <a:pos x="8" y="15"/>
                </a:cxn>
                <a:cxn ang="0">
                  <a:pos x="9" y="0"/>
                </a:cxn>
                <a:cxn ang="0">
                  <a:pos x="9" y="2"/>
                </a:cxn>
              </a:cxnLst>
              <a:rect l="0" t="0" r="r" b="b"/>
              <a:pathLst>
                <a:path w="11" h="21">
                  <a:moveTo>
                    <a:pt x="9" y="2"/>
                  </a:moveTo>
                  <a:cubicBezTo>
                    <a:pt x="4" y="2"/>
                    <a:pt x="1" y="7"/>
                    <a:pt x="1" y="11"/>
                  </a:cubicBezTo>
                  <a:cubicBezTo>
                    <a:pt x="1" y="13"/>
                    <a:pt x="0" y="17"/>
                    <a:pt x="1" y="18"/>
                  </a:cubicBezTo>
                  <a:cubicBezTo>
                    <a:pt x="3" y="21"/>
                    <a:pt x="7" y="17"/>
                    <a:pt x="8" y="15"/>
                  </a:cubicBezTo>
                  <a:cubicBezTo>
                    <a:pt x="10" y="11"/>
                    <a:pt x="11" y="6"/>
                    <a:pt x="9" y="0"/>
                  </a:cubicBezTo>
                  <a:lnTo>
                    <a:pt x="9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6" name="Line 87">
              <a:extLst>
                <a:ext uri="{FF2B5EF4-FFF2-40B4-BE49-F238E27FC236}">
                  <a16:creationId xmlns:a16="http://schemas.microsoft.com/office/drawing/2014/main" id="{3DADC51B-25A5-43AF-AED5-F0086B7660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7" name="Line 88">
              <a:extLst>
                <a:ext uri="{FF2B5EF4-FFF2-40B4-BE49-F238E27FC236}">
                  <a16:creationId xmlns:a16="http://schemas.microsoft.com/office/drawing/2014/main" id="{B4970987-B77E-4AE7-8D5B-D8840B967E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8" name="Freeform 89">
              <a:extLst>
                <a:ext uri="{FF2B5EF4-FFF2-40B4-BE49-F238E27FC236}">
                  <a16:creationId xmlns:a16="http://schemas.microsoft.com/office/drawing/2014/main" id="{0281CDEB-A724-4633-B310-B1C2BA3D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8738" y="3735388"/>
              <a:ext cx="263525" cy="222250"/>
            </a:xfrm>
            <a:custGeom>
              <a:avLst/>
              <a:gdLst/>
              <a:ahLst/>
              <a:cxnLst>
                <a:cxn ang="0">
                  <a:pos x="140" y="68"/>
                </a:cxn>
                <a:cxn ang="0">
                  <a:pos x="135" y="48"/>
                </a:cxn>
                <a:cxn ang="0">
                  <a:pos x="127" y="45"/>
                </a:cxn>
                <a:cxn ang="0">
                  <a:pos x="118" y="42"/>
                </a:cxn>
                <a:cxn ang="0">
                  <a:pos x="107" y="16"/>
                </a:cxn>
                <a:cxn ang="0">
                  <a:pos x="90" y="6"/>
                </a:cxn>
                <a:cxn ang="0">
                  <a:pos x="78" y="1"/>
                </a:cxn>
                <a:cxn ang="0">
                  <a:pos x="73" y="0"/>
                </a:cxn>
                <a:cxn ang="0">
                  <a:pos x="61" y="6"/>
                </a:cxn>
                <a:cxn ang="0">
                  <a:pos x="58" y="13"/>
                </a:cxn>
                <a:cxn ang="0">
                  <a:pos x="55" y="16"/>
                </a:cxn>
                <a:cxn ang="0">
                  <a:pos x="50" y="21"/>
                </a:cxn>
                <a:cxn ang="0">
                  <a:pos x="41" y="26"/>
                </a:cxn>
                <a:cxn ang="0">
                  <a:pos x="35" y="36"/>
                </a:cxn>
                <a:cxn ang="0">
                  <a:pos x="31" y="44"/>
                </a:cxn>
                <a:cxn ang="0">
                  <a:pos x="24" y="53"/>
                </a:cxn>
                <a:cxn ang="0">
                  <a:pos x="11" y="55"/>
                </a:cxn>
                <a:cxn ang="0">
                  <a:pos x="11" y="61"/>
                </a:cxn>
                <a:cxn ang="0">
                  <a:pos x="19" y="63"/>
                </a:cxn>
                <a:cxn ang="0">
                  <a:pos x="14" y="68"/>
                </a:cxn>
                <a:cxn ang="0">
                  <a:pos x="3" y="76"/>
                </a:cxn>
                <a:cxn ang="0">
                  <a:pos x="1" y="86"/>
                </a:cxn>
                <a:cxn ang="0">
                  <a:pos x="6" y="90"/>
                </a:cxn>
                <a:cxn ang="0">
                  <a:pos x="7" y="94"/>
                </a:cxn>
                <a:cxn ang="0">
                  <a:pos x="11" y="100"/>
                </a:cxn>
                <a:cxn ang="0">
                  <a:pos x="22" y="103"/>
                </a:cxn>
                <a:cxn ang="0">
                  <a:pos x="25" y="106"/>
                </a:cxn>
                <a:cxn ang="0">
                  <a:pos x="35" y="109"/>
                </a:cxn>
                <a:cxn ang="0">
                  <a:pos x="42" y="104"/>
                </a:cxn>
                <a:cxn ang="0">
                  <a:pos x="49" y="97"/>
                </a:cxn>
                <a:cxn ang="0">
                  <a:pos x="50" y="89"/>
                </a:cxn>
                <a:cxn ang="0">
                  <a:pos x="58" y="84"/>
                </a:cxn>
                <a:cxn ang="0">
                  <a:pos x="66" y="95"/>
                </a:cxn>
                <a:cxn ang="0">
                  <a:pos x="71" y="102"/>
                </a:cxn>
                <a:cxn ang="0">
                  <a:pos x="76" y="113"/>
                </a:cxn>
                <a:cxn ang="0">
                  <a:pos x="85" y="116"/>
                </a:cxn>
                <a:cxn ang="0">
                  <a:pos x="89" y="113"/>
                </a:cxn>
                <a:cxn ang="0">
                  <a:pos x="95" y="112"/>
                </a:cxn>
                <a:cxn ang="0">
                  <a:pos x="104" y="116"/>
                </a:cxn>
                <a:cxn ang="0">
                  <a:pos x="110" y="117"/>
                </a:cxn>
                <a:cxn ang="0">
                  <a:pos x="117" y="99"/>
                </a:cxn>
                <a:cxn ang="0">
                  <a:pos x="132" y="94"/>
                </a:cxn>
                <a:cxn ang="0">
                  <a:pos x="140" y="77"/>
                </a:cxn>
              </a:cxnLst>
              <a:rect l="0" t="0" r="r" b="b"/>
              <a:pathLst>
                <a:path w="141" h="119">
                  <a:moveTo>
                    <a:pt x="140" y="77"/>
                  </a:moveTo>
                  <a:cubicBezTo>
                    <a:pt x="140" y="74"/>
                    <a:pt x="141" y="71"/>
                    <a:pt x="140" y="68"/>
                  </a:cubicBezTo>
                  <a:cubicBezTo>
                    <a:pt x="139" y="65"/>
                    <a:pt x="135" y="62"/>
                    <a:pt x="133" y="62"/>
                  </a:cubicBezTo>
                  <a:cubicBezTo>
                    <a:pt x="132" y="57"/>
                    <a:pt x="137" y="53"/>
                    <a:pt x="135" y="48"/>
                  </a:cubicBezTo>
                  <a:cubicBezTo>
                    <a:pt x="134" y="48"/>
                    <a:pt x="132" y="48"/>
                    <a:pt x="131" y="47"/>
                  </a:cubicBezTo>
                  <a:cubicBezTo>
                    <a:pt x="128" y="46"/>
                    <a:pt x="129" y="47"/>
                    <a:pt x="127" y="45"/>
                  </a:cubicBezTo>
                  <a:cubicBezTo>
                    <a:pt x="126" y="43"/>
                    <a:pt x="125" y="41"/>
                    <a:pt x="122" y="41"/>
                  </a:cubicBezTo>
                  <a:cubicBezTo>
                    <a:pt x="120" y="41"/>
                    <a:pt x="120" y="43"/>
                    <a:pt x="118" y="42"/>
                  </a:cubicBezTo>
                  <a:cubicBezTo>
                    <a:pt x="118" y="38"/>
                    <a:pt x="114" y="34"/>
                    <a:pt x="112" y="30"/>
                  </a:cubicBezTo>
                  <a:cubicBezTo>
                    <a:pt x="109" y="25"/>
                    <a:pt x="107" y="22"/>
                    <a:pt x="107" y="16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06" y="6"/>
                    <a:pt x="97" y="5"/>
                    <a:pt x="90" y="6"/>
                  </a:cubicBezTo>
                  <a:cubicBezTo>
                    <a:pt x="86" y="6"/>
                    <a:pt x="85" y="8"/>
                    <a:pt x="82" y="8"/>
                  </a:cubicBezTo>
                  <a:cubicBezTo>
                    <a:pt x="77" y="9"/>
                    <a:pt x="78" y="4"/>
                    <a:pt x="78" y="1"/>
                  </a:cubicBezTo>
                  <a:cubicBezTo>
                    <a:pt x="76" y="0"/>
                    <a:pt x="75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2"/>
                    <a:pt x="68" y="2"/>
                    <a:pt x="66" y="3"/>
                  </a:cubicBezTo>
                  <a:cubicBezTo>
                    <a:pt x="64" y="3"/>
                    <a:pt x="63" y="5"/>
                    <a:pt x="61" y="6"/>
                  </a:cubicBezTo>
                  <a:cubicBezTo>
                    <a:pt x="60" y="7"/>
                    <a:pt x="58" y="9"/>
                    <a:pt x="58" y="10"/>
                  </a:cubicBezTo>
                  <a:cubicBezTo>
                    <a:pt x="58" y="11"/>
                    <a:pt x="58" y="12"/>
                    <a:pt x="58" y="13"/>
                  </a:cubicBezTo>
                  <a:cubicBezTo>
                    <a:pt x="57" y="13"/>
                    <a:pt x="57" y="13"/>
                    <a:pt x="56" y="13"/>
                  </a:cubicBezTo>
                  <a:cubicBezTo>
                    <a:pt x="56" y="14"/>
                    <a:pt x="56" y="15"/>
                    <a:pt x="55" y="16"/>
                  </a:cubicBezTo>
                  <a:cubicBezTo>
                    <a:pt x="55" y="16"/>
                    <a:pt x="54" y="18"/>
                    <a:pt x="54" y="18"/>
                  </a:cubicBezTo>
                  <a:cubicBezTo>
                    <a:pt x="53" y="19"/>
                    <a:pt x="51" y="20"/>
                    <a:pt x="50" y="21"/>
                  </a:cubicBezTo>
                  <a:cubicBezTo>
                    <a:pt x="48" y="22"/>
                    <a:pt x="48" y="23"/>
                    <a:pt x="46" y="23"/>
                  </a:cubicBezTo>
                  <a:cubicBezTo>
                    <a:pt x="43" y="24"/>
                    <a:pt x="42" y="22"/>
                    <a:pt x="41" y="26"/>
                  </a:cubicBezTo>
                  <a:cubicBezTo>
                    <a:pt x="41" y="29"/>
                    <a:pt x="40" y="29"/>
                    <a:pt x="38" y="31"/>
                  </a:cubicBezTo>
                  <a:cubicBezTo>
                    <a:pt x="37" y="33"/>
                    <a:pt x="36" y="34"/>
                    <a:pt x="35" y="36"/>
                  </a:cubicBezTo>
                  <a:cubicBezTo>
                    <a:pt x="34" y="38"/>
                    <a:pt x="34" y="40"/>
                    <a:pt x="33" y="41"/>
                  </a:cubicBezTo>
                  <a:cubicBezTo>
                    <a:pt x="33" y="43"/>
                    <a:pt x="32" y="43"/>
                    <a:pt x="31" y="44"/>
                  </a:cubicBezTo>
                  <a:cubicBezTo>
                    <a:pt x="29" y="46"/>
                    <a:pt x="28" y="49"/>
                    <a:pt x="28" y="51"/>
                  </a:cubicBezTo>
                  <a:cubicBezTo>
                    <a:pt x="27" y="53"/>
                    <a:pt x="27" y="53"/>
                    <a:pt x="24" y="53"/>
                  </a:cubicBezTo>
                  <a:cubicBezTo>
                    <a:pt x="22" y="53"/>
                    <a:pt x="20" y="53"/>
                    <a:pt x="17" y="53"/>
                  </a:cubicBezTo>
                  <a:cubicBezTo>
                    <a:pt x="15" y="53"/>
                    <a:pt x="12" y="53"/>
                    <a:pt x="11" y="55"/>
                  </a:cubicBezTo>
                  <a:cubicBezTo>
                    <a:pt x="11" y="56"/>
                    <a:pt x="10" y="58"/>
                    <a:pt x="10" y="59"/>
                  </a:cubicBezTo>
                  <a:cubicBezTo>
                    <a:pt x="10" y="60"/>
                    <a:pt x="10" y="60"/>
                    <a:pt x="11" y="61"/>
                  </a:cubicBezTo>
                  <a:cubicBezTo>
                    <a:pt x="13" y="62"/>
                    <a:pt x="14" y="62"/>
                    <a:pt x="16" y="62"/>
                  </a:cubicBezTo>
                  <a:cubicBezTo>
                    <a:pt x="17" y="62"/>
                    <a:pt x="18" y="63"/>
                    <a:pt x="19" y="63"/>
                  </a:cubicBezTo>
                  <a:cubicBezTo>
                    <a:pt x="18" y="63"/>
                    <a:pt x="17" y="64"/>
                    <a:pt x="16" y="65"/>
                  </a:cubicBezTo>
                  <a:cubicBezTo>
                    <a:pt x="16" y="66"/>
                    <a:pt x="15" y="67"/>
                    <a:pt x="14" y="68"/>
                  </a:cubicBezTo>
                  <a:cubicBezTo>
                    <a:pt x="13" y="69"/>
                    <a:pt x="10" y="71"/>
                    <a:pt x="8" y="72"/>
                  </a:cubicBezTo>
                  <a:cubicBezTo>
                    <a:pt x="6" y="73"/>
                    <a:pt x="5" y="74"/>
                    <a:pt x="3" y="76"/>
                  </a:cubicBezTo>
                  <a:cubicBezTo>
                    <a:pt x="2" y="78"/>
                    <a:pt x="0" y="78"/>
                    <a:pt x="0" y="80"/>
                  </a:cubicBezTo>
                  <a:cubicBezTo>
                    <a:pt x="0" y="82"/>
                    <a:pt x="0" y="84"/>
                    <a:pt x="1" y="86"/>
                  </a:cubicBezTo>
                  <a:cubicBezTo>
                    <a:pt x="2" y="87"/>
                    <a:pt x="3" y="88"/>
                    <a:pt x="5" y="89"/>
                  </a:cubicBezTo>
                  <a:cubicBezTo>
                    <a:pt x="5" y="89"/>
                    <a:pt x="6" y="90"/>
                    <a:pt x="6" y="90"/>
                  </a:cubicBezTo>
                  <a:cubicBezTo>
                    <a:pt x="7" y="91"/>
                    <a:pt x="6" y="91"/>
                    <a:pt x="6" y="92"/>
                  </a:cubicBezTo>
                  <a:cubicBezTo>
                    <a:pt x="7" y="92"/>
                    <a:pt x="7" y="93"/>
                    <a:pt x="7" y="94"/>
                  </a:cubicBezTo>
                  <a:cubicBezTo>
                    <a:pt x="8" y="95"/>
                    <a:pt x="9" y="95"/>
                    <a:pt x="10" y="97"/>
                  </a:cubicBezTo>
                  <a:cubicBezTo>
                    <a:pt x="10" y="98"/>
                    <a:pt x="10" y="99"/>
                    <a:pt x="11" y="100"/>
                  </a:cubicBezTo>
                  <a:cubicBezTo>
                    <a:pt x="12" y="101"/>
                    <a:pt x="15" y="102"/>
                    <a:pt x="17" y="102"/>
                  </a:cubicBezTo>
                  <a:cubicBezTo>
                    <a:pt x="18" y="102"/>
                    <a:pt x="21" y="102"/>
                    <a:pt x="22" y="103"/>
                  </a:cubicBezTo>
                  <a:cubicBezTo>
                    <a:pt x="23" y="104"/>
                    <a:pt x="22" y="104"/>
                    <a:pt x="23" y="104"/>
                  </a:cubicBezTo>
                  <a:cubicBezTo>
                    <a:pt x="24" y="105"/>
                    <a:pt x="24" y="105"/>
                    <a:pt x="25" y="106"/>
                  </a:cubicBezTo>
                  <a:cubicBezTo>
                    <a:pt x="26" y="106"/>
                    <a:pt x="27" y="107"/>
                    <a:pt x="28" y="108"/>
                  </a:cubicBezTo>
                  <a:cubicBezTo>
                    <a:pt x="30" y="109"/>
                    <a:pt x="33" y="108"/>
                    <a:pt x="35" y="109"/>
                  </a:cubicBezTo>
                  <a:cubicBezTo>
                    <a:pt x="36" y="109"/>
                    <a:pt x="39" y="110"/>
                    <a:pt x="41" y="110"/>
                  </a:cubicBezTo>
                  <a:cubicBezTo>
                    <a:pt x="43" y="109"/>
                    <a:pt x="41" y="106"/>
                    <a:pt x="42" y="104"/>
                  </a:cubicBezTo>
                  <a:cubicBezTo>
                    <a:pt x="43" y="102"/>
                    <a:pt x="47" y="104"/>
                    <a:pt x="48" y="103"/>
                  </a:cubicBezTo>
                  <a:cubicBezTo>
                    <a:pt x="50" y="102"/>
                    <a:pt x="50" y="99"/>
                    <a:pt x="49" y="97"/>
                  </a:cubicBezTo>
                  <a:cubicBezTo>
                    <a:pt x="48" y="96"/>
                    <a:pt x="48" y="95"/>
                    <a:pt x="48" y="94"/>
                  </a:cubicBezTo>
                  <a:cubicBezTo>
                    <a:pt x="48" y="92"/>
                    <a:pt x="49" y="91"/>
                    <a:pt x="50" y="89"/>
                  </a:cubicBezTo>
                  <a:cubicBezTo>
                    <a:pt x="51" y="88"/>
                    <a:pt x="52" y="85"/>
                    <a:pt x="54" y="85"/>
                  </a:cubicBezTo>
                  <a:cubicBezTo>
                    <a:pt x="55" y="84"/>
                    <a:pt x="57" y="85"/>
                    <a:pt x="58" y="84"/>
                  </a:cubicBezTo>
                  <a:cubicBezTo>
                    <a:pt x="60" y="86"/>
                    <a:pt x="61" y="88"/>
                    <a:pt x="62" y="90"/>
                  </a:cubicBezTo>
                  <a:cubicBezTo>
                    <a:pt x="64" y="92"/>
                    <a:pt x="65" y="93"/>
                    <a:pt x="66" y="95"/>
                  </a:cubicBezTo>
                  <a:cubicBezTo>
                    <a:pt x="67" y="97"/>
                    <a:pt x="66" y="98"/>
                    <a:pt x="66" y="100"/>
                  </a:cubicBezTo>
                  <a:cubicBezTo>
                    <a:pt x="66" y="102"/>
                    <a:pt x="69" y="102"/>
                    <a:pt x="71" y="102"/>
                  </a:cubicBezTo>
                  <a:cubicBezTo>
                    <a:pt x="73" y="103"/>
                    <a:pt x="74" y="104"/>
                    <a:pt x="74" y="105"/>
                  </a:cubicBezTo>
                  <a:cubicBezTo>
                    <a:pt x="75" y="108"/>
                    <a:pt x="76" y="110"/>
                    <a:pt x="76" y="113"/>
                  </a:cubicBezTo>
                  <a:cubicBezTo>
                    <a:pt x="76" y="115"/>
                    <a:pt x="76" y="117"/>
                    <a:pt x="79" y="117"/>
                  </a:cubicBezTo>
                  <a:cubicBezTo>
                    <a:pt x="81" y="117"/>
                    <a:pt x="83" y="117"/>
                    <a:pt x="85" y="116"/>
                  </a:cubicBezTo>
                  <a:cubicBezTo>
                    <a:pt x="86" y="115"/>
                    <a:pt x="87" y="115"/>
                    <a:pt x="88" y="113"/>
                  </a:cubicBezTo>
                  <a:cubicBezTo>
                    <a:pt x="88" y="113"/>
                    <a:pt x="88" y="113"/>
                    <a:pt x="89" y="113"/>
                  </a:cubicBezTo>
                  <a:cubicBezTo>
                    <a:pt x="89" y="112"/>
                    <a:pt x="89" y="111"/>
                    <a:pt x="90" y="110"/>
                  </a:cubicBezTo>
                  <a:cubicBezTo>
                    <a:pt x="92" y="111"/>
                    <a:pt x="93" y="111"/>
                    <a:pt x="95" y="112"/>
                  </a:cubicBezTo>
                  <a:cubicBezTo>
                    <a:pt x="97" y="113"/>
                    <a:pt x="98" y="115"/>
                    <a:pt x="100" y="115"/>
                  </a:cubicBezTo>
                  <a:cubicBezTo>
                    <a:pt x="102" y="115"/>
                    <a:pt x="102" y="115"/>
                    <a:pt x="104" y="116"/>
                  </a:cubicBezTo>
                  <a:cubicBezTo>
                    <a:pt x="106" y="117"/>
                    <a:pt x="108" y="118"/>
                    <a:pt x="109" y="119"/>
                  </a:cubicBezTo>
                  <a:cubicBezTo>
                    <a:pt x="110" y="118"/>
                    <a:pt x="110" y="118"/>
                    <a:pt x="110" y="117"/>
                  </a:cubicBezTo>
                  <a:cubicBezTo>
                    <a:pt x="113" y="114"/>
                    <a:pt x="114" y="111"/>
                    <a:pt x="114" y="107"/>
                  </a:cubicBezTo>
                  <a:cubicBezTo>
                    <a:pt x="114" y="103"/>
                    <a:pt x="113" y="100"/>
                    <a:pt x="117" y="99"/>
                  </a:cubicBezTo>
                  <a:cubicBezTo>
                    <a:pt x="120" y="99"/>
                    <a:pt x="123" y="99"/>
                    <a:pt x="125" y="99"/>
                  </a:cubicBezTo>
                  <a:cubicBezTo>
                    <a:pt x="130" y="99"/>
                    <a:pt x="130" y="98"/>
                    <a:pt x="132" y="94"/>
                  </a:cubicBezTo>
                  <a:cubicBezTo>
                    <a:pt x="134" y="92"/>
                    <a:pt x="136" y="90"/>
                    <a:pt x="138" y="87"/>
                  </a:cubicBezTo>
                  <a:cubicBezTo>
                    <a:pt x="139" y="84"/>
                    <a:pt x="139" y="80"/>
                    <a:pt x="140" y="7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9" name="Freeform 90">
              <a:extLst>
                <a:ext uri="{FF2B5EF4-FFF2-40B4-BE49-F238E27FC236}">
                  <a16:creationId xmlns:a16="http://schemas.microsoft.com/office/drawing/2014/main" id="{3D13BC1A-5920-4ECA-87B0-44925A067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0525" y="3887788"/>
              <a:ext cx="46038" cy="53975"/>
            </a:xfrm>
            <a:custGeom>
              <a:avLst/>
              <a:gdLst/>
              <a:ahLst/>
              <a:cxnLst>
                <a:cxn ang="0">
                  <a:pos x="21" y="1"/>
                </a:cxn>
                <a:cxn ang="0">
                  <a:pos x="21" y="1"/>
                </a:cxn>
                <a:cxn ang="0">
                  <a:pos x="19" y="0"/>
                </a:cxn>
                <a:cxn ang="0">
                  <a:pos x="11" y="3"/>
                </a:cxn>
                <a:cxn ang="0">
                  <a:pos x="8" y="7"/>
                </a:cxn>
                <a:cxn ang="0">
                  <a:pos x="6" y="10"/>
                </a:cxn>
                <a:cxn ang="0">
                  <a:pos x="1" y="19"/>
                </a:cxn>
                <a:cxn ang="0">
                  <a:pos x="1" y="25"/>
                </a:cxn>
                <a:cxn ang="0">
                  <a:pos x="2" y="27"/>
                </a:cxn>
                <a:cxn ang="0">
                  <a:pos x="4" y="28"/>
                </a:cxn>
                <a:cxn ang="0">
                  <a:pos x="10" y="28"/>
                </a:cxn>
                <a:cxn ang="0">
                  <a:pos x="15" y="27"/>
                </a:cxn>
                <a:cxn ang="0">
                  <a:pos x="18" y="24"/>
                </a:cxn>
                <a:cxn ang="0">
                  <a:pos x="21" y="21"/>
                </a:cxn>
                <a:cxn ang="0">
                  <a:pos x="24" y="14"/>
                </a:cxn>
                <a:cxn ang="0">
                  <a:pos x="22" y="6"/>
                </a:cxn>
                <a:cxn ang="0">
                  <a:pos x="20" y="4"/>
                </a:cxn>
                <a:cxn ang="0">
                  <a:pos x="18" y="2"/>
                </a:cxn>
                <a:cxn ang="0">
                  <a:pos x="21" y="1"/>
                </a:cxn>
              </a:cxnLst>
              <a:rect l="0" t="0" r="r" b="b"/>
              <a:pathLst>
                <a:path w="24" h="29">
                  <a:moveTo>
                    <a:pt x="21" y="1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6" y="0"/>
                    <a:pt x="13" y="0"/>
                    <a:pt x="11" y="3"/>
                  </a:cubicBezTo>
                  <a:cubicBezTo>
                    <a:pt x="10" y="4"/>
                    <a:pt x="9" y="6"/>
                    <a:pt x="8" y="7"/>
                  </a:cubicBezTo>
                  <a:cubicBezTo>
                    <a:pt x="8" y="8"/>
                    <a:pt x="7" y="9"/>
                    <a:pt x="6" y="10"/>
                  </a:cubicBezTo>
                  <a:cubicBezTo>
                    <a:pt x="4" y="13"/>
                    <a:pt x="2" y="16"/>
                    <a:pt x="1" y="19"/>
                  </a:cubicBezTo>
                  <a:cubicBezTo>
                    <a:pt x="0" y="21"/>
                    <a:pt x="0" y="23"/>
                    <a:pt x="1" y="25"/>
                  </a:cubicBezTo>
                  <a:cubicBezTo>
                    <a:pt x="1" y="26"/>
                    <a:pt x="1" y="27"/>
                    <a:pt x="2" y="27"/>
                  </a:cubicBezTo>
                  <a:cubicBezTo>
                    <a:pt x="2" y="28"/>
                    <a:pt x="3" y="28"/>
                    <a:pt x="4" y="28"/>
                  </a:cubicBezTo>
                  <a:cubicBezTo>
                    <a:pt x="6" y="28"/>
                    <a:pt x="8" y="29"/>
                    <a:pt x="10" y="28"/>
                  </a:cubicBezTo>
                  <a:cubicBezTo>
                    <a:pt x="12" y="28"/>
                    <a:pt x="13" y="28"/>
                    <a:pt x="15" y="27"/>
                  </a:cubicBezTo>
                  <a:cubicBezTo>
                    <a:pt x="16" y="26"/>
                    <a:pt x="17" y="25"/>
                    <a:pt x="18" y="24"/>
                  </a:cubicBezTo>
                  <a:cubicBezTo>
                    <a:pt x="19" y="23"/>
                    <a:pt x="20" y="22"/>
                    <a:pt x="21" y="21"/>
                  </a:cubicBezTo>
                  <a:cubicBezTo>
                    <a:pt x="23" y="19"/>
                    <a:pt x="23" y="16"/>
                    <a:pt x="24" y="14"/>
                  </a:cubicBezTo>
                  <a:cubicBezTo>
                    <a:pt x="24" y="11"/>
                    <a:pt x="24" y="9"/>
                    <a:pt x="22" y="6"/>
                  </a:cubicBezTo>
                  <a:cubicBezTo>
                    <a:pt x="21" y="6"/>
                    <a:pt x="20" y="5"/>
                    <a:pt x="20" y="4"/>
                  </a:cubicBezTo>
                  <a:cubicBezTo>
                    <a:pt x="19" y="4"/>
                    <a:pt x="18" y="3"/>
                    <a:pt x="18" y="2"/>
                  </a:cubicBezTo>
                  <a:lnTo>
                    <a:pt x="21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0" name="Freeform 91">
              <a:extLst>
                <a:ext uri="{FF2B5EF4-FFF2-40B4-BE49-F238E27FC236}">
                  <a16:creationId xmlns:a16="http://schemas.microsoft.com/office/drawing/2014/main" id="{DFFF4B2C-CB9A-4B5C-BEDF-3EDB87DEE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3263" y="4511675"/>
              <a:ext cx="71438" cy="30163"/>
            </a:xfrm>
            <a:custGeom>
              <a:avLst/>
              <a:gdLst/>
              <a:ahLst/>
              <a:cxnLst>
                <a:cxn ang="0">
                  <a:pos x="29" y="3"/>
                </a:cxn>
                <a:cxn ang="0">
                  <a:pos x="29" y="3"/>
                </a:cxn>
                <a:cxn ang="0">
                  <a:pos x="24" y="1"/>
                </a:cxn>
                <a:cxn ang="0">
                  <a:pos x="13" y="1"/>
                </a:cxn>
                <a:cxn ang="0">
                  <a:pos x="9" y="3"/>
                </a:cxn>
                <a:cxn ang="0">
                  <a:pos x="4" y="4"/>
                </a:cxn>
                <a:cxn ang="0">
                  <a:pos x="1" y="6"/>
                </a:cxn>
                <a:cxn ang="0">
                  <a:pos x="0" y="9"/>
                </a:cxn>
                <a:cxn ang="0">
                  <a:pos x="2" y="12"/>
                </a:cxn>
                <a:cxn ang="0">
                  <a:pos x="6" y="14"/>
                </a:cxn>
                <a:cxn ang="0">
                  <a:pos x="13" y="16"/>
                </a:cxn>
                <a:cxn ang="0">
                  <a:pos x="21" y="16"/>
                </a:cxn>
                <a:cxn ang="0">
                  <a:pos x="29" y="15"/>
                </a:cxn>
                <a:cxn ang="0">
                  <a:pos x="34" y="13"/>
                </a:cxn>
                <a:cxn ang="0">
                  <a:pos x="38" y="10"/>
                </a:cxn>
                <a:cxn ang="0">
                  <a:pos x="36" y="5"/>
                </a:cxn>
                <a:cxn ang="0">
                  <a:pos x="29" y="3"/>
                </a:cxn>
              </a:cxnLst>
              <a:rect l="0" t="0" r="r" b="b"/>
              <a:pathLst>
                <a:path w="38" h="16">
                  <a:moveTo>
                    <a:pt x="29" y="3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8" y="2"/>
                    <a:pt x="26" y="1"/>
                    <a:pt x="24" y="1"/>
                  </a:cubicBezTo>
                  <a:cubicBezTo>
                    <a:pt x="21" y="0"/>
                    <a:pt x="17" y="0"/>
                    <a:pt x="13" y="1"/>
                  </a:cubicBezTo>
                  <a:cubicBezTo>
                    <a:pt x="12" y="1"/>
                    <a:pt x="10" y="2"/>
                    <a:pt x="9" y="3"/>
                  </a:cubicBezTo>
                  <a:cubicBezTo>
                    <a:pt x="7" y="3"/>
                    <a:pt x="6" y="4"/>
                    <a:pt x="4" y="4"/>
                  </a:cubicBezTo>
                  <a:cubicBezTo>
                    <a:pt x="3" y="5"/>
                    <a:pt x="2" y="6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cubicBezTo>
                    <a:pt x="3" y="13"/>
                    <a:pt x="4" y="14"/>
                    <a:pt x="6" y="14"/>
                  </a:cubicBezTo>
                  <a:cubicBezTo>
                    <a:pt x="8" y="15"/>
                    <a:pt x="10" y="16"/>
                    <a:pt x="13" y="16"/>
                  </a:cubicBezTo>
                  <a:cubicBezTo>
                    <a:pt x="16" y="16"/>
                    <a:pt x="19" y="16"/>
                    <a:pt x="21" y="16"/>
                  </a:cubicBezTo>
                  <a:cubicBezTo>
                    <a:pt x="24" y="16"/>
                    <a:pt x="27" y="16"/>
                    <a:pt x="29" y="15"/>
                  </a:cubicBezTo>
                  <a:cubicBezTo>
                    <a:pt x="31" y="15"/>
                    <a:pt x="33" y="14"/>
                    <a:pt x="34" y="13"/>
                  </a:cubicBezTo>
                  <a:cubicBezTo>
                    <a:pt x="36" y="12"/>
                    <a:pt x="37" y="11"/>
                    <a:pt x="38" y="10"/>
                  </a:cubicBezTo>
                  <a:cubicBezTo>
                    <a:pt x="38" y="8"/>
                    <a:pt x="37" y="6"/>
                    <a:pt x="36" y="5"/>
                  </a:cubicBezTo>
                  <a:lnTo>
                    <a:pt x="29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1" name="Freeform 92">
              <a:extLst>
                <a:ext uri="{FF2B5EF4-FFF2-40B4-BE49-F238E27FC236}">
                  <a16:creationId xmlns:a16="http://schemas.microsoft.com/office/drawing/2014/main" id="{91149570-5125-4F9F-B630-4965C3CD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2838" y="5722938"/>
              <a:ext cx="365125" cy="711200"/>
            </a:xfrm>
            <a:custGeom>
              <a:avLst/>
              <a:gdLst/>
              <a:ahLst/>
              <a:cxnLst>
                <a:cxn ang="0">
                  <a:pos x="9" y="214"/>
                </a:cxn>
                <a:cxn ang="0">
                  <a:pos x="1" y="233"/>
                </a:cxn>
                <a:cxn ang="0">
                  <a:pos x="0" y="251"/>
                </a:cxn>
                <a:cxn ang="0">
                  <a:pos x="9" y="267"/>
                </a:cxn>
                <a:cxn ang="0">
                  <a:pos x="25" y="280"/>
                </a:cxn>
                <a:cxn ang="0">
                  <a:pos x="36" y="293"/>
                </a:cxn>
                <a:cxn ang="0">
                  <a:pos x="30" y="317"/>
                </a:cxn>
                <a:cxn ang="0">
                  <a:pos x="35" y="341"/>
                </a:cxn>
                <a:cxn ang="0">
                  <a:pos x="34" y="354"/>
                </a:cxn>
                <a:cxn ang="0">
                  <a:pos x="29" y="365"/>
                </a:cxn>
                <a:cxn ang="0">
                  <a:pos x="54" y="374"/>
                </a:cxn>
                <a:cxn ang="0">
                  <a:pos x="67" y="374"/>
                </a:cxn>
                <a:cxn ang="0">
                  <a:pos x="81" y="378"/>
                </a:cxn>
                <a:cxn ang="0">
                  <a:pos x="98" y="375"/>
                </a:cxn>
                <a:cxn ang="0">
                  <a:pos x="105" y="374"/>
                </a:cxn>
                <a:cxn ang="0">
                  <a:pos x="109" y="356"/>
                </a:cxn>
                <a:cxn ang="0">
                  <a:pos x="108" y="349"/>
                </a:cxn>
                <a:cxn ang="0">
                  <a:pos x="110" y="331"/>
                </a:cxn>
                <a:cxn ang="0">
                  <a:pos x="116" y="322"/>
                </a:cxn>
                <a:cxn ang="0">
                  <a:pos x="118" y="315"/>
                </a:cxn>
                <a:cxn ang="0">
                  <a:pos x="129" y="309"/>
                </a:cxn>
                <a:cxn ang="0">
                  <a:pos x="135" y="298"/>
                </a:cxn>
                <a:cxn ang="0">
                  <a:pos x="125" y="290"/>
                </a:cxn>
                <a:cxn ang="0">
                  <a:pos x="122" y="283"/>
                </a:cxn>
                <a:cxn ang="0">
                  <a:pos x="128" y="254"/>
                </a:cxn>
                <a:cxn ang="0">
                  <a:pos x="133" y="234"/>
                </a:cxn>
                <a:cxn ang="0">
                  <a:pos x="123" y="229"/>
                </a:cxn>
                <a:cxn ang="0">
                  <a:pos x="119" y="209"/>
                </a:cxn>
                <a:cxn ang="0">
                  <a:pos x="115" y="206"/>
                </a:cxn>
                <a:cxn ang="0">
                  <a:pos x="117" y="196"/>
                </a:cxn>
                <a:cxn ang="0">
                  <a:pos x="137" y="180"/>
                </a:cxn>
                <a:cxn ang="0">
                  <a:pos x="139" y="156"/>
                </a:cxn>
                <a:cxn ang="0">
                  <a:pos x="145" y="131"/>
                </a:cxn>
                <a:cxn ang="0">
                  <a:pos x="144" y="102"/>
                </a:cxn>
                <a:cxn ang="0">
                  <a:pos x="149" y="85"/>
                </a:cxn>
                <a:cxn ang="0">
                  <a:pos x="166" y="75"/>
                </a:cxn>
                <a:cxn ang="0">
                  <a:pos x="180" y="65"/>
                </a:cxn>
                <a:cxn ang="0">
                  <a:pos x="194" y="46"/>
                </a:cxn>
                <a:cxn ang="0">
                  <a:pos x="177" y="38"/>
                </a:cxn>
                <a:cxn ang="0">
                  <a:pos x="172" y="29"/>
                </a:cxn>
                <a:cxn ang="0">
                  <a:pos x="169" y="18"/>
                </a:cxn>
                <a:cxn ang="0">
                  <a:pos x="155" y="16"/>
                </a:cxn>
                <a:cxn ang="0">
                  <a:pos x="142" y="19"/>
                </a:cxn>
                <a:cxn ang="0">
                  <a:pos x="122" y="29"/>
                </a:cxn>
                <a:cxn ang="0">
                  <a:pos x="112" y="25"/>
                </a:cxn>
                <a:cxn ang="0">
                  <a:pos x="98" y="22"/>
                </a:cxn>
                <a:cxn ang="0">
                  <a:pos x="84" y="30"/>
                </a:cxn>
                <a:cxn ang="0">
                  <a:pos x="86" y="12"/>
                </a:cxn>
                <a:cxn ang="0">
                  <a:pos x="82" y="1"/>
                </a:cxn>
                <a:cxn ang="0">
                  <a:pos x="73" y="7"/>
                </a:cxn>
                <a:cxn ang="0">
                  <a:pos x="47" y="19"/>
                </a:cxn>
                <a:cxn ang="0">
                  <a:pos x="42" y="29"/>
                </a:cxn>
                <a:cxn ang="0">
                  <a:pos x="44" y="42"/>
                </a:cxn>
                <a:cxn ang="0">
                  <a:pos x="44" y="61"/>
                </a:cxn>
                <a:cxn ang="0">
                  <a:pos x="39" y="72"/>
                </a:cxn>
                <a:cxn ang="0">
                  <a:pos x="44" y="90"/>
                </a:cxn>
                <a:cxn ang="0">
                  <a:pos x="44" y="127"/>
                </a:cxn>
                <a:cxn ang="0">
                  <a:pos x="39" y="139"/>
                </a:cxn>
                <a:cxn ang="0">
                  <a:pos x="37" y="147"/>
                </a:cxn>
                <a:cxn ang="0">
                  <a:pos x="38" y="159"/>
                </a:cxn>
                <a:cxn ang="0">
                  <a:pos x="28" y="171"/>
                </a:cxn>
                <a:cxn ang="0">
                  <a:pos x="26" y="186"/>
                </a:cxn>
              </a:cxnLst>
              <a:rect l="0" t="0" r="r" b="b"/>
              <a:pathLst>
                <a:path w="195" h="380">
                  <a:moveTo>
                    <a:pt x="26" y="188"/>
                  </a:moveTo>
                  <a:cubicBezTo>
                    <a:pt x="25" y="192"/>
                    <a:pt x="23" y="197"/>
                    <a:pt x="20" y="200"/>
                  </a:cubicBezTo>
                  <a:cubicBezTo>
                    <a:pt x="17" y="205"/>
                    <a:pt x="13" y="210"/>
                    <a:pt x="9" y="214"/>
                  </a:cubicBezTo>
                  <a:cubicBezTo>
                    <a:pt x="7" y="216"/>
                    <a:pt x="6" y="218"/>
                    <a:pt x="5" y="220"/>
                  </a:cubicBezTo>
                  <a:cubicBezTo>
                    <a:pt x="4" y="222"/>
                    <a:pt x="5" y="224"/>
                    <a:pt x="4" y="226"/>
                  </a:cubicBezTo>
                  <a:cubicBezTo>
                    <a:pt x="4" y="228"/>
                    <a:pt x="2" y="231"/>
                    <a:pt x="1" y="233"/>
                  </a:cubicBezTo>
                  <a:cubicBezTo>
                    <a:pt x="1" y="237"/>
                    <a:pt x="0" y="241"/>
                    <a:pt x="0" y="245"/>
                  </a:cubicBezTo>
                  <a:cubicBezTo>
                    <a:pt x="0" y="246"/>
                    <a:pt x="0" y="247"/>
                    <a:pt x="0" y="249"/>
                  </a:cubicBezTo>
                  <a:cubicBezTo>
                    <a:pt x="0" y="249"/>
                    <a:pt x="0" y="250"/>
                    <a:pt x="0" y="251"/>
                  </a:cubicBezTo>
                  <a:cubicBezTo>
                    <a:pt x="0" y="252"/>
                    <a:pt x="0" y="253"/>
                    <a:pt x="1" y="254"/>
                  </a:cubicBezTo>
                  <a:cubicBezTo>
                    <a:pt x="3" y="255"/>
                    <a:pt x="7" y="253"/>
                    <a:pt x="9" y="256"/>
                  </a:cubicBezTo>
                  <a:cubicBezTo>
                    <a:pt x="10" y="259"/>
                    <a:pt x="8" y="264"/>
                    <a:pt x="9" y="267"/>
                  </a:cubicBezTo>
                  <a:cubicBezTo>
                    <a:pt x="11" y="272"/>
                    <a:pt x="17" y="271"/>
                    <a:pt x="16" y="277"/>
                  </a:cubicBezTo>
                  <a:cubicBezTo>
                    <a:pt x="16" y="280"/>
                    <a:pt x="15" y="278"/>
                    <a:pt x="14" y="281"/>
                  </a:cubicBezTo>
                  <a:cubicBezTo>
                    <a:pt x="12" y="285"/>
                    <a:pt x="22" y="282"/>
                    <a:pt x="25" y="280"/>
                  </a:cubicBezTo>
                  <a:cubicBezTo>
                    <a:pt x="26" y="279"/>
                    <a:pt x="30" y="277"/>
                    <a:pt x="32" y="279"/>
                  </a:cubicBezTo>
                  <a:cubicBezTo>
                    <a:pt x="33" y="279"/>
                    <a:pt x="37" y="284"/>
                    <a:pt x="37" y="285"/>
                  </a:cubicBezTo>
                  <a:cubicBezTo>
                    <a:pt x="38" y="287"/>
                    <a:pt x="36" y="290"/>
                    <a:pt x="36" y="293"/>
                  </a:cubicBezTo>
                  <a:cubicBezTo>
                    <a:pt x="35" y="296"/>
                    <a:pt x="35" y="300"/>
                    <a:pt x="35" y="303"/>
                  </a:cubicBezTo>
                  <a:cubicBezTo>
                    <a:pt x="35" y="306"/>
                    <a:pt x="35" y="307"/>
                    <a:pt x="34" y="310"/>
                  </a:cubicBezTo>
                  <a:cubicBezTo>
                    <a:pt x="33" y="312"/>
                    <a:pt x="30" y="315"/>
                    <a:pt x="30" y="317"/>
                  </a:cubicBezTo>
                  <a:cubicBezTo>
                    <a:pt x="30" y="321"/>
                    <a:pt x="36" y="322"/>
                    <a:pt x="38" y="325"/>
                  </a:cubicBezTo>
                  <a:cubicBezTo>
                    <a:pt x="39" y="327"/>
                    <a:pt x="40" y="330"/>
                    <a:pt x="39" y="332"/>
                  </a:cubicBezTo>
                  <a:cubicBezTo>
                    <a:pt x="38" y="335"/>
                    <a:pt x="36" y="338"/>
                    <a:pt x="35" y="341"/>
                  </a:cubicBezTo>
                  <a:cubicBezTo>
                    <a:pt x="34" y="343"/>
                    <a:pt x="34" y="345"/>
                    <a:pt x="34" y="347"/>
                  </a:cubicBezTo>
                  <a:cubicBezTo>
                    <a:pt x="34" y="348"/>
                    <a:pt x="34" y="348"/>
                    <a:pt x="34" y="349"/>
                  </a:cubicBezTo>
                  <a:cubicBezTo>
                    <a:pt x="34" y="351"/>
                    <a:pt x="34" y="353"/>
                    <a:pt x="34" y="354"/>
                  </a:cubicBezTo>
                  <a:cubicBezTo>
                    <a:pt x="34" y="355"/>
                    <a:pt x="33" y="356"/>
                    <a:pt x="33" y="357"/>
                  </a:cubicBezTo>
                  <a:cubicBezTo>
                    <a:pt x="33" y="358"/>
                    <a:pt x="32" y="360"/>
                    <a:pt x="31" y="361"/>
                  </a:cubicBezTo>
                  <a:cubicBezTo>
                    <a:pt x="30" y="362"/>
                    <a:pt x="30" y="364"/>
                    <a:pt x="29" y="365"/>
                  </a:cubicBezTo>
                  <a:cubicBezTo>
                    <a:pt x="28" y="370"/>
                    <a:pt x="29" y="375"/>
                    <a:pt x="26" y="379"/>
                  </a:cubicBezTo>
                  <a:cubicBezTo>
                    <a:pt x="31" y="380"/>
                    <a:pt x="37" y="375"/>
                    <a:pt x="41" y="374"/>
                  </a:cubicBezTo>
                  <a:cubicBezTo>
                    <a:pt x="45" y="373"/>
                    <a:pt x="50" y="373"/>
                    <a:pt x="54" y="374"/>
                  </a:cubicBezTo>
                  <a:cubicBezTo>
                    <a:pt x="56" y="374"/>
                    <a:pt x="57" y="374"/>
                    <a:pt x="59" y="374"/>
                  </a:cubicBezTo>
                  <a:cubicBezTo>
                    <a:pt x="60" y="374"/>
                    <a:pt x="62" y="374"/>
                    <a:pt x="63" y="374"/>
                  </a:cubicBezTo>
                  <a:cubicBezTo>
                    <a:pt x="65" y="374"/>
                    <a:pt x="66" y="374"/>
                    <a:pt x="67" y="374"/>
                  </a:cubicBezTo>
                  <a:cubicBezTo>
                    <a:pt x="69" y="375"/>
                    <a:pt x="70" y="376"/>
                    <a:pt x="72" y="376"/>
                  </a:cubicBezTo>
                  <a:cubicBezTo>
                    <a:pt x="74" y="377"/>
                    <a:pt x="76" y="378"/>
                    <a:pt x="78" y="379"/>
                  </a:cubicBezTo>
                  <a:cubicBezTo>
                    <a:pt x="80" y="379"/>
                    <a:pt x="80" y="379"/>
                    <a:pt x="81" y="378"/>
                  </a:cubicBezTo>
                  <a:cubicBezTo>
                    <a:pt x="84" y="378"/>
                    <a:pt x="84" y="377"/>
                    <a:pt x="85" y="377"/>
                  </a:cubicBezTo>
                  <a:cubicBezTo>
                    <a:pt x="89" y="375"/>
                    <a:pt x="92" y="375"/>
                    <a:pt x="95" y="375"/>
                  </a:cubicBezTo>
                  <a:cubicBezTo>
                    <a:pt x="96" y="375"/>
                    <a:pt x="97" y="375"/>
                    <a:pt x="98" y="375"/>
                  </a:cubicBezTo>
                  <a:cubicBezTo>
                    <a:pt x="98" y="375"/>
                    <a:pt x="99" y="375"/>
                    <a:pt x="99" y="375"/>
                  </a:cubicBezTo>
                  <a:cubicBezTo>
                    <a:pt x="101" y="375"/>
                    <a:pt x="103" y="374"/>
                    <a:pt x="105" y="374"/>
                  </a:cubicBezTo>
                  <a:cubicBezTo>
                    <a:pt x="105" y="374"/>
                    <a:pt x="105" y="374"/>
                    <a:pt x="105" y="374"/>
                  </a:cubicBezTo>
                  <a:cubicBezTo>
                    <a:pt x="106" y="374"/>
                    <a:pt x="107" y="373"/>
                    <a:pt x="108" y="373"/>
                  </a:cubicBezTo>
                  <a:cubicBezTo>
                    <a:pt x="108" y="371"/>
                    <a:pt x="108" y="369"/>
                    <a:pt x="108" y="367"/>
                  </a:cubicBezTo>
                  <a:cubicBezTo>
                    <a:pt x="109" y="363"/>
                    <a:pt x="109" y="360"/>
                    <a:pt x="109" y="356"/>
                  </a:cubicBezTo>
                  <a:cubicBezTo>
                    <a:pt x="109" y="355"/>
                    <a:pt x="109" y="353"/>
                    <a:pt x="109" y="351"/>
                  </a:cubicBezTo>
                  <a:cubicBezTo>
                    <a:pt x="109" y="351"/>
                    <a:pt x="109" y="351"/>
                    <a:pt x="108" y="351"/>
                  </a:cubicBezTo>
                  <a:cubicBezTo>
                    <a:pt x="108" y="350"/>
                    <a:pt x="108" y="350"/>
                    <a:pt x="108" y="349"/>
                  </a:cubicBezTo>
                  <a:cubicBezTo>
                    <a:pt x="107" y="348"/>
                    <a:pt x="107" y="346"/>
                    <a:pt x="107" y="345"/>
                  </a:cubicBezTo>
                  <a:cubicBezTo>
                    <a:pt x="107" y="344"/>
                    <a:pt x="106" y="343"/>
                    <a:pt x="106" y="341"/>
                  </a:cubicBezTo>
                  <a:cubicBezTo>
                    <a:pt x="106" y="338"/>
                    <a:pt x="108" y="334"/>
                    <a:pt x="110" y="331"/>
                  </a:cubicBezTo>
                  <a:cubicBezTo>
                    <a:pt x="110" y="331"/>
                    <a:pt x="111" y="330"/>
                    <a:pt x="111" y="329"/>
                  </a:cubicBezTo>
                  <a:cubicBezTo>
                    <a:pt x="112" y="328"/>
                    <a:pt x="113" y="326"/>
                    <a:pt x="114" y="325"/>
                  </a:cubicBezTo>
                  <a:cubicBezTo>
                    <a:pt x="115" y="324"/>
                    <a:pt x="116" y="323"/>
                    <a:pt x="116" y="322"/>
                  </a:cubicBezTo>
                  <a:cubicBezTo>
                    <a:pt x="117" y="321"/>
                    <a:pt x="117" y="321"/>
                    <a:pt x="117" y="321"/>
                  </a:cubicBezTo>
                  <a:cubicBezTo>
                    <a:pt x="117" y="320"/>
                    <a:pt x="118" y="319"/>
                    <a:pt x="118" y="318"/>
                  </a:cubicBezTo>
                  <a:cubicBezTo>
                    <a:pt x="119" y="317"/>
                    <a:pt x="118" y="316"/>
                    <a:pt x="118" y="315"/>
                  </a:cubicBezTo>
                  <a:cubicBezTo>
                    <a:pt x="118" y="311"/>
                    <a:pt x="121" y="313"/>
                    <a:pt x="124" y="312"/>
                  </a:cubicBezTo>
                  <a:cubicBezTo>
                    <a:pt x="125" y="312"/>
                    <a:pt x="127" y="312"/>
                    <a:pt x="128" y="311"/>
                  </a:cubicBezTo>
                  <a:cubicBezTo>
                    <a:pt x="128" y="311"/>
                    <a:pt x="129" y="310"/>
                    <a:pt x="129" y="309"/>
                  </a:cubicBezTo>
                  <a:cubicBezTo>
                    <a:pt x="130" y="309"/>
                    <a:pt x="130" y="309"/>
                    <a:pt x="131" y="309"/>
                  </a:cubicBezTo>
                  <a:cubicBezTo>
                    <a:pt x="134" y="308"/>
                    <a:pt x="136" y="307"/>
                    <a:pt x="136" y="304"/>
                  </a:cubicBezTo>
                  <a:cubicBezTo>
                    <a:pt x="136" y="302"/>
                    <a:pt x="137" y="299"/>
                    <a:pt x="135" y="298"/>
                  </a:cubicBezTo>
                  <a:cubicBezTo>
                    <a:pt x="134" y="299"/>
                    <a:pt x="132" y="300"/>
                    <a:pt x="130" y="299"/>
                  </a:cubicBezTo>
                  <a:cubicBezTo>
                    <a:pt x="128" y="298"/>
                    <a:pt x="129" y="297"/>
                    <a:pt x="128" y="295"/>
                  </a:cubicBezTo>
                  <a:cubicBezTo>
                    <a:pt x="128" y="293"/>
                    <a:pt x="126" y="291"/>
                    <a:pt x="125" y="290"/>
                  </a:cubicBezTo>
                  <a:cubicBezTo>
                    <a:pt x="125" y="289"/>
                    <a:pt x="124" y="288"/>
                    <a:pt x="124" y="287"/>
                  </a:cubicBezTo>
                  <a:cubicBezTo>
                    <a:pt x="123" y="286"/>
                    <a:pt x="123" y="285"/>
                    <a:pt x="123" y="284"/>
                  </a:cubicBezTo>
                  <a:cubicBezTo>
                    <a:pt x="123" y="284"/>
                    <a:pt x="122" y="283"/>
                    <a:pt x="122" y="283"/>
                  </a:cubicBezTo>
                  <a:cubicBezTo>
                    <a:pt x="120" y="279"/>
                    <a:pt x="118" y="275"/>
                    <a:pt x="118" y="271"/>
                  </a:cubicBezTo>
                  <a:cubicBezTo>
                    <a:pt x="119" y="267"/>
                    <a:pt x="122" y="264"/>
                    <a:pt x="123" y="261"/>
                  </a:cubicBezTo>
                  <a:cubicBezTo>
                    <a:pt x="124" y="257"/>
                    <a:pt x="125" y="256"/>
                    <a:pt x="128" y="254"/>
                  </a:cubicBezTo>
                  <a:cubicBezTo>
                    <a:pt x="130" y="253"/>
                    <a:pt x="132" y="253"/>
                    <a:pt x="134" y="252"/>
                  </a:cubicBezTo>
                  <a:cubicBezTo>
                    <a:pt x="138" y="248"/>
                    <a:pt x="136" y="241"/>
                    <a:pt x="134" y="237"/>
                  </a:cubicBezTo>
                  <a:cubicBezTo>
                    <a:pt x="134" y="236"/>
                    <a:pt x="134" y="235"/>
                    <a:pt x="133" y="234"/>
                  </a:cubicBezTo>
                  <a:cubicBezTo>
                    <a:pt x="133" y="234"/>
                    <a:pt x="132" y="233"/>
                    <a:pt x="131" y="233"/>
                  </a:cubicBezTo>
                  <a:cubicBezTo>
                    <a:pt x="130" y="232"/>
                    <a:pt x="129" y="232"/>
                    <a:pt x="127" y="231"/>
                  </a:cubicBezTo>
                  <a:cubicBezTo>
                    <a:pt x="126" y="231"/>
                    <a:pt x="124" y="231"/>
                    <a:pt x="123" y="229"/>
                  </a:cubicBezTo>
                  <a:cubicBezTo>
                    <a:pt x="123" y="227"/>
                    <a:pt x="124" y="226"/>
                    <a:pt x="123" y="224"/>
                  </a:cubicBezTo>
                  <a:cubicBezTo>
                    <a:pt x="122" y="223"/>
                    <a:pt x="120" y="222"/>
                    <a:pt x="119" y="223"/>
                  </a:cubicBezTo>
                  <a:cubicBezTo>
                    <a:pt x="119" y="219"/>
                    <a:pt x="120" y="213"/>
                    <a:pt x="119" y="209"/>
                  </a:cubicBezTo>
                  <a:cubicBezTo>
                    <a:pt x="119" y="209"/>
                    <a:pt x="118" y="208"/>
                    <a:pt x="118" y="207"/>
                  </a:cubicBezTo>
                  <a:cubicBezTo>
                    <a:pt x="118" y="207"/>
                    <a:pt x="117" y="207"/>
                    <a:pt x="117" y="207"/>
                  </a:cubicBezTo>
                  <a:cubicBezTo>
                    <a:pt x="116" y="208"/>
                    <a:pt x="115" y="207"/>
                    <a:pt x="115" y="206"/>
                  </a:cubicBezTo>
                  <a:cubicBezTo>
                    <a:pt x="114" y="206"/>
                    <a:pt x="113" y="203"/>
                    <a:pt x="112" y="202"/>
                  </a:cubicBezTo>
                  <a:cubicBezTo>
                    <a:pt x="111" y="201"/>
                    <a:pt x="109" y="199"/>
                    <a:pt x="110" y="197"/>
                  </a:cubicBezTo>
                  <a:cubicBezTo>
                    <a:pt x="110" y="195"/>
                    <a:pt x="115" y="196"/>
                    <a:pt x="117" y="196"/>
                  </a:cubicBezTo>
                  <a:cubicBezTo>
                    <a:pt x="122" y="196"/>
                    <a:pt x="132" y="197"/>
                    <a:pt x="133" y="191"/>
                  </a:cubicBezTo>
                  <a:cubicBezTo>
                    <a:pt x="133" y="189"/>
                    <a:pt x="132" y="186"/>
                    <a:pt x="133" y="184"/>
                  </a:cubicBezTo>
                  <a:cubicBezTo>
                    <a:pt x="133" y="183"/>
                    <a:pt x="136" y="180"/>
                    <a:pt x="137" y="180"/>
                  </a:cubicBezTo>
                  <a:cubicBezTo>
                    <a:pt x="139" y="177"/>
                    <a:pt x="141" y="174"/>
                    <a:pt x="141" y="171"/>
                  </a:cubicBezTo>
                  <a:cubicBezTo>
                    <a:pt x="140" y="166"/>
                    <a:pt x="135" y="164"/>
                    <a:pt x="134" y="159"/>
                  </a:cubicBezTo>
                  <a:cubicBezTo>
                    <a:pt x="136" y="159"/>
                    <a:pt x="137" y="157"/>
                    <a:pt x="139" y="156"/>
                  </a:cubicBezTo>
                  <a:cubicBezTo>
                    <a:pt x="141" y="155"/>
                    <a:pt x="143" y="154"/>
                    <a:pt x="144" y="152"/>
                  </a:cubicBezTo>
                  <a:cubicBezTo>
                    <a:pt x="145" y="149"/>
                    <a:pt x="144" y="143"/>
                    <a:pt x="144" y="140"/>
                  </a:cubicBezTo>
                  <a:cubicBezTo>
                    <a:pt x="144" y="137"/>
                    <a:pt x="145" y="134"/>
                    <a:pt x="145" y="131"/>
                  </a:cubicBezTo>
                  <a:cubicBezTo>
                    <a:pt x="146" y="125"/>
                    <a:pt x="144" y="119"/>
                    <a:pt x="144" y="113"/>
                  </a:cubicBezTo>
                  <a:cubicBezTo>
                    <a:pt x="144" y="110"/>
                    <a:pt x="144" y="107"/>
                    <a:pt x="144" y="105"/>
                  </a:cubicBezTo>
                  <a:cubicBezTo>
                    <a:pt x="144" y="104"/>
                    <a:pt x="144" y="103"/>
                    <a:pt x="144" y="102"/>
                  </a:cubicBezTo>
                  <a:cubicBezTo>
                    <a:pt x="143" y="102"/>
                    <a:pt x="141" y="101"/>
                    <a:pt x="141" y="101"/>
                  </a:cubicBezTo>
                  <a:cubicBezTo>
                    <a:pt x="139" y="98"/>
                    <a:pt x="141" y="97"/>
                    <a:pt x="144" y="96"/>
                  </a:cubicBezTo>
                  <a:cubicBezTo>
                    <a:pt x="144" y="92"/>
                    <a:pt x="147" y="88"/>
                    <a:pt x="149" y="85"/>
                  </a:cubicBezTo>
                  <a:cubicBezTo>
                    <a:pt x="151" y="82"/>
                    <a:pt x="152" y="83"/>
                    <a:pt x="155" y="82"/>
                  </a:cubicBezTo>
                  <a:cubicBezTo>
                    <a:pt x="158" y="82"/>
                    <a:pt x="161" y="81"/>
                    <a:pt x="163" y="79"/>
                  </a:cubicBezTo>
                  <a:cubicBezTo>
                    <a:pt x="164" y="78"/>
                    <a:pt x="165" y="76"/>
                    <a:pt x="166" y="75"/>
                  </a:cubicBezTo>
                  <a:cubicBezTo>
                    <a:pt x="168" y="74"/>
                    <a:pt x="169" y="72"/>
                    <a:pt x="170" y="72"/>
                  </a:cubicBezTo>
                  <a:cubicBezTo>
                    <a:pt x="172" y="70"/>
                    <a:pt x="174" y="69"/>
                    <a:pt x="176" y="67"/>
                  </a:cubicBezTo>
                  <a:cubicBezTo>
                    <a:pt x="177" y="66"/>
                    <a:pt x="178" y="66"/>
                    <a:pt x="180" y="65"/>
                  </a:cubicBezTo>
                  <a:cubicBezTo>
                    <a:pt x="182" y="64"/>
                    <a:pt x="183" y="64"/>
                    <a:pt x="184" y="62"/>
                  </a:cubicBezTo>
                  <a:cubicBezTo>
                    <a:pt x="186" y="60"/>
                    <a:pt x="186" y="58"/>
                    <a:pt x="188" y="56"/>
                  </a:cubicBezTo>
                  <a:cubicBezTo>
                    <a:pt x="191" y="53"/>
                    <a:pt x="194" y="50"/>
                    <a:pt x="194" y="46"/>
                  </a:cubicBezTo>
                  <a:cubicBezTo>
                    <a:pt x="195" y="44"/>
                    <a:pt x="194" y="44"/>
                    <a:pt x="192" y="43"/>
                  </a:cubicBezTo>
                  <a:cubicBezTo>
                    <a:pt x="189" y="42"/>
                    <a:pt x="186" y="40"/>
                    <a:pt x="183" y="39"/>
                  </a:cubicBezTo>
                  <a:cubicBezTo>
                    <a:pt x="181" y="38"/>
                    <a:pt x="179" y="38"/>
                    <a:pt x="177" y="38"/>
                  </a:cubicBezTo>
                  <a:cubicBezTo>
                    <a:pt x="176" y="38"/>
                    <a:pt x="177" y="39"/>
                    <a:pt x="175" y="38"/>
                  </a:cubicBezTo>
                  <a:cubicBezTo>
                    <a:pt x="174" y="38"/>
                    <a:pt x="173" y="35"/>
                    <a:pt x="172" y="34"/>
                  </a:cubicBezTo>
                  <a:cubicBezTo>
                    <a:pt x="171" y="32"/>
                    <a:pt x="171" y="30"/>
                    <a:pt x="172" y="29"/>
                  </a:cubicBezTo>
                  <a:cubicBezTo>
                    <a:pt x="173" y="27"/>
                    <a:pt x="176" y="25"/>
                    <a:pt x="175" y="23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4" y="17"/>
                    <a:pt x="172" y="18"/>
                    <a:pt x="169" y="18"/>
                  </a:cubicBezTo>
                  <a:cubicBezTo>
                    <a:pt x="167" y="18"/>
                    <a:pt x="163" y="19"/>
                    <a:pt x="161" y="17"/>
                  </a:cubicBezTo>
                  <a:cubicBezTo>
                    <a:pt x="160" y="15"/>
                    <a:pt x="162" y="14"/>
                    <a:pt x="160" y="14"/>
                  </a:cubicBezTo>
                  <a:cubicBezTo>
                    <a:pt x="159" y="14"/>
                    <a:pt x="157" y="16"/>
                    <a:pt x="155" y="16"/>
                  </a:cubicBezTo>
                  <a:cubicBezTo>
                    <a:pt x="153" y="16"/>
                    <a:pt x="145" y="15"/>
                    <a:pt x="145" y="17"/>
                  </a:cubicBezTo>
                  <a:cubicBezTo>
                    <a:pt x="145" y="17"/>
                    <a:pt x="144" y="16"/>
                    <a:pt x="143" y="16"/>
                  </a:cubicBezTo>
                  <a:cubicBezTo>
                    <a:pt x="142" y="17"/>
                    <a:pt x="143" y="18"/>
                    <a:pt x="142" y="19"/>
                  </a:cubicBezTo>
                  <a:cubicBezTo>
                    <a:pt x="141" y="20"/>
                    <a:pt x="140" y="21"/>
                    <a:pt x="139" y="22"/>
                  </a:cubicBezTo>
                  <a:cubicBezTo>
                    <a:pt x="137" y="24"/>
                    <a:pt x="137" y="25"/>
                    <a:pt x="134" y="26"/>
                  </a:cubicBezTo>
                  <a:cubicBezTo>
                    <a:pt x="130" y="28"/>
                    <a:pt x="122" y="23"/>
                    <a:pt x="122" y="29"/>
                  </a:cubicBezTo>
                  <a:cubicBezTo>
                    <a:pt x="119" y="30"/>
                    <a:pt x="117" y="28"/>
                    <a:pt x="115" y="27"/>
                  </a:cubicBezTo>
                  <a:cubicBezTo>
                    <a:pt x="114" y="27"/>
                    <a:pt x="114" y="29"/>
                    <a:pt x="112" y="28"/>
                  </a:cubicBezTo>
                  <a:cubicBezTo>
                    <a:pt x="112" y="27"/>
                    <a:pt x="112" y="25"/>
                    <a:pt x="112" y="25"/>
                  </a:cubicBezTo>
                  <a:cubicBezTo>
                    <a:pt x="110" y="24"/>
                    <a:pt x="107" y="23"/>
                    <a:pt x="105" y="24"/>
                  </a:cubicBezTo>
                  <a:cubicBezTo>
                    <a:pt x="104" y="25"/>
                    <a:pt x="103" y="27"/>
                    <a:pt x="101" y="26"/>
                  </a:cubicBezTo>
                  <a:cubicBezTo>
                    <a:pt x="99" y="25"/>
                    <a:pt x="99" y="23"/>
                    <a:pt x="98" y="22"/>
                  </a:cubicBezTo>
                  <a:cubicBezTo>
                    <a:pt x="94" y="18"/>
                    <a:pt x="94" y="24"/>
                    <a:pt x="93" y="26"/>
                  </a:cubicBezTo>
                  <a:cubicBezTo>
                    <a:pt x="91" y="28"/>
                    <a:pt x="90" y="27"/>
                    <a:pt x="88" y="28"/>
                  </a:cubicBezTo>
                  <a:cubicBezTo>
                    <a:pt x="87" y="28"/>
                    <a:pt x="85" y="30"/>
                    <a:pt x="84" y="30"/>
                  </a:cubicBezTo>
                  <a:cubicBezTo>
                    <a:pt x="82" y="30"/>
                    <a:pt x="81" y="22"/>
                    <a:pt x="81" y="21"/>
                  </a:cubicBezTo>
                  <a:cubicBezTo>
                    <a:pt x="82" y="19"/>
                    <a:pt x="84" y="19"/>
                    <a:pt x="85" y="17"/>
                  </a:cubicBezTo>
                  <a:cubicBezTo>
                    <a:pt x="86" y="16"/>
                    <a:pt x="86" y="14"/>
                    <a:pt x="86" y="12"/>
                  </a:cubicBezTo>
                  <a:cubicBezTo>
                    <a:pt x="85" y="11"/>
                    <a:pt x="83" y="12"/>
                    <a:pt x="82" y="11"/>
                  </a:cubicBezTo>
                  <a:cubicBezTo>
                    <a:pt x="81" y="10"/>
                    <a:pt x="81" y="7"/>
                    <a:pt x="81" y="6"/>
                  </a:cubicBezTo>
                  <a:cubicBezTo>
                    <a:pt x="82" y="4"/>
                    <a:pt x="84" y="2"/>
                    <a:pt x="82" y="1"/>
                  </a:cubicBezTo>
                  <a:cubicBezTo>
                    <a:pt x="80" y="0"/>
                    <a:pt x="79" y="2"/>
                    <a:pt x="78" y="3"/>
                  </a:cubicBezTo>
                  <a:cubicBezTo>
                    <a:pt x="78" y="4"/>
                    <a:pt x="77" y="6"/>
                    <a:pt x="77" y="6"/>
                  </a:cubicBezTo>
                  <a:cubicBezTo>
                    <a:pt x="76" y="7"/>
                    <a:pt x="74" y="7"/>
                    <a:pt x="73" y="7"/>
                  </a:cubicBezTo>
                  <a:cubicBezTo>
                    <a:pt x="69" y="8"/>
                    <a:pt x="66" y="10"/>
                    <a:pt x="63" y="11"/>
                  </a:cubicBezTo>
                  <a:cubicBezTo>
                    <a:pt x="60" y="13"/>
                    <a:pt x="56" y="15"/>
                    <a:pt x="53" y="16"/>
                  </a:cubicBezTo>
                  <a:cubicBezTo>
                    <a:pt x="51" y="17"/>
                    <a:pt x="48" y="18"/>
                    <a:pt x="47" y="19"/>
                  </a:cubicBezTo>
                  <a:cubicBezTo>
                    <a:pt x="46" y="20"/>
                    <a:pt x="46" y="23"/>
                    <a:pt x="45" y="24"/>
                  </a:cubicBezTo>
                  <a:cubicBezTo>
                    <a:pt x="45" y="24"/>
                    <a:pt x="43" y="26"/>
                    <a:pt x="42" y="26"/>
                  </a:cubicBezTo>
                  <a:cubicBezTo>
                    <a:pt x="42" y="27"/>
                    <a:pt x="42" y="28"/>
                    <a:pt x="42" y="29"/>
                  </a:cubicBezTo>
                  <a:cubicBezTo>
                    <a:pt x="42" y="30"/>
                    <a:pt x="42" y="31"/>
                    <a:pt x="41" y="31"/>
                  </a:cubicBezTo>
                  <a:cubicBezTo>
                    <a:pt x="41" y="33"/>
                    <a:pt x="41" y="35"/>
                    <a:pt x="41" y="36"/>
                  </a:cubicBezTo>
                  <a:cubicBezTo>
                    <a:pt x="42" y="39"/>
                    <a:pt x="43" y="40"/>
                    <a:pt x="44" y="42"/>
                  </a:cubicBezTo>
                  <a:cubicBezTo>
                    <a:pt x="46" y="45"/>
                    <a:pt x="46" y="51"/>
                    <a:pt x="45" y="54"/>
                  </a:cubicBezTo>
                  <a:cubicBezTo>
                    <a:pt x="44" y="55"/>
                    <a:pt x="43" y="56"/>
                    <a:pt x="43" y="57"/>
                  </a:cubicBezTo>
                  <a:cubicBezTo>
                    <a:pt x="42" y="59"/>
                    <a:pt x="44" y="60"/>
                    <a:pt x="44" y="61"/>
                  </a:cubicBezTo>
                  <a:cubicBezTo>
                    <a:pt x="45" y="62"/>
                    <a:pt x="46" y="65"/>
                    <a:pt x="46" y="66"/>
                  </a:cubicBezTo>
                  <a:cubicBezTo>
                    <a:pt x="46" y="69"/>
                    <a:pt x="45" y="68"/>
                    <a:pt x="43" y="69"/>
                  </a:cubicBezTo>
                  <a:cubicBezTo>
                    <a:pt x="42" y="70"/>
                    <a:pt x="39" y="71"/>
                    <a:pt x="39" y="72"/>
                  </a:cubicBezTo>
                  <a:cubicBezTo>
                    <a:pt x="38" y="73"/>
                    <a:pt x="38" y="75"/>
                    <a:pt x="38" y="76"/>
                  </a:cubicBezTo>
                  <a:cubicBezTo>
                    <a:pt x="38" y="81"/>
                    <a:pt x="40" y="83"/>
                    <a:pt x="42" y="87"/>
                  </a:cubicBezTo>
                  <a:cubicBezTo>
                    <a:pt x="43" y="88"/>
                    <a:pt x="44" y="88"/>
                    <a:pt x="44" y="90"/>
                  </a:cubicBezTo>
                  <a:cubicBezTo>
                    <a:pt x="44" y="95"/>
                    <a:pt x="46" y="99"/>
                    <a:pt x="47" y="103"/>
                  </a:cubicBezTo>
                  <a:cubicBezTo>
                    <a:pt x="47" y="108"/>
                    <a:pt x="47" y="113"/>
                    <a:pt x="47" y="118"/>
                  </a:cubicBezTo>
                  <a:cubicBezTo>
                    <a:pt x="47" y="121"/>
                    <a:pt x="46" y="124"/>
                    <a:pt x="44" y="127"/>
                  </a:cubicBezTo>
                  <a:cubicBezTo>
                    <a:pt x="43" y="129"/>
                    <a:pt x="42" y="132"/>
                    <a:pt x="41" y="134"/>
                  </a:cubicBezTo>
                  <a:cubicBezTo>
                    <a:pt x="41" y="134"/>
                    <a:pt x="40" y="135"/>
                    <a:pt x="40" y="136"/>
                  </a:cubicBezTo>
                  <a:cubicBezTo>
                    <a:pt x="40" y="137"/>
                    <a:pt x="39" y="138"/>
                    <a:pt x="39" y="139"/>
                  </a:cubicBezTo>
                  <a:cubicBezTo>
                    <a:pt x="38" y="140"/>
                    <a:pt x="38" y="140"/>
                    <a:pt x="38" y="141"/>
                  </a:cubicBezTo>
                  <a:cubicBezTo>
                    <a:pt x="38" y="142"/>
                    <a:pt x="37" y="143"/>
                    <a:pt x="37" y="145"/>
                  </a:cubicBezTo>
                  <a:cubicBezTo>
                    <a:pt x="37" y="145"/>
                    <a:pt x="37" y="146"/>
                    <a:pt x="37" y="147"/>
                  </a:cubicBezTo>
                  <a:cubicBezTo>
                    <a:pt x="37" y="149"/>
                    <a:pt x="37" y="151"/>
                    <a:pt x="38" y="153"/>
                  </a:cubicBezTo>
                  <a:cubicBezTo>
                    <a:pt x="38" y="154"/>
                    <a:pt x="39" y="156"/>
                    <a:pt x="38" y="157"/>
                  </a:cubicBezTo>
                  <a:cubicBezTo>
                    <a:pt x="38" y="158"/>
                    <a:pt x="38" y="158"/>
                    <a:pt x="38" y="159"/>
                  </a:cubicBezTo>
                  <a:cubicBezTo>
                    <a:pt x="38" y="159"/>
                    <a:pt x="37" y="160"/>
                    <a:pt x="37" y="161"/>
                  </a:cubicBezTo>
                  <a:cubicBezTo>
                    <a:pt x="36" y="162"/>
                    <a:pt x="34" y="163"/>
                    <a:pt x="33" y="164"/>
                  </a:cubicBezTo>
                  <a:cubicBezTo>
                    <a:pt x="32" y="166"/>
                    <a:pt x="30" y="168"/>
                    <a:pt x="28" y="171"/>
                  </a:cubicBezTo>
                  <a:cubicBezTo>
                    <a:pt x="26" y="174"/>
                    <a:pt x="26" y="177"/>
                    <a:pt x="26" y="181"/>
                  </a:cubicBezTo>
                  <a:cubicBezTo>
                    <a:pt x="26" y="182"/>
                    <a:pt x="26" y="183"/>
                    <a:pt x="26" y="184"/>
                  </a:cubicBezTo>
                  <a:cubicBezTo>
                    <a:pt x="26" y="185"/>
                    <a:pt x="26" y="186"/>
                    <a:pt x="26" y="186"/>
                  </a:cubicBezTo>
                  <a:cubicBezTo>
                    <a:pt x="26" y="187"/>
                    <a:pt x="26" y="188"/>
                    <a:pt x="26" y="188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2" name="Freeform 93">
              <a:extLst>
                <a:ext uri="{FF2B5EF4-FFF2-40B4-BE49-F238E27FC236}">
                  <a16:creationId xmlns:a16="http://schemas.microsoft.com/office/drawing/2014/main" id="{6F539EEC-8A35-48C8-81DB-6CB18FFBC4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2838" y="5495925"/>
              <a:ext cx="1368425" cy="1063625"/>
            </a:xfrm>
            <a:custGeom>
              <a:avLst/>
              <a:gdLst/>
              <a:ahLst/>
              <a:cxnLst>
                <a:cxn ang="0">
                  <a:pos x="99" y="497"/>
                </a:cxn>
                <a:cxn ang="0">
                  <a:pos x="34" y="469"/>
                </a:cxn>
                <a:cxn ang="0">
                  <a:pos x="34" y="466"/>
                </a:cxn>
                <a:cxn ang="0">
                  <a:pos x="33" y="479"/>
                </a:cxn>
                <a:cxn ang="0">
                  <a:pos x="35" y="465"/>
                </a:cxn>
                <a:cxn ang="0">
                  <a:pos x="37" y="282"/>
                </a:cxn>
                <a:cxn ang="0">
                  <a:pos x="38" y="276"/>
                </a:cxn>
                <a:cxn ang="0">
                  <a:pos x="38" y="457"/>
                </a:cxn>
                <a:cxn ang="0">
                  <a:pos x="26" y="306"/>
                </a:cxn>
                <a:cxn ang="0">
                  <a:pos x="34" y="285"/>
                </a:cxn>
                <a:cxn ang="0">
                  <a:pos x="40" y="258"/>
                </a:cxn>
                <a:cxn ang="0">
                  <a:pos x="45" y="246"/>
                </a:cxn>
                <a:cxn ang="0">
                  <a:pos x="48" y="495"/>
                </a:cxn>
                <a:cxn ang="0">
                  <a:pos x="52" y="496"/>
                </a:cxn>
                <a:cxn ang="0">
                  <a:pos x="0" y="373"/>
                </a:cxn>
                <a:cxn ang="0">
                  <a:pos x="0" y="375"/>
                </a:cxn>
                <a:cxn ang="0">
                  <a:pos x="1" y="359"/>
                </a:cxn>
                <a:cxn ang="0">
                  <a:pos x="499" y="314"/>
                </a:cxn>
                <a:cxn ang="0">
                  <a:pos x="672" y="99"/>
                </a:cxn>
                <a:cxn ang="0">
                  <a:pos x="648" y="101"/>
                </a:cxn>
                <a:cxn ang="0">
                  <a:pos x="621" y="96"/>
                </a:cxn>
                <a:cxn ang="0">
                  <a:pos x="617" y="77"/>
                </a:cxn>
                <a:cxn ang="0">
                  <a:pos x="577" y="77"/>
                </a:cxn>
                <a:cxn ang="0">
                  <a:pos x="490" y="58"/>
                </a:cxn>
                <a:cxn ang="0">
                  <a:pos x="456" y="31"/>
                </a:cxn>
                <a:cxn ang="0">
                  <a:pos x="373" y="28"/>
                </a:cxn>
                <a:cxn ang="0">
                  <a:pos x="285" y="25"/>
                </a:cxn>
                <a:cxn ang="0">
                  <a:pos x="205" y="15"/>
                </a:cxn>
                <a:cxn ang="0">
                  <a:pos x="83" y="15"/>
                </a:cxn>
                <a:cxn ang="0">
                  <a:pos x="63" y="39"/>
                </a:cxn>
                <a:cxn ang="0">
                  <a:pos x="27" y="69"/>
                </a:cxn>
                <a:cxn ang="0">
                  <a:pos x="53" y="92"/>
                </a:cxn>
                <a:cxn ang="0">
                  <a:pos x="24" y="129"/>
                </a:cxn>
                <a:cxn ang="0">
                  <a:pos x="47" y="141"/>
                </a:cxn>
                <a:cxn ang="0">
                  <a:pos x="82" y="133"/>
                </a:cxn>
                <a:cxn ang="0">
                  <a:pos x="101" y="148"/>
                </a:cxn>
                <a:cxn ang="0">
                  <a:pos x="142" y="141"/>
                </a:cxn>
                <a:cxn ang="0">
                  <a:pos x="175" y="145"/>
                </a:cxn>
                <a:cxn ang="0">
                  <a:pos x="188" y="178"/>
                </a:cxn>
                <a:cxn ang="0">
                  <a:pos x="149" y="207"/>
                </a:cxn>
                <a:cxn ang="0">
                  <a:pos x="144" y="274"/>
                </a:cxn>
                <a:cxn ang="0">
                  <a:pos x="110" y="319"/>
                </a:cxn>
                <a:cxn ang="0">
                  <a:pos x="123" y="351"/>
                </a:cxn>
                <a:cxn ang="0">
                  <a:pos x="118" y="393"/>
                </a:cxn>
                <a:cxn ang="0">
                  <a:pos x="136" y="426"/>
                </a:cxn>
                <a:cxn ang="0">
                  <a:pos x="116" y="444"/>
                </a:cxn>
                <a:cxn ang="0">
                  <a:pos x="109" y="473"/>
                </a:cxn>
                <a:cxn ang="0">
                  <a:pos x="159" y="506"/>
                </a:cxn>
                <a:cxn ang="0">
                  <a:pos x="205" y="564"/>
                </a:cxn>
                <a:cxn ang="0">
                  <a:pos x="263" y="534"/>
                </a:cxn>
                <a:cxn ang="0">
                  <a:pos x="351" y="521"/>
                </a:cxn>
                <a:cxn ang="0">
                  <a:pos x="399" y="517"/>
                </a:cxn>
                <a:cxn ang="0">
                  <a:pos x="438" y="466"/>
                </a:cxn>
                <a:cxn ang="0">
                  <a:pos x="472" y="442"/>
                </a:cxn>
                <a:cxn ang="0">
                  <a:pos x="513" y="394"/>
                </a:cxn>
                <a:cxn ang="0">
                  <a:pos x="493" y="328"/>
                </a:cxn>
                <a:cxn ang="0">
                  <a:pos x="547" y="255"/>
                </a:cxn>
                <a:cxn ang="0">
                  <a:pos x="619" y="203"/>
                </a:cxn>
                <a:cxn ang="0">
                  <a:pos x="671" y="178"/>
                </a:cxn>
                <a:cxn ang="0">
                  <a:pos x="731" y="134"/>
                </a:cxn>
              </a:cxnLst>
              <a:rect l="0" t="0" r="r" b="b"/>
              <a:pathLst>
                <a:path w="732" h="569">
                  <a:moveTo>
                    <a:pt x="108" y="495"/>
                  </a:moveTo>
                  <a:cubicBezTo>
                    <a:pt x="107" y="495"/>
                    <a:pt x="106" y="496"/>
                    <a:pt x="105" y="496"/>
                  </a:cubicBezTo>
                  <a:cubicBezTo>
                    <a:pt x="106" y="496"/>
                    <a:pt x="107" y="495"/>
                    <a:pt x="108" y="495"/>
                  </a:cubicBezTo>
                  <a:moveTo>
                    <a:pt x="98" y="497"/>
                  </a:moveTo>
                  <a:cubicBezTo>
                    <a:pt x="97" y="497"/>
                    <a:pt x="96" y="497"/>
                    <a:pt x="95" y="497"/>
                  </a:cubicBezTo>
                  <a:cubicBezTo>
                    <a:pt x="99" y="497"/>
                    <a:pt x="102" y="497"/>
                    <a:pt x="105" y="496"/>
                  </a:cubicBezTo>
                  <a:cubicBezTo>
                    <a:pt x="105" y="496"/>
                    <a:pt x="105" y="496"/>
                    <a:pt x="105" y="496"/>
                  </a:cubicBezTo>
                  <a:cubicBezTo>
                    <a:pt x="103" y="496"/>
                    <a:pt x="101" y="497"/>
                    <a:pt x="99" y="497"/>
                  </a:cubicBezTo>
                  <a:cubicBezTo>
                    <a:pt x="99" y="497"/>
                    <a:pt x="98" y="497"/>
                    <a:pt x="98" y="497"/>
                  </a:cubicBezTo>
                  <a:moveTo>
                    <a:pt x="59" y="496"/>
                  </a:moveTo>
                  <a:cubicBezTo>
                    <a:pt x="57" y="496"/>
                    <a:pt x="56" y="496"/>
                    <a:pt x="54" y="496"/>
                  </a:cubicBezTo>
                  <a:cubicBezTo>
                    <a:pt x="56" y="496"/>
                    <a:pt x="57" y="496"/>
                    <a:pt x="59" y="496"/>
                  </a:cubicBezTo>
                  <a:cubicBezTo>
                    <a:pt x="60" y="496"/>
                    <a:pt x="60" y="496"/>
                    <a:pt x="61" y="496"/>
                  </a:cubicBezTo>
                  <a:cubicBezTo>
                    <a:pt x="60" y="496"/>
                    <a:pt x="60" y="496"/>
                    <a:pt x="59" y="496"/>
                  </a:cubicBezTo>
                  <a:moveTo>
                    <a:pt x="34" y="471"/>
                  </a:moveTo>
                  <a:cubicBezTo>
                    <a:pt x="34" y="470"/>
                    <a:pt x="34" y="470"/>
                    <a:pt x="34" y="469"/>
                  </a:cubicBezTo>
                  <a:cubicBezTo>
                    <a:pt x="34" y="470"/>
                    <a:pt x="34" y="470"/>
                    <a:pt x="34" y="471"/>
                  </a:cubicBezTo>
                  <a:moveTo>
                    <a:pt x="34" y="472"/>
                  </a:moveTo>
                  <a:cubicBezTo>
                    <a:pt x="34" y="472"/>
                    <a:pt x="34" y="471"/>
                    <a:pt x="34" y="471"/>
                  </a:cubicBezTo>
                  <a:cubicBezTo>
                    <a:pt x="34" y="471"/>
                    <a:pt x="34" y="472"/>
                    <a:pt x="34" y="472"/>
                  </a:cubicBezTo>
                  <a:moveTo>
                    <a:pt x="34" y="473"/>
                  </a:moveTo>
                  <a:cubicBezTo>
                    <a:pt x="34" y="473"/>
                    <a:pt x="34" y="474"/>
                    <a:pt x="34" y="474"/>
                  </a:cubicBezTo>
                  <a:cubicBezTo>
                    <a:pt x="34" y="474"/>
                    <a:pt x="34" y="473"/>
                    <a:pt x="34" y="473"/>
                  </a:cubicBezTo>
                  <a:moveTo>
                    <a:pt x="34" y="466"/>
                  </a:moveTo>
                  <a:cubicBezTo>
                    <a:pt x="34" y="467"/>
                    <a:pt x="34" y="467"/>
                    <a:pt x="34" y="467"/>
                  </a:cubicBezTo>
                  <a:cubicBezTo>
                    <a:pt x="34" y="467"/>
                    <a:pt x="34" y="467"/>
                    <a:pt x="34" y="466"/>
                  </a:cubicBezTo>
                  <a:moveTo>
                    <a:pt x="34" y="476"/>
                  </a:moveTo>
                  <a:cubicBezTo>
                    <a:pt x="34" y="476"/>
                    <a:pt x="34" y="475"/>
                    <a:pt x="34" y="475"/>
                  </a:cubicBezTo>
                  <a:cubicBezTo>
                    <a:pt x="34" y="475"/>
                    <a:pt x="34" y="476"/>
                    <a:pt x="34" y="476"/>
                  </a:cubicBezTo>
                  <a:moveTo>
                    <a:pt x="33" y="479"/>
                  </a:moveTo>
                  <a:cubicBezTo>
                    <a:pt x="33" y="478"/>
                    <a:pt x="34" y="477"/>
                    <a:pt x="34" y="476"/>
                  </a:cubicBezTo>
                  <a:cubicBezTo>
                    <a:pt x="34" y="477"/>
                    <a:pt x="33" y="478"/>
                    <a:pt x="33" y="479"/>
                  </a:cubicBezTo>
                  <a:moveTo>
                    <a:pt x="30" y="485"/>
                  </a:moveTo>
                  <a:cubicBezTo>
                    <a:pt x="31" y="484"/>
                    <a:pt x="31" y="484"/>
                    <a:pt x="31" y="483"/>
                  </a:cubicBezTo>
                  <a:cubicBezTo>
                    <a:pt x="31" y="484"/>
                    <a:pt x="31" y="484"/>
                    <a:pt x="30" y="485"/>
                  </a:cubicBezTo>
                  <a:moveTo>
                    <a:pt x="32" y="481"/>
                  </a:moveTo>
                  <a:cubicBezTo>
                    <a:pt x="32" y="481"/>
                    <a:pt x="32" y="481"/>
                    <a:pt x="32" y="481"/>
                  </a:cubicBezTo>
                  <a:cubicBezTo>
                    <a:pt x="32" y="481"/>
                    <a:pt x="32" y="481"/>
                    <a:pt x="32" y="481"/>
                  </a:cubicBezTo>
                  <a:moveTo>
                    <a:pt x="34" y="465"/>
                  </a:moveTo>
                  <a:cubicBezTo>
                    <a:pt x="34" y="465"/>
                    <a:pt x="35" y="465"/>
                    <a:pt x="35" y="465"/>
                  </a:cubicBezTo>
                  <a:cubicBezTo>
                    <a:pt x="35" y="465"/>
                    <a:pt x="34" y="465"/>
                    <a:pt x="34" y="465"/>
                  </a:cubicBezTo>
                  <a:moveTo>
                    <a:pt x="35" y="463"/>
                  </a:moveTo>
                  <a:cubicBezTo>
                    <a:pt x="35" y="462"/>
                    <a:pt x="36" y="461"/>
                    <a:pt x="36" y="461"/>
                  </a:cubicBezTo>
                  <a:cubicBezTo>
                    <a:pt x="36" y="461"/>
                    <a:pt x="35" y="462"/>
                    <a:pt x="35" y="463"/>
                  </a:cubicBezTo>
                  <a:moveTo>
                    <a:pt x="37" y="460"/>
                  </a:moveTo>
                  <a:cubicBezTo>
                    <a:pt x="37" y="459"/>
                    <a:pt x="37" y="459"/>
                    <a:pt x="37" y="458"/>
                  </a:cubicBezTo>
                  <a:cubicBezTo>
                    <a:pt x="37" y="459"/>
                    <a:pt x="37" y="459"/>
                    <a:pt x="37" y="460"/>
                  </a:cubicBezTo>
                  <a:moveTo>
                    <a:pt x="37" y="282"/>
                  </a:moveTo>
                  <a:cubicBezTo>
                    <a:pt x="38" y="282"/>
                    <a:pt x="38" y="282"/>
                    <a:pt x="38" y="282"/>
                  </a:cubicBezTo>
                  <a:cubicBezTo>
                    <a:pt x="38" y="282"/>
                    <a:pt x="38" y="282"/>
                    <a:pt x="37" y="282"/>
                  </a:cubicBezTo>
                  <a:moveTo>
                    <a:pt x="38" y="281"/>
                  </a:moveTo>
                  <a:cubicBezTo>
                    <a:pt x="38" y="281"/>
                    <a:pt x="38" y="281"/>
                    <a:pt x="38" y="281"/>
                  </a:cubicBezTo>
                  <a:cubicBezTo>
                    <a:pt x="38" y="281"/>
                    <a:pt x="38" y="281"/>
                    <a:pt x="38" y="281"/>
                  </a:cubicBezTo>
                  <a:moveTo>
                    <a:pt x="38" y="275"/>
                  </a:moveTo>
                  <a:cubicBezTo>
                    <a:pt x="38" y="274"/>
                    <a:pt x="38" y="274"/>
                    <a:pt x="37" y="273"/>
                  </a:cubicBezTo>
                  <a:cubicBezTo>
                    <a:pt x="38" y="274"/>
                    <a:pt x="38" y="275"/>
                    <a:pt x="38" y="276"/>
                  </a:cubicBezTo>
                  <a:cubicBezTo>
                    <a:pt x="38" y="276"/>
                    <a:pt x="38" y="275"/>
                    <a:pt x="38" y="275"/>
                  </a:cubicBezTo>
                  <a:moveTo>
                    <a:pt x="38" y="278"/>
                  </a:moveTo>
                  <a:cubicBezTo>
                    <a:pt x="39" y="278"/>
                    <a:pt x="39" y="279"/>
                    <a:pt x="38" y="279"/>
                  </a:cubicBezTo>
                  <a:cubicBezTo>
                    <a:pt x="39" y="279"/>
                    <a:pt x="39" y="278"/>
                    <a:pt x="38" y="278"/>
                  </a:cubicBezTo>
                  <a:moveTo>
                    <a:pt x="38" y="278"/>
                  </a:moveTo>
                  <a:cubicBezTo>
                    <a:pt x="38" y="277"/>
                    <a:pt x="38" y="277"/>
                    <a:pt x="38" y="277"/>
                  </a:cubicBezTo>
                  <a:cubicBezTo>
                    <a:pt x="38" y="277"/>
                    <a:pt x="38" y="277"/>
                    <a:pt x="38" y="278"/>
                  </a:cubicBezTo>
                  <a:moveTo>
                    <a:pt x="38" y="457"/>
                  </a:moveTo>
                  <a:cubicBezTo>
                    <a:pt x="38" y="456"/>
                    <a:pt x="38" y="456"/>
                    <a:pt x="38" y="456"/>
                  </a:cubicBezTo>
                  <a:cubicBezTo>
                    <a:pt x="38" y="456"/>
                    <a:pt x="38" y="456"/>
                    <a:pt x="38" y="457"/>
                  </a:cubicBezTo>
                  <a:moveTo>
                    <a:pt x="30" y="485"/>
                  </a:moveTo>
                  <a:cubicBezTo>
                    <a:pt x="30" y="486"/>
                    <a:pt x="29" y="486"/>
                    <a:pt x="29" y="487"/>
                  </a:cubicBezTo>
                  <a:cubicBezTo>
                    <a:pt x="29" y="486"/>
                    <a:pt x="30" y="486"/>
                    <a:pt x="30" y="485"/>
                  </a:cubicBezTo>
                  <a:moveTo>
                    <a:pt x="26" y="306"/>
                  </a:moveTo>
                  <a:cubicBezTo>
                    <a:pt x="26" y="307"/>
                    <a:pt x="26" y="308"/>
                    <a:pt x="26" y="308"/>
                  </a:cubicBezTo>
                  <a:cubicBezTo>
                    <a:pt x="26" y="308"/>
                    <a:pt x="26" y="307"/>
                    <a:pt x="26" y="306"/>
                  </a:cubicBezTo>
                  <a:moveTo>
                    <a:pt x="26" y="303"/>
                  </a:moveTo>
                  <a:cubicBezTo>
                    <a:pt x="26" y="304"/>
                    <a:pt x="26" y="305"/>
                    <a:pt x="26" y="306"/>
                  </a:cubicBezTo>
                  <a:cubicBezTo>
                    <a:pt x="26" y="305"/>
                    <a:pt x="26" y="304"/>
                    <a:pt x="26" y="303"/>
                  </a:cubicBezTo>
                  <a:moveTo>
                    <a:pt x="36" y="284"/>
                  </a:moveTo>
                  <a:cubicBezTo>
                    <a:pt x="36" y="284"/>
                    <a:pt x="36" y="284"/>
                    <a:pt x="35" y="284"/>
                  </a:cubicBezTo>
                  <a:cubicBezTo>
                    <a:pt x="36" y="284"/>
                    <a:pt x="36" y="284"/>
                    <a:pt x="36" y="284"/>
                  </a:cubicBezTo>
                  <a:moveTo>
                    <a:pt x="35" y="285"/>
                  </a:moveTo>
                  <a:cubicBezTo>
                    <a:pt x="35" y="285"/>
                    <a:pt x="34" y="285"/>
                    <a:pt x="34" y="285"/>
                  </a:cubicBezTo>
                  <a:cubicBezTo>
                    <a:pt x="34" y="285"/>
                    <a:pt x="35" y="285"/>
                    <a:pt x="35" y="285"/>
                  </a:cubicBezTo>
                  <a:moveTo>
                    <a:pt x="33" y="286"/>
                  </a:moveTo>
                  <a:cubicBezTo>
                    <a:pt x="33" y="286"/>
                    <a:pt x="34" y="286"/>
                    <a:pt x="34" y="286"/>
                  </a:cubicBezTo>
                  <a:cubicBezTo>
                    <a:pt x="34" y="286"/>
                    <a:pt x="33" y="286"/>
                    <a:pt x="33" y="286"/>
                  </a:cubicBezTo>
                  <a:moveTo>
                    <a:pt x="37" y="282"/>
                  </a:moveTo>
                  <a:cubicBezTo>
                    <a:pt x="37" y="282"/>
                    <a:pt x="37" y="283"/>
                    <a:pt x="37" y="283"/>
                  </a:cubicBezTo>
                  <a:cubicBezTo>
                    <a:pt x="37" y="283"/>
                    <a:pt x="37" y="282"/>
                    <a:pt x="37" y="282"/>
                  </a:cubicBezTo>
                  <a:moveTo>
                    <a:pt x="40" y="258"/>
                  </a:moveTo>
                  <a:cubicBezTo>
                    <a:pt x="40" y="259"/>
                    <a:pt x="39" y="260"/>
                    <a:pt x="39" y="261"/>
                  </a:cubicBezTo>
                  <a:cubicBezTo>
                    <a:pt x="39" y="260"/>
                    <a:pt x="40" y="259"/>
                    <a:pt x="40" y="258"/>
                  </a:cubicBezTo>
                  <a:moveTo>
                    <a:pt x="41" y="153"/>
                  </a:moveTo>
                  <a:cubicBezTo>
                    <a:pt x="42" y="153"/>
                    <a:pt x="42" y="152"/>
                    <a:pt x="42" y="151"/>
                  </a:cubicBezTo>
                  <a:cubicBezTo>
                    <a:pt x="42" y="151"/>
                    <a:pt x="42" y="151"/>
                    <a:pt x="42" y="151"/>
                  </a:cubicBezTo>
                  <a:cubicBezTo>
                    <a:pt x="42" y="152"/>
                    <a:pt x="42" y="153"/>
                    <a:pt x="41" y="153"/>
                  </a:cubicBezTo>
                  <a:moveTo>
                    <a:pt x="45" y="247"/>
                  </a:moveTo>
                  <a:cubicBezTo>
                    <a:pt x="45" y="247"/>
                    <a:pt x="45" y="247"/>
                    <a:pt x="45" y="246"/>
                  </a:cubicBezTo>
                  <a:cubicBezTo>
                    <a:pt x="45" y="247"/>
                    <a:pt x="45" y="247"/>
                    <a:pt x="45" y="247"/>
                  </a:cubicBezTo>
                  <a:moveTo>
                    <a:pt x="46" y="245"/>
                  </a:moveTo>
                  <a:cubicBezTo>
                    <a:pt x="46" y="245"/>
                    <a:pt x="46" y="244"/>
                    <a:pt x="46" y="244"/>
                  </a:cubicBezTo>
                  <a:cubicBezTo>
                    <a:pt x="46" y="244"/>
                    <a:pt x="46" y="245"/>
                    <a:pt x="46" y="245"/>
                  </a:cubicBezTo>
                  <a:moveTo>
                    <a:pt x="46" y="243"/>
                  </a:moveTo>
                  <a:cubicBezTo>
                    <a:pt x="46" y="243"/>
                    <a:pt x="46" y="242"/>
                    <a:pt x="46" y="242"/>
                  </a:cubicBezTo>
                  <a:cubicBezTo>
                    <a:pt x="46" y="242"/>
                    <a:pt x="46" y="243"/>
                    <a:pt x="46" y="243"/>
                  </a:cubicBezTo>
                  <a:moveTo>
                    <a:pt x="48" y="495"/>
                  </a:moveTo>
                  <a:cubicBezTo>
                    <a:pt x="47" y="495"/>
                    <a:pt x="46" y="495"/>
                    <a:pt x="45" y="495"/>
                  </a:cubicBezTo>
                  <a:cubicBezTo>
                    <a:pt x="46" y="495"/>
                    <a:pt x="47" y="495"/>
                    <a:pt x="48" y="495"/>
                  </a:cubicBezTo>
                  <a:moveTo>
                    <a:pt x="43" y="496"/>
                  </a:moveTo>
                  <a:cubicBezTo>
                    <a:pt x="42" y="496"/>
                    <a:pt x="41" y="496"/>
                    <a:pt x="41" y="496"/>
                  </a:cubicBezTo>
                  <a:cubicBezTo>
                    <a:pt x="41" y="496"/>
                    <a:pt x="42" y="496"/>
                    <a:pt x="43" y="496"/>
                  </a:cubicBezTo>
                  <a:moveTo>
                    <a:pt x="52" y="496"/>
                  </a:moveTo>
                  <a:cubicBezTo>
                    <a:pt x="51" y="496"/>
                    <a:pt x="51" y="496"/>
                    <a:pt x="50" y="495"/>
                  </a:cubicBezTo>
                  <a:cubicBezTo>
                    <a:pt x="51" y="496"/>
                    <a:pt x="51" y="496"/>
                    <a:pt x="52" y="496"/>
                  </a:cubicBezTo>
                  <a:moveTo>
                    <a:pt x="50" y="495"/>
                  </a:moveTo>
                  <a:cubicBezTo>
                    <a:pt x="49" y="495"/>
                    <a:pt x="48" y="495"/>
                    <a:pt x="48" y="495"/>
                  </a:cubicBezTo>
                  <a:cubicBezTo>
                    <a:pt x="48" y="495"/>
                    <a:pt x="49" y="495"/>
                    <a:pt x="50" y="495"/>
                  </a:cubicBezTo>
                  <a:moveTo>
                    <a:pt x="45" y="495"/>
                  </a:moveTo>
                  <a:cubicBezTo>
                    <a:pt x="44" y="495"/>
                    <a:pt x="44" y="495"/>
                    <a:pt x="43" y="495"/>
                  </a:cubicBezTo>
                  <a:cubicBezTo>
                    <a:pt x="44" y="495"/>
                    <a:pt x="44" y="495"/>
                    <a:pt x="45" y="495"/>
                  </a:cubicBezTo>
                  <a:moveTo>
                    <a:pt x="0" y="373"/>
                  </a:moveTo>
                  <a:cubicBezTo>
                    <a:pt x="0" y="373"/>
                    <a:pt x="0" y="373"/>
                    <a:pt x="0" y="373"/>
                  </a:cubicBezTo>
                  <a:cubicBezTo>
                    <a:pt x="0" y="373"/>
                    <a:pt x="0" y="373"/>
                    <a:pt x="0" y="373"/>
                  </a:cubicBezTo>
                  <a:moveTo>
                    <a:pt x="0" y="372"/>
                  </a:moveTo>
                  <a:cubicBezTo>
                    <a:pt x="0" y="372"/>
                    <a:pt x="0" y="372"/>
                    <a:pt x="0" y="373"/>
                  </a:cubicBezTo>
                  <a:cubicBezTo>
                    <a:pt x="0" y="372"/>
                    <a:pt x="0" y="372"/>
                    <a:pt x="0" y="372"/>
                  </a:cubicBezTo>
                  <a:moveTo>
                    <a:pt x="1" y="376"/>
                  </a:moveTo>
                  <a:cubicBezTo>
                    <a:pt x="1" y="375"/>
                    <a:pt x="0" y="375"/>
                    <a:pt x="0" y="375"/>
                  </a:cubicBezTo>
                  <a:cubicBezTo>
                    <a:pt x="0" y="375"/>
                    <a:pt x="1" y="375"/>
                    <a:pt x="1" y="376"/>
                  </a:cubicBezTo>
                  <a:moveTo>
                    <a:pt x="0" y="375"/>
                  </a:moveTo>
                  <a:cubicBezTo>
                    <a:pt x="0" y="375"/>
                    <a:pt x="0" y="375"/>
                    <a:pt x="0" y="374"/>
                  </a:cubicBezTo>
                  <a:cubicBezTo>
                    <a:pt x="0" y="375"/>
                    <a:pt x="0" y="375"/>
                    <a:pt x="0" y="375"/>
                  </a:cubicBezTo>
                  <a:moveTo>
                    <a:pt x="0" y="374"/>
                  </a:moveTo>
                  <a:cubicBezTo>
                    <a:pt x="0" y="374"/>
                    <a:pt x="0" y="374"/>
                    <a:pt x="0" y="374"/>
                  </a:cubicBezTo>
                  <a:cubicBezTo>
                    <a:pt x="0" y="374"/>
                    <a:pt x="0" y="374"/>
                    <a:pt x="0" y="374"/>
                  </a:cubicBezTo>
                  <a:moveTo>
                    <a:pt x="1" y="359"/>
                  </a:moveTo>
                  <a:cubicBezTo>
                    <a:pt x="1" y="359"/>
                    <a:pt x="1" y="360"/>
                    <a:pt x="1" y="360"/>
                  </a:cubicBezTo>
                  <a:cubicBezTo>
                    <a:pt x="1" y="360"/>
                    <a:pt x="1" y="359"/>
                    <a:pt x="1" y="359"/>
                  </a:cubicBezTo>
                  <a:moveTo>
                    <a:pt x="0" y="362"/>
                  </a:moveTo>
                  <a:cubicBezTo>
                    <a:pt x="0" y="363"/>
                    <a:pt x="0" y="363"/>
                    <a:pt x="0" y="363"/>
                  </a:cubicBezTo>
                  <a:cubicBezTo>
                    <a:pt x="0" y="363"/>
                    <a:pt x="0" y="363"/>
                    <a:pt x="0" y="362"/>
                  </a:cubicBezTo>
                  <a:moveTo>
                    <a:pt x="447" y="26"/>
                  </a:moveTo>
                  <a:cubicBezTo>
                    <a:pt x="447" y="26"/>
                    <a:pt x="448" y="26"/>
                    <a:pt x="448" y="26"/>
                  </a:cubicBezTo>
                  <a:cubicBezTo>
                    <a:pt x="448" y="26"/>
                    <a:pt x="448" y="26"/>
                    <a:pt x="448" y="26"/>
                  </a:cubicBezTo>
                  <a:cubicBezTo>
                    <a:pt x="451" y="24"/>
                    <a:pt x="447" y="26"/>
                    <a:pt x="447" y="26"/>
                  </a:cubicBezTo>
                  <a:moveTo>
                    <a:pt x="499" y="314"/>
                  </a:moveTo>
                  <a:cubicBezTo>
                    <a:pt x="499" y="313"/>
                    <a:pt x="500" y="313"/>
                    <a:pt x="500" y="313"/>
                  </a:cubicBezTo>
                  <a:cubicBezTo>
                    <a:pt x="500" y="313"/>
                    <a:pt x="499" y="313"/>
                    <a:pt x="499" y="314"/>
                  </a:cubicBezTo>
                  <a:moveTo>
                    <a:pt x="731" y="104"/>
                  </a:moveTo>
                  <a:cubicBezTo>
                    <a:pt x="732" y="100"/>
                    <a:pt x="727" y="98"/>
                    <a:pt x="724" y="97"/>
                  </a:cubicBezTo>
                  <a:cubicBezTo>
                    <a:pt x="719" y="96"/>
                    <a:pt x="714" y="96"/>
                    <a:pt x="709" y="96"/>
                  </a:cubicBezTo>
                  <a:cubicBezTo>
                    <a:pt x="705" y="96"/>
                    <a:pt x="703" y="97"/>
                    <a:pt x="699" y="98"/>
                  </a:cubicBezTo>
                  <a:cubicBezTo>
                    <a:pt x="695" y="100"/>
                    <a:pt x="694" y="103"/>
                    <a:pt x="689" y="102"/>
                  </a:cubicBezTo>
                  <a:cubicBezTo>
                    <a:pt x="684" y="101"/>
                    <a:pt x="677" y="98"/>
                    <a:pt x="672" y="99"/>
                  </a:cubicBezTo>
                  <a:cubicBezTo>
                    <a:pt x="671" y="99"/>
                    <a:pt x="670" y="100"/>
                    <a:pt x="669" y="100"/>
                  </a:cubicBezTo>
                  <a:cubicBezTo>
                    <a:pt x="669" y="101"/>
                    <a:pt x="669" y="101"/>
                    <a:pt x="668" y="102"/>
                  </a:cubicBezTo>
                  <a:cubicBezTo>
                    <a:pt x="668" y="102"/>
                    <a:pt x="667" y="102"/>
                    <a:pt x="667" y="102"/>
                  </a:cubicBezTo>
                  <a:cubicBezTo>
                    <a:pt x="665" y="103"/>
                    <a:pt x="665" y="104"/>
                    <a:pt x="663" y="104"/>
                  </a:cubicBezTo>
                  <a:cubicBezTo>
                    <a:pt x="661" y="105"/>
                    <a:pt x="661" y="104"/>
                    <a:pt x="659" y="103"/>
                  </a:cubicBezTo>
                  <a:cubicBezTo>
                    <a:pt x="659" y="103"/>
                    <a:pt x="659" y="103"/>
                    <a:pt x="659" y="103"/>
                  </a:cubicBezTo>
                  <a:cubicBezTo>
                    <a:pt x="658" y="104"/>
                    <a:pt x="656" y="104"/>
                    <a:pt x="655" y="103"/>
                  </a:cubicBezTo>
                  <a:cubicBezTo>
                    <a:pt x="652" y="103"/>
                    <a:pt x="650" y="102"/>
                    <a:pt x="648" y="101"/>
                  </a:cubicBezTo>
                  <a:cubicBezTo>
                    <a:pt x="647" y="100"/>
                    <a:pt x="646" y="99"/>
                    <a:pt x="645" y="99"/>
                  </a:cubicBezTo>
                  <a:cubicBezTo>
                    <a:pt x="644" y="99"/>
                    <a:pt x="643" y="98"/>
                    <a:pt x="641" y="98"/>
                  </a:cubicBezTo>
                  <a:cubicBezTo>
                    <a:pt x="640" y="98"/>
                    <a:pt x="639" y="98"/>
                    <a:pt x="638" y="98"/>
                  </a:cubicBezTo>
                  <a:cubicBezTo>
                    <a:pt x="637" y="98"/>
                    <a:pt x="636" y="98"/>
                    <a:pt x="636" y="98"/>
                  </a:cubicBezTo>
                  <a:cubicBezTo>
                    <a:pt x="635" y="99"/>
                    <a:pt x="635" y="99"/>
                    <a:pt x="634" y="99"/>
                  </a:cubicBezTo>
                  <a:cubicBezTo>
                    <a:pt x="633" y="100"/>
                    <a:pt x="632" y="100"/>
                    <a:pt x="631" y="99"/>
                  </a:cubicBezTo>
                  <a:cubicBezTo>
                    <a:pt x="629" y="99"/>
                    <a:pt x="627" y="99"/>
                    <a:pt x="625" y="99"/>
                  </a:cubicBezTo>
                  <a:cubicBezTo>
                    <a:pt x="623" y="98"/>
                    <a:pt x="622" y="97"/>
                    <a:pt x="621" y="96"/>
                  </a:cubicBezTo>
                  <a:cubicBezTo>
                    <a:pt x="619" y="94"/>
                    <a:pt x="617" y="93"/>
                    <a:pt x="617" y="91"/>
                  </a:cubicBezTo>
                  <a:cubicBezTo>
                    <a:pt x="616" y="90"/>
                    <a:pt x="616" y="88"/>
                    <a:pt x="617" y="87"/>
                  </a:cubicBezTo>
                  <a:cubicBezTo>
                    <a:pt x="618" y="85"/>
                    <a:pt x="621" y="85"/>
                    <a:pt x="623" y="84"/>
                  </a:cubicBezTo>
                  <a:cubicBezTo>
                    <a:pt x="623" y="83"/>
                    <a:pt x="623" y="83"/>
                    <a:pt x="623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3" y="80"/>
                    <a:pt x="620" y="78"/>
                    <a:pt x="617" y="77"/>
                  </a:cubicBezTo>
                  <a:cubicBezTo>
                    <a:pt x="615" y="76"/>
                    <a:pt x="614" y="75"/>
                    <a:pt x="611" y="74"/>
                  </a:cubicBezTo>
                  <a:cubicBezTo>
                    <a:pt x="609" y="73"/>
                    <a:pt x="607" y="73"/>
                    <a:pt x="605" y="73"/>
                  </a:cubicBezTo>
                  <a:cubicBezTo>
                    <a:pt x="600" y="72"/>
                    <a:pt x="596" y="69"/>
                    <a:pt x="592" y="68"/>
                  </a:cubicBezTo>
                  <a:cubicBezTo>
                    <a:pt x="589" y="68"/>
                    <a:pt x="587" y="66"/>
                    <a:pt x="584" y="65"/>
                  </a:cubicBezTo>
                  <a:cubicBezTo>
                    <a:pt x="584" y="67"/>
                    <a:pt x="584" y="69"/>
                    <a:pt x="583" y="70"/>
                  </a:cubicBezTo>
                  <a:cubicBezTo>
                    <a:pt x="583" y="71"/>
                    <a:pt x="582" y="71"/>
                    <a:pt x="582" y="73"/>
                  </a:cubicBezTo>
                  <a:cubicBezTo>
                    <a:pt x="581" y="74"/>
                    <a:pt x="582" y="75"/>
                    <a:pt x="581" y="76"/>
                  </a:cubicBezTo>
                  <a:cubicBezTo>
                    <a:pt x="580" y="78"/>
                    <a:pt x="579" y="77"/>
                    <a:pt x="577" y="77"/>
                  </a:cubicBezTo>
                  <a:cubicBezTo>
                    <a:pt x="569" y="78"/>
                    <a:pt x="560" y="77"/>
                    <a:pt x="552" y="77"/>
                  </a:cubicBezTo>
                  <a:cubicBezTo>
                    <a:pt x="549" y="77"/>
                    <a:pt x="547" y="78"/>
                    <a:pt x="545" y="78"/>
                  </a:cubicBezTo>
                  <a:cubicBezTo>
                    <a:pt x="543" y="78"/>
                    <a:pt x="541" y="77"/>
                    <a:pt x="540" y="76"/>
                  </a:cubicBezTo>
                  <a:cubicBezTo>
                    <a:pt x="538" y="75"/>
                    <a:pt x="536" y="74"/>
                    <a:pt x="534" y="73"/>
                  </a:cubicBezTo>
                  <a:cubicBezTo>
                    <a:pt x="534" y="72"/>
                    <a:pt x="532" y="70"/>
                    <a:pt x="531" y="70"/>
                  </a:cubicBezTo>
                  <a:cubicBezTo>
                    <a:pt x="529" y="69"/>
                    <a:pt x="525" y="71"/>
                    <a:pt x="522" y="70"/>
                  </a:cubicBezTo>
                  <a:cubicBezTo>
                    <a:pt x="517" y="70"/>
                    <a:pt x="512" y="68"/>
                    <a:pt x="506" y="67"/>
                  </a:cubicBezTo>
                  <a:cubicBezTo>
                    <a:pt x="504" y="58"/>
                    <a:pt x="497" y="61"/>
                    <a:pt x="490" y="58"/>
                  </a:cubicBezTo>
                  <a:cubicBezTo>
                    <a:pt x="488" y="57"/>
                    <a:pt x="486" y="56"/>
                    <a:pt x="484" y="54"/>
                  </a:cubicBezTo>
                  <a:cubicBezTo>
                    <a:pt x="481" y="52"/>
                    <a:pt x="475" y="50"/>
                    <a:pt x="475" y="46"/>
                  </a:cubicBezTo>
                  <a:cubicBezTo>
                    <a:pt x="472" y="45"/>
                    <a:pt x="471" y="48"/>
                    <a:pt x="469" y="49"/>
                  </a:cubicBezTo>
                  <a:cubicBezTo>
                    <a:pt x="467" y="51"/>
                    <a:pt x="465" y="50"/>
                    <a:pt x="464" y="46"/>
                  </a:cubicBezTo>
                  <a:cubicBezTo>
                    <a:pt x="463" y="42"/>
                    <a:pt x="469" y="39"/>
                    <a:pt x="466" y="35"/>
                  </a:cubicBezTo>
                  <a:cubicBezTo>
                    <a:pt x="465" y="33"/>
                    <a:pt x="463" y="34"/>
                    <a:pt x="462" y="33"/>
                  </a:cubicBezTo>
                  <a:cubicBezTo>
                    <a:pt x="461" y="33"/>
                    <a:pt x="460" y="33"/>
                    <a:pt x="459" y="33"/>
                  </a:cubicBezTo>
                  <a:cubicBezTo>
                    <a:pt x="458" y="32"/>
                    <a:pt x="457" y="32"/>
                    <a:pt x="456" y="31"/>
                  </a:cubicBezTo>
                  <a:cubicBezTo>
                    <a:pt x="456" y="31"/>
                    <a:pt x="455" y="30"/>
                    <a:pt x="453" y="30"/>
                  </a:cubicBezTo>
                  <a:cubicBezTo>
                    <a:pt x="453" y="30"/>
                    <a:pt x="452" y="29"/>
                    <a:pt x="451" y="28"/>
                  </a:cubicBezTo>
                  <a:cubicBezTo>
                    <a:pt x="450" y="27"/>
                    <a:pt x="449" y="27"/>
                    <a:pt x="448" y="26"/>
                  </a:cubicBezTo>
                  <a:cubicBezTo>
                    <a:pt x="444" y="29"/>
                    <a:pt x="439" y="31"/>
                    <a:pt x="434" y="31"/>
                  </a:cubicBezTo>
                  <a:cubicBezTo>
                    <a:pt x="429" y="31"/>
                    <a:pt x="424" y="32"/>
                    <a:pt x="419" y="31"/>
                  </a:cubicBezTo>
                  <a:cubicBezTo>
                    <a:pt x="413" y="31"/>
                    <a:pt x="406" y="29"/>
                    <a:pt x="400" y="28"/>
                  </a:cubicBezTo>
                  <a:cubicBezTo>
                    <a:pt x="393" y="28"/>
                    <a:pt x="386" y="27"/>
                    <a:pt x="379" y="27"/>
                  </a:cubicBezTo>
                  <a:cubicBezTo>
                    <a:pt x="377" y="27"/>
                    <a:pt x="375" y="27"/>
                    <a:pt x="373" y="28"/>
                  </a:cubicBezTo>
                  <a:cubicBezTo>
                    <a:pt x="372" y="29"/>
                    <a:pt x="372" y="31"/>
                    <a:pt x="371" y="31"/>
                  </a:cubicBezTo>
                  <a:cubicBezTo>
                    <a:pt x="369" y="32"/>
                    <a:pt x="367" y="29"/>
                    <a:pt x="365" y="28"/>
                  </a:cubicBezTo>
                  <a:cubicBezTo>
                    <a:pt x="363" y="27"/>
                    <a:pt x="362" y="27"/>
                    <a:pt x="360" y="26"/>
                  </a:cubicBezTo>
                  <a:cubicBezTo>
                    <a:pt x="355" y="24"/>
                    <a:pt x="350" y="24"/>
                    <a:pt x="346" y="24"/>
                  </a:cubicBezTo>
                  <a:cubicBezTo>
                    <a:pt x="340" y="23"/>
                    <a:pt x="334" y="24"/>
                    <a:pt x="328" y="24"/>
                  </a:cubicBezTo>
                  <a:cubicBezTo>
                    <a:pt x="319" y="24"/>
                    <a:pt x="311" y="23"/>
                    <a:pt x="303" y="26"/>
                  </a:cubicBezTo>
                  <a:cubicBezTo>
                    <a:pt x="299" y="28"/>
                    <a:pt x="296" y="27"/>
                    <a:pt x="292" y="27"/>
                  </a:cubicBezTo>
                  <a:cubicBezTo>
                    <a:pt x="288" y="27"/>
                    <a:pt x="288" y="27"/>
                    <a:pt x="285" y="25"/>
                  </a:cubicBezTo>
                  <a:cubicBezTo>
                    <a:pt x="279" y="23"/>
                    <a:pt x="272" y="23"/>
                    <a:pt x="266" y="22"/>
                  </a:cubicBezTo>
                  <a:cubicBezTo>
                    <a:pt x="263" y="22"/>
                    <a:pt x="259" y="21"/>
                    <a:pt x="256" y="21"/>
                  </a:cubicBezTo>
                  <a:cubicBezTo>
                    <a:pt x="252" y="20"/>
                    <a:pt x="249" y="20"/>
                    <a:pt x="246" y="20"/>
                  </a:cubicBezTo>
                  <a:cubicBezTo>
                    <a:pt x="244" y="19"/>
                    <a:pt x="242" y="18"/>
                    <a:pt x="240" y="18"/>
                  </a:cubicBezTo>
                  <a:cubicBezTo>
                    <a:pt x="236" y="16"/>
                    <a:pt x="231" y="17"/>
                    <a:pt x="227" y="16"/>
                  </a:cubicBezTo>
                  <a:cubicBezTo>
                    <a:pt x="226" y="11"/>
                    <a:pt x="220" y="12"/>
                    <a:pt x="216" y="12"/>
                  </a:cubicBezTo>
                  <a:cubicBezTo>
                    <a:pt x="214" y="13"/>
                    <a:pt x="212" y="14"/>
                    <a:pt x="209" y="15"/>
                  </a:cubicBezTo>
                  <a:cubicBezTo>
                    <a:pt x="208" y="15"/>
                    <a:pt x="207" y="15"/>
                    <a:pt x="205" y="15"/>
                  </a:cubicBezTo>
                  <a:cubicBezTo>
                    <a:pt x="204" y="16"/>
                    <a:pt x="203" y="16"/>
                    <a:pt x="201" y="16"/>
                  </a:cubicBezTo>
                  <a:cubicBezTo>
                    <a:pt x="194" y="18"/>
                    <a:pt x="185" y="17"/>
                    <a:pt x="178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3" y="17"/>
                    <a:pt x="148" y="18"/>
                    <a:pt x="144" y="15"/>
                  </a:cubicBezTo>
                  <a:cubicBezTo>
                    <a:pt x="139" y="13"/>
                    <a:pt x="135" y="10"/>
                    <a:pt x="130" y="8"/>
                  </a:cubicBezTo>
                  <a:cubicBezTo>
                    <a:pt x="125" y="5"/>
                    <a:pt x="121" y="4"/>
                    <a:pt x="116" y="3"/>
                  </a:cubicBezTo>
                  <a:cubicBezTo>
                    <a:pt x="109" y="2"/>
                    <a:pt x="101" y="0"/>
                    <a:pt x="95" y="2"/>
                  </a:cubicBezTo>
                  <a:cubicBezTo>
                    <a:pt x="88" y="4"/>
                    <a:pt x="87" y="10"/>
                    <a:pt x="83" y="15"/>
                  </a:cubicBezTo>
                  <a:cubicBezTo>
                    <a:pt x="82" y="17"/>
                    <a:pt x="80" y="17"/>
                    <a:pt x="80" y="19"/>
                  </a:cubicBezTo>
                  <a:cubicBezTo>
                    <a:pt x="80" y="20"/>
                    <a:pt x="81" y="22"/>
                    <a:pt x="81" y="23"/>
                  </a:cubicBezTo>
                  <a:cubicBezTo>
                    <a:pt x="82" y="25"/>
                    <a:pt x="83" y="31"/>
                    <a:pt x="81" y="33"/>
                  </a:cubicBezTo>
                  <a:cubicBezTo>
                    <a:pt x="80" y="33"/>
                    <a:pt x="77" y="33"/>
                    <a:pt x="76" y="33"/>
                  </a:cubicBezTo>
                  <a:cubicBezTo>
                    <a:pt x="73" y="33"/>
                    <a:pt x="73" y="33"/>
                    <a:pt x="72" y="35"/>
                  </a:cubicBezTo>
                  <a:cubicBezTo>
                    <a:pt x="71" y="36"/>
                    <a:pt x="70" y="37"/>
                    <a:pt x="68" y="38"/>
                  </a:cubicBezTo>
                  <a:cubicBezTo>
                    <a:pt x="67" y="38"/>
                    <a:pt x="66" y="38"/>
                    <a:pt x="65" y="38"/>
                  </a:cubicBezTo>
                  <a:cubicBezTo>
                    <a:pt x="64" y="38"/>
                    <a:pt x="64" y="39"/>
                    <a:pt x="63" y="39"/>
                  </a:cubicBezTo>
                  <a:cubicBezTo>
                    <a:pt x="59" y="41"/>
                    <a:pt x="54" y="39"/>
                    <a:pt x="49" y="39"/>
                  </a:cubicBezTo>
                  <a:cubicBezTo>
                    <a:pt x="47" y="39"/>
                    <a:pt x="45" y="39"/>
                    <a:pt x="43" y="40"/>
                  </a:cubicBezTo>
                  <a:cubicBezTo>
                    <a:pt x="41" y="40"/>
                    <a:pt x="39" y="42"/>
                    <a:pt x="37" y="43"/>
                  </a:cubicBezTo>
                  <a:cubicBezTo>
                    <a:pt x="33" y="45"/>
                    <a:pt x="30" y="48"/>
                    <a:pt x="27" y="51"/>
                  </a:cubicBezTo>
                  <a:cubicBezTo>
                    <a:pt x="26" y="52"/>
                    <a:pt x="24" y="54"/>
                    <a:pt x="24" y="55"/>
                  </a:cubicBezTo>
                  <a:cubicBezTo>
                    <a:pt x="23" y="56"/>
                    <a:pt x="23" y="58"/>
                    <a:pt x="23" y="60"/>
                  </a:cubicBezTo>
                  <a:cubicBezTo>
                    <a:pt x="23" y="62"/>
                    <a:pt x="23" y="64"/>
                    <a:pt x="23" y="66"/>
                  </a:cubicBezTo>
                  <a:cubicBezTo>
                    <a:pt x="24" y="69"/>
                    <a:pt x="24" y="68"/>
                    <a:pt x="27" y="69"/>
                  </a:cubicBezTo>
                  <a:cubicBezTo>
                    <a:pt x="29" y="70"/>
                    <a:pt x="29" y="70"/>
                    <a:pt x="29" y="73"/>
                  </a:cubicBezTo>
                  <a:cubicBezTo>
                    <a:pt x="29" y="74"/>
                    <a:pt x="29" y="75"/>
                    <a:pt x="30" y="77"/>
                  </a:cubicBezTo>
                  <a:cubicBezTo>
                    <a:pt x="30" y="78"/>
                    <a:pt x="31" y="82"/>
                    <a:pt x="32" y="82"/>
                  </a:cubicBezTo>
                  <a:cubicBezTo>
                    <a:pt x="34" y="84"/>
                    <a:pt x="34" y="81"/>
                    <a:pt x="35" y="80"/>
                  </a:cubicBezTo>
                  <a:cubicBezTo>
                    <a:pt x="40" y="86"/>
                    <a:pt x="32" y="89"/>
                    <a:pt x="34" y="96"/>
                  </a:cubicBezTo>
                  <a:cubicBezTo>
                    <a:pt x="35" y="101"/>
                    <a:pt x="42" y="98"/>
                    <a:pt x="45" y="96"/>
                  </a:cubicBezTo>
                  <a:cubicBezTo>
                    <a:pt x="46" y="94"/>
                    <a:pt x="46" y="90"/>
                    <a:pt x="48" y="89"/>
                  </a:cubicBezTo>
                  <a:cubicBezTo>
                    <a:pt x="49" y="89"/>
                    <a:pt x="52" y="90"/>
                    <a:pt x="53" y="92"/>
                  </a:cubicBezTo>
                  <a:cubicBezTo>
                    <a:pt x="53" y="93"/>
                    <a:pt x="52" y="93"/>
                    <a:pt x="51" y="95"/>
                  </a:cubicBezTo>
                  <a:cubicBezTo>
                    <a:pt x="51" y="96"/>
                    <a:pt x="51" y="99"/>
                    <a:pt x="51" y="101"/>
                  </a:cubicBezTo>
                  <a:cubicBezTo>
                    <a:pt x="51" y="105"/>
                    <a:pt x="49" y="108"/>
                    <a:pt x="48" y="112"/>
                  </a:cubicBezTo>
                  <a:cubicBezTo>
                    <a:pt x="48" y="114"/>
                    <a:pt x="48" y="114"/>
                    <a:pt x="47" y="116"/>
                  </a:cubicBezTo>
                  <a:cubicBezTo>
                    <a:pt x="47" y="117"/>
                    <a:pt x="45" y="118"/>
                    <a:pt x="44" y="119"/>
                  </a:cubicBezTo>
                  <a:cubicBezTo>
                    <a:pt x="43" y="121"/>
                    <a:pt x="45" y="124"/>
                    <a:pt x="44" y="126"/>
                  </a:cubicBezTo>
                  <a:cubicBezTo>
                    <a:pt x="40" y="127"/>
                    <a:pt x="36" y="127"/>
                    <a:pt x="32" y="127"/>
                  </a:cubicBezTo>
                  <a:cubicBezTo>
                    <a:pt x="30" y="127"/>
                    <a:pt x="26" y="128"/>
                    <a:pt x="24" y="129"/>
                  </a:cubicBezTo>
                  <a:cubicBezTo>
                    <a:pt x="23" y="129"/>
                    <a:pt x="23" y="129"/>
                    <a:pt x="22" y="130"/>
                  </a:cubicBezTo>
                  <a:cubicBezTo>
                    <a:pt x="22" y="132"/>
                    <a:pt x="25" y="135"/>
                    <a:pt x="26" y="136"/>
                  </a:cubicBezTo>
                  <a:cubicBezTo>
                    <a:pt x="27" y="138"/>
                    <a:pt x="28" y="139"/>
                    <a:pt x="31" y="139"/>
                  </a:cubicBezTo>
                  <a:cubicBezTo>
                    <a:pt x="34" y="140"/>
                    <a:pt x="36" y="140"/>
                    <a:pt x="38" y="141"/>
                  </a:cubicBezTo>
                  <a:cubicBezTo>
                    <a:pt x="41" y="142"/>
                    <a:pt x="42" y="142"/>
                    <a:pt x="42" y="145"/>
                  </a:cubicBezTo>
                  <a:cubicBezTo>
                    <a:pt x="42" y="146"/>
                    <a:pt x="42" y="147"/>
                    <a:pt x="42" y="148"/>
                  </a:cubicBezTo>
                  <a:cubicBezTo>
                    <a:pt x="43" y="148"/>
                    <a:pt x="45" y="146"/>
                    <a:pt x="45" y="146"/>
                  </a:cubicBezTo>
                  <a:cubicBezTo>
                    <a:pt x="46" y="145"/>
                    <a:pt x="46" y="142"/>
                    <a:pt x="47" y="141"/>
                  </a:cubicBezTo>
                  <a:cubicBezTo>
                    <a:pt x="48" y="140"/>
                    <a:pt x="51" y="139"/>
                    <a:pt x="53" y="138"/>
                  </a:cubicBezTo>
                  <a:cubicBezTo>
                    <a:pt x="56" y="137"/>
                    <a:pt x="60" y="135"/>
                    <a:pt x="63" y="133"/>
                  </a:cubicBezTo>
                  <a:cubicBezTo>
                    <a:pt x="66" y="132"/>
                    <a:pt x="69" y="130"/>
                    <a:pt x="73" y="129"/>
                  </a:cubicBezTo>
                  <a:cubicBezTo>
                    <a:pt x="74" y="129"/>
                    <a:pt x="76" y="129"/>
                    <a:pt x="77" y="128"/>
                  </a:cubicBezTo>
                  <a:cubicBezTo>
                    <a:pt x="77" y="128"/>
                    <a:pt x="78" y="126"/>
                    <a:pt x="78" y="125"/>
                  </a:cubicBezTo>
                  <a:cubicBezTo>
                    <a:pt x="79" y="124"/>
                    <a:pt x="80" y="122"/>
                    <a:pt x="82" y="123"/>
                  </a:cubicBezTo>
                  <a:cubicBezTo>
                    <a:pt x="84" y="124"/>
                    <a:pt x="82" y="126"/>
                    <a:pt x="81" y="128"/>
                  </a:cubicBezTo>
                  <a:cubicBezTo>
                    <a:pt x="81" y="129"/>
                    <a:pt x="81" y="132"/>
                    <a:pt x="82" y="133"/>
                  </a:cubicBezTo>
                  <a:cubicBezTo>
                    <a:pt x="83" y="134"/>
                    <a:pt x="85" y="133"/>
                    <a:pt x="86" y="134"/>
                  </a:cubicBezTo>
                  <a:cubicBezTo>
                    <a:pt x="86" y="136"/>
                    <a:pt x="86" y="138"/>
                    <a:pt x="85" y="139"/>
                  </a:cubicBezTo>
                  <a:cubicBezTo>
                    <a:pt x="84" y="141"/>
                    <a:pt x="82" y="141"/>
                    <a:pt x="81" y="143"/>
                  </a:cubicBezTo>
                  <a:cubicBezTo>
                    <a:pt x="81" y="144"/>
                    <a:pt x="82" y="152"/>
                    <a:pt x="84" y="152"/>
                  </a:cubicBezTo>
                  <a:cubicBezTo>
                    <a:pt x="85" y="152"/>
                    <a:pt x="87" y="150"/>
                    <a:pt x="88" y="150"/>
                  </a:cubicBezTo>
                  <a:cubicBezTo>
                    <a:pt x="90" y="149"/>
                    <a:pt x="91" y="150"/>
                    <a:pt x="93" y="148"/>
                  </a:cubicBezTo>
                  <a:cubicBezTo>
                    <a:pt x="94" y="146"/>
                    <a:pt x="94" y="140"/>
                    <a:pt x="98" y="144"/>
                  </a:cubicBezTo>
                  <a:cubicBezTo>
                    <a:pt x="99" y="145"/>
                    <a:pt x="99" y="147"/>
                    <a:pt x="101" y="148"/>
                  </a:cubicBezTo>
                  <a:cubicBezTo>
                    <a:pt x="103" y="149"/>
                    <a:pt x="104" y="147"/>
                    <a:pt x="105" y="146"/>
                  </a:cubicBezTo>
                  <a:cubicBezTo>
                    <a:pt x="107" y="145"/>
                    <a:pt x="110" y="146"/>
                    <a:pt x="112" y="147"/>
                  </a:cubicBezTo>
                  <a:cubicBezTo>
                    <a:pt x="112" y="147"/>
                    <a:pt x="112" y="149"/>
                    <a:pt x="112" y="150"/>
                  </a:cubicBezTo>
                  <a:cubicBezTo>
                    <a:pt x="114" y="151"/>
                    <a:pt x="114" y="149"/>
                    <a:pt x="115" y="149"/>
                  </a:cubicBezTo>
                  <a:cubicBezTo>
                    <a:pt x="117" y="150"/>
                    <a:pt x="119" y="152"/>
                    <a:pt x="122" y="151"/>
                  </a:cubicBezTo>
                  <a:cubicBezTo>
                    <a:pt x="122" y="145"/>
                    <a:pt x="130" y="150"/>
                    <a:pt x="134" y="148"/>
                  </a:cubicBezTo>
                  <a:cubicBezTo>
                    <a:pt x="137" y="147"/>
                    <a:pt x="137" y="146"/>
                    <a:pt x="139" y="144"/>
                  </a:cubicBezTo>
                  <a:cubicBezTo>
                    <a:pt x="140" y="143"/>
                    <a:pt x="141" y="142"/>
                    <a:pt x="142" y="141"/>
                  </a:cubicBezTo>
                  <a:cubicBezTo>
                    <a:pt x="143" y="140"/>
                    <a:pt x="142" y="139"/>
                    <a:pt x="143" y="138"/>
                  </a:cubicBezTo>
                  <a:cubicBezTo>
                    <a:pt x="144" y="138"/>
                    <a:pt x="144" y="139"/>
                    <a:pt x="145" y="139"/>
                  </a:cubicBezTo>
                  <a:cubicBezTo>
                    <a:pt x="145" y="137"/>
                    <a:pt x="153" y="138"/>
                    <a:pt x="155" y="138"/>
                  </a:cubicBezTo>
                  <a:cubicBezTo>
                    <a:pt x="157" y="138"/>
                    <a:pt x="159" y="136"/>
                    <a:pt x="160" y="136"/>
                  </a:cubicBezTo>
                  <a:cubicBezTo>
                    <a:pt x="162" y="136"/>
                    <a:pt x="160" y="137"/>
                    <a:pt x="161" y="139"/>
                  </a:cubicBezTo>
                  <a:cubicBezTo>
                    <a:pt x="163" y="141"/>
                    <a:pt x="167" y="140"/>
                    <a:pt x="169" y="140"/>
                  </a:cubicBezTo>
                  <a:cubicBezTo>
                    <a:pt x="172" y="140"/>
                    <a:pt x="174" y="139"/>
                    <a:pt x="177" y="139"/>
                  </a:cubicBezTo>
                  <a:cubicBezTo>
                    <a:pt x="175" y="145"/>
                    <a:pt x="175" y="145"/>
                    <a:pt x="175" y="145"/>
                  </a:cubicBezTo>
                  <a:cubicBezTo>
                    <a:pt x="176" y="147"/>
                    <a:pt x="173" y="149"/>
                    <a:pt x="172" y="151"/>
                  </a:cubicBezTo>
                  <a:cubicBezTo>
                    <a:pt x="171" y="152"/>
                    <a:pt x="171" y="154"/>
                    <a:pt x="172" y="156"/>
                  </a:cubicBezTo>
                  <a:cubicBezTo>
                    <a:pt x="173" y="157"/>
                    <a:pt x="174" y="160"/>
                    <a:pt x="175" y="160"/>
                  </a:cubicBezTo>
                  <a:cubicBezTo>
                    <a:pt x="177" y="161"/>
                    <a:pt x="176" y="160"/>
                    <a:pt x="177" y="160"/>
                  </a:cubicBezTo>
                  <a:cubicBezTo>
                    <a:pt x="179" y="160"/>
                    <a:pt x="181" y="160"/>
                    <a:pt x="183" y="161"/>
                  </a:cubicBezTo>
                  <a:cubicBezTo>
                    <a:pt x="186" y="162"/>
                    <a:pt x="189" y="164"/>
                    <a:pt x="192" y="165"/>
                  </a:cubicBezTo>
                  <a:cubicBezTo>
                    <a:pt x="194" y="166"/>
                    <a:pt x="195" y="166"/>
                    <a:pt x="194" y="168"/>
                  </a:cubicBezTo>
                  <a:cubicBezTo>
                    <a:pt x="194" y="172"/>
                    <a:pt x="191" y="175"/>
                    <a:pt x="188" y="178"/>
                  </a:cubicBezTo>
                  <a:cubicBezTo>
                    <a:pt x="186" y="180"/>
                    <a:pt x="186" y="182"/>
                    <a:pt x="184" y="184"/>
                  </a:cubicBezTo>
                  <a:cubicBezTo>
                    <a:pt x="183" y="186"/>
                    <a:pt x="182" y="186"/>
                    <a:pt x="180" y="187"/>
                  </a:cubicBezTo>
                  <a:cubicBezTo>
                    <a:pt x="178" y="188"/>
                    <a:pt x="177" y="188"/>
                    <a:pt x="176" y="189"/>
                  </a:cubicBezTo>
                  <a:cubicBezTo>
                    <a:pt x="174" y="191"/>
                    <a:pt x="172" y="192"/>
                    <a:pt x="170" y="194"/>
                  </a:cubicBezTo>
                  <a:cubicBezTo>
                    <a:pt x="169" y="194"/>
                    <a:pt x="168" y="196"/>
                    <a:pt x="166" y="197"/>
                  </a:cubicBezTo>
                  <a:cubicBezTo>
                    <a:pt x="165" y="198"/>
                    <a:pt x="164" y="200"/>
                    <a:pt x="163" y="201"/>
                  </a:cubicBezTo>
                  <a:cubicBezTo>
                    <a:pt x="161" y="203"/>
                    <a:pt x="158" y="204"/>
                    <a:pt x="155" y="204"/>
                  </a:cubicBezTo>
                  <a:cubicBezTo>
                    <a:pt x="152" y="205"/>
                    <a:pt x="151" y="204"/>
                    <a:pt x="149" y="207"/>
                  </a:cubicBezTo>
                  <a:cubicBezTo>
                    <a:pt x="147" y="210"/>
                    <a:pt x="144" y="214"/>
                    <a:pt x="144" y="218"/>
                  </a:cubicBezTo>
                  <a:cubicBezTo>
                    <a:pt x="141" y="219"/>
                    <a:pt x="139" y="220"/>
                    <a:pt x="141" y="223"/>
                  </a:cubicBezTo>
                  <a:cubicBezTo>
                    <a:pt x="141" y="223"/>
                    <a:pt x="143" y="224"/>
                    <a:pt x="144" y="224"/>
                  </a:cubicBezTo>
                  <a:cubicBezTo>
                    <a:pt x="144" y="225"/>
                    <a:pt x="144" y="226"/>
                    <a:pt x="144" y="227"/>
                  </a:cubicBezTo>
                  <a:cubicBezTo>
                    <a:pt x="144" y="229"/>
                    <a:pt x="144" y="232"/>
                    <a:pt x="144" y="235"/>
                  </a:cubicBezTo>
                  <a:cubicBezTo>
                    <a:pt x="144" y="241"/>
                    <a:pt x="146" y="247"/>
                    <a:pt x="145" y="253"/>
                  </a:cubicBezTo>
                  <a:cubicBezTo>
                    <a:pt x="145" y="256"/>
                    <a:pt x="144" y="259"/>
                    <a:pt x="144" y="262"/>
                  </a:cubicBezTo>
                  <a:cubicBezTo>
                    <a:pt x="144" y="265"/>
                    <a:pt x="145" y="271"/>
                    <a:pt x="144" y="274"/>
                  </a:cubicBezTo>
                  <a:cubicBezTo>
                    <a:pt x="143" y="276"/>
                    <a:pt x="141" y="277"/>
                    <a:pt x="139" y="278"/>
                  </a:cubicBezTo>
                  <a:cubicBezTo>
                    <a:pt x="137" y="279"/>
                    <a:pt x="136" y="281"/>
                    <a:pt x="134" y="281"/>
                  </a:cubicBezTo>
                  <a:cubicBezTo>
                    <a:pt x="135" y="286"/>
                    <a:pt x="140" y="288"/>
                    <a:pt x="141" y="293"/>
                  </a:cubicBezTo>
                  <a:cubicBezTo>
                    <a:pt x="141" y="296"/>
                    <a:pt x="139" y="299"/>
                    <a:pt x="137" y="302"/>
                  </a:cubicBezTo>
                  <a:cubicBezTo>
                    <a:pt x="136" y="302"/>
                    <a:pt x="133" y="305"/>
                    <a:pt x="133" y="306"/>
                  </a:cubicBezTo>
                  <a:cubicBezTo>
                    <a:pt x="132" y="308"/>
                    <a:pt x="133" y="311"/>
                    <a:pt x="133" y="313"/>
                  </a:cubicBezTo>
                  <a:cubicBezTo>
                    <a:pt x="132" y="319"/>
                    <a:pt x="122" y="318"/>
                    <a:pt x="117" y="318"/>
                  </a:cubicBezTo>
                  <a:cubicBezTo>
                    <a:pt x="115" y="318"/>
                    <a:pt x="110" y="317"/>
                    <a:pt x="110" y="319"/>
                  </a:cubicBezTo>
                  <a:cubicBezTo>
                    <a:pt x="109" y="321"/>
                    <a:pt x="111" y="323"/>
                    <a:pt x="112" y="324"/>
                  </a:cubicBezTo>
                  <a:cubicBezTo>
                    <a:pt x="113" y="325"/>
                    <a:pt x="114" y="328"/>
                    <a:pt x="115" y="328"/>
                  </a:cubicBezTo>
                  <a:cubicBezTo>
                    <a:pt x="115" y="329"/>
                    <a:pt x="116" y="330"/>
                    <a:pt x="117" y="329"/>
                  </a:cubicBezTo>
                  <a:cubicBezTo>
                    <a:pt x="117" y="329"/>
                    <a:pt x="118" y="329"/>
                    <a:pt x="118" y="329"/>
                  </a:cubicBezTo>
                  <a:cubicBezTo>
                    <a:pt x="118" y="330"/>
                    <a:pt x="119" y="331"/>
                    <a:pt x="119" y="331"/>
                  </a:cubicBezTo>
                  <a:cubicBezTo>
                    <a:pt x="120" y="335"/>
                    <a:pt x="119" y="341"/>
                    <a:pt x="119" y="345"/>
                  </a:cubicBezTo>
                  <a:cubicBezTo>
                    <a:pt x="120" y="344"/>
                    <a:pt x="122" y="345"/>
                    <a:pt x="123" y="346"/>
                  </a:cubicBezTo>
                  <a:cubicBezTo>
                    <a:pt x="124" y="348"/>
                    <a:pt x="123" y="349"/>
                    <a:pt x="123" y="351"/>
                  </a:cubicBezTo>
                  <a:cubicBezTo>
                    <a:pt x="124" y="353"/>
                    <a:pt x="126" y="353"/>
                    <a:pt x="127" y="353"/>
                  </a:cubicBezTo>
                  <a:cubicBezTo>
                    <a:pt x="129" y="354"/>
                    <a:pt x="130" y="354"/>
                    <a:pt x="131" y="355"/>
                  </a:cubicBezTo>
                  <a:cubicBezTo>
                    <a:pt x="132" y="355"/>
                    <a:pt x="133" y="356"/>
                    <a:pt x="133" y="356"/>
                  </a:cubicBezTo>
                  <a:cubicBezTo>
                    <a:pt x="134" y="357"/>
                    <a:pt x="134" y="358"/>
                    <a:pt x="134" y="359"/>
                  </a:cubicBezTo>
                  <a:cubicBezTo>
                    <a:pt x="136" y="363"/>
                    <a:pt x="138" y="370"/>
                    <a:pt x="134" y="374"/>
                  </a:cubicBezTo>
                  <a:cubicBezTo>
                    <a:pt x="132" y="375"/>
                    <a:pt x="130" y="375"/>
                    <a:pt x="128" y="376"/>
                  </a:cubicBezTo>
                  <a:cubicBezTo>
                    <a:pt x="125" y="378"/>
                    <a:pt x="124" y="379"/>
                    <a:pt x="123" y="383"/>
                  </a:cubicBezTo>
                  <a:cubicBezTo>
                    <a:pt x="122" y="386"/>
                    <a:pt x="119" y="389"/>
                    <a:pt x="118" y="393"/>
                  </a:cubicBezTo>
                  <a:cubicBezTo>
                    <a:pt x="118" y="397"/>
                    <a:pt x="120" y="401"/>
                    <a:pt x="122" y="405"/>
                  </a:cubicBezTo>
                  <a:cubicBezTo>
                    <a:pt x="122" y="405"/>
                    <a:pt x="123" y="406"/>
                    <a:pt x="123" y="406"/>
                  </a:cubicBezTo>
                  <a:cubicBezTo>
                    <a:pt x="123" y="407"/>
                    <a:pt x="123" y="408"/>
                    <a:pt x="124" y="409"/>
                  </a:cubicBezTo>
                  <a:cubicBezTo>
                    <a:pt x="124" y="410"/>
                    <a:pt x="125" y="411"/>
                    <a:pt x="125" y="412"/>
                  </a:cubicBezTo>
                  <a:cubicBezTo>
                    <a:pt x="126" y="413"/>
                    <a:pt x="128" y="415"/>
                    <a:pt x="128" y="417"/>
                  </a:cubicBezTo>
                  <a:cubicBezTo>
                    <a:pt x="129" y="419"/>
                    <a:pt x="128" y="420"/>
                    <a:pt x="130" y="421"/>
                  </a:cubicBezTo>
                  <a:cubicBezTo>
                    <a:pt x="132" y="422"/>
                    <a:pt x="134" y="421"/>
                    <a:pt x="135" y="420"/>
                  </a:cubicBezTo>
                  <a:cubicBezTo>
                    <a:pt x="137" y="421"/>
                    <a:pt x="136" y="424"/>
                    <a:pt x="136" y="426"/>
                  </a:cubicBezTo>
                  <a:cubicBezTo>
                    <a:pt x="136" y="429"/>
                    <a:pt x="134" y="430"/>
                    <a:pt x="131" y="431"/>
                  </a:cubicBezTo>
                  <a:cubicBezTo>
                    <a:pt x="130" y="431"/>
                    <a:pt x="130" y="431"/>
                    <a:pt x="129" y="431"/>
                  </a:cubicBezTo>
                  <a:cubicBezTo>
                    <a:pt x="129" y="432"/>
                    <a:pt x="128" y="433"/>
                    <a:pt x="128" y="433"/>
                  </a:cubicBezTo>
                  <a:cubicBezTo>
                    <a:pt x="127" y="434"/>
                    <a:pt x="125" y="434"/>
                    <a:pt x="124" y="434"/>
                  </a:cubicBezTo>
                  <a:cubicBezTo>
                    <a:pt x="121" y="435"/>
                    <a:pt x="118" y="433"/>
                    <a:pt x="118" y="437"/>
                  </a:cubicBezTo>
                  <a:cubicBezTo>
                    <a:pt x="118" y="438"/>
                    <a:pt x="119" y="439"/>
                    <a:pt x="118" y="440"/>
                  </a:cubicBezTo>
                  <a:cubicBezTo>
                    <a:pt x="118" y="441"/>
                    <a:pt x="117" y="442"/>
                    <a:pt x="117" y="443"/>
                  </a:cubicBezTo>
                  <a:cubicBezTo>
                    <a:pt x="117" y="443"/>
                    <a:pt x="117" y="443"/>
                    <a:pt x="116" y="444"/>
                  </a:cubicBezTo>
                  <a:cubicBezTo>
                    <a:pt x="116" y="445"/>
                    <a:pt x="115" y="446"/>
                    <a:pt x="114" y="447"/>
                  </a:cubicBezTo>
                  <a:cubicBezTo>
                    <a:pt x="113" y="448"/>
                    <a:pt x="112" y="450"/>
                    <a:pt x="111" y="451"/>
                  </a:cubicBezTo>
                  <a:cubicBezTo>
                    <a:pt x="111" y="452"/>
                    <a:pt x="110" y="453"/>
                    <a:pt x="110" y="453"/>
                  </a:cubicBezTo>
                  <a:cubicBezTo>
                    <a:pt x="108" y="456"/>
                    <a:pt x="106" y="460"/>
                    <a:pt x="106" y="463"/>
                  </a:cubicBezTo>
                  <a:cubicBezTo>
                    <a:pt x="106" y="465"/>
                    <a:pt x="107" y="466"/>
                    <a:pt x="107" y="467"/>
                  </a:cubicBezTo>
                  <a:cubicBezTo>
                    <a:pt x="107" y="468"/>
                    <a:pt x="107" y="470"/>
                    <a:pt x="108" y="471"/>
                  </a:cubicBezTo>
                  <a:cubicBezTo>
                    <a:pt x="108" y="472"/>
                    <a:pt x="108" y="472"/>
                    <a:pt x="108" y="473"/>
                  </a:cubicBezTo>
                  <a:cubicBezTo>
                    <a:pt x="109" y="473"/>
                    <a:pt x="109" y="473"/>
                    <a:pt x="109" y="473"/>
                  </a:cubicBezTo>
                  <a:cubicBezTo>
                    <a:pt x="109" y="475"/>
                    <a:pt x="109" y="477"/>
                    <a:pt x="109" y="478"/>
                  </a:cubicBezTo>
                  <a:cubicBezTo>
                    <a:pt x="109" y="482"/>
                    <a:pt x="109" y="485"/>
                    <a:pt x="108" y="489"/>
                  </a:cubicBezTo>
                  <a:cubicBezTo>
                    <a:pt x="108" y="491"/>
                    <a:pt x="108" y="493"/>
                    <a:pt x="108" y="495"/>
                  </a:cubicBezTo>
                  <a:cubicBezTo>
                    <a:pt x="109" y="495"/>
                    <a:pt x="111" y="494"/>
                    <a:pt x="113" y="493"/>
                  </a:cubicBezTo>
                  <a:cubicBezTo>
                    <a:pt x="118" y="490"/>
                    <a:pt x="124" y="492"/>
                    <a:pt x="130" y="492"/>
                  </a:cubicBezTo>
                  <a:cubicBezTo>
                    <a:pt x="137" y="491"/>
                    <a:pt x="145" y="493"/>
                    <a:pt x="150" y="497"/>
                  </a:cubicBezTo>
                  <a:cubicBezTo>
                    <a:pt x="153" y="499"/>
                    <a:pt x="154" y="501"/>
                    <a:pt x="157" y="503"/>
                  </a:cubicBezTo>
                  <a:cubicBezTo>
                    <a:pt x="158" y="504"/>
                    <a:pt x="159" y="504"/>
                    <a:pt x="159" y="506"/>
                  </a:cubicBezTo>
                  <a:cubicBezTo>
                    <a:pt x="161" y="510"/>
                    <a:pt x="162" y="512"/>
                    <a:pt x="163" y="516"/>
                  </a:cubicBezTo>
                  <a:cubicBezTo>
                    <a:pt x="164" y="519"/>
                    <a:pt x="165" y="523"/>
                    <a:pt x="165" y="526"/>
                  </a:cubicBezTo>
                  <a:cubicBezTo>
                    <a:pt x="165" y="530"/>
                    <a:pt x="165" y="531"/>
                    <a:pt x="169" y="533"/>
                  </a:cubicBezTo>
                  <a:cubicBezTo>
                    <a:pt x="173" y="535"/>
                    <a:pt x="175" y="534"/>
                    <a:pt x="176" y="538"/>
                  </a:cubicBezTo>
                  <a:cubicBezTo>
                    <a:pt x="177" y="541"/>
                    <a:pt x="176" y="540"/>
                    <a:pt x="178" y="542"/>
                  </a:cubicBezTo>
                  <a:cubicBezTo>
                    <a:pt x="179" y="544"/>
                    <a:pt x="181" y="546"/>
                    <a:pt x="182" y="548"/>
                  </a:cubicBezTo>
                  <a:cubicBezTo>
                    <a:pt x="184" y="552"/>
                    <a:pt x="186" y="555"/>
                    <a:pt x="190" y="557"/>
                  </a:cubicBezTo>
                  <a:cubicBezTo>
                    <a:pt x="196" y="560"/>
                    <a:pt x="202" y="559"/>
                    <a:pt x="205" y="564"/>
                  </a:cubicBezTo>
                  <a:cubicBezTo>
                    <a:pt x="208" y="567"/>
                    <a:pt x="208" y="568"/>
                    <a:pt x="212" y="568"/>
                  </a:cubicBezTo>
                  <a:cubicBezTo>
                    <a:pt x="216" y="568"/>
                    <a:pt x="219" y="569"/>
                    <a:pt x="221" y="566"/>
                  </a:cubicBezTo>
                  <a:cubicBezTo>
                    <a:pt x="222" y="564"/>
                    <a:pt x="222" y="563"/>
                    <a:pt x="224" y="562"/>
                  </a:cubicBezTo>
                  <a:cubicBezTo>
                    <a:pt x="225" y="561"/>
                    <a:pt x="226" y="560"/>
                    <a:pt x="227" y="559"/>
                  </a:cubicBezTo>
                  <a:cubicBezTo>
                    <a:pt x="229" y="557"/>
                    <a:pt x="230" y="554"/>
                    <a:pt x="232" y="552"/>
                  </a:cubicBezTo>
                  <a:cubicBezTo>
                    <a:pt x="236" y="548"/>
                    <a:pt x="242" y="546"/>
                    <a:pt x="247" y="543"/>
                  </a:cubicBezTo>
                  <a:cubicBezTo>
                    <a:pt x="249" y="542"/>
                    <a:pt x="250" y="541"/>
                    <a:pt x="252" y="540"/>
                  </a:cubicBezTo>
                  <a:cubicBezTo>
                    <a:pt x="256" y="538"/>
                    <a:pt x="260" y="536"/>
                    <a:pt x="263" y="534"/>
                  </a:cubicBezTo>
                  <a:cubicBezTo>
                    <a:pt x="265" y="532"/>
                    <a:pt x="266" y="531"/>
                    <a:pt x="268" y="530"/>
                  </a:cubicBezTo>
                  <a:cubicBezTo>
                    <a:pt x="272" y="529"/>
                    <a:pt x="275" y="527"/>
                    <a:pt x="279" y="526"/>
                  </a:cubicBezTo>
                  <a:cubicBezTo>
                    <a:pt x="282" y="525"/>
                    <a:pt x="285" y="525"/>
                    <a:pt x="288" y="524"/>
                  </a:cubicBezTo>
                  <a:cubicBezTo>
                    <a:pt x="290" y="523"/>
                    <a:pt x="292" y="522"/>
                    <a:pt x="295" y="522"/>
                  </a:cubicBezTo>
                  <a:cubicBezTo>
                    <a:pt x="298" y="521"/>
                    <a:pt x="302" y="522"/>
                    <a:pt x="305" y="522"/>
                  </a:cubicBezTo>
                  <a:cubicBezTo>
                    <a:pt x="313" y="522"/>
                    <a:pt x="322" y="523"/>
                    <a:pt x="330" y="522"/>
                  </a:cubicBezTo>
                  <a:cubicBezTo>
                    <a:pt x="333" y="521"/>
                    <a:pt x="336" y="521"/>
                    <a:pt x="339" y="521"/>
                  </a:cubicBezTo>
                  <a:cubicBezTo>
                    <a:pt x="341" y="521"/>
                    <a:pt x="348" y="522"/>
                    <a:pt x="351" y="521"/>
                  </a:cubicBezTo>
                  <a:cubicBezTo>
                    <a:pt x="352" y="523"/>
                    <a:pt x="356" y="522"/>
                    <a:pt x="359" y="522"/>
                  </a:cubicBezTo>
                  <a:cubicBezTo>
                    <a:pt x="362" y="522"/>
                    <a:pt x="363" y="523"/>
                    <a:pt x="366" y="524"/>
                  </a:cubicBezTo>
                  <a:cubicBezTo>
                    <a:pt x="367" y="524"/>
                    <a:pt x="368" y="524"/>
                    <a:pt x="369" y="524"/>
                  </a:cubicBezTo>
                  <a:cubicBezTo>
                    <a:pt x="369" y="524"/>
                    <a:pt x="369" y="525"/>
                    <a:pt x="370" y="526"/>
                  </a:cubicBezTo>
                  <a:cubicBezTo>
                    <a:pt x="372" y="526"/>
                    <a:pt x="373" y="525"/>
                    <a:pt x="374" y="523"/>
                  </a:cubicBezTo>
                  <a:cubicBezTo>
                    <a:pt x="376" y="520"/>
                    <a:pt x="373" y="518"/>
                    <a:pt x="378" y="517"/>
                  </a:cubicBezTo>
                  <a:cubicBezTo>
                    <a:pt x="381" y="516"/>
                    <a:pt x="385" y="516"/>
                    <a:pt x="389" y="517"/>
                  </a:cubicBezTo>
                  <a:cubicBezTo>
                    <a:pt x="392" y="517"/>
                    <a:pt x="396" y="518"/>
                    <a:pt x="399" y="517"/>
                  </a:cubicBezTo>
                  <a:cubicBezTo>
                    <a:pt x="401" y="517"/>
                    <a:pt x="405" y="517"/>
                    <a:pt x="406" y="516"/>
                  </a:cubicBezTo>
                  <a:cubicBezTo>
                    <a:pt x="409" y="513"/>
                    <a:pt x="410" y="508"/>
                    <a:pt x="411" y="505"/>
                  </a:cubicBezTo>
                  <a:cubicBezTo>
                    <a:pt x="413" y="499"/>
                    <a:pt x="415" y="494"/>
                    <a:pt x="416" y="488"/>
                  </a:cubicBezTo>
                  <a:cubicBezTo>
                    <a:pt x="416" y="484"/>
                    <a:pt x="418" y="481"/>
                    <a:pt x="421" y="479"/>
                  </a:cubicBezTo>
                  <a:cubicBezTo>
                    <a:pt x="423" y="477"/>
                    <a:pt x="424" y="477"/>
                    <a:pt x="426" y="477"/>
                  </a:cubicBezTo>
                  <a:cubicBezTo>
                    <a:pt x="428" y="477"/>
                    <a:pt x="432" y="477"/>
                    <a:pt x="433" y="476"/>
                  </a:cubicBezTo>
                  <a:cubicBezTo>
                    <a:pt x="434" y="476"/>
                    <a:pt x="437" y="473"/>
                    <a:pt x="437" y="473"/>
                  </a:cubicBezTo>
                  <a:cubicBezTo>
                    <a:pt x="438" y="471"/>
                    <a:pt x="436" y="467"/>
                    <a:pt x="438" y="466"/>
                  </a:cubicBezTo>
                  <a:cubicBezTo>
                    <a:pt x="440" y="463"/>
                    <a:pt x="447" y="463"/>
                    <a:pt x="451" y="463"/>
                  </a:cubicBezTo>
                  <a:cubicBezTo>
                    <a:pt x="453" y="462"/>
                    <a:pt x="455" y="462"/>
                    <a:pt x="458" y="462"/>
                  </a:cubicBezTo>
                  <a:cubicBezTo>
                    <a:pt x="461" y="462"/>
                    <a:pt x="464" y="461"/>
                    <a:pt x="467" y="460"/>
                  </a:cubicBezTo>
                  <a:cubicBezTo>
                    <a:pt x="470" y="458"/>
                    <a:pt x="474" y="457"/>
                    <a:pt x="476" y="455"/>
                  </a:cubicBezTo>
                  <a:cubicBezTo>
                    <a:pt x="479" y="453"/>
                    <a:pt x="477" y="453"/>
                    <a:pt x="475" y="452"/>
                  </a:cubicBezTo>
                  <a:cubicBezTo>
                    <a:pt x="474" y="451"/>
                    <a:pt x="472" y="449"/>
                    <a:pt x="472" y="448"/>
                  </a:cubicBezTo>
                  <a:cubicBezTo>
                    <a:pt x="471" y="446"/>
                    <a:pt x="471" y="446"/>
                    <a:pt x="471" y="445"/>
                  </a:cubicBezTo>
                  <a:cubicBezTo>
                    <a:pt x="471" y="444"/>
                    <a:pt x="471" y="443"/>
                    <a:pt x="472" y="442"/>
                  </a:cubicBezTo>
                  <a:cubicBezTo>
                    <a:pt x="472" y="439"/>
                    <a:pt x="472" y="439"/>
                    <a:pt x="475" y="437"/>
                  </a:cubicBezTo>
                  <a:cubicBezTo>
                    <a:pt x="477" y="435"/>
                    <a:pt x="478" y="432"/>
                    <a:pt x="480" y="429"/>
                  </a:cubicBezTo>
                  <a:cubicBezTo>
                    <a:pt x="481" y="427"/>
                    <a:pt x="483" y="426"/>
                    <a:pt x="484" y="424"/>
                  </a:cubicBezTo>
                  <a:cubicBezTo>
                    <a:pt x="486" y="421"/>
                    <a:pt x="487" y="420"/>
                    <a:pt x="487" y="417"/>
                  </a:cubicBezTo>
                  <a:cubicBezTo>
                    <a:pt x="487" y="414"/>
                    <a:pt x="486" y="412"/>
                    <a:pt x="489" y="409"/>
                  </a:cubicBezTo>
                  <a:cubicBezTo>
                    <a:pt x="493" y="407"/>
                    <a:pt x="497" y="404"/>
                    <a:pt x="502" y="403"/>
                  </a:cubicBezTo>
                  <a:cubicBezTo>
                    <a:pt x="506" y="402"/>
                    <a:pt x="511" y="404"/>
                    <a:pt x="515" y="403"/>
                  </a:cubicBezTo>
                  <a:cubicBezTo>
                    <a:pt x="516" y="400"/>
                    <a:pt x="513" y="397"/>
                    <a:pt x="513" y="394"/>
                  </a:cubicBezTo>
                  <a:cubicBezTo>
                    <a:pt x="513" y="389"/>
                    <a:pt x="518" y="390"/>
                    <a:pt x="521" y="387"/>
                  </a:cubicBezTo>
                  <a:cubicBezTo>
                    <a:pt x="525" y="385"/>
                    <a:pt x="524" y="381"/>
                    <a:pt x="522" y="378"/>
                  </a:cubicBezTo>
                  <a:cubicBezTo>
                    <a:pt x="519" y="373"/>
                    <a:pt x="511" y="373"/>
                    <a:pt x="507" y="369"/>
                  </a:cubicBezTo>
                  <a:cubicBezTo>
                    <a:pt x="506" y="368"/>
                    <a:pt x="506" y="367"/>
                    <a:pt x="505" y="366"/>
                  </a:cubicBezTo>
                  <a:cubicBezTo>
                    <a:pt x="503" y="364"/>
                    <a:pt x="500" y="363"/>
                    <a:pt x="499" y="360"/>
                  </a:cubicBezTo>
                  <a:cubicBezTo>
                    <a:pt x="496" y="356"/>
                    <a:pt x="496" y="351"/>
                    <a:pt x="496" y="346"/>
                  </a:cubicBezTo>
                  <a:cubicBezTo>
                    <a:pt x="497" y="344"/>
                    <a:pt x="496" y="342"/>
                    <a:pt x="496" y="341"/>
                  </a:cubicBezTo>
                  <a:cubicBezTo>
                    <a:pt x="494" y="337"/>
                    <a:pt x="494" y="333"/>
                    <a:pt x="493" y="328"/>
                  </a:cubicBezTo>
                  <a:cubicBezTo>
                    <a:pt x="493" y="326"/>
                    <a:pt x="494" y="323"/>
                    <a:pt x="494" y="321"/>
                  </a:cubicBezTo>
                  <a:cubicBezTo>
                    <a:pt x="495" y="318"/>
                    <a:pt x="498" y="311"/>
                    <a:pt x="500" y="309"/>
                  </a:cubicBezTo>
                  <a:cubicBezTo>
                    <a:pt x="500" y="311"/>
                    <a:pt x="501" y="312"/>
                    <a:pt x="500" y="313"/>
                  </a:cubicBezTo>
                  <a:cubicBezTo>
                    <a:pt x="504" y="310"/>
                    <a:pt x="507" y="306"/>
                    <a:pt x="509" y="301"/>
                  </a:cubicBezTo>
                  <a:cubicBezTo>
                    <a:pt x="510" y="298"/>
                    <a:pt x="512" y="293"/>
                    <a:pt x="514" y="290"/>
                  </a:cubicBezTo>
                  <a:cubicBezTo>
                    <a:pt x="518" y="285"/>
                    <a:pt x="524" y="279"/>
                    <a:pt x="529" y="275"/>
                  </a:cubicBezTo>
                  <a:cubicBezTo>
                    <a:pt x="533" y="272"/>
                    <a:pt x="535" y="269"/>
                    <a:pt x="538" y="265"/>
                  </a:cubicBezTo>
                  <a:cubicBezTo>
                    <a:pt x="541" y="262"/>
                    <a:pt x="545" y="259"/>
                    <a:pt x="547" y="255"/>
                  </a:cubicBezTo>
                  <a:cubicBezTo>
                    <a:pt x="551" y="251"/>
                    <a:pt x="555" y="246"/>
                    <a:pt x="557" y="241"/>
                  </a:cubicBezTo>
                  <a:cubicBezTo>
                    <a:pt x="557" y="240"/>
                    <a:pt x="558" y="240"/>
                    <a:pt x="558" y="238"/>
                  </a:cubicBezTo>
                  <a:cubicBezTo>
                    <a:pt x="558" y="236"/>
                    <a:pt x="556" y="237"/>
                    <a:pt x="555" y="235"/>
                  </a:cubicBezTo>
                  <a:cubicBezTo>
                    <a:pt x="555" y="232"/>
                    <a:pt x="561" y="230"/>
                    <a:pt x="563" y="228"/>
                  </a:cubicBezTo>
                  <a:cubicBezTo>
                    <a:pt x="568" y="226"/>
                    <a:pt x="573" y="223"/>
                    <a:pt x="578" y="221"/>
                  </a:cubicBezTo>
                  <a:cubicBezTo>
                    <a:pt x="583" y="218"/>
                    <a:pt x="588" y="215"/>
                    <a:pt x="593" y="213"/>
                  </a:cubicBezTo>
                  <a:cubicBezTo>
                    <a:pt x="598" y="211"/>
                    <a:pt x="602" y="209"/>
                    <a:pt x="606" y="206"/>
                  </a:cubicBezTo>
                  <a:cubicBezTo>
                    <a:pt x="610" y="204"/>
                    <a:pt x="615" y="204"/>
                    <a:pt x="619" y="203"/>
                  </a:cubicBezTo>
                  <a:cubicBezTo>
                    <a:pt x="623" y="202"/>
                    <a:pt x="627" y="200"/>
                    <a:pt x="631" y="200"/>
                  </a:cubicBezTo>
                  <a:cubicBezTo>
                    <a:pt x="635" y="199"/>
                    <a:pt x="638" y="196"/>
                    <a:pt x="639" y="192"/>
                  </a:cubicBezTo>
                  <a:cubicBezTo>
                    <a:pt x="639" y="191"/>
                    <a:pt x="639" y="187"/>
                    <a:pt x="637" y="187"/>
                  </a:cubicBezTo>
                  <a:cubicBezTo>
                    <a:pt x="640" y="187"/>
                    <a:pt x="643" y="187"/>
                    <a:pt x="646" y="187"/>
                  </a:cubicBezTo>
                  <a:cubicBezTo>
                    <a:pt x="647" y="187"/>
                    <a:pt x="649" y="187"/>
                    <a:pt x="650" y="187"/>
                  </a:cubicBezTo>
                  <a:cubicBezTo>
                    <a:pt x="652" y="187"/>
                    <a:pt x="652" y="186"/>
                    <a:pt x="654" y="186"/>
                  </a:cubicBezTo>
                  <a:cubicBezTo>
                    <a:pt x="657" y="185"/>
                    <a:pt x="661" y="184"/>
                    <a:pt x="664" y="183"/>
                  </a:cubicBezTo>
                  <a:cubicBezTo>
                    <a:pt x="666" y="181"/>
                    <a:pt x="670" y="180"/>
                    <a:pt x="671" y="178"/>
                  </a:cubicBezTo>
                  <a:cubicBezTo>
                    <a:pt x="673" y="175"/>
                    <a:pt x="670" y="172"/>
                    <a:pt x="674" y="171"/>
                  </a:cubicBezTo>
                  <a:cubicBezTo>
                    <a:pt x="677" y="170"/>
                    <a:pt x="681" y="172"/>
                    <a:pt x="684" y="172"/>
                  </a:cubicBezTo>
                  <a:cubicBezTo>
                    <a:pt x="688" y="172"/>
                    <a:pt x="692" y="170"/>
                    <a:pt x="696" y="169"/>
                  </a:cubicBezTo>
                  <a:cubicBezTo>
                    <a:pt x="698" y="169"/>
                    <a:pt x="701" y="169"/>
                    <a:pt x="703" y="169"/>
                  </a:cubicBezTo>
                  <a:cubicBezTo>
                    <a:pt x="704" y="166"/>
                    <a:pt x="703" y="164"/>
                    <a:pt x="703" y="161"/>
                  </a:cubicBezTo>
                  <a:cubicBezTo>
                    <a:pt x="703" y="156"/>
                    <a:pt x="710" y="154"/>
                    <a:pt x="715" y="152"/>
                  </a:cubicBezTo>
                  <a:cubicBezTo>
                    <a:pt x="720" y="149"/>
                    <a:pt x="728" y="146"/>
                    <a:pt x="731" y="142"/>
                  </a:cubicBezTo>
                  <a:cubicBezTo>
                    <a:pt x="732" y="139"/>
                    <a:pt x="731" y="136"/>
                    <a:pt x="731" y="134"/>
                  </a:cubicBezTo>
                  <a:cubicBezTo>
                    <a:pt x="730" y="132"/>
                    <a:pt x="730" y="129"/>
                    <a:pt x="729" y="126"/>
                  </a:cubicBezTo>
                  <a:cubicBezTo>
                    <a:pt x="729" y="125"/>
                    <a:pt x="728" y="123"/>
                    <a:pt x="728" y="122"/>
                  </a:cubicBezTo>
                  <a:cubicBezTo>
                    <a:pt x="727" y="120"/>
                    <a:pt x="726" y="120"/>
                    <a:pt x="725" y="119"/>
                  </a:cubicBezTo>
                  <a:cubicBezTo>
                    <a:pt x="722" y="116"/>
                    <a:pt x="727" y="100"/>
                    <a:pt x="731" y="10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3" name="Freeform 94">
              <a:extLst>
                <a:ext uri="{FF2B5EF4-FFF2-40B4-BE49-F238E27FC236}">
                  <a16:creationId xmlns:a16="http://schemas.microsoft.com/office/drawing/2014/main" id="{C016BBEA-9FCA-46B4-9523-AE65D2DB8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050" y="6048375"/>
              <a:ext cx="119063" cy="93663"/>
            </a:xfrm>
            <a:custGeom>
              <a:avLst/>
              <a:gdLst/>
              <a:ahLst/>
              <a:cxnLst>
                <a:cxn ang="0">
                  <a:pos x="45" y="13"/>
                </a:cxn>
                <a:cxn ang="0">
                  <a:pos x="41" y="6"/>
                </a:cxn>
                <a:cxn ang="0">
                  <a:pos x="40" y="5"/>
                </a:cxn>
                <a:cxn ang="0">
                  <a:pos x="43" y="2"/>
                </a:cxn>
                <a:cxn ang="0">
                  <a:pos x="43" y="1"/>
                </a:cxn>
                <a:cxn ang="0">
                  <a:pos x="32" y="5"/>
                </a:cxn>
                <a:cxn ang="0">
                  <a:pos x="27" y="8"/>
                </a:cxn>
                <a:cxn ang="0">
                  <a:pos x="22" y="10"/>
                </a:cxn>
                <a:cxn ang="0">
                  <a:pos x="17" y="14"/>
                </a:cxn>
                <a:cxn ang="0">
                  <a:pos x="8" y="19"/>
                </a:cxn>
                <a:cxn ang="0">
                  <a:pos x="4" y="22"/>
                </a:cxn>
                <a:cxn ang="0">
                  <a:pos x="1" y="25"/>
                </a:cxn>
                <a:cxn ang="0">
                  <a:pos x="0" y="27"/>
                </a:cxn>
                <a:cxn ang="0">
                  <a:pos x="1" y="30"/>
                </a:cxn>
                <a:cxn ang="0">
                  <a:pos x="5" y="32"/>
                </a:cxn>
                <a:cxn ang="0">
                  <a:pos x="9" y="33"/>
                </a:cxn>
                <a:cxn ang="0">
                  <a:pos x="12" y="29"/>
                </a:cxn>
                <a:cxn ang="0">
                  <a:pos x="13" y="27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20" y="34"/>
                </a:cxn>
                <a:cxn ang="0">
                  <a:pos x="21" y="35"/>
                </a:cxn>
                <a:cxn ang="0">
                  <a:pos x="21" y="38"/>
                </a:cxn>
                <a:cxn ang="0">
                  <a:pos x="23" y="40"/>
                </a:cxn>
                <a:cxn ang="0">
                  <a:pos x="24" y="41"/>
                </a:cxn>
                <a:cxn ang="0">
                  <a:pos x="24" y="41"/>
                </a:cxn>
                <a:cxn ang="0">
                  <a:pos x="27" y="44"/>
                </a:cxn>
                <a:cxn ang="0">
                  <a:pos x="31" y="43"/>
                </a:cxn>
                <a:cxn ang="0">
                  <a:pos x="34" y="44"/>
                </a:cxn>
                <a:cxn ang="0">
                  <a:pos x="35" y="45"/>
                </a:cxn>
                <a:cxn ang="0">
                  <a:pos x="37" y="47"/>
                </a:cxn>
                <a:cxn ang="0">
                  <a:pos x="38" y="49"/>
                </a:cxn>
                <a:cxn ang="0">
                  <a:pos x="39" y="50"/>
                </a:cxn>
                <a:cxn ang="0">
                  <a:pos x="40" y="50"/>
                </a:cxn>
                <a:cxn ang="0">
                  <a:pos x="41" y="47"/>
                </a:cxn>
                <a:cxn ang="0">
                  <a:pos x="45" y="44"/>
                </a:cxn>
                <a:cxn ang="0">
                  <a:pos x="48" y="44"/>
                </a:cxn>
                <a:cxn ang="0">
                  <a:pos x="51" y="42"/>
                </a:cxn>
                <a:cxn ang="0">
                  <a:pos x="51" y="37"/>
                </a:cxn>
                <a:cxn ang="0">
                  <a:pos x="52" y="34"/>
                </a:cxn>
                <a:cxn ang="0">
                  <a:pos x="54" y="30"/>
                </a:cxn>
                <a:cxn ang="0">
                  <a:pos x="58" y="28"/>
                </a:cxn>
                <a:cxn ang="0">
                  <a:pos x="60" y="24"/>
                </a:cxn>
                <a:cxn ang="0">
                  <a:pos x="62" y="18"/>
                </a:cxn>
                <a:cxn ang="0">
                  <a:pos x="53" y="14"/>
                </a:cxn>
                <a:cxn ang="0">
                  <a:pos x="52" y="15"/>
                </a:cxn>
                <a:cxn ang="0">
                  <a:pos x="50" y="16"/>
                </a:cxn>
                <a:cxn ang="0">
                  <a:pos x="49" y="17"/>
                </a:cxn>
                <a:cxn ang="0">
                  <a:pos x="47" y="15"/>
                </a:cxn>
                <a:cxn ang="0">
                  <a:pos x="46" y="13"/>
                </a:cxn>
                <a:cxn ang="0">
                  <a:pos x="45" y="13"/>
                </a:cxn>
              </a:cxnLst>
              <a:rect l="0" t="0" r="r" b="b"/>
              <a:pathLst>
                <a:path w="63" h="50">
                  <a:moveTo>
                    <a:pt x="45" y="13"/>
                  </a:moveTo>
                  <a:cubicBezTo>
                    <a:pt x="45" y="11"/>
                    <a:pt x="45" y="6"/>
                    <a:pt x="41" y="6"/>
                  </a:cubicBezTo>
                  <a:cubicBezTo>
                    <a:pt x="41" y="6"/>
                    <a:pt x="40" y="6"/>
                    <a:pt x="40" y="5"/>
                  </a:cubicBezTo>
                  <a:cubicBezTo>
                    <a:pt x="41" y="3"/>
                    <a:pt x="42" y="3"/>
                    <a:pt x="43" y="2"/>
                  </a:cubicBezTo>
                  <a:cubicBezTo>
                    <a:pt x="43" y="2"/>
                    <a:pt x="44" y="2"/>
                    <a:pt x="43" y="1"/>
                  </a:cubicBezTo>
                  <a:cubicBezTo>
                    <a:pt x="39" y="0"/>
                    <a:pt x="36" y="2"/>
                    <a:pt x="32" y="5"/>
                  </a:cubicBezTo>
                  <a:cubicBezTo>
                    <a:pt x="31" y="6"/>
                    <a:pt x="29" y="7"/>
                    <a:pt x="27" y="8"/>
                  </a:cubicBezTo>
                  <a:cubicBezTo>
                    <a:pt x="25" y="9"/>
                    <a:pt x="23" y="9"/>
                    <a:pt x="22" y="10"/>
                  </a:cubicBezTo>
                  <a:cubicBezTo>
                    <a:pt x="20" y="11"/>
                    <a:pt x="19" y="13"/>
                    <a:pt x="17" y="14"/>
                  </a:cubicBezTo>
                  <a:cubicBezTo>
                    <a:pt x="14" y="15"/>
                    <a:pt x="11" y="17"/>
                    <a:pt x="8" y="19"/>
                  </a:cubicBezTo>
                  <a:cubicBezTo>
                    <a:pt x="6" y="20"/>
                    <a:pt x="5" y="20"/>
                    <a:pt x="4" y="22"/>
                  </a:cubicBezTo>
                  <a:cubicBezTo>
                    <a:pt x="3" y="23"/>
                    <a:pt x="2" y="23"/>
                    <a:pt x="1" y="25"/>
                  </a:cubicBezTo>
                  <a:cubicBezTo>
                    <a:pt x="1" y="26"/>
                    <a:pt x="0" y="26"/>
                    <a:pt x="0" y="27"/>
                  </a:cubicBezTo>
                  <a:cubicBezTo>
                    <a:pt x="0" y="28"/>
                    <a:pt x="1" y="29"/>
                    <a:pt x="1" y="30"/>
                  </a:cubicBezTo>
                  <a:cubicBezTo>
                    <a:pt x="2" y="31"/>
                    <a:pt x="3" y="31"/>
                    <a:pt x="5" y="32"/>
                  </a:cubicBezTo>
                  <a:cubicBezTo>
                    <a:pt x="6" y="32"/>
                    <a:pt x="7" y="34"/>
                    <a:pt x="9" y="33"/>
                  </a:cubicBezTo>
                  <a:cubicBezTo>
                    <a:pt x="10" y="32"/>
                    <a:pt x="11" y="31"/>
                    <a:pt x="12" y="29"/>
                  </a:cubicBezTo>
                  <a:cubicBezTo>
                    <a:pt x="12" y="29"/>
                    <a:pt x="13" y="28"/>
                    <a:pt x="13" y="27"/>
                  </a:cubicBezTo>
                  <a:cubicBezTo>
                    <a:pt x="16" y="26"/>
                    <a:pt x="16" y="28"/>
                    <a:pt x="17" y="30"/>
                  </a:cubicBezTo>
                  <a:cubicBezTo>
                    <a:pt x="18" y="30"/>
                    <a:pt x="18" y="31"/>
                    <a:pt x="19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1" y="34"/>
                    <a:pt x="21" y="35"/>
                    <a:pt x="21" y="35"/>
                  </a:cubicBezTo>
                  <a:cubicBezTo>
                    <a:pt x="21" y="36"/>
                    <a:pt x="21" y="37"/>
                    <a:pt x="21" y="38"/>
                  </a:cubicBezTo>
                  <a:cubicBezTo>
                    <a:pt x="21" y="39"/>
                    <a:pt x="22" y="39"/>
                    <a:pt x="23" y="40"/>
                  </a:cubicBezTo>
                  <a:cubicBezTo>
                    <a:pt x="23" y="40"/>
                    <a:pt x="24" y="40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2"/>
                    <a:pt x="26" y="43"/>
                    <a:pt x="27" y="44"/>
                  </a:cubicBezTo>
                  <a:cubicBezTo>
                    <a:pt x="28" y="44"/>
                    <a:pt x="29" y="43"/>
                    <a:pt x="31" y="43"/>
                  </a:cubicBezTo>
                  <a:cubicBezTo>
                    <a:pt x="32" y="43"/>
                    <a:pt x="33" y="43"/>
                    <a:pt x="34" y="44"/>
                  </a:cubicBezTo>
                  <a:cubicBezTo>
                    <a:pt x="34" y="44"/>
                    <a:pt x="34" y="45"/>
                    <a:pt x="35" y="45"/>
                  </a:cubicBezTo>
                  <a:cubicBezTo>
                    <a:pt x="36" y="46"/>
                    <a:pt x="36" y="46"/>
                    <a:pt x="37" y="47"/>
                  </a:cubicBezTo>
                  <a:cubicBezTo>
                    <a:pt x="37" y="48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39" y="50"/>
                    <a:pt x="40" y="50"/>
                    <a:pt x="40" y="50"/>
                  </a:cubicBezTo>
                  <a:cubicBezTo>
                    <a:pt x="40" y="49"/>
                    <a:pt x="41" y="48"/>
                    <a:pt x="41" y="47"/>
                  </a:cubicBezTo>
                  <a:cubicBezTo>
                    <a:pt x="42" y="46"/>
                    <a:pt x="44" y="45"/>
                    <a:pt x="45" y="44"/>
                  </a:cubicBezTo>
                  <a:cubicBezTo>
                    <a:pt x="46" y="44"/>
                    <a:pt x="47" y="44"/>
                    <a:pt x="48" y="44"/>
                  </a:cubicBezTo>
                  <a:cubicBezTo>
                    <a:pt x="49" y="44"/>
                    <a:pt x="50" y="43"/>
                    <a:pt x="51" y="42"/>
                  </a:cubicBezTo>
                  <a:cubicBezTo>
                    <a:pt x="53" y="41"/>
                    <a:pt x="52" y="39"/>
                    <a:pt x="51" y="37"/>
                  </a:cubicBezTo>
                  <a:cubicBezTo>
                    <a:pt x="50" y="36"/>
                    <a:pt x="51" y="35"/>
                    <a:pt x="52" y="34"/>
                  </a:cubicBezTo>
                  <a:cubicBezTo>
                    <a:pt x="53" y="33"/>
                    <a:pt x="53" y="31"/>
                    <a:pt x="54" y="30"/>
                  </a:cubicBezTo>
                  <a:cubicBezTo>
                    <a:pt x="55" y="29"/>
                    <a:pt x="57" y="29"/>
                    <a:pt x="58" y="28"/>
                  </a:cubicBezTo>
                  <a:cubicBezTo>
                    <a:pt x="59" y="27"/>
                    <a:pt x="59" y="25"/>
                    <a:pt x="60" y="24"/>
                  </a:cubicBezTo>
                  <a:cubicBezTo>
                    <a:pt x="61" y="22"/>
                    <a:pt x="63" y="20"/>
                    <a:pt x="62" y="18"/>
                  </a:cubicBezTo>
                  <a:cubicBezTo>
                    <a:pt x="61" y="14"/>
                    <a:pt x="56" y="12"/>
                    <a:pt x="53" y="14"/>
                  </a:cubicBezTo>
                  <a:cubicBezTo>
                    <a:pt x="53" y="14"/>
                    <a:pt x="53" y="15"/>
                    <a:pt x="52" y="15"/>
                  </a:cubicBezTo>
                  <a:cubicBezTo>
                    <a:pt x="51" y="15"/>
                    <a:pt x="51" y="16"/>
                    <a:pt x="50" y="16"/>
                  </a:cubicBezTo>
                  <a:cubicBezTo>
                    <a:pt x="50" y="17"/>
                    <a:pt x="50" y="17"/>
                    <a:pt x="49" y="17"/>
                  </a:cubicBezTo>
                  <a:cubicBezTo>
                    <a:pt x="48" y="17"/>
                    <a:pt x="48" y="16"/>
                    <a:pt x="47" y="15"/>
                  </a:cubicBezTo>
                  <a:cubicBezTo>
                    <a:pt x="47" y="14"/>
                    <a:pt x="46" y="13"/>
                    <a:pt x="46" y="13"/>
                  </a:cubicBezTo>
                  <a:lnTo>
                    <a:pt x="45" y="1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4" name="Freeform 95">
              <a:extLst>
                <a:ext uri="{FF2B5EF4-FFF2-40B4-BE49-F238E27FC236}">
                  <a16:creationId xmlns:a16="http://schemas.microsoft.com/office/drawing/2014/main" id="{57D4F78A-D888-4338-9DF6-CB65D48BD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1100" y="6029325"/>
              <a:ext cx="57150" cy="41275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1" y="13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9" y="12"/>
                </a:cxn>
                <a:cxn ang="0">
                  <a:pos x="12" y="14"/>
                </a:cxn>
                <a:cxn ang="0">
                  <a:pos x="24" y="20"/>
                </a:cxn>
                <a:cxn ang="0">
                  <a:pos x="27" y="21"/>
                </a:cxn>
                <a:cxn ang="0">
                  <a:pos x="28" y="21"/>
                </a:cxn>
                <a:cxn ang="0">
                  <a:pos x="29" y="16"/>
                </a:cxn>
                <a:cxn ang="0">
                  <a:pos x="27" y="12"/>
                </a:cxn>
                <a:cxn ang="0">
                  <a:pos x="25" y="9"/>
                </a:cxn>
                <a:cxn ang="0">
                  <a:pos x="24" y="5"/>
                </a:cxn>
                <a:cxn ang="0">
                  <a:pos x="21" y="3"/>
                </a:cxn>
                <a:cxn ang="0">
                  <a:pos x="16" y="0"/>
                </a:cxn>
                <a:cxn ang="0">
                  <a:pos x="4" y="3"/>
                </a:cxn>
              </a:cxnLst>
              <a:rect l="0" t="0" r="r" b="b"/>
              <a:pathLst>
                <a:path w="30" h="22">
                  <a:moveTo>
                    <a:pt x="4" y="3"/>
                  </a:moveTo>
                  <a:cubicBezTo>
                    <a:pt x="3" y="3"/>
                    <a:pt x="0" y="3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7"/>
                    <a:pt x="1" y="9"/>
                    <a:pt x="1" y="11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2" y="14"/>
                    <a:pt x="3" y="13"/>
                    <a:pt x="4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3"/>
                    <a:pt x="11" y="13"/>
                    <a:pt x="12" y="14"/>
                  </a:cubicBezTo>
                  <a:cubicBezTo>
                    <a:pt x="15" y="18"/>
                    <a:pt x="20" y="18"/>
                    <a:pt x="24" y="20"/>
                  </a:cubicBezTo>
                  <a:cubicBezTo>
                    <a:pt x="25" y="20"/>
                    <a:pt x="26" y="21"/>
                    <a:pt x="27" y="21"/>
                  </a:cubicBezTo>
                  <a:cubicBezTo>
                    <a:pt x="27" y="21"/>
                    <a:pt x="28" y="22"/>
                    <a:pt x="28" y="21"/>
                  </a:cubicBezTo>
                  <a:cubicBezTo>
                    <a:pt x="30" y="21"/>
                    <a:pt x="30" y="17"/>
                    <a:pt x="29" y="16"/>
                  </a:cubicBezTo>
                  <a:cubicBezTo>
                    <a:pt x="29" y="14"/>
                    <a:pt x="28" y="13"/>
                    <a:pt x="27" y="12"/>
                  </a:cubicBezTo>
                  <a:cubicBezTo>
                    <a:pt x="26" y="11"/>
                    <a:pt x="26" y="10"/>
                    <a:pt x="25" y="9"/>
                  </a:cubicBezTo>
                  <a:cubicBezTo>
                    <a:pt x="25" y="8"/>
                    <a:pt x="24" y="7"/>
                    <a:pt x="24" y="5"/>
                  </a:cubicBezTo>
                  <a:cubicBezTo>
                    <a:pt x="23" y="4"/>
                    <a:pt x="22" y="4"/>
                    <a:pt x="21" y="3"/>
                  </a:cubicBezTo>
                  <a:cubicBezTo>
                    <a:pt x="19" y="1"/>
                    <a:pt x="18" y="0"/>
                    <a:pt x="16" y="0"/>
                  </a:cubicBezTo>
                  <a:lnTo>
                    <a:pt x="4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5" name="Freeform 96">
              <a:extLst>
                <a:ext uri="{FF2B5EF4-FFF2-40B4-BE49-F238E27FC236}">
                  <a16:creationId xmlns:a16="http://schemas.microsoft.com/office/drawing/2014/main" id="{F4766E73-A40E-4915-B213-E922F7CFC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988" y="6162675"/>
              <a:ext cx="47625" cy="38100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4" y="1"/>
                </a:cxn>
                <a:cxn ang="0">
                  <a:pos x="18" y="1"/>
                </a:cxn>
                <a:cxn ang="0">
                  <a:pos x="16" y="2"/>
                </a:cxn>
                <a:cxn ang="0">
                  <a:pos x="13" y="4"/>
                </a:cxn>
                <a:cxn ang="0">
                  <a:pos x="8" y="7"/>
                </a:cxn>
                <a:cxn ang="0">
                  <a:pos x="4" y="10"/>
                </a:cxn>
                <a:cxn ang="0">
                  <a:pos x="1" y="17"/>
                </a:cxn>
                <a:cxn ang="0">
                  <a:pos x="12" y="18"/>
                </a:cxn>
                <a:cxn ang="0">
                  <a:pos x="21" y="13"/>
                </a:cxn>
                <a:cxn ang="0">
                  <a:pos x="24" y="8"/>
                </a:cxn>
                <a:cxn ang="0">
                  <a:pos x="23" y="5"/>
                </a:cxn>
                <a:cxn ang="0">
                  <a:pos x="22" y="2"/>
                </a:cxn>
                <a:cxn ang="0">
                  <a:pos x="25" y="2"/>
                </a:cxn>
              </a:cxnLst>
              <a:rect l="0" t="0" r="r" b="b"/>
              <a:pathLst>
                <a:path w="25" h="20">
                  <a:moveTo>
                    <a:pt x="25" y="2"/>
                  </a:moveTo>
                  <a:cubicBezTo>
                    <a:pt x="25" y="1"/>
                    <a:pt x="25" y="1"/>
                    <a:pt x="24" y="1"/>
                  </a:cubicBezTo>
                  <a:cubicBezTo>
                    <a:pt x="22" y="0"/>
                    <a:pt x="20" y="1"/>
                    <a:pt x="18" y="1"/>
                  </a:cubicBezTo>
                  <a:cubicBezTo>
                    <a:pt x="17" y="1"/>
                    <a:pt x="17" y="1"/>
                    <a:pt x="16" y="2"/>
                  </a:cubicBezTo>
                  <a:cubicBezTo>
                    <a:pt x="15" y="3"/>
                    <a:pt x="14" y="4"/>
                    <a:pt x="13" y="4"/>
                  </a:cubicBezTo>
                  <a:cubicBezTo>
                    <a:pt x="12" y="5"/>
                    <a:pt x="10" y="6"/>
                    <a:pt x="8" y="7"/>
                  </a:cubicBezTo>
                  <a:cubicBezTo>
                    <a:pt x="7" y="8"/>
                    <a:pt x="5" y="9"/>
                    <a:pt x="4" y="10"/>
                  </a:cubicBezTo>
                  <a:cubicBezTo>
                    <a:pt x="2" y="11"/>
                    <a:pt x="0" y="15"/>
                    <a:pt x="1" y="17"/>
                  </a:cubicBezTo>
                  <a:cubicBezTo>
                    <a:pt x="4" y="20"/>
                    <a:pt x="9" y="19"/>
                    <a:pt x="12" y="18"/>
                  </a:cubicBezTo>
                  <a:cubicBezTo>
                    <a:pt x="15" y="16"/>
                    <a:pt x="18" y="16"/>
                    <a:pt x="21" y="13"/>
                  </a:cubicBezTo>
                  <a:cubicBezTo>
                    <a:pt x="22" y="11"/>
                    <a:pt x="24" y="10"/>
                    <a:pt x="24" y="8"/>
                  </a:cubicBezTo>
                  <a:cubicBezTo>
                    <a:pt x="24" y="7"/>
                    <a:pt x="23" y="6"/>
                    <a:pt x="23" y="5"/>
                  </a:cubicBezTo>
                  <a:cubicBezTo>
                    <a:pt x="23" y="4"/>
                    <a:pt x="23" y="3"/>
                    <a:pt x="22" y="2"/>
                  </a:cubicBezTo>
                  <a:lnTo>
                    <a:pt x="25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6" name="Freeform 97">
              <a:extLst>
                <a:ext uri="{FF2B5EF4-FFF2-40B4-BE49-F238E27FC236}">
                  <a16:creationId xmlns:a16="http://schemas.microsoft.com/office/drawing/2014/main" id="{B33DEE39-76FE-4801-85CF-2E2A0B2AC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3973513"/>
              <a:ext cx="403225" cy="454025"/>
            </a:xfrm>
            <a:custGeom>
              <a:avLst/>
              <a:gdLst/>
              <a:ahLst/>
              <a:cxnLst>
                <a:cxn ang="0">
                  <a:pos x="180" y="6"/>
                </a:cxn>
                <a:cxn ang="0">
                  <a:pos x="144" y="10"/>
                </a:cxn>
                <a:cxn ang="0">
                  <a:pos x="119" y="23"/>
                </a:cxn>
                <a:cxn ang="0">
                  <a:pos x="116" y="34"/>
                </a:cxn>
                <a:cxn ang="0">
                  <a:pos x="109" y="42"/>
                </a:cxn>
                <a:cxn ang="0">
                  <a:pos x="121" y="55"/>
                </a:cxn>
                <a:cxn ang="0">
                  <a:pos x="126" y="74"/>
                </a:cxn>
                <a:cxn ang="0">
                  <a:pos x="117" y="83"/>
                </a:cxn>
                <a:cxn ang="0">
                  <a:pos x="109" y="93"/>
                </a:cxn>
                <a:cxn ang="0">
                  <a:pos x="114" y="112"/>
                </a:cxn>
                <a:cxn ang="0">
                  <a:pos x="98" y="105"/>
                </a:cxn>
                <a:cxn ang="0">
                  <a:pos x="96" y="89"/>
                </a:cxn>
                <a:cxn ang="0">
                  <a:pos x="97" y="78"/>
                </a:cxn>
                <a:cxn ang="0">
                  <a:pos x="113" y="75"/>
                </a:cxn>
                <a:cxn ang="0">
                  <a:pos x="102" y="58"/>
                </a:cxn>
                <a:cxn ang="0">
                  <a:pos x="100" y="46"/>
                </a:cxn>
                <a:cxn ang="0">
                  <a:pos x="82" y="47"/>
                </a:cxn>
                <a:cxn ang="0">
                  <a:pos x="69" y="71"/>
                </a:cxn>
                <a:cxn ang="0">
                  <a:pos x="70" y="90"/>
                </a:cxn>
                <a:cxn ang="0">
                  <a:pos x="65" y="96"/>
                </a:cxn>
                <a:cxn ang="0">
                  <a:pos x="54" y="122"/>
                </a:cxn>
                <a:cxn ang="0">
                  <a:pos x="39" y="133"/>
                </a:cxn>
                <a:cxn ang="0">
                  <a:pos x="34" y="147"/>
                </a:cxn>
                <a:cxn ang="0">
                  <a:pos x="22" y="158"/>
                </a:cxn>
                <a:cxn ang="0">
                  <a:pos x="29" y="164"/>
                </a:cxn>
                <a:cxn ang="0">
                  <a:pos x="40" y="176"/>
                </a:cxn>
                <a:cxn ang="0">
                  <a:pos x="25" y="167"/>
                </a:cxn>
                <a:cxn ang="0">
                  <a:pos x="6" y="179"/>
                </a:cxn>
                <a:cxn ang="0">
                  <a:pos x="35" y="182"/>
                </a:cxn>
                <a:cxn ang="0">
                  <a:pos x="44" y="190"/>
                </a:cxn>
                <a:cxn ang="0">
                  <a:pos x="11" y="186"/>
                </a:cxn>
                <a:cxn ang="0">
                  <a:pos x="6" y="197"/>
                </a:cxn>
                <a:cxn ang="0">
                  <a:pos x="38" y="203"/>
                </a:cxn>
                <a:cxn ang="0">
                  <a:pos x="49" y="193"/>
                </a:cxn>
                <a:cxn ang="0">
                  <a:pos x="61" y="183"/>
                </a:cxn>
                <a:cxn ang="0">
                  <a:pos x="92" y="184"/>
                </a:cxn>
                <a:cxn ang="0">
                  <a:pos x="97" y="192"/>
                </a:cxn>
                <a:cxn ang="0">
                  <a:pos x="113" y="199"/>
                </a:cxn>
                <a:cxn ang="0">
                  <a:pos x="132" y="204"/>
                </a:cxn>
                <a:cxn ang="0">
                  <a:pos x="132" y="216"/>
                </a:cxn>
                <a:cxn ang="0">
                  <a:pos x="126" y="239"/>
                </a:cxn>
                <a:cxn ang="0">
                  <a:pos x="149" y="239"/>
                </a:cxn>
                <a:cxn ang="0">
                  <a:pos x="151" y="226"/>
                </a:cxn>
                <a:cxn ang="0">
                  <a:pos x="146" y="219"/>
                </a:cxn>
                <a:cxn ang="0">
                  <a:pos x="152" y="205"/>
                </a:cxn>
                <a:cxn ang="0">
                  <a:pos x="158" y="188"/>
                </a:cxn>
                <a:cxn ang="0">
                  <a:pos x="155" y="168"/>
                </a:cxn>
                <a:cxn ang="0">
                  <a:pos x="148" y="146"/>
                </a:cxn>
                <a:cxn ang="0">
                  <a:pos x="171" y="145"/>
                </a:cxn>
                <a:cxn ang="0">
                  <a:pos x="188" y="133"/>
                </a:cxn>
                <a:cxn ang="0">
                  <a:pos x="197" y="117"/>
                </a:cxn>
                <a:cxn ang="0">
                  <a:pos x="204" y="97"/>
                </a:cxn>
                <a:cxn ang="0">
                  <a:pos x="182" y="80"/>
                </a:cxn>
                <a:cxn ang="0">
                  <a:pos x="195" y="72"/>
                </a:cxn>
                <a:cxn ang="0">
                  <a:pos x="209" y="57"/>
                </a:cxn>
                <a:cxn ang="0">
                  <a:pos x="215" y="31"/>
                </a:cxn>
                <a:cxn ang="0">
                  <a:pos x="207" y="10"/>
                </a:cxn>
              </a:cxnLst>
              <a:rect l="0" t="0" r="r" b="b"/>
              <a:pathLst>
                <a:path w="216" h="243">
                  <a:moveTo>
                    <a:pt x="206" y="9"/>
                  </a:moveTo>
                  <a:cubicBezTo>
                    <a:pt x="204" y="9"/>
                    <a:pt x="202" y="9"/>
                    <a:pt x="201" y="9"/>
                  </a:cubicBezTo>
                  <a:cubicBezTo>
                    <a:pt x="199" y="9"/>
                    <a:pt x="199" y="9"/>
                    <a:pt x="198" y="8"/>
                  </a:cubicBezTo>
                  <a:cubicBezTo>
                    <a:pt x="198" y="5"/>
                    <a:pt x="200" y="2"/>
                    <a:pt x="197" y="1"/>
                  </a:cubicBezTo>
                  <a:cubicBezTo>
                    <a:pt x="194" y="0"/>
                    <a:pt x="192" y="2"/>
                    <a:pt x="190" y="2"/>
                  </a:cubicBezTo>
                  <a:cubicBezTo>
                    <a:pt x="187" y="4"/>
                    <a:pt x="183" y="4"/>
                    <a:pt x="180" y="6"/>
                  </a:cubicBezTo>
                  <a:cubicBezTo>
                    <a:pt x="180" y="6"/>
                    <a:pt x="179" y="6"/>
                    <a:pt x="179" y="6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7" y="9"/>
                    <a:pt x="173" y="8"/>
                    <a:pt x="170" y="8"/>
                  </a:cubicBezTo>
                  <a:cubicBezTo>
                    <a:pt x="166" y="8"/>
                    <a:pt x="162" y="5"/>
                    <a:pt x="158" y="5"/>
                  </a:cubicBezTo>
                  <a:cubicBezTo>
                    <a:pt x="154" y="5"/>
                    <a:pt x="153" y="6"/>
                    <a:pt x="150" y="8"/>
                  </a:cubicBezTo>
                  <a:cubicBezTo>
                    <a:pt x="148" y="8"/>
                    <a:pt x="146" y="9"/>
                    <a:pt x="144" y="10"/>
                  </a:cubicBezTo>
                  <a:cubicBezTo>
                    <a:pt x="140" y="10"/>
                    <a:pt x="137" y="10"/>
                    <a:pt x="135" y="12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3" y="14"/>
                    <a:pt x="132" y="14"/>
                    <a:pt x="131" y="15"/>
                  </a:cubicBezTo>
                  <a:cubicBezTo>
                    <a:pt x="129" y="16"/>
                    <a:pt x="127" y="16"/>
                    <a:pt x="125" y="18"/>
                  </a:cubicBezTo>
                  <a:cubicBezTo>
                    <a:pt x="124" y="18"/>
                    <a:pt x="123" y="20"/>
                    <a:pt x="122" y="21"/>
                  </a:cubicBezTo>
                  <a:cubicBezTo>
                    <a:pt x="121" y="21"/>
                    <a:pt x="119" y="22"/>
                    <a:pt x="119" y="23"/>
                  </a:cubicBezTo>
                  <a:cubicBezTo>
                    <a:pt x="119" y="24"/>
                    <a:pt x="119" y="25"/>
                    <a:pt x="119" y="25"/>
                  </a:cubicBezTo>
                  <a:cubicBezTo>
                    <a:pt x="119" y="26"/>
                    <a:pt x="118" y="27"/>
                    <a:pt x="118" y="27"/>
                  </a:cubicBezTo>
                  <a:cubicBezTo>
                    <a:pt x="118" y="27"/>
                    <a:pt x="117" y="28"/>
                    <a:pt x="117" y="29"/>
                  </a:cubicBezTo>
                  <a:cubicBezTo>
                    <a:pt x="117" y="30"/>
                    <a:pt x="117" y="31"/>
                    <a:pt x="117" y="31"/>
                  </a:cubicBezTo>
                  <a:cubicBezTo>
                    <a:pt x="117" y="32"/>
                    <a:pt x="116" y="32"/>
                    <a:pt x="116" y="32"/>
                  </a:cubicBezTo>
                  <a:cubicBezTo>
                    <a:pt x="116" y="33"/>
                    <a:pt x="117" y="33"/>
                    <a:pt x="116" y="34"/>
                  </a:cubicBezTo>
                  <a:cubicBezTo>
                    <a:pt x="116" y="34"/>
                    <a:pt x="114" y="35"/>
                    <a:pt x="113" y="35"/>
                  </a:cubicBezTo>
                  <a:cubicBezTo>
                    <a:pt x="111" y="36"/>
                    <a:pt x="109" y="36"/>
                    <a:pt x="109" y="33"/>
                  </a:cubicBezTo>
                  <a:cubicBezTo>
                    <a:pt x="108" y="32"/>
                    <a:pt x="108" y="31"/>
                    <a:pt x="107" y="30"/>
                  </a:cubicBezTo>
                  <a:cubicBezTo>
                    <a:pt x="105" y="29"/>
                    <a:pt x="103" y="36"/>
                    <a:pt x="103" y="38"/>
                  </a:cubicBezTo>
                  <a:cubicBezTo>
                    <a:pt x="104" y="39"/>
                    <a:pt x="104" y="40"/>
                    <a:pt x="104" y="41"/>
                  </a:cubicBezTo>
                  <a:cubicBezTo>
                    <a:pt x="105" y="43"/>
                    <a:pt x="107" y="43"/>
                    <a:pt x="109" y="42"/>
                  </a:cubicBezTo>
                  <a:cubicBezTo>
                    <a:pt x="110" y="41"/>
                    <a:pt x="110" y="39"/>
                    <a:pt x="112" y="41"/>
                  </a:cubicBezTo>
                  <a:cubicBezTo>
                    <a:pt x="112" y="41"/>
                    <a:pt x="113" y="42"/>
                    <a:pt x="113" y="42"/>
                  </a:cubicBezTo>
                  <a:cubicBezTo>
                    <a:pt x="113" y="43"/>
                    <a:pt x="114" y="43"/>
                    <a:pt x="114" y="43"/>
                  </a:cubicBezTo>
                  <a:cubicBezTo>
                    <a:pt x="116" y="46"/>
                    <a:pt x="115" y="51"/>
                    <a:pt x="115" y="54"/>
                  </a:cubicBezTo>
                  <a:cubicBezTo>
                    <a:pt x="115" y="56"/>
                    <a:pt x="115" y="56"/>
                    <a:pt x="118" y="56"/>
                  </a:cubicBezTo>
                  <a:cubicBezTo>
                    <a:pt x="119" y="56"/>
                    <a:pt x="120" y="55"/>
                    <a:pt x="121" y="55"/>
                  </a:cubicBezTo>
                  <a:cubicBezTo>
                    <a:pt x="123" y="56"/>
                    <a:pt x="124" y="57"/>
                    <a:pt x="125" y="57"/>
                  </a:cubicBezTo>
                  <a:cubicBezTo>
                    <a:pt x="126" y="60"/>
                    <a:pt x="130" y="56"/>
                    <a:pt x="131" y="57"/>
                  </a:cubicBezTo>
                  <a:cubicBezTo>
                    <a:pt x="132" y="58"/>
                    <a:pt x="132" y="59"/>
                    <a:pt x="131" y="60"/>
                  </a:cubicBezTo>
                  <a:cubicBezTo>
                    <a:pt x="129" y="62"/>
                    <a:pt x="126" y="61"/>
                    <a:pt x="125" y="63"/>
                  </a:cubicBezTo>
                  <a:cubicBezTo>
                    <a:pt x="124" y="65"/>
                    <a:pt x="125" y="68"/>
                    <a:pt x="125" y="70"/>
                  </a:cubicBezTo>
                  <a:cubicBezTo>
                    <a:pt x="125" y="72"/>
                    <a:pt x="125" y="72"/>
                    <a:pt x="126" y="74"/>
                  </a:cubicBezTo>
                  <a:cubicBezTo>
                    <a:pt x="126" y="74"/>
                    <a:pt x="127" y="75"/>
                    <a:pt x="127" y="75"/>
                  </a:cubicBezTo>
                  <a:cubicBezTo>
                    <a:pt x="127" y="76"/>
                    <a:pt x="127" y="77"/>
                    <a:pt x="127" y="78"/>
                  </a:cubicBezTo>
                  <a:cubicBezTo>
                    <a:pt x="129" y="78"/>
                    <a:pt x="130" y="77"/>
                    <a:pt x="129" y="80"/>
                  </a:cubicBezTo>
                  <a:cubicBezTo>
                    <a:pt x="129" y="81"/>
                    <a:pt x="129" y="81"/>
                    <a:pt x="127" y="81"/>
                  </a:cubicBezTo>
                  <a:cubicBezTo>
                    <a:pt x="124" y="82"/>
                    <a:pt x="122" y="81"/>
                    <a:pt x="119" y="82"/>
                  </a:cubicBezTo>
                  <a:cubicBezTo>
                    <a:pt x="118" y="82"/>
                    <a:pt x="118" y="83"/>
                    <a:pt x="117" y="83"/>
                  </a:cubicBezTo>
                  <a:cubicBezTo>
                    <a:pt x="116" y="83"/>
                    <a:pt x="116" y="83"/>
                    <a:pt x="115" y="83"/>
                  </a:cubicBezTo>
                  <a:cubicBezTo>
                    <a:pt x="113" y="83"/>
                    <a:pt x="113" y="83"/>
                    <a:pt x="112" y="84"/>
                  </a:cubicBezTo>
                  <a:cubicBezTo>
                    <a:pt x="110" y="85"/>
                    <a:pt x="110" y="85"/>
                    <a:pt x="110" y="87"/>
                  </a:cubicBezTo>
                  <a:cubicBezTo>
                    <a:pt x="110" y="87"/>
                    <a:pt x="109" y="88"/>
                    <a:pt x="109" y="88"/>
                  </a:cubicBezTo>
                  <a:cubicBezTo>
                    <a:pt x="109" y="89"/>
                    <a:pt x="109" y="90"/>
                    <a:pt x="109" y="91"/>
                  </a:cubicBezTo>
                  <a:cubicBezTo>
                    <a:pt x="109" y="92"/>
                    <a:pt x="109" y="92"/>
                    <a:pt x="109" y="93"/>
                  </a:cubicBezTo>
                  <a:cubicBezTo>
                    <a:pt x="110" y="94"/>
                    <a:pt x="110" y="94"/>
                    <a:pt x="110" y="95"/>
                  </a:cubicBezTo>
                  <a:cubicBezTo>
                    <a:pt x="110" y="96"/>
                    <a:pt x="109" y="97"/>
                    <a:pt x="108" y="98"/>
                  </a:cubicBezTo>
                  <a:cubicBezTo>
                    <a:pt x="107" y="101"/>
                    <a:pt x="109" y="101"/>
                    <a:pt x="110" y="104"/>
                  </a:cubicBezTo>
                  <a:cubicBezTo>
                    <a:pt x="110" y="105"/>
                    <a:pt x="110" y="106"/>
                    <a:pt x="111" y="107"/>
                  </a:cubicBezTo>
                  <a:cubicBezTo>
                    <a:pt x="111" y="108"/>
                    <a:pt x="112" y="109"/>
                    <a:pt x="113" y="109"/>
                  </a:cubicBezTo>
                  <a:cubicBezTo>
                    <a:pt x="114" y="110"/>
                    <a:pt x="115" y="111"/>
                    <a:pt x="114" y="112"/>
                  </a:cubicBezTo>
                  <a:cubicBezTo>
                    <a:pt x="114" y="112"/>
                    <a:pt x="114" y="112"/>
                    <a:pt x="113" y="112"/>
                  </a:cubicBezTo>
                  <a:cubicBezTo>
                    <a:pt x="113" y="112"/>
                    <a:pt x="112" y="111"/>
                    <a:pt x="112" y="111"/>
                  </a:cubicBezTo>
                  <a:cubicBezTo>
                    <a:pt x="111" y="110"/>
                    <a:pt x="110" y="109"/>
                    <a:pt x="109" y="108"/>
                  </a:cubicBezTo>
                  <a:cubicBezTo>
                    <a:pt x="108" y="107"/>
                    <a:pt x="108" y="107"/>
                    <a:pt x="107" y="106"/>
                  </a:cubicBezTo>
                  <a:cubicBezTo>
                    <a:pt x="105" y="105"/>
                    <a:pt x="104" y="106"/>
                    <a:pt x="103" y="106"/>
                  </a:cubicBezTo>
                  <a:cubicBezTo>
                    <a:pt x="101" y="106"/>
                    <a:pt x="99" y="105"/>
                    <a:pt x="98" y="105"/>
                  </a:cubicBezTo>
                  <a:cubicBezTo>
                    <a:pt x="96" y="104"/>
                    <a:pt x="95" y="104"/>
                    <a:pt x="94" y="104"/>
                  </a:cubicBezTo>
                  <a:cubicBezTo>
                    <a:pt x="92" y="103"/>
                    <a:pt x="91" y="100"/>
                    <a:pt x="93" y="99"/>
                  </a:cubicBezTo>
                  <a:cubicBezTo>
                    <a:pt x="94" y="98"/>
                    <a:pt x="100" y="100"/>
                    <a:pt x="99" y="97"/>
                  </a:cubicBezTo>
                  <a:cubicBezTo>
                    <a:pt x="98" y="95"/>
                    <a:pt x="97" y="96"/>
                    <a:pt x="97" y="95"/>
                  </a:cubicBezTo>
                  <a:cubicBezTo>
                    <a:pt x="97" y="94"/>
                    <a:pt x="97" y="92"/>
                    <a:pt x="97" y="91"/>
                  </a:cubicBezTo>
                  <a:cubicBezTo>
                    <a:pt x="97" y="90"/>
                    <a:pt x="96" y="90"/>
                    <a:pt x="96" y="89"/>
                  </a:cubicBezTo>
                  <a:cubicBezTo>
                    <a:pt x="96" y="89"/>
                    <a:pt x="97" y="88"/>
                    <a:pt x="97" y="88"/>
                  </a:cubicBezTo>
                  <a:cubicBezTo>
                    <a:pt x="97" y="88"/>
                    <a:pt x="97" y="87"/>
                    <a:pt x="97" y="86"/>
                  </a:cubicBezTo>
                  <a:cubicBezTo>
                    <a:pt x="96" y="84"/>
                    <a:pt x="95" y="83"/>
                    <a:pt x="94" y="82"/>
                  </a:cubicBezTo>
                  <a:cubicBezTo>
                    <a:pt x="94" y="81"/>
                    <a:pt x="94" y="81"/>
                    <a:pt x="94" y="80"/>
                  </a:cubicBezTo>
                  <a:cubicBezTo>
                    <a:pt x="93" y="80"/>
                    <a:pt x="93" y="80"/>
                    <a:pt x="93" y="79"/>
                  </a:cubicBezTo>
                  <a:cubicBezTo>
                    <a:pt x="93" y="77"/>
                    <a:pt x="95" y="78"/>
                    <a:pt x="97" y="78"/>
                  </a:cubicBezTo>
                  <a:cubicBezTo>
                    <a:pt x="98" y="78"/>
                    <a:pt x="98" y="78"/>
                    <a:pt x="100" y="78"/>
                  </a:cubicBezTo>
                  <a:cubicBezTo>
                    <a:pt x="101" y="78"/>
                    <a:pt x="102" y="77"/>
                    <a:pt x="102" y="77"/>
                  </a:cubicBezTo>
                  <a:cubicBezTo>
                    <a:pt x="103" y="77"/>
                    <a:pt x="104" y="77"/>
                    <a:pt x="105" y="77"/>
                  </a:cubicBezTo>
                  <a:cubicBezTo>
                    <a:pt x="107" y="76"/>
                    <a:pt x="106" y="76"/>
                    <a:pt x="107" y="75"/>
                  </a:cubicBezTo>
                  <a:cubicBezTo>
                    <a:pt x="108" y="72"/>
                    <a:pt x="109" y="75"/>
                    <a:pt x="111" y="75"/>
                  </a:cubicBezTo>
                  <a:cubicBezTo>
                    <a:pt x="111" y="75"/>
                    <a:pt x="112" y="75"/>
                    <a:pt x="113" y="75"/>
                  </a:cubicBezTo>
                  <a:cubicBezTo>
                    <a:pt x="113" y="74"/>
                    <a:pt x="113" y="72"/>
                    <a:pt x="112" y="72"/>
                  </a:cubicBezTo>
                  <a:cubicBezTo>
                    <a:pt x="112" y="71"/>
                    <a:pt x="111" y="71"/>
                    <a:pt x="110" y="71"/>
                  </a:cubicBezTo>
                  <a:cubicBezTo>
                    <a:pt x="110" y="70"/>
                    <a:pt x="108" y="69"/>
                    <a:pt x="108" y="68"/>
                  </a:cubicBezTo>
                  <a:cubicBezTo>
                    <a:pt x="107" y="68"/>
                    <a:pt x="108" y="67"/>
                    <a:pt x="108" y="66"/>
                  </a:cubicBezTo>
                  <a:cubicBezTo>
                    <a:pt x="108" y="64"/>
                    <a:pt x="107" y="64"/>
                    <a:pt x="105" y="63"/>
                  </a:cubicBezTo>
                  <a:cubicBezTo>
                    <a:pt x="103" y="62"/>
                    <a:pt x="103" y="60"/>
                    <a:pt x="102" y="58"/>
                  </a:cubicBezTo>
                  <a:cubicBezTo>
                    <a:pt x="101" y="57"/>
                    <a:pt x="99" y="56"/>
                    <a:pt x="98" y="55"/>
                  </a:cubicBezTo>
                  <a:cubicBezTo>
                    <a:pt x="97" y="54"/>
                    <a:pt x="97" y="55"/>
                    <a:pt x="97" y="53"/>
                  </a:cubicBezTo>
                  <a:cubicBezTo>
                    <a:pt x="97" y="52"/>
                    <a:pt x="98" y="51"/>
                    <a:pt x="99" y="50"/>
                  </a:cubicBezTo>
                  <a:cubicBezTo>
                    <a:pt x="100" y="49"/>
                    <a:pt x="101" y="48"/>
                    <a:pt x="102" y="47"/>
                  </a:cubicBezTo>
                  <a:cubicBezTo>
                    <a:pt x="104" y="47"/>
                    <a:pt x="105" y="46"/>
                    <a:pt x="106" y="45"/>
                  </a:cubicBezTo>
                  <a:cubicBezTo>
                    <a:pt x="104" y="45"/>
                    <a:pt x="102" y="45"/>
                    <a:pt x="100" y="46"/>
                  </a:cubicBezTo>
                  <a:cubicBezTo>
                    <a:pt x="99" y="47"/>
                    <a:pt x="98" y="48"/>
                    <a:pt x="97" y="49"/>
                  </a:cubicBezTo>
                  <a:cubicBezTo>
                    <a:pt x="95" y="51"/>
                    <a:pt x="93" y="53"/>
                    <a:pt x="92" y="53"/>
                  </a:cubicBezTo>
                  <a:cubicBezTo>
                    <a:pt x="90" y="53"/>
                    <a:pt x="86" y="53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4" y="50"/>
                    <a:pt x="84" y="49"/>
                  </a:cubicBezTo>
                  <a:cubicBezTo>
                    <a:pt x="84" y="48"/>
                    <a:pt x="83" y="47"/>
                    <a:pt x="82" y="47"/>
                  </a:cubicBezTo>
                  <a:cubicBezTo>
                    <a:pt x="78" y="47"/>
                    <a:pt x="77" y="50"/>
                    <a:pt x="77" y="53"/>
                  </a:cubicBezTo>
                  <a:cubicBezTo>
                    <a:pt x="77" y="56"/>
                    <a:pt x="77" y="57"/>
                    <a:pt x="75" y="60"/>
                  </a:cubicBezTo>
                  <a:cubicBezTo>
                    <a:pt x="75" y="60"/>
                    <a:pt x="74" y="62"/>
                    <a:pt x="73" y="62"/>
                  </a:cubicBezTo>
                  <a:cubicBezTo>
                    <a:pt x="72" y="63"/>
                    <a:pt x="69" y="61"/>
                    <a:pt x="67" y="60"/>
                  </a:cubicBezTo>
                  <a:cubicBezTo>
                    <a:pt x="67" y="61"/>
                    <a:pt x="67" y="62"/>
                    <a:pt x="67" y="63"/>
                  </a:cubicBezTo>
                  <a:cubicBezTo>
                    <a:pt x="66" y="66"/>
                    <a:pt x="68" y="68"/>
                    <a:pt x="69" y="71"/>
                  </a:cubicBezTo>
                  <a:cubicBezTo>
                    <a:pt x="69" y="72"/>
                    <a:pt x="68" y="73"/>
                    <a:pt x="69" y="74"/>
                  </a:cubicBezTo>
                  <a:cubicBezTo>
                    <a:pt x="69" y="75"/>
                    <a:pt x="72" y="75"/>
                    <a:pt x="73" y="77"/>
                  </a:cubicBezTo>
                  <a:cubicBezTo>
                    <a:pt x="73" y="79"/>
                    <a:pt x="72" y="80"/>
                    <a:pt x="72" y="81"/>
                  </a:cubicBezTo>
                  <a:cubicBezTo>
                    <a:pt x="72" y="83"/>
                    <a:pt x="72" y="84"/>
                    <a:pt x="72" y="85"/>
                  </a:cubicBezTo>
                  <a:cubicBezTo>
                    <a:pt x="72" y="86"/>
                    <a:pt x="71" y="87"/>
                    <a:pt x="71" y="88"/>
                  </a:cubicBezTo>
                  <a:cubicBezTo>
                    <a:pt x="71" y="89"/>
                    <a:pt x="70" y="90"/>
                    <a:pt x="70" y="90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92"/>
                    <a:pt x="69" y="93"/>
                    <a:pt x="69" y="93"/>
                  </a:cubicBezTo>
                  <a:cubicBezTo>
                    <a:pt x="69" y="94"/>
                    <a:pt x="68" y="93"/>
                    <a:pt x="68" y="94"/>
                  </a:cubicBezTo>
                  <a:cubicBezTo>
                    <a:pt x="67" y="94"/>
                    <a:pt x="66" y="95"/>
                    <a:pt x="66" y="95"/>
                  </a:cubicBezTo>
                  <a:cubicBezTo>
                    <a:pt x="65" y="95"/>
                    <a:pt x="65" y="95"/>
                    <a:pt x="65" y="96"/>
                  </a:cubicBezTo>
                  <a:cubicBezTo>
                    <a:pt x="64" y="97"/>
                    <a:pt x="65" y="97"/>
                    <a:pt x="65" y="98"/>
                  </a:cubicBezTo>
                  <a:cubicBezTo>
                    <a:pt x="65" y="98"/>
                    <a:pt x="64" y="99"/>
                    <a:pt x="64" y="99"/>
                  </a:cubicBezTo>
                  <a:cubicBezTo>
                    <a:pt x="63" y="100"/>
                    <a:pt x="63" y="102"/>
                    <a:pt x="63" y="103"/>
                  </a:cubicBezTo>
                  <a:cubicBezTo>
                    <a:pt x="63" y="104"/>
                    <a:pt x="63" y="106"/>
                    <a:pt x="62" y="107"/>
                  </a:cubicBezTo>
                  <a:cubicBezTo>
                    <a:pt x="62" y="109"/>
                    <a:pt x="60" y="110"/>
                    <a:pt x="60" y="111"/>
                  </a:cubicBezTo>
                  <a:cubicBezTo>
                    <a:pt x="58" y="114"/>
                    <a:pt x="55" y="117"/>
                    <a:pt x="54" y="122"/>
                  </a:cubicBezTo>
                  <a:cubicBezTo>
                    <a:pt x="53" y="121"/>
                    <a:pt x="51" y="123"/>
                    <a:pt x="50" y="124"/>
                  </a:cubicBezTo>
                  <a:cubicBezTo>
                    <a:pt x="49" y="125"/>
                    <a:pt x="49" y="126"/>
                    <a:pt x="49" y="127"/>
                  </a:cubicBezTo>
                  <a:cubicBezTo>
                    <a:pt x="49" y="127"/>
                    <a:pt x="49" y="128"/>
                    <a:pt x="48" y="128"/>
                  </a:cubicBezTo>
                  <a:cubicBezTo>
                    <a:pt x="48" y="126"/>
                    <a:pt x="43" y="126"/>
                    <a:pt x="42" y="127"/>
                  </a:cubicBezTo>
                  <a:cubicBezTo>
                    <a:pt x="41" y="128"/>
                    <a:pt x="41" y="128"/>
                    <a:pt x="41" y="129"/>
                  </a:cubicBezTo>
                  <a:cubicBezTo>
                    <a:pt x="40" y="130"/>
                    <a:pt x="40" y="131"/>
                    <a:pt x="39" y="133"/>
                  </a:cubicBezTo>
                  <a:cubicBezTo>
                    <a:pt x="39" y="134"/>
                    <a:pt x="38" y="134"/>
                    <a:pt x="38" y="135"/>
                  </a:cubicBezTo>
                  <a:cubicBezTo>
                    <a:pt x="38" y="136"/>
                    <a:pt x="38" y="137"/>
                    <a:pt x="38" y="138"/>
                  </a:cubicBezTo>
                  <a:cubicBezTo>
                    <a:pt x="38" y="140"/>
                    <a:pt x="39" y="140"/>
                    <a:pt x="39" y="141"/>
                  </a:cubicBezTo>
                  <a:cubicBezTo>
                    <a:pt x="40" y="143"/>
                    <a:pt x="39" y="144"/>
                    <a:pt x="40" y="145"/>
                  </a:cubicBezTo>
                  <a:cubicBezTo>
                    <a:pt x="39" y="145"/>
                    <a:pt x="39" y="145"/>
                    <a:pt x="38" y="146"/>
                  </a:cubicBezTo>
                  <a:cubicBezTo>
                    <a:pt x="36" y="146"/>
                    <a:pt x="36" y="146"/>
                    <a:pt x="34" y="147"/>
                  </a:cubicBezTo>
                  <a:cubicBezTo>
                    <a:pt x="34" y="147"/>
                    <a:pt x="33" y="147"/>
                    <a:pt x="32" y="147"/>
                  </a:cubicBezTo>
                  <a:cubicBezTo>
                    <a:pt x="32" y="148"/>
                    <a:pt x="32" y="148"/>
                    <a:pt x="32" y="149"/>
                  </a:cubicBezTo>
                  <a:cubicBezTo>
                    <a:pt x="30" y="150"/>
                    <a:pt x="30" y="149"/>
                    <a:pt x="29" y="151"/>
                  </a:cubicBezTo>
                  <a:cubicBezTo>
                    <a:pt x="29" y="152"/>
                    <a:pt x="29" y="154"/>
                    <a:pt x="29" y="156"/>
                  </a:cubicBezTo>
                  <a:cubicBezTo>
                    <a:pt x="29" y="158"/>
                    <a:pt x="28" y="157"/>
                    <a:pt x="26" y="157"/>
                  </a:cubicBezTo>
                  <a:cubicBezTo>
                    <a:pt x="25" y="157"/>
                    <a:pt x="23" y="158"/>
                    <a:pt x="22" y="158"/>
                  </a:cubicBezTo>
                  <a:cubicBezTo>
                    <a:pt x="20" y="159"/>
                    <a:pt x="15" y="162"/>
                    <a:pt x="16" y="164"/>
                  </a:cubicBezTo>
                  <a:cubicBezTo>
                    <a:pt x="17" y="165"/>
                    <a:pt x="19" y="165"/>
                    <a:pt x="20" y="164"/>
                  </a:cubicBezTo>
                  <a:cubicBezTo>
                    <a:pt x="20" y="164"/>
                    <a:pt x="21" y="163"/>
                    <a:pt x="21" y="163"/>
                  </a:cubicBezTo>
                  <a:cubicBezTo>
                    <a:pt x="22" y="162"/>
                    <a:pt x="24" y="162"/>
                    <a:pt x="24" y="162"/>
                  </a:cubicBezTo>
                  <a:cubicBezTo>
                    <a:pt x="26" y="161"/>
                    <a:pt x="26" y="161"/>
                    <a:pt x="28" y="162"/>
                  </a:cubicBezTo>
                  <a:cubicBezTo>
                    <a:pt x="28" y="162"/>
                    <a:pt x="29" y="163"/>
                    <a:pt x="29" y="164"/>
                  </a:cubicBezTo>
                  <a:cubicBezTo>
                    <a:pt x="30" y="164"/>
                    <a:pt x="32" y="164"/>
                    <a:pt x="33" y="164"/>
                  </a:cubicBezTo>
                  <a:cubicBezTo>
                    <a:pt x="34" y="164"/>
                    <a:pt x="40" y="161"/>
                    <a:pt x="40" y="163"/>
                  </a:cubicBezTo>
                  <a:cubicBezTo>
                    <a:pt x="41" y="164"/>
                    <a:pt x="37" y="167"/>
                    <a:pt x="36" y="167"/>
                  </a:cubicBezTo>
                  <a:cubicBezTo>
                    <a:pt x="35" y="168"/>
                    <a:pt x="35" y="169"/>
                    <a:pt x="35" y="170"/>
                  </a:cubicBezTo>
                  <a:cubicBezTo>
                    <a:pt x="37" y="170"/>
                    <a:pt x="39" y="171"/>
                    <a:pt x="40" y="172"/>
                  </a:cubicBezTo>
                  <a:cubicBezTo>
                    <a:pt x="40" y="173"/>
                    <a:pt x="40" y="175"/>
                    <a:pt x="40" y="176"/>
                  </a:cubicBezTo>
                  <a:cubicBezTo>
                    <a:pt x="41" y="177"/>
                    <a:pt x="44" y="177"/>
                    <a:pt x="44" y="178"/>
                  </a:cubicBezTo>
                  <a:cubicBezTo>
                    <a:pt x="45" y="179"/>
                    <a:pt x="44" y="180"/>
                    <a:pt x="44" y="181"/>
                  </a:cubicBezTo>
                  <a:cubicBezTo>
                    <a:pt x="39" y="181"/>
                    <a:pt x="36" y="176"/>
                    <a:pt x="34" y="172"/>
                  </a:cubicBezTo>
                  <a:cubicBezTo>
                    <a:pt x="33" y="171"/>
                    <a:pt x="31" y="170"/>
                    <a:pt x="30" y="169"/>
                  </a:cubicBezTo>
                  <a:cubicBezTo>
                    <a:pt x="29" y="169"/>
                    <a:pt x="28" y="169"/>
                    <a:pt x="28" y="168"/>
                  </a:cubicBezTo>
                  <a:cubicBezTo>
                    <a:pt x="27" y="167"/>
                    <a:pt x="27" y="167"/>
                    <a:pt x="25" y="167"/>
                  </a:cubicBezTo>
                  <a:cubicBezTo>
                    <a:pt x="23" y="167"/>
                    <a:pt x="23" y="168"/>
                    <a:pt x="22" y="169"/>
                  </a:cubicBezTo>
                  <a:cubicBezTo>
                    <a:pt x="20" y="170"/>
                    <a:pt x="17" y="169"/>
                    <a:pt x="15" y="169"/>
                  </a:cubicBezTo>
                  <a:cubicBezTo>
                    <a:pt x="13" y="169"/>
                    <a:pt x="13" y="169"/>
                    <a:pt x="12" y="169"/>
                  </a:cubicBezTo>
                  <a:cubicBezTo>
                    <a:pt x="12" y="170"/>
                    <a:pt x="11" y="170"/>
                    <a:pt x="11" y="171"/>
                  </a:cubicBezTo>
                  <a:cubicBezTo>
                    <a:pt x="10" y="171"/>
                    <a:pt x="10" y="171"/>
                    <a:pt x="9" y="172"/>
                  </a:cubicBezTo>
                  <a:cubicBezTo>
                    <a:pt x="8" y="173"/>
                    <a:pt x="5" y="177"/>
                    <a:pt x="6" y="179"/>
                  </a:cubicBezTo>
                  <a:cubicBezTo>
                    <a:pt x="8" y="179"/>
                    <a:pt x="12" y="178"/>
                    <a:pt x="13" y="180"/>
                  </a:cubicBezTo>
                  <a:cubicBezTo>
                    <a:pt x="14" y="180"/>
                    <a:pt x="14" y="181"/>
                    <a:pt x="14" y="182"/>
                  </a:cubicBezTo>
                  <a:cubicBezTo>
                    <a:pt x="15" y="183"/>
                    <a:pt x="16" y="183"/>
                    <a:pt x="18" y="184"/>
                  </a:cubicBezTo>
                  <a:cubicBezTo>
                    <a:pt x="22" y="184"/>
                    <a:pt x="23" y="187"/>
                    <a:pt x="27" y="185"/>
                  </a:cubicBezTo>
                  <a:cubicBezTo>
                    <a:pt x="29" y="184"/>
                    <a:pt x="31" y="183"/>
                    <a:pt x="33" y="182"/>
                  </a:cubicBezTo>
                  <a:cubicBezTo>
                    <a:pt x="34" y="182"/>
                    <a:pt x="34" y="182"/>
                    <a:pt x="35" y="182"/>
                  </a:cubicBezTo>
                  <a:cubicBezTo>
                    <a:pt x="36" y="182"/>
                    <a:pt x="37" y="181"/>
                    <a:pt x="37" y="181"/>
                  </a:cubicBezTo>
                  <a:cubicBezTo>
                    <a:pt x="38" y="181"/>
                    <a:pt x="39" y="182"/>
                    <a:pt x="40" y="183"/>
                  </a:cubicBezTo>
                  <a:cubicBezTo>
                    <a:pt x="40" y="185"/>
                    <a:pt x="39" y="186"/>
                    <a:pt x="41" y="186"/>
                  </a:cubicBezTo>
                  <a:cubicBezTo>
                    <a:pt x="42" y="187"/>
                    <a:pt x="46" y="184"/>
                    <a:pt x="47" y="186"/>
                  </a:cubicBezTo>
                  <a:cubicBezTo>
                    <a:pt x="48" y="186"/>
                    <a:pt x="48" y="190"/>
                    <a:pt x="48" y="190"/>
                  </a:cubicBezTo>
                  <a:cubicBezTo>
                    <a:pt x="47" y="191"/>
                    <a:pt x="45" y="190"/>
                    <a:pt x="44" y="190"/>
                  </a:cubicBezTo>
                  <a:cubicBezTo>
                    <a:pt x="41" y="189"/>
                    <a:pt x="39" y="189"/>
                    <a:pt x="36" y="188"/>
                  </a:cubicBezTo>
                  <a:cubicBezTo>
                    <a:pt x="35" y="188"/>
                    <a:pt x="34" y="187"/>
                    <a:pt x="33" y="188"/>
                  </a:cubicBezTo>
                  <a:cubicBezTo>
                    <a:pt x="32" y="188"/>
                    <a:pt x="31" y="188"/>
                    <a:pt x="30" y="188"/>
                  </a:cubicBezTo>
                  <a:cubicBezTo>
                    <a:pt x="27" y="189"/>
                    <a:pt x="24" y="188"/>
                    <a:pt x="21" y="188"/>
                  </a:cubicBezTo>
                  <a:cubicBezTo>
                    <a:pt x="18" y="188"/>
                    <a:pt x="16" y="188"/>
                    <a:pt x="13" y="187"/>
                  </a:cubicBezTo>
                  <a:cubicBezTo>
                    <a:pt x="12" y="187"/>
                    <a:pt x="11" y="186"/>
                    <a:pt x="11" y="186"/>
                  </a:cubicBezTo>
                  <a:cubicBezTo>
                    <a:pt x="9" y="185"/>
                    <a:pt x="8" y="183"/>
                    <a:pt x="6" y="183"/>
                  </a:cubicBezTo>
                  <a:cubicBezTo>
                    <a:pt x="3" y="182"/>
                    <a:pt x="1" y="184"/>
                    <a:pt x="1" y="187"/>
                  </a:cubicBezTo>
                  <a:cubicBezTo>
                    <a:pt x="1" y="188"/>
                    <a:pt x="1" y="189"/>
                    <a:pt x="0" y="190"/>
                  </a:cubicBezTo>
                  <a:cubicBezTo>
                    <a:pt x="0" y="192"/>
                    <a:pt x="1" y="192"/>
                    <a:pt x="1" y="193"/>
                  </a:cubicBezTo>
                  <a:cubicBezTo>
                    <a:pt x="2" y="194"/>
                    <a:pt x="2" y="195"/>
                    <a:pt x="3" y="196"/>
                  </a:cubicBezTo>
                  <a:cubicBezTo>
                    <a:pt x="4" y="197"/>
                    <a:pt x="5" y="197"/>
                    <a:pt x="6" y="197"/>
                  </a:cubicBezTo>
                  <a:cubicBezTo>
                    <a:pt x="7" y="198"/>
                    <a:pt x="9" y="199"/>
                    <a:pt x="11" y="198"/>
                  </a:cubicBezTo>
                  <a:cubicBezTo>
                    <a:pt x="12" y="197"/>
                    <a:pt x="12" y="196"/>
                    <a:pt x="12" y="196"/>
                  </a:cubicBezTo>
                  <a:cubicBezTo>
                    <a:pt x="13" y="195"/>
                    <a:pt x="17" y="194"/>
                    <a:pt x="18" y="194"/>
                  </a:cubicBezTo>
                  <a:cubicBezTo>
                    <a:pt x="21" y="194"/>
                    <a:pt x="22" y="196"/>
                    <a:pt x="23" y="198"/>
                  </a:cubicBezTo>
                  <a:cubicBezTo>
                    <a:pt x="25" y="200"/>
                    <a:pt x="30" y="201"/>
                    <a:pt x="33" y="202"/>
                  </a:cubicBezTo>
                  <a:cubicBezTo>
                    <a:pt x="35" y="203"/>
                    <a:pt x="36" y="204"/>
                    <a:pt x="38" y="203"/>
                  </a:cubicBezTo>
                  <a:cubicBezTo>
                    <a:pt x="39" y="203"/>
                    <a:pt x="40" y="202"/>
                    <a:pt x="41" y="201"/>
                  </a:cubicBezTo>
                  <a:cubicBezTo>
                    <a:pt x="41" y="200"/>
                    <a:pt x="42" y="199"/>
                    <a:pt x="42" y="199"/>
                  </a:cubicBezTo>
                  <a:cubicBezTo>
                    <a:pt x="42" y="198"/>
                    <a:pt x="43" y="197"/>
                    <a:pt x="44" y="196"/>
                  </a:cubicBezTo>
                  <a:cubicBezTo>
                    <a:pt x="44" y="195"/>
                    <a:pt x="44" y="195"/>
                    <a:pt x="46" y="194"/>
                  </a:cubicBezTo>
                  <a:cubicBezTo>
                    <a:pt x="47" y="194"/>
                    <a:pt x="48" y="194"/>
                    <a:pt x="49" y="193"/>
                  </a:cubicBezTo>
                  <a:cubicBezTo>
                    <a:pt x="49" y="193"/>
                    <a:pt x="49" y="193"/>
                    <a:pt x="49" y="193"/>
                  </a:cubicBezTo>
                  <a:cubicBezTo>
                    <a:pt x="49" y="192"/>
                    <a:pt x="49" y="192"/>
                    <a:pt x="50" y="192"/>
                  </a:cubicBezTo>
                  <a:cubicBezTo>
                    <a:pt x="51" y="191"/>
                    <a:pt x="51" y="191"/>
                    <a:pt x="51" y="190"/>
                  </a:cubicBezTo>
                  <a:cubicBezTo>
                    <a:pt x="52" y="189"/>
                    <a:pt x="53" y="188"/>
                    <a:pt x="54" y="188"/>
                  </a:cubicBezTo>
                  <a:cubicBezTo>
                    <a:pt x="55" y="187"/>
                    <a:pt x="55" y="187"/>
                    <a:pt x="56" y="187"/>
                  </a:cubicBezTo>
                  <a:cubicBezTo>
                    <a:pt x="57" y="186"/>
                    <a:pt x="58" y="186"/>
                    <a:pt x="59" y="185"/>
                  </a:cubicBezTo>
                  <a:cubicBezTo>
                    <a:pt x="60" y="185"/>
                    <a:pt x="60" y="184"/>
                    <a:pt x="61" y="183"/>
                  </a:cubicBezTo>
                  <a:cubicBezTo>
                    <a:pt x="62" y="183"/>
                    <a:pt x="63" y="183"/>
                    <a:pt x="64" y="183"/>
                  </a:cubicBezTo>
                  <a:cubicBezTo>
                    <a:pt x="65" y="183"/>
                    <a:pt x="66" y="182"/>
                    <a:pt x="67" y="182"/>
                  </a:cubicBezTo>
                  <a:cubicBezTo>
                    <a:pt x="70" y="182"/>
                    <a:pt x="73" y="182"/>
                    <a:pt x="76" y="182"/>
                  </a:cubicBezTo>
                  <a:cubicBezTo>
                    <a:pt x="79" y="182"/>
                    <a:pt x="80" y="184"/>
                    <a:pt x="82" y="184"/>
                  </a:cubicBezTo>
                  <a:cubicBezTo>
                    <a:pt x="84" y="185"/>
                    <a:pt x="86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3" y="184"/>
                    <a:pt x="94" y="183"/>
                    <a:pt x="96" y="182"/>
                  </a:cubicBezTo>
                  <a:cubicBezTo>
                    <a:pt x="96" y="182"/>
                    <a:pt x="97" y="182"/>
                    <a:pt x="98" y="182"/>
                  </a:cubicBezTo>
                  <a:cubicBezTo>
                    <a:pt x="99" y="182"/>
                    <a:pt x="100" y="182"/>
                    <a:pt x="100" y="182"/>
                  </a:cubicBezTo>
                  <a:cubicBezTo>
                    <a:pt x="103" y="182"/>
                    <a:pt x="104" y="185"/>
                    <a:pt x="103" y="187"/>
                  </a:cubicBezTo>
                  <a:cubicBezTo>
                    <a:pt x="103" y="188"/>
                    <a:pt x="100" y="190"/>
                    <a:pt x="98" y="191"/>
                  </a:cubicBezTo>
                  <a:cubicBezTo>
                    <a:pt x="98" y="191"/>
                    <a:pt x="97" y="191"/>
                    <a:pt x="97" y="192"/>
                  </a:cubicBezTo>
                  <a:cubicBezTo>
                    <a:pt x="97" y="193"/>
                    <a:pt x="98" y="193"/>
                    <a:pt x="99" y="193"/>
                  </a:cubicBezTo>
                  <a:cubicBezTo>
                    <a:pt x="101" y="194"/>
                    <a:pt x="102" y="194"/>
                    <a:pt x="104" y="195"/>
                  </a:cubicBezTo>
                  <a:cubicBezTo>
                    <a:pt x="106" y="196"/>
                    <a:pt x="106" y="196"/>
                    <a:pt x="107" y="197"/>
                  </a:cubicBezTo>
                  <a:cubicBezTo>
                    <a:pt x="107" y="197"/>
                    <a:pt x="108" y="198"/>
                    <a:pt x="108" y="198"/>
                  </a:cubicBezTo>
                  <a:cubicBezTo>
                    <a:pt x="109" y="198"/>
                    <a:pt x="109" y="199"/>
                    <a:pt x="109" y="199"/>
                  </a:cubicBezTo>
                  <a:cubicBezTo>
                    <a:pt x="111" y="200"/>
                    <a:pt x="112" y="200"/>
                    <a:pt x="113" y="199"/>
                  </a:cubicBezTo>
                  <a:cubicBezTo>
                    <a:pt x="116" y="198"/>
                    <a:pt x="118" y="197"/>
                    <a:pt x="121" y="197"/>
                  </a:cubicBezTo>
                  <a:cubicBezTo>
                    <a:pt x="123" y="197"/>
                    <a:pt x="123" y="197"/>
                    <a:pt x="124" y="199"/>
                  </a:cubicBezTo>
                  <a:cubicBezTo>
                    <a:pt x="124" y="199"/>
                    <a:pt x="125" y="200"/>
                    <a:pt x="125" y="200"/>
                  </a:cubicBezTo>
                  <a:cubicBezTo>
                    <a:pt x="126" y="201"/>
                    <a:pt x="126" y="201"/>
                    <a:pt x="127" y="202"/>
                  </a:cubicBezTo>
                  <a:cubicBezTo>
                    <a:pt x="127" y="202"/>
                    <a:pt x="128" y="203"/>
                    <a:pt x="129" y="203"/>
                  </a:cubicBezTo>
                  <a:cubicBezTo>
                    <a:pt x="130" y="204"/>
                    <a:pt x="131" y="204"/>
                    <a:pt x="132" y="204"/>
                  </a:cubicBezTo>
                  <a:cubicBezTo>
                    <a:pt x="133" y="205"/>
                    <a:pt x="135" y="205"/>
                    <a:pt x="136" y="205"/>
                  </a:cubicBezTo>
                  <a:cubicBezTo>
                    <a:pt x="136" y="206"/>
                    <a:pt x="137" y="207"/>
                    <a:pt x="137" y="208"/>
                  </a:cubicBezTo>
                  <a:cubicBezTo>
                    <a:pt x="136" y="209"/>
                    <a:pt x="136" y="209"/>
                    <a:pt x="135" y="210"/>
                  </a:cubicBezTo>
                  <a:cubicBezTo>
                    <a:pt x="135" y="211"/>
                    <a:pt x="134" y="212"/>
                    <a:pt x="134" y="213"/>
                  </a:cubicBezTo>
                  <a:cubicBezTo>
                    <a:pt x="133" y="214"/>
                    <a:pt x="133" y="214"/>
                    <a:pt x="132" y="214"/>
                  </a:cubicBezTo>
                  <a:cubicBezTo>
                    <a:pt x="132" y="215"/>
                    <a:pt x="132" y="215"/>
                    <a:pt x="132" y="216"/>
                  </a:cubicBezTo>
                  <a:cubicBezTo>
                    <a:pt x="131" y="218"/>
                    <a:pt x="130" y="219"/>
                    <a:pt x="129" y="221"/>
                  </a:cubicBezTo>
                  <a:cubicBezTo>
                    <a:pt x="129" y="222"/>
                    <a:pt x="129" y="223"/>
                    <a:pt x="128" y="224"/>
                  </a:cubicBezTo>
                  <a:cubicBezTo>
                    <a:pt x="128" y="226"/>
                    <a:pt x="128" y="227"/>
                    <a:pt x="127" y="228"/>
                  </a:cubicBezTo>
                  <a:cubicBezTo>
                    <a:pt x="126" y="229"/>
                    <a:pt x="126" y="229"/>
                    <a:pt x="126" y="231"/>
                  </a:cubicBezTo>
                  <a:cubicBezTo>
                    <a:pt x="126" y="231"/>
                    <a:pt x="126" y="232"/>
                    <a:pt x="126" y="233"/>
                  </a:cubicBezTo>
                  <a:cubicBezTo>
                    <a:pt x="126" y="234"/>
                    <a:pt x="125" y="238"/>
                    <a:pt x="126" y="239"/>
                  </a:cubicBezTo>
                  <a:cubicBezTo>
                    <a:pt x="127" y="241"/>
                    <a:pt x="131" y="240"/>
                    <a:pt x="133" y="240"/>
                  </a:cubicBezTo>
                  <a:cubicBezTo>
                    <a:pt x="134" y="240"/>
                    <a:pt x="135" y="241"/>
                    <a:pt x="137" y="241"/>
                  </a:cubicBezTo>
                  <a:cubicBezTo>
                    <a:pt x="139" y="243"/>
                    <a:pt x="142" y="243"/>
                    <a:pt x="145" y="243"/>
                  </a:cubicBezTo>
                  <a:cubicBezTo>
                    <a:pt x="145" y="243"/>
                    <a:pt x="145" y="243"/>
                    <a:pt x="145" y="243"/>
                  </a:cubicBezTo>
                  <a:cubicBezTo>
                    <a:pt x="146" y="242"/>
                    <a:pt x="146" y="241"/>
                    <a:pt x="146" y="241"/>
                  </a:cubicBezTo>
                  <a:cubicBezTo>
                    <a:pt x="147" y="240"/>
                    <a:pt x="148" y="240"/>
                    <a:pt x="149" y="239"/>
                  </a:cubicBezTo>
                  <a:cubicBezTo>
                    <a:pt x="149" y="239"/>
                    <a:pt x="148" y="239"/>
                    <a:pt x="148" y="238"/>
                  </a:cubicBezTo>
                  <a:cubicBezTo>
                    <a:pt x="148" y="238"/>
                    <a:pt x="148" y="237"/>
                    <a:pt x="149" y="236"/>
                  </a:cubicBezTo>
                  <a:cubicBezTo>
                    <a:pt x="149" y="235"/>
                    <a:pt x="149" y="235"/>
                    <a:pt x="149" y="233"/>
                  </a:cubicBezTo>
                  <a:cubicBezTo>
                    <a:pt x="149" y="233"/>
                    <a:pt x="149" y="233"/>
                    <a:pt x="149" y="232"/>
                  </a:cubicBezTo>
                  <a:cubicBezTo>
                    <a:pt x="149" y="232"/>
                    <a:pt x="149" y="231"/>
                    <a:pt x="149" y="230"/>
                  </a:cubicBezTo>
                  <a:cubicBezTo>
                    <a:pt x="150" y="229"/>
                    <a:pt x="150" y="227"/>
                    <a:pt x="151" y="226"/>
                  </a:cubicBezTo>
                  <a:cubicBezTo>
                    <a:pt x="151" y="224"/>
                    <a:pt x="151" y="222"/>
                    <a:pt x="151" y="221"/>
                  </a:cubicBezTo>
                  <a:cubicBezTo>
                    <a:pt x="151" y="220"/>
                    <a:pt x="150" y="219"/>
                    <a:pt x="150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8" y="219"/>
                    <a:pt x="147" y="219"/>
                  </a:cubicBezTo>
                  <a:cubicBezTo>
                    <a:pt x="146" y="219"/>
                    <a:pt x="146" y="219"/>
                    <a:pt x="146" y="219"/>
                  </a:cubicBezTo>
                  <a:cubicBezTo>
                    <a:pt x="145" y="217"/>
                    <a:pt x="146" y="215"/>
                    <a:pt x="146" y="213"/>
                  </a:cubicBezTo>
                  <a:cubicBezTo>
                    <a:pt x="147" y="212"/>
                    <a:pt x="146" y="212"/>
                    <a:pt x="148" y="212"/>
                  </a:cubicBezTo>
                  <a:cubicBezTo>
                    <a:pt x="149" y="211"/>
                    <a:pt x="149" y="211"/>
                    <a:pt x="150" y="210"/>
                  </a:cubicBezTo>
                  <a:cubicBezTo>
                    <a:pt x="150" y="209"/>
                    <a:pt x="152" y="209"/>
                    <a:pt x="153" y="208"/>
                  </a:cubicBezTo>
                  <a:cubicBezTo>
                    <a:pt x="152" y="207"/>
                    <a:pt x="152" y="207"/>
                    <a:pt x="152" y="206"/>
                  </a:cubicBezTo>
                  <a:cubicBezTo>
                    <a:pt x="152" y="206"/>
                    <a:pt x="152" y="205"/>
                    <a:pt x="152" y="205"/>
                  </a:cubicBezTo>
                  <a:cubicBezTo>
                    <a:pt x="152" y="204"/>
                    <a:pt x="152" y="204"/>
                    <a:pt x="151" y="204"/>
                  </a:cubicBezTo>
                  <a:cubicBezTo>
                    <a:pt x="151" y="203"/>
                    <a:pt x="152" y="203"/>
                    <a:pt x="153" y="202"/>
                  </a:cubicBezTo>
                  <a:cubicBezTo>
                    <a:pt x="154" y="199"/>
                    <a:pt x="152" y="196"/>
                    <a:pt x="154" y="194"/>
                  </a:cubicBezTo>
                  <a:cubicBezTo>
                    <a:pt x="154" y="193"/>
                    <a:pt x="155" y="193"/>
                    <a:pt x="155" y="192"/>
                  </a:cubicBezTo>
                  <a:cubicBezTo>
                    <a:pt x="156" y="191"/>
                    <a:pt x="157" y="191"/>
                    <a:pt x="157" y="190"/>
                  </a:cubicBezTo>
                  <a:cubicBezTo>
                    <a:pt x="158" y="189"/>
                    <a:pt x="158" y="190"/>
                    <a:pt x="158" y="188"/>
                  </a:cubicBezTo>
                  <a:cubicBezTo>
                    <a:pt x="158" y="187"/>
                    <a:pt x="158" y="185"/>
                    <a:pt x="158" y="184"/>
                  </a:cubicBezTo>
                  <a:cubicBezTo>
                    <a:pt x="157" y="182"/>
                    <a:pt x="157" y="179"/>
                    <a:pt x="157" y="177"/>
                  </a:cubicBezTo>
                  <a:cubicBezTo>
                    <a:pt x="156" y="176"/>
                    <a:pt x="156" y="176"/>
                    <a:pt x="156" y="175"/>
                  </a:cubicBezTo>
                  <a:cubicBezTo>
                    <a:pt x="156" y="174"/>
                    <a:pt x="156" y="173"/>
                    <a:pt x="156" y="172"/>
                  </a:cubicBezTo>
                  <a:cubicBezTo>
                    <a:pt x="156" y="171"/>
                    <a:pt x="155" y="170"/>
                    <a:pt x="155" y="169"/>
                  </a:cubicBezTo>
                  <a:cubicBezTo>
                    <a:pt x="155" y="169"/>
                    <a:pt x="155" y="169"/>
                    <a:pt x="155" y="168"/>
                  </a:cubicBezTo>
                  <a:cubicBezTo>
                    <a:pt x="154" y="167"/>
                    <a:pt x="152" y="167"/>
                    <a:pt x="151" y="165"/>
                  </a:cubicBezTo>
                  <a:cubicBezTo>
                    <a:pt x="150" y="164"/>
                    <a:pt x="151" y="162"/>
                    <a:pt x="150" y="160"/>
                  </a:cubicBezTo>
                  <a:cubicBezTo>
                    <a:pt x="150" y="158"/>
                    <a:pt x="147" y="157"/>
                    <a:pt x="146" y="156"/>
                  </a:cubicBezTo>
                  <a:cubicBezTo>
                    <a:pt x="145" y="155"/>
                    <a:pt x="145" y="155"/>
                    <a:pt x="145" y="153"/>
                  </a:cubicBezTo>
                  <a:cubicBezTo>
                    <a:pt x="145" y="153"/>
                    <a:pt x="145" y="152"/>
                    <a:pt x="145" y="151"/>
                  </a:cubicBezTo>
                  <a:cubicBezTo>
                    <a:pt x="145" y="149"/>
                    <a:pt x="146" y="146"/>
                    <a:pt x="148" y="146"/>
                  </a:cubicBezTo>
                  <a:cubicBezTo>
                    <a:pt x="150" y="146"/>
                    <a:pt x="151" y="146"/>
                    <a:pt x="153" y="146"/>
                  </a:cubicBezTo>
                  <a:cubicBezTo>
                    <a:pt x="153" y="146"/>
                    <a:pt x="153" y="145"/>
                    <a:pt x="153" y="144"/>
                  </a:cubicBezTo>
                  <a:cubicBezTo>
                    <a:pt x="153" y="141"/>
                    <a:pt x="156" y="141"/>
                    <a:pt x="158" y="141"/>
                  </a:cubicBezTo>
                  <a:cubicBezTo>
                    <a:pt x="160" y="142"/>
                    <a:pt x="162" y="143"/>
                    <a:pt x="164" y="144"/>
                  </a:cubicBezTo>
                  <a:cubicBezTo>
                    <a:pt x="165" y="145"/>
                    <a:pt x="166" y="145"/>
                    <a:pt x="167" y="145"/>
                  </a:cubicBezTo>
                  <a:cubicBezTo>
                    <a:pt x="168" y="145"/>
                    <a:pt x="170" y="145"/>
                    <a:pt x="171" y="145"/>
                  </a:cubicBezTo>
                  <a:cubicBezTo>
                    <a:pt x="172" y="145"/>
                    <a:pt x="173" y="144"/>
                    <a:pt x="174" y="144"/>
                  </a:cubicBezTo>
                  <a:cubicBezTo>
                    <a:pt x="176" y="144"/>
                    <a:pt x="175" y="144"/>
                    <a:pt x="176" y="143"/>
                  </a:cubicBezTo>
                  <a:cubicBezTo>
                    <a:pt x="177" y="142"/>
                    <a:pt x="179" y="142"/>
                    <a:pt x="180" y="142"/>
                  </a:cubicBezTo>
                  <a:cubicBezTo>
                    <a:pt x="182" y="141"/>
                    <a:pt x="185" y="139"/>
                    <a:pt x="187" y="138"/>
                  </a:cubicBezTo>
                  <a:cubicBezTo>
                    <a:pt x="188" y="138"/>
                    <a:pt x="189" y="137"/>
                    <a:pt x="189" y="136"/>
                  </a:cubicBezTo>
                  <a:cubicBezTo>
                    <a:pt x="190" y="134"/>
                    <a:pt x="189" y="134"/>
                    <a:pt x="188" y="133"/>
                  </a:cubicBezTo>
                  <a:cubicBezTo>
                    <a:pt x="188" y="132"/>
                    <a:pt x="188" y="130"/>
                    <a:pt x="188" y="129"/>
                  </a:cubicBezTo>
                  <a:cubicBezTo>
                    <a:pt x="188" y="128"/>
                    <a:pt x="188" y="127"/>
                    <a:pt x="188" y="126"/>
                  </a:cubicBezTo>
                  <a:cubicBezTo>
                    <a:pt x="188" y="126"/>
                    <a:pt x="188" y="125"/>
                    <a:pt x="189" y="124"/>
                  </a:cubicBezTo>
                  <a:cubicBezTo>
                    <a:pt x="189" y="124"/>
                    <a:pt x="189" y="124"/>
                    <a:pt x="190" y="124"/>
                  </a:cubicBezTo>
                  <a:cubicBezTo>
                    <a:pt x="190" y="123"/>
                    <a:pt x="191" y="123"/>
                    <a:pt x="191" y="122"/>
                  </a:cubicBezTo>
                  <a:cubicBezTo>
                    <a:pt x="193" y="120"/>
                    <a:pt x="195" y="119"/>
                    <a:pt x="197" y="117"/>
                  </a:cubicBezTo>
                  <a:cubicBezTo>
                    <a:pt x="198" y="116"/>
                    <a:pt x="198" y="115"/>
                    <a:pt x="199" y="114"/>
                  </a:cubicBezTo>
                  <a:cubicBezTo>
                    <a:pt x="201" y="114"/>
                    <a:pt x="202" y="113"/>
                    <a:pt x="203" y="112"/>
                  </a:cubicBezTo>
                  <a:cubicBezTo>
                    <a:pt x="205" y="110"/>
                    <a:pt x="203" y="107"/>
                    <a:pt x="204" y="105"/>
                  </a:cubicBezTo>
                  <a:cubicBezTo>
                    <a:pt x="204" y="104"/>
                    <a:pt x="205" y="104"/>
                    <a:pt x="205" y="103"/>
                  </a:cubicBezTo>
                  <a:cubicBezTo>
                    <a:pt x="206" y="102"/>
                    <a:pt x="206" y="100"/>
                    <a:pt x="206" y="99"/>
                  </a:cubicBezTo>
                  <a:cubicBezTo>
                    <a:pt x="205" y="98"/>
                    <a:pt x="205" y="98"/>
                    <a:pt x="204" y="97"/>
                  </a:cubicBezTo>
                  <a:cubicBezTo>
                    <a:pt x="204" y="97"/>
                    <a:pt x="204" y="96"/>
                    <a:pt x="204" y="96"/>
                  </a:cubicBezTo>
                  <a:cubicBezTo>
                    <a:pt x="204" y="96"/>
                    <a:pt x="204" y="95"/>
                    <a:pt x="203" y="95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199" y="93"/>
                    <a:pt x="182" y="94"/>
                    <a:pt x="185" y="85"/>
                  </a:cubicBezTo>
                  <a:cubicBezTo>
                    <a:pt x="186" y="83"/>
                    <a:pt x="185" y="83"/>
                    <a:pt x="183" y="81"/>
                  </a:cubicBezTo>
                  <a:cubicBezTo>
                    <a:pt x="183" y="81"/>
                    <a:pt x="182" y="80"/>
                    <a:pt x="182" y="80"/>
                  </a:cubicBezTo>
                  <a:cubicBezTo>
                    <a:pt x="181" y="80"/>
                    <a:pt x="180" y="78"/>
                    <a:pt x="180" y="78"/>
                  </a:cubicBezTo>
                  <a:cubicBezTo>
                    <a:pt x="179" y="77"/>
                    <a:pt x="179" y="76"/>
                    <a:pt x="180" y="76"/>
                  </a:cubicBezTo>
                  <a:cubicBezTo>
                    <a:pt x="181" y="76"/>
                    <a:pt x="182" y="74"/>
                    <a:pt x="183" y="74"/>
                  </a:cubicBezTo>
                  <a:cubicBezTo>
                    <a:pt x="184" y="74"/>
                    <a:pt x="186" y="74"/>
                    <a:pt x="187" y="74"/>
                  </a:cubicBezTo>
                  <a:cubicBezTo>
                    <a:pt x="189" y="74"/>
                    <a:pt x="191" y="74"/>
                    <a:pt x="193" y="74"/>
                  </a:cubicBezTo>
                  <a:cubicBezTo>
                    <a:pt x="194" y="73"/>
                    <a:pt x="194" y="73"/>
                    <a:pt x="195" y="72"/>
                  </a:cubicBezTo>
                  <a:cubicBezTo>
                    <a:pt x="195" y="71"/>
                    <a:pt x="195" y="71"/>
                    <a:pt x="197" y="71"/>
                  </a:cubicBezTo>
                  <a:cubicBezTo>
                    <a:pt x="198" y="71"/>
                    <a:pt x="200" y="72"/>
                    <a:pt x="201" y="71"/>
                  </a:cubicBezTo>
                  <a:cubicBezTo>
                    <a:pt x="202" y="71"/>
                    <a:pt x="203" y="69"/>
                    <a:pt x="204" y="68"/>
                  </a:cubicBezTo>
                  <a:cubicBezTo>
                    <a:pt x="205" y="67"/>
                    <a:pt x="208" y="67"/>
                    <a:pt x="209" y="65"/>
                  </a:cubicBezTo>
                  <a:cubicBezTo>
                    <a:pt x="209" y="64"/>
                    <a:pt x="208" y="64"/>
                    <a:pt x="208" y="63"/>
                  </a:cubicBezTo>
                  <a:cubicBezTo>
                    <a:pt x="206" y="60"/>
                    <a:pt x="207" y="59"/>
                    <a:pt x="209" y="57"/>
                  </a:cubicBezTo>
                  <a:cubicBezTo>
                    <a:pt x="209" y="56"/>
                    <a:pt x="210" y="56"/>
                    <a:pt x="210" y="55"/>
                  </a:cubicBezTo>
                  <a:cubicBezTo>
                    <a:pt x="212" y="54"/>
                    <a:pt x="212" y="53"/>
                    <a:pt x="213" y="51"/>
                  </a:cubicBezTo>
                  <a:cubicBezTo>
                    <a:pt x="214" y="49"/>
                    <a:pt x="214" y="47"/>
                    <a:pt x="214" y="44"/>
                  </a:cubicBezTo>
                  <a:cubicBezTo>
                    <a:pt x="214" y="42"/>
                    <a:pt x="213" y="39"/>
                    <a:pt x="214" y="37"/>
                  </a:cubicBezTo>
                  <a:cubicBezTo>
                    <a:pt x="214" y="36"/>
                    <a:pt x="214" y="36"/>
                    <a:pt x="214" y="35"/>
                  </a:cubicBezTo>
                  <a:cubicBezTo>
                    <a:pt x="215" y="33"/>
                    <a:pt x="215" y="32"/>
                    <a:pt x="215" y="31"/>
                  </a:cubicBezTo>
                  <a:cubicBezTo>
                    <a:pt x="215" y="28"/>
                    <a:pt x="215" y="25"/>
                    <a:pt x="215" y="22"/>
                  </a:cubicBezTo>
                  <a:cubicBezTo>
                    <a:pt x="215" y="20"/>
                    <a:pt x="216" y="18"/>
                    <a:pt x="216" y="16"/>
                  </a:cubicBezTo>
                  <a:cubicBezTo>
                    <a:pt x="213" y="14"/>
                    <a:pt x="213" y="14"/>
                    <a:pt x="213" y="14"/>
                  </a:cubicBezTo>
                  <a:cubicBezTo>
                    <a:pt x="212" y="14"/>
                    <a:pt x="212" y="14"/>
                    <a:pt x="211" y="14"/>
                  </a:cubicBezTo>
                  <a:cubicBezTo>
                    <a:pt x="210" y="14"/>
                    <a:pt x="209" y="14"/>
                    <a:pt x="209" y="14"/>
                  </a:cubicBezTo>
                  <a:cubicBezTo>
                    <a:pt x="208" y="13"/>
                    <a:pt x="208" y="11"/>
                    <a:pt x="207" y="10"/>
                  </a:cubicBezTo>
                  <a:lnTo>
                    <a:pt x="206" y="9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7" name="Freeform 98">
              <a:extLst>
                <a:ext uri="{FF2B5EF4-FFF2-40B4-BE49-F238E27FC236}">
                  <a16:creationId xmlns:a16="http://schemas.microsoft.com/office/drawing/2014/main" id="{820C0E17-66B7-4295-8101-58AC7BFFE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5" y="4025900"/>
              <a:ext cx="22225" cy="30163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6"/>
                </a:cxn>
                <a:cxn ang="0">
                  <a:pos x="12" y="6"/>
                </a:cxn>
                <a:cxn ang="0">
                  <a:pos x="10" y="1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4" y="5"/>
                </a:cxn>
              </a:cxnLst>
              <a:rect l="0" t="0" r="r" b="b"/>
              <a:pathLst>
                <a:path w="12" h="16">
                  <a:moveTo>
                    <a:pt x="4" y="5"/>
                  </a:moveTo>
                  <a:cubicBezTo>
                    <a:pt x="3" y="6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2" y="15"/>
                    <a:pt x="4" y="16"/>
                    <a:pt x="5" y="16"/>
                  </a:cubicBezTo>
                  <a:cubicBezTo>
                    <a:pt x="9" y="16"/>
                    <a:pt x="12" y="10"/>
                    <a:pt x="12" y="6"/>
                  </a:cubicBezTo>
                  <a:cubicBezTo>
                    <a:pt x="12" y="4"/>
                    <a:pt x="11" y="2"/>
                    <a:pt x="10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5" y="4"/>
                    <a:pt x="4" y="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8" name="Freeform 99">
              <a:extLst>
                <a:ext uri="{FF2B5EF4-FFF2-40B4-BE49-F238E27FC236}">
                  <a16:creationId xmlns:a16="http://schemas.microsoft.com/office/drawing/2014/main" id="{03E43121-74FA-494A-9656-E00D58A26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338" y="4002088"/>
              <a:ext cx="14288" cy="127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4" y="6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8" y="1"/>
                </a:cxn>
                <a:cxn ang="0">
                  <a:pos x="7" y="0"/>
                </a:cxn>
              </a:cxnLst>
              <a:rect l="0" t="0" r="r" b="b"/>
              <a:pathLst>
                <a:path w="8" h="7">
                  <a:moveTo>
                    <a:pt x="7" y="0"/>
                  </a:moveTo>
                  <a:cubicBezTo>
                    <a:pt x="6" y="1"/>
                    <a:pt x="4" y="1"/>
                    <a:pt x="3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1" y="5"/>
                    <a:pt x="0" y="7"/>
                    <a:pt x="2" y="7"/>
                  </a:cubicBezTo>
                  <a:cubicBezTo>
                    <a:pt x="2" y="7"/>
                    <a:pt x="3" y="6"/>
                    <a:pt x="4" y="6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6" y="4"/>
                    <a:pt x="7" y="4"/>
                    <a:pt x="7" y="3"/>
                  </a:cubicBezTo>
                  <a:cubicBezTo>
                    <a:pt x="7" y="3"/>
                    <a:pt x="7" y="3"/>
                    <a:pt x="8" y="2"/>
                  </a:cubicBezTo>
                  <a:cubicBezTo>
                    <a:pt x="8" y="2"/>
                    <a:pt x="8" y="2"/>
                    <a:pt x="8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9" name="Freeform 100">
              <a:extLst>
                <a:ext uri="{FF2B5EF4-FFF2-40B4-BE49-F238E27FC236}">
                  <a16:creationId xmlns:a16="http://schemas.microsoft.com/office/drawing/2014/main" id="{014CCED8-BB61-4907-B240-3320A157F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150" y="3984625"/>
              <a:ext cx="26988" cy="14288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9" y="1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1" y="6"/>
                </a:cxn>
                <a:cxn ang="0">
                  <a:pos x="6" y="6"/>
                </a:cxn>
                <a:cxn ang="0">
                  <a:pos x="12" y="3"/>
                </a:cxn>
                <a:cxn ang="0">
                  <a:pos x="13" y="1"/>
                </a:cxn>
                <a:cxn ang="0">
                  <a:pos x="11" y="1"/>
                </a:cxn>
                <a:cxn ang="0">
                  <a:pos x="10" y="1"/>
                </a:cxn>
              </a:cxnLst>
              <a:rect l="0" t="0" r="r" b="b"/>
              <a:pathLst>
                <a:path w="14" h="7">
                  <a:moveTo>
                    <a:pt x="10" y="1"/>
                  </a:moveTo>
                  <a:cubicBezTo>
                    <a:pt x="10" y="1"/>
                    <a:pt x="9" y="1"/>
                    <a:pt x="9" y="1"/>
                  </a:cubicBezTo>
                  <a:cubicBezTo>
                    <a:pt x="8" y="2"/>
                    <a:pt x="6" y="2"/>
                    <a:pt x="5" y="2"/>
                  </a:cubicBezTo>
                  <a:cubicBezTo>
                    <a:pt x="4" y="3"/>
                    <a:pt x="3" y="3"/>
                    <a:pt x="2" y="4"/>
                  </a:cubicBezTo>
                  <a:cubicBezTo>
                    <a:pt x="1" y="5"/>
                    <a:pt x="0" y="6"/>
                    <a:pt x="1" y="6"/>
                  </a:cubicBezTo>
                  <a:cubicBezTo>
                    <a:pt x="3" y="7"/>
                    <a:pt x="4" y="7"/>
                    <a:pt x="6" y="6"/>
                  </a:cubicBezTo>
                  <a:cubicBezTo>
                    <a:pt x="8" y="6"/>
                    <a:pt x="10" y="5"/>
                    <a:pt x="12" y="3"/>
                  </a:cubicBezTo>
                  <a:cubicBezTo>
                    <a:pt x="12" y="3"/>
                    <a:pt x="14" y="2"/>
                    <a:pt x="13" y="1"/>
                  </a:cubicBezTo>
                  <a:cubicBezTo>
                    <a:pt x="13" y="0"/>
                    <a:pt x="12" y="1"/>
                    <a:pt x="11" y="1"/>
                  </a:cubicBezTo>
                  <a:lnTo>
                    <a:pt x="10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0" name="Freeform 101">
              <a:extLst>
                <a:ext uri="{FF2B5EF4-FFF2-40B4-BE49-F238E27FC236}">
                  <a16:creationId xmlns:a16="http://schemas.microsoft.com/office/drawing/2014/main" id="{3AD44EF8-0144-4F59-B611-D71114F17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6538" y="3973513"/>
              <a:ext cx="28575" cy="7938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4" y="4"/>
                </a:cxn>
                <a:cxn ang="0">
                  <a:pos x="11" y="3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5" y="1"/>
                </a:cxn>
                <a:cxn ang="0">
                  <a:pos x="9" y="1"/>
                </a:cxn>
              </a:cxnLst>
              <a:rect l="0" t="0" r="r" b="b"/>
              <a:pathLst>
                <a:path w="15" h="4">
                  <a:moveTo>
                    <a:pt x="9" y="1"/>
                  </a:moveTo>
                  <a:cubicBezTo>
                    <a:pt x="6" y="1"/>
                    <a:pt x="3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7" y="4"/>
                    <a:pt x="9" y="4"/>
                    <a:pt x="11" y="3"/>
                  </a:cubicBezTo>
                  <a:cubicBezTo>
                    <a:pt x="12" y="3"/>
                    <a:pt x="15" y="2"/>
                    <a:pt x="14" y="1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1"/>
                    <a:pt x="6" y="1"/>
                    <a:pt x="5" y="1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1" name="Freeform 102">
              <a:extLst>
                <a:ext uri="{FF2B5EF4-FFF2-40B4-BE49-F238E27FC236}">
                  <a16:creationId xmlns:a16="http://schemas.microsoft.com/office/drawing/2014/main" id="{C5961740-C8DC-4738-B303-FACAADD7F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750" y="3968750"/>
              <a:ext cx="20638" cy="4763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9" y="0"/>
                </a:cxn>
                <a:cxn ang="0">
                  <a:pos x="5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9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9" y="1"/>
                </a:cxn>
              </a:cxnLst>
              <a:rect l="0" t="0" r="r" b="b"/>
              <a:pathLst>
                <a:path w="11" h="3">
                  <a:moveTo>
                    <a:pt x="9" y="1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2"/>
                    <a:pt x="4" y="3"/>
                    <a:pt x="5" y="3"/>
                  </a:cubicBezTo>
                  <a:cubicBezTo>
                    <a:pt x="6" y="3"/>
                    <a:pt x="7" y="3"/>
                    <a:pt x="9" y="3"/>
                  </a:cubicBezTo>
                  <a:cubicBezTo>
                    <a:pt x="9" y="3"/>
                    <a:pt x="10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2" name="Freeform 103">
              <a:extLst>
                <a:ext uri="{FF2B5EF4-FFF2-40B4-BE49-F238E27FC236}">
                  <a16:creationId xmlns:a16="http://schemas.microsoft.com/office/drawing/2014/main" id="{B547CFF8-8DCB-4CB2-AA63-D4EFF1011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5" y="2338388"/>
              <a:ext cx="114300" cy="109538"/>
            </a:xfrm>
            <a:custGeom>
              <a:avLst/>
              <a:gdLst/>
              <a:ahLst/>
              <a:cxnLst>
                <a:cxn ang="0">
                  <a:pos x="50" y="10"/>
                </a:cxn>
                <a:cxn ang="0">
                  <a:pos x="48" y="3"/>
                </a:cxn>
                <a:cxn ang="0">
                  <a:pos x="43" y="2"/>
                </a:cxn>
                <a:cxn ang="0">
                  <a:pos x="42" y="6"/>
                </a:cxn>
                <a:cxn ang="0">
                  <a:pos x="39" y="13"/>
                </a:cxn>
                <a:cxn ang="0">
                  <a:pos x="38" y="17"/>
                </a:cxn>
                <a:cxn ang="0">
                  <a:pos x="35" y="14"/>
                </a:cxn>
                <a:cxn ang="0">
                  <a:pos x="31" y="8"/>
                </a:cxn>
                <a:cxn ang="0">
                  <a:pos x="32" y="19"/>
                </a:cxn>
                <a:cxn ang="0">
                  <a:pos x="24" y="14"/>
                </a:cxn>
                <a:cxn ang="0">
                  <a:pos x="20" y="18"/>
                </a:cxn>
                <a:cxn ang="0">
                  <a:pos x="13" y="18"/>
                </a:cxn>
                <a:cxn ang="0">
                  <a:pos x="10" y="24"/>
                </a:cxn>
                <a:cxn ang="0">
                  <a:pos x="6" y="19"/>
                </a:cxn>
                <a:cxn ang="0">
                  <a:pos x="7" y="31"/>
                </a:cxn>
                <a:cxn ang="0">
                  <a:pos x="4" y="33"/>
                </a:cxn>
                <a:cxn ang="0">
                  <a:pos x="0" y="38"/>
                </a:cxn>
                <a:cxn ang="0">
                  <a:pos x="2" y="43"/>
                </a:cxn>
                <a:cxn ang="0">
                  <a:pos x="4" y="47"/>
                </a:cxn>
                <a:cxn ang="0">
                  <a:pos x="7" y="47"/>
                </a:cxn>
                <a:cxn ang="0">
                  <a:pos x="12" y="50"/>
                </a:cxn>
                <a:cxn ang="0">
                  <a:pos x="21" y="50"/>
                </a:cxn>
                <a:cxn ang="0">
                  <a:pos x="23" y="52"/>
                </a:cxn>
                <a:cxn ang="0">
                  <a:pos x="31" y="54"/>
                </a:cxn>
                <a:cxn ang="0">
                  <a:pos x="33" y="58"/>
                </a:cxn>
                <a:cxn ang="0">
                  <a:pos x="42" y="54"/>
                </a:cxn>
                <a:cxn ang="0">
                  <a:pos x="34" y="50"/>
                </a:cxn>
                <a:cxn ang="0">
                  <a:pos x="40" y="45"/>
                </a:cxn>
                <a:cxn ang="0">
                  <a:pos x="39" y="37"/>
                </a:cxn>
                <a:cxn ang="0">
                  <a:pos x="40" y="34"/>
                </a:cxn>
                <a:cxn ang="0">
                  <a:pos x="44" y="34"/>
                </a:cxn>
                <a:cxn ang="0">
                  <a:pos x="45" y="33"/>
                </a:cxn>
                <a:cxn ang="0">
                  <a:pos x="49" y="33"/>
                </a:cxn>
                <a:cxn ang="0">
                  <a:pos x="61" y="30"/>
                </a:cxn>
                <a:cxn ang="0">
                  <a:pos x="55" y="18"/>
                </a:cxn>
                <a:cxn ang="0">
                  <a:pos x="57" y="11"/>
                </a:cxn>
                <a:cxn ang="0">
                  <a:pos x="52" y="10"/>
                </a:cxn>
                <a:cxn ang="0">
                  <a:pos x="52" y="9"/>
                </a:cxn>
                <a:cxn ang="0">
                  <a:pos x="50" y="10"/>
                </a:cxn>
              </a:cxnLst>
              <a:rect l="0" t="0" r="r" b="b"/>
              <a:pathLst>
                <a:path w="61" h="59">
                  <a:moveTo>
                    <a:pt x="50" y="10"/>
                  </a:moveTo>
                  <a:cubicBezTo>
                    <a:pt x="50" y="7"/>
                    <a:pt x="50" y="5"/>
                    <a:pt x="48" y="3"/>
                  </a:cubicBezTo>
                  <a:cubicBezTo>
                    <a:pt x="47" y="2"/>
                    <a:pt x="45" y="0"/>
                    <a:pt x="43" y="2"/>
                  </a:cubicBezTo>
                  <a:cubicBezTo>
                    <a:pt x="43" y="2"/>
                    <a:pt x="43" y="5"/>
                    <a:pt x="42" y="6"/>
                  </a:cubicBezTo>
                  <a:cubicBezTo>
                    <a:pt x="41" y="8"/>
                    <a:pt x="39" y="10"/>
                    <a:pt x="39" y="13"/>
                  </a:cubicBezTo>
                  <a:cubicBezTo>
                    <a:pt x="37" y="13"/>
                    <a:pt x="36" y="16"/>
                    <a:pt x="38" y="17"/>
                  </a:cubicBezTo>
                  <a:cubicBezTo>
                    <a:pt x="41" y="15"/>
                    <a:pt x="35" y="9"/>
                    <a:pt x="35" y="14"/>
                  </a:cubicBezTo>
                  <a:cubicBezTo>
                    <a:pt x="35" y="11"/>
                    <a:pt x="33" y="9"/>
                    <a:pt x="31" y="8"/>
                  </a:cubicBezTo>
                  <a:cubicBezTo>
                    <a:pt x="29" y="11"/>
                    <a:pt x="33" y="16"/>
                    <a:pt x="32" y="19"/>
                  </a:cubicBezTo>
                  <a:cubicBezTo>
                    <a:pt x="29" y="19"/>
                    <a:pt x="27" y="14"/>
                    <a:pt x="24" y="14"/>
                  </a:cubicBezTo>
                  <a:cubicBezTo>
                    <a:pt x="21" y="14"/>
                    <a:pt x="20" y="15"/>
                    <a:pt x="20" y="18"/>
                  </a:cubicBezTo>
                  <a:cubicBezTo>
                    <a:pt x="18" y="19"/>
                    <a:pt x="15" y="18"/>
                    <a:pt x="13" y="18"/>
                  </a:cubicBezTo>
                  <a:cubicBezTo>
                    <a:pt x="13" y="19"/>
                    <a:pt x="12" y="24"/>
                    <a:pt x="10" y="24"/>
                  </a:cubicBezTo>
                  <a:cubicBezTo>
                    <a:pt x="9" y="22"/>
                    <a:pt x="8" y="19"/>
                    <a:pt x="6" y="19"/>
                  </a:cubicBezTo>
                  <a:cubicBezTo>
                    <a:pt x="5" y="23"/>
                    <a:pt x="8" y="27"/>
                    <a:pt x="7" y="31"/>
                  </a:cubicBezTo>
                  <a:cubicBezTo>
                    <a:pt x="5" y="31"/>
                    <a:pt x="5" y="32"/>
                    <a:pt x="4" y="33"/>
                  </a:cubicBezTo>
                  <a:cubicBezTo>
                    <a:pt x="2" y="35"/>
                    <a:pt x="0" y="36"/>
                    <a:pt x="0" y="38"/>
                  </a:cubicBezTo>
                  <a:cubicBezTo>
                    <a:pt x="0" y="41"/>
                    <a:pt x="1" y="41"/>
                    <a:pt x="2" y="43"/>
                  </a:cubicBezTo>
                  <a:cubicBezTo>
                    <a:pt x="3" y="44"/>
                    <a:pt x="3" y="46"/>
                    <a:pt x="4" y="47"/>
                  </a:cubicBezTo>
                  <a:cubicBezTo>
                    <a:pt x="5" y="48"/>
                    <a:pt x="6" y="47"/>
                    <a:pt x="7" y="47"/>
                  </a:cubicBezTo>
                  <a:cubicBezTo>
                    <a:pt x="10" y="48"/>
                    <a:pt x="8" y="50"/>
                    <a:pt x="12" y="50"/>
                  </a:cubicBezTo>
                  <a:cubicBezTo>
                    <a:pt x="14" y="50"/>
                    <a:pt x="19" y="49"/>
                    <a:pt x="21" y="50"/>
                  </a:cubicBezTo>
                  <a:cubicBezTo>
                    <a:pt x="22" y="50"/>
                    <a:pt x="22" y="52"/>
                    <a:pt x="23" y="52"/>
                  </a:cubicBezTo>
                  <a:cubicBezTo>
                    <a:pt x="25" y="53"/>
                    <a:pt x="29" y="52"/>
                    <a:pt x="31" y="54"/>
                  </a:cubicBezTo>
                  <a:cubicBezTo>
                    <a:pt x="32" y="54"/>
                    <a:pt x="33" y="56"/>
                    <a:pt x="33" y="58"/>
                  </a:cubicBezTo>
                  <a:cubicBezTo>
                    <a:pt x="36" y="59"/>
                    <a:pt x="40" y="56"/>
                    <a:pt x="42" y="54"/>
                  </a:cubicBezTo>
                  <a:cubicBezTo>
                    <a:pt x="39" y="54"/>
                    <a:pt x="36" y="51"/>
                    <a:pt x="34" y="50"/>
                  </a:cubicBezTo>
                  <a:cubicBezTo>
                    <a:pt x="36" y="49"/>
                    <a:pt x="39" y="48"/>
                    <a:pt x="40" y="45"/>
                  </a:cubicBezTo>
                  <a:cubicBezTo>
                    <a:pt x="47" y="45"/>
                    <a:pt x="39" y="40"/>
                    <a:pt x="39" y="37"/>
                  </a:cubicBezTo>
                  <a:cubicBezTo>
                    <a:pt x="39" y="36"/>
                    <a:pt x="40" y="34"/>
                    <a:pt x="40" y="34"/>
                  </a:cubicBezTo>
                  <a:cubicBezTo>
                    <a:pt x="42" y="33"/>
                    <a:pt x="42" y="34"/>
                    <a:pt x="44" y="34"/>
                  </a:cubicBezTo>
                  <a:cubicBezTo>
                    <a:pt x="45" y="34"/>
                    <a:pt x="45" y="33"/>
                    <a:pt x="45" y="33"/>
                  </a:cubicBezTo>
                  <a:cubicBezTo>
                    <a:pt x="46" y="32"/>
                    <a:pt x="47" y="33"/>
                    <a:pt x="49" y="33"/>
                  </a:cubicBezTo>
                  <a:cubicBezTo>
                    <a:pt x="52" y="33"/>
                    <a:pt x="61" y="35"/>
                    <a:pt x="61" y="30"/>
                  </a:cubicBezTo>
                  <a:cubicBezTo>
                    <a:pt x="60" y="25"/>
                    <a:pt x="55" y="23"/>
                    <a:pt x="55" y="18"/>
                  </a:cubicBezTo>
                  <a:cubicBezTo>
                    <a:pt x="55" y="15"/>
                    <a:pt x="57" y="13"/>
                    <a:pt x="57" y="11"/>
                  </a:cubicBezTo>
                  <a:cubicBezTo>
                    <a:pt x="55" y="10"/>
                    <a:pt x="54" y="11"/>
                    <a:pt x="52" y="10"/>
                  </a:cubicBezTo>
                  <a:cubicBezTo>
                    <a:pt x="52" y="10"/>
                    <a:pt x="52" y="9"/>
                    <a:pt x="52" y="9"/>
                  </a:cubicBezTo>
                  <a:lnTo>
                    <a:pt x="50" y="1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3" name="Freeform 104">
              <a:extLst>
                <a:ext uri="{FF2B5EF4-FFF2-40B4-BE49-F238E27FC236}">
                  <a16:creationId xmlns:a16="http://schemas.microsoft.com/office/drawing/2014/main" id="{E583D5EC-44D4-4B3E-9255-7B3DC0585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9388" y="2454275"/>
              <a:ext cx="31750" cy="31750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6" y="2"/>
                </a:cxn>
                <a:cxn ang="0">
                  <a:pos x="1" y="5"/>
                </a:cxn>
                <a:cxn ang="0">
                  <a:pos x="4" y="10"/>
                </a:cxn>
                <a:cxn ang="0">
                  <a:pos x="6" y="13"/>
                </a:cxn>
                <a:cxn ang="0">
                  <a:pos x="16" y="17"/>
                </a:cxn>
                <a:cxn ang="0">
                  <a:pos x="16" y="10"/>
                </a:cxn>
                <a:cxn ang="0">
                  <a:pos x="13" y="6"/>
                </a:cxn>
              </a:cxnLst>
              <a:rect l="0" t="0" r="r" b="b"/>
              <a:pathLst>
                <a:path w="17" h="17">
                  <a:moveTo>
                    <a:pt x="13" y="6"/>
                  </a:moveTo>
                  <a:cubicBezTo>
                    <a:pt x="10" y="6"/>
                    <a:pt x="8" y="3"/>
                    <a:pt x="6" y="2"/>
                  </a:cubicBezTo>
                  <a:cubicBezTo>
                    <a:pt x="3" y="0"/>
                    <a:pt x="0" y="0"/>
                    <a:pt x="1" y="5"/>
                  </a:cubicBezTo>
                  <a:cubicBezTo>
                    <a:pt x="1" y="8"/>
                    <a:pt x="2" y="7"/>
                    <a:pt x="4" y="10"/>
                  </a:cubicBezTo>
                  <a:cubicBezTo>
                    <a:pt x="5" y="11"/>
                    <a:pt x="5" y="12"/>
                    <a:pt x="6" y="13"/>
                  </a:cubicBezTo>
                  <a:cubicBezTo>
                    <a:pt x="7" y="15"/>
                    <a:pt x="14" y="17"/>
                    <a:pt x="16" y="17"/>
                  </a:cubicBezTo>
                  <a:cubicBezTo>
                    <a:pt x="16" y="15"/>
                    <a:pt x="17" y="12"/>
                    <a:pt x="16" y="10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4" name="Freeform 105">
              <a:extLst>
                <a:ext uri="{FF2B5EF4-FFF2-40B4-BE49-F238E27FC236}">
                  <a16:creationId xmlns:a16="http://schemas.microsoft.com/office/drawing/2014/main" id="{595AFC6D-3BBC-4570-84DE-7CA598582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8575" cy="50800"/>
            </a:xfrm>
            <a:custGeom>
              <a:avLst/>
              <a:gdLst/>
              <a:ahLst/>
              <a:cxnLst>
                <a:cxn ang="0">
                  <a:pos x="11" y="4"/>
                </a:cxn>
                <a:cxn ang="0">
                  <a:pos x="2" y="2"/>
                </a:cxn>
                <a:cxn ang="0">
                  <a:pos x="2" y="9"/>
                </a:cxn>
                <a:cxn ang="0">
                  <a:pos x="9" y="16"/>
                </a:cxn>
                <a:cxn ang="0">
                  <a:pos x="7" y="21"/>
                </a:cxn>
                <a:cxn ang="0">
                  <a:pos x="9" y="26"/>
                </a:cxn>
                <a:cxn ang="0">
                  <a:pos x="12" y="27"/>
                </a:cxn>
                <a:cxn ang="0">
                  <a:pos x="12" y="16"/>
                </a:cxn>
                <a:cxn ang="0">
                  <a:pos x="13" y="10"/>
                </a:cxn>
                <a:cxn ang="0">
                  <a:pos x="11" y="4"/>
                </a:cxn>
              </a:cxnLst>
              <a:rect l="0" t="0" r="r" b="b"/>
              <a:pathLst>
                <a:path w="15" h="27">
                  <a:moveTo>
                    <a:pt x="11" y="4"/>
                  </a:moveTo>
                  <a:cubicBezTo>
                    <a:pt x="9" y="3"/>
                    <a:pt x="3" y="0"/>
                    <a:pt x="2" y="2"/>
                  </a:cubicBezTo>
                  <a:cubicBezTo>
                    <a:pt x="0" y="3"/>
                    <a:pt x="1" y="7"/>
                    <a:pt x="2" y="9"/>
                  </a:cubicBezTo>
                  <a:cubicBezTo>
                    <a:pt x="3" y="12"/>
                    <a:pt x="8" y="13"/>
                    <a:pt x="9" y="16"/>
                  </a:cubicBezTo>
                  <a:cubicBezTo>
                    <a:pt x="9" y="18"/>
                    <a:pt x="8" y="19"/>
                    <a:pt x="7" y="21"/>
                  </a:cubicBezTo>
                  <a:cubicBezTo>
                    <a:pt x="7" y="22"/>
                    <a:pt x="7" y="25"/>
                    <a:pt x="9" y="26"/>
                  </a:cubicBezTo>
                  <a:cubicBezTo>
                    <a:pt x="9" y="26"/>
                    <a:pt x="12" y="27"/>
                    <a:pt x="12" y="27"/>
                  </a:cubicBezTo>
                  <a:cubicBezTo>
                    <a:pt x="15" y="26"/>
                    <a:pt x="13" y="18"/>
                    <a:pt x="12" y="16"/>
                  </a:cubicBezTo>
                  <a:cubicBezTo>
                    <a:pt x="12" y="15"/>
                    <a:pt x="12" y="12"/>
                    <a:pt x="13" y="10"/>
                  </a:cubicBezTo>
                  <a:lnTo>
                    <a:pt x="11" y="4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5" name="Freeform 106">
              <a:extLst>
                <a:ext uri="{FF2B5EF4-FFF2-40B4-BE49-F238E27FC236}">
                  <a16:creationId xmlns:a16="http://schemas.microsoft.com/office/drawing/2014/main" id="{26889573-F3C1-493A-B004-E204F7D3F7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4188" y="3221038"/>
              <a:ext cx="300038" cy="554038"/>
            </a:xfrm>
            <a:custGeom>
              <a:avLst/>
              <a:gdLst/>
              <a:ahLst/>
              <a:cxnLst>
                <a:cxn ang="0">
                  <a:pos x="92" y="72"/>
                </a:cxn>
                <a:cxn ang="0">
                  <a:pos x="75" y="76"/>
                </a:cxn>
                <a:cxn ang="0">
                  <a:pos x="65" y="79"/>
                </a:cxn>
                <a:cxn ang="0">
                  <a:pos x="62" y="97"/>
                </a:cxn>
                <a:cxn ang="0">
                  <a:pos x="69" y="109"/>
                </a:cxn>
                <a:cxn ang="0">
                  <a:pos x="60" y="103"/>
                </a:cxn>
                <a:cxn ang="0">
                  <a:pos x="45" y="81"/>
                </a:cxn>
                <a:cxn ang="0">
                  <a:pos x="58" y="74"/>
                </a:cxn>
                <a:cxn ang="0">
                  <a:pos x="80" y="70"/>
                </a:cxn>
                <a:cxn ang="0">
                  <a:pos x="99" y="67"/>
                </a:cxn>
                <a:cxn ang="0">
                  <a:pos x="152" y="264"/>
                </a:cxn>
                <a:cxn ang="0">
                  <a:pos x="145" y="261"/>
                </a:cxn>
                <a:cxn ang="0">
                  <a:pos x="151" y="239"/>
                </a:cxn>
                <a:cxn ang="0">
                  <a:pos x="142" y="225"/>
                </a:cxn>
                <a:cxn ang="0">
                  <a:pos x="148" y="222"/>
                </a:cxn>
                <a:cxn ang="0">
                  <a:pos x="128" y="207"/>
                </a:cxn>
                <a:cxn ang="0">
                  <a:pos x="96" y="204"/>
                </a:cxn>
                <a:cxn ang="0">
                  <a:pos x="100" y="187"/>
                </a:cxn>
                <a:cxn ang="0">
                  <a:pos x="118" y="185"/>
                </a:cxn>
                <a:cxn ang="0">
                  <a:pos x="120" y="164"/>
                </a:cxn>
                <a:cxn ang="0">
                  <a:pos x="136" y="155"/>
                </a:cxn>
                <a:cxn ang="0">
                  <a:pos x="149" y="152"/>
                </a:cxn>
                <a:cxn ang="0">
                  <a:pos x="158" y="131"/>
                </a:cxn>
                <a:cxn ang="0">
                  <a:pos x="125" y="109"/>
                </a:cxn>
                <a:cxn ang="0">
                  <a:pos x="122" y="92"/>
                </a:cxn>
                <a:cxn ang="0">
                  <a:pos x="129" y="66"/>
                </a:cxn>
                <a:cxn ang="0">
                  <a:pos x="139" y="50"/>
                </a:cxn>
                <a:cxn ang="0">
                  <a:pos x="136" y="26"/>
                </a:cxn>
                <a:cxn ang="0">
                  <a:pos x="140" y="2"/>
                </a:cxn>
                <a:cxn ang="0">
                  <a:pos x="108" y="16"/>
                </a:cxn>
                <a:cxn ang="0">
                  <a:pos x="87" y="45"/>
                </a:cxn>
                <a:cxn ang="0">
                  <a:pos x="55" y="58"/>
                </a:cxn>
                <a:cxn ang="0">
                  <a:pos x="24" y="72"/>
                </a:cxn>
                <a:cxn ang="0">
                  <a:pos x="19" y="105"/>
                </a:cxn>
                <a:cxn ang="0">
                  <a:pos x="31" y="104"/>
                </a:cxn>
                <a:cxn ang="0">
                  <a:pos x="39" y="106"/>
                </a:cxn>
                <a:cxn ang="0">
                  <a:pos x="38" y="124"/>
                </a:cxn>
                <a:cxn ang="0">
                  <a:pos x="21" y="118"/>
                </a:cxn>
                <a:cxn ang="0">
                  <a:pos x="5" y="120"/>
                </a:cxn>
                <a:cxn ang="0">
                  <a:pos x="6" y="160"/>
                </a:cxn>
                <a:cxn ang="0">
                  <a:pos x="15" y="167"/>
                </a:cxn>
                <a:cxn ang="0">
                  <a:pos x="12" y="177"/>
                </a:cxn>
                <a:cxn ang="0">
                  <a:pos x="5" y="207"/>
                </a:cxn>
                <a:cxn ang="0">
                  <a:pos x="13" y="227"/>
                </a:cxn>
                <a:cxn ang="0">
                  <a:pos x="22" y="223"/>
                </a:cxn>
                <a:cxn ang="0">
                  <a:pos x="28" y="224"/>
                </a:cxn>
                <a:cxn ang="0">
                  <a:pos x="34" y="240"/>
                </a:cxn>
                <a:cxn ang="0">
                  <a:pos x="32" y="261"/>
                </a:cxn>
                <a:cxn ang="0">
                  <a:pos x="49" y="272"/>
                </a:cxn>
                <a:cxn ang="0">
                  <a:pos x="63" y="274"/>
                </a:cxn>
                <a:cxn ang="0">
                  <a:pos x="72" y="279"/>
                </a:cxn>
                <a:cxn ang="0">
                  <a:pos x="86" y="277"/>
                </a:cxn>
                <a:cxn ang="0">
                  <a:pos x="105" y="281"/>
                </a:cxn>
                <a:cxn ang="0">
                  <a:pos x="102" y="259"/>
                </a:cxn>
                <a:cxn ang="0">
                  <a:pos x="88" y="264"/>
                </a:cxn>
                <a:cxn ang="0">
                  <a:pos x="90" y="246"/>
                </a:cxn>
                <a:cxn ang="0">
                  <a:pos x="104" y="244"/>
                </a:cxn>
                <a:cxn ang="0">
                  <a:pos x="120" y="257"/>
                </a:cxn>
                <a:cxn ang="0">
                  <a:pos x="138" y="275"/>
                </a:cxn>
                <a:cxn ang="0">
                  <a:pos x="149" y="288"/>
                </a:cxn>
                <a:cxn ang="0">
                  <a:pos x="155" y="271"/>
                </a:cxn>
              </a:cxnLst>
              <a:rect l="0" t="0" r="r" b="b"/>
              <a:pathLst>
                <a:path w="161" h="297">
                  <a:moveTo>
                    <a:pt x="35" y="281"/>
                  </a:moveTo>
                  <a:cubicBezTo>
                    <a:pt x="35" y="281"/>
                    <a:pt x="35" y="281"/>
                    <a:pt x="36" y="281"/>
                  </a:cubicBezTo>
                  <a:cubicBezTo>
                    <a:pt x="36" y="281"/>
                    <a:pt x="36" y="281"/>
                    <a:pt x="36" y="280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80"/>
                    <a:pt x="35" y="281"/>
                    <a:pt x="35" y="281"/>
                  </a:cubicBezTo>
                  <a:moveTo>
                    <a:pt x="92" y="72"/>
                  </a:moveTo>
                  <a:cubicBezTo>
                    <a:pt x="90" y="72"/>
                    <a:pt x="90" y="72"/>
                    <a:pt x="89" y="74"/>
                  </a:cubicBezTo>
                  <a:cubicBezTo>
                    <a:pt x="88" y="75"/>
                    <a:pt x="88" y="76"/>
                    <a:pt x="87" y="77"/>
                  </a:cubicBezTo>
                  <a:cubicBezTo>
                    <a:pt x="86" y="77"/>
                    <a:pt x="85" y="77"/>
                    <a:pt x="85" y="77"/>
                  </a:cubicBezTo>
                  <a:cubicBezTo>
                    <a:pt x="84" y="77"/>
                    <a:pt x="84" y="78"/>
                    <a:pt x="83" y="78"/>
                  </a:cubicBezTo>
                  <a:cubicBezTo>
                    <a:pt x="81" y="78"/>
                    <a:pt x="80" y="78"/>
                    <a:pt x="79" y="77"/>
                  </a:cubicBezTo>
                  <a:cubicBezTo>
                    <a:pt x="77" y="76"/>
                    <a:pt x="77" y="76"/>
                    <a:pt x="75" y="76"/>
                  </a:cubicBezTo>
                  <a:cubicBezTo>
                    <a:pt x="73" y="76"/>
                    <a:pt x="72" y="78"/>
                    <a:pt x="71" y="78"/>
                  </a:cubicBezTo>
                  <a:cubicBezTo>
                    <a:pt x="69" y="78"/>
                    <a:pt x="69" y="78"/>
                    <a:pt x="68" y="79"/>
                  </a:cubicBezTo>
                  <a:cubicBezTo>
                    <a:pt x="67" y="79"/>
                    <a:pt x="67" y="79"/>
                    <a:pt x="66" y="79"/>
                  </a:cubicBezTo>
                  <a:cubicBezTo>
                    <a:pt x="66" y="80"/>
                    <a:pt x="67" y="81"/>
                    <a:pt x="65" y="80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6" y="77"/>
                    <a:pt x="66" y="78"/>
                    <a:pt x="65" y="79"/>
                  </a:cubicBezTo>
                  <a:cubicBezTo>
                    <a:pt x="64" y="80"/>
                    <a:pt x="62" y="81"/>
                    <a:pt x="61" y="82"/>
                  </a:cubicBezTo>
                  <a:cubicBezTo>
                    <a:pt x="61" y="83"/>
                    <a:pt x="61" y="84"/>
                    <a:pt x="61" y="84"/>
                  </a:cubicBezTo>
                  <a:cubicBezTo>
                    <a:pt x="61" y="85"/>
                    <a:pt x="60" y="85"/>
                    <a:pt x="60" y="85"/>
                  </a:cubicBezTo>
                  <a:cubicBezTo>
                    <a:pt x="60" y="88"/>
                    <a:pt x="64" y="88"/>
                    <a:pt x="63" y="91"/>
                  </a:cubicBezTo>
                  <a:cubicBezTo>
                    <a:pt x="62" y="92"/>
                    <a:pt x="62" y="93"/>
                    <a:pt x="62" y="94"/>
                  </a:cubicBezTo>
                  <a:cubicBezTo>
                    <a:pt x="61" y="95"/>
                    <a:pt x="62" y="96"/>
                    <a:pt x="62" y="97"/>
                  </a:cubicBezTo>
                  <a:cubicBezTo>
                    <a:pt x="62" y="98"/>
                    <a:pt x="62" y="99"/>
                    <a:pt x="62" y="100"/>
                  </a:cubicBezTo>
                  <a:cubicBezTo>
                    <a:pt x="62" y="101"/>
                    <a:pt x="63" y="101"/>
                    <a:pt x="63" y="102"/>
                  </a:cubicBezTo>
                  <a:cubicBezTo>
                    <a:pt x="63" y="102"/>
                    <a:pt x="63" y="103"/>
                    <a:pt x="63" y="104"/>
                  </a:cubicBezTo>
                  <a:cubicBezTo>
                    <a:pt x="64" y="104"/>
                    <a:pt x="65" y="104"/>
                    <a:pt x="66" y="104"/>
                  </a:cubicBezTo>
                  <a:cubicBezTo>
                    <a:pt x="67" y="104"/>
                    <a:pt x="67" y="104"/>
                    <a:pt x="68" y="104"/>
                  </a:cubicBezTo>
                  <a:cubicBezTo>
                    <a:pt x="69" y="105"/>
                    <a:pt x="70" y="108"/>
                    <a:pt x="69" y="109"/>
                  </a:cubicBezTo>
                  <a:cubicBezTo>
                    <a:pt x="69" y="110"/>
                    <a:pt x="66" y="111"/>
                    <a:pt x="65" y="111"/>
                  </a:cubicBezTo>
                  <a:cubicBezTo>
                    <a:pt x="62" y="111"/>
                    <a:pt x="60" y="110"/>
                    <a:pt x="57" y="110"/>
                  </a:cubicBezTo>
                  <a:cubicBezTo>
                    <a:pt x="54" y="109"/>
                    <a:pt x="55" y="112"/>
                    <a:pt x="54" y="115"/>
                  </a:cubicBezTo>
                  <a:cubicBezTo>
                    <a:pt x="53" y="113"/>
                    <a:pt x="54" y="110"/>
                    <a:pt x="55" y="108"/>
                  </a:cubicBezTo>
                  <a:cubicBezTo>
                    <a:pt x="55" y="107"/>
                    <a:pt x="58" y="107"/>
                    <a:pt x="58" y="107"/>
                  </a:cubicBezTo>
                  <a:cubicBezTo>
                    <a:pt x="58" y="106"/>
                    <a:pt x="60" y="103"/>
                    <a:pt x="60" y="103"/>
                  </a:cubicBezTo>
                  <a:cubicBezTo>
                    <a:pt x="60" y="99"/>
                    <a:pt x="56" y="98"/>
                    <a:pt x="56" y="94"/>
                  </a:cubicBezTo>
                  <a:cubicBezTo>
                    <a:pt x="55" y="92"/>
                    <a:pt x="51" y="91"/>
                    <a:pt x="51" y="88"/>
                  </a:cubicBezTo>
                  <a:cubicBezTo>
                    <a:pt x="50" y="88"/>
                    <a:pt x="49" y="89"/>
                    <a:pt x="48" y="90"/>
                  </a:cubicBezTo>
                  <a:cubicBezTo>
                    <a:pt x="47" y="92"/>
                    <a:pt x="47" y="92"/>
                    <a:pt x="46" y="91"/>
                  </a:cubicBezTo>
                  <a:cubicBezTo>
                    <a:pt x="43" y="90"/>
                    <a:pt x="41" y="85"/>
                    <a:pt x="45" y="84"/>
                  </a:cubicBezTo>
                  <a:cubicBezTo>
                    <a:pt x="45" y="83"/>
                    <a:pt x="45" y="82"/>
                    <a:pt x="45" y="81"/>
                  </a:cubicBezTo>
                  <a:cubicBezTo>
                    <a:pt x="44" y="81"/>
                    <a:pt x="44" y="82"/>
                    <a:pt x="43" y="82"/>
                  </a:cubicBezTo>
                  <a:cubicBezTo>
                    <a:pt x="42" y="83"/>
                    <a:pt x="41" y="84"/>
                    <a:pt x="40" y="84"/>
                  </a:cubicBezTo>
                  <a:cubicBezTo>
                    <a:pt x="36" y="85"/>
                    <a:pt x="37" y="81"/>
                    <a:pt x="36" y="79"/>
                  </a:cubicBezTo>
                  <a:cubicBezTo>
                    <a:pt x="39" y="77"/>
                    <a:pt x="43" y="79"/>
                    <a:pt x="46" y="78"/>
                  </a:cubicBezTo>
                  <a:cubicBezTo>
                    <a:pt x="49" y="78"/>
                    <a:pt x="50" y="76"/>
                    <a:pt x="52" y="75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59" y="74"/>
                    <a:pt x="61" y="74"/>
                    <a:pt x="62" y="73"/>
                  </a:cubicBezTo>
                  <a:cubicBezTo>
                    <a:pt x="63" y="73"/>
                    <a:pt x="64" y="74"/>
                    <a:pt x="64" y="76"/>
                  </a:cubicBezTo>
                  <a:cubicBezTo>
                    <a:pt x="66" y="76"/>
                    <a:pt x="67" y="75"/>
                    <a:pt x="68" y="74"/>
                  </a:cubicBezTo>
                  <a:cubicBezTo>
                    <a:pt x="69" y="74"/>
                    <a:pt x="70" y="73"/>
                    <a:pt x="71" y="73"/>
                  </a:cubicBezTo>
                  <a:cubicBezTo>
                    <a:pt x="73" y="73"/>
                    <a:pt x="74" y="73"/>
                    <a:pt x="75" y="72"/>
                  </a:cubicBezTo>
                  <a:cubicBezTo>
                    <a:pt x="77" y="71"/>
                    <a:pt x="78" y="70"/>
                    <a:pt x="80" y="70"/>
                  </a:cubicBezTo>
                  <a:cubicBezTo>
                    <a:pt x="81" y="70"/>
                    <a:pt x="82" y="71"/>
                    <a:pt x="83" y="70"/>
                  </a:cubicBezTo>
                  <a:cubicBezTo>
                    <a:pt x="83" y="69"/>
                    <a:pt x="83" y="67"/>
                    <a:pt x="83" y="67"/>
                  </a:cubicBezTo>
                  <a:cubicBezTo>
                    <a:pt x="84" y="64"/>
                    <a:pt x="85" y="63"/>
                    <a:pt x="88" y="63"/>
                  </a:cubicBezTo>
                  <a:cubicBezTo>
                    <a:pt x="88" y="65"/>
                    <a:pt x="88" y="66"/>
                    <a:pt x="89" y="66"/>
                  </a:cubicBezTo>
                  <a:cubicBezTo>
                    <a:pt x="90" y="67"/>
                    <a:pt x="93" y="66"/>
                    <a:pt x="94" y="66"/>
                  </a:cubicBezTo>
                  <a:cubicBezTo>
                    <a:pt x="97" y="65"/>
                    <a:pt x="98" y="64"/>
                    <a:pt x="99" y="67"/>
                  </a:cubicBezTo>
                  <a:cubicBezTo>
                    <a:pt x="99" y="68"/>
                    <a:pt x="100" y="70"/>
                    <a:pt x="99" y="71"/>
                  </a:cubicBezTo>
                  <a:cubicBezTo>
                    <a:pt x="99" y="72"/>
                    <a:pt x="94" y="72"/>
                    <a:pt x="92" y="72"/>
                  </a:cubicBezTo>
                  <a:moveTo>
                    <a:pt x="160" y="255"/>
                  </a:moveTo>
                  <a:cubicBezTo>
                    <a:pt x="160" y="254"/>
                    <a:pt x="161" y="254"/>
                    <a:pt x="160" y="253"/>
                  </a:cubicBezTo>
                  <a:cubicBezTo>
                    <a:pt x="159" y="251"/>
                    <a:pt x="156" y="254"/>
                    <a:pt x="155" y="255"/>
                  </a:cubicBezTo>
                  <a:cubicBezTo>
                    <a:pt x="153" y="258"/>
                    <a:pt x="153" y="261"/>
                    <a:pt x="152" y="264"/>
                  </a:cubicBezTo>
                  <a:cubicBezTo>
                    <a:pt x="151" y="266"/>
                    <a:pt x="150" y="268"/>
                    <a:pt x="148" y="269"/>
                  </a:cubicBezTo>
                  <a:cubicBezTo>
                    <a:pt x="147" y="270"/>
                    <a:pt x="146" y="271"/>
                    <a:pt x="145" y="271"/>
                  </a:cubicBezTo>
                  <a:cubicBezTo>
                    <a:pt x="144" y="271"/>
                    <a:pt x="145" y="270"/>
                    <a:pt x="144" y="270"/>
                  </a:cubicBezTo>
                  <a:cubicBezTo>
                    <a:pt x="144" y="269"/>
                    <a:pt x="143" y="270"/>
                    <a:pt x="143" y="270"/>
                  </a:cubicBezTo>
                  <a:cubicBezTo>
                    <a:pt x="141" y="269"/>
                    <a:pt x="142" y="265"/>
                    <a:pt x="142" y="263"/>
                  </a:cubicBezTo>
                  <a:cubicBezTo>
                    <a:pt x="143" y="262"/>
                    <a:pt x="144" y="262"/>
                    <a:pt x="145" y="261"/>
                  </a:cubicBezTo>
                  <a:cubicBezTo>
                    <a:pt x="146" y="260"/>
                    <a:pt x="146" y="259"/>
                    <a:pt x="146" y="259"/>
                  </a:cubicBezTo>
                  <a:cubicBezTo>
                    <a:pt x="148" y="257"/>
                    <a:pt x="149" y="256"/>
                    <a:pt x="150" y="254"/>
                  </a:cubicBezTo>
                  <a:cubicBezTo>
                    <a:pt x="150" y="253"/>
                    <a:pt x="151" y="251"/>
                    <a:pt x="152" y="249"/>
                  </a:cubicBezTo>
                  <a:cubicBezTo>
                    <a:pt x="152" y="248"/>
                    <a:pt x="152" y="248"/>
                    <a:pt x="152" y="247"/>
                  </a:cubicBezTo>
                  <a:cubicBezTo>
                    <a:pt x="152" y="245"/>
                    <a:pt x="153" y="242"/>
                    <a:pt x="152" y="241"/>
                  </a:cubicBezTo>
                  <a:cubicBezTo>
                    <a:pt x="152" y="240"/>
                    <a:pt x="151" y="240"/>
                    <a:pt x="151" y="239"/>
                  </a:cubicBezTo>
                  <a:cubicBezTo>
                    <a:pt x="151" y="239"/>
                    <a:pt x="150" y="238"/>
                    <a:pt x="150" y="238"/>
                  </a:cubicBezTo>
                  <a:cubicBezTo>
                    <a:pt x="150" y="237"/>
                    <a:pt x="150" y="236"/>
                    <a:pt x="150" y="235"/>
                  </a:cubicBezTo>
                  <a:cubicBezTo>
                    <a:pt x="150" y="234"/>
                    <a:pt x="150" y="234"/>
                    <a:pt x="150" y="233"/>
                  </a:cubicBezTo>
                  <a:cubicBezTo>
                    <a:pt x="149" y="232"/>
                    <a:pt x="149" y="231"/>
                    <a:pt x="148" y="230"/>
                  </a:cubicBezTo>
                  <a:cubicBezTo>
                    <a:pt x="147" y="229"/>
                    <a:pt x="145" y="228"/>
                    <a:pt x="144" y="227"/>
                  </a:cubicBezTo>
                  <a:cubicBezTo>
                    <a:pt x="144" y="226"/>
                    <a:pt x="144" y="226"/>
                    <a:pt x="142" y="225"/>
                  </a:cubicBezTo>
                  <a:cubicBezTo>
                    <a:pt x="141" y="225"/>
                    <a:pt x="139" y="225"/>
                    <a:pt x="137" y="224"/>
                  </a:cubicBezTo>
                  <a:cubicBezTo>
                    <a:pt x="136" y="224"/>
                    <a:pt x="136" y="223"/>
                    <a:pt x="135" y="223"/>
                  </a:cubicBezTo>
                  <a:cubicBezTo>
                    <a:pt x="136" y="222"/>
                    <a:pt x="136" y="221"/>
                    <a:pt x="138" y="220"/>
                  </a:cubicBezTo>
                  <a:cubicBezTo>
                    <a:pt x="140" y="219"/>
                    <a:pt x="139" y="220"/>
                    <a:pt x="140" y="221"/>
                  </a:cubicBezTo>
                  <a:cubicBezTo>
                    <a:pt x="142" y="224"/>
                    <a:pt x="145" y="225"/>
                    <a:pt x="148" y="225"/>
                  </a:cubicBezTo>
                  <a:cubicBezTo>
                    <a:pt x="148" y="224"/>
                    <a:pt x="149" y="223"/>
                    <a:pt x="148" y="222"/>
                  </a:cubicBezTo>
                  <a:cubicBezTo>
                    <a:pt x="148" y="220"/>
                    <a:pt x="147" y="220"/>
                    <a:pt x="147" y="218"/>
                  </a:cubicBezTo>
                  <a:cubicBezTo>
                    <a:pt x="146" y="218"/>
                    <a:pt x="147" y="216"/>
                    <a:pt x="147" y="215"/>
                  </a:cubicBezTo>
                  <a:cubicBezTo>
                    <a:pt x="146" y="214"/>
                    <a:pt x="146" y="212"/>
                    <a:pt x="145" y="211"/>
                  </a:cubicBezTo>
                  <a:cubicBezTo>
                    <a:pt x="145" y="208"/>
                    <a:pt x="144" y="207"/>
                    <a:pt x="141" y="207"/>
                  </a:cubicBezTo>
                  <a:cubicBezTo>
                    <a:pt x="139" y="207"/>
                    <a:pt x="137" y="208"/>
                    <a:pt x="136" y="208"/>
                  </a:cubicBezTo>
                  <a:cubicBezTo>
                    <a:pt x="133" y="208"/>
                    <a:pt x="130" y="208"/>
                    <a:pt x="128" y="207"/>
                  </a:cubicBezTo>
                  <a:cubicBezTo>
                    <a:pt x="127" y="206"/>
                    <a:pt x="125" y="205"/>
                    <a:pt x="124" y="205"/>
                  </a:cubicBezTo>
                  <a:cubicBezTo>
                    <a:pt x="122" y="205"/>
                    <a:pt x="119" y="205"/>
                    <a:pt x="117" y="205"/>
                  </a:cubicBezTo>
                  <a:cubicBezTo>
                    <a:pt x="114" y="205"/>
                    <a:pt x="111" y="207"/>
                    <a:pt x="108" y="207"/>
                  </a:cubicBezTo>
                  <a:cubicBezTo>
                    <a:pt x="106" y="207"/>
                    <a:pt x="103" y="207"/>
                    <a:pt x="101" y="207"/>
                  </a:cubicBezTo>
                  <a:cubicBezTo>
                    <a:pt x="99" y="206"/>
                    <a:pt x="95" y="207"/>
                    <a:pt x="94" y="206"/>
                  </a:cubicBezTo>
                  <a:cubicBezTo>
                    <a:pt x="95" y="206"/>
                    <a:pt x="95" y="204"/>
                    <a:pt x="96" y="204"/>
                  </a:cubicBezTo>
                  <a:cubicBezTo>
                    <a:pt x="96" y="204"/>
                    <a:pt x="98" y="204"/>
                    <a:pt x="98" y="204"/>
                  </a:cubicBezTo>
                  <a:cubicBezTo>
                    <a:pt x="100" y="203"/>
                    <a:pt x="101" y="201"/>
                    <a:pt x="102" y="200"/>
                  </a:cubicBezTo>
                  <a:cubicBezTo>
                    <a:pt x="104" y="199"/>
                    <a:pt x="107" y="200"/>
                    <a:pt x="108" y="198"/>
                  </a:cubicBezTo>
                  <a:cubicBezTo>
                    <a:pt x="108" y="197"/>
                    <a:pt x="108" y="195"/>
                    <a:pt x="108" y="193"/>
                  </a:cubicBezTo>
                  <a:cubicBezTo>
                    <a:pt x="108" y="192"/>
                    <a:pt x="108" y="191"/>
                    <a:pt x="107" y="191"/>
                  </a:cubicBezTo>
                  <a:cubicBezTo>
                    <a:pt x="105" y="189"/>
                    <a:pt x="101" y="191"/>
                    <a:pt x="100" y="187"/>
                  </a:cubicBezTo>
                  <a:cubicBezTo>
                    <a:pt x="99" y="183"/>
                    <a:pt x="102" y="185"/>
                    <a:pt x="105" y="185"/>
                  </a:cubicBezTo>
                  <a:cubicBezTo>
                    <a:pt x="106" y="185"/>
                    <a:pt x="107" y="185"/>
                    <a:pt x="108" y="185"/>
                  </a:cubicBezTo>
                  <a:cubicBezTo>
                    <a:pt x="109" y="185"/>
                    <a:pt x="110" y="184"/>
                    <a:pt x="111" y="184"/>
                  </a:cubicBezTo>
                  <a:cubicBezTo>
                    <a:pt x="112" y="184"/>
                    <a:pt x="112" y="184"/>
                    <a:pt x="114" y="186"/>
                  </a:cubicBezTo>
                  <a:cubicBezTo>
                    <a:pt x="114" y="186"/>
                    <a:pt x="115" y="189"/>
                    <a:pt x="117" y="189"/>
                  </a:cubicBezTo>
                  <a:cubicBezTo>
                    <a:pt x="117" y="187"/>
                    <a:pt x="116" y="186"/>
                    <a:pt x="118" y="185"/>
                  </a:cubicBezTo>
                  <a:cubicBezTo>
                    <a:pt x="119" y="184"/>
                    <a:pt x="119" y="185"/>
                    <a:pt x="120" y="184"/>
                  </a:cubicBezTo>
                  <a:cubicBezTo>
                    <a:pt x="120" y="184"/>
                    <a:pt x="120" y="182"/>
                    <a:pt x="120" y="182"/>
                  </a:cubicBezTo>
                  <a:cubicBezTo>
                    <a:pt x="121" y="178"/>
                    <a:pt x="122" y="175"/>
                    <a:pt x="121" y="172"/>
                  </a:cubicBezTo>
                  <a:cubicBezTo>
                    <a:pt x="121" y="171"/>
                    <a:pt x="121" y="169"/>
                    <a:pt x="121" y="168"/>
                  </a:cubicBezTo>
                  <a:cubicBezTo>
                    <a:pt x="121" y="168"/>
                    <a:pt x="121" y="167"/>
                    <a:pt x="120" y="167"/>
                  </a:cubicBezTo>
                  <a:cubicBezTo>
                    <a:pt x="120" y="166"/>
                    <a:pt x="120" y="165"/>
                    <a:pt x="120" y="164"/>
                  </a:cubicBezTo>
                  <a:cubicBezTo>
                    <a:pt x="120" y="162"/>
                    <a:pt x="119" y="162"/>
                    <a:pt x="119" y="160"/>
                  </a:cubicBezTo>
                  <a:cubicBezTo>
                    <a:pt x="119" y="159"/>
                    <a:pt x="119" y="158"/>
                    <a:pt x="120" y="157"/>
                  </a:cubicBezTo>
                  <a:cubicBezTo>
                    <a:pt x="121" y="154"/>
                    <a:pt x="121" y="152"/>
                    <a:pt x="124" y="151"/>
                  </a:cubicBezTo>
                  <a:cubicBezTo>
                    <a:pt x="127" y="151"/>
                    <a:pt x="129" y="152"/>
                    <a:pt x="130" y="154"/>
                  </a:cubicBezTo>
                  <a:cubicBezTo>
                    <a:pt x="131" y="156"/>
                    <a:pt x="130" y="156"/>
                    <a:pt x="132" y="156"/>
                  </a:cubicBezTo>
                  <a:cubicBezTo>
                    <a:pt x="134" y="156"/>
                    <a:pt x="135" y="156"/>
                    <a:pt x="136" y="155"/>
                  </a:cubicBezTo>
                  <a:cubicBezTo>
                    <a:pt x="138" y="153"/>
                    <a:pt x="138" y="151"/>
                    <a:pt x="141" y="151"/>
                  </a:cubicBezTo>
                  <a:cubicBezTo>
                    <a:pt x="141" y="153"/>
                    <a:pt x="139" y="156"/>
                    <a:pt x="140" y="158"/>
                  </a:cubicBezTo>
                  <a:cubicBezTo>
                    <a:pt x="141" y="159"/>
                    <a:pt x="143" y="158"/>
                    <a:pt x="145" y="158"/>
                  </a:cubicBezTo>
                  <a:cubicBezTo>
                    <a:pt x="146" y="158"/>
                    <a:pt x="147" y="159"/>
                    <a:pt x="147" y="157"/>
                  </a:cubicBezTo>
                  <a:cubicBezTo>
                    <a:pt x="147" y="157"/>
                    <a:pt x="147" y="156"/>
                    <a:pt x="148" y="155"/>
                  </a:cubicBezTo>
                  <a:cubicBezTo>
                    <a:pt x="148" y="154"/>
                    <a:pt x="148" y="153"/>
                    <a:pt x="149" y="152"/>
                  </a:cubicBezTo>
                  <a:cubicBezTo>
                    <a:pt x="149" y="151"/>
                    <a:pt x="151" y="151"/>
                    <a:pt x="151" y="150"/>
                  </a:cubicBezTo>
                  <a:cubicBezTo>
                    <a:pt x="152" y="149"/>
                    <a:pt x="152" y="147"/>
                    <a:pt x="152" y="146"/>
                  </a:cubicBezTo>
                  <a:cubicBezTo>
                    <a:pt x="152" y="146"/>
                    <a:pt x="152" y="145"/>
                    <a:pt x="152" y="144"/>
                  </a:cubicBezTo>
                  <a:cubicBezTo>
                    <a:pt x="152" y="143"/>
                    <a:pt x="153" y="142"/>
                    <a:pt x="154" y="141"/>
                  </a:cubicBezTo>
                  <a:cubicBezTo>
                    <a:pt x="155" y="139"/>
                    <a:pt x="155" y="137"/>
                    <a:pt x="157" y="135"/>
                  </a:cubicBezTo>
                  <a:cubicBezTo>
                    <a:pt x="157" y="133"/>
                    <a:pt x="158" y="132"/>
                    <a:pt x="158" y="131"/>
                  </a:cubicBezTo>
                  <a:cubicBezTo>
                    <a:pt x="158" y="128"/>
                    <a:pt x="158" y="126"/>
                    <a:pt x="156" y="124"/>
                  </a:cubicBezTo>
                  <a:cubicBezTo>
                    <a:pt x="154" y="122"/>
                    <a:pt x="150" y="123"/>
                    <a:pt x="147" y="123"/>
                  </a:cubicBezTo>
                  <a:cubicBezTo>
                    <a:pt x="143" y="124"/>
                    <a:pt x="139" y="125"/>
                    <a:pt x="135" y="124"/>
                  </a:cubicBezTo>
                  <a:cubicBezTo>
                    <a:pt x="133" y="123"/>
                    <a:pt x="131" y="121"/>
                    <a:pt x="129" y="119"/>
                  </a:cubicBezTo>
                  <a:cubicBezTo>
                    <a:pt x="127" y="118"/>
                    <a:pt x="127" y="118"/>
                    <a:pt x="126" y="117"/>
                  </a:cubicBezTo>
                  <a:cubicBezTo>
                    <a:pt x="126" y="114"/>
                    <a:pt x="125" y="111"/>
                    <a:pt x="125" y="109"/>
                  </a:cubicBezTo>
                  <a:cubicBezTo>
                    <a:pt x="125" y="107"/>
                    <a:pt x="125" y="106"/>
                    <a:pt x="125" y="104"/>
                  </a:cubicBezTo>
                  <a:cubicBezTo>
                    <a:pt x="124" y="103"/>
                    <a:pt x="124" y="101"/>
                    <a:pt x="123" y="100"/>
                  </a:cubicBezTo>
                  <a:cubicBezTo>
                    <a:pt x="123" y="99"/>
                    <a:pt x="123" y="98"/>
                    <a:pt x="123" y="97"/>
                  </a:cubicBezTo>
                  <a:cubicBezTo>
                    <a:pt x="123" y="96"/>
                    <a:pt x="123" y="95"/>
                    <a:pt x="123" y="94"/>
                  </a:cubicBezTo>
                  <a:cubicBezTo>
                    <a:pt x="123" y="94"/>
                    <a:pt x="122" y="94"/>
                    <a:pt x="122" y="93"/>
                  </a:cubicBezTo>
                  <a:cubicBezTo>
                    <a:pt x="122" y="93"/>
                    <a:pt x="122" y="92"/>
                    <a:pt x="122" y="92"/>
                  </a:cubicBezTo>
                  <a:cubicBezTo>
                    <a:pt x="122" y="90"/>
                    <a:pt x="122" y="87"/>
                    <a:pt x="122" y="85"/>
                  </a:cubicBezTo>
                  <a:cubicBezTo>
                    <a:pt x="122" y="83"/>
                    <a:pt x="122" y="82"/>
                    <a:pt x="122" y="80"/>
                  </a:cubicBezTo>
                  <a:cubicBezTo>
                    <a:pt x="122" y="79"/>
                    <a:pt x="121" y="78"/>
                    <a:pt x="122" y="77"/>
                  </a:cubicBezTo>
                  <a:cubicBezTo>
                    <a:pt x="123" y="76"/>
                    <a:pt x="124" y="76"/>
                    <a:pt x="125" y="75"/>
                  </a:cubicBezTo>
                  <a:cubicBezTo>
                    <a:pt x="126" y="74"/>
                    <a:pt x="128" y="72"/>
                    <a:pt x="128" y="71"/>
                  </a:cubicBezTo>
                  <a:cubicBezTo>
                    <a:pt x="129" y="70"/>
                    <a:pt x="129" y="67"/>
                    <a:pt x="129" y="66"/>
                  </a:cubicBezTo>
                  <a:cubicBezTo>
                    <a:pt x="129" y="63"/>
                    <a:pt x="129" y="63"/>
                    <a:pt x="130" y="62"/>
                  </a:cubicBezTo>
                  <a:cubicBezTo>
                    <a:pt x="130" y="61"/>
                    <a:pt x="130" y="60"/>
                    <a:pt x="131" y="59"/>
                  </a:cubicBezTo>
                  <a:cubicBezTo>
                    <a:pt x="132" y="58"/>
                    <a:pt x="133" y="58"/>
                    <a:pt x="134" y="57"/>
                  </a:cubicBezTo>
                  <a:cubicBezTo>
                    <a:pt x="135" y="56"/>
                    <a:pt x="135" y="55"/>
                    <a:pt x="136" y="55"/>
                  </a:cubicBezTo>
                  <a:cubicBezTo>
                    <a:pt x="136" y="54"/>
                    <a:pt x="138" y="54"/>
                    <a:pt x="138" y="53"/>
                  </a:cubicBezTo>
                  <a:cubicBezTo>
                    <a:pt x="139" y="52"/>
                    <a:pt x="139" y="51"/>
                    <a:pt x="139" y="50"/>
                  </a:cubicBezTo>
                  <a:cubicBezTo>
                    <a:pt x="139" y="48"/>
                    <a:pt x="138" y="47"/>
                    <a:pt x="138" y="45"/>
                  </a:cubicBezTo>
                  <a:cubicBezTo>
                    <a:pt x="138" y="43"/>
                    <a:pt x="138" y="42"/>
                    <a:pt x="138" y="40"/>
                  </a:cubicBezTo>
                  <a:cubicBezTo>
                    <a:pt x="138" y="38"/>
                    <a:pt x="138" y="35"/>
                    <a:pt x="138" y="33"/>
                  </a:cubicBezTo>
                  <a:cubicBezTo>
                    <a:pt x="138" y="32"/>
                    <a:pt x="137" y="30"/>
                    <a:pt x="137" y="29"/>
                  </a:cubicBezTo>
                  <a:cubicBezTo>
                    <a:pt x="137" y="28"/>
                    <a:pt x="136" y="28"/>
                    <a:pt x="136" y="28"/>
                  </a:cubicBezTo>
                  <a:cubicBezTo>
                    <a:pt x="136" y="27"/>
                    <a:pt x="136" y="26"/>
                    <a:pt x="136" y="26"/>
                  </a:cubicBezTo>
                  <a:cubicBezTo>
                    <a:pt x="136" y="24"/>
                    <a:pt x="134" y="22"/>
                    <a:pt x="133" y="21"/>
                  </a:cubicBezTo>
                  <a:cubicBezTo>
                    <a:pt x="131" y="20"/>
                    <a:pt x="131" y="19"/>
                    <a:pt x="130" y="16"/>
                  </a:cubicBezTo>
                  <a:cubicBezTo>
                    <a:pt x="130" y="15"/>
                    <a:pt x="130" y="13"/>
                    <a:pt x="130" y="11"/>
                  </a:cubicBezTo>
                  <a:cubicBezTo>
                    <a:pt x="131" y="9"/>
                    <a:pt x="133" y="8"/>
                    <a:pt x="134" y="6"/>
                  </a:cubicBezTo>
                  <a:cubicBezTo>
                    <a:pt x="136" y="5"/>
                    <a:pt x="141" y="3"/>
                    <a:pt x="142" y="0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139" y="2"/>
                    <a:pt x="138" y="2"/>
                    <a:pt x="137" y="2"/>
                  </a:cubicBezTo>
                  <a:cubicBezTo>
                    <a:pt x="135" y="3"/>
                    <a:pt x="135" y="3"/>
                    <a:pt x="134" y="5"/>
                  </a:cubicBezTo>
                  <a:cubicBezTo>
                    <a:pt x="133" y="5"/>
                    <a:pt x="131" y="6"/>
                    <a:pt x="130" y="7"/>
                  </a:cubicBezTo>
                  <a:cubicBezTo>
                    <a:pt x="128" y="7"/>
                    <a:pt x="127" y="9"/>
                    <a:pt x="125" y="10"/>
                  </a:cubicBezTo>
                  <a:cubicBezTo>
                    <a:pt x="123" y="10"/>
                    <a:pt x="122" y="11"/>
                    <a:pt x="120" y="11"/>
                  </a:cubicBezTo>
                  <a:cubicBezTo>
                    <a:pt x="116" y="12"/>
                    <a:pt x="112" y="16"/>
                    <a:pt x="108" y="16"/>
                  </a:cubicBezTo>
                  <a:cubicBezTo>
                    <a:pt x="105" y="16"/>
                    <a:pt x="102" y="16"/>
                    <a:pt x="99" y="16"/>
                  </a:cubicBezTo>
                  <a:cubicBezTo>
                    <a:pt x="99" y="17"/>
                    <a:pt x="99" y="18"/>
                    <a:pt x="98" y="20"/>
                  </a:cubicBezTo>
                  <a:cubicBezTo>
                    <a:pt x="98" y="22"/>
                    <a:pt x="96" y="23"/>
                    <a:pt x="95" y="25"/>
                  </a:cubicBezTo>
                  <a:cubicBezTo>
                    <a:pt x="93" y="28"/>
                    <a:pt x="91" y="30"/>
                    <a:pt x="90" y="33"/>
                  </a:cubicBezTo>
                  <a:cubicBezTo>
                    <a:pt x="90" y="35"/>
                    <a:pt x="89" y="37"/>
                    <a:pt x="89" y="39"/>
                  </a:cubicBezTo>
                  <a:cubicBezTo>
                    <a:pt x="89" y="42"/>
                    <a:pt x="89" y="44"/>
                    <a:pt x="87" y="45"/>
                  </a:cubicBezTo>
                  <a:cubicBezTo>
                    <a:pt x="85" y="47"/>
                    <a:pt x="84" y="48"/>
                    <a:pt x="83" y="49"/>
                  </a:cubicBezTo>
                  <a:cubicBezTo>
                    <a:pt x="81" y="50"/>
                    <a:pt x="80" y="51"/>
                    <a:pt x="79" y="52"/>
                  </a:cubicBezTo>
                  <a:cubicBezTo>
                    <a:pt x="77" y="54"/>
                    <a:pt x="76" y="54"/>
                    <a:pt x="73" y="55"/>
                  </a:cubicBezTo>
                  <a:cubicBezTo>
                    <a:pt x="70" y="55"/>
                    <a:pt x="68" y="56"/>
                    <a:pt x="66" y="58"/>
                  </a:cubicBezTo>
                  <a:cubicBezTo>
                    <a:pt x="65" y="58"/>
                    <a:pt x="65" y="58"/>
                    <a:pt x="64" y="58"/>
                  </a:cubicBezTo>
                  <a:cubicBezTo>
                    <a:pt x="61" y="58"/>
                    <a:pt x="58" y="58"/>
                    <a:pt x="55" y="58"/>
                  </a:cubicBezTo>
                  <a:cubicBezTo>
                    <a:pt x="52" y="58"/>
                    <a:pt x="50" y="59"/>
                    <a:pt x="47" y="60"/>
                  </a:cubicBezTo>
                  <a:cubicBezTo>
                    <a:pt x="46" y="60"/>
                    <a:pt x="44" y="60"/>
                    <a:pt x="43" y="61"/>
                  </a:cubicBezTo>
                  <a:cubicBezTo>
                    <a:pt x="42" y="61"/>
                    <a:pt x="41" y="62"/>
                    <a:pt x="41" y="63"/>
                  </a:cubicBezTo>
                  <a:cubicBezTo>
                    <a:pt x="39" y="65"/>
                    <a:pt x="36" y="66"/>
                    <a:pt x="33" y="66"/>
                  </a:cubicBezTo>
                  <a:cubicBezTo>
                    <a:pt x="32" y="66"/>
                    <a:pt x="31" y="66"/>
                    <a:pt x="30" y="66"/>
                  </a:cubicBezTo>
                  <a:cubicBezTo>
                    <a:pt x="27" y="68"/>
                    <a:pt x="24" y="72"/>
                    <a:pt x="24" y="72"/>
                  </a:cubicBezTo>
                  <a:cubicBezTo>
                    <a:pt x="24" y="73"/>
                    <a:pt x="20" y="77"/>
                    <a:pt x="20" y="78"/>
                  </a:cubicBezTo>
                  <a:cubicBezTo>
                    <a:pt x="18" y="80"/>
                    <a:pt x="17" y="80"/>
                    <a:pt x="14" y="85"/>
                  </a:cubicBezTo>
                  <a:cubicBezTo>
                    <a:pt x="12" y="86"/>
                    <a:pt x="12" y="88"/>
                    <a:pt x="12" y="90"/>
                  </a:cubicBezTo>
                  <a:cubicBezTo>
                    <a:pt x="12" y="93"/>
                    <a:pt x="12" y="96"/>
                    <a:pt x="14" y="98"/>
                  </a:cubicBezTo>
                  <a:cubicBezTo>
                    <a:pt x="15" y="99"/>
                    <a:pt x="16" y="100"/>
                    <a:pt x="17" y="101"/>
                  </a:cubicBezTo>
                  <a:cubicBezTo>
                    <a:pt x="18" y="101"/>
                    <a:pt x="19" y="105"/>
                    <a:pt x="19" y="105"/>
                  </a:cubicBezTo>
                  <a:cubicBezTo>
                    <a:pt x="21" y="107"/>
                    <a:pt x="24" y="107"/>
                    <a:pt x="25" y="109"/>
                  </a:cubicBezTo>
                  <a:cubicBezTo>
                    <a:pt x="26" y="110"/>
                    <a:pt x="26" y="114"/>
                    <a:pt x="28" y="115"/>
                  </a:cubicBezTo>
                  <a:cubicBezTo>
                    <a:pt x="31" y="116"/>
                    <a:pt x="31" y="113"/>
                    <a:pt x="31" y="112"/>
                  </a:cubicBezTo>
                  <a:cubicBezTo>
                    <a:pt x="31" y="111"/>
                    <a:pt x="31" y="110"/>
                    <a:pt x="31" y="109"/>
                  </a:cubicBezTo>
                  <a:cubicBezTo>
                    <a:pt x="31" y="108"/>
                    <a:pt x="32" y="108"/>
                    <a:pt x="32" y="107"/>
                  </a:cubicBezTo>
                  <a:cubicBezTo>
                    <a:pt x="32" y="106"/>
                    <a:pt x="32" y="105"/>
                    <a:pt x="31" y="104"/>
                  </a:cubicBezTo>
                  <a:cubicBezTo>
                    <a:pt x="31" y="103"/>
                    <a:pt x="29" y="103"/>
                    <a:pt x="29" y="103"/>
                  </a:cubicBezTo>
                  <a:cubicBezTo>
                    <a:pt x="28" y="100"/>
                    <a:pt x="29" y="98"/>
                    <a:pt x="31" y="98"/>
                  </a:cubicBezTo>
                  <a:cubicBezTo>
                    <a:pt x="33" y="98"/>
                    <a:pt x="33" y="98"/>
                    <a:pt x="34" y="99"/>
                  </a:cubicBezTo>
                  <a:cubicBezTo>
                    <a:pt x="34" y="100"/>
                    <a:pt x="34" y="100"/>
                    <a:pt x="34" y="101"/>
                  </a:cubicBezTo>
                  <a:cubicBezTo>
                    <a:pt x="34" y="102"/>
                    <a:pt x="35" y="103"/>
                    <a:pt x="36" y="103"/>
                  </a:cubicBezTo>
                  <a:cubicBezTo>
                    <a:pt x="36" y="104"/>
                    <a:pt x="37" y="106"/>
                    <a:pt x="39" y="106"/>
                  </a:cubicBezTo>
                  <a:cubicBezTo>
                    <a:pt x="40" y="106"/>
                    <a:pt x="41" y="105"/>
                    <a:pt x="43" y="106"/>
                  </a:cubicBezTo>
                  <a:cubicBezTo>
                    <a:pt x="42" y="107"/>
                    <a:pt x="40" y="108"/>
                    <a:pt x="39" y="109"/>
                  </a:cubicBezTo>
                  <a:cubicBezTo>
                    <a:pt x="38" y="110"/>
                    <a:pt x="38" y="111"/>
                    <a:pt x="38" y="113"/>
                  </a:cubicBezTo>
                  <a:cubicBezTo>
                    <a:pt x="39" y="114"/>
                    <a:pt x="39" y="115"/>
                    <a:pt x="40" y="116"/>
                  </a:cubicBezTo>
                  <a:cubicBezTo>
                    <a:pt x="41" y="117"/>
                    <a:pt x="42" y="116"/>
                    <a:pt x="43" y="116"/>
                  </a:cubicBezTo>
                  <a:cubicBezTo>
                    <a:pt x="46" y="117"/>
                    <a:pt x="41" y="125"/>
                    <a:pt x="38" y="124"/>
                  </a:cubicBezTo>
                  <a:cubicBezTo>
                    <a:pt x="37" y="124"/>
                    <a:pt x="36" y="124"/>
                    <a:pt x="35" y="123"/>
                  </a:cubicBezTo>
                  <a:cubicBezTo>
                    <a:pt x="34" y="123"/>
                    <a:pt x="32" y="124"/>
                    <a:pt x="31" y="123"/>
                  </a:cubicBezTo>
                  <a:cubicBezTo>
                    <a:pt x="30" y="123"/>
                    <a:pt x="31" y="123"/>
                    <a:pt x="30" y="122"/>
                  </a:cubicBezTo>
                  <a:cubicBezTo>
                    <a:pt x="30" y="122"/>
                    <a:pt x="30" y="121"/>
                    <a:pt x="30" y="121"/>
                  </a:cubicBezTo>
                  <a:cubicBezTo>
                    <a:pt x="29" y="121"/>
                    <a:pt x="27" y="121"/>
                    <a:pt x="27" y="121"/>
                  </a:cubicBezTo>
                  <a:cubicBezTo>
                    <a:pt x="25" y="121"/>
                    <a:pt x="22" y="120"/>
                    <a:pt x="21" y="118"/>
                  </a:cubicBezTo>
                  <a:cubicBezTo>
                    <a:pt x="19" y="117"/>
                    <a:pt x="20" y="116"/>
                    <a:pt x="18" y="116"/>
                  </a:cubicBezTo>
                  <a:cubicBezTo>
                    <a:pt x="16" y="116"/>
                    <a:pt x="14" y="118"/>
                    <a:pt x="11" y="117"/>
                  </a:cubicBezTo>
                  <a:cubicBezTo>
                    <a:pt x="9" y="117"/>
                    <a:pt x="12" y="116"/>
                    <a:pt x="12" y="114"/>
                  </a:cubicBezTo>
                  <a:cubicBezTo>
                    <a:pt x="11" y="113"/>
                    <a:pt x="8" y="111"/>
                    <a:pt x="7" y="112"/>
                  </a:cubicBezTo>
                  <a:cubicBezTo>
                    <a:pt x="6" y="112"/>
                    <a:pt x="5" y="116"/>
                    <a:pt x="5" y="118"/>
                  </a:cubicBezTo>
                  <a:cubicBezTo>
                    <a:pt x="5" y="118"/>
                    <a:pt x="5" y="119"/>
                    <a:pt x="5" y="120"/>
                  </a:cubicBezTo>
                  <a:cubicBezTo>
                    <a:pt x="5" y="121"/>
                    <a:pt x="4" y="121"/>
                    <a:pt x="4" y="122"/>
                  </a:cubicBezTo>
                  <a:cubicBezTo>
                    <a:pt x="4" y="123"/>
                    <a:pt x="4" y="125"/>
                    <a:pt x="4" y="126"/>
                  </a:cubicBezTo>
                  <a:cubicBezTo>
                    <a:pt x="4" y="128"/>
                    <a:pt x="4" y="129"/>
                    <a:pt x="4" y="131"/>
                  </a:cubicBezTo>
                  <a:cubicBezTo>
                    <a:pt x="4" y="135"/>
                    <a:pt x="4" y="139"/>
                    <a:pt x="5" y="143"/>
                  </a:cubicBezTo>
                  <a:cubicBezTo>
                    <a:pt x="6" y="146"/>
                    <a:pt x="5" y="150"/>
                    <a:pt x="5" y="153"/>
                  </a:cubicBezTo>
                  <a:cubicBezTo>
                    <a:pt x="6" y="155"/>
                    <a:pt x="6" y="158"/>
                    <a:pt x="6" y="160"/>
                  </a:cubicBezTo>
                  <a:cubicBezTo>
                    <a:pt x="6" y="164"/>
                    <a:pt x="6" y="167"/>
                    <a:pt x="6" y="171"/>
                  </a:cubicBezTo>
                  <a:cubicBezTo>
                    <a:pt x="7" y="170"/>
                    <a:pt x="8" y="170"/>
                    <a:pt x="9" y="170"/>
                  </a:cubicBezTo>
                  <a:cubicBezTo>
                    <a:pt x="10" y="169"/>
                    <a:pt x="10" y="169"/>
                    <a:pt x="9" y="167"/>
                  </a:cubicBezTo>
                  <a:cubicBezTo>
                    <a:pt x="9" y="165"/>
                    <a:pt x="9" y="163"/>
                    <a:pt x="11" y="163"/>
                  </a:cubicBezTo>
                  <a:cubicBezTo>
                    <a:pt x="13" y="162"/>
                    <a:pt x="15" y="164"/>
                    <a:pt x="14" y="165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5" y="169"/>
                    <a:pt x="13" y="169"/>
                    <a:pt x="13" y="171"/>
                  </a:cubicBezTo>
                  <a:cubicBezTo>
                    <a:pt x="13" y="173"/>
                    <a:pt x="13" y="174"/>
                    <a:pt x="14" y="175"/>
                  </a:cubicBezTo>
                  <a:cubicBezTo>
                    <a:pt x="17" y="177"/>
                    <a:pt x="23" y="180"/>
                    <a:pt x="19" y="183"/>
                  </a:cubicBezTo>
                  <a:cubicBezTo>
                    <a:pt x="17" y="184"/>
                    <a:pt x="14" y="186"/>
                    <a:pt x="13" y="184"/>
                  </a:cubicBezTo>
                  <a:cubicBezTo>
                    <a:pt x="13" y="183"/>
                    <a:pt x="13" y="181"/>
                    <a:pt x="13" y="180"/>
                  </a:cubicBezTo>
                  <a:cubicBezTo>
                    <a:pt x="13" y="179"/>
                    <a:pt x="13" y="177"/>
                    <a:pt x="12" y="177"/>
                  </a:cubicBezTo>
                  <a:cubicBezTo>
                    <a:pt x="11" y="176"/>
                    <a:pt x="7" y="178"/>
                    <a:pt x="7" y="178"/>
                  </a:cubicBezTo>
                  <a:cubicBezTo>
                    <a:pt x="7" y="178"/>
                    <a:pt x="6" y="178"/>
                    <a:pt x="6" y="178"/>
                  </a:cubicBezTo>
                  <a:cubicBezTo>
                    <a:pt x="7" y="181"/>
                    <a:pt x="7" y="185"/>
                    <a:pt x="8" y="188"/>
                  </a:cubicBezTo>
                  <a:cubicBezTo>
                    <a:pt x="8" y="190"/>
                    <a:pt x="8" y="192"/>
                    <a:pt x="8" y="195"/>
                  </a:cubicBezTo>
                  <a:cubicBezTo>
                    <a:pt x="8" y="196"/>
                    <a:pt x="8" y="198"/>
                    <a:pt x="8" y="199"/>
                  </a:cubicBezTo>
                  <a:cubicBezTo>
                    <a:pt x="8" y="202"/>
                    <a:pt x="7" y="205"/>
                    <a:pt x="5" y="207"/>
                  </a:cubicBezTo>
                  <a:cubicBezTo>
                    <a:pt x="5" y="208"/>
                    <a:pt x="4" y="209"/>
                    <a:pt x="3" y="209"/>
                  </a:cubicBezTo>
                  <a:cubicBezTo>
                    <a:pt x="2" y="211"/>
                    <a:pt x="2" y="212"/>
                    <a:pt x="0" y="213"/>
                  </a:cubicBezTo>
                  <a:cubicBezTo>
                    <a:pt x="1" y="214"/>
                    <a:pt x="2" y="214"/>
                    <a:pt x="3" y="215"/>
                  </a:cubicBezTo>
                  <a:cubicBezTo>
                    <a:pt x="5" y="216"/>
                    <a:pt x="6" y="218"/>
                    <a:pt x="8" y="220"/>
                  </a:cubicBezTo>
                  <a:cubicBezTo>
                    <a:pt x="9" y="222"/>
                    <a:pt x="11" y="223"/>
                    <a:pt x="12" y="224"/>
                  </a:cubicBezTo>
                  <a:cubicBezTo>
                    <a:pt x="12" y="225"/>
                    <a:pt x="12" y="226"/>
                    <a:pt x="13" y="227"/>
                  </a:cubicBezTo>
                  <a:cubicBezTo>
                    <a:pt x="15" y="230"/>
                    <a:pt x="17" y="231"/>
                    <a:pt x="20" y="233"/>
                  </a:cubicBezTo>
                  <a:cubicBezTo>
                    <a:pt x="21" y="234"/>
                    <a:pt x="22" y="235"/>
                    <a:pt x="23" y="235"/>
                  </a:cubicBezTo>
                  <a:cubicBezTo>
                    <a:pt x="26" y="234"/>
                    <a:pt x="26" y="231"/>
                    <a:pt x="26" y="229"/>
                  </a:cubicBezTo>
                  <a:cubicBezTo>
                    <a:pt x="25" y="228"/>
                    <a:pt x="25" y="228"/>
                    <a:pt x="24" y="227"/>
                  </a:cubicBezTo>
                  <a:cubicBezTo>
                    <a:pt x="24" y="226"/>
                    <a:pt x="24" y="226"/>
                    <a:pt x="24" y="226"/>
                  </a:cubicBezTo>
                  <a:cubicBezTo>
                    <a:pt x="23" y="225"/>
                    <a:pt x="23" y="224"/>
                    <a:pt x="22" y="223"/>
                  </a:cubicBezTo>
                  <a:cubicBezTo>
                    <a:pt x="21" y="222"/>
                    <a:pt x="19" y="221"/>
                    <a:pt x="18" y="220"/>
                  </a:cubicBezTo>
                  <a:cubicBezTo>
                    <a:pt x="17" y="218"/>
                    <a:pt x="14" y="218"/>
                    <a:pt x="16" y="215"/>
                  </a:cubicBezTo>
                  <a:cubicBezTo>
                    <a:pt x="17" y="212"/>
                    <a:pt x="19" y="214"/>
                    <a:pt x="21" y="215"/>
                  </a:cubicBezTo>
                  <a:cubicBezTo>
                    <a:pt x="22" y="216"/>
                    <a:pt x="23" y="220"/>
                    <a:pt x="24" y="220"/>
                  </a:cubicBezTo>
                  <a:cubicBezTo>
                    <a:pt x="24" y="221"/>
                    <a:pt x="26" y="221"/>
                    <a:pt x="26" y="222"/>
                  </a:cubicBezTo>
                  <a:cubicBezTo>
                    <a:pt x="27" y="223"/>
                    <a:pt x="27" y="223"/>
                    <a:pt x="28" y="224"/>
                  </a:cubicBezTo>
                  <a:cubicBezTo>
                    <a:pt x="29" y="225"/>
                    <a:pt x="31" y="226"/>
                    <a:pt x="32" y="227"/>
                  </a:cubicBezTo>
                  <a:cubicBezTo>
                    <a:pt x="32" y="227"/>
                    <a:pt x="34" y="228"/>
                    <a:pt x="34" y="228"/>
                  </a:cubicBezTo>
                  <a:cubicBezTo>
                    <a:pt x="34" y="228"/>
                    <a:pt x="34" y="228"/>
                    <a:pt x="34" y="229"/>
                  </a:cubicBezTo>
                  <a:cubicBezTo>
                    <a:pt x="35" y="231"/>
                    <a:pt x="36" y="232"/>
                    <a:pt x="35" y="234"/>
                  </a:cubicBezTo>
                  <a:cubicBezTo>
                    <a:pt x="35" y="236"/>
                    <a:pt x="34" y="235"/>
                    <a:pt x="34" y="237"/>
                  </a:cubicBezTo>
                  <a:cubicBezTo>
                    <a:pt x="33" y="238"/>
                    <a:pt x="34" y="239"/>
                    <a:pt x="34" y="240"/>
                  </a:cubicBezTo>
                  <a:cubicBezTo>
                    <a:pt x="34" y="241"/>
                    <a:pt x="33" y="244"/>
                    <a:pt x="34" y="245"/>
                  </a:cubicBezTo>
                  <a:cubicBezTo>
                    <a:pt x="34" y="246"/>
                    <a:pt x="35" y="246"/>
                    <a:pt x="35" y="247"/>
                  </a:cubicBezTo>
                  <a:cubicBezTo>
                    <a:pt x="37" y="250"/>
                    <a:pt x="35" y="252"/>
                    <a:pt x="34" y="254"/>
                  </a:cubicBezTo>
                  <a:cubicBezTo>
                    <a:pt x="34" y="255"/>
                    <a:pt x="34" y="255"/>
                    <a:pt x="33" y="256"/>
                  </a:cubicBezTo>
                  <a:cubicBezTo>
                    <a:pt x="33" y="257"/>
                    <a:pt x="32" y="257"/>
                    <a:pt x="32" y="258"/>
                  </a:cubicBezTo>
                  <a:cubicBezTo>
                    <a:pt x="32" y="259"/>
                    <a:pt x="32" y="260"/>
                    <a:pt x="32" y="261"/>
                  </a:cubicBezTo>
                  <a:cubicBezTo>
                    <a:pt x="32" y="263"/>
                    <a:pt x="32" y="266"/>
                    <a:pt x="32" y="268"/>
                  </a:cubicBezTo>
                  <a:cubicBezTo>
                    <a:pt x="32" y="269"/>
                    <a:pt x="32" y="270"/>
                    <a:pt x="32" y="272"/>
                  </a:cubicBezTo>
                  <a:cubicBezTo>
                    <a:pt x="32" y="271"/>
                    <a:pt x="32" y="271"/>
                    <a:pt x="32" y="271"/>
                  </a:cubicBezTo>
                  <a:cubicBezTo>
                    <a:pt x="35" y="271"/>
                    <a:pt x="37" y="272"/>
                    <a:pt x="40" y="272"/>
                  </a:cubicBezTo>
                  <a:cubicBezTo>
                    <a:pt x="41" y="272"/>
                    <a:pt x="43" y="272"/>
                    <a:pt x="45" y="272"/>
                  </a:cubicBezTo>
                  <a:cubicBezTo>
                    <a:pt x="46" y="272"/>
                    <a:pt x="48" y="272"/>
                    <a:pt x="49" y="272"/>
                  </a:cubicBezTo>
                  <a:cubicBezTo>
                    <a:pt x="50" y="273"/>
                    <a:pt x="51" y="274"/>
                    <a:pt x="52" y="274"/>
                  </a:cubicBezTo>
                  <a:cubicBezTo>
                    <a:pt x="53" y="274"/>
                    <a:pt x="55" y="274"/>
                    <a:pt x="56" y="274"/>
                  </a:cubicBezTo>
                  <a:cubicBezTo>
                    <a:pt x="56" y="274"/>
                    <a:pt x="57" y="274"/>
                    <a:pt x="58" y="274"/>
                  </a:cubicBezTo>
                  <a:cubicBezTo>
                    <a:pt x="58" y="273"/>
                    <a:pt x="58" y="273"/>
                    <a:pt x="59" y="272"/>
                  </a:cubicBezTo>
                  <a:cubicBezTo>
                    <a:pt x="59" y="272"/>
                    <a:pt x="61" y="272"/>
                    <a:pt x="62" y="272"/>
                  </a:cubicBezTo>
                  <a:cubicBezTo>
                    <a:pt x="62" y="273"/>
                    <a:pt x="62" y="274"/>
                    <a:pt x="63" y="274"/>
                  </a:cubicBezTo>
                  <a:cubicBezTo>
                    <a:pt x="62" y="275"/>
                    <a:pt x="63" y="275"/>
                    <a:pt x="63" y="275"/>
                  </a:cubicBezTo>
                  <a:cubicBezTo>
                    <a:pt x="63" y="276"/>
                    <a:pt x="63" y="276"/>
                    <a:pt x="63" y="276"/>
                  </a:cubicBezTo>
                  <a:cubicBezTo>
                    <a:pt x="64" y="277"/>
                    <a:pt x="64" y="278"/>
                    <a:pt x="64" y="280"/>
                  </a:cubicBezTo>
                  <a:cubicBezTo>
                    <a:pt x="64" y="282"/>
                    <a:pt x="65" y="282"/>
                    <a:pt x="67" y="282"/>
                  </a:cubicBezTo>
                  <a:cubicBezTo>
                    <a:pt x="68" y="282"/>
                    <a:pt x="69" y="282"/>
                    <a:pt x="70" y="282"/>
                  </a:cubicBezTo>
                  <a:cubicBezTo>
                    <a:pt x="71" y="281"/>
                    <a:pt x="71" y="280"/>
                    <a:pt x="72" y="279"/>
                  </a:cubicBezTo>
                  <a:cubicBezTo>
                    <a:pt x="74" y="279"/>
                    <a:pt x="74" y="279"/>
                    <a:pt x="75" y="278"/>
                  </a:cubicBezTo>
                  <a:cubicBezTo>
                    <a:pt x="76" y="277"/>
                    <a:pt x="76" y="276"/>
                    <a:pt x="77" y="276"/>
                  </a:cubicBezTo>
                  <a:cubicBezTo>
                    <a:pt x="78" y="275"/>
                    <a:pt x="79" y="276"/>
                    <a:pt x="79" y="276"/>
                  </a:cubicBezTo>
                  <a:cubicBezTo>
                    <a:pt x="80" y="276"/>
                    <a:pt x="81" y="276"/>
                    <a:pt x="81" y="276"/>
                  </a:cubicBezTo>
                  <a:cubicBezTo>
                    <a:pt x="82" y="276"/>
                    <a:pt x="82" y="276"/>
                    <a:pt x="83" y="276"/>
                  </a:cubicBezTo>
                  <a:cubicBezTo>
                    <a:pt x="84" y="276"/>
                    <a:pt x="85" y="277"/>
                    <a:pt x="86" y="277"/>
                  </a:cubicBezTo>
                  <a:cubicBezTo>
                    <a:pt x="87" y="279"/>
                    <a:pt x="87" y="280"/>
                    <a:pt x="89" y="280"/>
                  </a:cubicBezTo>
                  <a:cubicBezTo>
                    <a:pt x="91" y="280"/>
                    <a:pt x="92" y="280"/>
                    <a:pt x="94" y="281"/>
                  </a:cubicBezTo>
                  <a:cubicBezTo>
                    <a:pt x="95" y="282"/>
                    <a:pt x="95" y="282"/>
                    <a:pt x="96" y="283"/>
                  </a:cubicBezTo>
                  <a:cubicBezTo>
                    <a:pt x="97" y="283"/>
                    <a:pt x="98" y="284"/>
                    <a:pt x="99" y="284"/>
                  </a:cubicBezTo>
                  <a:cubicBezTo>
                    <a:pt x="100" y="284"/>
                    <a:pt x="100" y="283"/>
                    <a:pt x="101" y="282"/>
                  </a:cubicBezTo>
                  <a:cubicBezTo>
                    <a:pt x="102" y="282"/>
                    <a:pt x="104" y="280"/>
                    <a:pt x="105" y="281"/>
                  </a:cubicBezTo>
                  <a:cubicBezTo>
                    <a:pt x="106" y="281"/>
                    <a:pt x="106" y="282"/>
                    <a:pt x="106" y="282"/>
                  </a:cubicBezTo>
                  <a:cubicBezTo>
                    <a:pt x="107" y="282"/>
                    <a:pt x="107" y="281"/>
                    <a:pt x="108" y="280"/>
                  </a:cubicBezTo>
                  <a:cubicBezTo>
                    <a:pt x="109" y="279"/>
                    <a:pt x="111" y="277"/>
                    <a:pt x="112" y="275"/>
                  </a:cubicBezTo>
                  <a:cubicBezTo>
                    <a:pt x="113" y="272"/>
                    <a:pt x="114" y="267"/>
                    <a:pt x="111" y="264"/>
                  </a:cubicBezTo>
                  <a:cubicBezTo>
                    <a:pt x="108" y="262"/>
                    <a:pt x="105" y="264"/>
                    <a:pt x="103" y="261"/>
                  </a:cubicBezTo>
                  <a:cubicBezTo>
                    <a:pt x="103" y="260"/>
                    <a:pt x="103" y="259"/>
                    <a:pt x="102" y="259"/>
                  </a:cubicBezTo>
                  <a:cubicBezTo>
                    <a:pt x="102" y="258"/>
                    <a:pt x="101" y="258"/>
                    <a:pt x="100" y="258"/>
                  </a:cubicBezTo>
                  <a:cubicBezTo>
                    <a:pt x="99" y="257"/>
                    <a:pt x="99" y="257"/>
                    <a:pt x="98" y="256"/>
                  </a:cubicBezTo>
                  <a:cubicBezTo>
                    <a:pt x="96" y="255"/>
                    <a:pt x="91" y="254"/>
                    <a:pt x="89" y="256"/>
                  </a:cubicBezTo>
                  <a:cubicBezTo>
                    <a:pt x="86" y="258"/>
                    <a:pt x="95" y="263"/>
                    <a:pt x="94" y="267"/>
                  </a:cubicBezTo>
                  <a:cubicBezTo>
                    <a:pt x="92" y="267"/>
                    <a:pt x="93" y="266"/>
                    <a:pt x="92" y="266"/>
                  </a:cubicBezTo>
                  <a:cubicBezTo>
                    <a:pt x="91" y="265"/>
                    <a:pt x="89" y="265"/>
                    <a:pt x="88" y="264"/>
                  </a:cubicBezTo>
                  <a:cubicBezTo>
                    <a:pt x="87" y="263"/>
                    <a:pt x="86" y="262"/>
                    <a:pt x="84" y="261"/>
                  </a:cubicBezTo>
                  <a:cubicBezTo>
                    <a:pt x="82" y="260"/>
                    <a:pt x="81" y="261"/>
                    <a:pt x="81" y="258"/>
                  </a:cubicBezTo>
                  <a:cubicBezTo>
                    <a:pt x="81" y="256"/>
                    <a:pt x="81" y="254"/>
                    <a:pt x="82" y="253"/>
                  </a:cubicBezTo>
                  <a:cubicBezTo>
                    <a:pt x="83" y="252"/>
                    <a:pt x="84" y="251"/>
                    <a:pt x="84" y="250"/>
                  </a:cubicBezTo>
                  <a:cubicBezTo>
                    <a:pt x="85" y="250"/>
                    <a:pt x="88" y="250"/>
                    <a:pt x="89" y="250"/>
                  </a:cubicBezTo>
                  <a:cubicBezTo>
                    <a:pt x="92" y="249"/>
                    <a:pt x="89" y="248"/>
                    <a:pt x="90" y="246"/>
                  </a:cubicBezTo>
                  <a:cubicBezTo>
                    <a:pt x="91" y="244"/>
                    <a:pt x="94" y="244"/>
                    <a:pt x="92" y="242"/>
                  </a:cubicBezTo>
                  <a:cubicBezTo>
                    <a:pt x="92" y="241"/>
                    <a:pt x="91" y="242"/>
                    <a:pt x="90" y="241"/>
                  </a:cubicBezTo>
                  <a:cubicBezTo>
                    <a:pt x="90" y="240"/>
                    <a:pt x="90" y="239"/>
                    <a:pt x="90" y="239"/>
                  </a:cubicBezTo>
                  <a:cubicBezTo>
                    <a:pt x="91" y="233"/>
                    <a:pt x="99" y="237"/>
                    <a:pt x="101" y="239"/>
                  </a:cubicBezTo>
                  <a:cubicBezTo>
                    <a:pt x="102" y="239"/>
                    <a:pt x="103" y="240"/>
                    <a:pt x="103" y="241"/>
                  </a:cubicBezTo>
                  <a:cubicBezTo>
                    <a:pt x="104" y="242"/>
                    <a:pt x="104" y="243"/>
                    <a:pt x="104" y="244"/>
                  </a:cubicBezTo>
                  <a:cubicBezTo>
                    <a:pt x="104" y="245"/>
                    <a:pt x="104" y="244"/>
                    <a:pt x="105" y="245"/>
                  </a:cubicBezTo>
                  <a:cubicBezTo>
                    <a:pt x="107" y="247"/>
                    <a:pt x="109" y="248"/>
                    <a:pt x="111" y="250"/>
                  </a:cubicBezTo>
                  <a:cubicBezTo>
                    <a:pt x="112" y="252"/>
                    <a:pt x="111" y="253"/>
                    <a:pt x="111" y="255"/>
                  </a:cubicBezTo>
                  <a:cubicBezTo>
                    <a:pt x="111" y="257"/>
                    <a:pt x="112" y="257"/>
                    <a:pt x="114" y="257"/>
                  </a:cubicBezTo>
                  <a:cubicBezTo>
                    <a:pt x="115" y="257"/>
                    <a:pt x="117" y="256"/>
                    <a:pt x="117" y="255"/>
                  </a:cubicBezTo>
                  <a:cubicBezTo>
                    <a:pt x="118" y="255"/>
                    <a:pt x="120" y="255"/>
                    <a:pt x="120" y="257"/>
                  </a:cubicBezTo>
                  <a:cubicBezTo>
                    <a:pt x="121" y="258"/>
                    <a:pt x="120" y="259"/>
                    <a:pt x="121" y="259"/>
                  </a:cubicBezTo>
                  <a:cubicBezTo>
                    <a:pt x="122" y="260"/>
                    <a:pt x="125" y="260"/>
                    <a:pt x="126" y="261"/>
                  </a:cubicBezTo>
                  <a:cubicBezTo>
                    <a:pt x="127" y="261"/>
                    <a:pt x="129" y="262"/>
                    <a:pt x="130" y="263"/>
                  </a:cubicBezTo>
                  <a:cubicBezTo>
                    <a:pt x="131" y="263"/>
                    <a:pt x="132" y="264"/>
                    <a:pt x="133" y="264"/>
                  </a:cubicBezTo>
                  <a:cubicBezTo>
                    <a:pt x="136" y="266"/>
                    <a:pt x="137" y="268"/>
                    <a:pt x="137" y="272"/>
                  </a:cubicBezTo>
                  <a:cubicBezTo>
                    <a:pt x="137" y="273"/>
                    <a:pt x="137" y="274"/>
                    <a:pt x="138" y="275"/>
                  </a:cubicBezTo>
                  <a:cubicBezTo>
                    <a:pt x="139" y="276"/>
                    <a:pt x="140" y="277"/>
                    <a:pt x="141" y="278"/>
                  </a:cubicBezTo>
                  <a:cubicBezTo>
                    <a:pt x="142" y="279"/>
                    <a:pt x="142" y="278"/>
                    <a:pt x="143" y="280"/>
                  </a:cubicBezTo>
                  <a:cubicBezTo>
                    <a:pt x="143" y="281"/>
                    <a:pt x="143" y="283"/>
                    <a:pt x="143" y="284"/>
                  </a:cubicBezTo>
                  <a:cubicBezTo>
                    <a:pt x="143" y="286"/>
                    <a:pt x="143" y="297"/>
                    <a:pt x="146" y="296"/>
                  </a:cubicBezTo>
                  <a:cubicBezTo>
                    <a:pt x="147" y="296"/>
                    <a:pt x="147" y="294"/>
                    <a:pt x="148" y="293"/>
                  </a:cubicBezTo>
                  <a:cubicBezTo>
                    <a:pt x="148" y="292"/>
                    <a:pt x="149" y="290"/>
                    <a:pt x="149" y="288"/>
                  </a:cubicBezTo>
                  <a:cubicBezTo>
                    <a:pt x="150" y="286"/>
                    <a:pt x="150" y="284"/>
                    <a:pt x="151" y="282"/>
                  </a:cubicBezTo>
                  <a:cubicBezTo>
                    <a:pt x="152" y="281"/>
                    <a:pt x="152" y="280"/>
                    <a:pt x="152" y="279"/>
                  </a:cubicBezTo>
                  <a:cubicBezTo>
                    <a:pt x="153" y="279"/>
                    <a:pt x="154" y="278"/>
                    <a:pt x="154" y="278"/>
                  </a:cubicBezTo>
                  <a:cubicBezTo>
                    <a:pt x="154" y="277"/>
                    <a:pt x="154" y="276"/>
                    <a:pt x="154" y="275"/>
                  </a:cubicBezTo>
                  <a:cubicBezTo>
                    <a:pt x="154" y="274"/>
                    <a:pt x="155" y="275"/>
                    <a:pt x="155" y="274"/>
                  </a:cubicBezTo>
                  <a:cubicBezTo>
                    <a:pt x="155" y="273"/>
                    <a:pt x="155" y="272"/>
                    <a:pt x="155" y="271"/>
                  </a:cubicBezTo>
                  <a:cubicBezTo>
                    <a:pt x="155" y="268"/>
                    <a:pt x="156" y="265"/>
                    <a:pt x="157" y="261"/>
                  </a:cubicBezTo>
                  <a:cubicBezTo>
                    <a:pt x="157" y="259"/>
                    <a:pt x="159" y="257"/>
                    <a:pt x="160" y="25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6" name="Freeform 107">
              <a:extLst>
                <a:ext uri="{FF2B5EF4-FFF2-40B4-BE49-F238E27FC236}">
                  <a16:creationId xmlns:a16="http://schemas.microsoft.com/office/drawing/2014/main" id="{EE653D18-1CC1-4BCB-A813-397C9FAE2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3495675"/>
              <a:ext cx="180975" cy="300038"/>
            </a:xfrm>
            <a:custGeom>
              <a:avLst/>
              <a:gdLst/>
              <a:ahLst/>
              <a:cxnLst>
                <a:cxn ang="0">
                  <a:pos x="44" y="49"/>
                </a:cxn>
                <a:cxn ang="0">
                  <a:pos x="52" y="51"/>
                </a:cxn>
                <a:cxn ang="0">
                  <a:pos x="63" y="54"/>
                </a:cxn>
                <a:cxn ang="0">
                  <a:pos x="57" y="52"/>
                </a:cxn>
                <a:cxn ang="0">
                  <a:pos x="53" y="43"/>
                </a:cxn>
                <a:cxn ang="0">
                  <a:pos x="54" y="32"/>
                </a:cxn>
                <a:cxn ang="0">
                  <a:pos x="60" y="34"/>
                </a:cxn>
                <a:cxn ang="0">
                  <a:pos x="51" y="33"/>
                </a:cxn>
                <a:cxn ang="0">
                  <a:pos x="59" y="19"/>
                </a:cxn>
                <a:cxn ang="0">
                  <a:pos x="68" y="14"/>
                </a:cxn>
                <a:cxn ang="0">
                  <a:pos x="73" y="3"/>
                </a:cxn>
                <a:cxn ang="0">
                  <a:pos x="80" y="11"/>
                </a:cxn>
                <a:cxn ang="0">
                  <a:pos x="89" y="19"/>
                </a:cxn>
                <a:cxn ang="0">
                  <a:pos x="86" y="29"/>
                </a:cxn>
                <a:cxn ang="0">
                  <a:pos x="93" y="34"/>
                </a:cxn>
                <a:cxn ang="0">
                  <a:pos x="96" y="43"/>
                </a:cxn>
                <a:cxn ang="0">
                  <a:pos x="93" y="48"/>
                </a:cxn>
                <a:cxn ang="0">
                  <a:pos x="95" y="59"/>
                </a:cxn>
                <a:cxn ang="0">
                  <a:pos x="94" y="65"/>
                </a:cxn>
                <a:cxn ang="0">
                  <a:pos x="78" y="67"/>
                </a:cxn>
                <a:cxn ang="0">
                  <a:pos x="75" y="79"/>
                </a:cxn>
                <a:cxn ang="0">
                  <a:pos x="82" y="91"/>
                </a:cxn>
                <a:cxn ang="0">
                  <a:pos x="71" y="99"/>
                </a:cxn>
                <a:cxn ang="0">
                  <a:pos x="60" y="108"/>
                </a:cxn>
                <a:cxn ang="0">
                  <a:pos x="66" y="125"/>
                </a:cxn>
                <a:cxn ang="0">
                  <a:pos x="75" y="117"/>
                </a:cxn>
                <a:cxn ang="0">
                  <a:pos x="81" y="124"/>
                </a:cxn>
                <a:cxn ang="0">
                  <a:pos x="72" y="130"/>
                </a:cxn>
                <a:cxn ang="0">
                  <a:pos x="67" y="131"/>
                </a:cxn>
                <a:cxn ang="0">
                  <a:pos x="62" y="141"/>
                </a:cxn>
                <a:cxn ang="0">
                  <a:pos x="50" y="153"/>
                </a:cxn>
                <a:cxn ang="0">
                  <a:pos x="50" y="158"/>
                </a:cxn>
                <a:cxn ang="0">
                  <a:pos x="42" y="154"/>
                </a:cxn>
                <a:cxn ang="0">
                  <a:pos x="34" y="155"/>
                </a:cxn>
                <a:cxn ang="0">
                  <a:pos x="25" y="151"/>
                </a:cxn>
                <a:cxn ang="0">
                  <a:pos x="7" y="139"/>
                </a:cxn>
                <a:cxn ang="0">
                  <a:pos x="10" y="135"/>
                </a:cxn>
                <a:cxn ang="0">
                  <a:pos x="9" y="129"/>
                </a:cxn>
                <a:cxn ang="0">
                  <a:pos x="16" y="126"/>
                </a:cxn>
                <a:cxn ang="0">
                  <a:pos x="23" y="128"/>
                </a:cxn>
                <a:cxn ang="0">
                  <a:pos x="33" y="133"/>
                </a:cxn>
                <a:cxn ang="0">
                  <a:pos x="42" y="132"/>
                </a:cxn>
                <a:cxn ang="0">
                  <a:pos x="49" y="127"/>
                </a:cxn>
                <a:cxn ang="0">
                  <a:pos x="56" y="124"/>
                </a:cxn>
                <a:cxn ang="0">
                  <a:pos x="51" y="119"/>
                </a:cxn>
                <a:cxn ang="0">
                  <a:pos x="41" y="104"/>
                </a:cxn>
                <a:cxn ang="0">
                  <a:pos x="29" y="102"/>
                </a:cxn>
                <a:cxn ang="0">
                  <a:pos x="18" y="98"/>
                </a:cxn>
                <a:cxn ang="0">
                  <a:pos x="13" y="84"/>
                </a:cxn>
                <a:cxn ang="0">
                  <a:pos x="10" y="68"/>
                </a:cxn>
                <a:cxn ang="0">
                  <a:pos x="3" y="56"/>
                </a:cxn>
                <a:cxn ang="0">
                  <a:pos x="4" y="50"/>
                </a:cxn>
                <a:cxn ang="0">
                  <a:pos x="18" y="50"/>
                </a:cxn>
                <a:cxn ang="0">
                  <a:pos x="34" y="37"/>
                </a:cxn>
                <a:cxn ang="0">
                  <a:pos x="21" y="30"/>
                </a:cxn>
                <a:cxn ang="0">
                  <a:pos x="34" y="31"/>
                </a:cxn>
                <a:cxn ang="0">
                  <a:pos x="49" y="35"/>
                </a:cxn>
                <a:cxn ang="0">
                  <a:pos x="45" y="42"/>
                </a:cxn>
              </a:cxnLst>
              <a:rect l="0" t="0" r="r" b="b"/>
              <a:pathLst>
                <a:path w="97" h="161">
                  <a:moveTo>
                    <a:pt x="45" y="42"/>
                  </a:moveTo>
                  <a:cubicBezTo>
                    <a:pt x="45" y="43"/>
                    <a:pt x="41" y="46"/>
                    <a:pt x="42" y="48"/>
                  </a:cubicBezTo>
                  <a:cubicBezTo>
                    <a:pt x="42" y="49"/>
                    <a:pt x="43" y="49"/>
                    <a:pt x="44" y="49"/>
                  </a:cubicBezTo>
                  <a:cubicBezTo>
                    <a:pt x="46" y="49"/>
                    <a:pt x="46" y="49"/>
                    <a:pt x="48" y="50"/>
                  </a:cubicBezTo>
                  <a:cubicBezTo>
                    <a:pt x="49" y="52"/>
                    <a:pt x="48" y="54"/>
                    <a:pt x="50" y="56"/>
                  </a:cubicBezTo>
                  <a:cubicBezTo>
                    <a:pt x="53" y="59"/>
                    <a:pt x="52" y="53"/>
                    <a:pt x="52" y="51"/>
                  </a:cubicBezTo>
                  <a:cubicBezTo>
                    <a:pt x="55" y="52"/>
                    <a:pt x="58" y="54"/>
                    <a:pt x="60" y="54"/>
                  </a:cubicBezTo>
                  <a:cubicBezTo>
                    <a:pt x="61" y="54"/>
                    <a:pt x="61" y="54"/>
                    <a:pt x="62" y="54"/>
                  </a:cubicBezTo>
                  <a:cubicBezTo>
                    <a:pt x="62" y="54"/>
                    <a:pt x="62" y="54"/>
                    <a:pt x="63" y="54"/>
                  </a:cubicBezTo>
                  <a:cubicBezTo>
                    <a:pt x="64" y="53"/>
                    <a:pt x="60" y="50"/>
                    <a:pt x="59" y="51"/>
                  </a:cubicBezTo>
                  <a:cubicBezTo>
                    <a:pt x="59" y="51"/>
                    <a:pt x="59" y="52"/>
                    <a:pt x="59" y="52"/>
                  </a:cubicBezTo>
                  <a:cubicBezTo>
                    <a:pt x="58" y="52"/>
                    <a:pt x="58" y="52"/>
                    <a:pt x="57" y="52"/>
                  </a:cubicBezTo>
                  <a:cubicBezTo>
                    <a:pt x="57" y="52"/>
                    <a:pt x="54" y="50"/>
                    <a:pt x="54" y="50"/>
                  </a:cubicBezTo>
                  <a:cubicBezTo>
                    <a:pt x="53" y="49"/>
                    <a:pt x="53" y="48"/>
                    <a:pt x="53" y="48"/>
                  </a:cubicBezTo>
                  <a:cubicBezTo>
                    <a:pt x="52" y="47"/>
                    <a:pt x="52" y="44"/>
                    <a:pt x="53" y="43"/>
                  </a:cubicBezTo>
                  <a:cubicBezTo>
                    <a:pt x="53" y="42"/>
                    <a:pt x="55" y="42"/>
                    <a:pt x="55" y="41"/>
                  </a:cubicBezTo>
                  <a:cubicBezTo>
                    <a:pt x="57" y="39"/>
                    <a:pt x="54" y="38"/>
                    <a:pt x="54" y="36"/>
                  </a:cubicBezTo>
                  <a:cubicBezTo>
                    <a:pt x="53" y="35"/>
                    <a:pt x="54" y="34"/>
                    <a:pt x="54" y="32"/>
                  </a:cubicBezTo>
                  <a:cubicBezTo>
                    <a:pt x="54" y="31"/>
                    <a:pt x="53" y="29"/>
                    <a:pt x="55" y="30"/>
                  </a:cubicBezTo>
                  <a:cubicBezTo>
                    <a:pt x="57" y="30"/>
                    <a:pt x="56" y="34"/>
                    <a:pt x="58" y="35"/>
                  </a:cubicBezTo>
                  <a:cubicBezTo>
                    <a:pt x="58" y="36"/>
                    <a:pt x="60" y="36"/>
                    <a:pt x="60" y="34"/>
                  </a:cubicBezTo>
                  <a:cubicBezTo>
                    <a:pt x="61" y="33"/>
                    <a:pt x="59" y="32"/>
                    <a:pt x="58" y="31"/>
                  </a:cubicBezTo>
                  <a:cubicBezTo>
                    <a:pt x="57" y="31"/>
                    <a:pt x="55" y="31"/>
                    <a:pt x="54" y="31"/>
                  </a:cubicBezTo>
                  <a:cubicBezTo>
                    <a:pt x="52" y="31"/>
                    <a:pt x="52" y="32"/>
                    <a:pt x="51" y="33"/>
                  </a:cubicBezTo>
                  <a:cubicBezTo>
                    <a:pt x="50" y="32"/>
                    <a:pt x="49" y="27"/>
                    <a:pt x="50" y="26"/>
                  </a:cubicBezTo>
                  <a:cubicBezTo>
                    <a:pt x="51" y="25"/>
                    <a:pt x="54" y="26"/>
                    <a:pt x="55" y="25"/>
                  </a:cubicBezTo>
                  <a:cubicBezTo>
                    <a:pt x="57" y="23"/>
                    <a:pt x="58" y="20"/>
                    <a:pt x="59" y="19"/>
                  </a:cubicBezTo>
                  <a:cubicBezTo>
                    <a:pt x="60" y="17"/>
                    <a:pt x="62" y="15"/>
                    <a:pt x="63" y="14"/>
                  </a:cubicBezTo>
                  <a:cubicBezTo>
                    <a:pt x="64" y="14"/>
                    <a:pt x="65" y="13"/>
                    <a:pt x="67" y="12"/>
                  </a:cubicBezTo>
                  <a:cubicBezTo>
                    <a:pt x="67" y="13"/>
                    <a:pt x="67" y="13"/>
                    <a:pt x="68" y="14"/>
                  </a:cubicBezTo>
                  <a:cubicBezTo>
                    <a:pt x="67" y="11"/>
                    <a:pt x="65" y="9"/>
                    <a:pt x="66" y="7"/>
                  </a:cubicBezTo>
                  <a:cubicBezTo>
                    <a:pt x="66" y="4"/>
                    <a:pt x="67" y="0"/>
                    <a:pt x="70" y="0"/>
                  </a:cubicBezTo>
                  <a:cubicBezTo>
                    <a:pt x="72" y="0"/>
                    <a:pt x="72" y="1"/>
                    <a:pt x="73" y="3"/>
                  </a:cubicBezTo>
                  <a:cubicBezTo>
                    <a:pt x="74" y="4"/>
                    <a:pt x="74" y="7"/>
                    <a:pt x="76" y="8"/>
                  </a:cubicBezTo>
                  <a:cubicBezTo>
                    <a:pt x="77" y="8"/>
                    <a:pt x="78" y="7"/>
                    <a:pt x="79" y="8"/>
                  </a:cubicBezTo>
                  <a:cubicBezTo>
                    <a:pt x="79" y="8"/>
                    <a:pt x="79" y="10"/>
                    <a:pt x="80" y="11"/>
                  </a:cubicBezTo>
                  <a:cubicBezTo>
                    <a:pt x="80" y="12"/>
                    <a:pt x="81" y="13"/>
                    <a:pt x="82" y="14"/>
                  </a:cubicBezTo>
                  <a:cubicBezTo>
                    <a:pt x="83" y="14"/>
                    <a:pt x="83" y="12"/>
                    <a:pt x="84" y="11"/>
                  </a:cubicBezTo>
                  <a:cubicBezTo>
                    <a:pt x="86" y="14"/>
                    <a:pt x="89" y="16"/>
                    <a:pt x="89" y="19"/>
                  </a:cubicBezTo>
                  <a:cubicBezTo>
                    <a:pt x="90" y="20"/>
                    <a:pt x="91" y="20"/>
                    <a:pt x="92" y="22"/>
                  </a:cubicBezTo>
                  <a:cubicBezTo>
                    <a:pt x="92" y="23"/>
                    <a:pt x="90" y="23"/>
                    <a:pt x="89" y="24"/>
                  </a:cubicBezTo>
                  <a:cubicBezTo>
                    <a:pt x="87" y="26"/>
                    <a:pt x="85" y="27"/>
                    <a:pt x="86" y="29"/>
                  </a:cubicBezTo>
                  <a:cubicBezTo>
                    <a:pt x="87" y="30"/>
                    <a:pt x="87" y="31"/>
                    <a:pt x="87" y="33"/>
                  </a:cubicBezTo>
                  <a:cubicBezTo>
                    <a:pt x="87" y="33"/>
                    <a:pt x="87" y="36"/>
                    <a:pt x="87" y="36"/>
                  </a:cubicBezTo>
                  <a:cubicBezTo>
                    <a:pt x="89" y="38"/>
                    <a:pt x="91" y="34"/>
                    <a:pt x="93" y="34"/>
                  </a:cubicBezTo>
                  <a:cubicBezTo>
                    <a:pt x="94" y="34"/>
                    <a:pt x="95" y="37"/>
                    <a:pt x="96" y="38"/>
                  </a:cubicBezTo>
                  <a:cubicBezTo>
                    <a:pt x="96" y="39"/>
                    <a:pt x="97" y="40"/>
                    <a:pt x="97" y="41"/>
                  </a:cubicBezTo>
                  <a:cubicBezTo>
                    <a:pt x="97" y="42"/>
                    <a:pt x="96" y="42"/>
                    <a:pt x="96" y="43"/>
                  </a:cubicBezTo>
                  <a:cubicBezTo>
                    <a:pt x="96" y="43"/>
                    <a:pt x="96" y="43"/>
                    <a:pt x="95" y="44"/>
                  </a:cubicBezTo>
                  <a:cubicBezTo>
                    <a:pt x="95" y="45"/>
                    <a:pt x="96" y="45"/>
                    <a:pt x="95" y="46"/>
                  </a:cubicBezTo>
                  <a:cubicBezTo>
                    <a:pt x="95" y="47"/>
                    <a:pt x="95" y="47"/>
                    <a:pt x="93" y="48"/>
                  </a:cubicBezTo>
                  <a:cubicBezTo>
                    <a:pt x="88" y="49"/>
                    <a:pt x="93" y="52"/>
                    <a:pt x="95" y="54"/>
                  </a:cubicBezTo>
                  <a:cubicBezTo>
                    <a:pt x="95" y="55"/>
                    <a:pt x="95" y="56"/>
                    <a:pt x="95" y="57"/>
                  </a:cubicBezTo>
                  <a:cubicBezTo>
                    <a:pt x="95" y="58"/>
                    <a:pt x="95" y="58"/>
                    <a:pt x="95" y="59"/>
                  </a:cubicBezTo>
                  <a:cubicBezTo>
                    <a:pt x="96" y="60"/>
                    <a:pt x="96" y="60"/>
                    <a:pt x="96" y="60"/>
                  </a:cubicBezTo>
                  <a:cubicBezTo>
                    <a:pt x="97" y="62"/>
                    <a:pt x="97" y="60"/>
                    <a:pt x="97" y="62"/>
                  </a:cubicBezTo>
                  <a:cubicBezTo>
                    <a:pt x="96" y="63"/>
                    <a:pt x="94" y="64"/>
                    <a:pt x="94" y="65"/>
                  </a:cubicBezTo>
                  <a:cubicBezTo>
                    <a:pt x="92" y="65"/>
                    <a:pt x="90" y="67"/>
                    <a:pt x="88" y="67"/>
                  </a:cubicBezTo>
                  <a:cubicBezTo>
                    <a:pt x="86" y="66"/>
                    <a:pt x="88" y="65"/>
                    <a:pt x="86" y="65"/>
                  </a:cubicBezTo>
                  <a:cubicBezTo>
                    <a:pt x="84" y="64"/>
                    <a:pt x="80" y="66"/>
                    <a:pt x="78" y="67"/>
                  </a:cubicBezTo>
                  <a:cubicBezTo>
                    <a:pt x="76" y="68"/>
                    <a:pt x="73" y="69"/>
                    <a:pt x="71" y="70"/>
                  </a:cubicBezTo>
                  <a:cubicBezTo>
                    <a:pt x="68" y="71"/>
                    <a:pt x="67" y="72"/>
                    <a:pt x="68" y="75"/>
                  </a:cubicBezTo>
                  <a:cubicBezTo>
                    <a:pt x="69" y="78"/>
                    <a:pt x="72" y="78"/>
                    <a:pt x="75" y="79"/>
                  </a:cubicBezTo>
                  <a:cubicBezTo>
                    <a:pt x="77" y="80"/>
                    <a:pt x="80" y="81"/>
                    <a:pt x="81" y="83"/>
                  </a:cubicBezTo>
                  <a:cubicBezTo>
                    <a:pt x="81" y="84"/>
                    <a:pt x="82" y="85"/>
                    <a:pt x="82" y="86"/>
                  </a:cubicBezTo>
                  <a:cubicBezTo>
                    <a:pt x="83" y="88"/>
                    <a:pt x="82" y="90"/>
                    <a:pt x="82" y="91"/>
                  </a:cubicBezTo>
                  <a:cubicBezTo>
                    <a:pt x="82" y="93"/>
                    <a:pt x="82" y="95"/>
                    <a:pt x="80" y="97"/>
                  </a:cubicBezTo>
                  <a:cubicBezTo>
                    <a:pt x="79" y="98"/>
                    <a:pt x="77" y="99"/>
                    <a:pt x="75" y="99"/>
                  </a:cubicBezTo>
                  <a:cubicBezTo>
                    <a:pt x="74" y="99"/>
                    <a:pt x="72" y="98"/>
                    <a:pt x="71" y="99"/>
                  </a:cubicBezTo>
                  <a:cubicBezTo>
                    <a:pt x="69" y="100"/>
                    <a:pt x="70" y="102"/>
                    <a:pt x="69" y="103"/>
                  </a:cubicBezTo>
                  <a:cubicBezTo>
                    <a:pt x="68" y="104"/>
                    <a:pt x="67" y="105"/>
                    <a:pt x="65" y="105"/>
                  </a:cubicBezTo>
                  <a:cubicBezTo>
                    <a:pt x="63" y="106"/>
                    <a:pt x="60" y="104"/>
                    <a:pt x="60" y="108"/>
                  </a:cubicBezTo>
                  <a:cubicBezTo>
                    <a:pt x="63" y="108"/>
                    <a:pt x="68" y="108"/>
                    <a:pt x="66" y="112"/>
                  </a:cubicBezTo>
                  <a:cubicBezTo>
                    <a:pt x="66" y="115"/>
                    <a:pt x="64" y="116"/>
                    <a:pt x="65" y="119"/>
                  </a:cubicBezTo>
                  <a:cubicBezTo>
                    <a:pt x="67" y="117"/>
                    <a:pt x="66" y="124"/>
                    <a:pt x="66" y="125"/>
                  </a:cubicBezTo>
                  <a:cubicBezTo>
                    <a:pt x="69" y="122"/>
                    <a:pt x="70" y="121"/>
                    <a:pt x="73" y="121"/>
                  </a:cubicBezTo>
                  <a:cubicBezTo>
                    <a:pt x="75" y="121"/>
                    <a:pt x="75" y="122"/>
                    <a:pt x="75" y="120"/>
                  </a:cubicBezTo>
                  <a:cubicBezTo>
                    <a:pt x="76" y="119"/>
                    <a:pt x="75" y="118"/>
                    <a:pt x="75" y="117"/>
                  </a:cubicBezTo>
                  <a:cubicBezTo>
                    <a:pt x="79" y="116"/>
                    <a:pt x="85" y="118"/>
                    <a:pt x="87" y="121"/>
                  </a:cubicBezTo>
                  <a:cubicBezTo>
                    <a:pt x="87" y="123"/>
                    <a:pt x="88" y="123"/>
                    <a:pt x="86" y="124"/>
                  </a:cubicBezTo>
                  <a:cubicBezTo>
                    <a:pt x="85" y="124"/>
                    <a:pt x="83" y="124"/>
                    <a:pt x="81" y="124"/>
                  </a:cubicBezTo>
                  <a:cubicBezTo>
                    <a:pt x="79" y="124"/>
                    <a:pt x="78" y="124"/>
                    <a:pt x="77" y="126"/>
                  </a:cubicBezTo>
                  <a:cubicBezTo>
                    <a:pt x="77" y="126"/>
                    <a:pt x="77" y="128"/>
                    <a:pt x="76" y="128"/>
                  </a:cubicBezTo>
                  <a:cubicBezTo>
                    <a:pt x="74" y="129"/>
                    <a:pt x="73" y="128"/>
                    <a:pt x="72" y="130"/>
                  </a:cubicBezTo>
                  <a:cubicBezTo>
                    <a:pt x="71" y="131"/>
                    <a:pt x="71" y="132"/>
                    <a:pt x="71" y="133"/>
                  </a:cubicBezTo>
                  <a:cubicBezTo>
                    <a:pt x="70" y="133"/>
                    <a:pt x="67" y="134"/>
                    <a:pt x="67" y="133"/>
                  </a:cubicBezTo>
                  <a:cubicBezTo>
                    <a:pt x="66" y="133"/>
                    <a:pt x="67" y="132"/>
                    <a:pt x="67" y="131"/>
                  </a:cubicBezTo>
                  <a:cubicBezTo>
                    <a:pt x="64" y="130"/>
                    <a:pt x="63" y="131"/>
                    <a:pt x="64" y="133"/>
                  </a:cubicBezTo>
                  <a:cubicBezTo>
                    <a:pt x="65" y="135"/>
                    <a:pt x="66" y="138"/>
                    <a:pt x="65" y="139"/>
                  </a:cubicBezTo>
                  <a:cubicBezTo>
                    <a:pt x="64" y="141"/>
                    <a:pt x="63" y="141"/>
                    <a:pt x="62" y="141"/>
                  </a:cubicBezTo>
                  <a:cubicBezTo>
                    <a:pt x="61" y="142"/>
                    <a:pt x="60" y="142"/>
                    <a:pt x="59" y="143"/>
                  </a:cubicBezTo>
                  <a:cubicBezTo>
                    <a:pt x="58" y="144"/>
                    <a:pt x="57" y="145"/>
                    <a:pt x="56" y="146"/>
                  </a:cubicBezTo>
                  <a:cubicBezTo>
                    <a:pt x="54" y="149"/>
                    <a:pt x="53" y="151"/>
                    <a:pt x="50" y="153"/>
                  </a:cubicBezTo>
                  <a:cubicBezTo>
                    <a:pt x="49" y="154"/>
                    <a:pt x="49" y="154"/>
                    <a:pt x="49" y="155"/>
                  </a:cubicBezTo>
                  <a:cubicBezTo>
                    <a:pt x="48" y="157"/>
                    <a:pt x="49" y="159"/>
                    <a:pt x="49" y="161"/>
                  </a:cubicBezTo>
                  <a:cubicBezTo>
                    <a:pt x="49" y="160"/>
                    <a:pt x="50" y="159"/>
                    <a:pt x="50" y="158"/>
                  </a:cubicBezTo>
                  <a:cubicBezTo>
                    <a:pt x="51" y="157"/>
                    <a:pt x="50" y="156"/>
                    <a:pt x="49" y="155"/>
                  </a:cubicBezTo>
                  <a:cubicBezTo>
                    <a:pt x="47" y="154"/>
                    <a:pt x="47" y="154"/>
                    <a:pt x="45" y="154"/>
                  </a:cubicBezTo>
                  <a:cubicBezTo>
                    <a:pt x="44" y="154"/>
                    <a:pt x="43" y="153"/>
                    <a:pt x="42" y="154"/>
                  </a:cubicBezTo>
                  <a:cubicBezTo>
                    <a:pt x="41" y="154"/>
                    <a:pt x="40" y="154"/>
                    <a:pt x="39" y="154"/>
                  </a:cubicBezTo>
                  <a:cubicBezTo>
                    <a:pt x="38" y="154"/>
                    <a:pt x="37" y="154"/>
                    <a:pt x="36" y="154"/>
                  </a:cubicBezTo>
                  <a:cubicBezTo>
                    <a:pt x="35" y="154"/>
                    <a:pt x="35" y="154"/>
                    <a:pt x="34" y="155"/>
                  </a:cubicBezTo>
                  <a:cubicBezTo>
                    <a:pt x="33" y="155"/>
                    <a:pt x="29" y="156"/>
                    <a:pt x="28" y="155"/>
                  </a:cubicBezTo>
                  <a:cubicBezTo>
                    <a:pt x="27" y="154"/>
                    <a:pt x="28" y="153"/>
                    <a:pt x="27" y="153"/>
                  </a:cubicBezTo>
                  <a:cubicBezTo>
                    <a:pt x="27" y="152"/>
                    <a:pt x="26" y="151"/>
                    <a:pt x="25" y="151"/>
                  </a:cubicBezTo>
                  <a:cubicBezTo>
                    <a:pt x="21" y="149"/>
                    <a:pt x="18" y="147"/>
                    <a:pt x="14" y="147"/>
                  </a:cubicBezTo>
                  <a:cubicBezTo>
                    <a:pt x="11" y="147"/>
                    <a:pt x="11" y="146"/>
                    <a:pt x="10" y="144"/>
                  </a:cubicBezTo>
                  <a:cubicBezTo>
                    <a:pt x="8" y="143"/>
                    <a:pt x="5" y="142"/>
                    <a:pt x="7" y="139"/>
                  </a:cubicBezTo>
                  <a:cubicBezTo>
                    <a:pt x="7" y="139"/>
                    <a:pt x="7" y="138"/>
                    <a:pt x="8" y="137"/>
                  </a:cubicBezTo>
                  <a:cubicBezTo>
                    <a:pt x="8" y="137"/>
                    <a:pt x="9" y="137"/>
                    <a:pt x="10" y="137"/>
                  </a:cubicBezTo>
                  <a:cubicBezTo>
                    <a:pt x="10" y="136"/>
                    <a:pt x="11" y="136"/>
                    <a:pt x="10" y="135"/>
                  </a:cubicBezTo>
                  <a:cubicBezTo>
                    <a:pt x="10" y="135"/>
                    <a:pt x="10" y="134"/>
                    <a:pt x="9" y="134"/>
                  </a:cubicBezTo>
                  <a:cubicBezTo>
                    <a:pt x="9" y="134"/>
                    <a:pt x="9" y="134"/>
                    <a:pt x="9" y="133"/>
                  </a:cubicBezTo>
                  <a:cubicBezTo>
                    <a:pt x="8" y="132"/>
                    <a:pt x="8" y="130"/>
                    <a:pt x="9" y="129"/>
                  </a:cubicBezTo>
                  <a:cubicBezTo>
                    <a:pt x="9" y="127"/>
                    <a:pt x="10" y="126"/>
                    <a:pt x="12" y="125"/>
                  </a:cubicBezTo>
                  <a:cubicBezTo>
                    <a:pt x="13" y="125"/>
                    <a:pt x="14" y="124"/>
                    <a:pt x="15" y="125"/>
                  </a:cubicBezTo>
                  <a:cubicBezTo>
                    <a:pt x="16" y="125"/>
                    <a:pt x="16" y="125"/>
                    <a:pt x="16" y="126"/>
                  </a:cubicBezTo>
                  <a:cubicBezTo>
                    <a:pt x="17" y="126"/>
                    <a:pt x="18" y="127"/>
                    <a:pt x="19" y="128"/>
                  </a:cubicBezTo>
                  <a:cubicBezTo>
                    <a:pt x="20" y="128"/>
                    <a:pt x="21" y="128"/>
                    <a:pt x="22" y="128"/>
                  </a:cubicBezTo>
                  <a:cubicBezTo>
                    <a:pt x="22" y="128"/>
                    <a:pt x="22" y="128"/>
                    <a:pt x="23" y="128"/>
                  </a:cubicBezTo>
                  <a:cubicBezTo>
                    <a:pt x="23" y="128"/>
                    <a:pt x="24" y="130"/>
                    <a:pt x="24" y="130"/>
                  </a:cubicBezTo>
                  <a:cubicBezTo>
                    <a:pt x="26" y="132"/>
                    <a:pt x="28" y="133"/>
                    <a:pt x="30" y="132"/>
                  </a:cubicBezTo>
                  <a:cubicBezTo>
                    <a:pt x="32" y="132"/>
                    <a:pt x="32" y="132"/>
                    <a:pt x="33" y="133"/>
                  </a:cubicBezTo>
                  <a:cubicBezTo>
                    <a:pt x="34" y="135"/>
                    <a:pt x="35" y="137"/>
                    <a:pt x="37" y="135"/>
                  </a:cubicBezTo>
                  <a:cubicBezTo>
                    <a:pt x="38" y="134"/>
                    <a:pt x="38" y="133"/>
                    <a:pt x="40" y="132"/>
                  </a:cubicBezTo>
                  <a:cubicBezTo>
                    <a:pt x="40" y="132"/>
                    <a:pt x="41" y="132"/>
                    <a:pt x="42" y="132"/>
                  </a:cubicBezTo>
                  <a:cubicBezTo>
                    <a:pt x="42" y="130"/>
                    <a:pt x="41" y="128"/>
                    <a:pt x="42" y="127"/>
                  </a:cubicBezTo>
                  <a:cubicBezTo>
                    <a:pt x="43" y="126"/>
                    <a:pt x="46" y="124"/>
                    <a:pt x="47" y="125"/>
                  </a:cubicBezTo>
                  <a:cubicBezTo>
                    <a:pt x="48" y="125"/>
                    <a:pt x="48" y="126"/>
                    <a:pt x="49" y="127"/>
                  </a:cubicBezTo>
                  <a:cubicBezTo>
                    <a:pt x="49" y="125"/>
                    <a:pt x="48" y="120"/>
                    <a:pt x="49" y="119"/>
                  </a:cubicBezTo>
                  <a:cubicBezTo>
                    <a:pt x="50" y="119"/>
                    <a:pt x="52" y="121"/>
                    <a:pt x="52" y="121"/>
                  </a:cubicBezTo>
                  <a:cubicBezTo>
                    <a:pt x="54" y="123"/>
                    <a:pt x="54" y="123"/>
                    <a:pt x="56" y="124"/>
                  </a:cubicBezTo>
                  <a:cubicBezTo>
                    <a:pt x="57" y="124"/>
                    <a:pt x="57" y="125"/>
                    <a:pt x="58" y="125"/>
                  </a:cubicBezTo>
                  <a:cubicBezTo>
                    <a:pt x="58" y="124"/>
                    <a:pt x="58" y="123"/>
                    <a:pt x="58" y="123"/>
                  </a:cubicBezTo>
                  <a:cubicBezTo>
                    <a:pt x="57" y="121"/>
                    <a:pt x="52" y="119"/>
                    <a:pt x="51" y="119"/>
                  </a:cubicBezTo>
                  <a:cubicBezTo>
                    <a:pt x="50" y="117"/>
                    <a:pt x="48" y="115"/>
                    <a:pt x="46" y="113"/>
                  </a:cubicBezTo>
                  <a:cubicBezTo>
                    <a:pt x="44" y="112"/>
                    <a:pt x="44" y="111"/>
                    <a:pt x="44" y="109"/>
                  </a:cubicBezTo>
                  <a:cubicBezTo>
                    <a:pt x="44" y="106"/>
                    <a:pt x="44" y="106"/>
                    <a:pt x="41" y="104"/>
                  </a:cubicBezTo>
                  <a:cubicBezTo>
                    <a:pt x="39" y="104"/>
                    <a:pt x="38" y="104"/>
                    <a:pt x="36" y="103"/>
                  </a:cubicBezTo>
                  <a:cubicBezTo>
                    <a:pt x="35" y="103"/>
                    <a:pt x="35" y="103"/>
                    <a:pt x="34" y="102"/>
                  </a:cubicBezTo>
                  <a:cubicBezTo>
                    <a:pt x="33" y="102"/>
                    <a:pt x="31" y="102"/>
                    <a:pt x="29" y="102"/>
                  </a:cubicBezTo>
                  <a:cubicBezTo>
                    <a:pt x="28" y="102"/>
                    <a:pt x="27" y="103"/>
                    <a:pt x="26" y="103"/>
                  </a:cubicBezTo>
                  <a:cubicBezTo>
                    <a:pt x="25" y="103"/>
                    <a:pt x="23" y="101"/>
                    <a:pt x="22" y="100"/>
                  </a:cubicBezTo>
                  <a:cubicBezTo>
                    <a:pt x="21" y="100"/>
                    <a:pt x="18" y="98"/>
                    <a:pt x="18" y="98"/>
                  </a:cubicBezTo>
                  <a:cubicBezTo>
                    <a:pt x="18" y="97"/>
                    <a:pt x="18" y="96"/>
                    <a:pt x="18" y="96"/>
                  </a:cubicBezTo>
                  <a:cubicBezTo>
                    <a:pt x="18" y="93"/>
                    <a:pt x="17" y="77"/>
                    <a:pt x="13" y="78"/>
                  </a:cubicBezTo>
                  <a:cubicBezTo>
                    <a:pt x="12" y="80"/>
                    <a:pt x="13" y="82"/>
                    <a:pt x="13" y="84"/>
                  </a:cubicBezTo>
                  <a:cubicBezTo>
                    <a:pt x="13" y="82"/>
                    <a:pt x="12" y="77"/>
                    <a:pt x="14" y="76"/>
                  </a:cubicBezTo>
                  <a:cubicBezTo>
                    <a:pt x="14" y="75"/>
                    <a:pt x="16" y="75"/>
                    <a:pt x="15" y="73"/>
                  </a:cubicBezTo>
                  <a:cubicBezTo>
                    <a:pt x="14" y="71"/>
                    <a:pt x="11" y="71"/>
                    <a:pt x="10" y="68"/>
                  </a:cubicBezTo>
                  <a:cubicBezTo>
                    <a:pt x="9" y="67"/>
                    <a:pt x="10" y="65"/>
                    <a:pt x="10" y="64"/>
                  </a:cubicBezTo>
                  <a:cubicBezTo>
                    <a:pt x="10" y="63"/>
                    <a:pt x="10" y="62"/>
                    <a:pt x="10" y="61"/>
                  </a:cubicBezTo>
                  <a:cubicBezTo>
                    <a:pt x="9" y="58"/>
                    <a:pt x="5" y="58"/>
                    <a:pt x="3" y="56"/>
                  </a:cubicBezTo>
                  <a:cubicBezTo>
                    <a:pt x="2" y="55"/>
                    <a:pt x="2" y="55"/>
                    <a:pt x="2" y="53"/>
                  </a:cubicBezTo>
                  <a:cubicBezTo>
                    <a:pt x="1" y="52"/>
                    <a:pt x="0" y="51"/>
                    <a:pt x="1" y="50"/>
                  </a:cubicBezTo>
                  <a:cubicBezTo>
                    <a:pt x="2" y="49"/>
                    <a:pt x="3" y="49"/>
                    <a:pt x="4" y="50"/>
                  </a:cubicBezTo>
                  <a:cubicBezTo>
                    <a:pt x="5" y="51"/>
                    <a:pt x="6" y="53"/>
                    <a:pt x="7" y="54"/>
                  </a:cubicBezTo>
                  <a:cubicBezTo>
                    <a:pt x="9" y="55"/>
                    <a:pt x="10" y="50"/>
                    <a:pt x="11" y="49"/>
                  </a:cubicBezTo>
                  <a:cubicBezTo>
                    <a:pt x="13" y="46"/>
                    <a:pt x="16" y="51"/>
                    <a:pt x="18" y="50"/>
                  </a:cubicBezTo>
                  <a:cubicBezTo>
                    <a:pt x="21" y="50"/>
                    <a:pt x="23" y="45"/>
                    <a:pt x="25" y="43"/>
                  </a:cubicBezTo>
                  <a:cubicBezTo>
                    <a:pt x="27" y="42"/>
                    <a:pt x="28" y="41"/>
                    <a:pt x="30" y="41"/>
                  </a:cubicBezTo>
                  <a:cubicBezTo>
                    <a:pt x="31" y="40"/>
                    <a:pt x="35" y="40"/>
                    <a:pt x="34" y="37"/>
                  </a:cubicBezTo>
                  <a:cubicBezTo>
                    <a:pt x="34" y="36"/>
                    <a:pt x="33" y="36"/>
                    <a:pt x="32" y="35"/>
                  </a:cubicBezTo>
                  <a:cubicBezTo>
                    <a:pt x="31" y="35"/>
                    <a:pt x="30" y="34"/>
                    <a:pt x="28" y="33"/>
                  </a:cubicBezTo>
                  <a:cubicBezTo>
                    <a:pt x="26" y="31"/>
                    <a:pt x="24" y="31"/>
                    <a:pt x="21" y="30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3" y="27"/>
                    <a:pt x="25" y="29"/>
                    <a:pt x="28" y="30"/>
                  </a:cubicBezTo>
                  <a:cubicBezTo>
                    <a:pt x="30" y="31"/>
                    <a:pt x="32" y="31"/>
                    <a:pt x="34" y="31"/>
                  </a:cubicBezTo>
                  <a:cubicBezTo>
                    <a:pt x="35" y="30"/>
                    <a:pt x="36" y="30"/>
                    <a:pt x="36" y="29"/>
                  </a:cubicBezTo>
                  <a:cubicBezTo>
                    <a:pt x="40" y="28"/>
                    <a:pt x="45" y="28"/>
                    <a:pt x="48" y="28"/>
                  </a:cubicBezTo>
                  <a:cubicBezTo>
                    <a:pt x="49" y="30"/>
                    <a:pt x="50" y="34"/>
                    <a:pt x="49" y="35"/>
                  </a:cubicBezTo>
                  <a:cubicBezTo>
                    <a:pt x="49" y="36"/>
                    <a:pt x="46" y="36"/>
                    <a:pt x="46" y="37"/>
                  </a:cubicBezTo>
                  <a:cubicBezTo>
                    <a:pt x="45" y="39"/>
                    <a:pt x="46" y="41"/>
                    <a:pt x="46" y="43"/>
                  </a:cubicBezTo>
                  <a:lnTo>
                    <a:pt x="45" y="4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7" name="Freeform 108">
              <a:extLst>
                <a:ext uri="{FF2B5EF4-FFF2-40B4-BE49-F238E27FC236}">
                  <a16:creationId xmlns:a16="http://schemas.microsoft.com/office/drawing/2014/main" id="{FA399506-E9A3-426E-895A-AB042F4BA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0938" y="3663950"/>
              <a:ext cx="55563" cy="58738"/>
            </a:xfrm>
            <a:custGeom>
              <a:avLst/>
              <a:gdLst/>
              <a:ahLst/>
              <a:cxnLst>
                <a:cxn ang="0">
                  <a:pos x="26" y="15"/>
                </a:cxn>
                <a:cxn ang="0">
                  <a:pos x="20" y="8"/>
                </a:cxn>
                <a:cxn ang="0">
                  <a:pos x="9" y="0"/>
                </a:cxn>
                <a:cxn ang="0">
                  <a:pos x="2" y="5"/>
                </a:cxn>
                <a:cxn ang="0">
                  <a:pos x="3" y="18"/>
                </a:cxn>
                <a:cxn ang="0">
                  <a:pos x="10" y="29"/>
                </a:cxn>
                <a:cxn ang="0">
                  <a:pos x="19" y="31"/>
                </a:cxn>
                <a:cxn ang="0">
                  <a:pos x="28" y="28"/>
                </a:cxn>
                <a:cxn ang="0">
                  <a:pos x="28" y="16"/>
                </a:cxn>
              </a:cxnLst>
              <a:rect l="0" t="0" r="r" b="b"/>
              <a:pathLst>
                <a:path w="30" h="32">
                  <a:moveTo>
                    <a:pt x="26" y="15"/>
                  </a:moveTo>
                  <a:cubicBezTo>
                    <a:pt x="25" y="12"/>
                    <a:pt x="22" y="10"/>
                    <a:pt x="20" y="8"/>
                  </a:cubicBezTo>
                  <a:cubicBezTo>
                    <a:pt x="17" y="5"/>
                    <a:pt x="13" y="0"/>
                    <a:pt x="9" y="0"/>
                  </a:cubicBezTo>
                  <a:cubicBezTo>
                    <a:pt x="7" y="0"/>
                    <a:pt x="3" y="3"/>
                    <a:pt x="2" y="5"/>
                  </a:cubicBezTo>
                  <a:cubicBezTo>
                    <a:pt x="0" y="8"/>
                    <a:pt x="2" y="15"/>
                    <a:pt x="3" y="18"/>
                  </a:cubicBezTo>
                  <a:cubicBezTo>
                    <a:pt x="5" y="22"/>
                    <a:pt x="7" y="26"/>
                    <a:pt x="10" y="29"/>
                  </a:cubicBezTo>
                  <a:cubicBezTo>
                    <a:pt x="12" y="32"/>
                    <a:pt x="15" y="32"/>
                    <a:pt x="19" y="31"/>
                  </a:cubicBezTo>
                  <a:cubicBezTo>
                    <a:pt x="22" y="31"/>
                    <a:pt x="27" y="31"/>
                    <a:pt x="28" y="28"/>
                  </a:cubicBezTo>
                  <a:cubicBezTo>
                    <a:pt x="30" y="26"/>
                    <a:pt x="30" y="18"/>
                    <a:pt x="28" y="16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8" name="Freeform 109">
              <a:extLst>
                <a:ext uri="{FF2B5EF4-FFF2-40B4-BE49-F238E27FC236}">
                  <a16:creationId xmlns:a16="http://schemas.microsoft.com/office/drawing/2014/main" id="{44F5ADC5-9497-4C88-B4E3-828CB4E18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5113" y="3727450"/>
              <a:ext cx="927100" cy="1235075"/>
            </a:xfrm>
            <a:custGeom>
              <a:avLst/>
              <a:gdLst/>
              <a:ahLst/>
              <a:cxnLst>
                <a:cxn ang="0">
                  <a:pos x="480" y="297"/>
                </a:cxn>
                <a:cxn ang="0">
                  <a:pos x="483" y="257"/>
                </a:cxn>
                <a:cxn ang="0">
                  <a:pos x="476" y="216"/>
                </a:cxn>
                <a:cxn ang="0">
                  <a:pos x="458" y="173"/>
                </a:cxn>
                <a:cxn ang="0">
                  <a:pos x="446" y="106"/>
                </a:cxn>
                <a:cxn ang="0">
                  <a:pos x="445" y="78"/>
                </a:cxn>
                <a:cxn ang="0">
                  <a:pos x="401" y="61"/>
                </a:cxn>
                <a:cxn ang="0">
                  <a:pos x="426" y="54"/>
                </a:cxn>
                <a:cxn ang="0">
                  <a:pos x="419" y="31"/>
                </a:cxn>
                <a:cxn ang="0">
                  <a:pos x="405" y="38"/>
                </a:cxn>
                <a:cxn ang="0">
                  <a:pos x="398" y="38"/>
                </a:cxn>
                <a:cxn ang="0">
                  <a:pos x="390" y="49"/>
                </a:cxn>
                <a:cxn ang="0">
                  <a:pos x="352" y="57"/>
                </a:cxn>
                <a:cxn ang="0">
                  <a:pos x="321" y="60"/>
                </a:cxn>
                <a:cxn ang="0">
                  <a:pos x="304" y="84"/>
                </a:cxn>
                <a:cxn ang="0">
                  <a:pos x="286" y="66"/>
                </a:cxn>
                <a:cxn ang="0">
                  <a:pos x="282" y="34"/>
                </a:cxn>
                <a:cxn ang="0">
                  <a:pos x="256" y="48"/>
                </a:cxn>
                <a:cxn ang="0">
                  <a:pos x="223" y="42"/>
                </a:cxn>
                <a:cxn ang="0">
                  <a:pos x="222" y="10"/>
                </a:cxn>
                <a:cxn ang="0">
                  <a:pos x="187" y="11"/>
                </a:cxn>
                <a:cxn ang="0">
                  <a:pos x="157" y="1"/>
                </a:cxn>
                <a:cxn ang="0">
                  <a:pos x="163" y="30"/>
                </a:cxn>
                <a:cxn ang="0">
                  <a:pos x="173" y="41"/>
                </a:cxn>
                <a:cxn ang="0">
                  <a:pos x="155" y="59"/>
                </a:cxn>
                <a:cxn ang="0">
                  <a:pos x="158" y="74"/>
                </a:cxn>
                <a:cxn ang="0">
                  <a:pos x="169" y="96"/>
                </a:cxn>
                <a:cxn ang="0">
                  <a:pos x="169" y="101"/>
                </a:cxn>
                <a:cxn ang="0">
                  <a:pos x="138" y="113"/>
                </a:cxn>
                <a:cxn ang="0">
                  <a:pos x="123" y="134"/>
                </a:cxn>
                <a:cxn ang="0">
                  <a:pos x="96" y="112"/>
                </a:cxn>
                <a:cxn ang="0">
                  <a:pos x="66" y="146"/>
                </a:cxn>
                <a:cxn ang="0">
                  <a:pos x="56" y="203"/>
                </a:cxn>
                <a:cxn ang="0">
                  <a:pos x="59" y="228"/>
                </a:cxn>
                <a:cxn ang="0">
                  <a:pos x="43" y="265"/>
                </a:cxn>
                <a:cxn ang="0">
                  <a:pos x="0" y="283"/>
                </a:cxn>
                <a:cxn ang="0">
                  <a:pos x="10" y="324"/>
                </a:cxn>
                <a:cxn ang="0">
                  <a:pos x="4" y="351"/>
                </a:cxn>
                <a:cxn ang="0">
                  <a:pos x="1" y="377"/>
                </a:cxn>
                <a:cxn ang="0">
                  <a:pos x="13" y="414"/>
                </a:cxn>
                <a:cxn ang="0">
                  <a:pos x="28" y="457"/>
                </a:cxn>
                <a:cxn ang="0">
                  <a:pos x="79" y="505"/>
                </a:cxn>
                <a:cxn ang="0">
                  <a:pos x="95" y="563"/>
                </a:cxn>
                <a:cxn ang="0">
                  <a:pos x="110" y="637"/>
                </a:cxn>
                <a:cxn ang="0">
                  <a:pos x="147" y="627"/>
                </a:cxn>
                <a:cxn ang="0">
                  <a:pos x="189" y="640"/>
                </a:cxn>
                <a:cxn ang="0">
                  <a:pos x="233" y="655"/>
                </a:cxn>
                <a:cxn ang="0">
                  <a:pos x="289" y="643"/>
                </a:cxn>
                <a:cxn ang="0">
                  <a:pos x="341" y="629"/>
                </a:cxn>
                <a:cxn ang="0">
                  <a:pos x="375" y="634"/>
                </a:cxn>
                <a:cxn ang="0">
                  <a:pos x="364" y="603"/>
                </a:cxn>
                <a:cxn ang="0">
                  <a:pos x="398" y="571"/>
                </a:cxn>
                <a:cxn ang="0">
                  <a:pos x="418" y="552"/>
                </a:cxn>
                <a:cxn ang="0">
                  <a:pos x="398" y="517"/>
                </a:cxn>
                <a:cxn ang="0">
                  <a:pos x="365" y="488"/>
                </a:cxn>
                <a:cxn ang="0">
                  <a:pos x="354" y="445"/>
                </a:cxn>
                <a:cxn ang="0">
                  <a:pos x="339" y="413"/>
                </a:cxn>
                <a:cxn ang="0">
                  <a:pos x="361" y="401"/>
                </a:cxn>
                <a:cxn ang="0">
                  <a:pos x="392" y="392"/>
                </a:cxn>
                <a:cxn ang="0">
                  <a:pos x="412" y="380"/>
                </a:cxn>
                <a:cxn ang="0">
                  <a:pos x="446" y="363"/>
                </a:cxn>
                <a:cxn ang="0">
                  <a:pos x="472" y="359"/>
                </a:cxn>
                <a:cxn ang="0">
                  <a:pos x="496" y="326"/>
                </a:cxn>
              </a:cxnLst>
              <a:rect l="0" t="0" r="r" b="b"/>
              <a:pathLst>
                <a:path w="496" h="661">
                  <a:moveTo>
                    <a:pt x="496" y="323"/>
                  </a:moveTo>
                  <a:cubicBezTo>
                    <a:pt x="495" y="322"/>
                    <a:pt x="495" y="321"/>
                    <a:pt x="494" y="320"/>
                  </a:cubicBezTo>
                  <a:cubicBezTo>
                    <a:pt x="494" y="319"/>
                    <a:pt x="493" y="318"/>
                    <a:pt x="492" y="317"/>
                  </a:cubicBezTo>
                  <a:cubicBezTo>
                    <a:pt x="492" y="317"/>
                    <a:pt x="491" y="317"/>
                    <a:pt x="491" y="316"/>
                  </a:cubicBezTo>
                  <a:cubicBezTo>
                    <a:pt x="491" y="316"/>
                    <a:pt x="491" y="315"/>
                    <a:pt x="490" y="314"/>
                  </a:cubicBezTo>
                  <a:cubicBezTo>
                    <a:pt x="490" y="312"/>
                    <a:pt x="490" y="311"/>
                    <a:pt x="489" y="309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6"/>
                    <a:pt x="484" y="306"/>
                    <a:pt x="483" y="305"/>
                  </a:cubicBezTo>
                  <a:cubicBezTo>
                    <a:pt x="482" y="304"/>
                    <a:pt x="481" y="303"/>
                    <a:pt x="479" y="302"/>
                  </a:cubicBezTo>
                  <a:cubicBezTo>
                    <a:pt x="478" y="301"/>
                    <a:pt x="478" y="301"/>
                    <a:pt x="478" y="301"/>
                  </a:cubicBezTo>
                  <a:cubicBezTo>
                    <a:pt x="477" y="300"/>
                    <a:pt x="476" y="299"/>
                    <a:pt x="477" y="298"/>
                  </a:cubicBezTo>
                  <a:cubicBezTo>
                    <a:pt x="478" y="298"/>
                    <a:pt x="479" y="298"/>
                    <a:pt x="479" y="297"/>
                  </a:cubicBezTo>
                  <a:cubicBezTo>
                    <a:pt x="479" y="297"/>
                    <a:pt x="480" y="297"/>
                    <a:pt x="480" y="297"/>
                  </a:cubicBezTo>
                  <a:cubicBezTo>
                    <a:pt x="480" y="296"/>
                    <a:pt x="481" y="296"/>
                    <a:pt x="481" y="295"/>
                  </a:cubicBezTo>
                  <a:cubicBezTo>
                    <a:pt x="481" y="293"/>
                    <a:pt x="480" y="291"/>
                    <a:pt x="480" y="289"/>
                  </a:cubicBezTo>
                  <a:cubicBezTo>
                    <a:pt x="480" y="290"/>
                    <a:pt x="479" y="288"/>
                    <a:pt x="479" y="288"/>
                  </a:cubicBezTo>
                  <a:cubicBezTo>
                    <a:pt x="479" y="288"/>
                    <a:pt x="478" y="288"/>
                    <a:pt x="478" y="287"/>
                  </a:cubicBezTo>
                  <a:cubicBezTo>
                    <a:pt x="478" y="287"/>
                    <a:pt x="478" y="286"/>
                    <a:pt x="478" y="286"/>
                  </a:cubicBezTo>
                  <a:cubicBezTo>
                    <a:pt x="477" y="284"/>
                    <a:pt x="475" y="282"/>
                    <a:pt x="474" y="280"/>
                  </a:cubicBezTo>
                  <a:cubicBezTo>
                    <a:pt x="475" y="279"/>
                    <a:pt x="476" y="278"/>
                    <a:pt x="477" y="278"/>
                  </a:cubicBezTo>
                  <a:cubicBezTo>
                    <a:pt x="476" y="278"/>
                    <a:pt x="475" y="279"/>
                    <a:pt x="474" y="278"/>
                  </a:cubicBezTo>
                  <a:cubicBezTo>
                    <a:pt x="474" y="277"/>
                    <a:pt x="474" y="274"/>
                    <a:pt x="474" y="273"/>
                  </a:cubicBezTo>
                  <a:cubicBezTo>
                    <a:pt x="474" y="270"/>
                    <a:pt x="473" y="269"/>
                    <a:pt x="477" y="268"/>
                  </a:cubicBezTo>
                  <a:cubicBezTo>
                    <a:pt x="479" y="268"/>
                    <a:pt x="481" y="268"/>
                    <a:pt x="482" y="266"/>
                  </a:cubicBezTo>
                  <a:cubicBezTo>
                    <a:pt x="482" y="265"/>
                    <a:pt x="482" y="265"/>
                    <a:pt x="482" y="265"/>
                  </a:cubicBezTo>
                  <a:cubicBezTo>
                    <a:pt x="482" y="262"/>
                    <a:pt x="482" y="260"/>
                    <a:pt x="483" y="257"/>
                  </a:cubicBezTo>
                  <a:cubicBezTo>
                    <a:pt x="483" y="254"/>
                    <a:pt x="485" y="251"/>
                    <a:pt x="482" y="249"/>
                  </a:cubicBezTo>
                  <a:cubicBezTo>
                    <a:pt x="482" y="248"/>
                    <a:pt x="479" y="247"/>
                    <a:pt x="479" y="246"/>
                  </a:cubicBezTo>
                  <a:cubicBezTo>
                    <a:pt x="478" y="245"/>
                    <a:pt x="479" y="245"/>
                    <a:pt x="479" y="244"/>
                  </a:cubicBezTo>
                  <a:cubicBezTo>
                    <a:pt x="479" y="243"/>
                    <a:pt x="478" y="242"/>
                    <a:pt x="478" y="240"/>
                  </a:cubicBezTo>
                  <a:cubicBezTo>
                    <a:pt x="478" y="240"/>
                    <a:pt x="478" y="238"/>
                    <a:pt x="478" y="238"/>
                  </a:cubicBezTo>
                  <a:cubicBezTo>
                    <a:pt x="477" y="237"/>
                    <a:pt x="476" y="237"/>
                    <a:pt x="476" y="237"/>
                  </a:cubicBezTo>
                  <a:cubicBezTo>
                    <a:pt x="476" y="237"/>
                    <a:pt x="476" y="236"/>
                    <a:pt x="475" y="236"/>
                  </a:cubicBezTo>
                  <a:cubicBezTo>
                    <a:pt x="475" y="236"/>
                    <a:pt x="475" y="236"/>
                    <a:pt x="474" y="235"/>
                  </a:cubicBezTo>
                  <a:cubicBezTo>
                    <a:pt x="474" y="234"/>
                    <a:pt x="473" y="231"/>
                    <a:pt x="473" y="230"/>
                  </a:cubicBezTo>
                  <a:cubicBezTo>
                    <a:pt x="473" y="228"/>
                    <a:pt x="473" y="227"/>
                    <a:pt x="473" y="225"/>
                  </a:cubicBezTo>
                  <a:cubicBezTo>
                    <a:pt x="472" y="223"/>
                    <a:pt x="472" y="224"/>
                    <a:pt x="473" y="223"/>
                  </a:cubicBezTo>
                  <a:cubicBezTo>
                    <a:pt x="474" y="221"/>
                    <a:pt x="475" y="221"/>
                    <a:pt x="475" y="219"/>
                  </a:cubicBezTo>
                  <a:cubicBezTo>
                    <a:pt x="476" y="218"/>
                    <a:pt x="476" y="217"/>
                    <a:pt x="476" y="216"/>
                  </a:cubicBezTo>
                  <a:cubicBezTo>
                    <a:pt x="476" y="215"/>
                    <a:pt x="477" y="213"/>
                    <a:pt x="477" y="212"/>
                  </a:cubicBezTo>
                  <a:cubicBezTo>
                    <a:pt x="476" y="209"/>
                    <a:pt x="472" y="209"/>
                    <a:pt x="470" y="206"/>
                  </a:cubicBezTo>
                  <a:cubicBezTo>
                    <a:pt x="470" y="206"/>
                    <a:pt x="470" y="205"/>
                    <a:pt x="470" y="205"/>
                  </a:cubicBezTo>
                  <a:cubicBezTo>
                    <a:pt x="469" y="203"/>
                    <a:pt x="469" y="201"/>
                    <a:pt x="467" y="200"/>
                  </a:cubicBezTo>
                  <a:cubicBezTo>
                    <a:pt x="466" y="198"/>
                    <a:pt x="465" y="198"/>
                    <a:pt x="464" y="197"/>
                  </a:cubicBezTo>
                  <a:cubicBezTo>
                    <a:pt x="463" y="196"/>
                    <a:pt x="462" y="196"/>
                    <a:pt x="461" y="195"/>
                  </a:cubicBezTo>
                  <a:cubicBezTo>
                    <a:pt x="459" y="194"/>
                    <a:pt x="458" y="193"/>
                    <a:pt x="457" y="191"/>
                  </a:cubicBezTo>
                  <a:cubicBezTo>
                    <a:pt x="456" y="190"/>
                    <a:pt x="455" y="189"/>
                    <a:pt x="453" y="188"/>
                  </a:cubicBezTo>
                  <a:cubicBezTo>
                    <a:pt x="453" y="187"/>
                    <a:pt x="451" y="187"/>
                    <a:pt x="451" y="185"/>
                  </a:cubicBezTo>
                  <a:cubicBezTo>
                    <a:pt x="451" y="185"/>
                    <a:pt x="452" y="184"/>
                    <a:pt x="452" y="184"/>
                  </a:cubicBezTo>
                  <a:cubicBezTo>
                    <a:pt x="452" y="184"/>
                    <a:pt x="452" y="183"/>
                    <a:pt x="452" y="183"/>
                  </a:cubicBezTo>
                  <a:cubicBezTo>
                    <a:pt x="453" y="181"/>
                    <a:pt x="454" y="179"/>
                    <a:pt x="455" y="177"/>
                  </a:cubicBezTo>
                  <a:cubicBezTo>
                    <a:pt x="456" y="176"/>
                    <a:pt x="457" y="175"/>
                    <a:pt x="458" y="173"/>
                  </a:cubicBezTo>
                  <a:cubicBezTo>
                    <a:pt x="458" y="172"/>
                    <a:pt x="459" y="171"/>
                    <a:pt x="459" y="170"/>
                  </a:cubicBezTo>
                  <a:cubicBezTo>
                    <a:pt x="460" y="169"/>
                    <a:pt x="461" y="169"/>
                    <a:pt x="461" y="169"/>
                  </a:cubicBezTo>
                  <a:cubicBezTo>
                    <a:pt x="462" y="168"/>
                    <a:pt x="463" y="165"/>
                    <a:pt x="464" y="164"/>
                  </a:cubicBezTo>
                  <a:cubicBezTo>
                    <a:pt x="466" y="162"/>
                    <a:pt x="467" y="161"/>
                    <a:pt x="468" y="158"/>
                  </a:cubicBezTo>
                  <a:cubicBezTo>
                    <a:pt x="469" y="156"/>
                    <a:pt x="469" y="154"/>
                    <a:pt x="469" y="151"/>
                  </a:cubicBezTo>
                  <a:cubicBezTo>
                    <a:pt x="469" y="149"/>
                    <a:pt x="470" y="145"/>
                    <a:pt x="469" y="143"/>
                  </a:cubicBezTo>
                  <a:cubicBezTo>
                    <a:pt x="468" y="140"/>
                    <a:pt x="466" y="137"/>
                    <a:pt x="465" y="135"/>
                  </a:cubicBezTo>
                  <a:cubicBezTo>
                    <a:pt x="463" y="130"/>
                    <a:pt x="462" y="126"/>
                    <a:pt x="460" y="121"/>
                  </a:cubicBezTo>
                  <a:cubicBezTo>
                    <a:pt x="460" y="119"/>
                    <a:pt x="459" y="116"/>
                    <a:pt x="459" y="114"/>
                  </a:cubicBezTo>
                  <a:cubicBezTo>
                    <a:pt x="458" y="112"/>
                    <a:pt x="459" y="109"/>
                    <a:pt x="459" y="107"/>
                  </a:cubicBezTo>
                  <a:cubicBezTo>
                    <a:pt x="459" y="106"/>
                    <a:pt x="458" y="101"/>
                    <a:pt x="457" y="102"/>
                  </a:cubicBezTo>
                  <a:cubicBezTo>
                    <a:pt x="456" y="103"/>
                    <a:pt x="454" y="106"/>
                    <a:pt x="452" y="106"/>
                  </a:cubicBezTo>
                  <a:cubicBezTo>
                    <a:pt x="450" y="107"/>
                    <a:pt x="447" y="106"/>
                    <a:pt x="446" y="106"/>
                  </a:cubicBezTo>
                  <a:cubicBezTo>
                    <a:pt x="445" y="105"/>
                    <a:pt x="444" y="104"/>
                    <a:pt x="443" y="103"/>
                  </a:cubicBezTo>
                  <a:cubicBezTo>
                    <a:pt x="441" y="102"/>
                    <a:pt x="438" y="101"/>
                    <a:pt x="437" y="100"/>
                  </a:cubicBezTo>
                  <a:cubicBezTo>
                    <a:pt x="437" y="100"/>
                    <a:pt x="437" y="99"/>
                    <a:pt x="437" y="98"/>
                  </a:cubicBezTo>
                  <a:cubicBezTo>
                    <a:pt x="437" y="98"/>
                    <a:pt x="436" y="97"/>
                    <a:pt x="436" y="96"/>
                  </a:cubicBezTo>
                  <a:cubicBezTo>
                    <a:pt x="439" y="94"/>
                    <a:pt x="442" y="95"/>
                    <a:pt x="445" y="95"/>
                  </a:cubicBezTo>
                  <a:cubicBezTo>
                    <a:pt x="447" y="95"/>
                    <a:pt x="448" y="94"/>
                    <a:pt x="450" y="94"/>
                  </a:cubicBezTo>
                  <a:cubicBezTo>
                    <a:pt x="451" y="93"/>
                    <a:pt x="452" y="93"/>
                    <a:pt x="453" y="93"/>
                  </a:cubicBezTo>
                  <a:cubicBezTo>
                    <a:pt x="454" y="93"/>
                    <a:pt x="455" y="93"/>
                    <a:pt x="456" y="93"/>
                  </a:cubicBezTo>
                  <a:cubicBezTo>
                    <a:pt x="456" y="92"/>
                    <a:pt x="455" y="92"/>
                    <a:pt x="455" y="91"/>
                  </a:cubicBezTo>
                  <a:cubicBezTo>
                    <a:pt x="454" y="90"/>
                    <a:pt x="454" y="90"/>
                    <a:pt x="454" y="89"/>
                  </a:cubicBezTo>
                  <a:cubicBezTo>
                    <a:pt x="453" y="88"/>
                    <a:pt x="452" y="87"/>
                    <a:pt x="451" y="86"/>
                  </a:cubicBezTo>
                  <a:cubicBezTo>
                    <a:pt x="450" y="84"/>
                    <a:pt x="449" y="83"/>
                    <a:pt x="448" y="81"/>
                  </a:cubicBezTo>
                  <a:cubicBezTo>
                    <a:pt x="447" y="80"/>
                    <a:pt x="446" y="80"/>
                    <a:pt x="445" y="78"/>
                  </a:cubicBezTo>
                  <a:cubicBezTo>
                    <a:pt x="443" y="76"/>
                    <a:pt x="440" y="74"/>
                    <a:pt x="438" y="72"/>
                  </a:cubicBezTo>
                  <a:cubicBezTo>
                    <a:pt x="437" y="72"/>
                    <a:pt x="436" y="71"/>
                    <a:pt x="434" y="71"/>
                  </a:cubicBezTo>
                  <a:cubicBezTo>
                    <a:pt x="434" y="69"/>
                    <a:pt x="426" y="67"/>
                    <a:pt x="426" y="70"/>
                  </a:cubicBezTo>
                  <a:cubicBezTo>
                    <a:pt x="427" y="72"/>
                    <a:pt x="431" y="73"/>
                    <a:pt x="431" y="75"/>
                  </a:cubicBezTo>
                  <a:cubicBezTo>
                    <a:pt x="431" y="77"/>
                    <a:pt x="428" y="75"/>
                    <a:pt x="427" y="74"/>
                  </a:cubicBezTo>
                  <a:cubicBezTo>
                    <a:pt x="425" y="73"/>
                    <a:pt x="424" y="73"/>
                    <a:pt x="422" y="73"/>
                  </a:cubicBezTo>
                  <a:cubicBezTo>
                    <a:pt x="421" y="72"/>
                    <a:pt x="421" y="72"/>
                    <a:pt x="420" y="72"/>
                  </a:cubicBezTo>
                  <a:cubicBezTo>
                    <a:pt x="418" y="71"/>
                    <a:pt x="418" y="72"/>
                    <a:pt x="416" y="72"/>
                  </a:cubicBezTo>
                  <a:cubicBezTo>
                    <a:pt x="415" y="72"/>
                    <a:pt x="413" y="72"/>
                    <a:pt x="412" y="71"/>
                  </a:cubicBezTo>
                  <a:cubicBezTo>
                    <a:pt x="410" y="70"/>
                    <a:pt x="410" y="69"/>
                    <a:pt x="409" y="67"/>
                  </a:cubicBezTo>
                  <a:cubicBezTo>
                    <a:pt x="408" y="66"/>
                    <a:pt x="405" y="65"/>
                    <a:pt x="404" y="63"/>
                  </a:cubicBezTo>
                  <a:cubicBezTo>
                    <a:pt x="403" y="63"/>
                    <a:pt x="403" y="61"/>
                    <a:pt x="402" y="61"/>
                  </a:cubicBezTo>
                  <a:cubicBezTo>
                    <a:pt x="402" y="61"/>
                    <a:pt x="401" y="61"/>
                    <a:pt x="401" y="61"/>
                  </a:cubicBezTo>
                  <a:cubicBezTo>
                    <a:pt x="399" y="61"/>
                    <a:pt x="398" y="60"/>
                    <a:pt x="397" y="60"/>
                  </a:cubicBezTo>
                  <a:cubicBezTo>
                    <a:pt x="396" y="59"/>
                    <a:pt x="396" y="59"/>
                    <a:pt x="395" y="59"/>
                  </a:cubicBezTo>
                  <a:cubicBezTo>
                    <a:pt x="394" y="58"/>
                    <a:pt x="394" y="58"/>
                    <a:pt x="396" y="56"/>
                  </a:cubicBezTo>
                  <a:cubicBezTo>
                    <a:pt x="397" y="55"/>
                    <a:pt x="397" y="55"/>
                    <a:pt x="399" y="55"/>
                  </a:cubicBezTo>
                  <a:cubicBezTo>
                    <a:pt x="399" y="58"/>
                    <a:pt x="403" y="57"/>
                    <a:pt x="405" y="57"/>
                  </a:cubicBezTo>
                  <a:cubicBezTo>
                    <a:pt x="406" y="59"/>
                    <a:pt x="405" y="61"/>
                    <a:pt x="407" y="62"/>
                  </a:cubicBezTo>
                  <a:cubicBezTo>
                    <a:pt x="409" y="63"/>
                    <a:pt x="410" y="61"/>
                    <a:pt x="410" y="59"/>
                  </a:cubicBezTo>
                  <a:cubicBezTo>
                    <a:pt x="410" y="59"/>
                    <a:pt x="410" y="58"/>
                    <a:pt x="410" y="57"/>
                  </a:cubicBezTo>
                  <a:cubicBezTo>
                    <a:pt x="410" y="56"/>
                    <a:pt x="410" y="56"/>
                    <a:pt x="410" y="55"/>
                  </a:cubicBezTo>
                  <a:cubicBezTo>
                    <a:pt x="410" y="53"/>
                    <a:pt x="409" y="51"/>
                    <a:pt x="411" y="50"/>
                  </a:cubicBezTo>
                  <a:cubicBezTo>
                    <a:pt x="413" y="50"/>
                    <a:pt x="413" y="52"/>
                    <a:pt x="415" y="52"/>
                  </a:cubicBezTo>
                  <a:cubicBezTo>
                    <a:pt x="416" y="52"/>
                    <a:pt x="416" y="50"/>
                    <a:pt x="418" y="50"/>
                  </a:cubicBezTo>
                  <a:cubicBezTo>
                    <a:pt x="421" y="50"/>
                    <a:pt x="423" y="53"/>
                    <a:pt x="426" y="54"/>
                  </a:cubicBezTo>
                  <a:cubicBezTo>
                    <a:pt x="429" y="55"/>
                    <a:pt x="429" y="53"/>
                    <a:pt x="429" y="50"/>
                  </a:cubicBezTo>
                  <a:cubicBezTo>
                    <a:pt x="428" y="50"/>
                    <a:pt x="427" y="50"/>
                    <a:pt x="425" y="49"/>
                  </a:cubicBezTo>
                  <a:cubicBezTo>
                    <a:pt x="424" y="49"/>
                    <a:pt x="424" y="48"/>
                    <a:pt x="424" y="47"/>
                  </a:cubicBezTo>
                  <a:cubicBezTo>
                    <a:pt x="422" y="46"/>
                    <a:pt x="420" y="46"/>
                    <a:pt x="419" y="46"/>
                  </a:cubicBezTo>
                  <a:cubicBezTo>
                    <a:pt x="418" y="45"/>
                    <a:pt x="417" y="45"/>
                    <a:pt x="416" y="44"/>
                  </a:cubicBezTo>
                  <a:cubicBezTo>
                    <a:pt x="415" y="44"/>
                    <a:pt x="413" y="43"/>
                    <a:pt x="414" y="42"/>
                  </a:cubicBezTo>
                  <a:cubicBezTo>
                    <a:pt x="415" y="41"/>
                    <a:pt x="418" y="40"/>
                    <a:pt x="419" y="40"/>
                  </a:cubicBezTo>
                  <a:cubicBezTo>
                    <a:pt x="419" y="39"/>
                    <a:pt x="419" y="39"/>
                    <a:pt x="420" y="39"/>
                  </a:cubicBezTo>
                  <a:cubicBezTo>
                    <a:pt x="420" y="38"/>
                    <a:pt x="420" y="38"/>
                    <a:pt x="420" y="37"/>
                  </a:cubicBezTo>
                  <a:cubicBezTo>
                    <a:pt x="420" y="36"/>
                    <a:pt x="421" y="36"/>
                    <a:pt x="422" y="36"/>
                  </a:cubicBezTo>
                  <a:cubicBezTo>
                    <a:pt x="424" y="35"/>
                    <a:pt x="425" y="36"/>
                    <a:pt x="425" y="34"/>
                  </a:cubicBezTo>
                  <a:cubicBezTo>
                    <a:pt x="425" y="33"/>
                    <a:pt x="425" y="32"/>
                    <a:pt x="424" y="31"/>
                  </a:cubicBezTo>
                  <a:cubicBezTo>
                    <a:pt x="422" y="31"/>
                    <a:pt x="421" y="31"/>
                    <a:pt x="419" y="31"/>
                  </a:cubicBezTo>
                  <a:cubicBezTo>
                    <a:pt x="418" y="32"/>
                    <a:pt x="417" y="32"/>
                    <a:pt x="416" y="32"/>
                  </a:cubicBezTo>
                  <a:cubicBezTo>
                    <a:pt x="415" y="32"/>
                    <a:pt x="415" y="31"/>
                    <a:pt x="414" y="31"/>
                  </a:cubicBezTo>
                  <a:cubicBezTo>
                    <a:pt x="414" y="31"/>
                    <a:pt x="414" y="31"/>
                    <a:pt x="413" y="31"/>
                  </a:cubicBezTo>
                  <a:cubicBezTo>
                    <a:pt x="413" y="31"/>
                    <a:pt x="413" y="30"/>
                    <a:pt x="413" y="30"/>
                  </a:cubicBezTo>
                  <a:cubicBezTo>
                    <a:pt x="412" y="30"/>
                    <a:pt x="411" y="30"/>
                    <a:pt x="410" y="30"/>
                  </a:cubicBezTo>
                  <a:cubicBezTo>
                    <a:pt x="410" y="31"/>
                    <a:pt x="410" y="32"/>
                    <a:pt x="410" y="33"/>
                  </a:cubicBezTo>
                  <a:cubicBezTo>
                    <a:pt x="412" y="33"/>
                    <a:pt x="413" y="34"/>
                    <a:pt x="414" y="35"/>
                  </a:cubicBezTo>
                  <a:cubicBezTo>
                    <a:pt x="416" y="35"/>
                    <a:pt x="419" y="35"/>
                    <a:pt x="419" y="36"/>
                  </a:cubicBezTo>
                  <a:cubicBezTo>
                    <a:pt x="418" y="37"/>
                    <a:pt x="417" y="38"/>
                    <a:pt x="416" y="38"/>
                  </a:cubicBezTo>
                  <a:cubicBezTo>
                    <a:pt x="416" y="38"/>
                    <a:pt x="415" y="38"/>
                    <a:pt x="414" y="38"/>
                  </a:cubicBezTo>
                  <a:cubicBezTo>
                    <a:pt x="413" y="38"/>
                    <a:pt x="411" y="40"/>
                    <a:pt x="410" y="39"/>
                  </a:cubicBezTo>
                  <a:cubicBezTo>
                    <a:pt x="409" y="39"/>
                    <a:pt x="409" y="37"/>
                    <a:pt x="408" y="37"/>
                  </a:cubicBezTo>
                  <a:cubicBezTo>
                    <a:pt x="406" y="36"/>
                    <a:pt x="406" y="37"/>
                    <a:pt x="405" y="38"/>
                  </a:cubicBezTo>
                  <a:cubicBezTo>
                    <a:pt x="404" y="36"/>
                    <a:pt x="402" y="33"/>
                    <a:pt x="404" y="31"/>
                  </a:cubicBezTo>
                  <a:cubicBezTo>
                    <a:pt x="404" y="31"/>
                    <a:pt x="404" y="30"/>
                    <a:pt x="405" y="30"/>
                  </a:cubicBezTo>
                  <a:cubicBezTo>
                    <a:pt x="405" y="30"/>
                    <a:pt x="406" y="30"/>
                    <a:pt x="406" y="30"/>
                  </a:cubicBezTo>
                  <a:cubicBezTo>
                    <a:pt x="407" y="30"/>
                    <a:pt x="408" y="29"/>
                    <a:pt x="408" y="29"/>
                  </a:cubicBezTo>
                  <a:cubicBezTo>
                    <a:pt x="409" y="28"/>
                    <a:pt x="408" y="28"/>
                    <a:pt x="407" y="27"/>
                  </a:cubicBezTo>
                  <a:cubicBezTo>
                    <a:pt x="407" y="27"/>
                    <a:pt x="408" y="27"/>
                    <a:pt x="408" y="26"/>
                  </a:cubicBezTo>
                  <a:cubicBezTo>
                    <a:pt x="408" y="25"/>
                    <a:pt x="409" y="24"/>
                    <a:pt x="408" y="23"/>
                  </a:cubicBezTo>
                  <a:cubicBezTo>
                    <a:pt x="406" y="22"/>
                    <a:pt x="403" y="23"/>
                    <a:pt x="402" y="24"/>
                  </a:cubicBezTo>
                  <a:cubicBezTo>
                    <a:pt x="401" y="26"/>
                    <a:pt x="401" y="27"/>
                    <a:pt x="401" y="28"/>
                  </a:cubicBezTo>
                  <a:cubicBezTo>
                    <a:pt x="401" y="29"/>
                    <a:pt x="401" y="29"/>
                    <a:pt x="401" y="30"/>
                  </a:cubicBezTo>
                  <a:cubicBezTo>
                    <a:pt x="401" y="30"/>
                    <a:pt x="401" y="30"/>
                    <a:pt x="400" y="30"/>
                  </a:cubicBezTo>
                  <a:cubicBezTo>
                    <a:pt x="400" y="30"/>
                    <a:pt x="400" y="31"/>
                    <a:pt x="399" y="31"/>
                  </a:cubicBezTo>
                  <a:cubicBezTo>
                    <a:pt x="398" y="33"/>
                    <a:pt x="397" y="36"/>
                    <a:pt x="398" y="38"/>
                  </a:cubicBezTo>
                  <a:cubicBezTo>
                    <a:pt x="400" y="37"/>
                    <a:pt x="401" y="38"/>
                    <a:pt x="403" y="38"/>
                  </a:cubicBezTo>
                  <a:cubicBezTo>
                    <a:pt x="403" y="39"/>
                    <a:pt x="403" y="40"/>
                    <a:pt x="403" y="40"/>
                  </a:cubicBezTo>
                  <a:cubicBezTo>
                    <a:pt x="404" y="41"/>
                    <a:pt x="404" y="41"/>
                    <a:pt x="403" y="42"/>
                  </a:cubicBezTo>
                  <a:cubicBezTo>
                    <a:pt x="402" y="42"/>
                    <a:pt x="401" y="41"/>
                    <a:pt x="401" y="43"/>
                  </a:cubicBezTo>
                  <a:cubicBezTo>
                    <a:pt x="401" y="43"/>
                    <a:pt x="401" y="45"/>
                    <a:pt x="401" y="45"/>
                  </a:cubicBezTo>
                  <a:cubicBezTo>
                    <a:pt x="401" y="46"/>
                    <a:pt x="402" y="46"/>
                    <a:pt x="402" y="46"/>
                  </a:cubicBezTo>
                  <a:cubicBezTo>
                    <a:pt x="403" y="47"/>
                    <a:pt x="404" y="47"/>
                    <a:pt x="404" y="48"/>
                  </a:cubicBezTo>
                  <a:cubicBezTo>
                    <a:pt x="405" y="49"/>
                    <a:pt x="405" y="48"/>
                    <a:pt x="405" y="49"/>
                  </a:cubicBezTo>
                  <a:cubicBezTo>
                    <a:pt x="405" y="51"/>
                    <a:pt x="401" y="51"/>
                    <a:pt x="401" y="49"/>
                  </a:cubicBezTo>
                  <a:cubicBezTo>
                    <a:pt x="399" y="49"/>
                    <a:pt x="399" y="50"/>
                    <a:pt x="398" y="51"/>
                  </a:cubicBezTo>
                  <a:cubicBezTo>
                    <a:pt x="398" y="51"/>
                    <a:pt x="397" y="54"/>
                    <a:pt x="397" y="54"/>
                  </a:cubicBezTo>
                  <a:cubicBezTo>
                    <a:pt x="395" y="55"/>
                    <a:pt x="391" y="54"/>
                    <a:pt x="390" y="53"/>
                  </a:cubicBezTo>
                  <a:cubicBezTo>
                    <a:pt x="389" y="52"/>
                    <a:pt x="390" y="50"/>
                    <a:pt x="390" y="49"/>
                  </a:cubicBezTo>
                  <a:cubicBezTo>
                    <a:pt x="389" y="48"/>
                    <a:pt x="389" y="46"/>
                    <a:pt x="388" y="45"/>
                  </a:cubicBezTo>
                  <a:cubicBezTo>
                    <a:pt x="387" y="44"/>
                    <a:pt x="387" y="44"/>
                    <a:pt x="386" y="45"/>
                  </a:cubicBezTo>
                  <a:cubicBezTo>
                    <a:pt x="385" y="45"/>
                    <a:pt x="385" y="46"/>
                    <a:pt x="384" y="47"/>
                  </a:cubicBezTo>
                  <a:cubicBezTo>
                    <a:pt x="382" y="50"/>
                    <a:pt x="377" y="49"/>
                    <a:pt x="373" y="49"/>
                  </a:cubicBezTo>
                  <a:cubicBezTo>
                    <a:pt x="372" y="49"/>
                    <a:pt x="372" y="49"/>
                    <a:pt x="371" y="48"/>
                  </a:cubicBezTo>
                  <a:cubicBezTo>
                    <a:pt x="371" y="48"/>
                    <a:pt x="371" y="48"/>
                    <a:pt x="370" y="48"/>
                  </a:cubicBezTo>
                  <a:cubicBezTo>
                    <a:pt x="369" y="47"/>
                    <a:pt x="370" y="48"/>
                    <a:pt x="369" y="48"/>
                  </a:cubicBezTo>
                  <a:cubicBezTo>
                    <a:pt x="368" y="48"/>
                    <a:pt x="366" y="49"/>
                    <a:pt x="366" y="49"/>
                  </a:cubicBezTo>
                  <a:cubicBezTo>
                    <a:pt x="365" y="49"/>
                    <a:pt x="364" y="49"/>
                    <a:pt x="363" y="49"/>
                  </a:cubicBezTo>
                  <a:cubicBezTo>
                    <a:pt x="362" y="50"/>
                    <a:pt x="363" y="50"/>
                    <a:pt x="362" y="50"/>
                  </a:cubicBezTo>
                  <a:cubicBezTo>
                    <a:pt x="360" y="51"/>
                    <a:pt x="360" y="51"/>
                    <a:pt x="360" y="53"/>
                  </a:cubicBezTo>
                  <a:cubicBezTo>
                    <a:pt x="359" y="54"/>
                    <a:pt x="360" y="57"/>
                    <a:pt x="358" y="56"/>
                  </a:cubicBezTo>
                  <a:cubicBezTo>
                    <a:pt x="358" y="58"/>
                    <a:pt x="353" y="57"/>
                    <a:pt x="352" y="57"/>
                  </a:cubicBezTo>
                  <a:cubicBezTo>
                    <a:pt x="350" y="58"/>
                    <a:pt x="350" y="59"/>
                    <a:pt x="348" y="59"/>
                  </a:cubicBezTo>
                  <a:cubicBezTo>
                    <a:pt x="347" y="59"/>
                    <a:pt x="346" y="59"/>
                    <a:pt x="345" y="58"/>
                  </a:cubicBezTo>
                  <a:cubicBezTo>
                    <a:pt x="344" y="58"/>
                    <a:pt x="344" y="57"/>
                    <a:pt x="343" y="57"/>
                  </a:cubicBezTo>
                  <a:cubicBezTo>
                    <a:pt x="342" y="59"/>
                    <a:pt x="341" y="61"/>
                    <a:pt x="340" y="60"/>
                  </a:cubicBezTo>
                  <a:cubicBezTo>
                    <a:pt x="339" y="60"/>
                    <a:pt x="338" y="58"/>
                    <a:pt x="337" y="59"/>
                  </a:cubicBezTo>
                  <a:cubicBezTo>
                    <a:pt x="337" y="59"/>
                    <a:pt x="336" y="60"/>
                    <a:pt x="335" y="60"/>
                  </a:cubicBezTo>
                  <a:cubicBezTo>
                    <a:pt x="335" y="61"/>
                    <a:pt x="335" y="61"/>
                    <a:pt x="334" y="62"/>
                  </a:cubicBezTo>
                  <a:cubicBezTo>
                    <a:pt x="332" y="63"/>
                    <a:pt x="331" y="65"/>
                    <a:pt x="329" y="64"/>
                  </a:cubicBezTo>
                  <a:cubicBezTo>
                    <a:pt x="328" y="64"/>
                    <a:pt x="328" y="64"/>
                    <a:pt x="328" y="63"/>
                  </a:cubicBezTo>
                  <a:cubicBezTo>
                    <a:pt x="328" y="62"/>
                    <a:pt x="327" y="62"/>
                    <a:pt x="327" y="61"/>
                  </a:cubicBezTo>
                  <a:cubicBezTo>
                    <a:pt x="325" y="61"/>
                    <a:pt x="325" y="60"/>
                    <a:pt x="323" y="60"/>
                  </a:cubicBezTo>
                  <a:cubicBezTo>
                    <a:pt x="323" y="60"/>
                    <a:pt x="322" y="60"/>
                    <a:pt x="322" y="60"/>
                  </a:cubicBezTo>
                  <a:cubicBezTo>
                    <a:pt x="322" y="60"/>
                    <a:pt x="321" y="60"/>
                    <a:pt x="321" y="60"/>
                  </a:cubicBezTo>
                  <a:cubicBezTo>
                    <a:pt x="320" y="61"/>
                    <a:pt x="319" y="61"/>
                    <a:pt x="318" y="62"/>
                  </a:cubicBezTo>
                  <a:cubicBezTo>
                    <a:pt x="317" y="63"/>
                    <a:pt x="316" y="65"/>
                    <a:pt x="317" y="67"/>
                  </a:cubicBezTo>
                  <a:cubicBezTo>
                    <a:pt x="317" y="68"/>
                    <a:pt x="319" y="69"/>
                    <a:pt x="318" y="70"/>
                  </a:cubicBezTo>
                  <a:cubicBezTo>
                    <a:pt x="318" y="70"/>
                    <a:pt x="317" y="71"/>
                    <a:pt x="316" y="71"/>
                  </a:cubicBezTo>
                  <a:cubicBezTo>
                    <a:pt x="316" y="72"/>
                    <a:pt x="315" y="73"/>
                    <a:pt x="315" y="73"/>
                  </a:cubicBezTo>
                  <a:cubicBezTo>
                    <a:pt x="314" y="74"/>
                    <a:pt x="314" y="74"/>
                    <a:pt x="312" y="74"/>
                  </a:cubicBezTo>
                  <a:cubicBezTo>
                    <a:pt x="310" y="75"/>
                    <a:pt x="309" y="76"/>
                    <a:pt x="308" y="77"/>
                  </a:cubicBezTo>
                  <a:cubicBezTo>
                    <a:pt x="308" y="78"/>
                    <a:pt x="307" y="78"/>
                    <a:pt x="308" y="79"/>
                  </a:cubicBezTo>
                  <a:cubicBezTo>
                    <a:pt x="308" y="80"/>
                    <a:pt x="311" y="80"/>
                    <a:pt x="311" y="80"/>
                  </a:cubicBezTo>
                  <a:cubicBezTo>
                    <a:pt x="311" y="81"/>
                    <a:pt x="311" y="82"/>
                    <a:pt x="310" y="83"/>
                  </a:cubicBezTo>
                  <a:cubicBezTo>
                    <a:pt x="309" y="83"/>
                    <a:pt x="308" y="83"/>
                    <a:pt x="307" y="83"/>
                  </a:cubicBezTo>
                  <a:cubicBezTo>
                    <a:pt x="306" y="83"/>
                    <a:pt x="305" y="82"/>
                    <a:pt x="304" y="83"/>
                  </a:cubicBezTo>
                  <a:cubicBezTo>
                    <a:pt x="304" y="83"/>
                    <a:pt x="304" y="84"/>
                    <a:pt x="304" y="84"/>
                  </a:cubicBezTo>
                  <a:cubicBezTo>
                    <a:pt x="303" y="84"/>
                    <a:pt x="303" y="84"/>
                    <a:pt x="303" y="84"/>
                  </a:cubicBezTo>
                  <a:cubicBezTo>
                    <a:pt x="302" y="84"/>
                    <a:pt x="302" y="84"/>
                    <a:pt x="301" y="85"/>
                  </a:cubicBezTo>
                  <a:cubicBezTo>
                    <a:pt x="301" y="85"/>
                    <a:pt x="300" y="86"/>
                    <a:pt x="299" y="87"/>
                  </a:cubicBezTo>
                  <a:cubicBezTo>
                    <a:pt x="298" y="87"/>
                    <a:pt x="296" y="87"/>
                    <a:pt x="295" y="85"/>
                  </a:cubicBezTo>
                  <a:cubicBezTo>
                    <a:pt x="292" y="83"/>
                    <a:pt x="289" y="80"/>
                    <a:pt x="285" y="80"/>
                  </a:cubicBezTo>
                  <a:cubicBezTo>
                    <a:pt x="283" y="79"/>
                    <a:pt x="283" y="80"/>
                    <a:pt x="281" y="80"/>
                  </a:cubicBezTo>
                  <a:cubicBezTo>
                    <a:pt x="278" y="81"/>
                    <a:pt x="275" y="78"/>
                    <a:pt x="272" y="78"/>
                  </a:cubicBezTo>
                  <a:cubicBezTo>
                    <a:pt x="272" y="77"/>
                    <a:pt x="273" y="76"/>
                    <a:pt x="273" y="76"/>
                  </a:cubicBezTo>
                  <a:cubicBezTo>
                    <a:pt x="274" y="75"/>
                    <a:pt x="275" y="75"/>
                    <a:pt x="275" y="75"/>
                  </a:cubicBezTo>
                  <a:cubicBezTo>
                    <a:pt x="275" y="75"/>
                    <a:pt x="276" y="73"/>
                    <a:pt x="276" y="73"/>
                  </a:cubicBezTo>
                  <a:cubicBezTo>
                    <a:pt x="278" y="71"/>
                    <a:pt x="280" y="70"/>
                    <a:pt x="281" y="69"/>
                  </a:cubicBezTo>
                  <a:cubicBezTo>
                    <a:pt x="282" y="68"/>
                    <a:pt x="282" y="68"/>
                    <a:pt x="283" y="67"/>
                  </a:cubicBezTo>
                  <a:cubicBezTo>
                    <a:pt x="284" y="66"/>
                    <a:pt x="285" y="67"/>
                    <a:pt x="286" y="66"/>
                  </a:cubicBezTo>
                  <a:cubicBezTo>
                    <a:pt x="288" y="65"/>
                    <a:pt x="286" y="63"/>
                    <a:pt x="285" y="61"/>
                  </a:cubicBezTo>
                  <a:cubicBezTo>
                    <a:pt x="284" y="61"/>
                    <a:pt x="284" y="61"/>
                    <a:pt x="284" y="59"/>
                  </a:cubicBezTo>
                  <a:cubicBezTo>
                    <a:pt x="284" y="59"/>
                    <a:pt x="284" y="57"/>
                    <a:pt x="284" y="57"/>
                  </a:cubicBezTo>
                  <a:cubicBezTo>
                    <a:pt x="285" y="54"/>
                    <a:pt x="284" y="50"/>
                    <a:pt x="285" y="48"/>
                  </a:cubicBezTo>
                  <a:cubicBezTo>
                    <a:pt x="286" y="47"/>
                    <a:pt x="289" y="48"/>
                    <a:pt x="290" y="48"/>
                  </a:cubicBezTo>
                  <a:cubicBezTo>
                    <a:pt x="292" y="48"/>
                    <a:pt x="294" y="48"/>
                    <a:pt x="295" y="48"/>
                  </a:cubicBezTo>
                  <a:cubicBezTo>
                    <a:pt x="298" y="47"/>
                    <a:pt x="298" y="46"/>
                    <a:pt x="297" y="43"/>
                  </a:cubicBezTo>
                  <a:cubicBezTo>
                    <a:pt x="296" y="43"/>
                    <a:pt x="296" y="42"/>
                    <a:pt x="295" y="42"/>
                  </a:cubicBezTo>
                  <a:cubicBezTo>
                    <a:pt x="295" y="40"/>
                    <a:pt x="294" y="40"/>
                    <a:pt x="293" y="38"/>
                  </a:cubicBezTo>
                  <a:cubicBezTo>
                    <a:pt x="293" y="37"/>
                    <a:pt x="292" y="35"/>
                    <a:pt x="291" y="35"/>
                  </a:cubicBezTo>
                  <a:cubicBezTo>
                    <a:pt x="291" y="34"/>
                    <a:pt x="289" y="35"/>
                    <a:pt x="288" y="34"/>
                  </a:cubicBezTo>
                  <a:cubicBezTo>
                    <a:pt x="288" y="34"/>
                    <a:pt x="287" y="34"/>
                    <a:pt x="286" y="34"/>
                  </a:cubicBezTo>
                  <a:cubicBezTo>
                    <a:pt x="285" y="34"/>
                    <a:pt x="283" y="34"/>
                    <a:pt x="282" y="34"/>
                  </a:cubicBezTo>
                  <a:cubicBezTo>
                    <a:pt x="281" y="35"/>
                    <a:pt x="280" y="35"/>
                    <a:pt x="280" y="36"/>
                  </a:cubicBezTo>
                  <a:cubicBezTo>
                    <a:pt x="279" y="38"/>
                    <a:pt x="278" y="39"/>
                    <a:pt x="278" y="41"/>
                  </a:cubicBezTo>
                  <a:cubicBezTo>
                    <a:pt x="278" y="42"/>
                    <a:pt x="279" y="43"/>
                    <a:pt x="280" y="43"/>
                  </a:cubicBezTo>
                  <a:cubicBezTo>
                    <a:pt x="281" y="44"/>
                    <a:pt x="284" y="46"/>
                    <a:pt x="285" y="46"/>
                  </a:cubicBezTo>
                  <a:cubicBezTo>
                    <a:pt x="285" y="48"/>
                    <a:pt x="285" y="46"/>
                    <a:pt x="284" y="48"/>
                  </a:cubicBezTo>
                  <a:cubicBezTo>
                    <a:pt x="284" y="48"/>
                    <a:pt x="284" y="50"/>
                    <a:pt x="283" y="50"/>
                  </a:cubicBezTo>
                  <a:cubicBezTo>
                    <a:pt x="283" y="52"/>
                    <a:pt x="280" y="50"/>
                    <a:pt x="279" y="50"/>
                  </a:cubicBezTo>
                  <a:cubicBezTo>
                    <a:pt x="277" y="50"/>
                    <a:pt x="275" y="50"/>
                    <a:pt x="273" y="51"/>
                  </a:cubicBezTo>
                  <a:cubicBezTo>
                    <a:pt x="272" y="52"/>
                    <a:pt x="271" y="52"/>
                    <a:pt x="270" y="53"/>
                  </a:cubicBezTo>
                  <a:cubicBezTo>
                    <a:pt x="268" y="54"/>
                    <a:pt x="268" y="55"/>
                    <a:pt x="266" y="55"/>
                  </a:cubicBezTo>
                  <a:cubicBezTo>
                    <a:pt x="264" y="55"/>
                    <a:pt x="262" y="55"/>
                    <a:pt x="262" y="53"/>
                  </a:cubicBezTo>
                  <a:cubicBezTo>
                    <a:pt x="262" y="51"/>
                    <a:pt x="262" y="49"/>
                    <a:pt x="260" y="48"/>
                  </a:cubicBezTo>
                  <a:cubicBezTo>
                    <a:pt x="259" y="48"/>
                    <a:pt x="257" y="48"/>
                    <a:pt x="256" y="48"/>
                  </a:cubicBezTo>
                  <a:cubicBezTo>
                    <a:pt x="254" y="48"/>
                    <a:pt x="253" y="49"/>
                    <a:pt x="252" y="48"/>
                  </a:cubicBezTo>
                  <a:cubicBezTo>
                    <a:pt x="251" y="47"/>
                    <a:pt x="251" y="46"/>
                    <a:pt x="249" y="46"/>
                  </a:cubicBezTo>
                  <a:cubicBezTo>
                    <a:pt x="248" y="46"/>
                    <a:pt x="247" y="46"/>
                    <a:pt x="245" y="46"/>
                  </a:cubicBezTo>
                  <a:cubicBezTo>
                    <a:pt x="245" y="46"/>
                    <a:pt x="244" y="46"/>
                    <a:pt x="244" y="45"/>
                  </a:cubicBezTo>
                  <a:cubicBezTo>
                    <a:pt x="243" y="45"/>
                    <a:pt x="242" y="45"/>
                    <a:pt x="242" y="46"/>
                  </a:cubicBezTo>
                  <a:cubicBezTo>
                    <a:pt x="241" y="46"/>
                    <a:pt x="242" y="47"/>
                    <a:pt x="241" y="47"/>
                  </a:cubicBezTo>
                  <a:cubicBezTo>
                    <a:pt x="240" y="48"/>
                    <a:pt x="240" y="48"/>
                    <a:pt x="239" y="48"/>
                  </a:cubicBezTo>
                  <a:cubicBezTo>
                    <a:pt x="238" y="49"/>
                    <a:pt x="236" y="50"/>
                    <a:pt x="235" y="48"/>
                  </a:cubicBezTo>
                  <a:cubicBezTo>
                    <a:pt x="235" y="48"/>
                    <a:pt x="236" y="46"/>
                    <a:pt x="236" y="46"/>
                  </a:cubicBezTo>
                  <a:cubicBezTo>
                    <a:pt x="236" y="44"/>
                    <a:pt x="236" y="42"/>
                    <a:pt x="234" y="41"/>
                  </a:cubicBezTo>
                  <a:cubicBezTo>
                    <a:pt x="232" y="41"/>
                    <a:pt x="232" y="42"/>
                    <a:pt x="230" y="42"/>
                  </a:cubicBezTo>
                  <a:cubicBezTo>
                    <a:pt x="229" y="42"/>
                    <a:pt x="229" y="42"/>
                    <a:pt x="228" y="42"/>
                  </a:cubicBezTo>
                  <a:cubicBezTo>
                    <a:pt x="226" y="42"/>
                    <a:pt x="224" y="41"/>
                    <a:pt x="223" y="42"/>
                  </a:cubicBezTo>
                  <a:cubicBezTo>
                    <a:pt x="222" y="42"/>
                    <a:pt x="222" y="43"/>
                    <a:pt x="220" y="43"/>
                  </a:cubicBezTo>
                  <a:cubicBezTo>
                    <a:pt x="219" y="44"/>
                    <a:pt x="218" y="44"/>
                    <a:pt x="217" y="43"/>
                  </a:cubicBezTo>
                  <a:cubicBezTo>
                    <a:pt x="218" y="42"/>
                    <a:pt x="218" y="40"/>
                    <a:pt x="220" y="38"/>
                  </a:cubicBezTo>
                  <a:cubicBezTo>
                    <a:pt x="221" y="38"/>
                    <a:pt x="222" y="37"/>
                    <a:pt x="223" y="37"/>
                  </a:cubicBezTo>
                  <a:cubicBezTo>
                    <a:pt x="223" y="37"/>
                    <a:pt x="225" y="36"/>
                    <a:pt x="225" y="36"/>
                  </a:cubicBezTo>
                  <a:cubicBezTo>
                    <a:pt x="225" y="36"/>
                    <a:pt x="225" y="34"/>
                    <a:pt x="225" y="34"/>
                  </a:cubicBezTo>
                  <a:cubicBezTo>
                    <a:pt x="225" y="32"/>
                    <a:pt x="225" y="31"/>
                    <a:pt x="225" y="30"/>
                  </a:cubicBezTo>
                  <a:cubicBezTo>
                    <a:pt x="225" y="29"/>
                    <a:pt x="226" y="27"/>
                    <a:pt x="226" y="26"/>
                  </a:cubicBezTo>
                  <a:cubicBezTo>
                    <a:pt x="225" y="25"/>
                    <a:pt x="224" y="25"/>
                    <a:pt x="224" y="24"/>
                  </a:cubicBezTo>
                  <a:cubicBezTo>
                    <a:pt x="224" y="23"/>
                    <a:pt x="224" y="23"/>
                    <a:pt x="225" y="22"/>
                  </a:cubicBezTo>
                  <a:cubicBezTo>
                    <a:pt x="225" y="21"/>
                    <a:pt x="224" y="20"/>
                    <a:pt x="222" y="20"/>
                  </a:cubicBezTo>
                  <a:cubicBezTo>
                    <a:pt x="222" y="18"/>
                    <a:pt x="224" y="16"/>
                    <a:pt x="224" y="14"/>
                  </a:cubicBezTo>
                  <a:cubicBezTo>
                    <a:pt x="224" y="13"/>
                    <a:pt x="223" y="10"/>
                    <a:pt x="222" y="10"/>
                  </a:cubicBezTo>
                  <a:cubicBezTo>
                    <a:pt x="221" y="9"/>
                    <a:pt x="219" y="11"/>
                    <a:pt x="218" y="11"/>
                  </a:cubicBezTo>
                  <a:cubicBezTo>
                    <a:pt x="217" y="12"/>
                    <a:pt x="217" y="13"/>
                    <a:pt x="216" y="13"/>
                  </a:cubicBezTo>
                  <a:cubicBezTo>
                    <a:pt x="215" y="13"/>
                    <a:pt x="214" y="12"/>
                    <a:pt x="213" y="12"/>
                  </a:cubicBezTo>
                  <a:cubicBezTo>
                    <a:pt x="212" y="11"/>
                    <a:pt x="212" y="11"/>
                    <a:pt x="211" y="10"/>
                  </a:cubicBezTo>
                  <a:cubicBezTo>
                    <a:pt x="209" y="9"/>
                    <a:pt x="208" y="9"/>
                    <a:pt x="206" y="9"/>
                  </a:cubicBezTo>
                  <a:cubicBezTo>
                    <a:pt x="204" y="9"/>
                    <a:pt x="204" y="8"/>
                    <a:pt x="203" y="6"/>
                  </a:cubicBezTo>
                  <a:cubicBezTo>
                    <a:pt x="202" y="6"/>
                    <a:pt x="201" y="5"/>
                    <a:pt x="200" y="5"/>
                  </a:cubicBezTo>
                  <a:cubicBezTo>
                    <a:pt x="199" y="5"/>
                    <a:pt x="199" y="5"/>
                    <a:pt x="198" y="5"/>
                  </a:cubicBezTo>
                  <a:cubicBezTo>
                    <a:pt x="198" y="5"/>
                    <a:pt x="197" y="5"/>
                    <a:pt x="196" y="5"/>
                  </a:cubicBezTo>
                  <a:cubicBezTo>
                    <a:pt x="196" y="5"/>
                    <a:pt x="195" y="4"/>
                    <a:pt x="194" y="5"/>
                  </a:cubicBezTo>
                  <a:cubicBezTo>
                    <a:pt x="193" y="5"/>
                    <a:pt x="193" y="6"/>
                    <a:pt x="192" y="7"/>
                  </a:cubicBezTo>
                  <a:cubicBezTo>
                    <a:pt x="191" y="8"/>
                    <a:pt x="191" y="8"/>
                    <a:pt x="189" y="8"/>
                  </a:cubicBezTo>
                  <a:cubicBezTo>
                    <a:pt x="188" y="9"/>
                    <a:pt x="188" y="10"/>
                    <a:pt x="187" y="11"/>
                  </a:cubicBezTo>
                  <a:cubicBezTo>
                    <a:pt x="186" y="11"/>
                    <a:pt x="185" y="11"/>
                    <a:pt x="184" y="11"/>
                  </a:cubicBezTo>
                  <a:cubicBezTo>
                    <a:pt x="182" y="11"/>
                    <a:pt x="181" y="11"/>
                    <a:pt x="181" y="9"/>
                  </a:cubicBezTo>
                  <a:cubicBezTo>
                    <a:pt x="181" y="7"/>
                    <a:pt x="181" y="6"/>
                    <a:pt x="180" y="5"/>
                  </a:cubicBezTo>
                  <a:cubicBezTo>
                    <a:pt x="180" y="5"/>
                    <a:pt x="180" y="5"/>
                    <a:pt x="180" y="4"/>
                  </a:cubicBezTo>
                  <a:cubicBezTo>
                    <a:pt x="180" y="4"/>
                    <a:pt x="179" y="4"/>
                    <a:pt x="180" y="3"/>
                  </a:cubicBezTo>
                  <a:cubicBezTo>
                    <a:pt x="179" y="3"/>
                    <a:pt x="179" y="2"/>
                    <a:pt x="179" y="1"/>
                  </a:cubicBezTo>
                  <a:cubicBezTo>
                    <a:pt x="178" y="1"/>
                    <a:pt x="176" y="1"/>
                    <a:pt x="176" y="1"/>
                  </a:cubicBezTo>
                  <a:cubicBezTo>
                    <a:pt x="175" y="2"/>
                    <a:pt x="175" y="2"/>
                    <a:pt x="175" y="3"/>
                  </a:cubicBezTo>
                  <a:cubicBezTo>
                    <a:pt x="174" y="3"/>
                    <a:pt x="173" y="3"/>
                    <a:pt x="173" y="3"/>
                  </a:cubicBezTo>
                  <a:cubicBezTo>
                    <a:pt x="172" y="3"/>
                    <a:pt x="170" y="3"/>
                    <a:pt x="169" y="3"/>
                  </a:cubicBezTo>
                  <a:cubicBezTo>
                    <a:pt x="168" y="3"/>
                    <a:pt x="167" y="2"/>
                    <a:pt x="166" y="1"/>
                  </a:cubicBezTo>
                  <a:cubicBezTo>
                    <a:pt x="165" y="1"/>
                    <a:pt x="163" y="1"/>
                    <a:pt x="162" y="1"/>
                  </a:cubicBezTo>
                  <a:cubicBezTo>
                    <a:pt x="160" y="1"/>
                    <a:pt x="158" y="1"/>
                    <a:pt x="157" y="1"/>
                  </a:cubicBezTo>
                  <a:cubicBezTo>
                    <a:pt x="154" y="1"/>
                    <a:pt x="152" y="0"/>
                    <a:pt x="149" y="0"/>
                  </a:cubicBezTo>
                  <a:cubicBezTo>
                    <a:pt x="149" y="2"/>
                    <a:pt x="148" y="4"/>
                    <a:pt x="148" y="7"/>
                  </a:cubicBezTo>
                  <a:cubicBezTo>
                    <a:pt x="148" y="8"/>
                    <a:pt x="149" y="9"/>
                    <a:pt x="149" y="10"/>
                  </a:cubicBezTo>
                  <a:cubicBezTo>
                    <a:pt x="150" y="11"/>
                    <a:pt x="151" y="9"/>
                    <a:pt x="153" y="9"/>
                  </a:cubicBezTo>
                  <a:cubicBezTo>
                    <a:pt x="153" y="11"/>
                    <a:pt x="152" y="12"/>
                    <a:pt x="152" y="13"/>
                  </a:cubicBezTo>
                  <a:cubicBezTo>
                    <a:pt x="152" y="14"/>
                    <a:pt x="153" y="14"/>
                    <a:pt x="153" y="14"/>
                  </a:cubicBezTo>
                  <a:cubicBezTo>
                    <a:pt x="153" y="14"/>
                    <a:pt x="153" y="16"/>
                    <a:pt x="154" y="17"/>
                  </a:cubicBezTo>
                  <a:cubicBezTo>
                    <a:pt x="154" y="17"/>
                    <a:pt x="153" y="18"/>
                    <a:pt x="154" y="18"/>
                  </a:cubicBezTo>
                  <a:cubicBezTo>
                    <a:pt x="154" y="19"/>
                    <a:pt x="156" y="20"/>
                    <a:pt x="156" y="21"/>
                  </a:cubicBezTo>
                  <a:cubicBezTo>
                    <a:pt x="157" y="22"/>
                    <a:pt x="158" y="25"/>
                    <a:pt x="160" y="25"/>
                  </a:cubicBezTo>
                  <a:cubicBezTo>
                    <a:pt x="160" y="25"/>
                    <a:pt x="161" y="25"/>
                    <a:pt x="161" y="24"/>
                  </a:cubicBezTo>
                  <a:cubicBezTo>
                    <a:pt x="161" y="25"/>
                    <a:pt x="161" y="26"/>
                    <a:pt x="161" y="27"/>
                  </a:cubicBezTo>
                  <a:cubicBezTo>
                    <a:pt x="163" y="27"/>
                    <a:pt x="163" y="29"/>
                    <a:pt x="163" y="30"/>
                  </a:cubicBezTo>
                  <a:cubicBezTo>
                    <a:pt x="163" y="30"/>
                    <a:pt x="163" y="31"/>
                    <a:pt x="163" y="32"/>
                  </a:cubicBezTo>
                  <a:cubicBezTo>
                    <a:pt x="164" y="32"/>
                    <a:pt x="165" y="32"/>
                    <a:pt x="165" y="32"/>
                  </a:cubicBezTo>
                  <a:cubicBezTo>
                    <a:pt x="165" y="32"/>
                    <a:pt x="166" y="34"/>
                    <a:pt x="166" y="34"/>
                  </a:cubicBezTo>
                  <a:cubicBezTo>
                    <a:pt x="166" y="34"/>
                    <a:pt x="166" y="35"/>
                    <a:pt x="166" y="36"/>
                  </a:cubicBezTo>
                  <a:cubicBezTo>
                    <a:pt x="165" y="37"/>
                    <a:pt x="163" y="36"/>
                    <a:pt x="162" y="38"/>
                  </a:cubicBezTo>
                  <a:cubicBezTo>
                    <a:pt x="162" y="38"/>
                    <a:pt x="162" y="39"/>
                    <a:pt x="161" y="39"/>
                  </a:cubicBezTo>
                  <a:cubicBezTo>
                    <a:pt x="161" y="40"/>
                    <a:pt x="160" y="40"/>
                    <a:pt x="160" y="40"/>
                  </a:cubicBezTo>
                  <a:cubicBezTo>
                    <a:pt x="159" y="42"/>
                    <a:pt x="159" y="42"/>
                    <a:pt x="161" y="42"/>
                  </a:cubicBezTo>
                  <a:cubicBezTo>
                    <a:pt x="162" y="42"/>
                    <a:pt x="162" y="43"/>
                    <a:pt x="163" y="42"/>
                  </a:cubicBezTo>
                  <a:cubicBezTo>
                    <a:pt x="164" y="42"/>
                    <a:pt x="165" y="42"/>
                    <a:pt x="166" y="41"/>
                  </a:cubicBezTo>
                  <a:cubicBezTo>
                    <a:pt x="167" y="41"/>
                    <a:pt x="167" y="41"/>
                    <a:pt x="168" y="41"/>
                  </a:cubicBezTo>
                  <a:cubicBezTo>
                    <a:pt x="169" y="40"/>
                    <a:pt x="171" y="40"/>
                    <a:pt x="172" y="41"/>
                  </a:cubicBezTo>
                  <a:cubicBezTo>
                    <a:pt x="173" y="41"/>
                    <a:pt x="173" y="40"/>
                    <a:pt x="173" y="41"/>
                  </a:cubicBezTo>
                  <a:cubicBezTo>
                    <a:pt x="174" y="43"/>
                    <a:pt x="172" y="44"/>
                    <a:pt x="171" y="45"/>
                  </a:cubicBezTo>
                  <a:cubicBezTo>
                    <a:pt x="168" y="48"/>
                    <a:pt x="165" y="48"/>
                    <a:pt x="161" y="48"/>
                  </a:cubicBezTo>
                  <a:cubicBezTo>
                    <a:pt x="159" y="48"/>
                    <a:pt x="157" y="48"/>
                    <a:pt x="155" y="48"/>
                  </a:cubicBezTo>
                  <a:cubicBezTo>
                    <a:pt x="153" y="48"/>
                    <a:pt x="153" y="49"/>
                    <a:pt x="152" y="50"/>
                  </a:cubicBezTo>
                  <a:cubicBezTo>
                    <a:pt x="151" y="51"/>
                    <a:pt x="152" y="51"/>
                    <a:pt x="153" y="53"/>
                  </a:cubicBezTo>
                  <a:cubicBezTo>
                    <a:pt x="152" y="53"/>
                    <a:pt x="152" y="53"/>
                    <a:pt x="151" y="53"/>
                  </a:cubicBezTo>
                  <a:cubicBezTo>
                    <a:pt x="150" y="53"/>
                    <a:pt x="150" y="54"/>
                    <a:pt x="149" y="54"/>
                  </a:cubicBezTo>
                  <a:cubicBezTo>
                    <a:pt x="149" y="54"/>
                    <a:pt x="149" y="54"/>
                    <a:pt x="148" y="55"/>
                  </a:cubicBezTo>
                  <a:cubicBezTo>
                    <a:pt x="148" y="55"/>
                    <a:pt x="148" y="56"/>
                    <a:pt x="148" y="57"/>
                  </a:cubicBezTo>
                  <a:cubicBezTo>
                    <a:pt x="149" y="58"/>
                    <a:pt x="149" y="60"/>
                    <a:pt x="150" y="61"/>
                  </a:cubicBezTo>
                  <a:cubicBezTo>
                    <a:pt x="150" y="61"/>
                    <a:pt x="150" y="61"/>
                    <a:pt x="151" y="61"/>
                  </a:cubicBezTo>
                  <a:cubicBezTo>
                    <a:pt x="152" y="61"/>
                    <a:pt x="152" y="60"/>
                    <a:pt x="154" y="60"/>
                  </a:cubicBezTo>
                  <a:cubicBezTo>
                    <a:pt x="154" y="59"/>
                    <a:pt x="155" y="60"/>
                    <a:pt x="155" y="59"/>
                  </a:cubicBezTo>
                  <a:cubicBezTo>
                    <a:pt x="156" y="59"/>
                    <a:pt x="156" y="57"/>
                    <a:pt x="157" y="57"/>
                  </a:cubicBezTo>
                  <a:cubicBezTo>
                    <a:pt x="158" y="57"/>
                    <a:pt x="158" y="59"/>
                    <a:pt x="160" y="59"/>
                  </a:cubicBezTo>
                  <a:cubicBezTo>
                    <a:pt x="161" y="59"/>
                    <a:pt x="162" y="58"/>
                    <a:pt x="163" y="58"/>
                  </a:cubicBezTo>
                  <a:cubicBezTo>
                    <a:pt x="165" y="58"/>
                    <a:pt x="166" y="59"/>
                    <a:pt x="167" y="60"/>
                  </a:cubicBezTo>
                  <a:cubicBezTo>
                    <a:pt x="168" y="62"/>
                    <a:pt x="161" y="61"/>
                    <a:pt x="160" y="61"/>
                  </a:cubicBezTo>
                  <a:cubicBezTo>
                    <a:pt x="159" y="61"/>
                    <a:pt x="158" y="60"/>
                    <a:pt x="158" y="61"/>
                  </a:cubicBezTo>
                  <a:cubicBezTo>
                    <a:pt x="157" y="61"/>
                    <a:pt x="157" y="61"/>
                    <a:pt x="157" y="62"/>
                  </a:cubicBezTo>
                  <a:cubicBezTo>
                    <a:pt x="156" y="63"/>
                    <a:pt x="156" y="64"/>
                    <a:pt x="156" y="65"/>
                  </a:cubicBezTo>
                  <a:cubicBezTo>
                    <a:pt x="155" y="66"/>
                    <a:pt x="154" y="66"/>
                    <a:pt x="154" y="67"/>
                  </a:cubicBezTo>
                  <a:cubicBezTo>
                    <a:pt x="154" y="68"/>
                    <a:pt x="153" y="69"/>
                    <a:pt x="154" y="70"/>
                  </a:cubicBezTo>
                  <a:cubicBezTo>
                    <a:pt x="154" y="70"/>
                    <a:pt x="154" y="70"/>
                    <a:pt x="155" y="70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72"/>
                    <a:pt x="156" y="73"/>
                    <a:pt x="158" y="74"/>
                  </a:cubicBezTo>
                  <a:cubicBezTo>
                    <a:pt x="158" y="74"/>
                    <a:pt x="161" y="74"/>
                    <a:pt x="161" y="74"/>
                  </a:cubicBezTo>
                  <a:cubicBezTo>
                    <a:pt x="163" y="73"/>
                    <a:pt x="165" y="72"/>
                    <a:pt x="167" y="73"/>
                  </a:cubicBezTo>
                  <a:cubicBezTo>
                    <a:pt x="167" y="74"/>
                    <a:pt x="167" y="74"/>
                    <a:pt x="167" y="75"/>
                  </a:cubicBezTo>
                  <a:cubicBezTo>
                    <a:pt x="167" y="75"/>
                    <a:pt x="168" y="76"/>
                    <a:pt x="168" y="75"/>
                  </a:cubicBezTo>
                  <a:cubicBezTo>
                    <a:pt x="168" y="76"/>
                    <a:pt x="168" y="78"/>
                    <a:pt x="168" y="78"/>
                  </a:cubicBezTo>
                  <a:cubicBezTo>
                    <a:pt x="168" y="79"/>
                    <a:pt x="167" y="80"/>
                    <a:pt x="167" y="81"/>
                  </a:cubicBezTo>
                  <a:cubicBezTo>
                    <a:pt x="166" y="82"/>
                    <a:pt x="165" y="82"/>
                    <a:pt x="164" y="82"/>
                  </a:cubicBezTo>
                  <a:cubicBezTo>
                    <a:pt x="162" y="83"/>
                    <a:pt x="162" y="82"/>
                    <a:pt x="161" y="84"/>
                  </a:cubicBezTo>
                  <a:cubicBezTo>
                    <a:pt x="161" y="84"/>
                    <a:pt x="162" y="85"/>
                    <a:pt x="162" y="86"/>
                  </a:cubicBezTo>
                  <a:cubicBezTo>
                    <a:pt x="163" y="89"/>
                    <a:pt x="162" y="92"/>
                    <a:pt x="165" y="94"/>
                  </a:cubicBezTo>
                  <a:cubicBezTo>
                    <a:pt x="165" y="94"/>
                    <a:pt x="165" y="94"/>
                    <a:pt x="166" y="94"/>
                  </a:cubicBezTo>
                  <a:cubicBezTo>
                    <a:pt x="166" y="95"/>
                    <a:pt x="166" y="95"/>
                    <a:pt x="166" y="95"/>
                  </a:cubicBezTo>
                  <a:cubicBezTo>
                    <a:pt x="167" y="96"/>
                    <a:pt x="168" y="96"/>
                    <a:pt x="169" y="96"/>
                  </a:cubicBezTo>
                  <a:cubicBezTo>
                    <a:pt x="170" y="96"/>
                    <a:pt x="171" y="96"/>
                    <a:pt x="173" y="96"/>
                  </a:cubicBezTo>
                  <a:cubicBezTo>
                    <a:pt x="175" y="96"/>
                    <a:pt x="177" y="96"/>
                    <a:pt x="179" y="97"/>
                  </a:cubicBezTo>
                  <a:cubicBezTo>
                    <a:pt x="181" y="97"/>
                    <a:pt x="182" y="97"/>
                    <a:pt x="184" y="98"/>
                  </a:cubicBezTo>
                  <a:cubicBezTo>
                    <a:pt x="185" y="99"/>
                    <a:pt x="186" y="99"/>
                    <a:pt x="187" y="100"/>
                  </a:cubicBezTo>
                  <a:cubicBezTo>
                    <a:pt x="188" y="101"/>
                    <a:pt x="190" y="101"/>
                    <a:pt x="191" y="102"/>
                  </a:cubicBezTo>
                  <a:cubicBezTo>
                    <a:pt x="192" y="104"/>
                    <a:pt x="192" y="106"/>
                    <a:pt x="192" y="108"/>
                  </a:cubicBezTo>
                  <a:cubicBezTo>
                    <a:pt x="191" y="107"/>
                    <a:pt x="189" y="106"/>
                    <a:pt x="188" y="104"/>
                  </a:cubicBezTo>
                  <a:cubicBezTo>
                    <a:pt x="188" y="104"/>
                    <a:pt x="188" y="103"/>
                    <a:pt x="188" y="103"/>
                  </a:cubicBezTo>
                  <a:cubicBezTo>
                    <a:pt x="187" y="102"/>
                    <a:pt x="186" y="102"/>
                    <a:pt x="186" y="101"/>
                  </a:cubicBezTo>
                  <a:cubicBezTo>
                    <a:pt x="185" y="101"/>
                    <a:pt x="184" y="100"/>
                    <a:pt x="183" y="99"/>
                  </a:cubicBezTo>
                  <a:cubicBezTo>
                    <a:pt x="182" y="98"/>
                    <a:pt x="180" y="99"/>
                    <a:pt x="179" y="99"/>
                  </a:cubicBezTo>
                  <a:cubicBezTo>
                    <a:pt x="176" y="99"/>
                    <a:pt x="173" y="98"/>
                    <a:pt x="171" y="99"/>
                  </a:cubicBezTo>
                  <a:cubicBezTo>
                    <a:pt x="170" y="99"/>
                    <a:pt x="169" y="100"/>
                    <a:pt x="169" y="101"/>
                  </a:cubicBezTo>
                  <a:cubicBezTo>
                    <a:pt x="168" y="101"/>
                    <a:pt x="167" y="101"/>
                    <a:pt x="167" y="101"/>
                  </a:cubicBezTo>
                  <a:cubicBezTo>
                    <a:pt x="165" y="101"/>
                    <a:pt x="164" y="101"/>
                    <a:pt x="162" y="101"/>
                  </a:cubicBezTo>
                  <a:cubicBezTo>
                    <a:pt x="161" y="100"/>
                    <a:pt x="160" y="100"/>
                    <a:pt x="158" y="100"/>
                  </a:cubicBezTo>
                  <a:cubicBezTo>
                    <a:pt x="158" y="100"/>
                    <a:pt x="157" y="100"/>
                    <a:pt x="157" y="100"/>
                  </a:cubicBezTo>
                  <a:cubicBezTo>
                    <a:pt x="156" y="99"/>
                    <a:pt x="156" y="97"/>
                    <a:pt x="155" y="96"/>
                  </a:cubicBezTo>
                  <a:cubicBezTo>
                    <a:pt x="155" y="96"/>
                    <a:pt x="152" y="96"/>
                    <a:pt x="151" y="96"/>
                  </a:cubicBezTo>
                  <a:cubicBezTo>
                    <a:pt x="150" y="96"/>
                    <a:pt x="150" y="96"/>
                    <a:pt x="149" y="97"/>
                  </a:cubicBezTo>
                  <a:cubicBezTo>
                    <a:pt x="149" y="97"/>
                    <a:pt x="149" y="98"/>
                    <a:pt x="149" y="98"/>
                  </a:cubicBezTo>
                  <a:cubicBezTo>
                    <a:pt x="148" y="98"/>
                    <a:pt x="148" y="98"/>
                    <a:pt x="147" y="98"/>
                  </a:cubicBezTo>
                  <a:cubicBezTo>
                    <a:pt x="146" y="99"/>
                    <a:pt x="147" y="100"/>
                    <a:pt x="146" y="101"/>
                  </a:cubicBezTo>
                  <a:cubicBezTo>
                    <a:pt x="145" y="103"/>
                    <a:pt x="142" y="105"/>
                    <a:pt x="141" y="106"/>
                  </a:cubicBezTo>
                  <a:cubicBezTo>
                    <a:pt x="140" y="106"/>
                    <a:pt x="137" y="107"/>
                    <a:pt x="137" y="108"/>
                  </a:cubicBezTo>
                  <a:cubicBezTo>
                    <a:pt x="137" y="109"/>
                    <a:pt x="138" y="112"/>
                    <a:pt x="138" y="113"/>
                  </a:cubicBezTo>
                  <a:cubicBezTo>
                    <a:pt x="138" y="114"/>
                    <a:pt x="141" y="118"/>
                    <a:pt x="142" y="119"/>
                  </a:cubicBezTo>
                  <a:cubicBezTo>
                    <a:pt x="142" y="120"/>
                    <a:pt x="147" y="123"/>
                    <a:pt x="146" y="124"/>
                  </a:cubicBezTo>
                  <a:cubicBezTo>
                    <a:pt x="145" y="123"/>
                    <a:pt x="140" y="121"/>
                    <a:pt x="140" y="121"/>
                  </a:cubicBezTo>
                  <a:cubicBezTo>
                    <a:pt x="138" y="121"/>
                    <a:pt x="137" y="120"/>
                    <a:pt x="136" y="120"/>
                  </a:cubicBezTo>
                  <a:cubicBezTo>
                    <a:pt x="135" y="120"/>
                    <a:pt x="134" y="121"/>
                    <a:pt x="133" y="120"/>
                  </a:cubicBezTo>
                  <a:cubicBezTo>
                    <a:pt x="133" y="120"/>
                    <a:pt x="133" y="120"/>
                    <a:pt x="133" y="120"/>
                  </a:cubicBezTo>
                  <a:cubicBezTo>
                    <a:pt x="131" y="120"/>
                    <a:pt x="128" y="116"/>
                    <a:pt x="127" y="120"/>
                  </a:cubicBezTo>
                  <a:cubicBezTo>
                    <a:pt x="127" y="122"/>
                    <a:pt x="127" y="121"/>
                    <a:pt x="127" y="123"/>
                  </a:cubicBezTo>
                  <a:cubicBezTo>
                    <a:pt x="130" y="123"/>
                    <a:pt x="130" y="126"/>
                    <a:pt x="130" y="129"/>
                  </a:cubicBezTo>
                  <a:cubicBezTo>
                    <a:pt x="131" y="131"/>
                    <a:pt x="131" y="132"/>
                    <a:pt x="130" y="134"/>
                  </a:cubicBezTo>
                  <a:cubicBezTo>
                    <a:pt x="129" y="134"/>
                    <a:pt x="128" y="136"/>
                    <a:pt x="128" y="136"/>
                  </a:cubicBezTo>
                  <a:cubicBezTo>
                    <a:pt x="127" y="136"/>
                    <a:pt x="126" y="135"/>
                    <a:pt x="125" y="135"/>
                  </a:cubicBezTo>
                  <a:cubicBezTo>
                    <a:pt x="124" y="135"/>
                    <a:pt x="123" y="135"/>
                    <a:pt x="123" y="134"/>
                  </a:cubicBezTo>
                  <a:cubicBezTo>
                    <a:pt x="122" y="134"/>
                    <a:pt x="119" y="130"/>
                    <a:pt x="119" y="129"/>
                  </a:cubicBezTo>
                  <a:cubicBezTo>
                    <a:pt x="120" y="127"/>
                    <a:pt x="121" y="126"/>
                    <a:pt x="122" y="124"/>
                  </a:cubicBezTo>
                  <a:cubicBezTo>
                    <a:pt x="122" y="124"/>
                    <a:pt x="124" y="124"/>
                    <a:pt x="124" y="123"/>
                  </a:cubicBezTo>
                  <a:cubicBezTo>
                    <a:pt x="125" y="122"/>
                    <a:pt x="126" y="118"/>
                    <a:pt x="126" y="117"/>
                  </a:cubicBezTo>
                  <a:cubicBezTo>
                    <a:pt x="126" y="114"/>
                    <a:pt x="127" y="113"/>
                    <a:pt x="123" y="112"/>
                  </a:cubicBezTo>
                  <a:cubicBezTo>
                    <a:pt x="122" y="111"/>
                    <a:pt x="120" y="111"/>
                    <a:pt x="119" y="111"/>
                  </a:cubicBezTo>
                  <a:cubicBezTo>
                    <a:pt x="118" y="110"/>
                    <a:pt x="117" y="109"/>
                    <a:pt x="116" y="109"/>
                  </a:cubicBezTo>
                  <a:cubicBezTo>
                    <a:pt x="114" y="109"/>
                    <a:pt x="112" y="109"/>
                    <a:pt x="111" y="109"/>
                  </a:cubicBezTo>
                  <a:cubicBezTo>
                    <a:pt x="109" y="110"/>
                    <a:pt x="107" y="111"/>
                    <a:pt x="105" y="113"/>
                  </a:cubicBezTo>
                  <a:cubicBezTo>
                    <a:pt x="105" y="114"/>
                    <a:pt x="105" y="114"/>
                    <a:pt x="104" y="114"/>
                  </a:cubicBezTo>
                  <a:cubicBezTo>
                    <a:pt x="103" y="114"/>
                    <a:pt x="101" y="113"/>
                    <a:pt x="100" y="113"/>
                  </a:cubicBezTo>
                  <a:cubicBezTo>
                    <a:pt x="99" y="112"/>
                    <a:pt x="99" y="112"/>
                    <a:pt x="98" y="112"/>
                  </a:cubicBezTo>
                  <a:cubicBezTo>
                    <a:pt x="97" y="112"/>
                    <a:pt x="97" y="112"/>
                    <a:pt x="96" y="112"/>
                  </a:cubicBezTo>
                  <a:cubicBezTo>
                    <a:pt x="95" y="113"/>
                    <a:pt x="95" y="113"/>
                    <a:pt x="94" y="114"/>
                  </a:cubicBezTo>
                  <a:cubicBezTo>
                    <a:pt x="93" y="114"/>
                    <a:pt x="91" y="114"/>
                    <a:pt x="90" y="114"/>
                  </a:cubicBezTo>
                  <a:cubicBezTo>
                    <a:pt x="88" y="114"/>
                    <a:pt x="87" y="114"/>
                    <a:pt x="86" y="115"/>
                  </a:cubicBezTo>
                  <a:cubicBezTo>
                    <a:pt x="84" y="115"/>
                    <a:pt x="81" y="115"/>
                    <a:pt x="79" y="115"/>
                  </a:cubicBezTo>
                  <a:cubicBezTo>
                    <a:pt x="76" y="115"/>
                    <a:pt x="73" y="115"/>
                    <a:pt x="71" y="117"/>
                  </a:cubicBezTo>
                  <a:cubicBezTo>
                    <a:pt x="70" y="118"/>
                    <a:pt x="69" y="119"/>
                    <a:pt x="68" y="120"/>
                  </a:cubicBezTo>
                  <a:cubicBezTo>
                    <a:pt x="68" y="122"/>
                    <a:pt x="66" y="122"/>
                    <a:pt x="67" y="124"/>
                  </a:cubicBezTo>
                  <a:cubicBezTo>
                    <a:pt x="66" y="124"/>
                    <a:pt x="66" y="128"/>
                    <a:pt x="65" y="129"/>
                  </a:cubicBezTo>
                  <a:cubicBezTo>
                    <a:pt x="65" y="129"/>
                    <a:pt x="65" y="130"/>
                    <a:pt x="64" y="131"/>
                  </a:cubicBezTo>
                  <a:cubicBezTo>
                    <a:pt x="63" y="131"/>
                    <a:pt x="62" y="131"/>
                    <a:pt x="61" y="132"/>
                  </a:cubicBezTo>
                  <a:cubicBezTo>
                    <a:pt x="59" y="133"/>
                    <a:pt x="61" y="138"/>
                    <a:pt x="62" y="140"/>
                  </a:cubicBezTo>
                  <a:cubicBezTo>
                    <a:pt x="62" y="142"/>
                    <a:pt x="63" y="145"/>
                    <a:pt x="64" y="146"/>
                  </a:cubicBezTo>
                  <a:cubicBezTo>
                    <a:pt x="64" y="146"/>
                    <a:pt x="65" y="146"/>
                    <a:pt x="66" y="146"/>
                  </a:cubicBezTo>
                  <a:cubicBezTo>
                    <a:pt x="68" y="146"/>
                    <a:pt x="70" y="145"/>
                    <a:pt x="71" y="147"/>
                  </a:cubicBezTo>
                  <a:cubicBezTo>
                    <a:pt x="71" y="149"/>
                    <a:pt x="70" y="152"/>
                    <a:pt x="70" y="154"/>
                  </a:cubicBezTo>
                  <a:cubicBezTo>
                    <a:pt x="70" y="157"/>
                    <a:pt x="70" y="160"/>
                    <a:pt x="70" y="163"/>
                  </a:cubicBezTo>
                  <a:cubicBezTo>
                    <a:pt x="70" y="164"/>
                    <a:pt x="70" y="165"/>
                    <a:pt x="69" y="167"/>
                  </a:cubicBezTo>
                  <a:cubicBezTo>
                    <a:pt x="69" y="168"/>
                    <a:pt x="69" y="168"/>
                    <a:pt x="69" y="169"/>
                  </a:cubicBezTo>
                  <a:cubicBezTo>
                    <a:pt x="68" y="171"/>
                    <a:pt x="69" y="174"/>
                    <a:pt x="69" y="176"/>
                  </a:cubicBezTo>
                  <a:cubicBezTo>
                    <a:pt x="69" y="179"/>
                    <a:pt x="69" y="181"/>
                    <a:pt x="68" y="183"/>
                  </a:cubicBezTo>
                  <a:cubicBezTo>
                    <a:pt x="67" y="185"/>
                    <a:pt x="67" y="186"/>
                    <a:pt x="65" y="187"/>
                  </a:cubicBezTo>
                  <a:cubicBezTo>
                    <a:pt x="65" y="188"/>
                    <a:pt x="64" y="188"/>
                    <a:pt x="64" y="189"/>
                  </a:cubicBezTo>
                  <a:cubicBezTo>
                    <a:pt x="62" y="191"/>
                    <a:pt x="61" y="192"/>
                    <a:pt x="63" y="195"/>
                  </a:cubicBezTo>
                  <a:cubicBezTo>
                    <a:pt x="63" y="196"/>
                    <a:pt x="64" y="196"/>
                    <a:pt x="64" y="197"/>
                  </a:cubicBezTo>
                  <a:cubicBezTo>
                    <a:pt x="63" y="199"/>
                    <a:pt x="60" y="199"/>
                    <a:pt x="59" y="200"/>
                  </a:cubicBezTo>
                  <a:cubicBezTo>
                    <a:pt x="58" y="201"/>
                    <a:pt x="57" y="203"/>
                    <a:pt x="56" y="203"/>
                  </a:cubicBezTo>
                  <a:cubicBezTo>
                    <a:pt x="55" y="204"/>
                    <a:pt x="53" y="203"/>
                    <a:pt x="52" y="203"/>
                  </a:cubicBezTo>
                  <a:cubicBezTo>
                    <a:pt x="50" y="203"/>
                    <a:pt x="50" y="203"/>
                    <a:pt x="50" y="204"/>
                  </a:cubicBezTo>
                  <a:cubicBezTo>
                    <a:pt x="49" y="205"/>
                    <a:pt x="49" y="205"/>
                    <a:pt x="48" y="206"/>
                  </a:cubicBezTo>
                  <a:cubicBezTo>
                    <a:pt x="46" y="206"/>
                    <a:pt x="44" y="206"/>
                    <a:pt x="42" y="206"/>
                  </a:cubicBezTo>
                  <a:cubicBezTo>
                    <a:pt x="41" y="206"/>
                    <a:pt x="39" y="206"/>
                    <a:pt x="38" y="206"/>
                  </a:cubicBezTo>
                  <a:cubicBezTo>
                    <a:pt x="37" y="206"/>
                    <a:pt x="36" y="208"/>
                    <a:pt x="35" y="208"/>
                  </a:cubicBezTo>
                  <a:cubicBezTo>
                    <a:pt x="34" y="208"/>
                    <a:pt x="34" y="209"/>
                    <a:pt x="35" y="210"/>
                  </a:cubicBezTo>
                  <a:cubicBezTo>
                    <a:pt x="35" y="210"/>
                    <a:pt x="36" y="212"/>
                    <a:pt x="37" y="212"/>
                  </a:cubicBezTo>
                  <a:cubicBezTo>
                    <a:pt x="37" y="212"/>
                    <a:pt x="38" y="213"/>
                    <a:pt x="38" y="213"/>
                  </a:cubicBezTo>
                  <a:cubicBezTo>
                    <a:pt x="40" y="215"/>
                    <a:pt x="41" y="215"/>
                    <a:pt x="40" y="217"/>
                  </a:cubicBezTo>
                  <a:cubicBezTo>
                    <a:pt x="37" y="226"/>
                    <a:pt x="54" y="225"/>
                    <a:pt x="58" y="227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59" y="227"/>
                    <a:pt x="59" y="228"/>
                    <a:pt x="59" y="228"/>
                  </a:cubicBezTo>
                  <a:cubicBezTo>
                    <a:pt x="59" y="228"/>
                    <a:pt x="59" y="229"/>
                    <a:pt x="59" y="229"/>
                  </a:cubicBezTo>
                  <a:cubicBezTo>
                    <a:pt x="60" y="230"/>
                    <a:pt x="60" y="230"/>
                    <a:pt x="61" y="231"/>
                  </a:cubicBezTo>
                  <a:cubicBezTo>
                    <a:pt x="61" y="232"/>
                    <a:pt x="61" y="234"/>
                    <a:pt x="60" y="235"/>
                  </a:cubicBezTo>
                  <a:cubicBezTo>
                    <a:pt x="60" y="236"/>
                    <a:pt x="59" y="236"/>
                    <a:pt x="59" y="237"/>
                  </a:cubicBezTo>
                  <a:cubicBezTo>
                    <a:pt x="58" y="239"/>
                    <a:pt x="60" y="242"/>
                    <a:pt x="58" y="244"/>
                  </a:cubicBezTo>
                  <a:cubicBezTo>
                    <a:pt x="57" y="245"/>
                    <a:pt x="56" y="246"/>
                    <a:pt x="54" y="246"/>
                  </a:cubicBezTo>
                  <a:cubicBezTo>
                    <a:pt x="53" y="247"/>
                    <a:pt x="53" y="248"/>
                    <a:pt x="52" y="249"/>
                  </a:cubicBezTo>
                  <a:cubicBezTo>
                    <a:pt x="50" y="251"/>
                    <a:pt x="48" y="252"/>
                    <a:pt x="46" y="254"/>
                  </a:cubicBezTo>
                  <a:cubicBezTo>
                    <a:pt x="46" y="255"/>
                    <a:pt x="45" y="255"/>
                    <a:pt x="45" y="256"/>
                  </a:cubicBezTo>
                  <a:cubicBezTo>
                    <a:pt x="44" y="256"/>
                    <a:pt x="44" y="256"/>
                    <a:pt x="44" y="256"/>
                  </a:cubicBezTo>
                  <a:cubicBezTo>
                    <a:pt x="43" y="257"/>
                    <a:pt x="43" y="258"/>
                    <a:pt x="43" y="258"/>
                  </a:cubicBezTo>
                  <a:cubicBezTo>
                    <a:pt x="43" y="259"/>
                    <a:pt x="43" y="260"/>
                    <a:pt x="43" y="261"/>
                  </a:cubicBezTo>
                  <a:cubicBezTo>
                    <a:pt x="43" y="262"/>
                    <a:pt x="43" y="264"/>
                    <a:pt x="43" y="265"/>
                  </a:cubicBezTo>
                  <a:cubicBezTo>
                    <a:pt x="44" y="266"/>
                    <a:pt x="45" y="266"/>
                    <a:pt x="44" y="268"/>
                  </a:cubicBezTo>
                  <a:cubicBezTo>
                    <a:pt x="44" y="269"/>
                    <a:pt x="43" y="270"/>
                    <a:pt x="42" y="270"/>
                  </a:cubicBezTo>
                  <a:cubicBezTo>
                    <a:pt x="40" y="271"/>
                    <a:pt x="37" y="273"/>
                    <a:pt x="35" y="274"/>
                  </a:cubicBezTo>
                  <a:cubicBezTo>
                    <a:pt x="34" y="274"/>
                    <a:pt x="32" y="274"/>
                    <a:pt x="31" y="275"/>
                  </a:cubicBezTo>
                  <a:cubicBezTo>
                    <a:pt x="30" y="276"/>
                    <a:pt x="31" y="276"/>
                    <a:pt x="29" y="276"/>
                  </a:cubicBezTo>
                  <a:cubicBezTo>
                    <a:pt x="28" y="276"/>
                    <a:pt x="27" y="277"/>
                    <a:pt x="26" y="277"/>
                  </a:cubicBezTo>
                  <a:cubicBezTo>
                    <a:pt x="25" y="277"/>
                    <a:pt x="23" y="277"/>
                    <a:pt x="22" y="277"/>
                  </a:cubicBezTo>
                  <a:cubicBezTo>
                    <a:pt x="21" y="277"/>
                    <a:pt x="20" y="277"/>
                    <a:pt x="19" y="276"/>
                  </a:cubicBezTo>
                  <a:cubicBezTo>
                    <a:pt x="17" y="275"/>
                    <a:pt x="15" y="274"/>
                    <a:pt x="13" y="273"/>
                  </a:cubicBezTo>
                  <a:cubicBezTo>
                    <a:pt x="11" y="273"/>
                    <a:pt x="8" y="273"/>
                    <a:pt x="8" y="276"/>
                  </a:cubicBezTo>
                  <a:cubicBezTo>
                    <a:pt x="8" y="277"/>
                    <a:pt x="8" y="278"/>
                    <a:pt x="8" y="278"/>
                  </a:cubicBezTo>
                  <a:cubicBezTo>
                    <a:pt x="6" y="278"/>
                    <a:pt x="5" y="278"/>
                    <a:pt x="3" y="278"/>
                  </a:cubicBezTo>
                  <a:cubicBezTo>
                    <a:pt x="1" y="278"/>
                    <a:pt x="0" y="281"/>
                    <a:pt x="0" y="283"/>
                  </a:cubicBezTo>
                  <a:cubicBezTo>
                    <a:pt x="0" y="284"/>
                    <a:pt x="0" y="285"/>
                    <a:pt x="0" y="285"/>
                  </a:cubicBezTo>
                  <a:cubicBezTo>
                    <a:pt x="0" y="287"/>
                    <a:pt x="0" y="287"/>
                    <a:pt x="1" y="288"/>
                  </a:cubicBezTo>
                  <a:cubicBezTo>
                    <a:pt x="2" y="289"/>
                    <a:pt x="5" y="290"/>
                    <a:pt x="5" y="292"/>
                  </a:cubicBezTo>
                  <a:cubicBezTo>
                    <a:pt x="6" y="294"/>
                    <a:pt x="5" y="296"/>
                    <a:pt x="6" y="297"/>
                  </a:cubicBezTo>
                  <a:cubicBezTo>
                    <a:pt x="7" y="299"/>
                    <a:pt x="9" y="299"/>
                    <a:pt x="10" y="300"/>
                  </a:cubicBezTo>
                  <a:cubicBezTo>
                    <a:pt x="10" y="301"/>
                    <a:pt x="10" y="301"/>
                    <a:pt x="10" y="301"/>
                  </a:cubicBezTo>
                  <a:cubicBezTo>
                    <a:pt x="10" y="302"/>
                    <a:pt x="11" y="303"/>
                    <a:pt x="11" y="304"/>
                  </a:cubicBezTo>
                  <a:cubicBezTo>
                    <a:pt x="11" y="305"/>
                    <a:pt x="11" y="306"/>
                    <a:pt x="11" y="307"/>
                  </a:cubicBezTo>
                  <a:cubicBezTo>
                    <a:pt x="11" y="308"/>
                    <a:pt x="11" y="308"/>
                    <a:pt x="12" y="309"/>
                  </a:cubicBezTo>
                  <a:cubicBezTo>
                    <a:pt x="12" y="311"/>
                    <a:pt x="12" y="314"/>
                    <a:pt x="13" y="316"/>
                  </a:cubicBezTo>
                  <a:cubicBezTo>
                    <a:pt x="13" y="317"/>
                    <a:pt x="13" y="319"/>
                    <a:pt x="13" y="320"/>
                  </a:cubicBezTo>
                  <a:cubicBezTo>
                    <a:pt x="13" y="322"/>
                    <a:pt x="13" y="321"/>
                    <a:pt x="12" y="322"/>
                  </a:cubicBezTo>
                  <a:cubicBezTo>
                    <a:pt x="12" y="323"/>
                    <a:pt x="11" y="323"/>
                    <a:pt x="10" y="324"/>
                  </a:cubicBezTo>
                  <a:cubicBezTo>
                    <a:pt x="10" y="325"/>
                    <a:pt x="9" y="325"/>
                    <a:pt x="9" y="326"/>
                  </a:cubicBezTo>
                  <a:cubicBezTo>
                    <a:pt x="7" y="328"/>
                    <a:pt x="9" y="331"/>
                    <a:pt x="8" y="334"/>
                  </a:cubicBezTo>
                  <a:cubicBezTo>
                    <a:pt x="7" y="335"/>
                    <a:pt x="6" y="335"/>
                    <a:pt x="6" y="336"/>
                  </a:cubicBezTo>
                  <a:cubicBezTo>
                    <a:pt x="7" y="336"/>
                    <a:pt x="7" y="336"/>
                    <a:pt x="7" y="337"/>
                  </a:cubicBezTo>
                  <a:cubicBezTo>
                    <a:pt x="7" y="337"/>
                    <a:pt x="7" y="338"/>
                    <a:pt x="7" y="338"/>
                  </a:cubicBezTo>
                  <a:cubicBezTo>
                    <a:pt x="7" y="339"/>
                    <a:pt x="7" y="339"/>
                    <a:pt x="8" y="340"/>
                  </a:cubicBezTo>
                  <a:cubicBezTo>
                    <a:pt x="7" y="341"/>
                    <a:pt x="5" y="341"/>
                    <a:pt x="5" y="342"/>
                  </a:cubicBezTo>
                  <a:cubicBezTo>
                    <a:pt x="4" y="343"/>
                    <a:pt x="4" y="343"/>
                    <a:pt x="3" y="344"/>
                  </a:cubicBezTo>
                  <a:cubicBezTo>
                    <a:pt x="1" y="344"/>
                    <a:pt x="2" y="344"/>
                    <a:pt x="1" y="345"/>
                  </a:cubicBezTo>
                  <a:cubicBezTo>
                    <a:pt x="1" y="347"/>
                    <a:pt x="0" y="349"/>
                    <a:pt x="1" y="351"/>
                  </a:cubicBezTo>
                  <a:cubicBezTo>
                    <a:pt x="1" y="351"/>
                    <a:pt x="1" y="351"/>
                    <a:pt x="2" y="351"/>
                  </a:cubicBezTo>
                  <a:cubicBezTo>
                    <a:pt x="3" y="351"/>
                    <a:pt x="4" y="351"/>
                    <a:pt x="4" y="351"/>
                  </a:cubicBezTo>
                  <a:cubicBezTo>
                    <a:pt x="4" y="351"/>
                    <a:pt x="4" y="351"/>
                    <a:pt x="4" y="351"/>
                  </a:cubicBezTo>
                  <a:cubicBezTo>
                    <a:pt x="4" y="351"/>
                    <a:pt x="4" y="351"/>
                    <a:pt x="5" y="351"/>
                  </a:cubicBezTo>
                  <a:cubicBezTo>
                    <a:pt x="5" y="351"/>
                    <a:pt x="6" y="352"/>
                    <a:pt x="6" y="353"/>
                  </a:cubicBezTo>
                  <a:cubicBezTo>
                    <a:pt x="6" y="354"/>
                    <a:pt x="6" y="356"/>
                    <a:pt x="6" y="358"/>
                  </a:cubicBezTo>
                  <a:cubicBezTo>
                    <a:pt x="5" y="359"/>
                    <a:pt x="5" y="361"/>
                    <a:pt x="4" y="362"/>
                  </a:cubicBezTo>
                  <a:cubicBezTo>
                    <a:pt x="4" y="363"/>
                    <a:pt x="4" y="364"/>
                    <a:pt x="4" y="364"/>
                  </a:cubicBezTo>
                  <a:cubicBezTo>
                    <a:pt x="4" y="365"/>
                    <a:pt x="4" y="365"/>
                    <a:pt x="4" y="365"/>
                  </a:cubicBezTo>
                  <a:cubicBezTo>
                    <a:pt x="4" y="367"/>
                    <a:pt x="4" y="367"/>
                    <a:pt x="4" y="368"/>
                  </a:cubicBezTo>
                  <a:cubicBezTo>
                    <a:pt x="3" y="369"/>
                    <a:pt x="3" y="370"/>
                    <a:pt x="3" y="370"/>
                  </a:cubicBezTo>
                  <a:cubicBezTo>
                    <a:pt x="3" y="371"/>
                    <a:pt x="4" y="371"/>
                    <a:pt x="4" y="371"/>
                  </a:cubicBezTo>
                  <a:cubicBezTo>
                    <a:pt x="3" y="372"/>
                    <a:pt x="2" y="372"/>
                    <a:pt x="1" y="373"/>
                  </a:cubicBezTo>
                  <a:cubicBezTo>
                    <a:pt x="1" y="373"/>
                    <a:pt x="1" y="374"/>
                    <a:pt x="0" y="375"/>
                  </a:cubicBezTo>
                  <a:cubicBezTo>
                    <a:pt x="0" y="375"/>
                    <a:pt x="0" y="375"/>
                    <a:pt x="0" y="376"/>
                  </a:cubicBezTo>
                  <a:cubicBezTo>
                    <a:pt x="0" y="376"/>
                    <a:pt x="1" y="377"/>
                    <a:pt x="1" y="377"/>
                  </a:cubicBezTo>
                  <a:cubicBezTo>
                    <a:pt x="2" y="377"/>
                    <a:pt x="3" y="378"/>
                    <a:pt x="3" y="379"/>
                  </a:cubicBezTo>
                  <a:cubicBezTo>
                    <a:pt x="3" y="379"/>
                    <a:pt x="3" y="380"/>
                    <a:pt x="3" y="380"/>
                  </a:cubicBezTo>
                  <a:cubicBezTo>
                    <a:pt x="3" y="381"/>
                    <a:pt x="3" y="382"/>
                    <a:pt x="3" y="383"/>
                  </a:cubicBezTo>
                  <a:cubicBezTo>
                    <a:pt x="2" y="385"/>
                    <a:pt x="2" y="388"/>
                    <a:pt x="3" y="390"/>
                  </a:cubicBezTo>
                  <a:cubicBezTo>
                    <a:pt x="5" y="391"/>
                    <a:pt x="6" y="392"/>
                    <a:pt x="8" y="393"/>
                  </a:cubicBezTo>
                  <a:cubicBezTo>
                    <a:pt x="9" y="393"/>
                    <a:pt x="9" y="393"/>
                    <a:pt x="10" y="394"/>
                  </a:cubicBezTo>
                  <a:cubicBezTo>
                    <a:pt x="11" y="395"/>
                    <a:pt x="12" y="395"/>
                    <a:pt x="14" y="396"/>
                  </a:cubicBezTo>
                  <a:cubicBezTo>
                    <a:pt x="14" y="396"/>
                    <a:pt x="15" y="397"/>
                    <a:pt x="15" y="397"/>
                  </a:cubicBezTo>
                  <a:cubicBezTo>
                    <a:pt x="17" y="397"/>
                    <a:pt x="18" y="397"/>
                    <a:pt x="19" y="399"/>
                  </a:cubicBezTo>
                  <a:cubicBezTo>
                    <a:pt x="20" y="401"/>
                    <a:pt x="19" y="403"/>
                    <a:pt x="19" y="405"/>
                  </a:cubicBezTo>
                  <a:cubicBezTo>
                    <a:pt x="18" y="406"/>
                    <a:pt x="18" y="407"/>
                    <a:pt x="17" y="409"/>
                  </a:cubicBezTo>
                  <a:cubicBezTo>
                    <a:pt x="16" y="411"/>
                    <a:pt x="14" y="412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2" y="416"/>
                    <a:pt x="10" y="417"/>
                    <a:pt x="10" y="419"/>
                  </a:cubicBezTo>
                  <a:cubicBezTo>
                    <a:pt x="10" y="420"/>
                    <a:pt x="10" y="420"/>
                    <a:pt x="10" y="420"/>
                  </a:cubicBezTo>
                  <a:cubicBezTo>
                    <a:pt x="10" y="422"/>
                    <a:pt x="9" y="423"/>
                    <a:pt x="8" y="424"/>
                  </a:cubicBezTo>
                  <a:cubicBezTo>
                    <a:pt x="7" y="426"/>
                    <a:pt x="7" y="428"/>
                    <a:pt x="7" y="430"/>
                  </a:cubicBezTo>
                  <a:cubicBezTo>
                    <a:pt x="7" y="432"/>
                    <a:pt x="8" y="433"/>
                    <a:pt x="8" y="435"/>
                  </a:cubicBezTo>
                  <a:cubicBezTo>
                    <a:pt x="9" y="436"/>
                    <a:pt x="8" y="438"/>
                    <a:pt x="9" y="439"/>
                  </a:cubicBezTo>
                  <a:cubicBezTo>
                    <a:pt x="10" y="441"/>
                    <a:pt x="11" y="442"/>
                    <a:pt x="12" y="444"/>
                  </a:cubicBezTo>
                  <a:cubicBezTo>
                    <a:pt x="12" y="445"/>
                    <a:pt x="12" y="447"/>
                    <a:pt x="14" y="448"/>
                  </a:cubicBezTo>
                  <a:cubicBezTo>
                    <a:pt x="15" y="448"/>
                    <a:pt x="16" y="448"/>
                    <a:pt x="17" y="449"/>
                  </a:cubicBezTo>
                  <a:cubicBezTo>
                    <a:pt x="17" y="450"/>
                    <a:pt x="18" y="451"/>
                    <a:pt x="19" y="452"/>
                  </a:cubicBezTo>
                  <a:cubicBezTo>
                    <a:pt x="20" y="454"/>
                    <a:pt x="22" y="455"/>
                    <a:pt x="23" y="456"/>
                  </a:cubicBezTo>
                  <a:cubicBezTo>
                    <a:pt x="25" y="457"/>
                    <a:pt x="26" y="457"/>
                    <a:pt x="28" y="457"/>
                  </a:cubicBezTo>
                  <a:cubicBezTo>
                    <a:pt x="29" y="457"/>
                    <a:pt x="31" y="457"/>
                    <a:pt x="31" y="459"/>
                  </a:cubicBezTo>
                  <a:cubicBezTo>
                    <a:pt x="29" y="459"/>
                    <a:pt x="26" y="461"/>
                    <a:pt x="24" y="462"/>
                  </a:cubicBezTo>
                  <a:cubicBezTo>
                    <a:pt x="23" y="463"/>
                    <a:pt x="22" y="464"/>
                    <a:pt x="22" y="466"/>
                  </a:cubicBezTo>
                  <a:cubicBezTo>
                    <a:pt x="21" y="467"/>
                    <a:pt x="20" y="468"/>
                    <a:pt x="19" y="470"/>
                  </a:cubicBezTo>
                  <a:cubicBezTo>
                    <a:pt x="17" y="473"/>
                    <a:pt x="16" y="477"/>
                    <a:pt x="15" y="482"/>
                  </a:cubicBezTo>
                  <a:cubicBezTo>
                    <a:pt x="15" y="482"/>
                    <a:pt x="15" y="482"/>
                    <a:pt x="15" y="482"/>
                  </a:cubicBezTo>
                  <a:cubicBezTo>
                    <a:pt x="21" y="485"/>
                    <a:pt x="26" y="487"/>
                    <a:pt x="30" y="493"/>
                  </a:cubicBezTo>
                  <a:cubicBezTo>
                    <a:pt x="31" y="494"/>
                    <a:pt x="33" y="495"/>
                    <a:pt x="33" y="496"/>
                  </a:cubicBezTo>
                  <a:cubicBezTo>
                    <a:pt x="34" y="498"/>
                    <a:pt x="34" y="498"/>
                    <a:pt x="34" y="500"/>
                  </a:cubicBezTo>
                  <a:cubicBezTo>
                    <a:pt x="36" y="503"/>
                    <a:pt x="36" y="505"/>
                    <a:pt x="40" y="506"/>
                  </a:cubicBezTo>
                  <a:cubicBezTo>
                    <a:pt x="44" y="506"/>
                    <a:pt x="46" y="503"/>
                    <a:pt x="50" y="502"/>
                  </a:cubicBezTo>
                  <a:cubicBezTo>
                    <a:pt x="53" y="501"/>
                    <a:pt x="56" y="501"/>
                    <a:pt x="60" y="501"/>
                  </a:cubicBezTo>
                  <a:cubicBezTo>
                    <a:pt x="67" y="501"/>
                    <a:pt x="73" y="501"/>
                    <a:pt x="79" y="505"/>
                  </a:cubicBezTo>
                  <a:cubicBezTo>
                    <a:pt x="81" y="507"/>
                    <a:pt x="81" y="510"/>
                    <a:pt x="84" y="513"/>
                  </a:cubicBezTo>
                  <a:cubicBezTo>
                    <a:pt x="84" y="513"/>
                    <a:pt x="85" y="513"/>
                    <a:pt x="86" y="514"/>
                  </a:cubicBezTo>
                  <a:cubicBezTo>
                    <a:pt x="87" y="514"/>
                    <a:pt x="86" y="515"/>
                    <a:pt x="87" y="515"/>
                  </a:cubicBezTo>
                  <a:cubicBezTo>
                    <a:pt x="90" y="516"/>
                    <a:pt x="96" y="515"/>
                    <a:pt x="99" y="515"/>
                  </a:cubicBezTo>
                  <a:cubicBezTo>
                    <a:pt x="102" y="515"/>
                    <a:pt x="105" y="515"/>
                    <a:pt x="108" y="516"/>
                  </a:cubicBezTo>
                  <a:cubicBezTo>
                    <a:pt x="107" y="516"/>
                    <a:pt x="111" y="518"/>
                    <a:pt x="110" y="518"/>
                  </a:cubicBezTo>
                  <a:cubicBezTo>
                    <a:pt x="111" y="519"/>
                    <a:pt x="112" y="520"/>
                    <a:pt x="113" y="520"/>
                  </a:cubicBezTo>
                  <a:cubicBezTo>
                    <a:pt x="115" y="521"/>
                    <a:pt x="117" y="520"/>
                    <a:pt x="119" y="523"/>
                  </a:cubicBezTo>
                  <a:cubicBezTo>
                    <a:pt x="120" y="525"/>
                    <a:pt x="120" y="528"/>
                    <a:pt x="119" y="530"/>
                  </a:cubicBezTo>
                  <a:cubicBezTo>
                    <a:pt x="118" y="535"/>
                    <a:pt x="115" y="539"/>
                    <a:pt x="111" y="542"/>
                  </a:cubicBezTo>
                  <a:cubicBezTo>
                    <a:pt x="106" y="546"/>
                    <a:pt x="104" y="549"/>
                    <a:pt x="102" y="555"/>
                  </a:cubicBezTo>
                  <a:cubicBezTo>
                    <a:pt x="101" y="557"/>
                    <a:pt x="101" y="558"/>
                    <a:pt x="98" y="560"/>
                  </a:cubicBezTo>
                  <a:cubicBezTo>
                    <a:pt x="97" y="561"/>
                    <a:pt x="96" y="561"/>
                    <a:pt x="95" y="563"/>
                  </a:cubicBezTo>
                  <a:cubicBezTo>
                    <a:pt x="92" y="567"/>
                    <a:pt x="93" y="572"/>
                    <a:pt x="92" y="577"/>
                  </a:cubicBezTo>
                  <a:cubicBezTo>
                    <a:pt x="90" y="583"/>
                    <a:pt x="92" y="588"/>
                    <a:pt x="87" y="593"/>
                  </a:cubicBezTo>
                  <a:cubicBezTo>
                    <a:pt x="83" y="598"/>
                    <a:pt x="84" y="603"/>
                    <a:pt x="84" y="609"/>
                  </a:cubicBezTo>
                  <a:cubicBezTo>
                    <a:pt x="84" y="617"/>
                    <a:pt x="84" y="624"/>
                    <a:pt x="84" y="632"/>
                  </a:cubicBezTo>
                  <a:cubicBezTo>
                    <a:pt x="84" y="634"/>
                    <a:pt x="85" y="636"/>
                    <a:pt x="86" y="637"/>
                  </a:cubicBezTo>
                  <a:cubicBezTo>
                    <a:pt x="86" y="637"/>
                    <a:pt x="86" y="637"/>
                    <a:pt x="86" y="637"/>
                  </a:cubicBezTo>
                  <a:cubicBezTo>
                    <a:pt x="87" y="638"/>
                    <a:pt x="87" y="638"/>
                    <a:pt x="87" y="639"/>
                  </a:cubicBezTo>
                  <a:cubicBezTo>
                    <a:pt x="88" y="639"/>
                    <a:pt x="88" y="639"/>
                    <a:pt x="88" y="639"/>
                  </a:cubicBezTo>
                  <a:cubicBezTo>
                    <a:pt x="89" y="640"/>
                    <a:pt x="90" y="640"/>
                    <a:pt x="91" y="640"/>
                  </a:cubicBezTo>
                  <a:cubicBezTo>
                    <a:pt x="94" y="641"/>
                    <a:pt x="96" y="641"/>
                    <a:pt x="98" y="640"/>
                  </a:cubicBezTo>
                  <a:cubicBezTo>
                    <a:pt x="99" y="639"/>
                    <a:pt x="101" y="639"/>
                    <a:pt x="102" y="639"/>
                  </a:cubicBezTo>
                  <a:cubicBezTo>
                    <a:pt x="103" y="639"/>
                    <a:pt x="104" y="640"/>
                    <a:pt x="104" y="640"/>
                  </a:cubicBezTo>
                  <a:cubicBezTo>
                    <a:pt x="107" y="640"/>
                    <a:pt x="108" y="638"/>
                    <a:pt x="110" y="637"/>
                  </a:cubicBezTo>
                  <a:cubicBezTo>
                    <a:pt x="111" y="637"/>
                    <a:pt x="112" y="637"/>
                    <a:pt x="112" y="635"/>
                  </a:cubicBezTo>
                  <a:cubicBezTo>
                    <a:pt x="112" y="634"/>
                    <a:pt x="112" y="634"/>
                    <a:pt x="112" y="633"/>
                  </a:cubicBezTo>
                  <a:cubicBezTo>
                    <a:pt x="113" y="632"/>
                    <a:pt x="114" y="630"/>
                    <a:pt x="115" y="630"/>
                  </a:cubicBezTo>
                  <a:cubicBezTo>
                    <a:pt x="117" y="631"/>
                    <a:pt x="116" y="633"/>
                    <a:pt x="117" y="634"/>
                  </a:cubicBezTo>
                  <a:cubicBezTo>
                    <a:pt x="118" y="635"/>
                    <a:pt x="118" y="636"/>
                    <a:pt x="120" y="636"/>
                  </a:cubicBezTo>
                  <a:cubicBezTo>
                    <a:pt x="123" y="636"/>
                    <a:pt x="123" y="633"/>
                    <a:pt x="123" y="630"/>
                  </a:cubicBezTo>
                  <a:cubicBezTo>
                    <a:pt x="123" y="628"/>
                    <a:pt x="125" y="625"/>
                    <a:pt x="127" y="623"/>
                  </a:cubicBezTo>
                  <a:cubicBezTo>
                    <a:pt x="128" y="622"/>
                    <a:pt x="131" y="622"/>
                    <a:pt x="133" y="622"/>
                  </a:cubicBezTo>
                  <a:cubicBezTo>
                    <a:pt x="134" y="622"/>
                    <a:pt x="135" y="622"/>
                    <a:pt x="135" y="622"/>
                  </a:cubicBezTo>
                  <a:cubicBezTo>
                    <a:pt x="136" y="622"/>
                    <a:pt x="137" y="623"/>
                    <a:pt x="137" y="623"/>
                  </a:cubicBezTo>
                  <a:cubicBezTo>
                    <a:pt x="138" y="623"/>
                    <a:pt x="139" y="623"/>
                    <a:pt x="139" y="623"/>
                  </a:cubicBezTo>
                  <a:cubicBezTo>
                    <a:pt x="140" y="623"/>
                    <a:pt x="141" y="623"/>
                    <a:pt x="141" y="624"/>
                  </a:cubicBezTo>
                  <a:cubicBezTo>
                    <a:pt x="143" y="625"/>
                    <a:pt x="146" y="626"/>
                    <a:pt x="147" y="627"/>
                  </a:cubicBezTo>
                  <a:cubicBezTo>
                    <a:pt x="148" y="627"/>
                    <a:pt x="148" y="628"/>
                    <a:pt x="149" y="629"/>
                  </a:cubicBezTo>
                  <a:cubicBezTo>
                    <a:pt x="151" y="630"/>
                    <a:pt x="153" y="631"/>
                    <a:pt x="155" y="631"/>
                  </a:cubicBezTo>
                  <a:cubicBezTo>
                    <a:pt x="157" y="631"/>
                    <a:pt x="158" y="630"/>
                    <a:pt x="160" y="630"/>
                  </a:cubicBezTo>
                  <a:cubicBezTo>
                    <a:pt x="161" y="629"/>
                    <a:pt x="162" y="629"/>
                    <a:pt x="163" y="629"/>
                  </a:cubicBezTo>
                  <a:cubicBezTo>
                    <a:pt x="165" y="629"/>
                    <a:pt x="164" y="629"/>
                    <a:pt x="165" y="630"/>
                  </a:cubicBezTo>
                  <a:cubicBezTo>
                    <a:pt x="166" y="631"/>
                    <a:pt x="167" y="632"/>
                    <a:pt x="168" y="632"/>
                  </a:cubicBezTo>
                  <a:cubicBezTo>
                    <a:pt x="169" y="633"/>
                    <a:pt x="171" y="634"/>
                    <a:pt x="172" y="634"/>
                  </a:cubicBezTo>
                  <a:cubicBezTo>
                    <a:pt x="172" y="635"/>
                    <a:pt x="172" y="635"/>
                    <a:pt x="173" y="635"/>
                  </a:cubicBezTo>
                  <a:cubicBezTo>
                    <a:pt x="174" y="637"/>
                    <a:pt x="175" y="637"/>
                    <a:pt x="176" y="637"/>
                  </a:cubicBezTo>
                  <a:cubicBezTo>
                    <a:pt x="178" y="638"/>
                    <a:pt x="180" y="638"/>
                    <a:pt x="182" y="639"/>
                  </a:cubicBezTo>
                  <a:cubicBezTo>
                    <a:pt x="183" y="639"/>
                    <a:pt x="183" y="639"/>
                    <a:pt x="184" y="639"/>
                  </a:cubicBezTo>
                  <a:cubicBezTo>
                    <a:pt x="185" y="639"/>
                    <a:pt x="187" y="639"/>
                    <a:pt x="188" y="639"/>
                  </a:cubicBezTo>
                  <a:cubicBezTo>
                    <a:pt x="189" y="639"/>
                    <a:pt x="189" y="640"/>
                    <a:pt x="189" y="640"/>
                  </a:cubicBezTo>
                  <a:cubicBezTo>
                    <a:pt x="189" y="640"/>
                    <a:pt x="190" y="640"/>
                    <a:pt x="191" y="640"/>
                  </a:cubicBezTo>
                  <a:cubicBezTo>
                    <a:pt x="194" y="640"/>
                    <a:pt x="197" y="640"/>
                    <a:pt x="200" y="640"/>
                  </a:cubicBezTo>
                  <a:cubicBezTo>
                    <a:pt x="201" y="640"/>
                    <a:pt x="203" y="639"/>
                    <a:pt x="204" y="640"/>
                  </a:cubicBezTo>
                  <a:cubicBezTo>
                    <a:pt x="206" y="642"/>
                    <a:pt x="206" y="644"/>
                    <a:pt x="207" y="646"/>
                  </a:cubicBezTo>
                  <a:cubicBezTo>
                    <a:pt x="208" y="647"/>
                    <a:pt x="208" y="647"/>
                    <a:pt x="210" y="648"/>
                  </a:cubicBezTo>
                  <a:cubicBezTo>
                    <a:pt x="211" y="648"/>
                    <a:pt x="213" y="647"/>
                    <a:pt x="214" y="648"/>
                  </a:cubicBezTo>
                  <a:cubicBezTo>
                    <a:pt x="214" y="649"/>
                    <a:pt x="214" y="649"/>
                    <a:pt x="215" y="649"/>
                  </a:cubicBezTo>
                  <a:cubicBezTo>
                    <a:pt x="215" y="650"/>
                    <a:pt x="215" y="651"/>
                    <a:pt x="215" y="652"/>
                  </a:cubicBezTo>
                  <a:cubicBezTo>
                    <a:pt x="215" y="653"/>
                    <a:pt x="215" y="652"/>
                    <a:pt x="216" y="653"/>
                  </a:cubicBezTo>
                  <a:cubicBezTo>
                    <a:pt x="217" y="655"/>
                    <a:pt x="220" y="656"/>
                    <a:pt x="222" y="657"/>
                  </a:cubicBezTo>
                  <a:cubicBezTo>
                    <a:pt x="225" y="659"/>
                    <a:pt x="226" y="661"/>
                    <a:pt x="230" y="659"/>
                  </a:cubicBezTo>
                  <a:cubicBezTo>
                    <a:pt x="231" y="659"/>
                    <a:pt x="232" y="657"/>
                    <a:pt x="232" y="656"/>
                  </a:cubicBezTo>
                  <a:cubicBezTo>
                    <a:pt x="233" y="656"/>
                    <a:pt x="233" y="655"/>
                    <a:pt x="233" y="655"/>
                  </a:cubicBezTo>
                  <a:cubicBezTo>
                    <a:pt x="234" y="651"/>
                    <a:pt x="230" y="649"/>
                    <a:pt x="229" y="646"/>
                  </a:cubicBezTo>
                  <a:cubicBezTo>
                    <a:pt x="229" y="643"/>
                    <a:pt x="229" y="642"/>
                    <a:pt x="232" y="641"/>
                  </a:cubicBezTo>
                  <a:cubicBezTo>
                    <a:pt x="236" y="640"/>
                    <a:pt x="240" y="642"/>
                    <a:pt x="244" y="641"/>
                  </a:cubicBezTo>
                  <a:cubicBezTo>
                    <a:pt x="247" y="641"/>
                    <a:pt x="250" y="640"/>
                    <a:pt x="252" y="643"/>
                  </a:cubicBezTo>
                  <a:cubicBezTo>
                    <a:pt x="253" y="644"/>
                    <a:pt x="253" y="646"/>
                    <a:pt x="255" y="646"/>
                  </a:cubicBezTo>
                  <a:cubicBezTo>
                    <a:pt x="255" y="646"/>
                    <a:pt x="255" y="646"/>
                    <a:pt x="255" y="646"/>
                  </a:cubicBezTo>
                  <a:cubicBezTo>
                    <a:pt x="257" y="646"/>
                    <a:pt x="263" y="648"/>
                    <a:pt x="263" y="650"/>
                  </a:cubicBezTo>
                  <a:cubicBezTo>
                    <a:pt x="264" y="651"/>
                    <a:pt x="268" y="651"/>
                    <a:pt x="267" y="651"/>
                  </a:cubicBezTo>
                  <a:cubicBezTo>
                    <a:pt x="270" y="651"/>
                    <a:pt x="273" y="651"/>
                    <a:pt x="275" y="651"/>
                  </a:cubicBezTo>
                  <a:cubicBezTo>
                    <a:pt x="277" y="650"/>
                    <a:pt x="278" y="649"/>
                    <a:pt x="279" y="649"/>
                  </a:cubicBezTo>
                  <a:cubicBezTo>
                    <a:pt x="281" y="648"/>
                    <a:pt x="282" y="650"/>
                    <a:pt x="284" y="650"/>
                  </a:cubicBezTo>
                  <a:cubicBezTo>
                    <a:pt x="285" y="649"/>
                    <a:pt x="286" y="647"/>
                    <a:pt x="287" y="646"/>
                  </a:cubicBezTo>
                  <a:cubicBezTo>
                    <a:pt x="288" y="645"/>
                    <a:pt x="288" y="644"/>
                    <a:pt x="289" y="643"/>
                  </a:cubicBezTo>
                  <a:cubicBezTo>
                    <a:pt x="291" y="641"/>
                    <a:pt x="295" y="642"/>
                    <a:pt x="298" y="642"/>
                  </a:cubicBezTo>
                  <a:cubicBezTo>
                    <a:pt x="299" y="642"/>
                    <a:pt x="301" y="643"/>
                    <a:pt x="302" y="641"/>
                  </a:cubicBezTo>
                  <a:cubicBezTo>
                    <a:pt x="302" y="640"/>
                    <a:pt x="301" y="639"/>
                    <a:pt x="302" y="637"/>
                  </a:cubicBezTo>
                  <a:cubicBezTo>
                    <a:pt x="302" y="636"/>
                    <a:pt x="303" y="636"/>
                    <a:pt x="305" y="636"/>
                  </a:cubicBezTo>
                  <a:cubicBezTo>
                    <a:pt x="308" y="636"/>
                    <a:pt x="312" y="636"/>
                    <a:pt x="316" y="637"/>
                  </a:cubicBezTo>
                  <a:cubicBezTo>
                    <a:pt x="318" y="637"/>
                    <a:pt x="320" y="637"/>
                    <a:pt x="323" y="637"/>
                  </a:cubicBezTo>
                  <a:cubicBezTo>
                    <a:pt x="324" y="637"/>
                    <a:pt x="324" y="637"/>
                    <a:pt x="325" y="637"/>
                  </a:cubicBezTo>
                  <a:cubicBezTo>
                    <a:pt x="325" y="636"/>
                    <a:pt x="326" y="636"/>
                    <a:pt x="327" y="636"/>
                  </a:cubicBezTo>
                  <a:cubicBezTo>
                    <a:pt x="328" y="636"/>
                    <a:pt x="328" y="636"/>
                    <a:pt x="329" y="636"/>
                  </a:cubicBezTo>
                  <a:cubicBezTo>
                    <a:pt x="332" y="634"/>
                    <a:pt x="326" y="632"/>
                    <a:pt x="327" y="629"/>
                  </a:cubicBezTo>
                  <a:cubicBezTo>
                    <a:pt x="327" y="628"/>
                    <a:pt x="329" y="628"/>
                    <a:pt x="330" y="628"/>
                  </a:cubicBezTo>
                  <a:cubicBezTo>
                    <a:pt x="332" y="628"/>
                    <a:pt x="334" y="628"/>
                    <a:pt x="336" y="628"/>
                  </a:cubicBezTo>
                  <a:cubicBezTo>
                    <a:pt x="337" y="628"/>
                    <a:pt x="340" y="629"/>
                    <a:pt x="341" y="629"/>
                  </a:cubicBezTo>
                  <a:cubicBezTo>
                    <a:pt x="342" y="630"/>
                    <a:pt x="342" y="631"/>
                    <a:pt x="343" y="632"/>
                  </a:cubicBezTo>
                  <a:cubicBezTo>
                    <a:pt x="344" y="633"/>
                    <a:pt x="347" y="632"/>
                    <a:pt x="348" y="632"/>
                  </a:cubicBezTo>
                  <a:cubicBezTo>
                    <a:pt x="351" y="632"/>
                    <a:pt x="353" y="630"/>
                    <a:pt x="355" y="630"/>
                  </a:cubicBezTo>
                  <a:cubicBezTo>
                    <a:pt x="357" y="631"/>
                    <a:pt x="356" y="631"/>
                    <a:pt x="357" y="631"/>
                  </a:cubicBezTo>
                  <a:cubicBezTo>
                    <a:pt x="358" y="632"/>
                    <a:pt x="359" y="634"/>
                    <a:pt x="360" y="635"/>
                  </a:cubicBezTo>
                  <a:cubicBezTo>
                    <a:pt x="361" y="636"/>
                    <a:pt x="362" y="638"/>
                    <a:pt x="362" y="639"/>
                  </a:cubicBezTo>
                  <a:cubicBezTo>
                    <a:pt x="362" y="639"/>
                    <a:pt x="362" y="640"/>
                    <a:pt x="362" y="640"/>
                  </a:cubicBezTo>
                  <a:cubicBezTo>
                    <a:pt x="363" y="642"/>
                    <a:pt x="365" y="641"/>
                    <a:pt x="366" y="641"/>
                  </a:cubicBezTo>
                  <a:cubicBezTo>
                    <a:pt x="367" y="641"/>
                    <a:pt x="367" y="642"/>
                    <a:pt x="368" y="642"/>
                  </a:cubicBezTo>
                  <a:cubicBezTo>
                    <a:pt x="369" y="642"/>
                    <a:pt x="371" y="642"/>
                    <a:pt x="372" y="642"/>
                  </a:cubicBezTo>
                  <a:cubicBezTo>
                    <a:pt x="373" y="641"/>
                    <a:pt x="373" y="641"/>
                    <a:pt x="374" y="640"/>
                  </a:cubicBezTo>
                  <a:cubicBezTo>
                    <a:pt x="375" y="639"/>
                    <a:pt x="375" y="638"/>
                    <a:pt x="375" y="637"/>
                  </a:cubicBezTo>
                  <a:cubicBezTo>
                    <a:pt x="375" y="636"/>
                    <a:pt x="375" y="635"/>
                    <a:pt x="375" y="634"/>
                  </a:cubicBezTo>
                  <a:cubicBezTo>
                    <a:pt x="376" y="633"/>
                    <a:pt x="378" y="630"/>
                    <a:pt x="375" y="629"/>
                  </a:cubicBezTo>
                  <a:cubicBezTo>
                    <a:pt x="373" y="628"/>
                    <a:pt x="371" y="628"/>
                    <a:pt x="369" y="626"/>
                  </a:cubicBezTo>
                  <a:cubicBezTo>
                    <a:pt x="368" y="625"/>
                    <a:pt x="368" y="625"/>
                    <a:pt x="368" y="624"/>
                  </a:cubicBezTo>
                  <a:cubicBezTo>
                    <a:pt x="368" y="623"/>
                    <a:pt x="367" y="623"/>
                    <a:pt x="367" y="623"/>
                  </a:cubicBezTo>
                  <a:cubicBezTo>
                    <a:pt x="367" y="622"/>
                    <a:pt x="368" y="621"/>
                    <a:pt x="368" y="620"/>
                  </a:cubicBezTo>
                  <a:cubicBezTo>
                    <a:pt x="368" y="619"/>
                    <a:pt x="369" y="619"/>
                    <a:pt x="370" y="618"/>
                  </a:cubicBezTo>
                  <a:cubicBezTo>
                    <a:pt x="371" y="618"/>
                    <a:pt x="371" y="617"/>
                    <a:pt x="372" y="616"/>
                  </a:cubicBezTo>
                  <a:cubicBezTo>
                    <a:pt x="372" y="614"/>
                    <a:pt x="373" y="612"/>
                    <a:pt x="372" y="611"/>
                  </a:cubicBezTo>
                  <a:cubicBezTo>
                    <a:pt x="371" y="610"/>
                    <a:pt x="370" y="609"/>
                    <a:pt x="369" y="608"/>
                  </a:cubicBezTo>
                  <a:cubicBezTo>
                    <a:pt x="369" y="608"/>
                    <a:pt x="368" y="607"/>
                    <a:pt x="368" y="607"/>
                  </a:cubicBezTo>
                  <a:cubicBezTo>
                    <a:pt x="367" y="606"/>
                    <a:pt x="366" y="606"/>
                    <a:pt x="366" y="606"/>
                  </a:cubicBezTo>
                  <a:cubicBezTo>
                    <a:pt x="366" y="606"/>
                    <a:pt x="366" y="605"/>
                    <a:pt x="365" y="604"/>
                  </a:cubicBezTo>
                  <a:cubicBezTo>
                    <a:pt x="365" y="604"/>
                    <a:pt x="365" y="604"/>
                    <a:pt x="364" y="603"/>
                  </a:cubicBezTo>
                  <a:cubicBezTo>
                    <a:pt x="364" y="603"/>
                    <a:pt x="363" y="602"/>
                    <a:pt x="363" y="601"/>
                  </a:cubicBezTo>
                  <a:cubicBezTo>
                    <a:pt x="363" y="598"/>
                    <a:pt x="363" y="595"/>
                    <a:pt x="363" y="593"/>
                  </a:cubicBezTo>
                  <a:cubicBezTo>
                    <a:pt x="362" y="592"/>
                    <a:pt x="362" y="592"/>
                    <a:pt x="362" y="592"/>
                  </a:cubicBezTo>
                  <a:cubicBezTo>
                    <a:pt x="362" y="591"/>
                    <a:pt x="362" y="590"/>
                    <a:pt x="362" y="589"/>
                  </a:cubicBezTo>
                  <a:cubicBezTo>
                    <a:pt x="362" y="588"/>
                    <a:pt x="361" y="587"/>
                    <a:pt x="362" y="586"/>
                  </a:cubicBezTo>
                  <a:cubicBezTo>
                    <a:pt x="363" y="586"/>
                    <a:pt x="364" y="586"/>
                    <a:pt x="365" y="585"/>
                  </a:cubicBezTo>
                  <a:cubicBezTo>
                    <a:pt x="365" y="585"/>
                    <a:pt x="366" y="584"/>
                    <a:pt x="367" y="583"/>
                  </a:cubicBezTo>
                  <a:cubicBezTo>
                    <a:pt x="368" y="582"/>
                    <a:pt x="370" y="581"/>
                    <a:pt x="372" y="581"/>
                  </a:cubicBezTo>
                  <a:cubicBezTo>
                    <a:pt x="374" y="581"/>
                    <a:pt x="376" y="580"/>
                    <a:pt x="378" y="579"/>
                  </a:cubicBezTo>
                  <a:cubicBezTo>
                    <a:pt x="380" y="578"/>
                    <a:pt x="382" y="577"/>
                    <a:pt x="384" y="577"/>
                  </a:cubicBezTo>
                  <a:cubicBezTo>
                    <a:pt x="388" y="577"/>
                    <a:pt x="392" y="577"/>
                    <a:pt x="395" y="575"/>
                  </a:cubicBezTo>
                  <a:cubicBezTo>
                    <a:pt x="396" y="574"/>
                    <a:pt x="397" y="574"/>
                    <a:pt x="397" y="573"/>
                  </a:cubicBezTo>
                  <a:cubicBezTo>
                    <a:pt x="398" y="572"/>
                    <a:pt x="398" y="572"/>
                    <a:pt x="398" y="571"/>
                  </a:cubicBezTo>
                  <a:cubicBezTo>
                    <a:pt x="398" y="571"/>
                    <a:pt x="398" y="570"/>
                    <a:pt x="398" y="570"/>
                  </a:cubicBezTo>
                  <a:cubicBezTo>
                    <a:pt x="398" y="569"/>
                    <a:pt x="398" y="568"/>
                    <a:pt x="399" y="568"/>
                  </a:cubicBezTo>
                  <a:cubicBezTo>
                    <a:pt x="399" y="567"/>
                    <a:pt x="399" y="566"/>
                    <a:pt x="399" y="565"/>
                  </a:cubicBezTo>
                  <a:cubicBezTo>
                    <a:pt x="399" y="566"/>
                    <a:pt x="399" y="566"/>
                    <a:pt x="399" y="566"/>
                  </a:cubicBezTo>
                  <a:cubicBezTo>
                    <a:pt x="399" y="565"/>
                    <a:pt x="399" y="564"/>
                    <a:pt x="400" y="564"/>
                  </a:cubicBezTo>
                  <a:cubicBezTo>
                    <a:pt x="400" y="563"/>
                    <a:pt x="399" y="562"/>
                    <a:pt x="400" y="561"/>
                  </a:cubicBezTo>
                  <a:cubicBezTo>
                    <a:pt x="400" y="560"/>
                    <a:pt x="400" y="559"/>
                    <a:pt x="401" y="559"/>
                  </a:cubicBezTo>
                  <a:cubicBezTo>
                    <a:pt x="401" y="558"/>
                    <a:pt x="402" y="556"/>
                    <a:pt x="402" y="556"/>
                  </a:cubicBezTo>
                  <a:cubicBezTo>
                    <a:pt x="403" y="556"/>
                    <a:pt x="404" y="556"/>
                    <a:pt x="405" y="556"/>
                  </a:cubicBezTo>
                  <a:cubicBezTo>
                    <a:pt x="406" y="556"/>
                    <a:pt x="406" y="557"/>
                    <a:pt x="407" y="558"/>
                  </a:cubicBezTo>
                  <a:cubicBezTo>
                    <a:pt x="408" y="559"/>
                    <a:pt x="414" y="560"/>
                    <a:pt x="415" y="559"/>
                  </a:cubicBezTo>
                  <a:cubicBezTo>
                    <a:pt x="416" y="558"/>
                    <a:pt x="417" y="556"/>
                    <a:pt x="417" y="555"/>
                  </a:cubicBezTo>
                  <a:cubicBezTo>
                    <a:pt x="418" y="554"/>
                    <a:pt x="418" y="553"/>
                    <a:pt x="418" y="552"/>
                  </a:cubicBezTo>
                  <a:cubicBezTo>
                    <a:pt x="418" y="551"/>
                    <a:pt x="419" y="550"/>
                    <a:pt x="419" y="548"/>
                  </a:cubicBezTo>
                  <a:cubicBezTo>
                    <a:pt x="419" y="547"/>
                    <a:pt x="419" y="545"/>
                    <a:pt x="419" y="544"/>
                  </a:cubicBezTo>
                  <a:cubicBezTo>
                    <a:pt x="419" y="543"/>
                    <a:pt x="420" y="543"/>
                    <a:pt x="420" y="542"/>
                  </a:cubicBezTo>
                  <a:cubicBezTo>
                    <a:pt x="420" y="541"/>
                    <a:pt x="420" y="540"/>
                    <a:pt x="420" y="540"/>
                  </a:cubicBezTo>
                  <a:cubicBezTo>
                    <a:pt x="420" y="539"/>
                    <a:pt x="421" y="539"/>
                    <a:pt x="421" y="539"/>
                  </a:cubicBezTo>
                  <a:cubicBezTo>
                    <a:pt x="421" y="539"/>
                    <a:pt x="420" y="538"/>
                    <a:pt x="420" y="537"/>
                  </a:cubicBezTo>
                  <a:cubicBezTo>
                    <a:pt x="420" y="536"/>
                    <a:pt x="420" y="534"/>
                    <a:pt x="419" y="533"/>
                  </a:cubicBezTo>
                  <a:cubicBezTo>
                    <a:pt x="418" y="532"/>
                    <a:pt x="417" y="532"/>
                    <a:pt x="417" y="531"/>
                  </a:cubicBezTo>
                  <a:cubicBezTo>
                    <a:pt x="416" y="531"/>
                    <a:pt x="415" y="530"/>
                    <a:pt x="414" y="529"/>
                  </a:cubicBezTo>
                  <a:cubicBezTo>
                    <a:pt x="413" y="528"/>
                    <a:pt x="412" y="527"/>
                    <a:pt x="411" y="527"/>
                  </a:cubicBezTo>
                  <a:cubicBezTo>
                    <a:pt x="410" y="526"/>
                    <a:pt x="410" y="525"/>
                    <a:pt x="410" y="524"/>
                  </a:cubicBezTo>
                  <a:cubicBezTo>
                    <a:pt x="408" y="519"/>
                    <a:pt x="402" y="526"/>
                    <a:pt x="400" y="520"/>
                  </a:cubicBezTo>
                  <a:cubicBezTo>
                    <a:pt x="400" y="519"/>
                    <a:pt x="399" y="518"/>
                    <a:pt x="398" y="517"/>
                  </a:cubicBezTo>
                  <a:cubicBezTo>
                    <a:pt x="398" y="516"/>
                    <a:pt x="397" y="515"/>
                    <a:pt x="397" y="514"/>
                  </a:cubicBezTo>
                  <a:cubicBezTo>
                    <a:pt x="396" y="514"/>
                    <a:pt x="395" y="513"/>
                    <a:pt x="394" y="513"/>
                  </a:cubicBezTo>
                  <a:cubicBezTo>
                    <a:pt x="394" y="512"/>
                    <a:pt x="394" y="512"/>
                    <a:pt x="394" y="512"/>
                  </a:cubicBezTo>
                  <a:cubicBezTo>
                    <a:pt x="393" y="511"/>
                    <a:pt x="391" y="510"/>
                    <a:pt x="390" y="510"/>
                  </a:cubicBezTo>
                  <a:cubicBezTo>
                    <a:pt x="389" y="509"/>
                    <a:pt x="386" y="509"/>
                    <a:pt x="385" y="508"/>
                  </a:cubicBezTo>
                  <a:cubicBezTo>
                    <a:pt x="385" y="507"/>
                    <a:pt x="385" y="507"/>
                    <a:pt x="385" y="507"/>
                  </a:cubicBezTo>
                  <a:cubicBezTo>
                    <a:pt x="385" y="504"/>
                    <a:pt x="384" y="502"/>
                    <a:pt x="382" y="499"/>
                  </a:cubicBezTo>
                  <a:cubicBezTo>
                    <a:pt x="381" y="498"/>
                    <a:pt x="380" y="496"/>
                    <a:pt x="379" y="495"/>
                  </a:cubicBezTo>
                  <a:cubicBezTo>
                    <a:pt x="378" y="494"/>
                    <a:pt x="376" y="493"/>
                    <a:pt x="375" y="491"/>
                  </a:cubicBezTo>
                  <a:cubicBezTo>
                    <a:pt x="374" y="491"/>
                    <a:pt x="374" y="491"/>
                    <a:pt x="373" y="490"/>
                  </a:cubicBezTo>
                  <a:cubicBezTo>
                    <a:pt x="373" y="490"/>
                    <a:pt x="371" y="491"/>
                    <a:pt x="371" y="491"/>
                  </a:cubicBezTo>
                  <a:cubicBezTo>
                    <a:pt x="369" y="491"/>
                    <a:pt x="369" y="490"/>
                    <a:pt x="368" y="490"/>
                  </a:cubicBezTo>
                  <a:cubicBezTo>
                    <a:pt x="367" y="489"/>
                    <a:pt x="365" y="489"/>
                    <a:pt x="365" y="488"/>
                  </a:cubicBezTo>
                  <a:cubicBezTo>
                    <a:pt x="364" y="488"/>
                    <a:pt x="364" y="488"/>
                    <a:pt x="364" y="487"/>
                  </a:cubicBezTo>
                  <a:cubicBezTo>
                    <a:pt x="363" y="485"/>
                    <a:pt x="362" y="484"/>
                    <a:pt x="361" y="483"/>
                  </a:cubicBezTo>
                  <a:cubicBezTo>
                    <a:pt x="360" y="482"/>
                    <a:pt x="360" y="482"/>
                    <a:pt x="360" y="480"/>
                  </a:cubicBezTo>
                  <a:cubicBezTo>
                    <a:pt x="359" y="479"/>
                    <a:pt x="359" y="476"/>
                    <a:pt x="359" y="475"/>
                  </a:cubicBezTo>
                  <a:cubicBezTo>
                    <a:pt x="358" y="474"/>
                    <a:pt x="358" y="474"/>
                    <a:pt x="358" y="473"/>
                  </a:cubicBezTo>
                  <a:cubicBezTo>
                    <a:pt x="357" y="471"/>
                    <a:pt x="356" y="469"/>
                    <a:pt x="355" y="467"/>
                  </a:cubicBezTo>
                  <a:cubicBezTo>
                    <a:pt x="355" y="466"/>
                    <a:pt x="354" y="464"/>
                    <a:pt x="353" y="463"/>
                  </a:cubicBezTo>
                  <a:cubicBezTo>
                    <a:pt x="352" y="462"/>
                    <a:pt x="351" y="461"/>
                    <a:pt x="349" y="460"/>
                  </a:cubicBezTo>
                  <a:cubicBezTo>
                    <a:pt x="348" y="459"/>
                    <a:pt x="348" y="457"/>
                    <a:pt x="349" y="456"/>
                  </a:cubicBezTo>
                  <a:cubicBezTo>
                    <a:pt x="349" y="455"/>
                    <a:pt x="350" y="454"/>
                    <a:pt x="351" y="453"/>
                  </a:cubicBezTo>
                  <a:cubicBezTo>
                    <a:pt x="351" y="452"/>
                    <a:pt x="352" y="451"/>
                    <a:pt x="352" y="451"/>
                  </a:cubicBezTo>
                  <a:cubicBezTo>
                    <a:pt x="353" y="450"/>
                    <a:pt x="354" y="449"/>
                    <a:pt x="354" y="448"/>
                  </a:cubicBezTo>
                  <a:cubicBezTo>
                    <a:pt x="354" y="447"/>
                    <a:pt x="354" y="446"/>
                    <a:pt x="354" y="445"/>
                  </a:cubicBezTo>
                  <a:cubicBezTo>
                    <a:pt x="354" y="444"/>
                    <a:pt x="355" y="443"/>
                    <a:pt x="355" y="442"/>
                  </a:cubicBezTo>
                  <a:cubicBezTo>
                    <a:pt x="354" y="440"/>
                    <a:pt x="352" y="440"/>
                    <a:pt x="351" y="439"/>
                  </a:cubicBezTo>
                  <a:cubicBezTo>
                    <a:pt x="349" y="439"/>
                    <a:pt x="349" y="438"/>
                    <a:pt x="348" y="437"/>
                  </a:cubicBezTo>
                  <a:cubicBezTo>
                    <a:pt x="347" y="436"/>
                    <a:pt x="345" y="436"/>
                    <a:pt x="345" y="435"/>
                  </a:cubicBezTo>
                  <a:cubicBezTo>
                    <a:pt x="343" y="434"/>
                    <a:pt x="344" y="432"/>
                    <a:pt x="342" y="431"/>
                  </a:cubicBezTo>
                  <a:cubicBezTo>
                    <a:pt x="340" y="430"/>
                    <a:pt x="339" y="431"/>
                    <a:pt x="339" y="429"/>
                  </a:cubicBezTo>
                  <a:cubicBezTo>
                    <a:pt x="338" y="427"/>
                    <a:pt x="338" y="426"/>
                    <a:pt x="338" y="424"/>
                  </a:cubicBezTo>
                  <a:cubicBezTo>
                    <a:pt x="338" y="423"/>
                    <a:pt x="338" y="421"/>
                    <a:pt x="337" y="419"/>
                  </a:cubicBezTo>
                  <a:cubicBezTo>
                    <a:pt x="337" y="416"/>
                    <a:pt x="331" y="416"/>
                    <a:pt x="332" y="412"/>
                  </a:cubicBezTo>
                  <a:cubicBezTo>
                    <a:pt x="333" y="412"/>
                    <a:pt x="333" y="412"/>
                    <a:pt x="333" y="411"/>
                  </a:cubicBezTo>
                  <a:cubicBezTo>
                    <a:pt x="333" y="411"/>
                    <a:pt x="333" y="411"/>
                    <a:pt x="333" y="410"/>
                  </a:cubicBezTo>
                  <a:cubicBezTo>
                    <a:pt x="334" y="409"/>
                    <a:pt x="334" y="409"/>
                    <a:pt x="336" y="408"/>
                  </a:cubicBezTo>
                  <a:cubicBezTo>
                    <a:pt x="338" y="407"/>
                    <a:pt x="339" y="411"/>
                    <a:pt x="339" y="413"/>
                  </a:cubicBezTo>
                  <a:cubicBezTo>
                    <a:pt x="339" y="414"/>
                    <a:pt x="339" y="415"/>
                    <a:pt x="340" y="416"/>
                  </a:cubicBezTo>
                  <a:cubicBezTo>
                    <a:pt x="340" y="417"/>
                    <a:pt x="341" y="417"/>
                    <a:pt x="342" y="418"/>
                  </a:cubicBezTo>
                  <a:cubicBezTo>
                    <a:pt x="342" y="418"/>
                    <a:pt x="342" y="419"/>
                    <a:pt x="342" y="419"/>
                  </a:cubicBezTo>
                  <a:cubicBezTo>
                    <a:pt x="342" y="420"/>
                    <a:pt x="342" y="419"/>
                    <a:pt x="343" y="420"/>
                  </a:cubicBezTo>
                  <a:cubicBezTo>
                    <a:pt x="343" y="421"/>
                    <a:pt x="343" y="421"/>
                    <a:pt x="343" y="422"/>
                  </a:cubicBezTo>
                  <a:cubicBezTo>
                    <a:pt x="344" y="421"/>
                    <a:pt x="344" y="420"/>
                    <a:pt x="344" y="419"/>
                  </a:cubicBezTo>
                  <a:cubicBezTo>
                    <a:pt x="345" y="417"/>
                    <a:pt x="346" y="417"/>
                    <a:pt x="346" y="416"/>
                  </a:cubicBezTo>
                  <a:cubicBezTo>
                    <a:pt x="346" y="415"/>
                    <a:pt x="346" y="414"/>
                    <a:pt x="346" y="413"/>
                  </a:cubicBezTo>
                  <a:cubicBezTo>
                    <a:pt x="346" y="413"/>
                    <a:pt x="347" y="412"/>
                    <a:pt x="348" y="411"/>
                  </a:cubicBezTo>
                  <a:cubicBezTo>
                    <a:pt x="349" y="409"/>
                    <a:pt x="351" y="408"/>
                    <a:pt x="353" y="407"/>
                  </a:cubicBezTo>
                  <a:cubicBezTo>
                    <a:pt x="354" y="406"/>
                    <a:pt x="355" y="404"/>
                    <a:pt x="357" y="404"/>
                  </a:cubicBezTo>
                  <a:cubicBezTo>
                    <a:pt x="357" y="403"/>
                    <a:pt x="358" y="403"/>
                    <a:pt x="359" y="402"/>
                  </a:cubicBezTo>
                  <a:cubicBezTo>
                    <a:pt x="360" y="402"/>
                    <a:pt x="360" y="400"/>
                    <a:pt x="361" y="401"/>
                  </a:cubicBezTo>
                  <a:cubicBezTo>
                    <a:pt x="362" y="401"/>
                    <a:pt x="362" y="402"/>
                    <a:pt x="363" y="402"/>
                  </a:cubicBezTo>
                  <a:cubicBezTo>
                    <a:pt x="364" y="403"/>
                    <a:pt x="364" y="402"/>
                    <a:pt x="365" y="402"/>
                  </a:cubicBezTo>
                  <a:cubicBezTo>
                    <a:pt x="367" y="402"/>
                    <a:pt x="368" y="402"/>
                    <a:pt x="369" y="400"/>
                  </a:cubicBezTo>
                  <a:cubicBezTo>
                    <a:pt x="370" y="400"/>
                    <a:pt x="370" y="398"/>
                    <a:pt x="370" y="398"/>
                  </a:cubicBezTo>
                  <a:cubicBezTo>
                    <a:pt x="371" y="398"/>
                    <a:pt x="373" y="398"/>
                    <a:pt x="373" y="398"/>
                  </a:cubicBezTo>
                  <a:cubicBezTo>
                    <a:pt x="374" y="398"/>
                    <a:pt x="374" y="399"/>
                    <a:pt x="375" y="399"/>
                  </a:cubicBezTo>
                  <a:cubicBezTo>
                    <a:pt x="376" y="399"/>
                    <a:pt x="377" y="398"/>
                    <a:pt x="379" y="399"/>
                  </a:cubicBezTo>
                  <a:cubicBezTo>
                    <a:pt x="379" y="399"/>
                    <a:pt x="380" y="400"/>
                    <a:pt x="380" y="400"/>
                  </a:cubicBezTo>
                  <a:cubicBezTo>
                    <a:pt x="381" y="401"/>
                    <a:pt x="381" y="400"/>
                    <a:pt x="382" y="399"/>
                  </a:cubicBezTo>
                  <a:cubicBezTo>
                    <a:pt x="382" y="398"/>
                    <a:pt x="383" y="398"/>
                    <a:pt x="384" y="397"/>
                  </a:cubicBezTo>
                  <a:cubicBezTo>
                    <a:pt x="385" y="396"/>
                    <a:pt x="386" y="395"/>
                    <a:pt x="386" y="394"/>
                  </a:cubicBezTo>
                  <a:cubicBezTo>
                    <a:pt x="388" y="392"/>
                    <a:pt x="388" y="392"/>
                    <a:pt x="391" y="392"/>
                  </a:cubicBezTo>
                  <a:cubicBezTo>
                    <a:pt x="391" y="392"/>
                    <a:pt x="392" y="392"/>
                    <a:pt x="392" y="392"/>
                  </a:cubicBezTo>
                  <a:cubicBezTo>
                    <a:pt x="392" y="392"/>
                    <a:pt x="392" y="391"/>
                    <a:pt x="392" y="391"/>
                  </a:cubicBezTo>
                  <a:cubicBezTo>
                    <a:pt x="393" y="391"/>
                    <a:pt x="394" y="390"/>
                    <a:pt x="394" y="390"/>
                  </a:cubicBezTo>
                  <a:cubicBezTo>
                    <a:pt x="394" y="389"/>
                    <a:pt x="395" y="389"/>
                    <a:pt x="395" y="388"/>
                  </a:cubicBezTo>
                  <a:cubicBezTo>
                    <a:pt x="395" y="387"/>
                    <a:pt x="395" y="386"/>
                    <a:pt x="396" y="386"/>
                  </a:cubicBezTo>
                  <a:cubicBezTo>
                    <a:pt x="397" y="384"/>
                    <a:pt x="399" y="387"/>
                    <a:pt x="401" y="387"/>
                  </a:cubicBezTo>
                  <a:cubicBezTo>
                    <a:pt x="401" y="386"/>
                    <a:pt x="401" y="385"/>
                    <a:pt x="402" y="384"/>
                  </a:cubicBezTo>
                  <a:cubicBezTo>
                    <a:pt x="402" y="383"/>
                    <a:pt x="402" y="383"/>
                    <a:pt x="402" y="383"/>
                  </a:cubicBezTo>
                  <a:cubicBezTo>
                    <a:pt x="402" y="382"/>
                    <a:pt x="402" y="381"/>
                    <a:pt x="402" y="381"/>
                  </a:cubicBezTo>
                  <a:cubicBezTo>
                    <a:pt x="403" y="379"/>
                    <a:pt x="405" y="380"/>
                    <a:pt x="405" y="381"/>
                  </a:cubicBezTo>
                  <a:cubicBezTo>
                    <a:pt x="406" y="381"/>
                    <a:pt x="406" y="383"/>
                    <a:pt x="406" y="384"/>
                  </a:cubicBezTo>
                  <a:cubicBezTo>
                    <a:pt x="407" y="384"/>
                    <a:pt x="409" y="384"/>
                    <a:pt x="409" y="384"/>
                  </a:cubicBezTo>
                  <a:cubicBezTo>
                    <a:pt x="410" y="384"/>
                    <a:pt x="411" y="384"/>
                    <a:pt x="412" y="383"/>
                  </a:cubicBezTo>
                  <a:cubicBezTo>
                    <a:pt x="413" y="383"/>
                    <a:pt x="412" y="381"/>
                    <a:pt x="412" y="380"/>
                  </a:cubicBezTo>
                  <a:cubicBezTo>
                    <a:pt x="412" y="379"/>
                    <a:pt x="412" y="377"/>
                    <a:pt x="413" y="376"/>
                  </a:cubicBezTo>
                  <a:cubicBezTo>
                    <a:pt x="413" y="375"/>
                    <a:pt x="414" y="375"/>
                    <a:pt x="414" y="375"/>
                  </a:cubicBezTo>
                  <a:cubicBezTo>
                    <a:pt x="415" y="374"/>
                    <a:pt x="416" y="373"/>
                    <a:pt x="417" y="373"/>
                  </a:cubicBezTo>
                  <a:cubicBezTo>
                    <a:pt x="418" y="373"/>
                    <a:pt x="418" y="373"/>
                    <a:pt x="419" y="373"/>
                  </a:cubicBezTo>
                  <a:cubicBezTo>
                    <a:pt x="421" y="373"/>
                    <a:pt x="422" y="372"/>
                    <a:pt x="424" y="372"/>
                  </a:cubicBezTo>
                  <a:cubicBezTo>
                    <a:pt x="425" y="372"/>
                    <a:pt x="427" y="371"/>
                    <a:pt x="428" y="371"/>
                  </a:cubicBezTo>
                  <a:cubicBezTo>
                    <a:pt x="429" y="371"/>
                    <a:pt x="430" y="371"/>
                    <a:pt x="431" y="371"/>
                  </a:cubicBezTo>
                  <a:cubicBezTo>
                    <a:pt x="432" y="371"/>
                    <a:pt x="432" y="370"/>
                    <a:pt x="433" y="369"/>
                  </a:cubicBezTo>
                  <a:cubicBezTo>
                    <a:pt x="434" y="369"/>
                    <a:pt x="435" y="368"/>
                    <a:pt x="436" y="367"/>
                  </a:cubicBezTo>
                  <a:cubicBezTo>
                    <a:pt x="436" y="367"/>
                    <a:pt x="436" y="366"/>
                    <a:pt x="436" y="366"/>
                  </a:cubicBezTo>
                  <a:cubicBezTo>
                    <a:pt x="436" y="365"/>
                    <a:pt x="439" y="364"/>
                    <a:pt x="440" y="364"/>
                  </a:cubicBezTo>
                  <a:cubicBezTo>
                    <a:pt x="441" y="364"/>
                    <a:pt x="442" y="365"/>
                    <a:pt x="443" y="364"/>
                  </a:cubicBezTo>
                  <a:cubicBezTo>
                    <a:pt x="444" y="364"/>
                    <a:pt x="445" y="362"/>
                    <a:pt x="446" y="363"/>
                  </a:cubicBezTo>
                  <a:cubicBezTo>
                    <a:pt x="447" y="364"/>
                    <a:pt x="447" y="363"/>
                    <a:pt x="448" y="363"/>
                  </a:cubicBezTo>
                  <a:cubicBezTo>
                    <a:pt x="449" y="362"/>
                    <a:pt x="451" y="361"/>
                    <a:pt x="452" y="360"/>
                  </a:cubicBezTo>
                  <a:cubicBezTo>
                    <a:pt x="454" y="360"/>
                    <a:pt x="456" y="359"/>
                    <a:pt x="458" y="358"/>
                  </a:cubicBezTo>
                  <a:cubicBezTo>
                    <a:pt x="459" y="357"/>
                    <a:pt x="460" y="357"/>
                    <a:pt x="460" y="356"/>
                  </a:cubicBezTo>
                  <a:cubicBezTo>
                    <a:pt x="461" y="355"/>
                    <a:pt x="457" y="353"/>
                    <a:pt x="457" y="352"/>
                  </a:cubicBezTo>
                  <a:cubicBezTo>
                    <a:pt x="455" y="351"/>
                    <a:pt x="453" y="350"/>
                    <a:pt x="452" y="349"/>
                  </a:cubicBezTo>
                  <a:cubicBezTo>
                    <a:pt x="454" y="349"/>
                    <a:pt x="457" y="348"/>
                    <a:pt x="459" y="347"/>
                  </a:cubicBezTo>
                  <a:cubicBezTo>
                    <a:pt x="460" y="346"/>
                    <a:pt x="461" y="344"/>
                    <a:pt x="462" y="344"/>
                  </a:cubicBezTo>
                  <a:cubicBezTo>
                    <a:pt x="464" y="343"/>
                    <a:pt x="464" y="343"/>
                    <a:pt x="465" y="344"/>
                  </a:cubicBezTo>
                  <a:cubicBezTo>
                    <a:pt x="466" y="345"/>
                    <a:pt x="467" y="346"/>
                    <a:pt x="468" y="347"/>
                  </a:cubicBezTo>
                  <a:cubicBezTo>
                    <a:pt x="470" y="347"/>
                    <a:pt x="473" y="351"/>
                    <a:pt x="473" y="353"/>
                  </a:cubicBezTo>
                  <a:cubicBezTo>
                    <a:pt x="472" y="354"/>
                    <a:pt x="472" y="355"/>
                    <a:pt x="471" y="356"/>
                  </a:cubicBezTo>
                  <a:cubicBezTo>
                    <a:pt x="470" y="358"/>
                    <a:pt x="470" y="358"/>
                    <a:pt x="472" y="359"/>
                  </a:cubicBezTo>
                  <a:cubicBezTo>
                    <a:pt x="473" y="359"/>
                    <a:pt x="475" y="360"/>
                    <a:pt x="476" y="361"/>
                  </a:cubicBezTo>
                  <a:cubicBezTo>
                    <a:pt x="476" y="361"/>
                    <a:pt x="476" y="361"/>
                    <a:pt x="476" y="362"/>
                  </a:cubicBezTo>
                  <a:cubicBezTo>
                    <a:pt x="476" y="363"/>
                    <a:pt x="476" y="364"/>
                    <a:pt x="477" y="365"/>
                  </a:cubicBezTo>
                  <a:cubicBezTo>
                    <a:pt x="477" y="365"/>
                    <a:pt x="480" y="365"/>
                    <a:pt x="481" y="365"/>
                  </a:cubicBezTo>
                  <a:cubicBezTo>
                    <a:pt x="482" y="365"/>
                    <a:pt x="483" y="364"/>
                    <a:pt x="484" y="363"/>
                  </a:cubicBezTo>
                  <a:cubicBezTo>
                    <a:pt x="485" y="362"/>
                    <a:pt x="487" y="359"/>
                    <a:pt x="489" y="361"/>
                  </a:cubicBezTo>
                  <a:cubicBezTo>
                    <a:pt x="488" y="360"/>
                    <a:pt x="488" y="357"/>
                    <a:pt x="488" y="356"/>
                  </a:cubicBezTo>
                  <a:cubicBezTo>
                    <a:pt x="489" y="355"/>
                    <a:pt x="492" y="354"/>
                    <a:pt x="491" y="352"/>
                  </a:cubicBezTo>
                  <a:cubicBezTo>
                    <a:pt x="491" y="351"/>
                    <a:pt x="490" y="351"/>
                    <a:pt x="490" y="349"/>
                  </a:cubicBezTo>
                  <a:cubicBezTo>
                    <a:pt x="490" y="346"/>
                    <a:pt x="492" y="345"/>
                    <a:pt x="492" y="343"/>
                  </a:cubicBezTo>
                  <a:cubicBezTo>
                    <a:pt x="493" y="341"/>
                    <a:pt x="492" y="339"/>
                    <a:pt x="493" y="337"/>
                  </a:cubicBezTo>
                  <a:cubicBezTo>
                    <a:pt x="493" y="335"/>
                    <a:pt x="493" y="334"/>
                    <a:pt x="494" y="332"/>
                  </a:cubicBezTo>
                  <a:cubicBezTo>
                    <a:pt x="495" y="330"/>
                    <a:pt x="495" y="328"/>
                    <a:pt x="496" y="326"/>
                  </a:cubicBezTo>
                  <a:cubicBezTo>
                    <a:pt x="496" y="324"/>
                    <a:pt x="496" y="325"/>
                    <a:pt x="496" y="32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9" name="Freeform 110">
              <a:extLst>
                <a:ext uri="{FF2B5EF4-FFF2-40B4-BE49-F238E27FC236}">
                  <a16:creationId xmlns:a16="http://schemas.microsoft.com/office/drawing/2014/main" id="{6640E693-186C-4680-B859-22D0FA601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4825" y="3700463"/>
              <a:ext cx="23813" cy="61913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9" y="1"/>
                </a:cxn>
                <a:cxn ang="0">
                  <a:pos x="7" y="3"/>
                </a:cxn>
                <a:cxn ang="0">
                  <a:pos x="6" y="6"/>
                </a:cxn>
                <a:cxn ang="0">
                  <a:pos x="5" y="10"/>
                </a:cxn>
                <a:cxn ang="0">
                  <a:pos x="4" y="13"/>
                </a:cxn>
                <a:cxn ang="0">
                  <a:pos x="3" y="15"/>
                </a:cxn>
                <a:cxn ang="0">
                  <a:pos x="3" y="18"/>
                </a:cxn>
                <a:cxn ang="0">
                  <a:pos x="1" y="23"/>
                </a:cxn>
                <a:cxn ang="0">
                  <a:pos x="1" y="27"/>
                </a:cxn>
                <a:cxn ang="0">
                  <a:pos x="1" y="32"/>
                </a:cxn>
                <a:cxn ang="0">
                  <a:pos x="2" y="32"/>
                </a:cxn>
                <a:cxn ang="0">
                  <a:pos x="4" y="31"/>
                </a:cxn>
                <a:cxn ang="0">
                  <a:pos x="4" y="25"/>
                </a:cxn>
                <a:cxn ang="0">
                  <a:pos x="4" y="23"/>
                </a:cxn>
                <a:cxn ang="0">
                  <a:pos x="5" y="20"/>
                </a:cxn>
                <a:cxn ang="0">
                  <a:pos x="6" y="18"/>
                </a:cxn>
                <a:cxn ang="0">
                  <a:pos x="8" y="20"/>
                </a:cxn>
                <a:cxn ang="0">
                  <a:pos x="8" y="21"/>
                </a:cxn>
                <a:cxn ang="0">
                  <a:pos x="10" y="21"/>
                </a:cxn>
                <a:cxn ang="0">
                  <a:pos x="12" y="21"/>
                </a:cxn>
                <a:cxn ang="0">
                  <a:pos x="12" y="18"/>
                </a:cxn>
                <a:cxn ang="0">
                  <a:pos x="9" y="16"/>
                </a:cxn>
                <a:cxn ang="0">
                  <a:pos x="9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8" y="9"/>
                </a:cxn>
                <a:cxn ang="0">
                  <a:pos x="11" y="5"/>
                </a:cxn>
                <a:cxn ang="0">
                  <a:pos x="11" y="4"/>
                </a:cxn>
                <a:cxn ang="0">
                  <a:pos x="11" y="3"/>
                </a:cxn>
              </a:cxnLst>
              <a:rect l="0" t="0" r="r" b="b"/>
              <a:pathLst>
                <a:path w="13" h="33">
                  <a:moveTo>
                    <a:pt x="12" y="2"/>
                  </a:moveTo>
                  <a:cubicBezTo>
                    <a:pt x="12" y="1"/>
                    <a:pt x="10" y="0"/>
                    <a:pt x="9" y="1"/>
                  </a:cubicBezTo>
                  <a:cubicBezTo>
                    <a:pt x="8" y="2"/>
                    <a:pt x="8" y="2"/>
                    <a:pt x="7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7"/>
                    <a:pt x="5" y="8"/>
                    <a:pt x="5" y="10"/>
                  </a:cubicBezTo>
                  <a:cubicBezTo>
                    <a:pt x="4" y="11"/>
                    <a:pt x="4" y="12"/>
                    <a:pt x="4" y="13"/>
                  </a:cubicBezTo>
                  <a:cubicBezTo>
                    <a:pt x="4" y="14"/>
                    <a:pt x="3" y="15"/>
                    <a:pt x="3" y="15"/>
                  </a:cubicBezTo>
                  <a:cubicBezTo>
                    <a:pt x="3" y="16"/>
                    <a:pt x="3" y="17"/>
                    <a:pt x="3" y="18"/>
                  </a:cubicBezTo>
                  <a:cubicBezTo>
                    <a:pt x="2" y="19"/>
                    <a:pt x="2" y="21"/>
                    <a:pt x="1" y="23"/>
                  </a:cubicBezTo>
                  <a:cubicBezTo>
                    <a:pt x="1" y="24"/>
                    <a:pt x="1" y="26"/>
                    <a:pt x="1" y="27"/>
                  </a:cubicBezTo>
                  <a:cubicBezTo>
                    <a:pt x="1" y="29"/>
                    <a:pt x="0" y="31"/>
                    <a:pt x="1" y="32"/>
                  </a:cubicBezTo>
                  <a:cubicBezTo>
                    <a:pt x="1" y="33"/>
                    <a:pt x="2" y="32"/>
                    <a:pt x="2" y="32"/>
                  </a:cubicBezTo>
                  <a:cubicBezTo>
                    <a:pt x="3" y="32"/>
                    <a:pt x="3" y="32"/>
                    <a:pt x="4" y="31"/>
                  </a:cubicBezTo>
                  <a:cubicBezTo>
                    <a:pt x="4" y="29"/>
                    <a:pt x="3" y="27"/>
                    <a:pt x="4" y="25"/>
                  </a:cubicBezTo>
                  <a:cubicBezTo>
                    <a:pt x="4" y="24"/>
                    <a:pt x="4" y="24"/>
                    <a:pt x="4" y="23"/>
                  </a:cubicBezTo>
                  <a:cubicBezTo>
                    <a:pt x="5" y="22"/>
                    <a:pt x="5" y="21"/>
                    <a:pt x="5" y="20"/>
                  </a:cubicBezTo>
                  <a:cubicBezTo>
                    <a:pt x="5" y="19"/>
                    <a:pt x="5" y="18"/>
                    <a:pt x="6" y="18"/>
                  </a:cubicBezTo>
                  <a:cubicBezTo>
                    <a:pt x="7" y="19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1" y="21"/>
                    <a:pt x="11" y="21"/>
                    <a:pt x="12" y="21"/>
                  </a:cubicBezTo>
                  <a:cubicBezTo>
                    <a:pt x="12" y="20"/>
                    <a:pt x="13" y="19"/>
                    <a:pt x="12" y="18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8" y="15"/>
                    <a:pt x="9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8" y="8"/>
                    <a:pt x="10" y="6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0" name="Freeform 111">
              <a:extLst>
                <a:ext uri="{FF2B5EF4-FFF2-40B4-BE49-F238E27FC236}">
                  <a16:creationId xmlns:a16="http://schemas.microsoft.com/office/drawing/2014/main" id="{284F1255-AD64-4F76-A0DC-11ADDEBDA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2288" y="3754438"/>
              <a:ext cx="17463" cy="17463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4" y="8"/>
                </a:cxn>
                <a:cxn ang="0">
                  <a:pos x="9" y="8"/>
                </a:cxn>
                <a:cxn ang="0">
                  <a:pos x="9" y="4"/>
                </a:cxn>
                <a:cxn ang="0">
                  <a:pos x="8" y="2"/>
                </a:cxn>
                <a:cxn ang="0">
                  <a:pos x="7" y="1"/>
                </a:cxn>
              </a:cxnLst>
              <a:rect l="0" t="0" r="r" b="b"/>
              <a:pathLst>
                <a:path w="9" h="9">
                  <a:moveTo>
                    <a:pt x="6" y="1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6"/>
                    <a:pt x="3" y="7"/>
                    <a:pt x="4" y="8"/>
                  </a:cubicBezTo>
                  <a:cubicBezTo>
                    <a:pt x="5" y="8"/>
                    <a:pt x="8" y="9"/>
                    <a:pt x="9" y="8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8" y="1"/>
                    <a:pt x="8" y="1"/>
                    <a:pt x="7" y="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1" name="Freeform 112">
              <a:extLst>
                <a:ext uri="{FF2B5EF4-FFF2-40B4-BE49-F238E27FC236}">
                  <a16:creationId xmlns:a16="http://schemas.microsoft.com/office/drawing/2014/main" id="{9B6A87DA-752B-43CD-9CF9-0993259FDB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763" y="3773488"/>
              <a:ext cx="7938" cy="79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2" name="Freeform 113">
              <a:extLst>
                <a:ext uri="{FF2B5EF4-FFF2-40B4-BE49-F238E27FC236}">
                  <a16:creationId xmlns:a16="http://schemas.microsoft.com/office/drawing/2014/main" id="{91553DAE-1927-4685-8E18-D937A62A9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925" y="3792538"/>
              <a:ext cx="7938" cy="9525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1" y="5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2" y="1"/>
                </a:cxn>
              </a:cxnLst>
              <a:rect l="0" t="0" r="r" b="b"/>
              <a:pathLst>
                <a:path w="4" h="5">
                  <a:moveTo>
                    <a:pt x="3" y="1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5"/>
                    <a:pt x="2" y="5"/>
                    <a:pt x="3" y="4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3" name="Freeform 114">
              <a:extLst>
                <a:ext uri="{FF2B5EF4-FFF2-40B4-BE49-F238E27FC236}">
                  <a16:creationId xmlns:a16="http://schemas.microsoft.com/office/drawing/2014/main" id="{DB0BC7FC-FD50-479C-A907-B14BB450A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3949700"/>
              <a:ext cx="17463" cy="952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1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8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5">
                  <a:moveTo>
                    <a:pt x="7" y="0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4" y="5"/>
                    <a:pt x="7" y="4"/>
                    <a:pt x="8" y="2"/>
                  </a:cubicBezTo>
                  <a:cubicBezTo>
                    <a:pt x="9" y="1"/>
                    <a:pt x="7" y="0"/>
                    <a:pt x="5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4" name="Freeform 115">
              <a:extLst>
                <a:ext uri="{FF2B5EF4-FFF2-40B4-BE49-F238E27FC236}">
                  <a16:creationId xmlns:a16="http://schemas.microsoft.com/office/drawing/2014/main" id="{4EA26906-439B-4C2D-9391-5B2EA1861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5125" y="3938588"/>
              <a:ext cx="26988" cy="4763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6" y="1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7" y="3"/>
                </a:cxn>
                <a:cxn ang="0">
                  <a:pos x="13" y="2"/>
                </a:cxn>
                <a:cxn ang="0">
                  <a:pos x="14" y="1"/>
                </a:cxn>
                <a:cxn ang="0">
                  <a:pos x="12" y="0"/>
                </a:cxn>
              </a:cxnLst>
              <a:rect l="0" t="0" r="r" b="b"/>
              <a:pathLst>
                <a:path w="14" h="3">
                  <a:moveTo>
                    <a:pt x="12" y="0"/>
                  </a:moveTo>
                  <a:cubicBezTo>
                    <a:pt x="10" y="1"/>
                    <a:pt x="8" y="1"/>
                    <a:pt x="6" y="1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5" y="3"/>
                    <a:pt x="6" y="3"/>
                    <a:pt x="7" y="3"/>
                  </a:cubicBezTo>
                  <a:cubicBezTo>
                    <a:pt x="9" y="2"/>
                    <a:pt x="11" y="2"/>
                    <a:pt x="13" y="2"/>
                  </a:cubicBezTo>
                  <a:cubicBezTo>
                    <a:pt x="13" y="1"/>
                    <a:pt x="14" y="1"/>
                    <a:pt x="14" y="1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5" name="Freeform 116">
              <a:extLst>
                <a:ext uri="{FF2B5EF4-FFF2-40B4-BE49-F238E27FC236}">
                  <a16:creationId xmlns:a16="http://schemas.microsoft.com/office/drawing/2014/main" id="{BCA23AB5-2CFE-47FD-8CA8-0CFE96045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513" y="3927475"/>
              <a:ext cx="17463" cy="31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1"/>
                </a:cxn>
                <a:cxn ang="0">
                  <a:pos x="9" y="1"/>
                </a:cxn>
                <a:cxn ang="0">
                  <a:pos x="7" y="0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8" y="1"/>
                    <a:pt x="9" y="1"/>
                    <a:pt x="9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6" name="Freeform 117">
              <a:extLst>
                <a:ext uri="{FF2B5EF4-FFF2-40B4-BE49-F238E27FC236}">
                  <a16:creationId xmlns:a16="http://schemas.microsoft.com/office/drawing/2014/main" id="{4A623E30-6D6D-4B1F-984F-7CD8FEC2C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875" y="3932238"/>
              <a:ext cx="17463" cy="158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7" y="0"/>
                </a:cxn>
              </a:cxnLst>
              <a:rect l="0" t="0" r="r" b="b"/>
              <a:pathLst>
                <a:path w="9" h="1">
                  <a:moveTo>
                    <a:pt x="7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6" y="1"/>
                    <a:pt x="7" y="0"/>
                  </a:cubicBezTo>
                  <a:cubicBezTo>
                    <a:pt x="7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7" name="Freeform 118">
              <a:extLst>
                <a:ext uri="{FF2B5EF4-FFF2-40B4-BE49-F238E27FC236}">
                  <a16:creationId xmlns:a16="http://schemas.microsoft.com/office/drawing/2014/main" id="{5B88669B-C662-4944-91A7-610816C7B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913" y="3919538"/>
              <a:ext cx="23813" cy="7938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7" y="0"/>
                </a:cxn>
                <a:cxn ang="0">
                  <a:pos x="1" y="2"/>
                </a:cxn>
                <a:cxn ang="0">
                  <a:pos x="2" y="4"/>
                </a:cxn>
                <a:cxn ang="0">
                  <a:pos x="5" y="4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0" y="0"/>
                </a:cxn>
              </a:cxnLst>
              <a:rect l="0" t="0" r="r" b="b"/>
              <a:pathLst>
                <a:path w="13" h="4">
                  <a:moveTo>
                    <a:pt x="10" y="0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3" y="1"/>
                    <a:pt x="1" y="2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7" y="4"/>
                    <a:pt x="8" y="3"/>
                    <a:pt x="10" y="2"/>
                  </a:cubicBezTo>
                  <a:cubicBezTo>
                    <a:pt x="11" y="2"/>
                    <a:pt x="13" y="2"/>
                    <a:pt x="13" y="0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8" name="Freeform 119">
              <a:extLst>
                <a:ext uri="{FF2B5EF4-FFF2-40B4-BE49-F238E27FC236}">
                  <a16:creationId xmlns:a16="http://schemas.microsoft.com/office/drawing/2014/main" id="{0FEDEF1C-A07C-45BC-AE3E-BC8DBF049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75" y="3919538"/>
              <a:ext cx="19050" cy="31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5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8" y="1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1" h="2">
                  <a:moveTo>
                    <a:pt x="8" y="0"/>
                  </a:move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1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3" y="2"/>
                    <a:pt x="3" y="2"/>
                  </a:cubicBezTo>
                  <a:cubicBezTo>
                    <a:pt x="5" y="2"/>
                    <a:pt x="7" y="2"/>
                    <a:pt x="8" y="1"/>
                  </a:cubicBezTo>
                  <a:cubicBezTo>
                    <a:pt x="9" y="1"/>
                    <a:pt x="11" y="1"/>
                    <a:pt x="10" y="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9" name="Line 120">
              <a:extLst>
                <a:ext uri="{FF2B5EF4-FFF2-40B4-BE49-F238E27FC236}">
                  <a16:creationId xmlns:a16="http://schemas.microsoft.com/office/drawing/2014/main" id="{2073FE80-3304-435B-9220-0BDDA4DEF1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0" name="Line 121">
              <a:extLst>
                <a:ext uri="{FF2B5EF4-FFF2-40B4-BE49-F238E27FC236}">
                  <a16:creationId xmlns:a16="http://schemas.microsoft.com/office/drawing/2014/main" id="{CCDA13FE-D8C9-46E3-B010-368DB81504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1" name="Line 122">
              <a:extLst>
                <a:ext uri="{FF2B5EF4-FFF2-40B4-BE49-F238E27FC236}">
                  <a16:creationId xmlns:a16="http://schemas.microsoft.com/office/drawing/2014/main" id="{FC020E49-72C6-4D47-A457-FF85FAF0A6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2" name="Line 123">
              <a:extLst>
                <a:ext uri="{FF2B5EF4-FFF2-40B4-BE49-F238E27FC236}">
                  <a16:creationId xmlns:a16="http://schemas.microsoft.com/office/drawing/2014/main" id="{17AB2448-141D-48AF-B7A0-BF6C45869E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3" name="Freeform 124">
              <a:extLst>
                <a:ext uri="{FF2B5EF4-FFF2-40B4-BE49-F238E27FC236}">
                  <a16:creationId xmlns:a16="http://schemas.microsoft.com/office/drawing/2014/main" id="{0429BC5D-B404-4836-8102-4121AFF9FF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7100" y="3800475"/>
              <a:ext cx="57150" cy="25400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6" y="2"/>
                </a:cxn>
                <a:cxn ang="0">
                  <a:pos x="9" y="1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0" y="13"/>
                </a:cxn>
                <a:cxn ang="0">
                  <a:pos x="1" y="14"/>
                </a:cxn>
                <a:cxn ang="0">
                  <a:pos x="3" y="13"/>
                </a:cxn>
                <a:cxn ang="0">
                  <a:pos x="3" y="12"/>
                </a:cxn>
                <a:cxn ang="0">
                  <a:pos x="5" y="11"/>
                </a:cxn>
                <a:cxn ang="0">
                  <a:pos x="7" y="9"/>
                </a:cxn>
                <a:cxn ang="0">
                  <a:pos x="9" y="8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4" y="8"/>
                </a:cxn>
                <a:cxn ang="0">
                  <a:pos x="21" y="8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24" y="4"/>
                </a:cxn>
                <a:cxn ang="0">
                  <a:pos x="21" y="4"/>
                </a:cxn>
              </a:cxnLst>
              <a:rect l="0" t="0" r="r" b="b"/>
              <a:pathLst>
                <a:path w="31" h="14">
                  <a:moveTo>
                    <a:pt x="21" y="3"/>
                  </a:moveTo>
                  <a:cubicBezTo>
                    <a:pt x="20" y="3"/>
                    <a:pt x="18" y="2"/>
                    <a:pt x="16" y="2"/>
                  </a:cubicBezTo>
                  <a:cubicBezTo>
                    <a:pt x="14" y="1"/>
                    <a:pt x="11" y="0"/>
                    <a:pt x="9" y="1"/>
                  </a:cubicBezTo>
                  <a:cubicBezTo>
                    <a:pt x="7" y="2"/>
                    <a:pt x="5" y="4"/>
                    <a:pt x="4" y="5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8"/>
                    <a:pt x="1" y="9"/>
                    <a:pt x="1" y="9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2" y="14"/>
                    <a:pt x="2" y="14"/>
                    <a:pt x="3" y="13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4" y="12"/>
                    <a:pt x="4" y="11"/>
                    <a:pt x="5" y="11"/>
                  </a:cubicBezTo>
                  <a:cubicBezTo>
                    <a:pt x="6" y="11"/>
                    <a:pt x="6" y="10"/>
                    <a:pt x="7" y="9"/>
                  </a:cubicBezTo>
                  <a:cubicBezTo>
                    <a:pt x="8" y="9"/>
                    <a:pt x="9" y="9"/>
                    <a:pt x="9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4" y="8"/>
                    <a:pt x="13" y="8"/>
                    <a:pt x="14" y="8"/>
                  </a:cubicBezTo>
                  <a:cubicBezTo>
                    <a:pt x="17" y="9"/>
                    <a:pt x="19" y="8"/>
                    <a:pt x="21" y="8"/>
                  </a:cubicBezTo>
                  <a:cubicBezTo>
                    <a:pt x="23" y="8"/>
                    <a:pt x="31" y="9"/>
                    <a:pt x="31" y="6"/>
                  </a:cubicBezTo>
                  <a:cubicBezTo>
                    <a:pt x="30" y="4"/>
                    <a:pt x="29" y="4"/>
                    <a:pt x="27" y="4"/>
                  </a:cubicBezTo>
                  <a:cubicBezTo>
                    <a:pt x="26" y="4"/>
                    <a:pt x="25" y="4"/>
                    <a:pt x="24" y="4"/>
                  </a:cubicBezTo>
                  <a:cubicBezTo>
                    <a:pt x="23" y="4"/>
                    <a:pt x="22" y="4"/>
                    <a:pt x="21" y="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4" name="Freeform 125">
              <a:extLst>
                <a:ext uri="{FF2B5EF4-FFF2-40B4-BE49-F238E27FC236}">
                  <a16:creationId xmlns:a16="http://schemas.microsoft.com/office/drawing/2014/main" id="{9AF078EE-4A28-4567-9476-06D4BB0CB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663" y="6724650"/>
              <a:ext cx="238125" cy="133350"/>
            </a:xfrm>
            <a:custGeom>
              <a:avLst/>
              <a:gdLst/>
              <a:ahLst/>
              <a:cxnLst>
                <a:cxn ang="0">
                  <a:pos x="123" y="0"/>
                </a:cxn>
                <a:cxn ang="0">
                  <a:pos x="115" y="3"/>
                </a:cxn>
                <a:cxn ang="0">
                  <a:pos x="106" y="6"/>
                </a:cxn>
                <a:cxn ang="0">
                  <a:pos x="94" y="11"/>
                </a:cxn>
                <a:cxn ang="0">
                  <a:pos x="85" y="16"/>
                </a:cxn>
                <a:cxn ang="0">
                  <a:pos x="81" y="18"/>
                </a:cxn>
                <a:cxn ang="0">
                  <a:pos x="74" y="20"/>
                </a:cxn>
                <a:cxn ang="0">
                  <a:pos x="68" y="21"/>
                </a:cxn>
                <a:cxn ang="0">
                  <a:pos x="64" y="22"/>
                </a:cxn>
                <a:cxn ang="0">
                  <a:pos x="58" y="21"/>
                </a:cxn>
                <a:cxn ang="0">
                  <a:pos x="53" y="21"/>
                </a:cxn>
                <a:cxn ang="0">
                  <a:pos x="38" y="20"/>
                </a:cxn>
                <a:cxn ang="0">
                  <a:pos x="35" y="34"/>
                </a:cxn>
                <a:cxn ang="0">
                  <a:pos x="33" y="34"/>
                </a:cxn>
                <a:cxn ang="0">
                  <a:pos x="28" y="36"/>
                </a:cxn>
                <a:cxn ang="0">
                  <a:pos x="21" y="36"/>
                </a:cxn>
                <a:cxn ang="0">
                  <a:pos x="15" y="36"/>
                </a:cxn>
                <a:cxn ang="0">
                  <a:pos x="9" y="39"/>
                </a:cxn>
                <a:cxn ang="0">
                  <a:pos x="2" y="40"/>
                </a:cxn>
                <a:cxn ang="0">
                  <a:pos x="2" y="45"/>
                </a:cxn>
                <a:cxn ang="0">
                  <a:pos x="1" y="53"/>
                </a:cxn>
                <a:cxn ang="0">
                  <a:pos x="8" y="60"/>
                </a:cxn>
                <a:cxn ang="0">
                  <a:pos x="11" y="62"/>
                </a:cxn>
                <a:cxn ang="0">
                  <a:pos x="12" y="64"/>
                </a:cxn>
                <a:cxn ang="0">
                  <a:pos x="20" y="71"/>
                </a:cxn>
                <a:cxn ang="0">
                  <a:pos x="22" y="70"/>
                </a:cxn>
                <a:cxn ang="0">
                  <a:pos x="29" y="67"/>
                </a:cxn>
                <a:cxn ang="0">
                  <a:pos x="37" y="68"/>
                </a:cxn>
                <a:cxn ang="0">
                  <a:pos x="52" y="67"/>
                </a:cxn>
                <a:cxn ang="0">
                  <a:pos x="58" y="66"/>
                </a:cxn>
                <a:cxn ang="0">
                  <a:pos x="66" y="66"/>
                </a:cxn>
                <a:cxn ang="0">
                  <a:pos x="69" y="58"/>
                </a:cxn>
                <a:cxn ang="0">
                  <a:pos x="76" y="52"/>
                </a:cxn>
                <a:cxn ang="0">
                  <a:pos x="91" y="52"/>
                </a:cxn>
                <a:cxn ang="0">
                  <a:pos x="97" y="51"/>
                </a:cxn>
                <a:cxn ang="0">
                  <a:pos x="99" y="50"/>
                </a:cxn>
                <a:cxn ang="0">
                  <a:pos x="101" y="48"/>
                </a:cxn>
                <a:cxn ang="0">
                  <a:pos x="94" y="39"/>
                </a:cxn>
                <a:cxn ang="0">
                  <a:pos x="93" y="38"/>
                </a:cxn>
                <a:cxn ang="0">
                  <a:pos x="93" y="37"/>
                </a:cxn>
                <a:cxn ang="0">
                  <a:pos x="93" y="34"/>
                </a:cxn>
                <a:cxn ang="0">
                  <a:pos x="94" y="29"/>
                </a:cxn>
                <a:cxn ang="0">
                  <a:pos x="97" y="27"/>
                </a:cxn>
                <a:cxn ang="0">
                  <a:pos x="100" y="25"/>
                </a:cxn>
                <a:cxn ang="0">
                  <a:pos x="104" y="24"/>
                </a:cxn>
                <a:cxn ang="0">
                  <a:pos x="111" y="19"/>
                </a:cxn>
                <a:cxn ang="0">
                  <a:pos x="120" y="10"/>
                </a:cxn>
                <a:cxn ang="0">
                  <a:pos x="125" y="4"/>
                </a:cxn>
                <a:cxn ang="0">
                  <a:pos x="126" y="2"/>
                </a:cxn>
                <a:cxn ang="0">
                  <a:pos x="128" y="0"/>
                </a:cxn>
                <a:cxn ang="0">
                  <a:pos x="123" y="0"/>
                </a:cxn>
              </a:cxnLst>
              <a:rect l="0" t="0" r="r" b="b"/>
              <a:pathLst>
                <a:path w="128" h="71">
                  <a:moveTo>
                    <a:pt x="123" y="0"/>
                  </a:moveTo>
                  <a:cubicBezTo>
                    <a:pt x="120" y="0"/>
                    <a:pt x="117" y="2"/>
                    <a:pt x="115" y="3"/>
                  </a:cubicBezTo>
                  <a:cubicBezTo>
                    <a:pt x="112" y="4"/>
                    <a:pt x="109" y="5"/>
                    <a:pt x="106" y="6"/>
                  </a:cubicBezTo>
                  <a:cubicBezTo>
                    <a:pt x="103" y="9"/>
                    <a:pt x="98" y="10"/>
                    <a:pt x="94" y="11"/>
                  </a:cubicBezTo>
                  <a:cubicBezTo>
                    <a:pt x="91" y="12"/>
                    <a:pt x="88" y="14"/>
                    <a:pt x="85" y="16"/>
                  </a:cubicBezTo>
                  <a:cubicBezTo>
                    <a:pt x="83" y="16"/>
                    <a:pt x="82" y="17"/>
                    <a:pt x="81" y="18"/>
                  </a:cubicBezTo>
                  <a:cubicBezTo>
                    <a:pt x="79" y="19"/>
                    <a:pt x="76" y="19"/>
                    <a:pt x="74" y="20"/>
                  </a:cubicBezTo>
                  <a:cubicBezTo>
                    <a:pt x="72" y="21"/>
                    <a:pt x="70" y="21"/>
                    <a:pt x="68" y="21"/>
                  </a:cubicBezTo>
                  <a:cubicBezTo>
                    <a:pt x="66" y="21"/>
                    <a:pt x="65" y="22"/>
                    <a:pt x="64" y="22"/>
                  </a:cubicBezTo>
                  <a:cubicBezTo>
                    <a:pt x="62" y="22"/>
                    <a:pt x="60" y="21"/>
                    <a:pt x="58" y="21"/>
                  </a:cubicBezTo>
                  <a:cubicBezTo>
                    <a:pt x="56" y="21"/>
                    <a:pt x="55" y="21"/>
                    <a:pt x="53" y="21"/>
                  </a:cubicBezTo>
                  <a:cubicBezTo>
                    <a:pt x="48" y="21"/>
                    <a:pt x="43" y="19"/>
                    <a:pt x="38" y="20"/>
                  </a:cubicBezTo>
                  <a:cubicBezTo>
                    <a:pt x="37" y="24"/>
                    <a:pt x="41" y="33"/>
                    <a:pt x="35" y="34"/>
                  </a:cubicBezTo>
                  <a:cubicBezTo>
                    <a:pt x="34" y="35"/>
                    <a:pt x="33" y="35"/>
                    <a:pt x="33" y="34"/>
                  </a:cubicBezTo>
                  <a:cubicBezTo>
                    <a:pt x="31" y="35"/>
                    <a:pt x="30" y="35"/>
                    <a:pt x="28" y="36"/>
                  </a:cubicBezTo>
                  <a:cubicBezTo>
                    <a:pt x="26" y="36"/>
                    <a:pt x="23" y="37"/>
                    <a:pt x="21" y="36"/>
                  </a:cubicBezTo>
                  <a:cubicBezTo>
                    <a:pt x="19" y="35"/>
                    <a:pt x="17" y="33"/>
                    <a:pt x="15" y="36"/>
                  </a:cubicBezTo>
                  <a:cubicBezTo>
                    <a:pt x="14" y="39"/>
                    <a:pt x="12" y="40"/>
                    <a:pt x="9" y="39"/>
                  </a:cubicBezTo>
                  <a:cubicBezTo>
                    <a:pt x="6" y="39"/>
                    <a:pt x="3" y="36"/>
                    <a:pt x="2" y="40"/>
                  </a:cubicBezTo>
                  <a:cubicBezTo>
                    <a:pt x="2" y="42"/>
                    <a:pt x="3" y="43"/>
                    <a:pt x="2" y="45"/>
                  </a:cubicBezTo>
                  <a:cubicBezTo>
                    <a:pt x="2" y="48"/>
                    <a:pt x="0" y="50"/>
                    <a:pt x="1" y="53"/>
                  </a:cubicBezTo>
                  <a:cubicBezTo>
                    <a:pt x="2" y="57"/>
                    <a:pt x="5" y="58"/>
                    <a:pt x="8" y="60"/>
                  </a:cubicBezTo>
                  <a:cubicBezTo>
                    <a:pt x="9" y="61"/>
                    <a:pt x="10" y="61"/>
                    <a:pt x="11" y="62"/>
                  </a:cubicBezTo>
                  <a:cubicBezTo>
                    <a:pt x="12" y="63"/>
                    <a:pt x="11" y="61"/>
                    <a:pt x="12" y="64"/>
                  </a:cubicBezTo>
                  <a:cubicBezTo>
                    <a:pt x="14" y="66"/>
                    <a:pt x="16" y="71"/>
                    <a:pt x="20" y="71"/>
                  </a:cubicBezTo>
                  <a:cubicBezTo>
                    <a:pt x="20" y="70"/>
                    <a:pt x="21" y="70"/>
                    <a:pt x="22" y="70"/>
                  </a:cubicBezTo>
                  <a:cubicBezTo>
                    <a:pt x="24" y="69"/>
                    <a:pt x="27" y="68"/>
                    <a:pt x="29" y="67"/>
                  </a:cubicBezTo>
                  <a:cubicBezTo>
                    <a:pt x="32" y="67"/>
                    <a:pt x="34" y="67"/>
                    <a:pt x="37" y="68"/>
                  </a:cubicBezTo>
                  <a:cubicBezTo>
                    <a:pt x="42" y="70"/>
                    <a:pt x="47" y="69"/>
                    <a:pt x="52" y="67"/>
                  </a:cubicBezTo>
                  <a:cubicBezTo>
                    <a:pt x="54" y="66"/>
                    <a:pt x="56" y="66"/>
                    <a:pt x="58" y="66"/>
                  </a:cubicBezTo>
                  <a:cubicBezTo>
                    <a:pt x="60" y="66"/>
                    <a:pt x="64" y="67"/>
                    <a:pt x="66" y="66"/>
                  </a:cubicBezTo>
                  <a:cubicBezTo>
                    <a:pt x="69" y="65"/>
                    <a:pt x="68" y="60"/>
                    <a:pt x="69" y="58"/>
                  </a:cubicBezTo>
                  <a:cubicBezTo>
                    <a:pt x="70" y="55"/>
                    <a:pt x="72" y="52"/>
                    <a:pt x="76" y="52"/>
                  </a:cubicBezTo>
                  <a:cubicBezTo>
                    <a:pt x="81" y="51"/>
                    <a:pt x="86" y="53"/>
                    <a:pt x="91" y="52"/>
                  </a:cubicBezTo>
                  <a:cubicBezTo>
                    <a:pt x="94" y="52"/>
                    <a:pt x="95" y="51"/>
                    <a:pt x="97" y="51"/>
                  </a:cubicBezTo>
                  <a:cubicBezTo>
                    <a:pt x="97" y="50"/>
                    <a:pt x="98" y="50"/>
                    <a:pt x="99" y="50"/>
                  </a:cubicBezTo>
                  <a:cubicBezTo>
                    <a:pt x="100" y="50"/>
                    <a:pt x="101" y="49"/>
                    <a:pt x="101" y="48"/>
                  </a:cubicBezTo>
                  <a:cubicBezTo>
                    <a:pt x="99" y="45"/>
                    <a:pt x="96" y="43"/>
                    <a:pt x="94" y="39"/>
                  </a:cubicBezTo>
                  <a:cubicBezTo>
                    <a:pt x="94" y="39"/>
                    <a:pt x="94" y="39"/>
                    <a:pt x="93" y="38"/>
                  </a:cubicBezTo>
                  <a:cubicBezTo>
                    <a:pt x="93" y="38"/>
                    <a:pt x="93" y="37"/>
                    <a:pt x="93" y="37"/>
                  </a:cubicBezTo>
                  <a:cubicBezTo>
                    <a:pt x="93" y="36"/>
                    <a:pt x="93" y="35"/>
                    <a:pt x="93" y="34"/>
                  </a:cubicBezTo>
                  <a:cubicBezTo>
                    <a:pt x="93" y="32"/>
                    <a:pt x="93" y="30"/>
                    <a:pt x="94" y="29"/>
                  </a:cubicBezTo>
                  <a:cubicBezTo>
                    <a:pt x="94" y="28"/>
                    <a:pt x="96" y="27"/>
                    <a:pt x="97" y="27"/>
                  </a:cubicBezTo>
                  <a:cubicBezTo>
                    <a:pt x="98" y="25"/>
                    <a:pt x="98" y="25"/>
                    <a:pt x="100" y="25"/>
                  </a:cubicBezTo>
                  <a:cubicBezTo>
                    <a:pt x="101" y="24"/>
                    <a:pt x="103" y="24"/>
                    <a:pt x="104" y="24"/>
                  </a:cubicBezTo>
                  <a:cubicBezTo>
                    <a:pt x="107" y="23"/>
                    <a:pt x="109" y="22"/>
                    <a:pt x="111" y="19"/>
                  </a:cubicBezTo>
                  <a:cubicBezTo>
                    <a:pt x="114" y="16"/>
                    <a:pt x="116" y="13"/>
                    <a:pt x="120" y="10"/>
                  </a:cubicBezTo>
                  <a:cubicBezTo>
                    <a:pt x="122" y="8"/>
                    <a:pt x="123" y="7"/>
                    <a:pt x="125" y="4"/>
                  </a:cubicBezTo>
                  <a:cubicBezTo>
                    <a:pt x="125" y="4"/>
                    <a:pt x="126" y="3"/>
                    <a:pt x="126" y="2"/>
                  </a:cubicBezTo>
                  <a:cubicBezTo>
                    <a:pt x="127" y="2"/>
                    <a:pt x="128" y="0"/>
                    <a:pt x="128" y="0"/>
                  </a:cubicBezTo>
                  <a:lnTo>
                    <a:pt x="12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5" name="Freeform 126">
              <a:extLst>
                <a:ext uri="{FF2B5EF4-FFF2-40B4-BE49-F238E27FC236}">
                  <a16:creationId xmlns:a16="http://schemas.microsoft.com/office/drawing/2014/main" id="{3D2D9757-8D43-4367-A7D6-1DDA9529D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8963" y="109538"/>
              <a:ext cx="185738" cy="114300"/>
            </a:xfrm>
            <a:custGeom>
              <a:avLst/>
              <a:gdLst/>
              <a:ahLst/>
              <a:cxnLst>
                <a:cxn ang="0">
                  <a:pos x="30" y="33"/>
                </a:cxn>
                <a:cxn ang="0">
                  <a:pos x="25" y="40"/>
                </a:cxn>
                <a:cxn ang="0">
                  <a:pos x="8" y="58"/>
                </a:cxn>
                <a:cxn ang="0">
                  <a:pos x="21" y="56"/>
                </a:cxn>
                <a:cxn ang="0">
                  <a:pos x="48" y="48"/>
                </a:cxn>
                <a:cxn ang="0">
                  <a:pos x="53" y="49"/>
                </a:cxn>
                <a:cxn ang="0">
                  <a:pos x="62" y="46"/>
                </a:cxn>
                <a:cxn ang="0">
                  <a:pos x="66" y="38"/>
                </a:cxn>
                <a:cxn ang="0">
                  <a:pos x="78" y="26"/>
                </a:cxn>
                <a:cxn ang="0">
                  <a:pos x="95" y="2"/>
                </a:cxn>
                <a:cxn ang="0">
                  <a:pos x="83" y="1"/>
                </a:cxn>
                <a:cxn ang="0">
                  <a:pos x="80" y="8"/>
                </a:cxn>
                <a:cxn ang="0">
                  <a:pos x="72" y="5"/>
                </a:cxn>
                <a:cxn ang="0">
                  <a:pos x="65" y="19"/>
                </a:cxn>
                <a:cxn ang="0">
                  <a:pos x="50" y="11"/>
                </a:cxn>
                <a:cxn ang="0">
                  <a:pos x="49" y="24"/>
                </a:cxn>
                <a:cxn ang="0">
                  <a:pos x="42" y="27"/>
                </a:cxn>
                <a:cxn ang="0">
                  <a:pos x="39" y="19"/>
                </a:cxn>
                <a:cxn ang="0">
                  <a:pos x="30" y="30"/>
                </a:cxn>
                <a:cxn ang="0">
                  <a:pos x="13" y="29"/>
                </a:cxn>
                <a:cxn ang="0">
                  <a:pos x="6" y="26"/>
                </a:cxn>
                <a:cxn ang="0">
                  <a:pos x="13" y="33"/>
                </a:cxn>
                <a:cxn ang="0">
                  <a:pos x="30" y="33"/>
                </a:cxn>
              </a:cxnLst>
              <a:rect l="0" t="0" r="r" b="b"/>
              <a:pathLst>
                <a:path w="99" h="61">
                  <a:moveTo>
                    <a:pt x="30" y="33"/>
                  </a:moveTo>
                  <a:cubicBezTo>
                    <a:pt x="27" y="35"/>
                    <a:pt x="26" y="37"/>
                    <a:pt x="25" y="40"/>
                  </a:cubicBezTo>
                  <a:cubicBezTo>
                    <a:pt x="20" y="47"/>
                    <a:pt x="14" y="52"/>
                    <a:pt x="8" y="58"/>
                  </a:cubicBezTo>
                  <a:cubicBezTo>
                    <a:pt x="12" y="61"/>
                    <a:pt x="17" y="58"/>
                    <a:pt x="21" y="56"/>
                  </a:cubicBezTo>
                  <a:cubicBezTo>
                    <a:pt x="30" y="52"/>
                    <a:pt x="37" y="45"/>
                    <a:pt x="48" y="48"/>
                  </a:cubicBezTo>
                  <a:cubicBezTo>
                    <a:pt x="50" y="49"/>
                    <a:pt x="51" y="50"/>
                    <a:pt x="53" y="49"/>
                  </a:cubicBezTo>
                  <a:cubicBezTo>
                    <a:pt x="55" y="49"/>
                    <a:pt x="61" y="40"/>
                    <a:pt x="62" y="46"/>
                  </a:cubicBezTo>
                  <a:cubicBezTo>
                    <a:pt x="64" y="44"/>
                    <a:pt x="64" y="41"/>
                    <a:pt x="66" y="38"/>
                  </a:cubicBezTo>
                  <a:cubicBezTo>
                    <a:pt x="70" y="34"/>
                    <a:pt x="74" y="30"/>
                    <a:pt x="78" y="26"/>
                  </a:cubicBezTo>
                  <a:cubicBezTo>
                    <a:pt x="82" y="21"/>
                    <a:pt x="99" y="10"/>
                    <a:pt x="95" y="2"/>
                  </a:cubicBezTo>
                  <a:cubicBezTo>
                    <a:pt x="91" y="0"/>
                    <a:pt x="87" y="0"/>
                    <a:pt x="83" y="1"/>
                  </a:cubicBezTo>
                  <a:cubicBezTo>
                    <a:pt x="79" y="4"/>
                    <a:pt x="80" y="5"/>
                    <a:pt x="80" y="8"/>
                  </a:cubicBezTo>
                  <a:cubicBezTo>
                    <a:pt x="76" y="10"/>
                    <a:pt x="75" y="4"/>
                    <a:pt x="72" y="5"/>
                  </a:cubicBezTo>
                  <a:cubicBezTo>
                    <a:pt x="70" y="12"/>
                    <a:pt x="74" y="17"/>
                    <a:pt x="65" y="19"/>
                  </a:cubicBezTo>
                  <a:cubicBezTo>
                    <a:pt x="57" y="20"/>
                    <a:pt x="58" y="10"/>
                    <a:pt x="50" y="11"/>
                  </a:cubicBezTo>
                  <a:cubicBezTo>
                    <a:pt x="49" y="16"/>
                    <a:pt x="54" y="20"/>
                    <a:pt x="49" y="24"/>
                  </a:cubicBezTo>
                  <a:cubicBezTo>
                    <a:pt x="48" y="26"/>
                    <a:pt x="45" y="27"/>
                    <a:pt x="42" y="27"/>
                  </a:cubicBezTo>
                  <a:cubicBezTo>
                    <a:pt x="36" y="25"/>
                    <a:pt x="42" y="22"/>
                    <a:pt x="39" y="19"/>
                  </a:cubicBezTo>
                  <a:cubicBezTo>
                    <a:pt x="33" y="12"/>
                    <a:pt x="30" y="26"/>
                    <a:pt x="30" y="30"/>
                  </a:cubicBezTo>
                  <a:cubicBezTo>
                    <a:pt x="25" y="30"/>
                    <a:pt x="18" y="31"/>
                    <a:pt x="13" y="29"/>
                  </a:cubicBezTo>
                  <a:cubicBezTo>
                    <a:pt x="10" y="29"/>
                    <a:pt x="9" y="26"/>
                    <a:pt x="6" y="26"/>
                  </a:cubicBezTo>
                  <a:cubicBezTo>
                    <a:pt x="0" y="32"/>
                    <a:pt x="9" y="34"/>
                    <a:pt x="13" y="33"/>
                  </a:cubicBezTo>
                  <a:lnTo>
                    <a:pt x="30" y="3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6" name="Freeform 127">
              <a:extLst>
                <a:ext uri="{FF2B5EF4-FFF2-40B4-BE49-F238E27FC236}">
                  <a16:creationId xmlns:a16="http://schemas.microsoft.com/office/drawing/2014/main" id="{B248E0BE-9601-4BC9-B864-3F10EBEBB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350" y="230188"/>
              <a:ext cx="65088" cy="50800"/>
            </a:xfrm>
            <a:custGeom>
              <a:avLst/>
              <a:gdLst/>
              <a:ahLst/>
              <a:cxnLst>
                <a:cxn ang="0">
                  <a:pos x="31" y="9"/>
                </a:cxn>
                <a:cxn ang="0">
                  <a:pos x="30" y="8"/>
                </a:cxn>
                <a:cxn ang="0">
                  <a:pos x="15" y="6"/>
                </a:cxn>
                <a:cxn ang="0">
                  <a:pos x="1" y="16"/>
                </a:cxn>
                <a:cxn ang="0">
                  <a:pos x="19" y="23"/>
                </a:cxn>
                <a:cxn ang="0">
                  <a:pos x="22" y="27"/>
                </a:cxn>
                <a:cxn ang="0">
                  <a:pos x="31" y="25"/>
                </a:cxn>
                <a:cxn ang="0">
                  <a:pos x="24" y="8"/>
                </a:cxn>
                <a:cxn ang="0">
                  <a:pos x="31" y="9"/>
                </a:cxn>
              </a:cxnLst>
              <a:rect l="0" t="0" r="r" b="b"/>
              <a:pathLst>
                <a:path w="35" h="27">
                  <a:moveTo>
                    <a:pt x="31" y="9"/>
                  </a:moveTo>
                  <a:cubicBezTo>
                    <a:pt x="31" y="9"/>
                    <a:pt x="30" y="9"/>
                    <a:pt x="30" y="8"/>
                  </a:cubicBezTo>
                  <a:cubicBezTo>
                    <a:pt x="30" y="1"/>
                    <a:pt x="13" y="0"/>
                    <a:pt x="15" y="6"/>
                  </a:cubicBezTo>
                  <a:cubicBezTo>
                    <a:pt x="11" y="8"/>
                    <a:pt x="1" y="11"/>
                    <a:pt x="1" y="16"/>
                  </a:cubicBezTo>
                  <a:cubicBezTo>
                    <a:pt x="0" y="26"/>
                    <a:pt x="14" y="20"/>
                    <a:pt x="19" y="23"/>
                  </a:cubicBezTo>
                  <a:cubicBezTo>
                    <a:pt x="20" y="23"/>
                    <a:pt x="21" y="26"/>
                    <a:pt x="22" y="27"/>
                  </a:cubicBezTo>
                  <a:cubicBezTo>
                    <a:pt x="23" y="27"/>
                    <a:pt x="30" y="26"/>
                    <a:pt x="31" y="25"/>
                  </a:cubicBezTo>
                  <a:cubicBezTo>
                    <a:pt x="35" y="20"/>
                    <a:pt x="27" y="11"/>
                    <a:pt x="24" y="8"/>
                  </a:cubicBezTo>
                  <a:lnTo>
                    <a:pt x="31" y="9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7" name="Freeform 128">
              <a:extLst>
                <a:ext uri="{FF2B5EF4-FFF2-40B4-BE49-F238E27FC236}">
                  <a16:creationId xmlns:a16="http://schemas.microsoft.com/office/drawing/2014/main" id="{1F2D547B-F612-4417-AE2A-FFB4E6CBB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4850" y="171450"/>
              <a:ext cx="84138" cy="93663"/>
            </a:xfrm>
            <a:custGeom>
              <a:avLst/>
              <a:gdLst/>
              <a:ahLst/>
              <a:cxnLst>
                <a:cxn ang="0">
                  <a:pos x="5" y="18"/>
                </a:cxn>
                <a:cxn ang="0">
                  <a:pos x="3" y="19"/>
                </a:cxn>
                <a:cxn ang="0">
                  <a:pos x="0" y="27"/>
                </a:cxn>
                <a:cxn ang="0">
                  <a:pos x="6" y="32"/>
                </a:cxn>
                <a:cxn ang="0">
                  <a:pos x="5" y="44"/>
                </a:cxn>
                <a:cxn ang="0">
                  <a:pos x="11" y="48"/>
                </a:cxn>
                <a:cxn ang="0">
                  <a:pos x="13" y="50"/>
                </a:cxn>
                <a:cxn ang="0">
                  <a:pos x="16" y="48"/>
                </a:cxn>
                <a:cxn ang="0">
                  <a:pos x="27" y="39"/>
                </a:cxn>
                <a:cxn ang="0">
                  <a:pos x="44" y="31"/>
                </a:cxn>
                <a:cxn ang="0">
                  <a:pos x="42" y="22"/>
                </a:cxn>
                <a:cxn ang="0">
                  <a:pos x="42" y="13"/>
                </a:cxn>
                <a:cxn ang="0">
                  <a:pos x="39" y="5"/>
                </a:cxn>
                <a:cxn ang="0">
                  <a:pos x="34" y="4"/>
                </a:cxn>
                <a:cxn ang="0">
                  <a:pos x="32" y="4"/>
                </a:cxn>
                <a:cxn ang="0">
                  <a:pos x="29" y="1"/>
                </a:cxn>
                <a:cxn ang="0">
                  <a:pos x="20" y="18"/>
                </a:cxn>
                <a:cxn ang="0">
                  <a:pos x="5" y="17"/>
                </a:cxn>
                <a:cxn ang="0">
                  <a:pos x="5" y="18"/>
                </a:cxn>
              </a:cxnLst>
              <a:rect l="0" t="0" r="r" b="b"/>
              <a:pathLst>
                <a:path w="45" h="50">
                  <a:moveTo>
                    <a:pt x="5" y="18"/>
                  </a:moveTo>
                  <a:cubicBezTo>
                    <a:pt x="4" y="18"/>
                    <a:pt x="4" y="18"/>
                    <a:pt x="3" y="19"/>
                  </a:cubicBezTo>
                  <a:cubicBezTo>
                    <a:pt x="3" y="21"/>
                    <a:pt x="0" y="25"/>
                    <a:pt x="0" y="27"/>
                  </a:cubicBezTo>
                  <a:cubicBezTo>
                    <a:pt x="1" y="30"/>
                    <a:pt x="5" y="31"/>
                    <a:pt x="6" y="32"/>
                  </a:cubicBezTo>
                  <a:cubicBezTo>
                    <a:pt x="10" y="37"/>
                    <a:pt x="3" y="38"/>
                    <a:pt x="5" y="44"/>
                  </a:cubicBezTo>
                  <a:cubicBezTo>
                    <a:pt x="6" y="48"/>
                    <a:pt x="8" y="47"/>
                    <a:pt x="11" y="48"/>
                  </a:cubicBezTo>
                  <a:cubicBezTo>
                    <a:pt x="12" y="49"/>
                    <a:pt x="12" y="50"/>
                    <a:pt x="13" y="50"/>
                  </a:cubicBezTo>
                  <a:cubicBezTo>
                    <a:pt x="16" y="50"/>
                    <a:pt x="15" y="50"/>
                    <a:pt x="16" y="48"/>
                  </a:cubicBezTo>
                  <a:cubicBezTo>
                    <a:pt x="20" y="43"/>
                    <a:pt x="19" y="39"/>
                    <a:pt x="27" y="39"/>
                  </a:cubicBezTo>
                  <a:cubicBezTo>
                    <a:pt x="35" y="39"/>
                    <a:pt x="45" y="43"/>
                    <a:pt x="44" y="31"/>
                  </a:cubicBezTo>
                  <a:cubicBezTo>
                    <a:pt x="44" y="27"/>
                    <a:pt x="43" y="25"/>
                    <a:pt x="42" y="22"/>
                  </a:cubicBezTo>
                  <a:cubicBezTo>
                    <a:pt x="42" y="19"/>
                    <a:pt x="42" y="16"/>
                    <a:pt x="42" y="13"/>
                  </a:cubicBezTo>
                  <a:cubicBezTo>
                    <a:pt x="42" y="9"/>
                    <a:pt x="42" y="7"/>
                    <a:pt x="39" y="5"/>
                  </a:cubicBezTo>
                  <a:cubicBezTo>
                    <a:pt x="37" y="4"/>
                    <a:pt x="35" y="4"/>
                    <a:pt x="34" y="4"/>
                  </a:cubicBezTo>
                  <a:cubicBezTo>
                    <a:pt x="33" y="4"/>
                    <a:pt x="32" y="4"/>
                    <a:pt x="32" y="4"/>
                  </a:cubicBezTo>
                  <a:cubicBezTo>
                    <a:pt x="31" y="3"/>
                    <a:pt x="30" y="2"/>
                    <a:pt x="29" y="1"/>
                  </a:cubicBezTo>
                  <a:cubicBezTo>
                    <a:pt x="22" y="0"/>
                    <a:pt x="19" y="12"/>
                    <a:pt x="20" y="18"/>
                  </a:cubicBezTo>
                  <a:cubicBezTo>
                    <a:pt x="15" y="19"/>
                    <a:pt x="10" y="17"/>
                    <a:pt x="5" y="17"/>
                  </a:cubicBezTo>
                  <a:lnTo>
                    <a:pt x="5" y="18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8" name="Freeform 129">
              <a:extLst>
                <a:ext uri="{FF2B5EF4-FFF2-40B4-BE49-F238E27FC236}">
                  <a16:creationId xmlns:a16="http://schemas.microsoft.com/office/drawing/2014/main" id="{47777241-C873-4632-8C9D-08ADB0481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763" y="123825"/>
              <a:ext cx="36513" cy="6191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11"/>
                </a:cxn>
                <a:cxn ang="0">
                  <a:pos x="7" y="19"/>
                </a:cxn>
                <a:cxn ang="0">
                  <a:pos x="6" y="27"/>
                </a:cxn>
                <a:cxn ang="0">
                  <a:pos x="9" y="30"/>
                </a:cxn>
                <a:cxn ang="0">
                  <a:pos x="13" y="33"/>
                </a:cxn>
                <a:cxn ang="0">
                  <a:pos x="16" y="29"/>
                </a:cxn>
                <a:cxn ang="0">
                  <a:pos x="18" y="20"/>
                </a:cxn>
                <a:cxn ang="0">
                  <a:pos x="13" y="3"/>
                </a:cxn>
                <a:cxn ang="0">
                  <a:pos x="9" y="0"/>
                </a:cxn>
              </a:cxnLst>
              <a:rect l="0" t="0" r="r" b="b"/>
              <a:pathLst>
                <a:path w="20" h="33">
                  <a:moveTo>
                    <a:pt x="9" y="0"/>
                  </a:moveTo>
                  <a:cubicBezTo>
                    <a:pt x="5" y="2"/>
                    <a:pt x="0" y="5"/>
                    <a:pt x="2" y="11"/>
                  </a:cubicBezTo>
                  <a:cubicBezTo>
                    <a:pt x="2" y="14"/>
                    <a:pt x="6" y="15"/>
                    <a:pt x="7" y="19"/>
                  </a:cubicBezTo>
                  <a:cubicBezTo>
                    <a:pt x="7" y="21"/>
                    <a:pt x="6" y="24"/>
                    <a:pt x="6" y="27"/>
                  </a:cubicBezTo>
                  <a:cubicBezTo>
                    <a:pt x="6" y="28"/>
                    <a:pt x="7" y="29"/>
                    <a:pt x="9" y="30"/>
                  </a:cubicBezTo>
                  <a:cubicBezTo>
                    <a:pt x="9" y="29"/>
                    <a:pt x="14" y="33"/>
                    <a:pt x="13" y="33"/>
                  </a:cubicBezTo>
                  <a:cubicBezTo>
                    <a:pt x="17" y="33"/>
                    <a:pt x="16" y="32"/>
                    <a:pt x="16" y="29"/>
                  </a:cubicBezTo>
                  <a:cubicBezTo>
                    <a:pt x="16" y="25"/>
                    <a:pt x="17" y="23"/>
                    <a:pt x="18" y="20"/>
                  </a:cubicBezTo>
                  <a:cubicBezTo>
                    <a:pt x="20" y="12"/>
                    <a:pt x="15" y="9"/>
                    <a:pt x="13" y="3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9" name="Freeform 130">
              <a:extLst>
                <a:ext uri="{FF2B5EF4-FFF2-40B4-BE49-F238E27FC236}">
                  <a16:creationId xmlns:a16="http://schemas.microsoft.com/office/drawing/2014/main" id="{417674FF-EAA2-4E73-A659-16DE345B2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263" y="269875"/>
              <a:ext cx="73025" cy="85725"/>
            </a:xfrm>
            <a:custGeom>
              <a:avLst/>
              <a:gdLst/>
              <a:ahLst/>
              <a:cxnLst>
                <a:cxn ang="0">
                  <a:pos x="35" y="15"/>
                </a:cxn>
                <a:cxn ang="0">
                  <a:pos x="25" y="3"/>
                </a:cxn>
                <a:cxn ang="0">
                  <a:pos x="8" y="12"/>
                </a:cxn>
                <a:cxn ang="0">
                  <a:pos x="3" y="26"/>
                </a:cxn>
                <a:cxn ang="0">
                  <a:pos x="1" y="35"/>
                </a:cxn>
                <a:cxn ang="0">
                  <a:pos x="15" y="35"/>
                </a:cxn>
                <a:cxn ang="0">
                  <a:pos x="23" y="45"/>
                </a:cxn>
                <a:cxn ang="0">
                  <a:pos x="37" y="25"/>
                </a:cxn>
                <a:cxn ang="0">
                  <a:pos x="35" y="8"/>
                </a:cxn>
                <a:cxn ang="0">
                  <a:pos x="35" y="15"/>
                </a:cxn>
              </a:cxnLst>
              <a:rect l="0" t="0" r="r" b="b"/>
              <a:pathLst>
                <a:path w="39" h="46">
                  <a:moveTo>
                    <a:pt x="35" y="15"/>
                  </a:moveTo>
                  <a:cubicBezTo>
                    <a:pt x="33" y="11"/>
                    <a:pt x="30" y="5"/>
                    <a:pt x="25" y="3"/>
                  </a:cubicBezTo>
                  <a:cubicBezTo>
                    <a:pt x="18" y="0"/>
                    <a:pt x="12" y="8"/>
                    <a:pt x="8" y="12"/>
                  </a:cubicBezTo>
                  <a:cubicBezTo>
                    <a:pt x="4" y="17"/>
                    <a:pt x="4" y="20"/>
                    <a:pt x="3" y="26"/>
                  </a:cubicBezTo>
                  <a:cubicBezTo>
                    <a:pt x="2" y="29"/>
                    <a:pt x="0" y="31"/>
                    <a:pt x="1" y="35"/>
                  </a:cubicBezTo>
                  <a:cubicBezTo>
                    <a:pt x="5" y="35"/>
                    <a:pt x="12" y="33"/>
                    <a:pt x="15" y="35"/>
                  </a:cubicBezTo>
                  <a:cubicBezTo>
                    <a:pt x="20" y="38"/>
                    <a:pt x="16" y="45"/>
                    <a:pt x="23" y="45"/>
                  </a:cubicBezTo>
                  <a:cubicBezTo>
                    <a:pt x="32" y="46"/>
                    <a:pt x="36" y="32"/>
                    <a:pt x="37" y="25"/>
                  </a:cubicBezTo>
                  <a:cubicBezTo>
                    <a:pt x="37" y="19"/>
                    <a:pt x="39" y="13"/>
                    <a:pt x="35" y="8"/>
                  </a:cubicBezTo>
                  <a:lnTo>
                    <a:pt x="35" y="1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0" name="Freeform 131">
              <a:extLst>
                <a:ext uri="{FF2B5EF4-FFF2-40B4-BE49-F238E27FC236}">
                  <a16:creationId xmlns:a16="http://schemas.microsoft.com/office/drawing/2014/main" id="{D74361E1-F313-4F9F-B93D-D2FA70B73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513" y="263525"/>
              <a:ext cx="92075" cy="8572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" y="10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9" y="36"/>
                </a:cxn>
                <a:cxn ang="0">
                  <a:pos x="20" y="38"/>
                </a:cxn>
                <a:cxn ang="0">
                  <a:pos x="39" y="41"/>
                </a:cxn>
                <a:cxn ang="0">
                  <a:pos x="44" y="46"/>
                </a:cxn>
                <a:cxn ang="0">
                  <a:pos x="48" y="40"/>
                </a:cxn>
                <a:cxn ang="0">
                  <a:pos x="34" y="17"/>
                </a:cxn>
                <a:cxn ang="0">
                  <a:pos x="30" y="16"/>
                </a:cxn>
                <a:cxn ang="0">
                  <a:pos x="24" y="11"/>
                </a:cxn>
                <a:cxn ang="0">
                  <a:pos x="12" y="2"/>
                </a:cxn>
                <a:cxn ang="0">
                  <a:pos x="9" y="0"/>
                </a:cxn>
              </a:cxnLst>
              <a:rect l="0" t="0" r="r" b="b"/>
              <a:pathLst>
                <a:path w="49" h="46">
                  <a:moveTo>
                    <a:pt x="9" y="0"/>
                  </a:moveTo>
                  <a:cubicBezTo>
                    <a:pt x="3" y="0"/>
                    <a:pt x="0" y="3"/>
                    <a:pt x="1" y="10"/>
                  </a:cubicBezTo>
                  <a:cubicBezTo>
                    <a:pt x="1" y="12"/>
                    <a:pt x="3" y="17"/>
                    <a:pt x="4" y="18"/>
                  </a:cubicBezTo>
                  <a:cubicBezTo>
                    <a:pt x="6" y="20"/>
                    <a:pt x="7" y="20"/>
                    <a:pt x="8" y="22"/>
                  </a:cubicBezTo>
                  <a:cubicBezTo>
                    <a:pt x="10" y="27"/>
                    <a:pt x="8" y="31"/>
                    <a:pt x="9" y="36"/>
                  </a:cubicBezTo>
                  <a:cubicBezTo>
                    <a:pt x="11" y="40"/>
                    <a:pt x="16" y="38"/>
                    <a:pt x="20" y="38"/>
                  </a:cubicBezTo>
                  <a:cubicBezTo>
                    <a:pt x="25" y="38"/>
                    <a:pt x="35" y="38"/>
                    <a:pt x="39" y="41"/>
                  </a:cubicBezTo>
                  <a:cubicBezTo>
                    <a:pt x="41" y="43"/>
                    <a:pt x="40" y="46"/>
                    <a:pt x="44" y="46"/>
                  </a:cubicBezTo>
                  <a:cubicBezTo>
                    <a:pt x="48" y="46"/>
                    <a:pt x="48" y="43"/>
                    <a:pt x="48" y="40"/>
                  </a:cubicBezTo>
                  <a:cubicBezTo>
                    <a:pt x="49" y="30"/>
                    <a:pt x="44" y="20"/>
                    <a:pt x="34" y="17"/>
                  </a:cubicBezTo>
                  <a:cubicBezTo>
                    <a:pt x="32" y="17"/>
                    <a:pt x="32" y="17"/>
                    <a:pt x="30" y="16"/>
                  </a:cubicBezTo>
                  <a:cubicBezTo>
                    <a:pt x="28" y="15"/>
                    <a:pt x="26" y="12"/>
                    <a:pt x="24" y="11"/>
                  </a:cubicBezTo>
                  <a:cubicBezTo>
                    <a:pt x="21" y="8"/>
                    <a:pt x="12" y="6"/>
                    <a:pt x="12" y="2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1" name="Freeform 132">
              <a:extLst>
                <a:ext uri="{FF2B5EF4-FFF2-40B4-BE49-F238E27FC236}">
                  <a16:creationId xmlns:a16="http://schemas.microsoft.com/office/drawing/2014/main" id="{17480CDE-BA05-474C-8610-50CB2D9C8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075" y="357188"/>
              <a:ext cx="38100" cy="22225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" y="9"/>
                </a:cxn>
                <a:cxn ang="0">
                  <a:pos x="18" y="11"/>
                </a:cxn>
                <a:cxn ang="0">
                  <a:pos x="18" y="0"/>
                </a:cxn>
                <a:cxn ang="0">
                  <a:pos x="14" y="0"/>
                </a:cxn>
              </a:cxnLst>
              <a:rect l="0" t="0" r="r" b="b"/>
              <a:pathLst>
                <a:path w="20" h="12">
                  <a:moveTo>
                    <a:pt x="14" y="0"/>
                  </a:moveTo>
                  <a:cubicBezTo>
                    <a:pt x="9" y="0"/>
                    <a:pt x="0" y="1"/>
                    <a:pt x="6" y="9"/>
                  </a:cubicBezTo>
                  <a:cubicBezTo>
                    <a:pt x="8" y="11"/>
                    <a:pt x="15" y="12"/>
                    <a:pt x="18" y="11"/>
                  </a:cubicBezTo>
                  <a:cubicBezTo>
                    <a:pt x="20" y="9"/>
                    <a:pt x="20" y="3"/>
                    <a:pt x="18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2" name="Freeform 133">
              <a:extLst>
                <a:ext uri="{FF2B5EF4-FFF2-40B4-BE49-F238E27FC236}">
                  <a16:creationId xmlns:a16="http://schemas.microsoft.com/office/drawing/2014/main" id="{90687620-9974-4743-BA51-EBD79F959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8775" y="271463"/>
              <a:ext cx="60325" cy="77788"/>
            </a:xfrm>
            <a:custGeom>
              <a:avLst/>
              <a:gdLst/>
              <a:ahLst/>
              <a:cxnLst>
                <a:cxn ang="0">
                  <a:pos x="32" y="22"/>
                </a:cxn>
                <a:cxn ang="0">
                  <a:pos x="29" y="9"/>
                </a:cxn>
                <a:cxn ang="0">
                  <a:pos x="15" y="11"/>
                </a:cxn>
                <a:cxn ang="0">
                  <a:pos x="13" y="7"/>
                </a:cxn>
                <a:cxn ang="0">
                  <a:pos x="8" y="3"/>
                </a:cxn>
                <a:cxn ang="0">
                  <a:pos x="2" y="4"/>
                </a:cxn>
                <a:cxn ang="0">
                  <a:pos x="2" y="17"/>
                </a:cxn>
                <a:cxn ang="0">
                  <a:pos x="6" y="23"/>
                </a:cxn>
                <a:cxn ang="0">
                  <a:pos x="12" y="25"/>
                </a:cxn>
                <a:cxn ang="0">
                  <a:pos x="9" y="41"/>
                </a:cxn>
                <a:cxn ang="0">
                  <a:pos x="22" y="33"/>
                </a:cxn>
                <a:cxn ang="0">
                  <a:pos x="26" y="22"/>
                </a:cxn>
                <a:cxn ang="0">
                  <a:pos x="32" y="22"/>
                </a:cxn>
              </a:cxnLst>
              <a:rect l="0" t="0" r="r" b="b"/>
              <a:pathLst>
                <a:path w="32" h="42">
                  <a:moveTo>
                    <a:pt x="32" y="22"/>
                  </a:moveTo>
                  <a:cubicBezTo>
                    <a:pt x="28" y="22"/>
                    <a:pt x="32" y="11"/>
                    <a:pt x="29" y="9"/>
                  </a:cubicBezTo>
                  <a:cubicBezTo>
                    <a:pt x="27" y="7"/>
                    <a:pt x="17" y="14"/>
                    <a:pt x="15" y="11"/>
                  </a:cubicBezTo>
                  <a:cubicBezTo>
                    <a:pt x="14" y="10"/>
                    <a:pt x="14" y="8"/>
                    <a:pt x="13" y="7"/>
                  </a:cubicBezTo>
                  <a:cubicBezTo>
                    <a:pt x="11" y="5"/>
                    <a:pt x="10" y="4"/>
                    <a:pt x="8" y="3"/>
                  </a:cubicBezTo>
                  <a:cubicBezTo>
                    <a:pt x="4" y="1"/>
                    <a:pt x="3" y="0"/>
                    <a:pt x="2" y="4"/>
                  </a:cubicBezTo>
                  <a:cubicBezTo>
                    <a:pt x="0" y="7"/>
                    <a:pt x="1" y="14"/>
                    <a:pt x="2" y="17"/>
                  </a:cubicBezTo>
                  <a:cubicBezTo>
                    <a:pt x="3" y="19"/>
                    <a:pt x="4" y="21"/>
                    <a:pt x="6" y="23"/>
                  </a:cubicBezTo>
                  <a:cubicBezTo>
                    <a:pt x="8" y="23"/>
                    <a:pt x="10" y="24"/>
                    <a:pt x="12" y="25"/>
                  </a:cubicBezTo>
                  <a:cubicBezTo>
                    <a:pt x="15" y="31"/>
                    <a:pt x="7" y="35"/>
                    <a:pt x="9" y="41"/>
                  </a:cubicBezTo>
                  <a:cubicBezTo>
                    <a:pt x="12" y="42"/>
                    <a:pt x="21" y="36"/>
                    <a:pt x="22" y="33"/>
                  </a:cubicBezTo>
                  <a:cubicBezTo>
                    <a:pt x="28" y="25"/>
                    <a:pt x="29" y="30"/>
                    <a:pt x="26" y="22"/>
                  </a:cubicBezTo>
                  <a:lnTo>
                    <a:pt x="32" y="2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3" name="Freeform 134">
              <a:extLst>
                <a:ext uri="{FF2B5EF4-FFF2-40B4-BE49-F238E27FC236}">
                  <a16:creationId xmlns:a16="http://schemas.microsoft.com/office/drawing/2014/main" id="{30D85BC8-0CE6-4DBF-94A4-BDCFF2B57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7363" y="1987550"/>
              <a:ext cx="100013" cy="57150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8" y="7"/>
                </a:cxn>
                <a:cxn ang="0">
                  <a:pos x="14" y="11"/>
                </a:cxn>
                <a:cxn ang="0">
                  <a:pos x="11" y="13"/>
                </a:cxn>
                <a:cxn ang="0">
                  <a:pos x="6" y="15"/>
                </a:cxn>
                <a:cxn ang="0">
                  <a:pos x="3" y="29"/>
                </a:cxn>
                <a:cxn ang="0">
                  <a:pos x="11" y="29"/>
                </a:cxn>
                <a:cxn ang="0">
                  <a:pos x="19" y="25"/>
                </a:cxn>
                <a:cxn ang="0">
                  <a:pos x="26" y="25"/>
                </a:cxn>
                <a:cxn ang="0">
                  <a:pos x="31" y="26"/>
                </a:cxn>
                <a:cxn ang="0">
                  <a:pos x="39" y="23"/>
                </a:cxn>
                <a:cxn ang="0">
                  <a:pos x="44" y="20"/>
                </a:cxn>
                <a:cxn ang="0">
                  <a:pos x="50" y="19"/>
                </a:cxn>
                <a:cxn ang="0">
                  <a:pos x="53" y="15"/>
                </a:cxn>
                <a:cxn ang="0">
                  <a:pos x="54" y="13"/>
                </a:cxn>
                <a:cxn ang="0">
                  <a:pos x="46" y="10"/>
                </a:cxn>
                <a:cxn ang="0">
                  <a:pos x="41" y="9"/>
                </a:cxn>
                <a:cxn ang="0">
                  <a:pos x="40" y="4"/>
                </a:cxn>
                <a:cxn ang="0">
                  <a:pos x="39" y="1"/>
                </a:cxn>
                <a:cxn ang="0">
                  <a:pos x="32" y="2"/>
                </a:cxn>
                <a:cxn ang="0">
                  <a:pos x="33" y="0"/>
                </a:cxn>
              </a:cxnLst>
              <a:rect l="0" t="0" r="r" b="b"/>
              <a:pathLst>
                <a:path w="54" h="31">
                  <a:moveTo>
                    <a:pt x="33" y="0"/>
                  </a:moveTo>
                  <a:cubicBezTo>
                    <a:pt x="28" y="0"/>
                    <a:pt x="21" y="4"/>
                    <a:pt x="18" y="7"/>
                  </a:cubicBezTo>
                  <a:cubicBezTo>
                    <a:pt x="16" y="9"/>
                    <a:pt x="16" y="10"/>
                    <a:pt x="14" y="11"/>
                  </a:cubicBezTo>
                  <a:cubicBezTo>
                    <a:pt x="13" y="12"/>
                    <a:pt x="12" y="12"/>
                    <a:pt x="11" y="13"/>
                  </a:cubicBezTo>
                  <a:cubicBezTo>
                    <a:pt x="9" y="14"/>
                    <a:pt x="8" y="15"/>
                    <a:pt x="6" y="15"/>
                  </a:cubicBezTo>
                  <a:cubicBezTo>
                    <a:pt x="3" y="18"/>
                    <a:pt x="0" y="25"/>
                    <a:pt x="3" y="29"/>
                  </a:cubicBezTo>
                  <a:cubicBezTo>
                    <a:pt x="5" y="31"/>
                    <a:pt x="8" y="30"/>
                    <a:pt x="11" y="29"/>
                  </a:cubicBezTo>
                  <a:cubicBezTo>
                    <a:pt x="14" y="27"/>
                    <a:pt x="15" y="25"/>
                    <a:pt x="19" y="25"/>
                  </a:cubicBezTo>
                  <a:cubicBezTo>
                    <a:pt x="21" y="24"/>
                    <a:pt x="24" y="24"/>
                    <a:pt x="26" y="25"/>
                  </a:cubicBezTo>
                  <a:cubicBezTo>
                    <a:pt x="28" y="25"/>
                    <a:pt x="29" y="26"/>
                    <a:pt x="31" y="26"/>
                  </a:cubicBezTo>
                  <a:cubicBezTo>
                    <a:pt x="34" y="26"/>
                    <a:pt x="37" y="25"/>
                    <a:pt x="39" y="23"/>
                  </a:cubicBezTo>
                  <a:cubicBezTo>
                    <a:pt x="41" y="22"/>
                    <a:pt x="42" y="21"/>
                    <a:pt x="44" y="20"/>
                  </a:cubicBezTo>
                  <a:cubicBezTo>
                    <a:pt x="46" y="20"/>
                    <a:pt x="48" y="20"/>
                    <a:pt x="50" y="19"/>
                  </a:cubicBezTo>
                  <a:cubicBezTo>
                    <a:pt x="52" y="18"/>
                    <a:pt x="52" y="17"/>
                    <a:pt x="53" y="15"/>
                  </a:cubicBezTo>
                  <a:cubicBezTo>
                    <a:pt x="54" y="14"/>
                    <a:pt x="54" y="14"/>
                    <a:pt x="54" y="13"/>
                  </a:cubicBezTo>
                  <a:cubicBezTo>
                    <a:pt x="51" y="11"/>
                    <a:pt x="49" y="10"/>
                    <a:pt x="46" y="10"/>
                  </a:cubicBezTo>
                  <a:cubicBezTo>
                    <a:pt x="44" y="9"/>
                    <a:pt x="43" y="9"/>
                    <a:pt x="41" y="9"/>
                  </a:cubicBezTo>
                  <a:cubicBezTo>
                    <a:pt x="41" y="8"/>
                    <a:pt x="40" y="6"/>
                    <a:pt x="40" y="4"/>
                  </a:cubicBezTo>
                  <a:cubicBezTo>
                    <a:pt x="40" y="3"/>
                    <a:pt x="40" y="2"/>
                    <a:pt x="39" y="1"/>
                  </a:cubicBezTo>
                  <a:cubicBezTo>
                    <a:pt x="38" y="1"/>
                    <a:pt x="34" y="2"/>
                    <a:pt x="32" y="2"/>
                  </a:cubicBezTo>
                  <a:lnTo>
                    <a:pt x="3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4" name="Freeform 135">
              <a:extLst>
                <a:ext uri="{FF2B5EF4-FFF2-40B4-BE49-F238E27FC236}">
                  <a16:creationId xmlns:a16="http://schemas.microsoft.com/office/drawing/2014/main" id="{613A3A81-BD86-42AE-90AA-1A7156122C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888" y="1946275"/>
              <a:ext cx="58738" cy="33338"/>
            </a:xfrm>
            <a:custGeom>
              <a:avLst/>
              <a:gdLst/>
              <a:ahLst/>
              <a:cxnLst>
                <a:cxn ang="0">
                  <a:pos x="23" y="2"/>
                </a:cxn>
                <a:cxn ang="0">
                  <a:pos x="9" y="7"/>
                </a:cxn>
                <a:cxn ang="0">
                  <a:pos x="3" y="12"/>
                </a:cxn>
                <a:cxn ang="0">
                  <a:pos x="1" y="16"/>
                </a:cxn>
                <a:cxn ang="0">
                  <a:pos x="9" y="17"/>
                </a:cxn>
                <a:cxn ang="0">
                  <a:pos x="24" y="15"/>
                </a:cxn>
                <a:cxn ang="0">
                  <a:pos x="28" y="13"/>
                </a:cxn>
                <a:cxn ang="0">
                  <a:pos x="26" y="0"/>
                </a:cxn>
                <a:cxn ang="0">
                  <a:pos x="23" y="2"/>
                </a:cxn>
              </a:cxnLst>
              <a:rect l="0" t="0" r="r" b="b"/>
              <a:pathLst>
                <a:path w="32" h="18">
                  <a:moveTo>
                    <a:pt x="23" y="2"/>
                  </a:moveTo>
                  <a:cubicBezTo>
                    <a:pt x="19" y="2"/>
                    <a:pt x="13" y="5"/>
                    <a:pt x="9" y="7"/>
                  </a:cubicBezTo>
                  <a:cubicBezTo>
                    <a:pt x="5" y="8"/>
                    <a:pt x="5" y="10"/>
                    <a:pt x="3" y="12"/>
                  </a:cubicBezTo>
                  <a:cubicBezTo>
                    <a:pt x="2" y="13"/>
                    <a:pt x="0" y="14"/>
                    <a:pt x="1" y="16"/>
                  </a:cubicBezTo>
                  <a:cubicBezTo>
                    <a:pt x="2" y="18"/>
                    <a:pt x="6" y="17"/>
                    <a:pt x="9" y="17"/>
                  </a:cubicBezTo>
                  <a:cubicBezTo>
                    <a:pt x="14" y="17"/>
                    <a:pt x="19" y="17"/>
                    <a:pt x="24" y="15"/>
                  </a:cubicBezTo>
                  <a:cubicBezTo>
                    <a:pt x="25" y="14"/>
                    <a:pt x="27" y="14"/>
                    <a:pt x="28" y="13"/>
                  </a:cubicBezTo>
                  <a:cubicBezTo>
                    <a:pt x="32" y="9"/>
                    <a:pt x="29" y="3"/>
                    <a:pt x="26" y="0"/>
                  </a:cubicBezTo>
                  <a:lnTo>
                    <a:pt x="23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5" name="Freeform 136">
              <a:extLst>
                <a:ext uri="{FF2B5EF4-FFF2-40B4-BE49-F238E27FC236}">
                  <a16:creationId xmlns:a16="http://schemas.microsoft.com/office/drawing/2014/main" id="{D0BD81E1-1F26-4B5D-BACA-C92135A3D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6088" y="2024063"/>
              <a:ext cx="41275" cy="39688"/>
            </a:xfrm>
            <a:custGeom>
              <a:avLst/>
              <a:gdLst/>
              <a:ahLst/>
              <a:cxnLst>
                <a:cxn ang="0">
                  <a:pos x="16" y="5"/>
                </a:cxn>
                <a:cxn ang="0">
                  <a:pos x="7" y="4"/>
                </a:cxn>
                <a:cxn ang="0">
                  <a:pos x="0" y="12"/>
                </a:cxn>
                <a:cxn ang="0">
                  <a:pos x="7" y="19"/>
                </a:cxn>
                <a:cxn ang="0">
                  <a:pos x="10" y="20"/>
                </a:cxn>
                <a:cxn ang="0">
                  <a:pos x="17" y="18"/>
                </a:cxn>
                <a:cxn ang="0">
                  <a:pos x="21" y="13"/>
                </a:cxn>
                <a:cxn ang="0">
                  <a:pos x="14" y="0"/>
                </a:cxn>
                <a:cxn ang="0">
                  <a:pos x="16" y="5"/>
                </a:cxn>
              </a:cxnLst>
              <a:rect l="0" t="0" r="r" b="b"/>
              <a:pathLst>
                <a:path w="22" h="21">
                  <a:moveTo>
                    <a:pt x="16" y="5"/>
                  </a:moveTo>
                  <a:cubicBezTo>
                    <a:pt x="13" y="3"/>
                    <a:pt x="10" y="2"/>
                    <a:pt x="7" y="4"/>
                  </a:cubicBezTo>
                  <a:cubicBezTo>
                    <a:pt x="4" y="5"/>
                    <a:pt x="1" y="9"/>
                    <a:pt x="0" y="12"/>
                  </a:cubicBezTo>
                  <a:cubicBezTo>
                    <a:pt x="0" y="15"/>
                    <a:pt x="4" y="18"/>
                    <a:pt x="7" y="19"/>
                  </a:cubicBezTo>
                  <a:cubicBezTo>
                    <a:pt x="8" y="19"/>
                    <a:pt x="9" y="20"/>
                    <a:pt x="10" y="20"/>
                  </a:cubicBezTo>
                  <a:cubicBezTo>
                    <a:pt x="13" y="21"/>
                    <a:pt x="15" y="19"/>
                    <a:pt x="17" y="18"/>
                  </a:cubicBezTo>
                  <a:cubicBezTo>
                    <a:pt x="19" y="16"/>
                    <a:pt x="21" y="16"/>
                    <a:pt x="21" y="13"/>
                  </a:cubicBezTo>
                  <a:cubicBezTo>
                    <a:pt x="22" y="8"/>
                    <a:pt x="19" y="3"/>
                    <a:pt x="14" y="0"/>
                  </a:cubicBezTo>
                  <a:lnTo>
                    <a:pt x="16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6" name="Freeform 137">
              <a:extLst>
                <a:ext uri="{FF2B5EF4-FFF2-40B4-BE49-F238E27FC236}">
                  <a16:creationId xmlns:a16="http://schemas.microsoft.com/office/drawing/2014/main" id="{87E11A97-A16C-43EA-914C-CFD52078DD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1138" y="285750"/>
              <a:ext cx="187325" cy="206375"/>
            </a:xfrm>
            <a:custGeom>
              <a:avLst/>
              <a:gdLst/>
              <a:ahLst/>
              <a:cxnLst>
                <a:cxn ang="0">
                  <a:pos x="39" y="61"/>
                </a:cxn>
                <a:cxn ang="0">
                  <a:pos x="38" y="59"/>
                </a:cxn>
                <a:cxn ang="0">
                  <a:pos x="29" y="68"/>
                </a:cxn>
                <a:cxn ang="0">
                  <a:pos x="15" y="70"/>
                </a:cxn>
                <a:cxn ang="0">
                  <a:pos x="18" y="80"/>
                </a:cxn>
                <a:cxn ang="0">
                  <a:pos x="3" y="82"/>
                </a:cxn>
                <a:cxn ang="0">
                  <a:pos x="0" y="93"/>
                </a:cxn>
                <a:cxn ang="0">
                  <a:pos x="5" y="102"/>
                </a:cxn>
                <a:cxn ang="0">
                  <a:pos x="22" y="104"/>
                </a:cxn>
                <a:cxn ang="0">
                  <a:pos x="26" y="109"/>
                </a:cxn>
                <a:cxn ang="0">
                  <a:pos x="27" y="105"/>
                </a:cxn>
                <a:cxn ang="0">
                  <a:pos x="31" y="96"/>
                </a:cxn>
                <a:cxn ang="0">
                  <a:pos x="40" y="92"/>
                </a:cxn>
                <a:cxn ang="0">
                  <a:pos x="39" y="61"/>
                </a:cxn>
                <a:cxn ang="0">
                  <a:pos x="96" y="40"/>
                </a:cxn>
                <a:cxn ang="0">
                  <a:pos x="87" y="36"/>
                </a:cxn>
                <a:cxn ang="0">
                  <a:pos x="82" y="35"/>
                </a:cxn>
                <a:cxn ang="0">
                  <a:pos x="78" y="32"/>
                </a:cxn>
                <a:cxn ang="0">
                  <a:pos x="72" y="30"/>
                </a:cxn>
                <a:cxn ang="0">
                  <a:pos x="69" y="30"/>
                </a:cxn>
                <a:cxn ang="0">
                  <a:pos x="67" y="29"/>
                </a:cxn>
                <a:cxn ang="0">
                  <a:pos x="68" y="29"/>
                </a:cxn>
                <a:cxn ang="0">
                  <a:pos x="67" y="29"/>
                </a:cxn>
                <a:cxn ang="0">
                  <a:pos x="64" y="25"/>
                </a:cxn>
                <a:cxn ang="0">
                  <a:pos x="56" y="15"/>
                </a:cxn>
                <a:cxn ang="0">
                  <a:pos x="57" y="2"/>
                </a:cxn>
                <a:cxn ang="0">
                  <a:pos x="49" y="1"/>
                </a:cxn>
                <a:cxn ang="0">
                  <a:pos x="45" y="7"/>
                </a:cxn>
                <a:cxn ang="0">
                  <a:pos x="46" y="11"/>
                </a:cxn>
                <a:cxn ang="0">
                  <a:pos x="46" y="18"/>
                </a:cxn>
                <a:cxn ang="0">
                  <a:pos x="41" y="23"/>
                </a:cxn>
                <a:cxn ang="0">
                  <a:pos x="37" y="24"/>
                </a:cxn>
                <a:cxn ang="0">
                  <a:pos x="38" y="37"/>
                </a:cxn>
                <a:cxn ang="0">
                  <a:pos x="38" y="59"/>
                </a:cxn>
                <a:cxn ang="0">
                  <a:pos x="39" y="58"/>
                </a:cxn>
                <a:cxn ang="0">
                  <a:pos x="43" y="62"/>
                </a:cxn>
                <a:cxn ang="0">
                  <a:pos x="47" y="65"/>
                </a:cxn>
                <a:cxn ang="0">
                  <a:pos x="50" y="67"/>
                </a:cxn>
                <a:cxn ang="0">
                  <a:pos x="53" y="71"/>
                </a:cxn>
                <a:cxn ang="0">
                  <a:pos x="56" y="71"/>
                </a:cxn>
                <a:cxn ang="0">
                  <a:pos x="58" y="71"/>
                </a:cxn>
                <a:cxn ang="0">
                  <a:pos x="59" y="72"/>
                </a:cxn>
                <a:cxn ang="0">
                  <a:pos x="73" y="68"/>
                </a:cxn>
                <a:cxn ang="0">
                  <a:pos x="81" y="57"/>
                </a:cxn>
                <a:cxn ang="0">
                  <a:pos x="82" y="51"/>
                </a:cxn>
                <a:cxn ang="0">
                  <a:pos x="94" y="46"/>
                </a:cxn>
                <a:cxn ang="0">
                  <a:pos x="99" y="43"/>
                </a:cxn>
                <a:cxn ang="0">
                  <a:pos x="96" y="40"/>
                </a:cxn>
              </a:cxnLst>
              <a:rect l="0" t="0" r="r" b="b"/>
              <a:pathLst>
                <a:path w="100" h="110">
                  <a:moveTo>
                    <a:pt x="39" y="61"/>
                  </a:moveTo>
                  <a:cubicBezTo>
                    <a:pt x="39" y="61"/>
                    <a:pt x="38" y="60"/>
                    <a:pt x="38" y="5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2"/>
                    <a:pt x="17" y="67"/>
                    <a:pt x="15" y="70"/>
                  </a:cubicBezTo>
                  <a:cubicBezTo>
                    <a:pt x="13" y="73"/>
                    <a:pt x="16" y="78"/>
                    <a:pt x="18" y="80"/>
                  </a:cubicBezTo>
                  <a:cubicBezTo>
                    <a:pt x="14" y="84"/>
                    <a:pt x="8" y="79"/>
                    <a:pt x="3" y="82"/>
                  </a:cubicBezTo>
                  <a:cubicBezTo>
                    <a:pt x="0" y="83"/>
                    <a:pt x="0" y="89"/>
                    <a:pt x="0" y="93"/>
                  </a:cubicBezTo>
                  <a:cubicBezTo>
                    <a:pt x="0" y="98"/>
                    <a:pt x="0" y="100"/>
                    <a:pt x="5" y="102"/>
                  </a:cubicBezTo>
                  <a:cubicBezTo>
                    <a:pt x="11" y="104"/>
                    <a:pt x="18" y="102"/>
                    <a:pt x="22" y="104"/>
                  </a:cubicBezTo>
                  <a:cubicBezTo>
                    <a:pt x="22" y="106"/>
                    <a:pt x="23" y="110"/>
                    <a:pt x="26" y="109"/>
                  </a:cubicBezTo>
                  <a:cubicBezTo>
                    <a:pt x="26" y="109"/>
                    <a:pt x="26" y="105"/>
                    <a:pt x="27" y="105"/>
                  </a:cubicBezTo>
                  <a:cubicBezTo>
                    <a:pt x="27" y="102"/>
                    <a:pt x="29" y="99"/>
                    <a:pt x="31" y="96"/>
                  </a:cubicBezTo>
                  <a:cubicBezTo>
                    <a:pt x="34" y="93"/>
                    <a:pt x="35" y="93"/>
                    <a:pt x="40" y="92"/>
                  </a:cubicBezTo>
                  <a:cubicBezTo>
                    <a:pt x="41" y="81"/>
                    <a:pt x="44" y="72"/>
                    <a:pt x="39" y="61"/>
                  </a:cubicBezTo>
                  <a:moveTo>
                    <a:pt x="96" y="40"/>
                  </a:moveTo>
                  <a:cubicBezTo>
                    <a:pt x="93" y="38"/>
                    <a:pt x="90" y="37"/>
                    <a:pt x="87" y="36"/>
                  </a:cubicBezTo>
                  <a:cubicBezTo>
                    <a:pt x="85" y="36"/>
                    <a:pt x="83" y="36"/>
                    <a:pt x="82" y="35"/>
                  </a:cubicBezTo>
                  <a:cubicBezTo>
                    <a:pt x="81" y="35"/>
                    <a:pt x="79" y="33"/>
                    <a:pt x="78" y="32"/>
                  </a:cubicBezTo>
                  <a:cubicBezTo>
                    <a:pt x="76" y="31"/>
                    <a:pt x="75" y="30"/>
                    <a:pt x="72" y="30"/>
                  </a:cubicBezTo>
                  <a:cubicBezTo>
                    <a:pt x="71" y="30"/>
                    <a:pt x="70" y="31"/>
                    <a:pt x="69" y="30"/>
                  </a:cubicBezTo>
                  <a:cubicBezTo>
                    <a:pt x="68" y="30"/>
                    <a:pt x="68" y="30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6" y="28"/>
                    <a:pt x="65" y="26"/>
                    <a:pt x="64" y="25"/>
                  </a:cubicBezTo>
                  <a:cubicBezTo>
                    <a:pt x="61" y="22"/>
                    <a:pt x="58" y="19"/>
                    <a:pt x="56" y="15"/>
                  </a:cubicBezTo>
                  <a:cubicBezTo>
                    <a:pt x="54" y="11"/>
                    <a:pt x="57" y="6"/>
                    <a:pt x="57" y="2"/>
                  </a:cubicBezTo>
                  <a:cubicBezTo>
                    <a:pt x="56" y="0"/>
                    <a:pt x="51" y="0"/>
                    <a:pt x="49" y="1"/>
                  </a:cubicBezTo>
                  <a:cubicBezTo>
                    <a:pt x="46" y="2"/>
                    <a:pt x="45" y="4"/>
                    <a:pt x="45" y="7"/>
                  </a:cubicBezTo>
                  <a:cubicBezTo>
                    <a:pt x="45" y="8"/>
                    <a:pt x="45" y="10"/>
                    <a:pt x="46" y="11"/>
                  </a:cubicBezTo>
                  <a:cubicBezTo>
                    <a:pt x="46" y="14"/>
                    <a:pt x="48" y="15"/>
                    <a:pt x="46" y="18"/>
                  </a:cubicBezTo>
                  <a:cubicBezTo>
                    <a:pt x="46" y="19"/>
                    <a:pt x="43" y="22"/>
                    <a:pt x="41" y="23"/>
                  </a:cubicBezTo>
                  <a:cubicBezTo>
                    <a:pt x="40" y="24"/>
                    <a:pt x="39" y="23"/>
                    <a:pt x="37" y="24"/>
                  </a:cubicBezTo>
                  <a:cubicBezTo>
                    <a:pt x="35" y="27"/>
                    <a:pt x="36" y="34"/>
                    <a:pt x="38" y="37"/>
                  </a:cubicBezTo>
                  <a:cubicBezTo>
                    <a:pt x="29" y="41"/>
                    <a:pt x="34" y="52"/>
                    <a:pt x="38" y="59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0" y="59"/>
                    <a:pt x="41" y="60"/>
                    <a:pt x="43" y="62"/>
                  </a:cubicBezTo>
                  <a:cubicBezTo>
                    <a:pt x="44" y="63"/>
                    <a:pt x="45" y="64"/>
                    <a:pt x="47" y="65"/>
                  </a:cubicBezTo>
                  <a:cubicBezTo>
                    <a:pt x="48" y="65"/>
                    <a:pt x="49" y="65"/>
                    <a:pt x="50" y="67"/>
                  </a:cubicBezTo>
                  <a:cubicBezTo>
                    <a:pt x="51" y="68"/>
                    <a:pt x="53" y="70"/>
                    <a:pt x="53" y="71"/>
                  </a:cubicBezTo>
                  <a:cubicBezTo>
                    <a:pt x="54" y="71"/>
                    <a:pt x="55" y="71"/>
                    <a:pt x="56" y="71"/>
                  </a:cubicBezTo>
                  <a:cubicBezTo>
                    <a:pt x="57" y="71"/>
                    <a:pt x="57" y="71"/>
                    <a:pt x="58" y="71"/>
                  </a:cubicBezTo>
                  <a:cubicBezTo>
                    <a:pt x="59" y="71"/>
                    <a:pt x="59" y="72"/>
                    <a:pt x="59" y="72"/>
                  </a:cubicBezTo>
                  <a:cubicBezTo>
                    <a:pt x="65" y="74"/>
                    <a:pt x="68" y="72"/>
                    <a:pt x="73" y="68"/>
                  </a:cubicBezTo>
                  <a:cubicBezTo>
                    <a:pt x="76" y="65"/>
                    <a:pt x="79" y="61"/>
                    <a:pt x="81" y="57"/>
                  </a:cubicBezTo>
                  <a:cubicBezTo>
                    <a:pt x="83" y="55"/>
                    <a:pt x="82" y="54"/>
                    <a:pt x="82" y="51"/>
                  </a:cubicBezTo>
                  <a:cubicBezTo>
                    <a:pt x="86" y="49"/>
                    <a:pt x="90" y="48"/>
                    <a:pt x="94" y="46"/>
                  </a:cubicBezTo>
                  <a:cubicBezTo>
                    <a:pt x="95" y="45"/>
                    <a:pt x="98" y="44"/>
                    <a:pt x="99" y="43"/>
                  </a:cubicBezTo>
                  <a:cubicBezTo>
                    <a:pt x="100" y="41"/>
                    <a:pt x="97" y="40"/>
                    <a:pt x="96" y="4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7" name="Freeform 138">
              <a:extLst>
                <a:ext uri="{FF2B5EF4-FFF2-40B4-BE49-F238E27FC236}">
                  <a16:creationId xmlns:a16="http://schemas.microsoft.com/office/drawing/2014/main" id="{423E7A87-3E3E-4AB2-A154-EE14C38F86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1763" y="-1588"/>
              <a:ext cx="2671763" cy="3179763"/>
            </a:xfrm>
            <a:custGeom>
              <a:avLst/>
              <a:gdLst/>
              <a:ahLst/>
              <a:cxnLst>
                <a:cxn ang="0">
                  <a:pos x="1352" y="75"/>
                </a:cxn>
                <a:cxn ang="0">
                  <a:pos x="1254" y="97"/>
                </a:cxn>
                <a:cxn ang="0">
                  <a:pos x="1215" y="46"/>
                </a:cxn>
                <a:cxn ang="0">
                  <a:pos x="1183" y="71"/>
                </a:cxn>
                <a:cxn ang="0">
                  <a:pos x="1101" y="166"/>
                </a:cxn>
                <a:cxn ang="0">
                  <a:pos x="1114" y="16"/>
                </a:cxn>
                <a:cxn ang="0">
                  <a:pos x="1066" y="82"/>
                </a:cxn>
                <a:cxn ang="0">
                  <a:pos x="988" y="172"/>
                </a:cxn>
                <a:cxn ang="0">
                  <a:pos x="855" y="247"/>
                </a:cxn>
                <a:cxn ang="0">
                  <a:pos x="779" y="240"/>
                </a:cxn>
                <a:cxn ang="0">
                  <a:pos x="723" y="294"/>
                </a:cxn>
                <a:cxn ang="0">
                  <a:pos x="676" y="334"/>
                </a:cxn>
                <a:cxn ang="0">
                  <a:pos x="682" y="368"/>
                </a:cxn>
                <a:cxn ang="0">
                  <a:pos x="594" y="355"/>
                </a:cxn>
                <a:cxn ang="0">
                  <a:pos x="571" y="378"/>
                </a:cxn>
                <a:cxn ang="0">
                  <a:pos x="539" y="409"/>
                </a:cxn>
                <a:cxn ang="0">
                  <a:pos x="476" y="472"/>
                </a:cxn>
                <a:cxn ang="0">
                  <a:pos x="535" y="461"/>
                </a:cxn>
                <a:cxn ang="0">
                  <a:pos x="652" y="435"/>
                </a:cxn>
                <a:cxn ang="0">
                  <a:pos x="591" y="478"/>
                </a:cxn>
                <a:cxn ang="0">
                  <a:pos x="568" y="557"/>
                </a:cxn>
                <a:cxn ang="0">
                  <a:pos x="499" y="629"/>
                </a:cxn>
                <a:cxn ang="0">
                  <a:pos x="447" y="712"/>
                </a:cxn>
                <a:cxn ang="0">
                  <a:pos x="429" y="788"/>
                </a:cxn>
                <a:cxn ang="0">
                  <a:pos x="368" y="906"/>
                </a:cxn>
                <a:cxn ang="0">
                  <a:pos x="355" y="948"/>
                </a:cxn>
                <a:cxn ang="0">
                  <a:pos x="285" y="1042"/>
                </a:cxn>
                <a:cxn ang="0">
                  <a:pos x="326" y="1063"/>
                </a:cxn>
                <a:cxn ang="0">
                  <a:pos x="324" y="1087"/>
                </a:cxn>
                <a:cxn ang="0">
                  <a:pos x="247" y="1099"/>
                </a:cxn>
                <a:cxn ang="0">
                  <a:pos x="193" y="1128"/>
                </a:cxn>
                <a:cxn ang="0">
                  <a:pos x="170" y="1142"/>
                </a:cxn>
                <a:cxn ang="0">
                  <a:pos x="177" y="1172"/>
                </a:cxn>
                <a:cxn ang="0">
                  <a:pos x="77" y="1210"/>
                </a:cxn>
                <a:cxn ang="0">
                  <a:pos x="98" y="1233"/>
                </a:cxn>
                <a:cxn ang="0">
                  <a:pos x="62" y="1256"/>
                </a:cxn>
                <a:cxn ang="0">
                  <a:pos x="66" y="1277"/>
                </a:cxn>
                <a:cxn ang="0">
                  <a:pos x="29" y="1343"/>
                </a:cxn>
                <a:cxn ang="0">
                  <a:pos x="40" y="1371"/>
                </a:cxn>
                <a:cxn ang="0">
                  <a:pos x="21" y="1424"/>
                </a:cxn>
                <a:cxn ang="0">
                  <a:pos x="37" y="1490"/>
                </a:cxn>
                <a:cxn ang="0">
                  <a:pos x="47" y="1580"/>
                </a:cxn>
                <a:cxn ang="0">
                  <a:pos x="69" y="1646"/>
                </a:cxn>
                <a:cxn ang="0">
                  <a:pos x="207" y="1675"/>
                </a:cxn>
                <a:cxn ang="0">
                  <a:pos x="315" y="1549"/>
                </a:cxn>
                <a:cxn ang="0">
                  <a:pos x="357" y="1589"/>
                </a:cxn>
                <a:cxn ang="0">
                  <a:pos x="433" y="1431"/>
                </a:cxn>
                <a:cxn ang="0">
                  <a:pos x="410" y="1221"/>
                </a:cxn>
                <a:cxn ang="0">
                  <a:pos x="444" y="1021"/>
                </a:cxn>
                <a:cxn ang="0">
                  <a:pos x="529" y="825"/>
                </a:cxn>
                <a:cxn ang="0">
                  <a:pos x="624" y="594"/>
                </a:cxn>
                <a:cxn ang="0">
                  <a:pos x="735" y="459"/>
                </a:cxn>
                <a:cxn ang="0">
                  <a:pos x="869" y="334"/>
                </a:cxn>
                <a:cxn ang="0">
                  <a:pos x="982" y="393"/>
                </a:cxn>
                <a:cxn ang="0">
                  <a:pos x="1100" y="388"/>
                </a:cxn>
                <a:cxn ang="0">
                  <a:pos x="1145" y="252"/>
                </a:cxn>
                <a:cxn ang="0">
                  <a:pos x="1261" y="192"/>
                </a:cxn>
                <a:cxn ang="0">
                  <a:pos x="1316" y="340"/>
                </a:cxn>
                <a:cxn ang="0">
                  <a:pos x="1375" y="252"/>
                </a:cxn>
                <a:cxn ang="0">
                  <a:pos x="1383" y="212"/>
                </a:cxn>
                <a:cxn ang="0">
                  <a:pos x="1340" y="204"/>
                </a:cxn>
              </a:cxnLst>
              <a:rect l="0" t="0" r="r" b="b"/>
              <a:pathLst>
                <a:path w="1429" h="1701">
                  <a:moveTo>
                    <a:pt x="1115" y="33"/>
                  </a:moveTo>
                  <a:cubicBezTo>
                    <a:pt x="1116" y="33"/>
                    <a:pt x="1117" y="33"/>
                    <a:pt x="1118" y="33"/>
                  </a:cubicBezTo>
                  <a:cubicBezTo>
                    <a:pt x="1117" y="32"/>
                    <a:pt x="1116" y="32"/>
                    <a:pt x="1115" y="33"/>
                  </a:cubicBezTo>
                  <a:moveTo>
                    <a:pt x="272" y="1065"/>
                  </a:moveTo>
                  <a:cubicBezTo>
                    <a:pt x="272" y="1065"/>
                    <a:pt x="272" y="1065"/>
                    <a:pt x="272" y="1065"/>
                  </a:cubicBezTo>
                  <a:cubicBezTo>
                    <a:pt x="271" y="1066"/>
                    <a:pt x="270" y="1066"/>
                    <a:pt x="270" y="1067"/>
                  </a:cubicBezTo>
                  <a:cubicBezTo>
                    <a:pt x="271" y="1067"/>
                    <a:pt x="272" y="1066"/>
                    <a:pt x="272" y="1065"/>
                  </a:cubicBezTo>
                  <a:moveTo>
                    <a:pt x="422" y="1463"/>
                  </a:moveTo>
                  <a:cubicBezTo>
                    <a:pt x="423" y="1463"/>
                    <a:pt x="424" y="1463"/>
                    <a:pt x="425" y="1463"/>
                  </a:cubicBezTo>
                  <a:cubicBezTo>
                    <a:pt x="424" y="1461"/>
                    <a:pt x="423" y="1462"/>
                    <a:pt x="422" y="1463"/>
                  </a:cubicBezTo>
                  <a:moveTo>
                    <a:pt x="1418" y="124"/>
                  </a:moveTo>
                  <a:cubicBezTo>
                    <a:pt x="1416" y="126"/>
                    <a:pt x="1415" y="124"/>
                    <a:pt x="1414" y="123"/>
                  </a:cubicBezTo>
                  <a:cubicBezTo>
                    <a:pt x="1411" y="121"/>
                    <a:pt x="1408" y="119"/>
                    <a:pt x="1405" y="118"/>
                  </a:cubicBezTo>
                  <a:cubicBezTo>
                    <a:pt x="1403" y="117"/>
                    <a:pt x="1401" y="115"/>
                    <a:pt x="1400" y="113"/>
                  </a:cubicBezTo>
                  <a:cubicBezTo>
                    <a:pt x="1399" y="111"/>
                    <a:pt x="1401" y="108"/>
                    <a:pt x="1398" y="106"/>
                  </a:cubicBezTo>
                  <a:cubicBezTo>
                    <a:pt x="1391" y="110"/>
                    <a:pt x="1379" y="109"/>
                    <a:pt x="1370" y="108"/>
                  </a:cubicBezTo>
                  <a:cubicBezTo>
                    <a:pt x="1370" y="104"/>
                    <a:pt x="1378" y="103"/>
                    <a:pt x="1380" y="101"/>
                  </a:cubicBezTo>
                  <a:cubicBezTo>
                    <a:pt x="1385" y="97"/>
                    <a:pt x="1382" y="94"/>
                    <a:pt x="1378" y="90"/>
                  </a:cubicBezTo>
                  <a:cubicBezTo>
                    <a:pt x="1376" y="87"/>
                    <a:pt x="1375" y="80"/>
                    <a:pt x="1371" y="79"/>
                  </a:cubicBezTo>
                  <a:cubicBezTo>
                    <a:pt x="1368" y="77"/>
                    <a:pt x="1366" y="80"/>
                    <a:pt x="1365" y="82"/>
                  </a:cubicBezTo>
                  <a:cubicBezTo>
                    <a:pt x="1361" y="85"/>
                    <a:pt x="1357" y="89"/>
                    <a:pt x="1353" y="91"/>
                  </a:cubicBezTo>
                  <a:cubicBezTo>
                    <a:pt x="1355" y="86"/>
                    <a:pt x="1358" y="77"/>
                    <a:pt x="1352" y="75"/>
                  </a:cubicBezTo>
                  <a:cubicBezTo>
                    <a:pt x="1348" y="74"/>
                    <a:pt x="1343" y="75"/>
                    <a:pt x="1341" y="77"/>
                  </a:cubicBezTo>
                  <a:cubicBezTo>
                    <a:pt x="1338" y="79"/>
                    <a:pt x="1337" y="83"/>
                    <a:pt x="1335" y="85"/>
                  </a:cubicBezTo>
                  <a:cubicBezTo>
                    <a:pt x="1332" y="87"/>
                    <a:pt x="1335" y="87"/>
                    <a:pt x="1332" y="85"/>
                  </a:cubicBezTo>
                  <a:cubicBezTo>
                    <a:pt x="1329" y="84"/>
                    <a:pt x="1328" y="80"/>
                    <a:pt x="1328" y="77"/>
                  </a:cubicBezTo>
                  <a:cubicBezTo>
                    <a:pt x="1328" y="74"/>
                    <a:pt x="1329" y="75"/>
                    <a:pt x="1330" y="72"/>
                  </a:cubicBezTo>
                  <a:cubicBezTo>
                    <a:pt x="1331" y="69"/>
                    <a:pt x="1331" y="65"/>
                    <a:pt x="1330" y="62"/>
                  </a:cubicBezTo>
                  <a:cubicBezTo>
                    <a:pt x="1328" y="58"/>
                    <a:pt x="1324" y="57"/>
                    <a:pt x="1320" y="56"/>
                  </a:cubicBezTo>
                  <a:cubicBezTo>
                    <a:pt x="1317" y="54"/>
                    <a:pt x="1312" y="49"/>
                    <a:pt x="1308" y="51"/>
                  </a:cubicBezTo>
                  <a:cubicBezTo>
                    <a:pt x="1308" y="53"/>
                    <a:pt x="1305" y="55"/>
                    <a:pt x="1304" y="56"/>
                  </a:cubicBezTo>
                  <a:cubicBezTo>
                    <a:pt x="1301" y="59"/>
                    <a:pt x="1299" y="62"/>
                    <a:pt x="1296" y="65"/>
                  </a:cubicBezTo>
                  <a:cubicBezTo>
                    <a:pt x="1291" y="70"/>
                    <a:pt x="1289" y="75"/>
                    <a:pt x="1289" y="82"/>
                  </a:cubicBezTo>
                  <a:cubicBezTo>
                    <a:pt x="1289" y="88"/>
                    <a:pt x="1289" y="94"/>
                    <a:pt x="1289" y="99"/>
                  </a:cubicBezTo>
                  <a:cubicBezTo>
                    <a:pt x="1289" y="106"/>
                    <a:pt x="1286" y="111"/>
                    <a:pt x="1285" y="118"/>
                  </a:cubicBezTo>
                  <a:cubicBezTo>
                    <a:pt x="1281" y="111"/>
                    <a:pt x="1276" y="115"/>
                    <a:pt x="1270" y="118"/>
                  </a:cubicBezTo>
                  <a:cubicBezTo>
                    <a:pt x="1268" y="119"/>
                    <a:pt x="1265" y="120"/>
                    <a:pt x="1263" y="121"/>
                  </a:cubicBezTo>
                  <a:cubicBezTo>
                    <a:pt x="1260" y="122"/>
                    <a:pt x="1247" y="123"/>
                    <a:pt x="1245" y="120"/>
                  </a:cubicBezTo>
                  <a:cubicBezTo>
                    <a:pt x="1248" y="117"/>
                    <a:pt x="1252" y="118"/>
                    <a:pt x="1255" y="115"/>
                  </a:cubicBezTo>
                  <a:cubicBezTo>
                    <a:pt x="1257" y="114"/>
                    <a:pt x="1257" y="112"/>
                    <a:pt x="1259" y="110"/>
                  </a:cubicBezTo>
                  <a:cubicBezTo>
                    <a:pt x="1261" y="107"/>
                    <a:pt x="1265" y="105"/>
                    <a:pt x="1268" y="103"/>
                  </a:cubicBezTo>
                  <a:cubicBezTo>
                    <a:pt x="1274" y="99"/>
                    <a:pt x="1279" y="95"/>
                    <a:pt x="1283" y="89"/>
                  </a:cubicBezTo>
                  <a:cubicBezTo>
                    <a:pt x="1278" y="93"/>
                    <a:pt x="1272" y="93"/>
                    <a:pt x="1267" y="94"/>
                  </a:cubicBezTo>
                  <a:cubicBezTo>
                    <a:pt x="1262" y="95"/>
                    <a:pt x="1259" y="96"/>
                    <a:pt x="1254" y="97"/>
                  </a:cubicBezTo>
                  <a:cubicBezTo>
                    <a:pt x="1247" y="97"/>
                    <a:pt x="1239" y="98"/>
                    <a:pt x="1232" y="97"/>
                  </a:cubicBezTo>
                  <a:cubicBezTo>
                    <a:pt x="1236" y="94"/>
                    <a:pt x="1239" y="90"/>
                    <a:pt x="1243" y="88"/>
                  </a:cubicBezTo>
                  <a:cubicBezTo>
                    <a:pt x="1248" y="85"/>
                    <a:pt x="1254" y="81"/>
                    <a:pt x="1257" y="76"/>
                  </a:cubicBezTo>
                  <a:cubicBezTo>
                    <a:pt x="1260" y="71"/>
                    <a:pt x="1259" y="69"/>
                    <a:pt x="1255" y="67"/>
                  </a:cubicBezTo>
                  <a:cubicBezTo>
                    <a:pt x="1253" y="66"/>
                    <a:pt x="1247" y="66"/>
                    <a:pt x="1249" y="62"/>
                  </a:cubicBezTo>
                  <a:cubicBezTo>
                    <a:pt x="1249" y="61"/>
                    <a:pt x="1252" y="60"/>
                    <a:pt x="1253" y="60"/>
                  </a:cubicBezTo>
                  <a:cubicBezTo>
                    <a:pt x="1258" y="60"/>
                    <a:pt x="1261" y="60"/>
                    <a:pt x="1265" y="62"/>
                  </a:cubicBezTo>
                  <a:cubicBezTo>
                    <a:pt x="1269" y="63"/>
                    <a:pt x="1277" y="63"/>
                    <a:pt x="1279" y="58"/>
                  </a:cubicBezTo>
                  <a:cubicBezTo>
                    <a:pt x="1279" y="57"/>
                    <a:pt x="1278" y="55"/>
                    <a:pt x="1279" y="54"/>
                  </a:cubicBezTo>
                  <a:cubicBezTo>
                    <a:pt x="1279" y="52"/>
                    <a:pt x="1282" y="50"/>
                    <a:pt x="1283" y="48"/>
                  </a:cubicBezTo>
                  <a:cubicBezTo>
                    <a:pt x="1287" y="44"/>
                    <a:pt x="1292" y="41"/>
                    <a:pt x="1290" y="36"/>
                  </a:cubicBezTo>
                  <a:cubicBezTo>
                    <a:pt x="1287" y="30"/>
                    <a:pt x="1276" y="33"/>
                    <a:pt x="1270" y="33"/>
                  </a:cubicBezTo>
                  <a:cubicBezTo>
                    <a:pt x="1270" y="29"/>
                    <a:pt x="1272" y="21"/>
                    <a:pt x="1268" y="18"/>
                  </a:cubicBezTo>
                  <a:cubicBezTo>
                    <a:pt x="1263" y="14"/>
                    <a:pt x="1254" y="21"/>
                    <a:pt x="1250" y="20"/>
                  </a:cubicBezTo>
                  <a:cubicBezTo>
                    <a:pt x="1249" y="16"/>
                    <a:pt x="1251" y="4"/>
                    <a:pt x="1244" y="6"/>
                  </a:cubicBezTo>
                  <a:cubicBezTo>
                    <a:pt x="1240" y="8"/>
                    <a:pt x="1239" y="16"/>
                    <a:pt x="1238" y="20"/>
                  </a:cubicBezTo>
                  <a:cubicBezTo>
                    <a:pt x="1237" y="22"/>
                    <a:pt x="1234" y="32"/>
                    <a:pt x="1231" y="33"/>
                  </a:cubicBezTo>
                  <a:cubicBezTo>
                    <a:pt x="1227" y="34"/>
                    <a:pt x="1225" y="25"/>
                    <a:pt x="1221" y="25"/>
                  </a:cubicBezTo>
                  <a:cubicBezTo>
                    <a:pt x="1215" y="24"/>
                    <a:pt x="1217" y="32"/>
                    <a:pt x="1217" y="36"/>
                  </a:cubicBezTo>
                  <a:cubicBezTo>
                    <a:pt x="1217" y="36"/>
                    <a:pt x="1217" y="36"/>
                    <a:pt x="1217" y="36"/>
                  </a:cubicBezTo>
                  <a:cubicBezTo>
                    <a:pt x="1216" y="38"/>
                    <a:pt x="1211" y="39"/>
                    <a:pt x="1210" y="42"/>
                  </a:cubicBezTo>
                  <a:cubicBezTo>
                    <a:pt x="1209" y="47"/>
                    <a:pt x="1213" y="43"/>
                    <a:pt x="1215" y="46"/>
                  </a:cubicBezTo>
                  <a:cubicBezTo>
                    <a:pt x="1216" y="47"/>
                    <a:pt x="1216" y="49"/>
                    <a:pt x="1217" y="50"/>
                  </a:cubicBezTo>
                  <a:cubicBezTo>
                    <a:pt x="1218" y="51"/>
                    <a:pt x="1222" y="53"/>
                    <a:pt x="1224" y="53"/>
                  </a:cubicBezTo>
                  <a:cubicBezTo>
                    <a:pt x="1219" y="52"/>
                    <a:pt x="1219" y="56"/>
                    <a:pt x="1219" y="60"/>
                  </a:cubicBezTo>
                  <a:cubicBezTo>
                    <a:pt x="1219" y="65"/>
                    <a:pt x="1219" y="67"/>
                    <a:pt x="1216" y="71"/>
                  </a:cubicBezTo>
                  <a:cubicBezTo>
                    <a:pt x="1211" y="77"/>
                    <a:pt x="1205" y="81"/>
                    <a:pt x="1204" y="90"/>
                  </a:cubicBezTo>
                  <a:cubicBezTo>
                    <a:pt x="1203" y="94"/>
                    <a:pt x="1204" y="99"/>
                    <a:pt x="1202" y="104"/>
                  </a:cubicBezTo>
                  <a:cubicBezTo>
                    <a:pt x="1201" y="107"/>
                    <a:pt x="1198" y="108"/>
                    <a:pt x="1197" y="111"/>
                  </a:cubicBezTo>
                  <a:cubicBezTo>
                    <a:pt x="1197" y="114"/>
                    <a:pt x="1198" y="117"/>
                    <a:pt x="1198" y="119"/>
                  </a:cubicBezTo>
                  <a:cubicBezTo>
                    <a:pt x="1197" y="121"/>
                    <a:pt x="1194" y="123"/>
                    <a:pt x="1193" y="124"/>
                  </a:cubicBezTo>
                  <a:cubicBezTo>
                    <a:pt x="1189" y="127"/>
                    <a:pt x="1189" y="128"/>
                    <a:pt x="1187" y="132"/>
                  </a:cubicBezTo>
                  <a:cubicBezTo>
                    <a:pt x="1185" y="135"/>
                    <a:pt x="1183" y="135"/>
                    <a:pt x="1183" y="139"/>
                  </a:cubicBezTo>
                  <a:cubicBezTo>
                    <a:pt x="1183" y="140"/>
                    <a:pt x="1183" y="141"/>
                    <a:pt x="1183" y="142"/>
                  </a:cubicBezTo>
                  <a:cubicBezTo>
                    <a:pt x="1181" y="142"/>
                    <a:pt x="1178" y="142"/>
                    <a:pt x="1176" y="142"/>
                  </a:cubicBezTo>
                  <a:cubicBezTo>
                    <a:pt x="1176" y="142"/>
                    <a:pt x="1176" y="142"/>
                    <a:pt x="1176" y="142"/>
                  </a:cubicBezTo>
                  <a:cubicBezTo>
                    <a:pt x="1177" y="138"/>
                    <a:pt x="1180" y="134"/>
                    <a:pt x="1182" y="129"/>
                  </a:cubicBezTo>
                  <a:cubicBezTo>
                    <a:pt x="1183" y="127"/>
                    <a:pt x="1182" y="125"/>
                    <a:pt x="1183" y="122"/>
                  </a:cubicBezTo>
                  <a:cubicBezTo>
                    <a:pt x="1184" y="119"/>
                    <a:pt x="1185" y="117"/>
                    <a:pt x="1185" y="113"/>
                  </a:cubicBezTo>
                  <a:cubicBezTo>
                    <a:pt x="1185" y="109"/>
                    <a:pt x="1185" y="105"/>
                    <a:pt x="1185" y="101"/>
                  </a:cubicBezTo>
                  <a:cubicBezTo>
                    <a:pt x="1186" y="97"/>
                    <a:pt x="1188" y="92"/>
                    <a:pt x="1187" y="88"/>
                  </a:cubicBezTo>
                  <a:cubicBezTo>
                    <a:pt x="1187" y="87"/>
                    <a:pt x="1186" y="83"/>
                    <a:pt x="1185" y="83"/>
                  </a:cubicBezTo>
                  <a:cubicBezTo>
                    <a:pt x="1182" y="81"/>
                    <a:pt x="1178" y="82"/>
                    <a:pt x="1179" y="77"/>
                  </a:cubicBezTo>
                  <a:cubicBezTo>
                    <a:pt x="1179" y="74"/>
                    <a:pt x="1181" y="73"/>
                    <a:pt x="1183" y="71"/>
                  </a:cubicBezTo>
                  <a:cubicBezTo>
                    <a:pt x="1187" y="69"/>
                    <a:pt x="1189" y="68"/>
                    <a:pt x="1189" y="63"/>
                  </a:cubicBezTo>
                  <a:cubicBezTo>
                    <a:pt x="1189" y="60"/>
                    <a:pt x="1189" y="58"/>
                    <a:pt x="1189" y="55"/>
                  </a:cubicBezTo>
                  <a:cubicBezTo>
                    <a:pt x="1189" y="47"/>
                    <a:pt x="1198" y="40"/>
                    <a:pt x="1193" y="32"/>
                  </a:cubicBezTo>
                  <a:cubicBezTo>
                    <a:pt x="1191" y="32"/>
                    <a:pt x="1185" y="32"/>
                    <a:pt x="1183" y="32"/>
                  </a:cubicBezTo>
                  <a:cubicBezTo>
                    <a:pt x="1182" y="33"/>
                    <a:pt x="1181" y="35"/>
                    <a:pt x="1180" y="37"/>
                  </a:cubicBezTo>
                  <a:cubicBezTo>
                    <a:pt x="1176" y="41"/>
                    <a:pt x="1171" y="45"/>
                    <a:pt x="1167" y="49"/>
                  </a:cubicBezTo>
                  <a:cubicBezTo>
                    <a:pt x="1161" y="53"/>
                    <a:pt x="1156" y="54"/>
                    <a:pt x="1156" y="61"/>
                  </a:cubicBezTo>
                  <a:cubicBezTo>
                    <a:pt x="1156" y="66"/>
                    <a:pt x="1156" y="70"/>
                    <a:pt x="1156" y="75"/>
                  </a:cubicBezTo>
                  <a:cubicBezTo>
                    <a:pt x="1156" y="80"/>
                    <a:pt x="1154" y="83"/>
                    <a:pt x="1151" y="87"/>
                  </a:cubicBezTo>
                  <a:cubicBezTo>
                    <a:pt x="1147" y="93"/>
                    <a:pt x="1141" y="99"/>
                    <a:pt x="1139" y="106"/>
                  </a:cubicBezTo>
                  <a:cubicBezTo>
                    <a:pt x="1138" y="113"/>
                    <a:pt x="1141" y="122"/>
                    <a:pt x="1134" y="128"/>
                  </a:cubicBezTo>
                  <a:cubicBezTo>
                    <a:pt x="1130" y="132"/>
                    <a:pt x="1121" y="131"/>
                    <a:pt x="1118" y="134"/>
                  </a:cubicBezTo>
                  <a:cubicBezTo>
                    <a:pt x="1117" y="135"/>
                    <a:pt x="1116" y="138"/>
                    <a:pt x="1116" y="139"/>
                  </a:cubicBezTo>
                  <a:cubicBezTo>
                    <a:pt x="1117" y="141"/>
                    <a:pt x="1119" y="141"/>
                    <a:pt x="1120" y="142"/>
                  </a:cubicBezTo>
                  <a:cubicBezTo>
                    <a:pt x="1123" y="145"/>
                    <a:pt x="1122" y="147"/>
                    <a:pt x="1119" y="148"/>
                  </a:cubicBezTo>
                  <a:cubicBezTo>
                    <a:pt x="1117" y="149"/>
                    <a:pt x="1116" y="147"/>
                    <a:pt x="1114" y="149"/>
                  </a:cubicBezTo>
                  <a:cubicBezTo>
                    <a:pt x="1115" y="148"/>
                    <a:pt x="1112" y="155"/>
                    <a:pt x="1113" y="153"/>
                  </a:cubicBezTo>
                  <a:cubicBezTo>
                    <a:pt x="1111" y="156"/>
                    <a:pt x="1109" y="160"/>
                    <a:pt x="1108" y="164"/>
                  </a:cubicBezTo>
                  <a:cubicBezTo>
                    <a:pt x="1107" y="168"/>
                    <a:pt x="1108" y="171"/>
                    <a:pt x="1108" y="175"/>
                  </a:cubicBezTo>
                  <a:cubicBezTo>
                    <a:pt x="1108" y="175"/>
                    <a:pt x="1107" y="175"/>
                    <a:pt x="1107" y="176"/>
                  </a:cubicBezTo>
                  <a:cubicBezTo>
                    <a:pt x="1106" y="177"/>
                    <a:pt x="1105" y="178"/>
                    <a:pt x="1103" y="175"/>
                  </a:cubicBezTo>
                  <a:cubicBezTo>
                    <a:pt x="1101" y="173"/>
                    <a:pt x="1102" y="169"/>
                    <a:pt x="1101" y="166"/>
                  </a:cubicBezTo>
                  <a:cubicBezTo>
                    <a:pt x="1101" y="165"/>
                    <a:pt x="1100" y="165"/>
                    <a:pt x="1100" y="164"/>
                  </a:cubicBezTo>
                  <a:cubicBezTo>
                    <a:pt x="1100" y="159"/>
                    <a:pt x="1101" y="159"/>
                    <a:pt x="1095" y="158"/>
                  </a:cubicBezTo>
                  <a:cubicBezTo>
                    <a:pt x="1094" y="158"/>
                    <a:pt x="1093" y="158"/>
                    <a:pt x="1093" y="158"/>
                  </a:cubicBezTo>
                  <a:cubicBezTo>
                    <a:pt x="1094" y="154"/>
                    <a:pt x="1096" y="154"/>
                    <a:pt x="1101" y="152"/>
                  </a:cubicBezTo>
                  <a:cubicBezTo>
                    <a:pt x="1110" y="148"/>
                    <a:pt x="1104" y="137"/>
                    <a:pt x="1106" y="129"/>
                  </a:cubicBezTo>
                  <a:cubicBezTo>
                    <a:pt x="1107" y="124"/>
                    <a:pt x="1112" y="119"/>
                    <a:pt x="1112" y="114"/>
                  </a:cubicBezTo>
                  <a:cubicBezTo>
                    <a:pt x="1111" y="111"/>
                    <a:pt x="1110" y="110"/>
                    <a:pt x="1110" y="108"/>
                  </a:cubicBezTo>
                  <a:cubicBezTo>
                    <a:pt x="1111" y="105"/>
                    <a:pt x="1114" y="101"/>
                    <a:pt x="1117" y="99"/>
                  </a:cubicBezTo>
                  <a:cubicBezTo>
                    <a:pt x="1119" y="96"/>
                    <a:pt x="1120" y="95"/>
                    <a:pt x="1122" y="92"/>
                  </a:cubicBezTo>
                  <a:cubicBezTo>
                    <a:pt x="1124" y="89"/>
                    <a:pt x="1126" y="85"/>
                    <a:pt x="1128" y="83"/>
                  </a:cubicBezTo>
                  <a:cubicBezTo>
                    <a:pt x="1130" y="80"/>
                    <a:pt x="1133" y="80"/>
                    <a:pt x="1134" y="77"/>
                  </a:cubicBezTo>
                  <a:cubicBezTo>
                    <a:pt x="1135" y="74"/>
                    <a:pt x="1132" y="70"/>
                    <a:pt x="1133" y="67"/>
                  </a:cubicBezTo>
                  <a:cubicBezTo>
                    <a:pt x="1133" y="62"/>
                    <a:pt x="1137" y="61"/>
                    <a:pt x="1141" y="58"/>
                  </a:cubicBezTo>
                  <a:cubicBezTo>
                    <a:pt x="1145" y="56"/>
                    <a:pt x="1149" y="47"/>
                    <a:pt x="1142" y="49"/>
                  </a:cubicBezTo>
                  <a:cubicBezTo>
                    <a:pt x="1141" y="45"/>
                    <a:pt x="1141" y="39"/>
                    <a:pt x="1143" y="36"/>
                  </a:cubicBezTo>
                  <a:cubicBezTo>
                    <a:pt x="1146" y="31"/>
                    <a:pt x="1155" y="35"/>
                    <a:pt x="1158" y="29"/>
                  </a:cubicBezTo>
                  <a:cubicBezTo>
                    <a:pt x="1156" y="26"/>
                    <a:pt x="1148" y="26"/>
                    <a:pt x="1145" y="24"/>
                  </a:cubicBezTo>
                  <a:cubicBezTo>
                    <a:pt x="1141" y="23"/>
                    <a:pt x="1139" y="21"/>
                    <a:pt x="1140" y="18"/>
                  </a:cubicBezTo>
                  <a:cubicBezTo>
                    <a:pt x="1141" y="16"/>
                    <a:pt x="1142" y="15"/>
                    <a:pt x="1144" y="15"/>
                  </a:cubicBezTo>
                  <a:cubicBezTo>
                    <a:pt x="1147" y="11"/>
                    <a:pt x="1141" y="0"/>
                    <a:pt x="1136" y="1"/>
                  </a:cubicBezTo>
                  <a:cubicBezTo>
                    <a:pt x="1135" y="5"/>
                    <a:pt x="1133" y="12"/>
                    <a:pt x="1130" y="15"/>
                  </a:cubicBezTo>
                  <a:cubicBezTo>
                    <a:pt x="1127" y="18"/>
                    <a:pt x="1118" y="15"/>
                    <a:pt x="1114" y="16"/>
                  </a:cubicBezTo>
                  <a:cubicBezTo>
                    <a:pt x="1112" y="17"/>
                    <a:pt x="1109" y="19"/>
                    <a:pt x="1111" y="22"/>
                  </a:cubicBezTo>
                  <a:cubicBezTo>
                    <a:pt x="1113" y="25"/>
                    <a:pt x="1115" y="24"/>
                    <a:pt x="1117" y="24"/>
                  </a:cubicBezTo>
                  <a:cubicBezTo>
                    <a:pt x="1121" y="25"/>
                    <a:pt x="1123" y="28"/>
                    <a:pt x="1124" y="32"/>
                  </a:cubicBezTo>
                  <a:cubicBezTo>
                    <a:pt x="1123" y="33"/>
                    <a:pt x="1120" y="33"/>
                    <a:pt x="1118" y="33"/>
                  </a:cubicBezTo>
                  <a:cubicBezTo>
                    <a:pt x="1121" y="34"/>
                    <a:pt x="1122" y="41"/>
                    <a:pt x="1124" y="44"/>
                  </a:cubicBezTo>
                  <a:cubicBezTo>
                    <a:pt x="1127" y="51"/>
                    <a:pt x="1125" y="57"/>
                    <a:pt x="1117" y="58"/>
                  </a:cubicBezTo>
                  <a:cubicBezTo>
                    <a:pt x="1114" y="58"/>
                    <a:pt x="1112" y="58"/>
                    <a:pt x="1111" y="56"/>
                  </a:cubicBezTo>
                  <a:cubicBezTo>
                    <a:pt x="1109" y="54"/>
                    <a:pt x="1108" y="51"/>
                    <a:pt x="1109" y="49"/>
                  </a:cubicBezTo>
                  <a:cubicBezTo>
                    <a:pt x="1106" y="47"/>
                    <a:pt x="1103" y="48"/>
                    <a:pt x="1100" y="48"/>
                  </a:cubicBezTo>
                  <a:cubicBezTo>
                    <a:pt x="1100" y="44"/>
                    <a:pt x="1099" y="38"/>
                    <a:pt x="1096" y="35"/>
                  </a:cubicBezTo>
                  <a:cubicBezTo>
                    <a:pt x="1092" y="37"/>
                    <a:pt x="1092" y="41"/>
                    <a:pt x="1087" y="39"/>
                  </a:cubicBezTo>
                  <a:cubicBezTo>
                    <a:pt x="1082" y="36"/>
                    <a:pt x="1083" y="29"/>
                    <a:pt x="1079" y="26"/>
                  </a:cubicBezTo>
                  <a:cubicBezTo>
                    <a:pt x="1069" y="16"/>
                    <a:pt x="1074" y="39"/>
                    <a:pt x="1075" y="43"/>
                  </a:cubicBezTo>
                  <a:cubicBezTo>
                    <a:pt x="1075" y="47"/>
                    <a:pt x="1077" y="48"/>
                    <a:pt x="1078" y="52"/>
                  </a:cubicBezTo>
                  <a:cubicBezTo>
                    <a:pt x="1078" y="57"/>
                    <a:pt x="1077" y="63"/>
                    <a:pt x="1070" y="60"/>
                  </a:cubicBezTo>
                  <a:cubicBezTo>
                    <a:pt x="1066" y="58"/>
                    <a:pt x="1063" y="50"/>
                    <a:pt x="1058" y="53"/>
                  </a:cubicBezTo>
                  <a:cubicBezTo>
                    <a:pt x="1053" y="56"/>
                    <a:pt x="1056" y="61"/>
                    <a:pt x="1059" y="64"/>
                  </a:cubicBezTo>
                  <a:cubicBezTo>
                    <a:pt x="1062" y="68"/>
                    <a:pt x="1068" y="68"/>
                    <a:pt x="1072" y="71"/>
                  </a:cubicBezTo>
                  <a:cubicBezTo>
                    <a:pt x="1075" y="74"/>
                    <a:pt x="1075" y="77"/>
                    <a:pt x="1076" y="80"/>
                  </a:cubicBezTo>
                  <a:cubicBezTo>
                    <a:pt x="1078" y="82"/>
                    <a:pt x="1081" y="89"/>
                    <a:pt x="1076" y="91"/>
                  </a:cubicBezTo>
                  <a:cubicBezTo>
                    <a:pt x="1072" y="92"/>
                    <a:pt x="1074" y="89"/>
                    <a:pt x="1072" y="87"/>
                  </a:cubicBezTo>
                  <a:cubicBezTo>
                    <a:pt x="1070" y="85"/>
                    <a:pt x="1067" y="86"/>
                    <a:pt x="1066" y="82"/>
                  </a:cubicBezTo>
                  <a:cubicBezTo>
                    <a:pt x="1063" y="83"/>
                    <a:pt x="1062" y="87"/>
                    <a:pt x="1060" y="90"/>
                  </a:cubicBezTo>
                  <a:cubicBezTo>
                    <a:pt x="1057" y="93"/>
                    <a:pt x="1050" y="96"/>
                    <a:pt x="1051" y="102"/>
                  </a:cubicBezTo>
                  <a:cubicBezTo>
                    <a:pt x="1051" y="106"/>
                    <a:pt x="1052" y="107"/>
                    <a:pt x="1055" y="109"/>
                  </a:cubicBezTo>
                  <a:cubicBezTo>
                    <a:pt x="1058" y="111"/>
                    <a:pt x="1058" y="108"/>
                    <a:pt x="1059" y="112"/>
                  </a:cubicBezTo>
                  <a:cubicBezTo>
                    <a:pt x="1060" y="115"/>
                    <a:pt x="1060" y="117"/>
                    <a:pt x="1059" y="119"/>
                  </a:cubicBezTo>
                  <a:cubicBezTo>
                    <a:pt x="1057" y="118"/>
                    <a:pt x="1053" y="117"/>
                    <a:pt x="1051" y="115"/>
                  </a:cubicBezTo>
                  <a:cubicBezTo>
                    <a:pt x="1047" y="113"/>
                    <a:pt x="1048" y="110"/>
                    <a:pt x="1042" y="110"/>
                  </a:cubicBezTo>
                  <a:cubicBezTo>
                    <a:pt x="1036" y="110"/>
                    <a:pt x="1034" y="117"/>
                    <a:pt x="1031" y="122"/>
                  </a:cubicBezTo>
                  <a:cubicBezTo>
                    <a:pt x="1028" y="125"/>
                    <a:pt x="1025" y="129"/>
                    <a:pt x="1022" y="132"/>
                  </a:cubicBezTo>
                  <a:cubicBezTo>
                    <a:pt x="1020" y="134"/>
                    <a:pt x="1015" y="136"/>
                    <a:pt x="1015" y="139"/>
                  </a:cubicBezTo>
                  <a:cubicBezTo>
                    <a:pt x="1016" y="139"/>
                    <a:pt x="1016" y="140"/>
                    <a:pt x="1016" y="141"/>
                  </a:cubicBezTo>
                  <a:cubicBezTo>
                    <a:pt x="1017" y="143"/>
                    <a:pt x="1017" y="144"/>
                    <a:pt x="1016" y="147"/>
                  </a:cubicBezTo>
                  <a:cubicBezTo>
                    <a:pt x="1013" y="158"/>
                    <a:pt x="1006" y="153"/>
                    <a:pt x="998" y="156"/>
                  </a:cubicBezTo>
                  <a:cubicBezTo>
                    <a:pt x="997" y="158"/>
                    <a:pt x="1011" y="165"/>
                    <a:pt x="1013" y="169"/>
                  </a:cubicBezTo>
                  <a:cubicBezTo>
                    <a:pt x="1008" y="171"/>
                    <a:pt x="1000" y="171"/>
                    <a:pt x="1002" y="178"/>
                  </a:cubicBezTo>
                  <a:cubicBezTo>
                    <a:pt x="1003" y="182"/>
                    <a:pt x="1006" y="188"/>
                    <a:pt x="1008" y="190"/>
                  </a:cubicBezTo>
                  <a:cubicBezTo>
                    <a:pt x="1010" y="193"/>
                    <a:pt x="1011" y="193"/>
                    <a:pt x="1012" y="194"/>
                  </a:cubicBezTo>
                  <a:cubicBezTo>
                    <a:pt x="1012" y="194"/>
                    <a:pt x="1011" y="194"/>
                    <a:pt x="1010" y="194"/>
                  </a:cubicBezTo>
                  <a:cubicBezTo>
                    <a:pt x="1006" y="193"/>
                    <a:pt x="1001" y="192"/>
                    <a:pt x="996" y="192"/>
                  </a:cubicBezTo>
                  <a:cubicBezTo>
                    <a:pt x="993" y="191"/>
                    <a:pt x="991" y="191"/>
                    <a:pt x="989" y="188"/>
                  </a:cubicBezTo>
                  <a:cubicBezTo>
                    <a:pt x="987" y="185"/>
                    <a:pt x="986" y="180"/>
                    <a:pt x="987" y="176"/>
                  </a:cubicBezTo>
                  <a:cubicBezTo>
                    <a:pt x="987" y="175"/>
                    <a:pt x="988" y="173"/>
                    <a:pt x="988" y="172"/>
                  </a:cubicBezTo>
                  <a:cubicBezTo>
                    <a:pt x="983" y="170"/>
                    <a:pt x="978" y="178"/>
                    <a:pt x="974" y="174"/>
                  </a:cubicBezTo>
                  <a:cubicBezTo>
                    <a:pt x="968" y="166"/>
                    <a:pt x="984" y="161"/>
                    <a:pt x="982" y="156"/>
                  </a:cubicBezTo>
                  <a:cubicBezTo>
                    <a:pt x="977" y="154"/>
                    <a:pt x="971" y="155"/>
                    <a:pt x="966" y="155"/>
                  </a:cubicBezTo>
                  <a:cubicBezTo>
                    <a:pt x="964" y="154"/>
                    <a:pt x="959" y="152"/>
                    <a:pt x="957" y="154"/>
                  </a:cubicBezTo>
                  <a:cubicBezTo>
                    <a:pt x="955" y="156"/>
                    <a:pt x="958" y="160"/>
                    <a:pt x="956" y="162"/>
                  </a:cubicBezTo>
                  <a:cubicBezTo>
                    <a:pt x="955" y="164"/>
                    <a:pt x="951" y="163"/>
                    <a:pt x="949" y="162"/>
                  </a:cubicBezTo>
                  <a:cubicBezTo>
                    <a:pt x="945" y="161"/>
                    <a:pt x="941" y="158"/>
                    <a:pt x="941" y="154"/>
                  </a:cubicBezTo>
                  <a:cubicBezTo>
                    <a:pt x="942" y="151"/>
                    <a:pt x="945" y="149"/>
                    <a:pt x="943" y="146"/>
                  </a:cubicBezTo>
                  <a:cubicBezTo>
                    <a:pt x="942" y="145"/>
                    <a:pt x="934" y="145"/>
                    <a:pt x="933" y="145"/>
                  </a:cubicBezTo>
                  <a:cubicBezTo>
                    <a:pt x="930" y="146"/>
                    <a:pt x="930" y="147"/>
                    <a:pt x="929" y="150"/>
                  </a:cubicBezTo>
                  <a:cubicBezTo>
                    <a:pt x="929" y="153"/>
                    <a:pt x="929" y="158"/>
                    <a:pt x="929" y="162"/>
                  </a:cubicBezTo>
                  <a:cubicBezTo>
                    <a:pt x="929" y="176"/>
                    <a:pt x="925" y="188"/>
                    <a:pt x="918" y="200"/>
                  </a:cubicBezTo>
                  <a:cubicBezTo>
                    <a:pt x="918" y="201"/>
                    <a:pt x="917" y="201"/>
                    <a:pt x="917" y="202"/>
                  </a:cubicBezTo>
                  <a:cubicBezTo>
                    <a:pt x="915" y="201"/>
                    <a:pt x="913" y="199"/>
                    <a:pt x="912" y="198"/>
                  </a:cubicBezTo>
                  <a:cubicBezTo>
                    <a:pt x="908" y="193"/>
                    <a:pt x="908" y="188"/>
                    <a:pt x="900" y="187"/>
                  </a:cubicBezTo>
                  <a:cubicBezTo>
                    <a:pt x="892" y="187"/>
                    <a:pt x="895" y="199"/>
                    <a:pt x="891" y="204"/>
                  </a:cubicBezTo>
                  <a:cubicBezTo>
                    <a:pt x="889" y="208"/>
                    <a:pt x="885" y="207"/>
                    <a:pt x="881" y="209"/>
                  </a:cubicBezTo>
                  <a:cubicBezTo>
                    <a:pt x="878" y="211"/>
                    <a:pt x="877" y="211"/>
                    <a:pt x="872" y="212"/>
                  </a:cubicBezTo>
                  <a:cubicBezTo>
                    <a:pt x="867" y="213"/>
                    <a:pt x="867" y="216"/>
                    <a:pt x="866" y="220"/>
                  </a:cubicBezTo>
                  <a:cubicBezTo>
                    <a:pt x="865" y="225"/>
                    <a:pt x="860" y="222"/>
                    <a:pt x="857" y="225"/>
                  </a:cubicBezTo>
                  <a:cubicBezTo>
                    <a:pt x="856" y="226"/>
                    <a:pt x="855" y="235"/>
                    <a:pt x="854" y="237"/>
                  </a:cubicBezTo>
                  <a:cubicBezTo>
                    <a:pt x="854" y="240"/>
                    <a:pt x="854" y="244"/>
                    <a:pt x="855" y="247"/>
                  </a:cubicBezTo>
                  <a:cubicBezTo>
                    <a:pt x="856" y="252"/>
                    <a:pt x="860" y="255"/>
                    <a:pt x="858" y="260"/>
                  </a:cubicBezTo>
                  <a:cubicBezTo>
                    <a:pt x="853" y="262"/>
                    <a:pt x="853" y="255"/>
                    <a:pt x="851" y="253"/>
                  </a:cubicBezTo>
                  <a:cubicBezTo>
                    <a:pt x="847" y="256"/>
                    <a:pt x="846" y="261"/>
                    <a:pt x="844" y="265"/>
                  </a:cubicBezTo>
                  <a:cubicBezTo>
                    <a:pt x="843" y="268"/>
                    <a:pt x="841" y="270"/>
                    <a:pt x="839" y="273"/>
                  </a:cubicBezTo>
                  <a:cubicBezTo>
                    <a:pt x="839" y="268"/>
                    <a:pt x="839" y="263"/>
                    <a:pt x="839" y="257"/>
                  </a:cubicBezTo>
                  <a:cubicBezTo>
                    <a:pt x="840" y="252"/>
                    <a:pt x="844" y="251"/>
                    <a:pt x="844" y="246"/>
                  </a:cubicBezTo>
                  <a:cubicBezTo>
                    <a:pt x="845" y="241"/>
                    <a:pt x="840" y="240"/>
                    <a:pt x="839" y="236"/>
                  </a:cubicBezTo>
                  <a:cubicBezTo>
                    <a:pt x="837" y="232"/>
                    <a:pt x="837" y="227"/>
                    <a:pt x="838" y="223"/>
                  </a:cubicBezTo>
                  <a:cubicBezTo>
                    <a:pt x="839" y="219"/>
                    <a:pt x="842" y="214"/>
                    <a:pt x="842" y="210"/>
                  </a:cubicBezTo>
                  <a:cubicBezTo>
                    <a:pt x="842" y="205"/>
                    <a:pt x="837" y="205"/>
                    <a:pt x="833" y="205"/>
                  </a:cubicBezTo>
                  <a:cubicBezTo>
                    <a:pt x="830" y="205"/>
                    <a:pt x="827" y="204"/>
                    <a:pt x="825" y="206"/>
                  </a:cubicBezTo>
                  <a:cubicBezTo>
                    <a:pt x="823" y="208"/>
                    <a:pt x="825" y="211"/>
                    <a:pt x="824" y="214"/>
                  </a:cubicBezTo>
                  <a:cubicBezTo>
                    <a:pt x="822" y="223"/>
                    <a:pt x="815" y="231"/>
                    <a:pt x="815" y="241"/>
                  </a:cubicBezTo>
                  <a:cubicBezTo>
                    <a:pt x="815" y="245"/>
                    <a:pt x="815" y="249"/>
                    <a:pt x="814" y="253"/>
                  </a:cubicBezTo>
                  <a:cubicBezTo>
                    <a:pt x="813" y="256"/>
                    <a:pt x="811" y="260"/>
                    <a:pt x="811" y="263"/>
                  </a:cubicBezTo>
                  <a:cubicBezTo>
                    <a:pt x="806" y="259"/>
                    <a:pt x="804" y="249"/>
                    <a:pt x="807" y="243"/>
                  </a:cubicBezTo>
                  <a:cubicBezTo>
                    <a:pt x="808" y="240"/>
                    <a:pt x="809" y="240"/>
                    <a:pt x="809" y="237"/>
                  </a:cubicBezTo>
                  <a:cubicBezTo>
                    <a:pt x="809" y="235"/>
                    <a:pt x="811" y="231"/>
                    <a:pt x="810" y="229"/>
                  </a:cubicBezTo>
                  <a:cubicBezTo>
                    <a:pt x="809" y="223"/>
                    <a:pt x="798" y="231"/>
                    <a:pt x="794" y="233"/>
                  </a:cubicBezTo>
                  <a:cubicBezTo>
                    <a:pt x="791" y="234"/>
                    <a:pt x="790" y="235"/>
                    <a:pt x="787" y="235"/>
                  </a:cubicBezTo>
                  <a:cubicBezTo>
                    <a:pt x="783" y="235"/>
                    <a:pt x="781" y="234"/>
                    <a:pt x="779" y="236"/>
                  </a:cubicBezTo>
                  <a:cubicBezTo>
                    <a:pt x="779" y="237"/>
                    <a:pt x="779" y="239"/>
                    <a:pt x="779" y="240"/>
                  </a:cubicBezTo>
                  <a:cubicBezTo>
                    <a:pt x="778" y="241"/>
                    <a:pt x="776" y="241"/>
                    <a:pt x="774" y="242"/>
                  </a:cubicBezTo>
                  <a:cubicBezTo>
                    <a:pt x="772" y="243"/>
                    <a:pt x="771" y="243"/>
                    <a:pt x="770" y="245"/>
                  </a:cubicBezTo>
                  <a:cubicBezTo>
                    <a:pt x="767" y="250"/>
                    <a:pt x="767" y="257"/>
                    <a:pt x="770" y="262"/>
                  </a:cubicBezTo>
                  <a:cubicBezTo>
                    <a:pt x="773" y="267"/>
                    <a:pt x="773" y="269"/>
                    <a:pt x="773" y="274"/>
                  </a:cubicBezTo>
                  <a:cubicBezTo>
                    <a:pt x="774" y="281"/>
                    <a:pt x="774" y="286"/>
                    <a:pt x="781" y="287"/>
                  </a:cubicBezTo>
                  <a:cubicBezTo>
                    <a:pt x="783" y="287"/>
                    <a:pt x="787" y="286"/>
                    <a:pt x="788" y="287"/>
                  </a:cubicBezTo>
                  <a:cubicBezTo>
                    <a:pt x="791" y="288"/>
                    <a:pt x="793" y="294"/>
                    <a:pt x="795" y="297"/>
                  </a:cubicBezTo>
                  <a:cubicBezTo>
                    <a:pt x="798" y="301"/>
                    <a:pt x="800" y="304"/>
                    <a:pt x="795" y="306"/>
                  </a:cubicBezTo>
                  <a:cubicBezTo>
                    <a:pt x="793" y="307"/>
                    <a:pt x="790" y="309"/>
                    <a:pt x="789" y="307"/>
                  </a:cubicBezTo>
                  <a:cubicBezTo>
                    <a:pt x="787" y="306"/>
                    <a:pt x="786" y="298"/>
                    <a:pt x="784" y="296"/>
                  </a:cubicBezTo>
                  <a:cubicBezTo>
                    <a:pt x="783" y="292"/>
                    <a:pt x="783" y="291"/>
                    <a:pt x="779" y="290"/>
                  </a:cubicBezTo>
                  <a:cubicBezTo>
                    <a:pt x="777" y="290"/>
                    <a:pt x="776" y="291"/>
                    <a:pt x="774" y="290"/>
                  </a:cubicBezTo>
                  <a:cubicBezTo>
                    <a:pt x="773" y="289"/>
                    <a:pt x="771" y="286"/>
                    <a:pt x="770" y="285"/>
                  </a:cubicBezTo>
                  <a:cubicBezTo>
                    <a:pt x="767" y="283"/>
                    <a:pt x="765" y="280"/>
                    <a:pt x="763" y="276"/>
                  </a:cubicBezTo>
                  <a:cubicBezTo>
                    <a:pt x="763" y="274"/>
                    <a:pt x="764" y="272"/>
                    <a:pt x="763" y="270"/>
                  </a:cubicBezTo>
                  <a:cubicBezTo>
                    <a:pt x="762" y="265"/>
                    <a:pt x="752" y="262"/>
                    <a:pt x="749" y="267"/>
                  </a:cubicBezTo>
                  <a:cubicBezTo>
                    <a:pt x="745" y="273"/>
                    <a:pt x="752" y="279"/>
                    <a:pt x="754" y="283"/>
                  </a:cubicBezTo>
                  <a:cubicBezTo>
                    <a:pt x="755" y="287"/>
                    <a:pt x="756" y="291"/>
                    <a:pt x="755" y="295"/>
                  </a:cubicBezTo>
                  <a:cubicBezTo>
                    <a:pt x="745" y="298"/>
                    <a:pt x="745" y="286"/>
                    <a:pt x="740" y="281"/>
                  </a:cubicBezTo>
                  <a:cubicBezTo>
                    <a:pt x="733" y="273"/>
                    <a:pt x="732" y="283"/>
                    <a:pt x="732" y="289"/>
                  </a:cubicBezTo>
                  <a:cubicBezTo>
                    <a:pt x="730" y="289"/>
                    <a:pt x="727" y="288"/>
                    <a:pt x="725" y="289"/>
                  </a:cubicBezTo>
                  <a:cubicBezTo>
                    <a:pt x="724" y="290"/>
                    <a:pt x="723" y="293"/>
                    <a:pt x="723" y="294"/>
                  </a:cubicBezTo>
                  <a:cubicBezTo>
                    <a:pt x="721" y="294"/>
                    <a:pt x="720" y="285"/>
                    <a:pt x="719" y="282"/>
                  </a:cubicBezTo>
                  <a:cubicBezTo>
                    <a:pt x="718" y="280"/>
                    <a:pt x="715" y="272"/>
                    <a:pt x="713" y="277"/>
                  </a:cubicBezTo>
                  <a:cubicBezTo>
                    <a:pt x="713" y="271"/>
                    <a:pt x="709" y="266"/>
                    <a:pt x="703" y="264"/>
                  </a:cubicBezTo>
                  <a:cubicBezTo>
                    <a:pt x="697" y="261"/>
                    <a:pt x="699" y="266"/>
                    <a:pt x="697" y="269"/>
                  </a:cubicBezTo>
                  <a:cubicBezTo>
                    <a:pt x="695" y="269"/>
                    <a:pt x="692" y="267"/>
                    <a:pt x="690" y="267"/>
                  </a:cubicBezTo>
                  <a:cubicBezTo>
                    <a:pt x="687" y="268"/>
                    <a:pt x="688" y="271"/>
                    <a:pt x="687" y="272"/>
                  </a:cubicBezTo>
                  <a:cubicBezTo>
                    <a:pt x="684" y="276"/>
                    <a:pt x="680" y="274"/>
                    <a:pt x="679" y="280"/>
                  </a:cubicBezTo>
                  <a:cubicBezTo>
                    <a:pt x="681" y="280"/>
                    <a:pt x="684" y="279"/>
                    <a:pt x="687" y="280"/>
                  </a:cubicBezTo>
                  <a:cubicBezTo>
                    <a:pt x="686" y="281"/>
                    <a:pt x="687" y="282"/>
                    <a:pt x="687" y="283"/>
                  </a:cubicBezTo>
                  <a:cubicBezTo>
                    <a:pt x="689" y="283"/>
                    <a:pt x="690" y="283"/>
                    <a:pt x="690" y="284"/>
                  </a:cubicBezTo>
                  <a:cubicBezTo>
                    <a:pt x="686" y="287"/>
                    <a:pt x="674" y="284"/>
                    <a:pt x="671" y="289"/>
                  </a:cubicBezTo>
                  <a:cubicBezTo>
                    <a:pt x="670" y="290"/>
                    <a:pt x="671" y="294"/>
                    <a:pt x="671" y="296"/>
                  </a:cubicBezTo>
                  <a:cubicBezTo>
                    <a:pt x="671" y="299"/>
                    <a:pt x="673" y="302"/>
                    <a:pt x="672" y="304"/>
                  </a:cubicBezTo>
                  <a:cubicBezTo>
                    <a:pt x="672" y="306"/>
                    <a:pt x="672" y="305"/>
                    <a:pt x="671" y="306"/>
                  </a:cubicBezTo>
                  <a:cubicBezTo>
                    <a:pt x="670" y="306"/>
                    <a:pt x="669" y="307"/>
                    <a:pt x="668" y="307"/>
                  </a:cubicBezTo>
                  <a:cubicBezTo>
                    <a:pt x="667" y="308"/>
                    <a:pt x="667" y="308"/>
                    <a:pt x="667" y="309"/>
                  </a:cubicBezTo>
                  <a:cubicBezTo>
                    <a:pt x="664" y="312"/>
                    <a:pt x="665" y="311"/>
                    <a:pt x="664" y="315"/>
                  </a:cubicBezTo>
                  <a:cubicBezTo>
                    <a:pt x="664" y="319"/>
                    <a:pt x="662" y="325"/>
                    <a:pt x="660" y="327"/>
                  </a:cubicBezTo>
                  <a:cubicBezTo>
                    <a:pt x="658" y="329"/>
                    <a:pt x="653" y="333"/>
                    <a:pt x="658" y="336"/>
                  </a:cubicBezTo>
                  <a:cubicBezTo>
                    <a:pt x="659" y="337"/>
                    <a:pt x="661" y="336"/>
                    <a:pt x="663" y="337"/>
                  </a:cubicBezTo>
                  <a:cubicBezTo>
                    <a:pt x="665" y="338"/>
                    <a:pt x="666" y="341"/>
                    <a:pt x="668" y="343"/>
                  </a:cubicBezTo>
                  <a:cubicBezTo>
                    <a:pt x="672" y="342"/>
                    <a:pt x="674" y="337"/>
                    <a:pt x="676" y="334"/>
                  </a:cubicBezTo>
                  <a:cubicBezTo>
                    <a:pt x="678" y="331"/>
                    <a:pt x="681" y="329"/>
                    <a:pt x="684" y="327"/>
                  </a:cubicBezTo>
                  <a:cubicBezTo>
                    <a:pt x="686" y="327"/>
                    <a:pt x="687" y="325"/>
                    <a:pt x="689" y="326"/>
                  </a:cubicBezTo>
                  <a:cubicBezTo>
                    <a:pt x="690" y="326"/>
                    <a:pt x="690" y="328"/>
                    <a:pt x="691" y="328"/>
                  </a:cubicBezTo>
                  <a:cubicBezTo>
                    <a:pt x="693" y="328"/>
                    <a:pt x="694" y="329"/>
                    <a:pt x="694" y="326"/>
                  </a:cubicBezTo>
                  <a:cubicBezTo>
                    <a:pt x="697" y="325"/>
                    <a:pt x="699" y="326"/>
                    <a:pt x="701" y="325"/>
                  </a:cubicBezTo>
                  <a:cubicBezTo>
                    <a:pt x="702" y="325"/>
                    <a:pt x="703" y="324"/>
                    <a:pt x="704" y="324"/>
                  </a:cubicBezTo>
                  <a:cubicBezTo>
                    <a:pt x="705" y="323"/>
                    <a:pt x="707" y="324"/>
                    <a:pt x="708" y="323"/>
                  </a:cubicBezTo>
                  <a:cubicBezTo>
                    <a:pt x="712" y="322"/>
                    <a:pt x="723" y="306"/>
                    <a:pt x="726" y="318"/>
                  </a:cubicBezTo>
                  <a:cubicBezTo>
                    <a:pt x="728" y="325"/>
                    <a:pt x="714" y="323"/>
                    <a:pt x="709" y="325"/>
                  </a:cubicBezTo>
                  <a:cubicBezTo>
                    <a:pt x="706" y="326"/>
                    <a:pt x="703" y="328"/>
                    <a:pt x="702" y="331"/>
                  </a:cubicBezTo>
                  <a:cubicBezTo>
                    <a:pt x="701" y="334"/>
                    <a:pt x="702" y="336"/>
                    <a:pt x="701" y="339"/>
                  </a:cubicBezTo>
                  <a:cubicBezTo>
                    <a:pt x="698" y="343"/>
                    <a:pt x="692" y="342"/>
                    <a:pt x="692" y="348"/>
                  </a:cubicBezTo>
                  <a:cubicBezTo>
                    <a:pt x="692" y="351"/>
                    <a:pt x="694" y="352"/>
                    <a:pt x="692" y="355"/>
                  </a:cubicBezTo>
                  <a:cubicBezTo>
                    <a:pt x="691" y="355"/>
                    <a:pt x="688" y="355"/>
                    <a:pt x="687" y="356"/>
                  </a:cubicBezTo>
                  <a:cubicBezTo>
                    <a:pt x="685" y="357"/>
                    <a:pt x="687" y="359"/>
                    <a:pt x="684" y="360"/>
                  </a:cubicBezTo>
                  <a:cubicBezTo>
                    <a:pt x="682" y="361"/>
                    <a:pt x="677" y="359"/>
                    <a:pt x="675" y="361"/>
                  </a:cubicBezTo>
                  <a:cubicBezTo>
                    <a:pt x="674" y="361"/>
                    <a:pt x="671" y="365"/>
                    <a:pt x="671" y="366"/>
                  </a:cubicBezTo>
                  <a:cubicBezTo>
                    <a:pt x="669" y="368"/>
                    <a:pt x="669" y="370"/>
                    <a:pt x="667" y="372"/>
                  </a:cubicBezTo>
                  <a:cubicBezTo>
                    <a:pt x="665" y="376"/>
                    <a:pt x="663" y="376"/>
                    <a:pt x="660" y="378"/>
                  </a:cubicBezTo>
                  <a:cubicBezTo>
                    <a:pt x="666" y="383"/>
                    <a:pt x="668" y="375"/>
                    <a:pt x="671" y="372"/>
                  </a:cubicBezTo>
                  <a:cubicBezTo>
                    <a:pt x="673" y="370"/>
                    <a:pt x="677" y="371"/>
                    <a:pt x="680" y="370"/>
                  </a:cubicBezTo>
                  <a:cubicBezTo>
                    <a:pt x="680" y="369"/>
                    <a:pt x="681" y="368"/>
                    <a:pt x="682" y="368"/>
                  </a:cubicBezTo>
                  <a:cubicBezTo>
                    <a:pt x="683" y="368"/>
                    <a:pt x="685" y="368"/>
                    <a:pt x="687" y="368"/>
                  </a:cubicBezTo>
                  <a:cubicBezTo>
                    <a:pt x="690" y="367"/>
                    <a:pt x="691" y="365"/>
                    <a:pt x="694" y="364"/>
                  </a:cubicBezTo>
                  <a:cubicBezTo>
                    <a:pt x="696" y="363"/>
                    <a:pt x="700" y="362"/>
                    <a:pt x="702" y="366"/>
                  </a:cubicBezTo>
                  <a:cubicBezTo>
                    <a:pt x="703" y="372"/>
                    <a:pt x="690" y="375"/>
                    <a:pt x="686" y="377"/>
                  </a:cubicBezTo>
                  <a:cubicBezTo>
                    <a:pt x="680" y="380"/>
                    <a:pt x="683" y="382"/>
                    <a:pt x="682" y="387"/>
                  </a:cubicBezTo>
                  <a:cubicBezTo>
                    <a:pt x="681" y="388"/>
                    <a:pt x="678" y="392"/>
                    <a:pt x="676" y="393"/>
                  </a:cubicBezTo>
                  <a:cubicBezTo>
                    <a:pt x="672" y="396"/>
                    <a:pt x="665" y="396"/>
                    <a:pt x="660" y="396"/>
                  </a:cubicBezTo>
                  <a:cubicBezTo>
                    <a:pt x="659" y="396"/>
                    <a:pt x="654" y="395"/>
                    <a:pt x="652" y="397"/>
                  </a:cubicBezTo>
                  <a:cubicBezTo>
                    <a:pt x="651" y="398"/>
                    <a:pt x="652" y="400"/>
                    <a:pt x="651" y="402"/>
                  </a:cubicBezTo>
                  <a:cubicBezTo>
                    <a:pt x="650" y="406"/>
                    <a:pt x="645" y="410"/>
                    <a:pt x="641" y="408"/>
                  </a:cubicBezTo>
                  <a:cubicBezTo>
                    <a:pt x="634" y="404"/>
                    <a:pt x="639" y="389"/>
                    <a:pt x="639" y="383"/>
                  </a:cubicBezTo>
                  <a:cubicBezTo>
                    <a:pt x="639" y="379"/>
                    <a:pt x="639" y="376"/>
                    <a:pt x="636" y="373"/>
                  </a:cubicBezTo>
                  <a:cubicBezTo>
                    <a:pt x="634" y="371"/>
                    <a:pt x="629" y="366"/>
                    <a:pt x="625" y="368"/>
                  </a:cubicBezTo>
                  <a:cubicBezTo>
                    <a:pt x="624" y="369"/>
                    <a:pt x="623" y="373"/>
                    <a:pt x="622" y="374"/>
                  </a:cubicBezTo>
                  <a:cubicBezTo>
                    <a:pt x="621" y="377"/>
                    <a:pt x="618" y="380"/>
                    <a:pt x="617" y="383"/>
                  </a:cubicBezTo>
                  <a:cubicBezTo>
                    <a:pt x="616" y="385"/>
                    <a:pt x="617" y="390"/>
                    <a:pt x="613" y="390"/>
                  </a:cubicBezTo>
                  <a:cubicBezTo>
                    <a:pt x="612" y="388"/>
                    <a:pt x="611" y="384"/>
                    <a:pt x="611" y="382"/>
                  </a:cubicBezTo>
                  <a:cubicBezTo>
                    <a:pt x="611" y="380"/>
                    <a:pt x="612" y="377"/>
                    <a:pt x="611" y="376"/>
                  </a:cubicBezTo>
                  <a:cubicBezTo>
                    <a:pt x="610" y="374"/>
                    <a:pt x="608" y="375"/>
                    <a:pt x="608" y="374"/>
                  </a:cubicBezTo>
                  <a:cubicBezTo>
                    <a:pt x="606" y="373"/>
                    <a:pt x="606" y="372"/>
                    <a:pt x="606" y="369"/>
                  </a:cubicBezTo>
                  <a:cubicBezTo>
                    <a:pt x="606" y="365"/>
                    <a:pt x="607" y="359"/>
                    <a:pt x="603" y="356"/>
                  </a:cubicBezTo>
                  <a:cubicBezTo>
                    <a:pt x="600" y="354"/>
                    <a:pt x="597" y="356"/>
                    <a:pt x="594" y="355"/>
                  </a:cubicBezTo>
                  <a:cubicBezTo>
                    <a:pt x="594" y="352"/>
                    <a:pt x="597" y="348"/>
                    <a:pt x="598" y="346"/>
                  </a:cubicBezTo>
                  <a:cubicBezTo>
                    <a:pt x="599" y="345"/>
                    <a:pt x="601" y="343"/>
                    <a:pt x="601" y="342"/>
                  </a:cubicBezTo>
                  <a:cubicBezTo>
                    <a:pt x="602" y="341"/>
                    <a:pt x="601" y="340"/>
                    <a:pt x="602" y="339"/>
                  </a:cubicBezTo>
                  <a:cubicBezTo>
                    <a:pt x="603" y="337"/>
                    <a:pt x="607" y="336"/>
                    <a:pt x="608" y="335"/>
                  </a:cubicBezTo>
                  <a:cubicBezTo>
                    <a:pt x="610" y="333"/>
                    <a:pt x="611" y="331"/>
                    <a:pt x="612" y="328"/>
                  </a:cubicBezTo>
                  <a:cubicBezTo>
                    <a:pt x="614" y="326"/>
                    <a:pt x="615" y="325"/>
                    <a:pt x="616" y="322"/>
                  </a:cubicBezTo>
                  <a:cubicBezTo>
                    <a:pt x="619" y="318"/>
                    <a:pt x="618" y="316"/>
                    <a:pt x="618" y="311"/>
                  </a:cubicBezTo>
                  <a:cubicBezTo>
                    <a:pt x="619" y="308"/>
                    <a:pt x="622" y="303"/>
                    <a:pt x="620" y="300"/>
                  </a:cubicBezTo>
                  <a:cubicBezTo>
                    <a:pt x="618" y="298"/>
                    <a:pt x="612" y="299"/>
                    <a:pt x="610" y="300"/>
                  </a:cubicBezTo>
                  <a:cubicBezTo>
                    <a:pt x="608" y="301"/>
                    <a:pt x="607" y="304"/>
                    <a:pt x="605" y="305"/>
                  </a:cubicBezTo>
                  <a:cubicBezTo>
                    <a:pt x="604" y="307"/>
                    <a:pt x="604" y="306"/>
                    <a:pt x="603" y="309"/>
                  </a:cubicBezTo>
                  <a:cubicBezTo>
                    <a:pt x="603" y="310"/>
                    <a:pt x="604" y="312"/>
                    <a:pt x="604" y="313"/>
                  </a:cubicBezTo>
                  <a:cubicBezTo>
                    <a:pt x="603" y="316"/>
                    <a:pt x="599" y="317"/>
                    <a:pt x="597" y="318"/>
                  </a:cubicBezTo>
                  <a:cubicBezTo>
                    <a:pt x="595" y="321"/>
                    <a:pt x="592" y="323"/>
                    <a:pt x="590" y="326"/>
                  </a:cubicBezTo>
                  <a:cubicBezTo>
                    <a:pt x="584" y="334"/>
                    <a:pt x="581" y="343"/>
                    <a:pt x="581" y="353"/>
                  </a:cubicBezTo>
                  <a:cubicBezTo>
                    <a:pt x="582" y="355"/>
                    <a:pt x="581" y="358"/>
                    <a:pt x="581" y="361"/>
                  </a:cubicBezTo>
                  <a:cubicBezTo>
                    <a:pt x="582" y="364"/>
                    <a:pt x="580" y="369"/>
                    <a:pt x="581" y="372"/>
                  </a:cubicBezTo>
                  <a:cubicBezTo>
                    <a:pt x="590" y="372"/>
                    <a:pt x="579" y="377"/>
                    <a:pt x="578" y="381"/>
                  </a:cubicBezTo>
                  <a:cubicBezTo>
                    <a:pt x="576" y="384"/>
                    <a:pt x="582" y="394"/>
                    <a:pt x="575" y="395"/>
                  </a:cubicBezTo>
                  <a:cubicBezTo>
                    <a:pt x="572" y="392"/>
                    <a:pt x="574" y="389"/>
                    <a:pt x="573" y="387"/>
                  </a:cubicBezTo>
                  <a:cubicBezTo>
                    <a:pt x="573" y="387"/>
                    <a:pt x="571" y="384"/>
                    <a:pt x="572" y="385"/>
                  </a:cubicBezTo>
                  <a:cubicBezTo>
                    <a:pt x="571" y="383"/>
                    <a:pt x="571" y="381"/>
                    <a:pt x="571" y="378"/>
                  </a:cubicBezTo>
                  <a:cubicBezTo>
                    <a:pt x="571" y="376"/>
                    <a:pt x="571" y="373"/>
                    <a:pt x="571" y="371"/>
                  </a:cubicBezTo>
                  <a:cubicBezTo>
                    <a:pt x="571" y="368"/>
                    <a:pt x="570" y="366"/>
                    <a:pt x="570" y="363"/>
                  </a:cubicBezTo>
                  <a:cubicBezTo>
                    <a:pt x="569" y="363"/>
                    <a:pt x="568" y="363"/>
                    <a:pt x="567" y="364"/>
                  </a:cubicBezTo>
                  <a:cubicBezTo>
                    <a:pt x="566" y="361"/>
                    <a:pt x="566" y="358"/>
                    <a:pt x="564" y="355"/>
                  </a:cubicBezTo>
                  <a:cubicBezTo>
                    <a:pt x="563" y="354"/>
                    <a:pt x="562" y="349"/>
                    <a:pt x="561" y="348"/>
                  </a:cubicBezTo>
                  <a:cubicBezTo>
                    <a:pt x="555" y="343"/>
                    <a:pt x="554" y="359"/>
                    <a:pt x="554" y="362"/>
                  </a:cubicBezTo>
                  <a:cubicBezTo>
                    <a:pt x="554" y="365"/>
                    <a:pt x="554" y="366"/>
                    <a:pt x="555" y="368"/>
                  </a:cubicBezTo>
                  <a:cubicBezTo>
                    <a:pt x="555" y="370"/>
                    <a:pt x="556" y="370"/>
                    <a:pt x="556" y="372"/>
                  </a:cubicBezTo>
                  <a:cubicBezTo>
                    <a:pt x="553" y="372"/>
                    <a:pt x="551" y="372"/>
                    <a:pt x="549" y="372"/>
                  </a:cubicBezTo>
                  <a:cubicBezTo>
                    <a:pt x="548" y="374"/>
                    <a:pt x="549" y="377"/>
                    <a:pt x="548" y="379"/>
                  </a:cubicBezTo>
                  <a:cubicBezTo>
                    <a:pt x="546" y="377"/>
                    <a:pt x="544" y="372"/>
                    <a:pt x="541" y="372"/>
                  </a:cubicBezTo>
                  <a:cubicBezTo>
                    <a:pt x="537" y="372"/>
                    <a:pt x="535" y="377"/>
                    <a:pt x="534" y="379"/>
                  </a:cubicBezTo>
                  <a:cubicBezTo>
                    <a:pt x="532" y="382"/>
                    <a:pt x="531" y="384"/>
                    <a:pt x="529" y="387"/>
                  </a:cubicBezTo>
                  <a:cubicBezTo>
                    <a:pt x="528" y="389"/>
                    <a:pt x="527" y="390"/>
                    <a:pt x="525" y="393"/>
                  </a:cubicBezTo>
                  <a:cubicBezTo>
                    <a:pt x="525" y="395"/>
                    <a:pt x="522" y="398"/>
                    <a:pt x="522" y="400"/>
                  </a:cubicBezTo>
                  <a:cubicBezTo>
                    <a:pt x="521" y="403"/>
                    <a:pt x="522" y="407"/>
                    <a:pt x="525" y="408"/>
                  </a:cubicBezTo>
                  <a:cubicBezTo>
                    <a:pt x="529" y="409"/>
                    <a:pt x="532" y="403"/>
                    <a:pt x="534" y="400"/>
                  </a:cubicBezTo>
                  <a:cubicBezTo>
                    <a:pt x="537" y="396"/>
                    <a:pt x="537" y="397"/>
                    <a:pt x="542" y="397"/>
                  </a:cubicBezTo>
                  <a:cubicBezTo>
                    <a:pt x="545" y="397"/>
                    <a:pt x="547" y="395"/>
                    <a:pt x="549" y="396"/>
                  </a:cubicBezTo>
                  <a:cubicBezTo>
                    <a:pt x="550" y="398"/>
                    <a:pt x="548" y="399"/>
                    <a:pt x="548" y="401"/>
                  </a:cubicBezTo>
                  <a:cubicBezTo>
                    <a:pt x="547" y="404"/>
                    <a:pt x="548" y="406"/>
                    <a:pt x="546" y="408"/>
                  </a:cubicBezTo>
                  <a:cubicBezTo>
                    <a:pt x="544" y="409"/>
                    <a:pt x="542" y="408"/>
                    <a:pt x="539" y="409"/>
                  </a:cubicBezTo>
                  <a:cubicBezTo>
                    <a:pt x="536" y="410"/>
                    <a:pt x="535" y="414"/>
                    <a:pt x="536" y="417"/>
                  </a:cubicBezTo>
                  <a:cubicBezTo>
                    <a:pt x="538" y="426"/>
                    <a:pt x="549" y="428"/>
                    <a:pt x="556" y="425"/>
                  </a:cubicBezTo>
                  <a:cubicBezTo>
                    <a:pt x="559" y="424"/>
                    <a:pt x="560" y="423"/>
                    <a:pt x="559" y="420"/>
                  </a:cubicBezTo>
                  <a:cubicBezTo>
                    <a:pt x="558" y="417"/>
                    <a:pt x="555" y="416"/>
                    <a:pt x="559" y="413"/>
                  </a:cubicBezTo>
                  <a:cubicBezTo>
                    <a:pt x="560" y="412"/>
                    <a:pt x="562" y="412"/>
                    <a:pt x="564" y="410"/>
                  </a:cubicBezTo>
                  <a:cubicBezTo>
                    <a:pt x="566" y="409"/>
                    <a:pt x="567" y="407"/>
                    <a:pt x="569" y="405"/>
                  </a:cubicBezTo>
                  <a:cubicBezTo>
                    <a:pt x="570" y="404"/>
                    <a:pt x="572" y="403"/>
                    <a:pt x="574" y="402"/>
                  </a:cubicBezTo>
                  <a:cubicBezTo>
                    <a:pt x="575" y="401"/>
                    <a:pt x="580" y="400"/>
                    <a:pt x="581" y="400"/>
                  </a:cubicBezTo>
                  <a:cubicBezTo>
                    <a:pt x="585" y="403"/>
                    <a:pt x="576" y="408"/>
                    <a:pt x="575" y="410"/>
                  </a:cubicBezTo>
                  <a:cubicBezTo>
                    <a:pt x="571" y="414"/>
                    <a:pt x="571" y="418"/>
                    <a:pt x="566" y="421"/>
                  </a:cubicBezTo>
                  <a:cubicBezTo>
                    <a:pt x="569" y="426"/>
                    <a:pt x="570" y="427"/>
                    <a:pt x="565" y="430"/>
                  </a:cubicBezTo>
                  <a:cubicBezTo>
                    <a:pt x="559" y="432"/>
                    <a:pt x="554" y="430"/>
                    <a:pt x="549" y="432"/>
                  </a:cubicBezTo>
                  <a:cubicBezTo>
                    <a:pt x="544" y="433"/>
                    <a:pt x="542" y="434"/>
                    <a:pt x="537" y="434"/>
                  </a:cubicBezTo>
                  <a:cubicBezTo>
                    <a:pt x="534" y="434"/>
                    <a:pt x="530" y="433"/>
                    <a:pt x="528" y="435"/>
                  </a:cubicBezTo>
                  <a:cubicBezTo>
                    <a:pt x="525" y="438"/>
                    <a:pt x="527" y="443"/>
                    <a:pt x="520" y="444"/>
                  </a:cubicBezTo>
                  <a:cubicBezTo>
                    <a:pt x="514" y="444"/>
                    <a:pt x="508" y="440"/>
                    <a:pt x="503" y="443"/>
                  </a:cubicBezTo>
                  <a:cubicBezTo>
                    <a:pt x="502" y="444"/>
                    <a:pt x="502" y="445"/>
                    <a:pt x="500" y="446"/>
                  </a:cubicBezTo>
                  <a:cubicBezTo>
                    <a:pt x="499" y="446"/>
                    <a:pt x="498" y="446"/>
                    <a:pt x="498" y="446"/>
                  </a:cubicBezTo>
                  <a:cubicBezTo>
                    <a:pt x="496" y="446"/>
                    <a:pt x="495" y="447"/>
                    <a:pt x="495" y="448"/>
                  </a:cubicBezTo>
                  <a:cubicBezTo>
                    <a:pt x="493" y="449"/>
                    <a:pt x="489" y="449"/>
                    <a:pt x="487" y="450"/>
                  </a:cubicBezTo>
                  <a:cubicBezTo>
                    <a:pt x="484" y="452"/>
                    <a:pt x="480" y="457"/>
                    <a:pt x="478" y="460"/>
                  </a:cubicBezTo>
                  <a:cubicBezTo>
                    <a:pt x="474" y="463"/>
                    <a:pt x="476" y="467"/>
                    <a:pt x="476" y="472"/>
                  </a:cubicBezTo>
                  <a:cubicBezTo>
                    <a:pt x="473" y="472"/>
                    <a:pt x="469" y="470"/>
                    <a:pt x="467" y="471"/>
                  </a:cubicBezTo>
                  <a:cubicBezTo>
                    <a:pt x="466" y="472"/>
                    <a:pt x="462" y="476"/>
                    <a:pt x="462" y="478"/>
                  </a:cubicBezTo>
                  <a:cubicBezTo>
                    <a:pt x="460" y="481"/>
                    <a:pt x="461" y="482"/>
                    <a:pt x="457" y="484"/>
                  </a:cubicBezTo>
                  <a:cubicBezTo>
                    <a:pt x="454" y="486"/>
                    <a:pt x="451" y="486"/>
                    <a:pt x="447" y="487"/>
                  </a:cubicBezTo>
                  <a:cubicBezTo>
                    <a:pt x="447" y="489"/>
                    <a:pt x="448" y="491"/>
                    <a:pt x="447" y="493"/>
                  </a:cubicBezTo>
                  <a:cubicBezTo>
                    <a:pt x="447" y="495"/>
                    <a:pt x="447" y="497"/>
                    <a:pt x="446" y="499"/>
                  </a:cubicBezTo>
                  <a:cubicBezTo>
                    <a:pt x="445" y="501"/>
                    <a:pt x="444" y="501"/>
                    <a:pt x="443" y="502"/>
                  </a:cubicBezTo>
                  <a:cubicBezTo>
                    <a:pt x="440" y="505"/>
                    <a:pt x="441" y="511"/>
                    <a:pt x="441" y="515"/>
                  </a:cubicBezTo>
                  <a:cubicBezTo>
                    <a:pt x="444" y="516"/>
                    <a:pt x="453" y="512"/>
                    <a:pt x="455" y="509"/>
                  </a:cubicBezTo>
                  <a:cubicBezTo>
                    <a:pt x="456" y="507"/>
                    <a:pt x="457" y="504"/>
                    <a:pt x="458" y="501"/>
                  </a:cubicBezTo>
                  <a:cubicBezTo>
                    <a:pt x="459" y="500"/>
                    <a:pt x="461" y="498"/>
                    <a:pt x="462" y="497"/>
                  </a:cubicBezTo>
                  <a:cubicBezTo>
                    <a:pt x="464" y="498"/>
                    <a:pt x="464" y="499"/>
                    <a:pt x="467" y="498"/>
                  </a:cubicBezTo>
                  <a:cubicBezTo>
                    <a:pt x="470" y="497"/>
                    <a:pt x="469" y="495"/>
                    <a:pt x="470" y="494"/>
                  </a:cubicBezTo>
                  <a:cubicBezTo>
                    <a:pt x="471" y="492"/>
                    <a:pt x="476" y="491"/>
                    <a:pt x="475" y="488"/>
                  </a:cubicBezTo>
                  <a:cubicBezTo>
                    <a:pt x="478" y="487"/>
                    <a:pt x="488" y="490"/>
                    <a:pt x="489" y="484"/>
                  </a:cubicBezTo>
                  <a:cubicBezTo>
                    <a:pt x="492" y="484"/>
                    <a:pt x="493" y="485"/>
                    <a:pt x="495" y="483"/>
                  </a:cubicBezTo>
                  <a:cubicBezTo>
                    <a:pt x="498" y="481"/>
                    <a:pt x="498" y="474"/>
                    <a:pt x="501" y="472"/>
                  </a:cubicBezTo>
                  <a:cubicBezTo>
                    <a:pt x="504" y="470"/>
                    <a:pt x="509" y="471"/>
                    <a:pt x="510" y="467"/>
                  </a:cubicBezTo>
                  <a:cubicBezTo>
                    <a:pt x="510" y="467"/>
                    <a:pt x="510" y="465"/>
                    <a:pt x="510" y="464"/>
                  </a:cubicBezTo>
                  <a:cubicBezTo>
                    <a:pt x="511" y="466"/>
                    <a:pt x="511" y="467"/>
                    <a:pt x="510" y="467"/>
                  </a:cubicBezTo>
                  <a:cubicBezTo>
                    <a:pt x="512" y="471"/>
                    <a:pt x="521" y="470"/>
                    <a:pt x="524" y="469"/>
                  </a:cubicBezTo>
                  <a:cubicBezTo>
                    <a:pt x="530" y="468"/>
                    <a:pt x="531" y="465"/>
                    <a:pt x="535" y="461"/>
                  </a:cubicBezTo>
                  <a:cubicBezTo>
                    <a:pt x="536" y="459"/>
                    <a:pt x="538" y="455"/>
                    <a:pt x="541" y="454"/>
                  </a:cubicBezTo>
                  <a:cubicBezTo>
                    <a:pt x="542" y="456"/>
                    <a:pt x="543" y="458"/>
                    <a:pt x="543" y="460"/>
                  </a:cubicBezTo>
                  <a:cubicBezTo>
                    <a:pt x="545" y="460"/>
                    <a:pt x="546" y="460"/>
                    <a:pt x="548" y="460"/>
                  </a:cubicBezTo>
                  <a:cubicBezTo>
                    <a:pt x="553" y="459"/>
                    <a:pt x="553" y="453"/>
                    <a:pt x="557" y="451"/>
                  </a:cubicBezTo>
                  <a:cubicBezTo>
                    <a:pt x="558" y="450"/>
                    <a:pt x="559" y="449"/>
                    <a:pt x="560" y="449"/>
                  </a:cubicBezTo>
                  <a:cubicBezTo>
                    <a:pt x="561" y="450"/>
                    <a:pt x="561" y="450"/>
                    <a:pt x="562" y="450"/>
                  </a:cubicBezTo>
                  <a:cubicBezTo>
                    <a:pt x="564" y="449"/>
                    <a:pt x="564" y="446"/>
                    <a:pt x="565" y="445"/>
                  </a:cubicBezTo>
                  <a:cubicBezTo>
                    <a:pt x="567" y="444"/>
                    <a:pt x="567" y="447"/>
                    <a:pt x="569" y="446"/>
                  </a:cubicBezTo>
                  <a:cubicBezTo>
                    <a:pt x="571" y="446"/>
                    <a:pt x="576" y="442"/>
                    <a:pt x="578" y="441"/>
                  </a:cubicBezTo>
                  <a:cubicBezTo>
                    <a:pt x="580" y="439"/>
                    <a:pt x="584" y="437"/>
                    <a:pt x="586" y="435"/>
                  </a:cubicBezTo>
                  <a:cubicBezTo>
                    <a:pt x="590" y="440"/>
                    <a:pt x="586" y="447"/>
                    <a:pt x="596" y="445"/>
                  </a:cubicBezTo>
                  <a:cubicBezTo>
                    <a:pt x="600" y="444"/>
                    <a:pt x="603" y="440"/>
                    <a:pt x="606" y="437"/>
                  </a:cubicBezTo>
                  <a:cubicBezTo>
                    <a:pt x="609" y="435"/>
                    <a:pt x="610" y="434"/>
                    <a:pt x="612" y="431"/>
                  </a:cubicBezTo>
                  <a:cubicBezTo>
                    <a:pt x="616" y="434"/>
                    <a:pt x="623" y="422"/>
                    <a:pt x="625" y="419"/>
                  </a:cubicBezTo>
                  <a:cubicBezTo>
                    <a:pt x="625" y="420"/>
                    <a:pt x="625" y="423"/>
                    <a:pt x="625" y="424"/>
                  </a:cubicBezTo>
                  <a:cubicBezTo>
                    <a:pt x="624" y="426"/>
                    <a:pt x="621" y="427"/>
                    <a:pt x="621" y="429"/>
                  </a:cubicBezTo>
                  <a:cubicBezTo>
                    <a:pt x="621" y="435"/>
                    <a:pt x="631" y="436"/>
                    <a:pt x="636" y="435"/>
                  </a:cubicBezTo>
                  <a:cubicBezTo>
                    <a:pt x="642" y="433"/>
                    <a:pt x="647" y="430"/>
                    <a:pt x="653" y="429"/>
                  </a:cubicBezTo>
                  <a:cubicBezTo>
                    <a:pt x="660" y="427"/>
                    <a:pt x="667" y="425"/>
                    <a:pt x="674" y="422"/>
                  </a:cubicBezTo>
                  <a:cubicBezTo>
                    <a:pt x="675" y="425"/>
                    <a:pt x="674" y="428"/>
                    <a:pt x="670" y="428"/>
                  </a:cubicBezTo>
                  <a:cubicBezTo>
                    <a:pt x="669" y="432"/>
                    <a:pt x="674" y="436"/>
                    <a:pt x="669" y="439"/>
                  </a:cubicBezTo>
                  <a:cubicBezTo>
                    <a:pt x="665" y="441"/>
                    <a:pt x="653" y="440"/>
                    <a:pt x="652" y="435"/>
                  </a:cubicBezTo>
                  <a:cubicBezTo>
                    <a:pt x="651" y="435"/>
                    <a:pt x="649" y="435"/>
                    <a:pt x="648" y="435"/>
                  </a:cubicBezTo>
                  <a:cubicBezTo>
                    <a:pt x="645" y="435"/>
                    <a:pt x="644" y="436"/>
                    <a:pt x="642" y="437"/>
                  </a:cubicBezTo>
                  <a:cubicBezTo>
                    <a:pt x="640" y="437"/>
                    <a:pt x="639" y="437"/>
                    <a:pt x="637" y="437"/>
                  </a:cubicBezTo>
                  <a:cubicBezTo>
                    <a:pt x="634" y="437"/>
                    <a:pt x="633" y="439"/>
                    <a:pt x="630" y="440"/>
                  </a:cubicBezTo>
                  <a:cubicBezTo>
                    <a:pt x="627" y="441"/>
                    <a:pt x="622" y="443"/>
                    <a:pt x="624" y="447"/>
                  </a:cubicBezTo>
                  <a:cubicBezTo>
                    <a:pt x="626" y="451"/>
                    <a:pt x="634" y="452"/>
                    <a:pt x="638" y="452"/>
                  </a:cubicBezTo>
                  <a:cubicBezTo>
                    <a:pt x="639" y="455"/>
                    <a:pt x="638" y="455"/>
                    <a:pt x="637" y="457"/>
                  </a:cubicBezTo>
                  <a:cubicBezTo>
                    <a:pt x="635" y="460"/>
                    <a:pt x="633" y="459"/>
                    <a:pt x="631" y="461"/>
                  </a:cubicBezTo>
                  <a:cubicBezTo>
                    <a:pt x="630" y="457"/>
                    <a:pt x="626" y="453"/>
                    <a:pt x="622" y="451"/>
                  </a:cubicBezTo>
                  <a:cubicBezTo>
                    <a:pt x="622" y="453"/>
                    <a:pt x="622" y="454"/>
                    <a:pt x="622" y="455"/>
                  </a:cubicBezTo>
                  <a:cubicBezTo>
                    <a:pt x="622" y="458"/>
                    <a:pt x="623" y="458"/>
                    <a:pt x="624" y="460"/>
                  </a:cubicBezTo>
                  <a:cubicBezTo>
                    <a:pt x="625" y="463"/>
                    <a:pt x="625" y="466"/>
                    <a:pt x="625" y="469"/>
                  </a:cubicBezTo>
                  <a:cubicBezTo>
                    <a:pt x="624" y="473"/>
                    <a:pt x="623" y="480"/>
                    <a:pt x="618" y="482"/>
                  </a:cubicBezTo>
                  <a:cubicBezTo>
                    <a:pt x="619" y="476"/>
                    <a:pt x="620" y="470"/>
                    <a:pt x="616" y="465"/>
                  </a:cubicBezTo>
                  <a:cubicBezTo>
                    <a:pt x="615" y="465"/>
                    <a:pt x="613" y="460"/>
                    <a:pt x="612" y="460"/>
                  </a:cubicBezTo>
                  <a:cubicBezTo>
                    <a:pt x="609" y="461"/>
                    <a:pt x="609" y="466"/>
                    <a:pt x="609" y="468"/>
                  </a:cubicBezTo>
                  <a:cubicBezTo>
                    <a:pt x="609" y="470"/>
                    <a:pt x="609" y="471"/>
                    <a:pt x="608" y="473"/>
                  </a:cubicBezTo>
                  <a:cubicBezTo>
                    <a:pt x="606" y="474"/>
                    <a:pt x="604" y="474"/>
                    <a:pt x="603" y="475"/>
                  </a:cubicBezTo>
                  <a:cubicBezTo>
                    <a:pt x="601" y="476"/>
                    <a:pt x="601" y="477"/>
                    <a:pt x="600" y="478"/>
                  </a:cubicBezTo>
                  <a:cubicBezTo>
                    <a:pt x="597" y="481"/>
                    <a:pt x="593" y="485"/>
                    <a:pt x="588" y="484"/>
                  </a:cubicBezTo>
                  <a:cubicBezTo>
                    <a:pt x="588" y="482"/>
                    <a:pt x="588" y="480"/>
                    <a:pt x="588" y="479"/>
                  </a:cubicBezTo>
                  <a:cubicBezTo>
                    <a:pt x="589" y="479"/>
                    <a:pt x="590" y="479"/>
                    <a:pt x="591" y="478"/>
                  </a:cubicBezTo>
                  <a:cubicBezTo>
                    <a:pt x="593" y="473"/>
                    <a:pt x="587" y="472"/>
                    <a:pt x="583" y="474"/>
                  </a:cubicBezTo>
                  <a:cubicBezTo>
                    <a:pt x="580" y="475"/>
                    <a:pt x="579" y="476"/>
                    <a:pt x="578" y="478"/>
                  </a:cubicBezTo>
                  <a:cubicBezTo>
                    <a:pt x="575" y="481"/>
                    <a:pt x="575" y="481"/>
                    <a:pt x="575" y="485"/>
                  </a:cubicBezTo>
                  <a:cubicBezTo>
                    <a:pt x="575" y="488"/>
                    <a:pt x="574" y="490"/>
                    <a:pt x="577" y="491"/>
                  </a:cubicBezTo>
                  <a:cubicBezTo>
                    <a:pt x="580" y="492"/>
                    <a:pt x="586" y="490"/>
                    <a:pt x="589" y="492"/>
                  </a:cubicBezTo>
                  <a:cubicBezTo>
                    <a:pt x="592" y="493"/>
                    <a:pt x="591" y="499"/>
                    <a:pt x="591" y="502"/>
                  </a:cubicBezTo>
                  <a:cubicBezTo>
                    <a:pt x="587" y="503"/>
                    <a:pt x="582" y="504"/>
                    <a:pt x="578" y="503"/>
                  </a:cubicBezTo>
                  <a:cubicBezTo>
                    <a:pt x="576" y="503"/>
                    <a:pt x="575" y="503"/>
                    <a:pt x="574" y="503"/>
                  </a:cubicBezTo>
                  <a:cubicBezTo>
                    <a:pt x="573" y="503"/>
                    <a:pt x="572" y="502"/>
                    <a:pt x="571" y="501"/>
                  </a:cubicBezTo>
                  <a:cubicBezTo>
                    <a:pt x="571" y="501"/>
                    <a:pt x="571" y="500"/>
                    <a:pt x="570" y="499"/>
                  </a:cubicBezTo>
                  <a:cubicBezTo>
                    <a:pt x="562" y="495"/>
                    <a:pt x="558" y="502"/>
                    <a:pt x="555" y="509"/>
                  </a:cubicBezTo>
                  <a:cubicBezTo>
                    <a:pt x="553" y="513"/>
                    <a:pt x="547" y="517"/>
                    <a:pt x="547" y="522"/>
                  </a:cubicBezTo>
                  <a:cubicBezTo>
                    <a:pt x="548" y="529"/>
                    <a:pt x="556" y="525"/>
                    <a:pt x="557" y="529"/>
                  </a:cubicBezTo>
                  <a:cubicBezTo>
                    <a:pt x="558" y="533"/>
                    <a:pt x="553" y="534"/>
                    <a:pt x="551" y="537"/>
                  </a:cubicBezTo>
                  <a:cubicBezTo>
                    <a:pt x="549" y="539"/>
                    <a:pt x="547" y="545"/>
                    <a:pt x="548" y="548"/>
                  </a:cubicBezTo>
                  <a:cubicBezTo>
                    <a:pt x="554" y="550"/>
                    <a:pt x="563" y="543"/>
                    <a:pt x="567" y="539"/>
                  </a:cubicBezTo>
                  <a:cubicBezTo>
                    <a:pt x="569" y="537"/>
                    <a:pt x="569" y="537"/>
                    <a:pt x="571" y="535"/>
                  </a:cubicBezTo>
                  <a:cubicBezTo>
                    <a:pt x="573" y="531"/>
                    <a:pt x="576" y="527"/>
                    <a:pt x="579" y="523"/>
                  </a:cubicBezTo>
                  <a:cubicBezTo>
                    <a:pt x="582" y="528"/>
                    <a:pt x="580" y="532"/>
                    <a:pt x="579" y="536"/>
                  </a:cubicBezTo>
                  <a:cubicBezTo>
                    <a:pt x="578" y="541"/>
                    <a:pt x="578" y="542"/>
                    <a:pt x="573" y="544"/>
                  </a:cubicBezTo>
                  <a:cubicBezTo>
                    <a:pt x="571" y="546"/>
                    <a:pt x="567" y="546"/>
                    <a:pt x="566" y="549"/>
                  </a:cubicBezTo>
                  <a:cubicBezTo>
                    <a:pt x="566" y="552"/>
                    <a:pt x="566" y="556"/>
                    <a:pt x="568" y="557"/>
                  </a:cubicBezTo>
                  <a:cubicBezTo>
                    <a:pt x="566" y="558"/>
                    <a:pt x="563" y="556"/>
                    <a:pt x="561" y="556"/>
                  </a:cubicBezTo>
                  <a:cubicBezTo>
                    <a:pt x="558" y="556"/>
                    <a:pt x="554" y="555"/>
                    <a:pt x="552" y="556"/>
                  </a:cubicBezTo>
                  <a:cubicBezTo>
                    <a:pt x="548" y="557"/>
                    <a:pt x="546" y="560"/>
                    <a:pt x="543" y="563"/>
                  </a:cubicBezTo>
                  <a:cubicBezTo>
                    <a:pt x="541" y="565"/>
                    <a:pt x="538" y="566"/>
                    <a:pt x="535" y="568"/>
                  </a:cubicBezTo>
                  <a:cubicBezTo>
                    <a:pt x="533" y="569"/>
                    <a:pt x="525" y="573"/>
                    <a:pt x="525" y="577"/>
                  </a:cubicBezTo>
                  <a:cubicBezTo>
                    <a:pt x="525" y="581"/>
                    <a:pt x="531" y="582"/>
                    <a:pt x="531" y="584"/>
                  </a:cubicBezTo>
                  <a:cubicBezTo>
                    <a:pt x="533" y="588"/>
                    <a:pt x="529" y="585"/>
                    <a:pt x="527" y="587"/>
                  </a:cubicBezTo>
                  <a:cubicBezTo>
                    <a:pt x="524" y="588"/>
                    <a:pt x="526" y="590"/>
                    <a:pt x="525" y="591"/>
                  </a:cubicBezTo>
                  <a:cubicBezTo>
                    <a:pt x="523" y="592"/>
                    <a:pt x="523" y="592"/>
                    <a:pt x="522" y="593"/>
                  </a:cubicBezTo>
                  <a:cubicBezTo>
                    <a:pt x="518" y="596"/>
                    <a:pt x="516" y="600"/>
                    <a:pt x="516" y="605"/>
                  </a:cubicBezTo>
                  <a:cubicBezTo>
                    <a:pt x="520" y="606"/>
                    <a:pt x="524" y="603"/>
                    <a:pt x="528" y="602"/>
                  </a:cubicBezTo>
                  <a:cubicBezTo>
                    <a:pt x="533" y="600"/>
                    <a:pt x="540" y="599"/>
                    <a:pt x="546" y="600"/>
                  </a:cubicBezTo>
                  <a:cubicBezTo>
                    <a:pt x="548" y="600"/>
                    <a:pt x="550" y="601"/>
                    <a:pt x="552" y="601"/>
                  </a:cubicBezTo>
                  <a:cubicBezTo>
                    <a:pt x="555" y="601"/>
                    <a:pt x="558" y="601"/>
                    <a:pt x="559" y="604"/>
                  </a:cubicBezTo>
                  <a:cubicBezTo>
                    <a:pt x="559" y="604"/>
                    <a:pt x="559" y="605"/>
                    <a:pt x="559" y="605"/>
                  </a:cubicBezTo>
                  <a:cubicBezTo>
                    <a:pt x="558" y="605"/>
                    <a:pt x="558" y="606"/>
                    <a:pt x="558" y="607"/>
                  </a:cubicBezTo>
                  <a:cubicBezTo>
                    <a:pt x="556" y="608"/>
                    <a:pt x="551" y="607"/>
                    <a:pt x="548" y="607"/>
                  </a:cubicBezTo>
                  <a:cubicBezTo>
                    <a:pt x="542" y="607"/>
                    <a:pt x="528" y="605"/>
                    <a:pt x="523" y="610"/>
                  </a:cubicBezTo>
                  <a:cubicBezTo>
                    <a:pt x="518" y="613"/>
                    <a:pt x="519" y="622"/>
                    <a:pt x="516" y="627"/>
                  </a:cubicBezTo>
                  <a:cubicBezTo>
                    <a:pt x="513" y="623"/>
                    <a:pt x="515" y="615"/>
                    <a:pt x="509" y="614"/>
                  </a:cubicBezTo>
                  <a:cubicBezTo>
                    <a:pt x="505" y="612"/>
                    <a:pt x="503" y="617"/>
                    <a:pt x="503" y="620"/>
                  </a:cubicBezTo>
                  <a:cubicBezTo>
                    <a:pt x="502" y="626"/>
                    <a:pt x="503" y="625"/>
                    <a:pt x="499" y="629"/>
                  </a:cubicBezTo>
                  <a:cubicBezTo>
                    <a:pt x="495" y="632"/>
                    <a:pt x="496" y="634"/>
                    <a:pt x="495" y="639"/>
                  </a:cubicBezTo>
                  <a:cubicBezTo>
                    <a:pt x="493" y="640"/>
                    <a:pt x="491" y="642"/>
                    <a:pt x="488" y="643"/>
                  </a:cubicBezTo>
                  <a:cubicBezTo>
                    <a:pt x="486" y="644"/>
                    <a:pt x="484" y="643"/>
                    <a:pt x="482" y="644"/>
                  </a:cubicBezTo>
                  <a:cubicBezTo>
                    <a:pt x="477" y="646"/>
                    <a:pt x="482" y="647"/>
                    <a:pt x="483" y="650"/>
                  </a:cubicBezTo>
                  <a:cubicBezTo>
                    <a:pt x="484" y="652"/>
                    <a:pt x="483" y="653"/>
                    <a:pt x="484" y="655"/>
                  </a:cubicBezTo>
                  <a:cubicBezTo>
                    <a:pt x="484" y="656"/>
                    <a:pt x="486" y="657"/>
                    <a:pt x="487" y="657"/>
                  </a:cubicBezTo>
                  <a:cubicBezTo>
                    <a:pt x="490" y="659"/>
                    <a:pt x="495" y="661"/>
                    <a:pt x="497" y="665"/>
                  </a:cubicBezTo>
                  <a:cubicBezTo>
                    <a:pt x="489" y="666"/>
                    <a:pt x="480" y="664"/>
                    <a:pt x="473" y="666"/>
                  </a:cubicBezTo>
                  <a:cubicBezTo>
                    <a:pt x="469" y="667"/>
                    <a:pt x="468" y="667"/>
                    <a:pt x="467" y="670"/>
                  </a:cubicBezTo>
                  <a:cubicBezTo>
                    <a:pt x="466" y="673"/>
                    <a:pt x="466" y="674"/>
                    <a:pt x="467" y="676"/>
                  </a:cubicBezTo>
                  <a:cubicBezTo>
                    <a:pt x="467" y="677"/>
                    <a:pt x="469" y="676"/>
                    <a:pt x="468" y="679"/>
                  </a:cubicBezTo>
                  <a:cubicBezTo>
                    <a:pt x="465" y="679"/>
                    <a:pt x="465" y="680"/>
                    <a:pt x="464" y="682"/>
                  </a:cubicBezTo>
                  <a:cubicBezTo>
                    <a:pt x="462" y="683"/>
                    <a:pt x="456" y="684"/>
                    <a:pt x="455" y="687"/>
                  </a:cubicBezTo>
                  <a:cubicBezTo>
                    <a:pt x="454" y="689"/>
                    <a:pt x="455" y="690"/>
                    <a:pt x="456" y="691"/>
                  </a:cubicBezTo>
                  <a:cubicBezTo>
                    <a:pt x="457" y="694"/>
                    <a:pt x="457" y="695"/>
                    <a:pt x="458" y="699"/>
                  </a:cubicBezTo>
                  <a:cubicBezTo>
                    <a:pt x="461" y="699"/>
                    <a:pt x="465" y="699"/>
                    <a:pt x="468" y="699"/>
                  </a:cubicBezTo>
                  <a:cubicBezTo>
                    <a:pt x="472" y="698"/>
                    <a:pt x="476" y="696"/>
                    <a:pt x="476" y="702"/>
                  </a:cubicBezTo>
                  <a:cubicBezTo>
                    <a:pt x="475" y="705"/>
                    <a:pt x="471" y="706"/>
                    <a:pt x="470" y="708"/>
                  </a:cubicBezTo>
                  <a:cubicBezTo>
                    <a:pt x="467" y="711"/>
                    <a:pt x="466" y="714"/>
                    <a:pt x="462" y="713"/>
                  </a:cubicBezTo>
                  <a:cubicBezTo>
                    <a:pt x="460" y="709"/>
                    <a:pt x="462" y="705"/>
                    <a:pt x="457" y="702"/>
                  </a:cubicBezTo>
                  <a:cubicBezTo>
                    <a:pt x="452" y="699"/>
                    <a:pt x="446" y="701"/>
                    <a:pt x="446" y="706"/>
                  </a:cubicBezTo>
                  <a:cubicBezTo>
                    <a:pt x="446" y="708"/>
                    <a:pt x="448" y="710"/>
                    <a:pt x="447" y="712"/>
                  </a:cubicBezTo>
                  <a:cubicBezTo>
                    <a:pt x="447" y="715"/>
                    <a:pt x="446" y="717"/>
                    <a:pt x="447" y="720"/>
                  </a:cubicBezTo>
                  <a:cubicBezTo>
                    <a:pt x="447" y="723"/>
                    <a:pt x="447" y="724"/>
                    <a:pt x="451" y="726"/>
                  </a:cubicBezTo>
                  <a:cubicBezTo>
                    <a:pt x="455" y="728"/>
                    <a:pt x="460" y="727"/>
                    <a:pt x="465" y="728"/>
                  </a:cubicBezTo>
                  <a:cubicBezTo>
                    <a:pt x="463" y="730"/>
                    <a:pt x="459" y="731"/>
                    <a:pt x="456" y="732"/>
                  </a:cubicBezTo>
                  <a:cubicBezTo>
                    <a:pt x="455" y="733"/>
                    <a:pt x="454" y="736"/>
                    <a:pt x="453" y="737"/>
                  </a:cubicBezTo>
                  <a:cubicBezTo>
                    <a:pt x="452" y="739"/>
                    <a:pt x="450" y="740"/>
                    <a:pt x="447" y="740"/>
                  </a:cubicBezTo>
                  <a:cubicBezTo>
                    <a:pt x="443" y="741"/>
                    <a:pt x="442" y="740"/>
                    <a:pt x="438" y="744"/>
                  </a:cubicBezTo>
                  <a:cubicBezTo>
                    <a:pt x="436" y="747"/>
                    <a:pt x="436" y="745"/>
                    <a:pt x="436" y="749"/>
                  </a:cubicBezTo>
                  <a:cubicBezTo>
                    <a:pt x="436" y="750"/>
                    <a:pt x="436" y="752"/>
                    <a:pt x="436" y="754"/>
                  </a:cubicBezTo>
                  <a:cubicBezTo>
                    <a:pt x="436" y="761"/>
                    <a:pt x="429" y="758"/>
                    <a:pt x="427" y="763"/>
                  </a:cubicBezTo>
                  <a:cubicBezTo>
                    <a:pt x="426" y="765"/>
                    <a:pt x="427" y="767"/>
                    <a:pt x="426" y="769"/>
                  </a:cubicBezTo>
                  <a:cubicBezTo>
                    <a:pt x="425" y="770"/>
                    <a:pt x="423" y="771"/>
                    <a:pt x="422" y="773"/>
                  </a:cubicBezTo>
                  <a:cubicBezTo>
                    <a:pt x="422" y="774"/>
                    <a:pt x="422" y="775"/>
                    <a:pt x="421" y="776"/>
                  </a:cubicBezTo>
                  <a:cubicBezTo>
                    <a:pt x="420" y="778"/>
                    <a:pt x="417" y="778"/>
                    <a:pt x="417" y="779"/>
                  </a:cubicBezTo>
                  <a:cubicBezTo>
                    <a:pt x="416" y="781"/>
                    <a:pt x="416" y="783"/>
                    <a:pt x="416" y="785"/>
                  </a:cubicBezTo>
                  <a:cubicBezTo>
                    <a:pt x="416" y="787"/>
                    <a:pt x="415" y="789"/>
                    <a:pt x="418" y="790"/>
                  </a:cubicBezTo>
                  <a:cubicBezTo>
                    <a:pt x="421" y="790"/>
                    <a:pt x="421" y="787"/>
                    <a:pt x="422" y="785"/>
                  </a:cubicBezTo>
                  <a:cubicBezTo>
                    <a:pt x="425" y="782"/>
                    <a:pt x="431" y="781"/>
                    <a:pt x="436" y="780"/>
                  </a:cubicBezTo>
                  <a:cubicBezTo>
                    <a:pt x="437" y="779"/>
                    <a:pt x="438" y="779"/>
                    <a:pt x="441" y="780"/>
                  </a:cubicBezTo>
                  <a:cubicBezTo>
                    <a:pt x="439" y="780"/>
                    <a:pt x="438" y="780"/>
                    <a:pt x="436" y="780"/>
                  </a:cubicBezTo>
                  <a:cubicBezTo>
                    <a:pt x="435" y="782"/>
                    <a:pt x="434" y="784"/>
                    <a:pt x="433" y="785"/>
                  </a:cubicBezTo>
                  <a:cubicBezTo>
                    <a:pt x="432" y="786"/>
                    <a:pt x="429" y="787"/>
                    <a:pt x="429" y="788"/>
                  </a:cubicBezTo>
                  <a:cubicBezTo>
                    <a:pt x="428" y="790"/>
                    <a:pt x="429" y="792"/>
                    <a:pt x="428" y="794"/>
                  </a:cubicBezTo>
                  <a:cubicBezTo>
                    <a:pt x="427" y="798"/>
                    <a:pt x="423" y="799"/>
                    <a:pt x="421" y="801"/>
                  </a:cubicBezTo>
                  <a:cubicBezTo>
                    <a:pt x="419" y="804"/>
                    <a:pt x="419" y="808"/>
                    <a:pt x="415" y="811"/>
                  </a:cubicBezTo>
                  <a:cubicBezTo>
                    <a:pt x="411" y="813"/>
                    <a:pt x="408" y="810"/>
                    <a:pt x="407" y="815"/>
                  </a:cubicBezTo>
                  <a:cubicBezTo>
                    <a:pt x="407" y="818"/>
                    <a:pt x="406" y="823"/>
                    <a:pt x="407" y="825"/>
                  </a:cubicBezTo>
                  <a:cubicBezTo>
                    <a:pt x="408" y="828"/>
                    <a:pt x="418" y="833"/>
                    <a:pt x="416" y="837"/>
                  </a:cubicBezTo>
                  <a:cubicBezTo>
                    <a:pt x="415" y="839"/>
                    <a:pt x="406" y="839"/>
                    <a:pt x="407" y="835"/>
                  </a:cubicBezTo>
                  <a:cubicBezTo>
                    <a:pt x="404" y="836"/>
                    <a:pt x="403" y="844"/>
                    <a:pt x="401" y="847"/>
                  </a:cubicBezTo>
                  <a:cubicBezTo>
                    <a:pt x="399" y="850"/>
                    <a:pt x="394" y="853"/>
                    <a:pt x="393" y="857"/>
                  </a:cubicBezTo>
                  <a:cubicBezTo>
                    <a:pt x="391" y="861"/>
                    <a:pt x="392" y="866"/>
                    <a:pt x="396" y="870"/>
                  </a:cubicBezTo>
                  <a:cubicBezTo>
                    <a:pt x="397" y="871"/>
                    <a:pt x="400" y="872"/>
                    <a:pt x="399" y="874"/>
                  </a:cubicBezTo>
                  <a:cubicBezTo>
                    <a:pt x="399" y="876"/>
                    <a:pt x="395" y="874"/>
                    <a:pt x="396" y="877"/>
                  </a:cubicBezTo>
                  <a:cubicBezTo>
                    <a:pt x="399" y="878"/>
                    <a:pt x="400" y="876"/>
                    <a:pt x="403" y="876"/>
                  </a:cubicBezTo>
                  <a:cubicBezTo>
                    <a:pt x="403" y="877"/>
                    <a:pt x="403" y="878"/>
                    <a:pt x="403" y="880"/>
                  </a:cubicBezTo>
                  <a:cubicBezTo>
                    <a:pt x="403" y="880"/>
                    <a:pt x="402" y="881"/>
                    <a:pt x="402" y="882"/>
                  </a:cubicBezTo>
                  <a:cubicBezTo>
                    <a:pt x="398" y="882"/>
                    <a:pt x="394" y="884"/>
                    <a:pt x="391" y="887"/>
                  </a:cubicBezTo>
                  <a:cubicBezTo>
                    <a:pt x="389" y="889"/>
                    <a:pt x="389" y="890"/>
                    <a:pt x="386" y="892"/>
                  </a:cubicBezTo>
                  <a:cubicBezTo>
                    <a:pt x="383" y="894"/>
                    <a:pt x="380" y="895"/>
                    <a:pt x="380" y="898"/>
                  </a:cubicBezTo>
                  <a:cubicBezTo>
                    <a:pt x="375" y="897"/>
                    <a:pt x="374" y="886"/>
                    <a:pt x="370" y="889"/>
                  </a:cubicBezTo>
                  <a:cubicBezTo>
                    <a:pt x="369" y="890"/>
                    <a:pt x="367" y="895"/>
                    <a:pt x="367" y="896"/>
                  </a:cubicBezTo>
                  <a:cubicBezTo>
                    <a:pt x="366" y="899"/>
                    <a:pt x="368" y="900"/>
                    <a:pt x="369" y="902"/>
                  </a:cubicBezTo>
                  <a:cubicBezTo>
                    <a:pt x="369" y="903"/>
                    <a:pt x="369" y="905"/>
                    <a:pt x="368" y="906"/>
                  </a:cubicBezTo>
                  <a:cubicBezTo>
                    <a:pt x="368" y="907"/>
                    <a:pt x="365" y="907"/>
                    <a:pt x="364" y="908"/>
                  </a:cubicBezTo>
                  <a:cubicBezTo>
                    <a:pt x="363" y="908"/>
                    <a:pt x="363" y="909"/>
                    <a:pt x="362" y="910"/>
                  </a:cubicBezTo>
                  <a:cubicBezTo>
                    <a:pt x="360" y="911"/>
                    <a:pt x="360" y="912"/>
                    <a:pt x="357" y="912"/>
                  </a:cubicBezTo>
                  <a:cubicBezTo>
                    <a:pt x="356" y="912"/>
                    <a:pt x="352" y="909"/>
                    <a:pt x="350" y="909"/>
                  </a:cubicBezTo>
                  <a:cubicBezTo>
                    <a:pt x="348" y="908"/>
                    <a:pt x="347" y="909"/>
                    <a:pt x="345" y="908"/>
                  </a:cubicBezTo>
                  <a:cubicBezTo>
                    <a:pt x="345" y="906"/>
                    <a:pt x="346" y="903"/>
                    <a:pt x="345" y="902"/>
                  </a:cubicBezTo>
                  <a:cubicBezTo>
                    <a:pt x="344" y="898"/>
                    <a:pt x="340" y="901"/>
                    <a:pt x="338" y="904"/>
                  </a:cubicBezTo>
                  <a:cubicBezTo>
                    <a:pt x="336" y="906"/>
                    <a:pt x="336" y="908"/>
                    <a:pt x="334" y="910"/>
                  </a:cubicBezTo>
                  <a:cubicBezTo>
                    <a:pt x="332" y="913"/>
                    <a:pt x="330" y="914"/>
                    <a:pt x="328" y="917"/>
                  </a:cubicBezTo>
                  <a:cubicBezTo>
                    <a:pt x="327" y="918"/>
                    <a:pt x="326" y="922"/>
                    <a:pt x="326" y="924"/>
                  </a:cubicBezTo>
                  <a:cubicBezTo>
                    <a:pt x="328" y="925"/>
                    <a:pt x="332" y="925"/>
                    <a:pt x="334" y="925"/>
                  </a:cubicBezTo>
                  <a:cubicBezTo>
                    <a:pt x="336" y="924"/>
                    <a:pt x="339" y="923"/>
                    <a:pt x="341" y="924"/>
                  </a:cubicBezTo>
                  <a:cubicBezTo>
                    <a:pt x="346" y="924"/>
                    <a:pt x="352" y="929"/>
                    <a:pt x="357" y="929"/>
                  </a:cubicBezTo>
                  <a:cubicBezTo>
                    <a:pt x="360" y="929"/>
                    <a:pt x="363" y="926"/>
                    <a:pt x="366" y="927"/>
                  </a:cubicBezTo>
                  <a:cubicBezTo>
                    <a:pt x="369" y="928"/>
                    <a:pt x="368" y="930"/>
                    <a:pt x="369" y="931"/>
                  </a:cubicBezTo>
                  <a:cubicBezTo>
                    <a:pt x="369" y="931"/>
                    <a:pt x="369" y="931"/>
                    <a:pt x="369" y="931"/>
                  </a:cubicBezTo>
                  <a:cubicBezTo>
                    <a:pt x="367" y="932"/>
                    <a:pt x="360" y="934"/>
                    <a:pt x="361" y="936"/>
                  </a:cubicBezTo>
                  <a:cubicBezTo>
                    <a:pt x="362" y="937"/>
                    <a:pt x="370" y="936"/>
                    <a:pt x="372" y="936"/>
                  </a:cubicBezTo>
                  <a:cubicBezTo>
                    <a:pt x="374" y="942"/>
                    <a:pt x="359" y="938"/>
                    <a:pt x="357" y="941"/>
                  </a:cubicBezTo>
                  <a:cubicBezTo>
                    <a:pt x="355" y="942"/>
                    <a:pt x="356" y="943"/>
                    <a:pt x="357" y="945"/>
                  </a:cubicBezTo>
                  <a:cubicBezTo>
                    <a:pt x="358" y="948"/>
                    <a:pt x="359" y="950"/>
                    <a:pt x="360" y="953"/>
                  </a:cubicBezTo>
                  <a:cubicBezTo>
                    <a:pt x="358" y="952"/>
                    <a:pt x="357" y="949"/>
                    <a:pt x="355" y="948"/>
                  </a:cubicBezTo>
                  <a:cubicBezTo>
                    <a:pt x="352" y="946"/>
                    <a:pt x="352" y="948"/>
                    <a:pt x="351" y="949"/>
                  </a:cubicBezTo>
                  <a:cubicBezTo>
                    <a:pt x="349" y="950"/>
                    <a:pt x="351" y="951"/>
                    <a:pt x="348" y="951"/>
                  </a:cubicBezTo>
                  <a:cubicBezTo>
                    <a:pt x="346" y="951"/>
                    <a:pt x="345" y="950"/>
                    <a:pt x="344" y="949"/>
                  </a:cubicBezTo>
                  <a:cubicBezTo>
                    <a:pt x="343" y="953"/>
                    <a:pt x="345" y="954"/>
                    <a:pt x="343" y="957"/>
                  </a:cubicBezTo>
                  <a:cubicBezTo>
                    <a:pt x="341" y="961"/>
                    <a:pt x="336" y="960"/>
                    <a:pt x="332" y="960"/>
                  </a:cubicBezTo>
                  <a:cubicBezTo>
                    <a:pt x="330" y="955"/>
                    <a:pt x="330" y="955"/>
                    <a:pt x="330" y="955"/>
                  </a:cubicBezTo>
                  <a:cubicBezTo>
                    <a:pt x="326" y="959"/>
                    <a:pt x="319" y="962"/>
                    <a:pt x="318" y="967"/>
                  </a:cubicBezTo>
                  <a:cubicBezTo>
                    <a:pt x="317" y="970"/>
                    <a:pt x="317" y="972"/>
                    <a:pt x="316" y="974"/>
                  </a:cubicBezTo>
                  <a:cubicBezTo>
                    <a:pt x="315" y="976"/>
                    <a:pt x="313" y="976"/>
                    <a:pt x="314" y="979"/>
                  </a:cubicBezTo>
                  <a:cubicBezTo>
                    <a:pt x="317" y="979"/>
                    <a:pt x="321" y="978"/>
                    <a:pt x="325" y="979"/>
                  </a:cubicBezTo>
                  <a:cubicBezTo>
                    <a:pt x="329" y="986"/>
                    <a:pt x="314" y="983"/>
                    <a:pt x="311" y="985"/>
                  </a:cubicBezTo>
                  <a:cubicBezTo>
                    <a:pt x="312" y="985"/>
                    <a:pt x="310" y="989"/>
                    <a:pt x="310" y="988"/>
                  </a:cubicBezTo>
                  <a:cubicBezTo>
                    <a:pt x="309" y="989"/>
                    <a:pt x="310" y="992"/>
                    <a:pt x="309" y="993"/>
                  </a:cubicBezTo>
                  <a:cubicBezTo>
                    <a:pt x="308" y="995"/>
                    <a:pt x="300" y="994"/>
                    <a:pt x="302" y="998"/>
                  </a:cubicBezTo>
                  <a:cubicBezTo>
                    <a:pt x="304" y="998"/>
                    <a:pt x="304" y="999"/>
                    <a:pt x="304" y="1001"/>
                  </a:cubicBezTo>
                  <a:cubicBezTo>
                    <a:pt x="304" y="1004"/>
                    <a:pt x="303" y="1004"/>
                    <a:pt x="300" y="1005"/>
                  </a:cubicBezTo>
                  <a:cubicBezTo>
                    <a:pt x="294" y="1008"/>
                    <a:pt x="296" y="1007"/>
                    <a:pt x="297" y="1013"/>
                  </a:cubicBezTo>
                  <a:cubicBezTo>
                    <a:pt x="292" y="1016"/>
                    <a:pt x="291" y="1018"/>
                    <a:pt x="297" y="1019"/>
                  </a:cubicBezTo>
                  <a:cubicBezTo>
                    <a:pt x="297" y="1025"/>
                    <a:pt x="285" y="1020"/>
                    <a:pt x="283" y="1017"/>
                  </a:cubicBezTo>
                  <a:cubicBezTo>
                    <a:pt x="278" y="1023"/>
                    <a:pt x="285" y="1027"/>
                    <a:pt x="289" y="1028"/>
                  </a:cubicBezTo>
                  <a:cubicBezTo>
                    <a:pt x="289" y="1031"/>
                    <a:pt x="283" y="1033"/>
                    <a:pt x="282" y="1037"/>
                  </a:cubicBezTo>
                  <a:cubicBezTo>
                    <a:pt x="284" y="1038"/>
                    <a:pt x="288" y="1039"/>
                    <a:pt x="285" y="1042"/>
                  </a:cubicBezTo>
                  <a:cubicBezTo>
                    <a:pt x="282" y="1044"/>
                    <a:pt x="277" y="1039"/>
                    <a:pt x="274" y="1040"/>
                  </a:cubicBezTo>
                  <a:cubicBezTo>
                    <a:pt x="273" y="1041"/>
                    <a:pt x="274" y="1045"/>
                    <a:pt x="273" y="1047"/>
                  </a:cubicBezTo>
                  <a:cubicBezTo>
                    <a:pt x="272" y="1048"/>
                    <a:pt x="269" y="1048"/>
                    <a:pt x="267" y="1047"/>
                  </a:cubicBezTo>
                  <a:cubicBezTo>
                    <a:pt x="267" y="1047"/>
                    <a:pt x="267" y="1046"/>
                    <a:pt x="266" y="1046"/>
                  </a:cubicBezTo>
                  <a:cubicBezTo>
                    <a:pt x="262" y="1046"/>
                    <a:pt x="266" y="1052"/>
                    <a:pt x="268" y="1053"/>
                  </a:cubicBezTo>
                  <a:cubicBezTo>
                    <a:pt x="270" y="1054"/>
                    <a:pt x="272" y="1053"/>
                    <a:pt x="271" y="1056"/>
                  </a:cubicBezTo>
                  <a:cubicBezTo>
                    <a:pt x="271" y="1058"/>
                    <a:pt x="263" y="1061"/>
                    <a:pt x="260" y="1061"/>
                  </a:cubicBezTo>
                  <a:cubicBezTo>
                    <a:pt x="259" y="1067"/>
                    <a:pt x="267" y="1065"/>
                    <a:pt x="272" y="1065"/>
                  </a:cubicBezTo>
                  <a:cubicBezTo>
                    <a:pt x="272" y="1065"/>
                    <a:pt x="273" y="1064"/>
                    <a:pt x="273" y="1064"/>
                  </a:cubicBezTo>
                  <a:cubicBezTo>
                    <a:pt x="274" y="1063"/>
                    <a:pt x="275" y="1061"/>
                    <a:pt x="277" y="1060"/>
                  </a:cubicBezTo>
                  <a:cubicBezTo>
                    <a:pt x="278" y="1059"/>
                    <a:pt x="283" y="1060"/>
                    <a:pt x="285" y="1060"/>
                  </a:cubicBezTo>
                  <a:cubicBezTo>
                    <a:pt x="283" y="1063"/>
                    <a:pt x="275" y="1068"/>
                    <a:pt x="278" y="1073"/>
                  </a:cubicBezTo>
                  <a:cubicBezTo>
                    <a:pt x="279" y="1075"/>
                    <a:pt x="284" y="1075"/>
                    <a:pt x="286" y="1079"/>
                  </a:cubicBezTo>
                  <a:cubicBezTo>
                    <a:pt x="287" y="1082"/>
                    <a:pt x="286" y="1083"/>
                    <a:pt x="291" y="1084"/>
                  </a:cubicBezTo>
                  <a:cubicBezTo>
                    <a:pt x="293" y="1084"/>
                    <a:pt x="296" y="1083"/>
                    <a:pt x="298" y="1084"/>
                  </a:cubicBezTo>
                  <a:cubicBezTo>
                    <a:pt x="299" y="1084"/>
                    <a:pt x="299" y="1085"/>
                    <a:pt x="301" y="1085"/>
                  </a:cubicBezTo>
                  <a:cubicBezTo>
                    <a:pt x="303" y="1083"/>
                    <a:pt x="302" y="1079"/>
                    <a:pt x="305" y="1077"/>
                  </a:cubicBezTo>
                  <a:cubicBezTo>
                    <a:pt x="306" y="1076"/>
                    <a:pt x="308" y="1076"/>
                    <a:pt x="309" y="1076"/>
                  </a:cubicBezTo>
                  <a:cubicBezTo>
                    <a:pt x="311" y="1076"/>
                    <a:pt x="311" y="1078"/>
                    <a:pt x="312" y="1078"/>
                  </a:cubicBezTo>
                  <a:cubicBezTo>
                    <a:pt x="315" y="1078"/>
                    <a:pt x="314" y="1073"/>
                    <a:pt x="315" y="1071"/>
                  </a:cubicBezTo>
                  <a:cubicBezTo>
                    <a:pt x="316" y="1068"/>
                    <a:pt x="319" y="1066"/>
                    <a:pt x="322" y="1065"/>
                  </a:cubicBezTo>
                  <a:cubicBezTo>
                    <a:pt x="325" y="1064"/>
                    <a:pt x="325" y="1065"/>
                    <a:pt x="326" y="1063"/>
                  </a:cubicBezTo>
                  <a:cubicBezTo>
                    <a:pt x="328" y="1061"/>
                    <a:pt x="328" y="1060"/>
                    <a:pt x="330" y="1058"/>
                  </a:cubicBezTo>
                  <a:cubicBezTo>
                    <a:pt x="331" y="1057"/>
                    <a:pt x="332" y="1056"/>
                    <a:pt x="333" y="1056"/>
                  </a:cubicBezTo>
                  <a:cubicBezTo>
                    <a:pt x="334" y="1054"/>
                    <a:pt x="334" y="1055"/>
                    <a:pt x="336" y="1054"/>
                  </a:cubicBezTo>
                  <a:cubicBezTo>
                    <a:pt x="341" y="1052"/>
                    <a:pt x="351" y="1050"/>
                    <a:pt x="353" y="1044"/>
                  </a:cubicBezTo>
                  <a:cubicBezTo>
                    <a:pt x="348" y="1044"/>
                    <a:pt x="345" y="1037"/>
                    <a:pt x="348" y="1033"/>
                  </a:cubicBezTo>
                  <a:cubicBezTo>
                    <a:pt x="343" y="1032"/>
                    <a:pt x="339" y="1035"/>
                    <a:pt x="334" y="1035"/>
                  </a:cubicBezTo>
                  <a:cubicBezTo>
                    <a:pt x="332" y="1030"/>
                    <a:pt x="338" y="1028"/>
                    <a:pt x="343" y="1026"/>
                  </a:cubicBezTo>
                  <a:cubicBezTo>
                    <a:pt x="346" y="1025"/>
                    <a:pt x="350" y="1024"/>
                    <a:pt x="353" y="1023"/>
                  </a:cubicBezTo>
                  <a:cubicBezTo>
                    <a:pt x="355" y="1022"/>
                    <a:pt x="357" y="1020"/>
                    <a:pt x="359" y="1020"/>
                  </a:cubicBezTo>
                  <a:cubicBezTo>
                    <a:pt x="361" y="1020"/>
                    <a:pt x="363" y="1022"/>
                    <a:pt x="361" y="1025"/>
                  </a:cubicBezTo>
                  <a:cubicBezTo>
                    <a:pt x="360" y="1026"/>
                    <a:pt x="355" y="1027"/>
                    <a:pt x="354" y="1029"/>
                  </a:cubicBezTo>
                  <a:cubicBezTo>
                    <a:pt x="352" y="1030"/>
                    <a:pt x="350" y="1033"/>
                    <a:pt x="353" y="1035"/>
                  </a:cubicBezTo>
                  <a:cubicBezTo>
                    <a:pt x="355" y="1037"/>
                    <a:pt x="360" y="1033"/>
                    <a:pt x="361" y="1037"/>
                  </a:cubicBezTo>
                  <a:cubicBezTo>
                    <a:pt x="362" y="1038"/>
                    <a:pt x="361" y="1039"/>
                    <a:pt x="361" y="1040"/>
                  </a:cubicBezTo>
                  <a:cubicBezTo>
                    <a:pt x="362" y="1042"/>
                    <a:pt x="362" y="1041"/>
                    <a:pt x="364" y="1042"/>
                  </a:cubicBezTo>
                  <a:cubicBezTo>
                    <a:pt x="367" y="1044"/>
                    <a:pt x="368" y="1046"/>
                    <a:pt x="368" y="1050"/>
                  </a:cubicBezTo>
                  <a:cubicBezTo>
                    <a:pt x="362" y="1050"/>
                    <a:pt x="356" y="1049"/>
                    <a:pt x="351" y="1050"/>
                  </a:cubicBezTo>
                  <a:cubicBezTo>
                    <a:pt x="350" y="1054"/>
                    <a:pt x="348" y="1058"/>
                    <a:pt x="345" y="1061"/>
                  </a:cubicBezTo>
                  <a:cubicBezTo>
                    <a:pt x="341" y="1066"/>
                    <a:pt x="335" y="1064"/>
                    <a:pt x="330" y="1068"/>
                  </a:cubicBezTo>
                  <a:cubicBezTo>
                    <a:pt x="327" y="1071"/>
                    <a:pt x="326" y="1077"/>
                    <a:pt x="327" y="1080"/>
                  </a:cubicBezTo>
                  <a:cubicBezTo>
                    <a:pt x="328" y="1082"/>
                    <a:pt x="332" y="1089"/>
                    <a:pt x="331" y="1091"/>
                  </a:cubicBezTo>
                  <a:cubicBezTo>
                    <a:pt x="329" y="1095"/>
                    <a:pt x="325" y="1088"/>
                    <a:pt x="324" y="1087"/>
                  </a:cubicBezTo>
                  <a:cubicBezTo>
                    <a:pt x="321" y="1086"/>
                    <a:pt x="320" y="1087"/>
                    <a:pt x="317" y="1086"/>
                  </a:cubicBezTo>
                  <a:cubicBezTo>
                    <a:pt x="314" y="1085"/>
                    <a:pt x="310" y="1081"/>
                    <a:pt x="307" y="1083"/>
                  </a:cubicBezTo>
                  <a:cubicBezTo>
                    <a:pt x="304" y="1085"/>
                    <a:pt x="306" y="1087"/>
                    <a:pt x="302" y="1088"/>
                  </a:cubicBezTo>
                  <a:cubicBezTo>
                    <a:pt x="300" y="1089"/>
                    <a:pt x="296" y="1088"/>
                    <a:pt x="294" y="1090"/>
                  </a:cubicBezTo>
                  <a:cubicBezTo>
                    <a:pt x="293" y="1092"/>
                    <a:pt x="295" y="1094"/>
                    <a:pt x="293" y="1096"/>
                  </a:cubicBezTo>
                  <a:cubicBezTo>
                    <a:pt x="292" y="1098"/>
                    <a:pt x="286" y="1100"/>
                    <a:pt x="289" y="1103"/>
                  </a:cubicBezTo>
                  <a:cubicBezTo>
                    <a:pt x="291" y="1104"/>
                    <a:pt x="295" y="1103"/>
                    <a:pt x="297" y="1103"/>
                  </a:cubicBezTo>
                  <a:cubicBezTo>
                    <a:pt x="296" y="1105"/>
                    <a:pt x="289" y="1106"/>
                    <a:pt x="287" y="1105"/>
                  </a:cubicBezTo>
                  <a:cubicBezTo>
                    <a:pt x="285" y="1104"/>
                    <a:pt x="285" y="1103"/>
                    <a:pt x="285" y="1101"/>
                  </a:cubicBezTo>
                  <a:cubicBezTo>
                    <a:pt x="285" y="1100"/>
                    <a:pt x="286" y="1097"/>
                    <a:pt x="286" y="1097"/>
                  </a:cubicBezTo>
                  <a:cubicBezTo>
                    <a:pt x="286" y="1095"/>
                    <a:pt x="282" y="1094"/>
                    <a:pt x="281" y="1092"/>
                  </a:cubicBezTo>
                  <a:cubicBezTo>
                    <a:pt x="279" y="1090"/>
                    <a:pt x="278" y="1085"/>
                    <a:pt x="277" y="1082"/>
                  </a:cubicBezTo>
                  <a:cubicBezTo>
                    <a:pt x="277" y="1080"/>
                    <a:pt x="278" y="1077"/>
                    <a:pt x="277" y="1075"/>
                  </a:cubicBezTo>
                  <a:cubicBezTo>
                    <a:pt x="277" y="1073"/>
                    <a:pt x="274" y="1072"/>
                    <a:pt x="274" y="1070"/>
                  </a:cubicBezTo>
                  <a:cubicBezTo>
                    <a:pt x="269" y="1069"/>
                    <a:pt x="268" y="1075"/>
                    <a:pt x="265" y="1076"/>
                  </a:cubicBezTo>
                  <a:cubicBezTo>
                    <a:pt x="263" y="1074"/>
                    <a:pt x="259" y="1073"/>
                    <a:pt x="257" y="1075"/>
                  </a:cubicBezTo>
                  <a:cubicBezTo>
                    <a:pt x="255" y="1076"/>
                    <a:pt x="255" y="1079"/>
                    <a:pt x="253" y="1081"/>
                  </a:cubicBezTo>
                  <a:cubicBezTo>
                    <a:pt x="251" y="1082"/>
                    <a:pt x="240" y="1081"/>
                    <a:pt x="242" y="1087"/>
                  </a:cubicBezTo>
                  <a:cubicBezTo>
                    <a:pt x="246" y="1088"/>
                    <a:pt x="249" y="1087"/>
                    <a:pt x="252" y="1088"/>
                  </a:cubicBezTo>
                  <a:cubicBezTo>
                    <a:pt x="253" y="1089"/>
                    <a:pt x="254" y="1090"/>
                    <a:pt x="254" y="1091"/>
                  </a:cubicBezTo>
                  <a:cubicBezTo>
                    <a:pt x="256" y="1091"/>
                    <a:pt x="257" y="1090"/>
                    <a:pt x="258" y="1092"/>
                  </a:cubicBezTo>
                  <a:cubicBezTo>
                    <a:pt x="255" y="1093"/>
                    <a:pt x="244" y="1094"/>
                    <a:pt x="247" y="1099"/>
                  </a:cubicBezTo>
                  <a:cubicBezTo>
                    <a:pt x="249" y="1104"/>
                    <a:pt x="260" y="1101"/>
                    <a:pt x="264" y="1101"/>
                  </a:cubicBezTo>
                  <a:cubicBezTo>
                    <a:pt x="264" y="1104"/>
                    <a:pt x="260" y="1103"/>
                    <a:pt x="258" y="1104"/>
                  </a:cubicBezTo>
                  <a:cubicBezTo>
                    <a:pt x="255" y="1105"/>
                    <a:pt x="254" y="1108"/>
                    <a:pt x="252" y="1110"/>
                  </a:cubicBezTo>
                  <a:cubicBezTo>
                    <a:pt x="247" y="1112"/>
                    <a:pt x="248" y="1104"/>
                    <a:pt x="245" y="1103"/>
                  </a:cubicBezTo>
                  <a:cubicBezTo>
                    <a:pt x="243" y="1103"/>
                    <a:pt x="240" y="1105"/>
                    <a:pt x="239" y="1105"/>
                  </a:cubicBezTo>
                  <a:cubicBezTo>
                    <a:pt x="238" y="1102"/>
                    <a:pt x="240" y="1097"/>
                    <a:pt x="239" y="1095"/>
                  </a:cubicBezTo>
                  <a:cubicBezTo>
                    <a:pt x="238" y="1093"/>
                    <a:pt x="234" y="1090"/>
                    <a:pt x="232" y="1090"/>
                  </a:cubicBezTo>
                  <a:cubicBezTo>
                    <a:pt x="226" y="1088"/>
                    <a:pt x="224" y="1093"/>
                    <a:pt x="219" y="1094"/>
                  </a:cubicBezTo>
                  <a:cubicBezTo>
                    <a:pt x="216" y="1094"/>
                    <a:pt x="214" y="1093"/>
                    <a:pt x="212" y="1094"/>
                  </a:cubicBezTo>
                  <a:cubicBezTo>
                    <a:pt x="210" y="1094"/>
                    <a:pt x="208" y="1095"/>
                    <a:pt x="206" y="1097"/>
                  </a:cubicBezTo>
                  <a:cubicBezTo>
                    <a:pt x="205" y="1098"/>
                    <a:pt x="205" y="1099"/>
                    <a:pt x="204" y="1100"/>
                  </a:cubicBezTo>
                  <a:cubicBezTo>
                    <a:pt x="203" y="1102"/>
                    <a:pt x="203" y="1101"/>
                    <a:pt x="202" y="1102"/>
                  </a:cubicBezTo>
                  <a:cubicBezTo>
                    <a:pt x="200" y="1103"/>
                    <a:pt x="199" y="1106"/>
                    <a:pt x="197" y="1107"/>
                  </a:cubicBezTo>
                  <a:cubicBezTo>
                    <a:pt x="200" y="1108"/>
                    <a:pt x="205" y="1110"/>
                    <a:pt x="200" y="1112"/>
                  </a:cubicBezTo>
                  <a:cubicBezTo>
                    <a:pt x="198" y="1113"/>
                    <a:pt x="195" y="1112"/>
                    <a:pt x="193" y="1113"/>
                  </a:cubicBezTo>
                  <a:cubicBezTo>
                    <a:pt x="192" y="1113"/>
                    <a:pt x="192" y="1115"/>
                    <a:pt x="190" y="1116"/>
                  </a:cubicBezTo>
                  <a:cubicBezTo>
                    <a:pt x="189" y="1117"/>
                    <a:pt x="188" y="1117"/>
                    <a:pt x="187" y="1117"/>
                  </a:cubicBezTo>
                  <a:cubicBezTo>
                    <a:pt x="184" y="1118"/>
                    <a:pt x="182" y="1120"/>
                    <a:pt x="179" y="1121"/>
                  </a:cubicBezTo>
                  <a:cubicBezTo>
                    <a:pt x="176" y="1122"/>
                    <a:pt x="170" y="1122"/>
                    <a:pt x="172" y="1127"/>
                  </a:cubicBezTo>
                  <a:cubicBezTo>
                    <a:pt x="176" y="1127"/>
                    <a:pt x="179" y="1124"/>
                    <a:pt x="183" y="1124"/>
                  </a:cubicBezTo>
                  <a:cubicBezTo>
                    <a:pt x="186" y="1124"/>
                    <a:pt x="185" y="1127"/>
                    <a:pt x="187" y="1128"/>
                  </a:cubicBezTo>
                  <a:cubicBezTo>
                    <a:pt x="190" y="1129"/>
                    <a:pt x="191" y="1126"/>
                    <a:pt x="193" y="1128"/>
                  </a:cubicBezTo>
                  <a:cubicBezTo>
                    <a:pt x="195" y="1129"/>
                    <a:pt x="186" y="1129"/>
                    <a:pt x="188" y="1133"/>
                  </a:cubicBezTo>
                  <a:cubicBezTo>
                    <a:pt x="188" y="1134"/>
                    <a:pt x="190" y="1136"/>
                    <a:pt x="191" y="1136"/>
                  </a:cubicBezTo>
                  <a:cubicBezTo>
                    <a:pt x="193" y="1138"/>
                    <a:pt x="194" y="1141"/>
                    <a:pt x="196" y="1143"/>
                  </a:cubicBezTo>
                  <a:cubicBezTo>
                    <a:pt x="200" y="1147"/>
                    <a:pt x="201" y="1146"/>
                    <a:pt x="205" y="1147"/>
                  </a:cubicBezTo>
                  <a:cubicBezTo>
                    <a:pt x="212" y="1148"/>
                    <a:pt x="205" y="1149"/>
                    <a:pt x="203" y="1151"/>
                  </a:cubicBezTo>
                  <a:cubicBezTo>
                    <a:pt x="203" y="1152"/>
                    <a:pt x="202" y="1154"/>
                    <a:pt x="203" y="1155"/>
                  </a:cubicBezTo>
                  <a:cubicBezTo>
                    <a:pt x="203" y="1157"/>
                    <a:pt x="205" y="1156"/>
                    <a:pt x="207" y="1157"/>
                  </a:cubicBezTo>
                  <a:cubicBezTo>
                    <a:pt x="211" y="1159"/>
                    <a:pt x="211" y="1162"/>
                    <a:pt x="212" y="1165"/>
                  </a:cubicBezTo>
                  <a:cubicBezTo>
                    <a:pt x="209" y="1164"/>
                    <a:pt x="205" y="1164"/>
                    <a:pt x="202" y="1163"/>
                  </a:cubicBezTo>
                  <a:cubicBezTo>
                    <a:pt x="202" y="1161"/>
                    <a:pt x="200" y="1162"/>
                    <a:pt x="198" y="1161"/>
                  </a:cubicBezTo>
                  <a:cubicBezTo>
                    <a:pt x="198" y="1160"/>
                    <a:pt x="198" y="1160"/>
                    <a:pt x="198" y="1159"/>
                  </a:cubicBezTo>
                  <a:cubicBezTo>
                    <a:pt x="196" y="1158"/>
                    <a:pt x="195" y="1159"/>
                    <a:pt x="194" y="1157"/>
                  </a:cubicBezTo>
                  <a:cubicBezTo>
                    <a:pt x="192" y="1154"/>
                    <a:pt x="195" y="1153"/>
                    <a:pt x="191" y="1150"/>
                  </a:cubicBezTo>
                  <a:cubicBezTo>
                    <a:pt x="187" y="1148"/>
                    <a:pt x="186" y="1148"/>
                    <a:pt x="186" y="1143"/>
                  </a:cubicBezTo>
                  <a:cubicBezTo>
                    <a:pt x="186" y="1142"/>
                    <a:pt x="186" y="1140"/>
                    <a:pt x="185" y="1138"/>
                  </a:cubicBezTo>
                  <a:cubicBezTo>
                    <a:pt x="185" y="1138"/>
                    <a:pt x="184" y="1138"/>
                    <a:pt x="184" y="1137"/>
                  </a:cubicBezTo>
                  <a:cubicBezTo>
                    <a:pt x="183" y="1137"/>
                    <a:pt x="183" y="1135"/>
                    <a:pt x="183" y="1134"/>
                  </a:cubicBezTo>
                  <a:cubicBezTo>
                    <a:pt x="182" y="1133"/>
                    <a:pt x="180" y="1132"/>
                    <a:pt x="178" y="1132"/>
                  </a:cubicBezTo>
                  <a:cubicBezTo>
                    <a:pt x="175" y="1133"/>
                    <a:pt x="176" y="1133"/>
                    <a:pt x="174" y="1135"/>
                  </a:cubicBezTo>
                  <a:cubicBezTo>
                    <a:pt x="174" y="1136"/>
                    <a:pt x="174" y="1136"/>
                    <a:pt x="174" y="1137"/>
                  </a:cubicBezTo>
                  <a:cubicBezTo>
                    <a:pt x="174" y="1138"/>
                    <a:pt x="174" y="1138"/>
                    <a:pt x="173" y="1139"/>
                  </a:cubicBezTo>
                  <a:cubicBezTo>
                    <a:pt x="173" y="1139"/>
                    <a:pt x="171" y="1141"/>
                    <a:pt x="170" y="1142"/>
                  </a:cubicBezTo>
                  <a:cubicBezTo>
                    <a:pt x="168" y="1144"/>
                    <a:pt x="167" y="1148"/>
                    <a:pt x="165" y="1150"/>
                  </a:cubicBezTo>
                  <a:cubicBezTo>
                    <a:pt x="164" y="1150"/>
                    <a:pt x="160" y="1150"/>
                    <a:pt x="159" y="1150"/>
                  </a:cubicBezTo>
                  <a:cubicBezTo>
                    <a:pt x="157" y="1151"/>
                    <a:pt x="156" y="1152"/>
                    <a:pt x="154" y="1151"/>
                  </a:cubicBezTo>
                  <a:cubicBezTo>
                    <a:pt x="152" y="1146"/>
                    <a:pt x="176" y="1136"/>
                    <a:pt x="167" y="1131"/>
                  </a:cubicBezTo>
                  <a:cubicBezTo>
                    <a:pt x="165" y="1130"/>
                    <a:pt x="162" y="1130"/>
                    <a:pt x="160" y="1130"/>
                  </a:cubicBezTo>
                  <a:cubicBezTo>
                    <a:pt x="156" y="1130"/>
                    <a:pt x="154" y="1130"/>
                    <a:pt x="152" y="1133"/>
                  </a:cubicBezTo>
                  <a:cubicBezTo>
                    <a:pt x="151" y="1134"/>
                    <a:pt x="152" y="1134"/>
                    <a:pt x="150" y="1136"/>
                  </a:cubicBezTo>
                  <a:cubicBezTo>
                    <a:pt x="148" y="1137"/>
                    <a:pt x="146" y="1136"/>
                    <a:pt x="144" y="1137"/>
                  </a:cubicBezTo>
                  <a:cubicBezTo>
                    <a:pt x="142" y="1139"/>
                    <a:pt x="141" y="1142"/>
                    <a:pt x="140" y="1144"/>
                  </a:cubicBezTo>
                  <a:cubicBezTo>
                    <a:pt x="138" y="1145"/>
                    <a:pt x="136" y="1144"/>
                    <a:pt x="134" y="1145"/>
                  </a:cubicBezTo>
                  <a:cubicBezTo>
                    <a:pt x="132" y="1145"/>
                    <a:pt x="129" y="1147"/>
                    <a:pt x="128" y="1148"/>
                  </a:cubicBezTo>
                  <a:cubicBezTo>
                    <a:pt x="125" y="1150"/>
                    <a:pt x="123" y="1154"/>
                    <a:pt x="122" y="1158"/>
                  </a:cubicBezTo>
                  <a:cubicBezTo>
                    <a:pt x="122" y="1163"/>
                    <a:pt x="126" y="1166"/>
                    <a:pt x="130" y="1167"/>
                  </a:cubicBezTo>
                  <a:cubicBezTo>
                    <a:pt x="132" y="1167"/>
                    <a:pt x="135" y="1165"/>
                    <a:pt x="136" y="1167"/>
                  </a:cubicBezTo>
                  <a:cubicBezTo>
                    <a:pt x="137" y="1170"/>
                    <a:pt x="126" y="1170"/>
                    <a:pt x="125" y="1170"/>
                  </a:cubicBezTo>
                  <a:cubicBezTo>
                    <a:pt x="124" y="1173"/>
                    <a:pt x="125" y="1174"/>
                    <a:pt x="126" y="1176"/>
                  </a:cubicBezTo>
                  <a:cubicBezTo>
                    <a:pt x="127" y="1180"/>
                    <a:pt x="127" y="1180"/>
                    <a:pt x="131" y="1180"/>
                  </a:cubicBezTo>
                  <a:cubicBezTo>
                    <a:pt x="135" y="1180"/>
                    <a:pt x="137" y="1179"/>
                    <a:pt x="140" y="1179"/>
                  </a:cubicBezTo>
                  <a:cubicBezTo>
                    <a:pt x="143" y="1179"/>
                    <a:pt x="144" y="1181"/>
                    <a:pt x="147" y="1182"/>
                  </a:cubicBezTo>
                  <a:cubicBezTo>
                    <a:pt x="153" y="1183"/>
                    <a:pt x="155" y="1177"/>
                    <a:pt x="160" y="1175"/>
                  </a:cubicBezTo>
                  <a:cubicBezTo>
                    <a:pt x="162" y="1174"/>
                    <a:pt x="165" y="1175"/>
                    <a:pt x="168" y="1174"/>
                  </a:cubicBezTo>
                  <a:cubicBezTo>
                    <a:pt x="170" y="1173"/>
                    <a:pt x="174" y="1172"/>
                    <a:pt x="177" y="1172"/>
                  </a:cubicBezTo>
                  <a:cubicBezTo>
                    <a:pt x="178" y="1177"/>
                    <a:pt x="171" y="1176"/>
                    <a:pt x="169" y="1176"/>
                  </a:cubicBezTo>
                  <a:cubicBezTo>
                    <a:pt x="165" y="1176"/>
                    <a:pt x="161" y="1178"/>
                    <a:pt x="159" y="1179"/>
                  </a:cubicBezTo>
                  <a:cubicBezTo>
                    <a:pt x="153" y="1183"/>
                    <a:pt x="146" y="1183"/>
                    <a:pt x="147" y="1191"/>
                  </a:cubicBezTo>
                  <a:cubicBezTo>
                    <a:pt x="151" y="1192"/>
                    <a:pt x="156" y="1194"/>
                    <a:pt x="155" y="1198"/>
                  </a:cubicBezTo>
                  <a:cubicBezTo>
                    <a:pt x="151" y="1200"/>
                    <a:pt x="148" y="1196"/>
                    <a:pt x="145" y="1194"/>
                  </a:cubicBezTo>
                  <a:cubicBezTo>
                    <a:pt x="144" y="1193"/>
                    <a:pt x="142" y="1192"/>
                    <a:pt x="141" y="1191"/>
                  </a:cubicBezTo>
                  <a:cubicBezTo>
                    <a:pt x="138" y="1191"/>
                    <a:pt x="138" y="1191"/>
                    <a:pt x="136" y="1192"/>
                  </a:cubicBezTo>
                  <a:cubicBezTo>
                    <a:pt x="133" y="1193"/>
                    <a:pt x="130" y="1191"/>
                    <a:pt x="128" y="1191"/>
                  </a:cubicBezTo>
                  <a:cubicBezTo>
                    <a:pt x="126" y="1190"/>
                    <a:pt x="125" y="1189"/>
                    <a:pt x="123" y="1187"/>
                  </a:cubicBezTo>
                  <a:cubicBezTo>
                    <a:pt x="122" y="1187"/>
                    <a:pt x="123" y="1185"/>
                    <a:pt x="121" y="1186"/>
                  </a:cubicBezTo>
                  <a:cubicBezTo>
                    <a:pt x="120" y="1186"/>
                    <a:pt x="121" y="1188"/>
                    <a:pt x="120" y="1188"/>
                  </a:cubicBezTo>
                  <a:cubicBezTo>
                    <a:pt x="118" y="1189"/>
                    <a:pt x="117" y="1188"/>
                    <a:pt x="115" y="1187"/>
                  </a:cubicBezTo>
                  <a:cubicBezTo>
                    <a:pt x="112" y="1187"/>
                    <a:pt x="112" y="1188"/>
                    <a:pt x="110" y="1189"/>
                  </a:cubicBezTo>
                  <a:cubicBezTo>
                    <a:pt x="108" y="1190"/>
                    <a:pt x="106" y="1189"/>
                    <a:pt x="104" y="1189"/>
                  </a:cubicBezTo>
                  <a:cubicBezTo>
                    <a:pt x="102" y="1189"/>
                    <a:pt x="99" y="1189"/>
                    <a:pt x="97" y="1189"/>
                  </a:cubicBezTo>
                  <a:cubicBezTo>
                    <a:pt x="95" y="1189"/>
                    <a:pt x="93" y="1191"/>
                    <a:pt x="92" y="1191"/>
                  </a:cubicBezTo>
                  <a:cubicBezTo>
                    <a:pt x="88" y="1192"/>
                    <a:pt x="83" y="1191"/>
                    <a:pt x="83" y="1196"/>
                  </a:cubicBezTo>
                  <a:cubicBezTo>
                    <a:pt x="84" y="1201"/>
                    <a:pt x="87" y="1199"/>
                    <a:pt x="89" y="1200"/>
                  </a:cubicBezTo>
                  <a:cubicBezTo>
                    <a:pt x="91" y="1200"/>
                    <a:pt x="92" y="1201"/>
                    <a:pt x="94" y="1202"/>
                  </a:cubicBezTo>
                  <a:cubicBezTo>
                    <a:pt x="90" y="1203"/>
                    <a:pt x="82" y="1201"/>
                    <a:pt x="79" y="1205"/>
                  </a:cubicBezTo>
                  <a:cubicBezTo>
                    <a:pt x="78" y="1206"/>
                    <a:pt x="79" y="1207"/>
                    <a:pt x="79" y="1208"/>
                  </a:cubicBezTo>
                  <a:cubicBezTo>
                    <a:pt x="78" y="1209"/>
                    <a:pt x="78" y="1209"/>
                    <a:pt x="77" y="1210"/>
                  </a:cubicBezTo>
                  <a:cubicBezTo>
                    <a:pt x="76" y="1211"/>
                    <a:pt x="75" y="1210"/>
                    <a:pt x="74" y="1211"/>
                  </a:cubicBezTo>
                  <a:cubicBezTo>
                    <a:pt x="74" y="1212"/>
                    <a:pt x="74" y="1214"/>
                    <a:pt x="74" y="1214"/>
                  </a:cubicBezTo>
                  <a:cubicBezTo>
                    <a:pt x="77" y="1215"/>
                    <a:pt x="77" y="1217"/>
                    <a:pt x="80" y="1218"/>
                  </a:cubicBezTo>
                  <a:cubicBezTo>
                    <a:pt x="82" y="1218"/>
                    <a:pt x="83" y="1217"/>
                    <a:pt x="85" y="1217"/>
                  </a:cubicBezTo>
                  <a:cubicBezTo>
                    <a:pt x="87" y="1216"/>
                    <a:pt x="90" y="1216"/>
                    <a:pt x="91" y="1216"/>
                  </a:cubicBezTo>
                  <a:cubicBezTo>
                    <a:pt x="94" y="1215"/>
                    <a:pt x="95" y="1211"/>
                    <a:pt x="97" y="1208"/>
                  </a:cubicBezTo>
                  <a:cubicBezTo>
                    <a:pt x="99" y="1206"/>
                    <a:pt x="101" y="1206"/>
                    <a:pt x="103" y="1206"/>
                  </a:cubicBezTo>
                  <a:cubicBezTo>
                    <a:pt x="110" y="1206"/>
                    <a:pt x="113" y="1206"/>
                    <a:pt x="118" y="1211"/>
                  </a:cubicBezTo>
                  <a:cubicBezTo>
                    <a:pt x="120" y="1213"/>
                    <a:pt x="124" y="1214"/>
                    <a:pt x="126" y="1217"/>
                  </a:cubicBezTo>
                  <a:cubicBezTo>
                    <a:pt x="127" y="1219"/>
                    <a:pt x="126" y="1222"/>
                    <a:pt x="126" y="1224"/>
                  </a:cubicBezTo>
                  <a:cubicBezTo>
                    <a:pt x="128" y="1225"/>
                    <a:pt x="131" y="1224"/>
                    <a:pt x="133" y="1225"/>
                  </a:cubicBezTo>
                  <a:cubicBezTo>
                    <a:pt x="133" y="1225"/>
                    <a:pt x="133" y="1226"/>
                    <a:pt x="133" y="1227"/>
                  </a:cubicBezTo>
                  <a:cubicBezTo>
                    <a:pt x="129" y="1228"/>
                    <a:pt x="127" y="1227"/>
                    <a:pt x="125" y="1225"/>
                  </a:cubicBezTo>
                  <a:cubicBezTo>
                    <a:pt x="125" y="1224"/>
                    <a:pt x="125" y="1224"/>
                    <a:pt x="124" y="1223"/>
                  </a:cubicBezTo>
                  <a:cubicBezTo>
                    <a:pt x="124" y="1223"/>
                    <a:pt x="123" y="1223"/>
                    <a:pt x="123" y="1222"/>
                  </a:cubicBezTo>
                  <a:cubicBezTo>
                    <a:pt x="122" y="1222"/>
                    <a:pt x="122" y="1222"/>
                    <a:pt x="121" y="1222"/>
                  </a:cubicBezTo>
                  <a:cubicBezTo>
                    <a:pt x="120" y="1221"/>
                    <a:pt x="121" y="1219"/>
                    <a:pt x="120" y="1219"/>
                  </a:cubicBezTo>
                  <a:cubicBezTo>
                    <a:pt x="118" y="1217"/>
                    <a:pt x="115" y="1217"/>
                    <a:pt x="113" y="1216"/>
                  </a:cubicBezTo>
                  <a:cubicBezTo>
                    <a:pt x="109" y="1214"/>
                    <a:pt x="108" y="1214"/>
                    <a:pt x="104" y="1215"/>
                  </a:cubicBezTo>
                  <a:cubicBezTo>
                    <a:pt x="102" y="1216"/>
                    <a:pt x="97" y="1215"/>
                    <a:pt x="96" y="1217"/>
                  </a:cubicBezTo>
                  <a:cubicBezTo>
                    <a:pt x="94" y="1220"/>
                    <a:pt x="95" y="1222"/>
                    <a:pt x="96" y="1224"/>
                  </a:cubicBezTo>
                  <a:cubicBezTo>
                    <a:pt x="97" y="1227"/>
                    <a:pt x="97" y="1230"/>
                    <a:pt x="98" y="1233"/>
                  </a:cubicBezTo>
                  <a:cubicBezTo>
                    <a:pt x="98" y="1236"/>
                    <a:pt x="99" y="1239"/>
                    <a:pt x="100" y="1241"/>
                  </a:cubicBezTo>
                  <a:cubicBezTo>
                    <a:pt x="101" y="1243"/>
                    <a:pt x="102" y="1243"/>
                    <a:pt x="101" y="1245"/>
                  </a:cubicBezTo>
                  <a:cubicBezTo>
                    <a:pt x="99" y="1245"/>
                    <a:pt x="99" y="1242"/>
                    <a:pt x="97" y="1240"/>
                  </a:cubicBezTo>
                  <a:cubicBezTo>
                    <a:pt x="96" y="1238"/>
                    <a:pt x="93" y="1236"/>
                    <a:pt x="92" y="1233"/>
                  </a:cubicBezTo>
                  <a:cubicBezTo>
                    <a:pt x="91" y="1230"/>
                    <a:pt x="89" y="1221"/>
                    <a:pt x="84" y="1221"/>
                  </a:cubicBezTo>
                  <a:cubicBezTo>
                    <a:pt x="80" y="1221"/>
                    <a:pt x="78" y="1228"/>
                    <a:pt x="75" y="1230"/>
                  </a:cubicBezTo>
                  <a:cubicBezTo>
                    <a:pt x="74" y="1231"/>
                    <a:pt x="71" y="1230"/>
                    <a:pt x="70" y="1231"/>
                  </a:cubicBezTo>
                  <a:cubicBezTo>
                    <a:pt x="69" y="1232"/>
                    <a:pt x="68" y="1235"/>
                    <a:pt x="67" y="1237"/>
                  </a:cubicBezTo>
                  <a:cubicBezTo>
                    <a:pt x="64" y="1235"/>
                    <a:pt x="63" y="1232"/>
                    <a:pt x="64" y="1229"/>
                  </a:cubicBezTo>
                  <a:cubicBezTo>
                    <a:pt x="69" y="1227"/>
                    <a:pt x="77" y="1222"/>
                    <a:pt x="70" y="1216"/>
                  </a:cubicBezTo>
                  <a:cubicBezTo>
                    <a:pt x="67" y="1214"/>
                    <a:pt x="63" y="1212"/>
                    <a:pt x="61" y="1215"/>
                  </a:cubicBezTo>
                  <a:cubicBezTo>
                    <a:pt x="59" y="1218"/>
                    <a:pt x="62" y="1228"/>
                    <a:pt x="58" y="1229"/>
                  </a:cubicBezTo>
                  <a:cubicBezTo>
                    <a:pt x="56" y="1229"/>
                    <a:pt x="55" y="1227"/>
                    <a:pt x="54" y="1226"/>
                  </a:cubicBezTo>
                  <a:cubicBezTo>
                    <a:pt x="53" y="1225"/>
                    <a:pt x="51" y="1225"/>
                    <a:pt x="50" y="1225"/>
                  </a:cubicBezTo>
                  <a:cubicBezTo>
                    <a:pt x="47" y="1226"/>
                    <a:pt x="44" y="1228"/>
                    <a:pt x="43" y="1231"/>
                  </a:cubicBezTo>
                  <a:cubicBezTo>
                    <a:pt x="41" y="1239"/>
                    <a:pt x="52" y="1238"/>
                    <a:pt x="57" y="1237"/>
                  </a:cubicBezTo>
                  <a:cubicBezTo>
                    <a:pt x="57" y="1237"/>
                    <a:pt x="57" y="1236"/>
                    <a:pt x="57" y="1236"/>
                  </a:cubicBezTo>
                  <a:cubicBezTo>
                    <a:pt x="59" y="1236"/>
                    <a:pt x="59" y="1238"/>
                    <a:pt x="59" y="1240"/>
                  </a:cubicBezTo>
                  <a:cubicBezTo>
                    <a:pt x="62" y="1240"/>
                    <a:pt x="63" y="1241"/>
                    <a:pt x="65" y="1242"/>
                  </a:cubicBezTo>
                  <a:cubicBezTo>
                    <a:pt x="68" y="1244"/>
                    <a:pt x="68" y="1244"/>
                    <a:pt x="68" y="1248"/>
                  </a:cubicBezTo>
                  <a:cubicBezTo>
                    <a:pt x="69" y="1253"/>
                    <a:pt x="70" y="1259"/>
                    <a:pt x="63" y="1258"/>
                  </a:cubicBezTo>
                  <a:cubicBezTo>
                    <a:pt x="63" y="1257"/>
                    <a:pt x="63" y="1256"/>
                    <a:pt x="62" y="1256"/>
                  </a:cubicBezTo>
                  <a:cubicBezTo>
                    <a:pt x="62" y="1255"/>
                    <a:pt x="61" y="1255"/>
                    <a:pt x="61" y="1254"/>
                  </a:cubicBezTo>
                  <a:cubicBezTo>
                    <a:pt x="61" y="1254"/>
                    <a:pt x="61" y="1253"/>
                    <a:pt x="61" y="1253"/>
                  </a:cubicBezTo>
                  <a:cubicBezTo>
                    <a:pt x="59" y="1250"/>
                    <a:pt x="56" y="1247"/>
                    <a:pt x="53" y="1247"/>
                  </a:cubicBezTo>
                  <a:cubicBezTo>
                    <a:pt x="50" y="1246"/>
                    <a:pt x="48" y="1248"/>
                    <a:pt x="46" y="1246"/>
                  </a:cubicBezTo>
                  <a:cubicBezTo>
                    <a:pt x="45" y="1245"/>
                    <a:pt x="46" y="1244"/>
                    <a:pt x="45" y="1243"/>
                  </a:cubicBezTo>
                  <a:cubicBezTo>
                    <a:pt x="44" y="1242"/>
                    <a:pt x="41" y="1242"/>
                    <a:pt x="40" y="1242"/>
                  </a:cubicBezTo>
                  <a:cubicBezTo>
                    <a:pt x="40" y="1244"/>
                    <a:pt x="40" y="1246"/>
                    <a:pt x="40" y="1248"/>
                  </a:cubicBezTo>
                  <a:cubicBezTo>
                    <a:pt x="44" y="1248"/>
                    <a:pt x="45" y="1260"/>
                    <a:pt x="39" y="1256"/>
                  </a:cubicBezTo>
                  <a:cubicBezTo>
                    <a:pt x="33" y="1252"/>
                    <a:pt x="35" y="1247"/>
                    <a:pt x="34" y="1241"/>
                  </a:cubicBezTo>
                  <a:cubicBezTo>
                    <a:pt x="33" y="1237"/>
                    <a:pt x="31" y="1235"/>
                    <a:pt x="27" y="1236"/>
                  </a:cubicBezTo>
                  <a:cubicBezTo>
                    <a:pt x="23" y="1237"/>
                    <a:pt x="24" y="1240"/>
                    <a:pt x="24" y="1243"/>
                  </a:cubicBezTo>
                  <a:cubicBezTo>
                    <a:pt x="24" y="1247"/>
                    <a:pt x="25" y="1248"/>
                    <a:pt x="28" y="1249"/>
                  </a:cubicBezTo>
                  <a:cubicBezTo>
                    <a:pt x="30" y="1250"/>
                    <a:pt x="32" y="1250"/>
                    <a:pt x="33" y="1252"/>
                  </a:cubicBezTo>
                  <a:cubicBezTo>
                    <a:pt x="34" y="1254"/>
                    <a:pt x="34" y="1257"/>
                    <a:pt x="34" y="1259"/>
                  </a:cubicBezTo>
                  <a:cubicBezTo>
                    <a:pt x="35" y="1262"/>
                    <a:pt x="36" y="1265"/>
                    <a:pt x="32" y="1267"/>
                  </a:cubicBezTo>
                  <a:cubicBezTo>
                    <a:pt x="31" y="1267"/>
                    <a:pt x="26" y="1267"/>
                    <a:pt x="25" y="1267"/>
                  </a:cubicBezTo>
                  <a:cubicBezTo>
                    <a:pt x="24" y="1266"/>
                    <a:pt x="24" y="1264"/>
                    <a:pt x="22" y="1264"/>
                  </a:cubicBezTo>
                  <a:cubicBezTo>
                    <a:pt x="22" y="1264"/>
                    <a:pt x="19" y="1264"/>
                    <a:pt x="19" y="1264"/>
                  </a:cubicBezTo>
                  <a:cubicBezTo>
                    <a:pt x="14" y="1267"/>
                    <a:pt x="21" y="1271"/>
                    <a:pt x="24" y="1271"/>
                  </a:cubicBezTo>
                  <a:cubicBezTo>
                    <a:pt x="29" y="1273"/>
                    <a:pt x="36" y="1271"/>
                    <a:pt x="42" y="1271"/>
                  </a:cubicBezTo>
                  <a:cubicBezTo>
                    <a:pt x="47" y="1272"/>
                    <a:pt x="53" y="1272"/>
                    <a:pt x="58" y="1273"/>
                  </a:cubicBezTo>
                  <a:cubicBezTo>
                    <a:pt x="61" y="1273"/>
                    <a:pt x="66" y="1273"/>
                    <a:pt x="66" y="1277"/>
                  </a:cubicBezTo>
                  <a:cubicBezTo>
                    <a:pt x="62" y="1278"/>
                    <a:pt x="57" y="1277"/>
                    <a:pt x="54" y="1277"/>
                  </a:cubicBezTo>
                  <a:cubicBezTo>
                    <a:pt x="52" y="1277"/>
                    <a:pt x="49" y="1277"/>
                    <a:pt x="48" y="1277"/>
                  </a:cubicBezTo>
                  <a:cubicBezTo>
                    <a:pt x="45" y="1276"/>
                    <a:pt x="42" y="1275"/>
                    <a:pt x="39" y="1274"/>
                  </a:cubicBezTo>
                  <a:cubicBezTo>
                    <a:pt x="36" y="1274"/>
                    <a:pt x="34" y="1274"/>
                    <a:pt x="33" y="1277"/>
                  </a:cubicBezTo>
                  <a:cubicBezTo>
                    <a:pt x="31" y="1280"/>
                    <a:pt x="30" y="1283"/>
                    <a:pt x="30" y="1286"/>
                  </a:cubicBezTo>
                  <a:cubicBezTo>
                    <a:pt x="25" y="1287"/>
                    <a:pt x="14" y="1286"/>
                    <a:pt x="18" y="1294"/>
                  </a:cubicBezTo>
                  <a:cubicBezTo>
                    <a:pt x="15" y="1294"/>
                    <a:pt x="15" y="1299"/>
                    <a:pt x="15" y="1302"/>
                  </a:cubicBezTo>
                  <a:cubicBezTo>
                    <a:pt x="17" y="1306"/>
                    <a:pt x="23" y="1304"/>
                    <a:pt x="27" y="1305"/>
                  </a:cubicBezTo>
                  <a:cubicBezTo>
                    <a:pt x="31" y="1307"/>
                    <a:pt x="30" y="1311"/>
                    <a:pt x="35" y="1311"/>
                  </a:cubicBezTo>
                  <a:cubicBezTo>
                    <a:pt x="38" y="1310"/>
                    <a:pt x="38" y="1310"/>
                    <a:pt x="40" y="1309"/>
                  </a:cubicBezTo>
                  <a:cubicBezTo>
                    <a:pt x="43" y="1308"/>
                    <a:pt x="48" y="1309"/>
                    <a:pt x="50" y="1309"/>
                  </a:cubicBezTo>
                  <a:cubicBezTo>
                    <a:pt x="51" y="1311"/>
                    <a:pt x="44" y="1315"/>
                    <a:pt x="42" y="1315"/>
                  </a:cubicBezTo>
                  <a:cubicBezTo>
                    <a:pt x="39" y="1316"/>
                    <a:pt x="35" y="1313"/>
                    <a:pt x="32" y="1312"/>
                  </a:cubicBezTo>
                  <a:cubicBezTo>
                    <a:pt x="30" y="1311"/>
                    <a:pt x="28" y="1311"/>
                    <a:pt x="25" y="1312"/>
                  </a:cubicBezTo>
                  <a:cubicBezTo>
                    <a:pt x="25" y="1313"/>
                    <a:pt x="25" y="1314"/>
                    <a:pt x="25" y="1316"/>
                  </a:cubicBezTo>
                  <a:cubicBezTo>
                    <a:pt x="27" y="1316"/>
                    <a:pt x="30" y="1319"/>
                    <a:pt x="32" y="1320"/>
                  </a:cubicBezTo>
                  <a:cubicBezTo>
                    <a:pt x="34" y="1321"/>
                    <a:pt x="34" y="1321"/>
                    <a:pt x="35" y="1321"/>
                  </a:cubicBezTo>
                  <a:cubicBezTo>
                    <a:pt x="37" y="1322"/>
                    <a:pt x="39" y="1321"/>
                    <a:pt x="41" y="1322"/>
                  </a:cubicBezTo>
                  <a:cubicBezTo>
                    <a:pt x="43" y="1327"/>
                    <a:pt x="31" y="1327"/>
                    <a:pt x="28" y="1329"/>
                  </a:cubicBezTo>
                  <a:cubicBezTo>
                    <a:pt x="24" y="1331"/>
                    <a:pt x="13" y="1332"/>
                    <a:pt x="16" y="1339"/>
                  </a:cubicBezTo>
                  <a:cubicBezTo>
                    <a:pt x="24" y="1340"/>
                    <a:pt x="31" y="1333"/>
                    <a:pt x="40" y="1335"/>
                  </a:cubicBezTo>
                  <a:cubicBezTo>
                    <a:pt x="42" y="1339"/>
                    <a:pt x="32" y="1343"/>
                    <a:pt x="29" y="1343"/>
                  </a:cubicBezTo>
                  <a:cubicBezTo>
                    <a:pt x="26" y="1343"/>
                    <a:pt x="20" y="1340"/>
                    <a:pt x="18" y="1342"/>
                  </a:cubicBezTo>
                  <a:cubicBezTo>
                    <a:pt x="16" y="1343"/>
                    <a:pt x="17" y="1345"/>
                    <a:pt x="16" y="1346"/>
                  </a:cubicBezTo>
                  <a:cubicBezTo>
                    <a:pt x="16" y="1347"/>
                    <a:pt x="13" y="1349"/>
                    <a:pt x="15" y="1351"/>
                  </a:cubicBezTo>
                  <a:cubicBezTo>
                    <a:pt x="15" y="1351"/>
                    <a:pt x="18" y="1351"/>
                    <a:pt x="19" y="1351"/>
                  </a:cubicBezTo>
                  <a:cubicBezTo>
                    <a:pt x="19" y="1352"/>
                    <a:pt x="21" y="1353"/>
                    <a:pt x="21" y="1353"/>
                  </a:cubicBezTo>
                  <a:cubicBezTo>
                    <a:pt x="24" y="1354"/>
                    <a:pt x="27" y="1353"/>
                    <a:pt x="30" y="1354"/>
                  </a:cubicBezTo>
                  <a:cubicBezTo>
                    <a:pt x="32" y="1357"/>
                    <a:pt x="30" y="1362"/>
                    <a:pt x="33" y="1365"/>
                  </a:cubicBezTo>
                  <a:cubicBezTo>
                    <a:pt x="37" y="1369"/>
                    <a:pt x="46" y="1365"/>
                    <a:pt x="50" y="1364"/>
                  </a:cubicBezTo>
                  <a:cubicBezTo>
                    <a:pt x="62" y="1364"/>
                    <a:pt x="73" y="1364"/>
                    <a:pt x="84" y="1364"/>
                  </a:cubicBezTo>
                  <a:cubicBezTo>
                    <a:pt x="88" y="1364"/>
                    <a:pt x="94" y="1365"/>
                    <a:pt x="97" y="1363"/>
                  </a:cubicBezTo>
                  <a:cubicBezTo>
                    <a:pt x="102" y="1361"/>
                    <a:pt x="102" y="1356"/>
                    <a:pt x="108" y="1355"/>
                  </a:cubicBezTo>
                  <a:cubicBezTo>
                    <a:pt x="111" y="1355"/>
                    <a:pt x="113" y="1355"/>
                    <a:pt x="116" y="1357"/>
                  </a:cubicBezTo>
                  <a:cubicBezTo>
                    <a:pt x="117" y="1358"/>
                    <a:pt x="119" y="1361"/>
                    <a:pt x="120" y="1362"/>
                  </a:cubicBezTo>
                  <a:cubicBezTo>
                    <a:pt x="123" y="1364"/>
                    <a:pt x="132" y="1362"/>
                    <a:pt x="130" y="1369"/>
                  </a:cubicBezTo>
                  <a:cubicBezTo>
                    <a:pt x="128" y="1369"/>
                    <a:pt x="124" y="1369"/>
                    <a:pt x="122" y="1369"/>
                  </a:cubicBezTo>
                  <a:cubicBezTo>
                    <a:pt x="120" y="1368"/>
                    <a:pt x="120" y="1366"/>
                    <a:pt x="118" y="1365"/>
                  </a:cubicBezTo>
                  <a:cubicBezTo>
                    <a:pt x="115" y="1363"/>
                    <a:pt x="108" y="1363"/>
                    <a:pt x="105" y="1365"/>
                  </a:cubicBezTo>
                  <a:cubicBezTo>
                    <a:pt x="98" y="1369"/>
                    <a:pt x="89" y="1365"/>
                    <a:pt x="81" y="1365"/>
                  </a:cubicBezTo>
                  <a:cubicBezTo>
                    <a:pt x="76" y="1365"/>
                    <a:pt x="71" y="1365"/>
                    <a:pt x="67" y="1365"/>
                  </a:cubicBezTo>
                  <a:cubicBezTo>
                    <a:pt x="64" y="1365"/>
                    <a:pt x="61" y="1365"/>
                    <a:pt x="59" y="1366"/>
                  </a:cubicBezTo>
                  <a:cubicBezTo>
                    <a:pt x="55" y="1366"/>
                    <a:pt x="54" y="1367"/>
                    <a:pt x="51" y="1369"/>
                  </a:cubicBezTo>
                  <a:cubicBezTo>
                    <a:pt x="47" y="1371"/>
                    <a:pt x="44" y="1371"/>
                    <a:pt x="40" y="1371"/>
                  </a:cubicBezTo>
                  <a:cubicBezTo>
                    <a:pt x="37" y="1372"/>
                    <a:pt x="36" y="1374"/>
                    <a:pt x="33" y="1373"/>
                  </a:cubicBezTo>
                  <a:cubicBezTo>
                    <a:pt x="30" y="1373"/>
                    <a:pt x="29" y="1370"/>
                    <a:pt x="29" y="1367"/>
                  </a:cubicBezTo>
                  <a:cubicBezTo>
                    <a:pt x="26" y="1367"/>
                    <a:pt x="21" y="1366"/>
                    <a:pt x="18" y="1367"/>
                  </a:cubicBezTo>
                  <a:cubicBezTo>
                    <a:pt x="14" y="1369"/>
                    <a:pt x="14" y="1372"/>
                    <a:pt x="10" y="1370"/>
                  </a:cubicBezTo>
                  <a:cubicBezTo>
                    <a:pt x="6" y="1368"/>
                    <a:pt x="6" y="1367"/>
                    <a:pt x="4" y="1370"/>
                  </a:cubicBezTo>
                  <a:cubicBezTo>
                    <a:pt x="3" y="1371"/>
                    <a:pt x="2" y="1373"/>
                    <a:pt x="2" y="1375"/>
                  </a:cubicBezTo>
                  <a:cubicBezTo>
                    <a:pt x="1" y="1377"/>
                    <a:pt x="0" y="1382"/>
                    <a:pt x="1" y="1383"/>
                  </a:cubicBezTo>
                  <a:cubicBezTo>
                    <a:pt x="2" y="1386"/>
                    <a:pt x="5" y="1385"/>
                    <a:pt x="7" y="1385"/>
                  </a:cubicBezTo>
                  <a:cubicBezTo>
                    <a:pt x="7" y="1388"/>
                    <a:pt x="6" y="1389"/>
                    <a:pt x="6" y="1391"/>
                  </a:cubicBezTo>
                  <a:cubicBezTo>
                    <a:pt x="5" y="1394"/>
                    <a:pt x="4" y="1397"/>
                    <a:pt x="9" y="1396"/>
                  </a:cubicBezTo>
                  <a:cubicBezTo>
                    <a:pt x="11" y="1399"/>
                    <a:pt x="12" y="1403"/>
                    <a:pt x="15" y="1406"/>
                  </a:cubicBezTo>
                  <a:cubicBezTo>
                    <a:pt x="16" y="1406"/>
                    <a:pt x="16" y="1404"/>
                    <a:pt x="17" y="1403"/>
                  </a:cubicBezTo>
                  <a:cubicBezTo>
                    <a:pt x="18" y="1400"/>
                    <a:pt x="19" y="1399"/>
                    <a:pt x="22" y="1398"/>
                  </a:cubicBezTo>
                  <a:cubicBezTo>
                    <a:pt x="27" y="1397"/>
                    <a:pt x="29" y="1398"/>
                    <a:pt x="34" y="1400"/>
                  </a:cubicBezTo>
                  <a:cubicBezTo>
                    <a:pt x="34" y="1412"/>
                    <a:pt x="40" y="1400"/>
                    <a:pt x="44" y="1399"/>
                  </a:cubicBezTo>
                  <a:cubicBezTo>
                    <a:pt x="44" y="1401"/>
                    <a:pt x="44" y="1403"/>
                    <a:pt x="44" y="1404"/>
                  </a:cubicBezTo>
                  <a:cubicBezTo>
                    <a:pt x="41" y="1405"/>
                    <a:pt x="39" y="1407"/>
                    <a:pt x="36" y="1407"/>
                  </a:cubicBezTo>
                  <a:cubicBezTo>
                    <a:pt x="34" y="1406"/>
                    <a:pt x="33" y="1404"/>
                    <a:pt x="31" y="1403"/>
                  </a:cubicBezTo>
                  <a:cubicBezTo>
                    <a:pt x="29" y="1402"/>
                    <a:pt x="25" y="1402"/>
                    <a:pt x="23" y="1403"/>
                  </a:cubicBezTo>
                  <a:cubicBezTo>
                    <a:pt x="17" y="1404"/>
                    <a:pt x="20" y="1414"/>
                    <a:pt x="15" y="1413"/>
                  </a:cubicBezTo>
                  <a:cubicBezTo>
                    <a:pt x="13" y="1418"/>
                    <a:pt x="19" y="1417"/>
                    <a:pt x="22" y="1418"/>
                  </a:cubicBezTo>
                  <a:cubicBezTo>
                    <a:pt x="23" y="1422"/>
                    <a:pt x="24" y="1423"/>
                    <a:pt x="21" y="1424"/>
                  </a:cubicBezTo>
                  <a:cubicBezTo>
                    <a:pt x="18" y="1426"/>
                    <a:pt x="15" y="1427"/>
                    <a:pt x="13" y="1430"/>
                  </a:cubicBezTo>
                  <a:cubicBezTo>
                    <a:pt x="11" y="1434"/>
                    <a:pt x="16" y="1434"/>
                    <a:pt x="18" y="1437"/>
                  </a:cubicBezTo>
                  <a:cubicBezTo>
                    <a:pt x="20" y="1440"/>
                    <a:pt x="19" y="1445"/>
                    <a:pt x="18" y="1448"/>
                  </a:cubicBezTo>
                  <a:cubicBezTo>
                    <a:pt x="16" y="1453"/>
                    <a:pt x="13" y="1466"/>
                    <a:pt x="20" y="1469"/>
                  </a:cubicBezTo>
                  <a:cubicBezTo>
                    <a:pt x="28" y="1471"/>
                    <a:pt x="25" y="1455"/>
                    <a:pt x="26" y="1451"/>
                  </a:cubicBezTo>
                  <a:cubicBezTo>
                    <a:pt x="33" y="1450"/>
                    <a:pt x="34" y="1453"/>
                    <a:pt x="35" y="1459"/>
                  </a:cubicBezTo>
                  <a:cubicBezTo>
                    <a:pt x="35" y="1466"/>
                    <a:pt x="36" y="1475"/>
                    <a:pt x="45" y="1473"/>
                  </a:cubicBezTo>
                  <a:cubicBezTo>
                    <a:pt x="45" y="1471"/>
                    <a:pt x="47" y="1472"/>
                    <a:pt x="48" y="1470"/>
                  </a:cubicBezTo>
                  <a:cubicBezTo>
                    <a:pt x="49" y="1469"/>
                    <a:pt x="49" y="1467"/>
                    <a:pt x="50" y="1466"/>
                  </a:cubicBezTo>
                  <a:cubicBezTo>
                    <a:pt x="50" y="1463"/>
                    <a:pt x="50" y="1459"/>
                    <a:pt x="52" y="1457"/>
                  </a:cubicBezTo>
                  <a:cubicBezTo>
                    <a:pt x="53" y="1458"/>
                    <a:pt x="55" y="1458"/>
                    <a:pt x="55" y="1459"/>
                  </a:cubicBezTo>
                  <a:cubicBezTo>
                    <a:pt x="56" y="1461"/>
                    <a:pt x="55" y="1463"/>
                    <a:pt x="55" y="1464"/>
                  </a:cubicBezTo>
                  <a:cubicBezTo>
                    <a:pt x="55" y="1466"/>
                    <a:pt x="55" y="1467"/>
                    <a:pt x="56" y="1469"/>
                  </a:cubicBezTo>
                  <a:cubicBezTo>
                    <a:pt x="56" y="1470"/>
                    <a:pt x="58" y="1471"/>
                    <a:pt x="57" y="1473"/>
                  </a:cubicBezTo>
                  <a:cubicBezTo>
                    <a:pt x="57" y="1474"/>
                    <a:pt x="55" y="1474"/>
                    <a:pt x="54" y="1475"/>
                  </a:cubicBezTo>
                  <a:cubicBezTo>
                    <a:pt x="54" y="1476"/>
                    <a:pt x="54" y="1477"/>
                    <a:pt x="53" y="1477"/>
                  </a:cubicBezTo>
                  <a:cubicBezTo>
                    <a:pt x="51" y="1478"/>
                    <a:pt x="46" y="1479"/>
                    <a:pt x="45" y="1478"/>
                  </a:cubicBezTo>
                  <a:cubicBezTo>
                    <a:pt x="41" y="1480"/>
                    <a:pt x="39" y="1479"/>
                    <a:pt x="38" y="1484"/>
                  </a:cubicBezTo>
                  <a:cubicBezTo>
                    <a:pt x="33" y="1484"/>
                    <a:pt x="33" y="1480"/>
                    <a:pt x="28" y="1481"/>
                  </a:cubicBezTo>
                  <a:cubicBezTo>
                    <a:pt x="28" y="1483"/>
                    <a:pt x="26" y="1485"/>
                    <a:pt x="26" y="1487"/>
                  </a:cubicBezTo>
                  <a:cubicBezTo>
                    <a:pt x="28" y="1489"/>
                    <a:pt x="32" y="1486"/>
                    <a:pt x="35" y="1488"/>
                  </a:cubicBezTo>
                  <a:cubicBezTo>
                    <a:pt x="35" y="1488"/>
                    <a:pt x="36" y="1490"/>
                    <a:pt x="37" y="1490"/>
                  </a:cubicBezTo>
                  <a:cubicBezTo>
                    <a:pt x="38" y="1492"/>
                    <a:pt x="41" y="1492"/>
                    <a:pt x="42" y="1493"/>
                  </a:cubicBezTo>
                  <a:cubicBezTo>
                    <a:pt x="40" y="1495"/>
                    <a:pt x="38" y="1495"/>
                    <a:pt x="36" y="1494"/>
                  </a:cubicBezTo>
                  <a:cubicBezTo>
                    <a:pt x="34" y="1494"/>
                    <a:pt x="35" y="1492"/>
                    <a:pt x="32" y="1493"/>
                  </a:cubicBezTo>
                  <a:cubicBezTo>
                    <a:pt x="32" y="1496"/>
                    <a:pt x="33" y="1499"/>
                    <a:pt x="33" y="1502"/>
                  </a:cubicBezTo>
                  <a:cubicBezTo>
                    <a:pt x="30" y="1503"/>
                    <a:pt x="28" y="1499"/>
                    <a:pt x="26" y="1498"/>
                  </a:cubicBezTo>
                  <a:cubicBezTo>
                    <a:pt x="25" y="1498"/>
                    <a:pt x="23" y="1498"/>
                    <a:pt x="21" y="1498"/>
                  </a:cubicBezTo>
                  <a:cubicBezTo>
                    <a:pt x="20" y="1503"/>
                    <a:pt x="26" y="1506"/>
                    <a:pt x="29" y="1509"/>
                  </a:cubicBezTo>
                  <a:cubicBezTo>
                    <a:pt x="31" y="1513"/>
                    <a:pt x="28" y="1515"/>
                    <a:pt x="28" y="1519"/>
                  </a:cubicBezTo>
                  <a:cubicBezTo>
                    <a:pt x="27" y="1522"/>
                    <a:pt x="27" y="1526"/>
                    <a:pt x="27" y="1529"/>
                  </a:cubicBezTo>
                  <a:cubicBezTo>
                    <a:pt x="26" y="1534"/>
                    <a:pt x="28" y="1536"/>
                    <a:pt x="33" y="1535"/>
                  </a:cubicBezTo>
                  <a:cubicBezTo>
                    <a:pt x="34" y="1531"/>
                    <a:pt x="32" y="1526"/>
                    <a:pt x="38" y="1526"/>
                  </a:cubicBezTo>
                  <a:cubicBezTo>
                    <a:pt x="40" y="1527"/>
                    <a:pt x="41" y="1529"/>
                    <a:pt x="43" y="1527"/>
                  </a:cubicBezTo>
                  <a:cubicBezTo>
                    <a:pt x="45" y="1526"/>
                    <a:pt x="44" y="1522"/>
                    <a:pt x="48" y="1523"/>
                  </a:cubicBezTo>
                  <a:cubicBezTo>
                    <a:pt x="49" y="1529"/>
                    <a:pt x="40" y="1527"/>
                    <a:pt x="38" y="1530"/>
                  </a:cubicBezTo>
                  <a:cubicBezTo>
                    <a:pt x="37" y="1532"/>
                    <a:pt x="38" y="1534"/>
                    <a:pt x="37" y="1536"/>
                  </a:cubicBezTo>
                  <a:cubicBezTo>
                    <a:pt x="35" y="1538"/>
                    <a:pt x="34" y="1539"/>
                    <a:pt x="32" y="1539"/>
                  </a:cubicBezTo>
                  <a:cubicBezTo>
                    <a:pt x="31" y="1546"/>
                    <a:pt x="32" y="1553"/>
                    <a:pt x="32" y="1559"/>
                  </a:cubicBezTo>
                  <a:cubicBezTo>
                    <a:pt x="32" y="1566"/>
                    <a:pt x="28" y="1572"/>
                    <a:pt x="30" y="1578"/>
                  </a:cubicBezTo>
                  <a:cubicBezTo>
                    <a:pt x="31" y="1579"/>
                    <a:pt x="32" y="1583"/>
                    <a:pt x="34" y="1583"/>
                  </a:cubicBezTo>
                  <a:cubicBezTo>
                    <a:pt x="38" y="1585"/>
                    <a:pt x="39" y="1580"/>
                    <a:pt x="39" y="1577"/>
                  </a:cubicBezTo>
                  <a:cubicBezTo>
                    <a:pt x="39" y="1576"/>
                    <a:pt x="38" y="1572"/>
                    <a:pt x="40" y="1571"/>
                  </a:cubicBezTo>
                  <a:cubicBezTo>
                    <a:pt x="43" y="1569"/>
                    <a:pt x="47" y="1578"/>
                    <a:pt x="47" y="1580"/>
                  </a:cubicBezTo>
                  <a:cubicBezTo>
                    <a:pt x="52" y="1582"/>
                    <a:pt x="51" y="1574"/>
                    <a:pt x="53" y="1571"/>
                  </a:cubicBezTo>
                  <a:cubicBezTo>
                    <a:pt x="55" y="1569"/>
                    <a:pt x="57" y="1570"/>
                    <a:pt x="58" y="1568"/>
                  </a:cubicBezTo>
                  <a:cubicBezTo>
                    <a:pt x="60" y="1567"/>
                    <a:pt x="59" y="1564"/>
                    <a:pt x="59" y="1562"/>
                  </a:cubicBezTo>
                  <a:cubicBezTo>
                    <a:pt x="62" y="1561"/>
                    <a:pt x="72" y="1561"/>
                    <a:pt x="70" y="1566"/>
                  </a:cubicBezTo>
                  <a:cubicBezTo>
                    <a:pt x="67" y="1566"/>
                    <a:pt x="66" y="1569"/>
                    <a:pt x="67" y="1571"/>
                  </a:cubicBezTo>
                  <a:cubicBezTo>
                    <a:pt x="71" y="1571"/>
                    <a:pt x="75" y="1570"/>
                    <a:pt x="79" y="1571"/>
                  </a:cubicBezTo>
                  <a:cubicBezTo>
                    <a:pt x="80" y="1575"/>
                    <a:pt x="80" y="1576"/>
                    <a:pt x="76" y="1578"/>
                  </a:cubicBezTo>
                  <a:cubicBezTo>
                    <a:pt x="75" y="1578"/>
                    <a:pt x="73" y="1579"/>
                    <a:pt x="72" y="1579"/>
                  </a:cubicBezTo>
                  <a:cubicBezTo>
                    <a:pt x="69" y="1578"/>
                    <a:pt x="68" y="1576"/>
                    <a:pt x="66" y="1577"/>
                  </a:cubicBezTo>
                  <a:cubicBezTo>
                    <a:pt x="65" y="1579"/>
                    <a:pt x="64" y="1583"/>
                    <a:pt x="65" y="1585"/>
                  </a:cubicBezTo>
                  <a:cubicBezTo>
                    <a:pt x="65" y="1588"/>
                    <a:pt x="67" y="1588"/>
                    <a:pt x="66" y="1591"/>
                  </a:cubicBezTo>
                  <a:cubicBezTo>
                    <a:pt x="65" y="1591"/>
                    <a:pt x="64" y="1591"/>
                    <a:pt x="63" y="1591"/>
                  </a:cubicBezTo>
                  <a:cubicBezTo>
                    <a:pt x="63" y="1589"/>
                    <a:pt x="63" y="1587"/>
                    <a:pt x="63" y="1585"/>
                  </a:cubicBezTo>
                  <a:cubicBezTo>
                    <a:pt x="58" y="1585"/>
                    <a:pt x="52" y="1584"/>
                    <a:pt x="47" y="1585"/>
                  </a:cubicBezTo>
                  <a:cubicBezTo>
                    <a:pt x="46" y="1589"/>
                    <a:pt x="49" y="1590"/>
                    <a:pt x="49" y="1593"/>
                  </a:cubicBezTo>
                  <a:cubicBezTo>
                    <a:pt x="50" y="1596"/>
                    <a:pt x="49" y="1597"/>
                    <a:pt x="49" y="1599"/>
                  </a:cubicBezTo>
                  <a:cubicBezTo>
                    <a:pt x="47" y="1604"/>
                    <a:pt x="48" y="1608"/>
                    <a:pt x="47" y="1613"/>
                  </a:cubicBezTo>
                  <a:cubicBezTo>
                    <a:pt x="47" y="1615"/>
                    <a:pt x="46" y="1619"/>
                    <a:pt x="47" y="1622"/>
                  </a:cubicBezTo>
                  <a:cubicBezTo>
                    <a:pt x="47" y="1624"/>
                    <a:pt x="49" y="1624"/>
                    <a:pt x="50" y="1626"/>
                  </a:cubicBezTo>
                  <a:cubicBezTo>
                    <a:pt x="52" y="1628"/>
                    <a:pt x="53" y="1631"/>
                    <a:pt x="54" y="1633"/>
                  </a:cubicBezTo>
                  <a:cubicBezTo>
                    <a:pt x="57" y="1637"/>
                    <a:pt x="62" y="1639"/>
                    <a:pt x="67" y="1641"/>
                  </a:cubicBezTo>
                  <a:cubicBezTo>
                    <a:pt x="66" y="1644"/>
                    <a:pt x="68" y="1644"/>
                    <a:pt x="69" y="1646"/>
                  </a:cubicBezTo>
                  <a:cubicBezTo>
                    <a:pt x="69" y="1647"/>
                    <a:pt x="68" y="1649"/>
                    <a:pt x="68" y="1651"/>
                  </a:cubicBezTo>
                  <a:cubicBezTo>
                    <a:pt x="69" y="1654"/>
                    <a:pt x="69" y="1657"/>
                    <a:pt x="72" y="1658"/>
                  </a:cubicBezTo>
                  <a:cubicBezTo>
                    <a:pt x="73" y="1659"/>
                    <a:pt x="76" y="1658"/>
                    <a:pt x="78" y="1659"/>
                  </a:cubicBezTo>
                  <a:cubicBezTo>
                    <a:pt x="80" y="1660"/>
                    <a:pt x="80" y="1663"/>
                    <a:pt x="83" y="1664"/>
                  </a:cubicBezTo>
                  <a:cubicBezTo>
                    <a:pt x="84" y="1664"/>
                    <a:pt x="86" y="1663"/>
                    <a:pt x="88" y="1664"/>
                  </a:cubicBezTo>
                  <a:cubicBezTo>
                    <a:pt x="90" y="1666"/>
                    <a:pt x="91" y="1668"/>
                    <a:pt x="93" y="1670"/>
                  </a:cubicBezTo>
                  <a:cubicBezTo>
                    <a:pt x="95" y="1671"/>
                    <a:pt x="95" y="1672"/>
                    <a:pt x="97" y="1673"/>
                  </a:cubicBezTo>
                  <a:cubicBezTo>
                    <a:pt x="99" y="1674"/>
                    <a:pt x="102" y="1673"/>
                    <a:pt x="105" y="1674"/>
                  </a:cubicBezTo>
                  <a:cubicBezTo>
                    <a:pt x="112" y="1676"/>
                    <a:pt x="108" y="1680"/>
                    <a:pt x="106" y="1684"/>
                  </a:cubicBezTo>
                  <a:cubicBezTo>
                    <a:pt x="104" y="1690"/>
                    <a:pt x="109" y="1690"/>
                    <a:pt x="114" y="1690"/>
                  </a:cubicBezTo>
                  <a:cubicBezTo>
                    <a:pt x="116" y="1690"/>
                    <a:pt x="118" y="1688"/>
                    <a:pt x="120" y="1689"/>
                  </a:cubicBezTo>
                  <a:cubicBezTo>
                    <a:pt x="122" y="1690"/>
                    <a:pt x="122" y="1692"/>
                    <a:pt x="123" y="1693"/>
                  </a:cubicBezTo>
                  <a:cubicBezTo>
                    <a:pt x="125" y="1697"/>
                    <a:pt x="129" y="1696"/>
                    <a:pt x="133" y="1698"/>
                  </a:cubicBezTo>
                  <a:cubicBezTo>
                    <a:pt x="135" y="1699"/>
                    <a:pt x="136" y="1701"/>
                    <a:pt x="138" y="1700"/>
                  </a:cubicBezTo>
                  <a:cubicBezTo>
                    <a:pt x="138" y="1693"/>
                    <a:pt x="143" y="1695"/>
                    <a:pt x="149" y="1697"/>
                  </a:cubicBezTo>
                  <a:cubicBezTo>
                    <a:pt x="154" y="1698"/>
                    <a:pt x="161" y="1699"/>
                    <a:pt x="167" y="1698"/>
                  </a:cubicBezTo>
                  <a:cubicBezTo>
                    <a:pt x="169" y="1697"/>
                    <a:pt x="171" y="1696"/>
                    <a:pt x="174" y="1695"/>
                  </a:cubicBezTo>
                  <a:cubicBezTo>
                    <a:pt x="177" y="1695"/>
                    <a:pt x="180" y="1695"/>
                    <a:pt x="183" y="1695"/>
                  </a:cubicBezTo>
                  <a:cubicBezTo>
                    <a:pt x="187" y="1696"/>
                    <a:pt x="187" y="1695"/>
                    <a:pt x="190" y="1692"/>
                  </a:cubicBezTo>
                  <a:cubicBezTo>
                    <a:pt x="194" y="1689"/>
                    <a:pt x="199" y="1690"/>
                    <a:pt x="202" y="1685"/>
                  </a:cubicBezTo>
                  <a:cubicBezTo>
                    <a:pt x="203" y="1683"/>
                    <a:pt x="202" y="1681"/>
                    <a:pt x="204" y="1679"/>
                  </a:cubicBezTo>
                  <a:cubicBezTo>
                    <a:pt x="204" y="1677"/>
                    <a:pt x="206" y="1676"/>
                    <a:pt x="207" y="1675"/>
                  </a:cubicBezTo>
                  <a:cubicBezTo>
                    <a:pt x="209" y="1672"/>
                    <a:pt x="212" y="1668"/>
                    <a:pt x="217" y="1666"/>
                  </a:cubicBezTo>
                  <a:cubicBezTo>
                    <a:pt x="220" y="1665"/>
                    <a:pt x="221" y="1666"/>
                    <a:pt x="223" y="1663"/>
                  </a:cubicBezTo>
                  <a:cubicBezTo>
                    <a:pt x="225" y="1661"/>
                    <a:pt x="225" y="1660"/>
                    <a:pt x="227" y="1658"/>
                  </a:cubicBezTo>
                  <a:cubicBezTo>
                    <a:pt x="229" y="1656"/>
                    <a:pt x="230" y="1655"/>
                    <a:pt x="232" y="1653"/>
                  </a:cubicBezTo>
                  <a:cubicBezTo>
                    <a:pt x="234" y="1649"/>
                    <a:pt x="237" y="1647"/>
                    <a:pt x="240" y="1644"/>
                  </a:cubicBezTo>
                  <a:cubicBezTo>
                    <a:pt x="243" y="1641"/>
                    <a:pt x="245" y="1639"/>
                    <a:pt x="248" y="1637"/>
                  </a:cubicBezTo>
                  <a:cubicBezTo>
                    <a:pt x="252" y="1634"/>
                    <a:pt x="252" y="1629"/>
                    <a:pt x="256" y="1625"/>
                  </a:cubicBezTo>
                  <a:cubicBezTo>
                    <a:pt x="257" y="1624"/>
                    <a:pt x="260" y="1623"/>
                    <a:pt x="261" y="1622"/>
                  </a:cubicBezTo>
                  <a:cubicBezTo>
                    <a:pt x="263" y="1620"/>
                    <a:pt x="264" y="1619"/>
                    <a:pt x="265" y="1617"/>
                  </a:cubicBezTo>
                  <a:cubicBezTo>
                    <a:pt x="266" y="1615"/>
                    <a:pt x="267" y="1614"/>
                    <a:pt x="268" y="1612"/>
                  </a:cubicBezTo>
                  <a:cubicBezTo>
                    <a:pt x="270" y="1610"/>
                    <a:pt x="272" y="1609"/>
                    <a:pt x="274" y="1605"/>
                  </a:cubicBezTo>
                  <a:cubicBezTo>
                    <a:pt x="275" y="1601"/>
                    <a:pt x="277" y="1597"/>
                    <a:pt x="279" y="1594"/>
                  </a:cubicBezTo>
                  <a:cubicBezTo>
                    <a:pt x="281" y="1592"/>
                    <a:pt x="280" y="1593"/>
                    <a:pt x="282" y="1592"/>
                  </a:cubicBezTo>
                  <a:cubicBezTo>
                    <a:pt x="283" y="1592"/>
                    <a:pt x="286" y="1592"/>
                    <a:pt x="287" y="1593"/>
                  </a:cubicBezTo>
                  <a:cubicBezTo>
                    <a:pt x="288" y="1594"/>
                    <a:pt x="287" y="1595"/>
                    <a:pt x="288" y="1596"/>
                  </a:cubicBezTo>
                  <a:cubicBezTo>
                    <a:pt x="290" y="1603"/>
                    <a:pt x="294" y="1599"/>
                    <a:pt x="296" y="1596"/>
                  </a:cubicBezTo>
                  <a:cubicBezTo>
                    <a:pt x="297" y="1594"/>
                    <a:pt x="298" y="1592"/>
                    <a:pt x="300" y="1592"/>
                  </a:cubicBezTo>
                  <a:cubicBezTo>
                    <a:pt x="302" y="1592"/>
                    <a:pt x="302" y="1594"/>
                    <a:pt x="304" y="1594"/>
                  </a:cubicBezTo>
                  <a:cubicBezTo>
                    <a:pt x="305" y="1595"/>
                    <a:pt x="307" y="1594"/>
                    <a:pt x="309" y="1594"/>
                  </a:cubicBezTo>
                  <a:cubicBezTo>
                    <a:pt x="316" y="1591"/>
                    <a:pt x="314" y="1581"/>
                    <a:pt x="314" y="1574"/>
                  </a:cubicBezTo>
                  <a:cubicBezTo>
                    <a:pt x="314" y="1568"/>
                    <a:pt x="316" y="1563"/>
                    <a:pt x="316" y="1557"/>
                  </a:cubicBezTo>
                  <a:cubicBezTo>
                    <a:pt x="316" y="1554"/>
                    <a:pt x="316" y="1552"/>
                    <a:pt x="315" y="1549"/>
                  </a:cubicBezTo>
                  <a:cubicBezTo>
                    <a:pt x="314" y="1545"/>
                    <a:pt x="312" y="1542"/>
                    <a:pt x="308" y="1540"/>
                  </a:cubicBezTo>
                  <a:cubicBezTo>
                    <a:pt x="307" y="1540"/>
                    <a:pt x="305" y="1540"/>
                    <a:pt x="304" y="1539"/>
                  </a:cubicBezTo>
                  <a:cubicBezTo>
                    <a:pt x="304" y="1538"/>
                    <a:pt x="303" y="1536"/>
                    <a:pt x="304" y="1535"/>
                  </a:cubicBezTo>
                  <a:cubicBezTo>
                    <a:pt x="307" y="1532"/>
                    <a:pt x="313" y="1539"/>
                    <a:pt x="316" y="1540"/>
                  </a:cubicBezTo>
                  <a:cubicBezTo>
                    <a:pt x="320" y="1540"/>
                    <a:pt x="321" y="1537"/>
                    <a:pt x="323" y="1534"/>
                  </a:cubicBezTo>
                  <a:cubicBezTo>
                    <a:pt x="325" y="1531"/>
                    <a:pt x="326" y="1530"/>
                    <a:pt x="325" y="1526"/>
                  </a:cubicBezTo>
                  <a:cubicBezTo>
                    <a:pt x="325" y="1525"/>
                    <a:pt x="324" y="1524"/>
                    <a:pt x="325" y="1522"/>
                  </a:cubicBezTo>
                  <a:cubicBezTo>
                    <a:pt x="331" y="1520"/>
                    <a:pt x="329" y="1530"/>
                    <a:pt x="329" y="1533"/>
                  </a:cubicBezTo>
                  <a:cubicBezTo>
                    <a:pt x="329" y="1538"/>
                    <a:pt x="333" y="1544"/>
                    <a:pt x="332" y="1548"/>
                  </a:cubicBezTo>
                  <a:cubicBezTo>
                    <a:pt x="331" y="1551"/>
                    <a:pt x="329" y="1552"/>
                    <a:pt x="329" y="1555"/>
                  </a:cubicBezTo>
                  <a:cubicBezTo>
                    <a:pt x="329" y="1556"/>
                    <a:pt x="330" y="1558"/>
                    <a:pt x="330" y="1559"/>
                  </a:cubicBezTo>
                  <a:cubicBezTo>
                    <a:pt x="331" y="1561"/>
                    <a:pt x="332" y="1562"/>
                    <a:pt x="333" y="1565"/>
                  </a:cubicBezTo>
                  <a:cubicBezTo>
                    <a:pt x="334" y="1568"/>
                    <a:pt x="334" y="1570"/>
                    <a:pt x="334" y="1573"/>
                  </a:cubicBezTo>
                  <a:cubicBezTo>
                    <a:pt x="336" y="1573"/>
                    <a:pt x="338" y="1573"/>
                    <a:pt x="340" y="1572"/>
                  </a:cubicBezTo>
                  <a:cubicBezTo>
                    <a:pt x="341" y="1574"/>
                    <a:pt x="345" y="1579"/>
                    <a:pt x="346" y="1580"/>
                  </a:cubicBezTo>
                  <a:cubicBezTo>
                    <a:pt x="350" y="1582"/>
                    <a:pt x="352" y="1578"/>
                    <a:pt x="352" y="1584"/>
                  </a:cubicBezTo>
                  <a:cubicBezTo>
                    <a:pt x="353" y="1593"/>
                    <a:pt x="346" y="1586"/>
                    <a:pt x="341" y="1587"/>
                  </a:cubicBezTo>
                  <a:cubicBezTo>
                    <a:pt x="340" y="1590"/>
                    <a:pt x="341" y="1592"/>
                    <a:pt x="343" y="1593"/>
                  </a:cubicBezTo>
                  <a:cubicBezTo>
                    <a:pt x="344" y="1594"/>
                    <a:pt x="345" y="1594"/>
                    <a:pt x="346" y="1594"/>
                  </a:cubicBezTo>
                  <a:cubicBezTo>
                    <a:pt x="347" y="1595"/>
                    <a:pt x="346" y="1595"/>
                    <a:pt x="346" y="1596"/>
                  </a:cubicBezTo>
                  <a:cubicBezTo>
                    <a:pt x="348" y="1601"/>
                    <a:pt x="345" y="1607"/>
                    <a:pt x="350" y="1610"/>
                  </a:cubicBezTo>
                  <a:cubicBezTo>
                    <a:pt x="355" y="1605"/>
                    <a:pt x="352" y="1595"/>
                    <a:pt x="357" y="1589"/>
                  </a:cubicBezTo>
                  <a:cubicBezTo>
                    <a:pt x="358" y="1588"/>
                    <a:pt x="361" y="1586"/>
                    <a:pt x="363" y="1587"/>
                  </a:cubicBezTo>
                  <a:cubicBezTo>
                    <a:pt x="366" y="1588"/>
                    <a:pt x="366" y="1594"/>
                    <a:pt x="367" y="1597"/>
                  </a:cubicBezTo>
                  <a:cubicBezTo>
                    <a:pt x="368" y="1600"/>
                    <a:pt x="368" y="1603"/>
                    <a:pt x="371" y="1605"/>
                  </a:cubicBezTo>
                  <a:cubicBezTo>
                    <a:pt x="372" y="1605"/>
                    <a:pt x="373" y="1605"/>
                    <a:pt x="374" y="1606"/>
                  </a:cubicBezTo>
                  <a:cubicBezTo>
                    <a:pt x="376" y="1606"/>
                    <a:pt x="375" y="1608"/>
                    <a:pt x="376" y="1608"/>
                  </a:cubicBezTo>
                  <a:cubicBezTo>
                    <a:pt x="381" y="1609"/>
                    <a:pt x="383" y="1605"/>
                    <a:pt x="384" y="1601"/>
                  </a:cubicBezTo>
                  <a:cubicBezTo>
                    <a:pt x="385" y="1597"/>
                    <a:pt x="384" y="1593"/>
                    <a:pt x="385" y="1588"/>
                  </a:cubicBezTo>
                  <a:cubicBezTo>
                    <a:pt x="388" y="1579"/>
                    <a:pt x="388" y="1570"/>
                    <a:pt x="388" y="1561"/>
                  </a:cubicBezTo>
                  <a:cubicBezTo>
                    <a:pt x="388" y="1553"/>
                    <a:pt x="385" y="1545"/>
                    <a:pt x="385" y="1537"/>
                  </a:cubicBezTo>
                  <a:cubicBezTo>
                    <a:pt x="385" y="1535"/>
                    <a:pt x="385" y="1532"/>
                    <a:pt x="385" y="1530"/>
                  </a:cubicBezTo>
                  <a:cubicBezTo>
                    <a:pt x="386" y="1527"/>
                    <a:pt x="390" y="1524"/>
                    <a:pt x="391" y="1522"/>
                  </a:cubicBezTo>
                  <a:cubicBezTo>
                    <a:pt x="393" y="1520"/>
                    <a:pt x="393" y="1519"/>
                    <a:pt x="394" y="1516"/>
                  </a:cubicBezTo>
                  <a:cubicBezTo>
                    <a:pt x="394" y="1512"/>
                    <a:pt x="389" y="1508"/>
                    <a:pt x="390" y="1504"/>
                  </a:cubicBezTo>
                  <a:cubicBezTo>
                    <a:pt x="396" y="1504"/>
                    <a:pt x="399" y="1499"/>
                    <a:pt x="404" y="1497"/>
                  </a:cubicBezTo>
                  <a:cubicBezTo>
                    <a:pt x="407" y="1496"/>
                    <a:pt x="412" y="1493"/>
                    <a:pt x="415" y="1489"/>
                  </a:cubicBezTo>
                  <a:cubicBezTo>
                    <a:pt x="417" y="1485"/>
                    <a:pt x="416" y="1478"/>
                    <a:pt x="418" y="1473"/>
                  </a:cubicBezTo>
                  <a:cubicBezTo>
                    <a:pt x="419" y="1470"/>
                    <a:pt x="421" y="1469"/>
                    <a:pt x="422" y="1466"/>
                  </a:cubicBezTo>
                  <a:cubicBezTo>
                    <a:pt x="422" y="1466"/>
                    <a:pt x="422" y="1464"/>
                    <a:pt x="422" y="1463"/>
                  </a:cubicBezTo>
                  <a:cubicBezTo>
                    <a:pt x="422" y="1463"/>
                    <a:pt x="421" y="1463"/>
                    <a:pt x="420" y="1464"/>
                  </a:cubicBezTo>
                  <a:cubicBezTo>
                    <a:pt x="422" y="1457"/>
                    <a:pt x="427" y="1451"/>
                    <a:pt x="430" y="1446"/>
                  </a:cubicBezTo>
                  <a:cubicBezTo>
                    <a:pt x="432" y="1443"/>
                    <a:pt x="433" y="1442"/>
                    <a:pt x="433" y="1440"/>
                  </a:cubicBezTo>
                  <a:cubicBezTo>
                    <a:pt x="434" y="1437"/>
                    <a:pt x="433" y="1434"/>
                    <a:pt x="433" y="1431"/>
                  </a:cubicBezTo>
                  <a:cubicBezTo>
                    <a:pt x="431" y="1419"/>
                    <a:pt x="423" y="1410"/>
                    <a:pt x="420" y="1398"/>
                  </a:cubicBezTo>
                  <a:cubicBezTo>
                    <a:pt x="419" y="1394"/>
                    <a:pt x="418" y="1390"/>
                    <a:pt x="417" y="1386"/>
                  </a:cubicBezTo>
                  <a:cubicBezTo>
                    <a:pt x="417" y="1383"/>
                    <a:pt x="415" y="1377"/>
                    <a:pt x="416" y="1374"/>
                  </a:cubicBezTo>
                  <a:cubicBezTo>
                    <a:pt x="418" y="1374"/>
                    <a:pt x="419" y="1375"/>
                    <a:pt x="421" y="1374"/>
                  </a:cubicBezTo>
                  <a:cubicBezTo>
                    <a:pt x="424" y="1374"/>
                    <a:pt x="426" y="1373"/>
                    <a:pt x="428" y="1372"/>
                  </a:cubicBezTo>
                  <a:cubicBezTo>
                    <a:pt x="429" y="1371"/>
                    <a:pt x="430" y="1371"/>
                    <a:pt x="431" y="1371"/>
                  </a:cubicBezTo>
                  <a:cubicBezTo>
                    <a:pt x="431" y="1370"/>
                    <a:pt x="431" y="1370"/>
                    <a:pt x="432" y="1370"/>
                  </a:cubicBezTo>
                  <a:cubicBezTo>
                    <a:pt x="434" y="1370"/>
                    <a:pt x="435" y="1369"/>
                    <a:pt x="436" y="1369"/>
                  </a:cubicBezTo>
                  <a:cubicBezTo>
                    <a:pt x="437" y="1367"/>
                    <a:pt x="436" y="1367"/>
                    <a:pt x="437" y="1365"/>
                  </a:cubicBezTo>
                  <a:cubicBezTo>
                    <a:pt x="437" y="1363"/>
                    <a:pt x="437" y="1364"/>
                    <a:pt x="439" y="1361"/>
                  </a:cubicBezTo>
                  <a:cubicBezTo>
                    <a:pt x="441" y="1356"/>
                    <a:pt x="443" y="1351"/>
                    <a:pt x="445" y="1346"/>
                  </a:cubicBezTo>
                  <a:cubicBezTo>
                    <a:pt x="447" y="1343"/>
                    <a:pt x="452" y="1338"/>
                    <a:pt x="451" y="1334"/>
                  </a:cubicBezTo>
                  <a:cubicBezTo>
                    <a:pt x="448" y="1333"/>
                    <a:pt x="445" y="1327"/>
                    <a:pt x="443" y="1325"/>
                  </a:cubicBezTo>
                  <a:cubicBezTo>
                    <a:pt x="442" y="1324"/>
                    <a:pt x="441" y="1324"/>
                    <a:pt x="440" y="1322"/>
                  </a:cubicBezTo>
                  <a:cubicBezTo>
                    <a:pt x="439" y="1322"/>
                    <a:pt x="440" y="1320"/>
                    <a:pt x="439" y="1320"/>
                  </a:cubicBezTo>
                  <a:cubicBezTo>
                    <a:pt x="435" y="1314"/>
                    <a:pt x="427" y="1318"/>
                    <a:pt x="423" y="1314"/>
                  </a:cubicBezTo>
                  <a:cubicBezTo>
                    <a:pt x="420" y="1311"/>
                    <a:pt x="419" y="1308"/>
                    <a:pt x="416" y="1306"/>
                  </a:cubicBezTo>
                  <a:cubicBezTo>
                    <a:pt x="413" y="1304"/>
                    <a:pt x="408" y="1303"/>
                    <a:pt x="406" y="1299"/>
                  </a:cubicBezTo>
                  <a:cubicBezTo>
                    <a:pt x="403" y="1293"/>
                    <a:pt x="408" y="1285"/>
                    <a:pt x="409" y="1279"/>
                  </a:cubicBezTo>
                  <a:cubicBezTo>
                    <a:pt x="412" y="1266"/>
                    <a:pt x="412" y="1253"/>
                    <a:pt x="412" y="1239"/>
                  </a:cubicBezTo>
                  <a:cubicBezTo>
                    <a:pt x="412" y="1235"/>
                    <a:pt x="413" y="1231"/>
                    <a:pt x="412" y="1227"/>
                  </a:cubicBezTo>
                  <a:cubicBezTo>
                    <a:pt x="412" y="1225"/>
                    <a:pt x="411" y="1223"/>
                    <a:pt x="410" y="1221"/>
                  </a:cubicBezTo>
                  <a:cubicBezTo>
                    <a:pt x="407" y="1214"/>
                    <a:pt x="404" y="1207"/>
                    <a:pt x="400" y="1201"/>
                  </a:cubicBezTo>
                  <a:cubicBezTo>
                    <a:pt x="399" y="1198"/>
                    <a:pt x="398" y="1198"/>
                    <a:pt x="398" y="1195"/>
                  </a:cubicBezTo>
                  <a:cubicBezTo>
                    <a:pt x="399" y="1190"/>
                    <a:pt x="400" y="1186"/>
                    <a:pt x="400" y="1182"/>
                  </a:cubicBezTo>
                  <a:cubicBezTo>
                    <a:pt x="400" y="1176"/>
                    <a:pt x="400" y="1171"/>
                    <a:pt x="400" y="1165"/>
                  </a:cubicBezTo>
                  <a:cubicBezTo>
                    <a:pt x="400" y="1163"/>
                    <a:pt x="399" y="1159"/>
                    <a:pt x="400" y="1157"/>
                  </a:cubicBezTo>
                  <a:cubicBezTo>
                    <a:pt x="400" y="1156"/>
                    <a:pt x="402" y="1157"/>
                    <a:pt x="402" y="1156"/>
                  </a:cubicBezTo>
                  <a:cubicBezTo>
                    <a:pt x="403" y="1155"/>
                    <a:pt x="403" y="1153"/>
                    <a:pt x="404" y="1152"/>
                  </a:cubicBezTo>
                  <a:cubicBezTo>
                    <a:pt x="405" y="1151"/>
                    <a:pt x="408" y="1149"/>
                    <a:pt x="408" y="1147"/>
                  </a:cubicBezTo>
                  <a:cubicBezTo>
                    <a:pt x="409" y="1145"/>
                    <a:pt x="408" y="1144"/>
                    <a:pt x="407" y="1142"/>
                  </a:cubicBezTo>
                  <a:cubicBezTo>
                    <a:pt x="405" y="1138"/>
                    <a:pt x="405" y="1134"/>
                    <a:pt x="404" y="1130"/>
                  </a:cubicBezTo>
                  <a:cubicBezTo>
                    <a:pt x="403" y="1127"/>
                    <a:pt x="402" y="1124"/>
                    <a:pt x="400" y="1121"/>
                  </a:cubicBezTo>
                  <a:cubicBezTo>
                    <a:pt x="400" y="1119"/>
                    <a:pt x="399" y="1117"/>
                    <a:pt x="399" y="1115"/>
                  </a:cubicBezTo>
                  <a:cubicBezTo>
                    <a:pt x="399" y="1113"/>
                    <a:pt x="400" y="1112"/>
                    <a:pt x="401" y="1110"/>
                  </a:cubicBezTo>
                  <a:cubicBezTo>
                    <a:pt x="404" y="1105"/>
                    <a:pt x="403" y="1097"/>
                    <a:pt x="403" y="1092"/>
                  </a:cubicBezTo>
                  <a:cubicBezTo>
                    <a:pt x="403" y="1088"/>
                    <a:pt x="403" y="1084"/>
                    <a:pt x="403" y="1080"/>
                  </a:cubicBezTo>
                  <a:cubicBezTo>
                    <a:pt x="404" y="1073"/>
                    <a:pt x="409" y="1071"/>
                    <a:pt x="412" y="1066"/>
                  </a:cubicBezTo>
                  <a:cubicBezTo>
                    <a:pt x="415" y="1062"/>
                    <a:pt x="418" y="1057"/>
                    <a:pt x="419" y="1053"/>
                  </a:cubicBezTo>
                  <a:cubicBezTo>
                    <a:pt x="420" y="1050"/>
                    <a:pt x="421" y="1047"/>
                    <a:pt x="422" y="1045"/>
                  </a:cubicBezTo>
                  <a:cubicBezTo>
                    <a:pt x="423" y="1041"/>
                    <a:pt x="422" y="1039"/>
                    <a:pt x="425" y="1036"/>
                  </a:cubicBezTo>
                  <a:cubicBezTo>
                    <a:pt x="427" y="1034"/>
                    <a:pt x="429" y="1032"/>
                    <a:pt x="431" y="1031"/>
                  </a:cubicBezTo>
                  <a:cubicBezTo>
                    <a:pt x="433" y="1030"/>
                    <a:pt x="435" y="1030"/>
                    <a:pt x="436" y="1029"/>
                  </a:cubicBezTo>
                  <a:cubicBezTo>
                    <a:pt x="439" y="1027"/>
                    <a:pt x="440" y="1023"/>
                    <a:pt x="444" y="1021"/>
                  </a:cubicBezTo>
                  <a:cubicBezTo>
                    <a:pt x="449" y="1019"/>
                    <a:pt x="453" y="1018"/>
                    <a:pt x="458" y="1018"/>
                  </a:cubicBezTo>
                  <a:cubicBezTo>
                    <a:pt x="463" y="1018"/>
                    <a:pt x="467" y="1017"/>
                    <a:pt x="472" y="1017"/>
                  </a:cubicBezTo>
                  <a:cubicBezTo>
                    <a:pt x="478" y="1018"/>
                    <a:pt x="483" y="1019"/>
                    <a:pt x="489" y="1019"/>
                  </a:cubicBezTo>
                  <a:cubicBezTo>
                    <a:pt x="493" y="1020"/>
                    <a:pt x="499" y="1020"/>
                    <a:pt x="503" y="1022"/>
                  </a:cubicBezTo>
                  <a:cubicBezTo>
                    <a:pt x="505" y="1019"/>
                    <a:pt x="506" y="1014"/>
                    <a:pt x="507" y="1011"/>
                  </a:cubicBezTo>
                  <a:cubicBezTo>
                    <a:pt x="509" y="1007"/>
                    <a:pt x="510" y="1004"/>
                    <a:pt x="510" y="1000"/>
                  </a:cubicBezTo>
                  <a:cubicBezTo>
                    <a:pt x="509" y="996"/>
                    <a:pt x="507" y="992"/>
                    <a:pt x="506" y="988"/>
                  </a:cubicBezTo>
                  <a:cubicBezTo>
                    <a:pt x="506" y="985"/>
                    <a:pt x="506" y="981"/>
                    <a:pt x="506" y="977"/>
                  </a:cubicBezTo>
                  <a:cubicBezTo>
                    <a:pt x="506" y="971"/>
                    <a:pt x="508" y="963"/>
                    <a:pt x="503" y="959"/>
                  </a:cubicBezTo>
                  <a:cubicBezTo>
                    <a:pt x="500" y="957"/>
                    <a:pt x="498" y="956"/>
                    <a:pt x="495" y="955"/>
                  </a:cubicBezTo>
                  <a:cubicBezTo>
                    <a:pt x="493" y="953"/>
                    <a:pt x="492" y="951"/>
                    <a:pt x="489" y="950"/>
                  </a:cubicBezTo>
                  <a:cubicBezTo>
                    <a:pt x="490" y="947"/>
                    <a:pt x="492" y="944"/>
                    <a:pt x="494" y="941"/>
                  </a:cubicBezTo>
                  <a:cubicBezTo>
                    <a:pt x="497" y="937"/>
                    <a:pt x="500" y="933"/>
                    <a:pt x="502" y="928"/>
                  </a:cubicBezTo>
                  <a:cubicBezTo>
                    <a:pt x="504" y="925"/>
                    <a:pt x="505" y="921"/>
                    <a:pt x="506" y="917"/>
                  </a:cubicBezTo>
                  <a:cubicBezTo>
                    <a:pt x="506" y="915"/>
                    <a:pt x="506" y="913"/>
                    <a:pt x="507" y="911"/>
                  </a:cubicBezTo>
                  <a:cubicBezTo>
                    <a:pt x="508" y="909"/>
                    <a:pt x="508" y="907"/>
                    <a:pt x="509" y="905"/>
                  </a:cubicBezTo>
                  <a:cubicBezTo>
                    <a:pt x="512" y="902"/>
                    <a:pt x="512" y="896"/>
                    <a:pt x="515" y="891"/>
                  </a:cubicBezTo>
                  <a:cubicBezTo>
                    <a:pt x="517" y="887"/>
                    <a:pt x="518" y="882"/>
                    <a:pt x="520" y="878"/>
                  </a:cubicBezTo>
                  <a:cubicBezTo>
                    <a:pt x="521" y="875"/>
                    <a:pt x="523" y="871"/>
                    <a:pt x="526" y="869"/>
                  </a:cubicBezTo>
                  <a:cubicBezTo>
                    <a:pt x="530" y="866"/>
                    <a:pt x="530" y="865"/>
                    <a:pt x="530" y="859"/>
                  </a:cubicBezTo>
                  <a:cubicBezTo>
                    <a:pt x="530" y="853"/>
                    <a:pt x="530" y="848"/>
                    <a:pt x="530" y="843"/>
                  </a:cubicBezTo>
                  <a:cubicBezTo>
                    <a:pt x="529" y="837"/>
                    <a:pt x="528" y="831"/>
                    <a:pt x="529" y="825"/>
                  </a:cubicBezTo>
                  <a:cubicBezTo>
                    <a:pt x="529" y="820"/>
                    <a:pt x="532" y="816"/>
                    <a:pt x="533" y="812"/>
                  </a:cubicBezTo>
                  <a:cubicBezTo>
                    <a:pt x="534" y="810"/>
                    <a:pt x="534" y="808"/>
                    <a:pt x="535" y="806"/>
                  </a:cubicBezTo>
                  <a:cubicBezTo>
                    <a:pt x="536" y="806"/>
                    <a:pt x="537" y="805"/>
                    <a:pt x="538" y="804"/>
                  </a:cubicBezTo>
                  <a:cubicBezTo>
                    <a:pt x="539" y="802"/>
                    <a:pt x="539" y="801"/>
                    <a:pt x="539" y="798"/>
                  </a:cubicBezTo>
                  <a:cubicBezTo>
                    <a:pt x="541" y="791"/>
                    <a:pt x="537" y="784"/>
                    <a:pt x="536" y="776"/>
                  </a:cubicBezTo>
                  <a:cubicBezTo>
                    <a:pt x="535" y="770"/>
                    <a:pt x="534" y="763"/>
                    <a:pt x="533" y="757"/>
                  </a:cubicBezTo>
                  <a:cubicBezTo>
                    <a:pt x="533" y="757"/>
                    <a:pt x="533" y="751"/>
                    <a:pt x="533" y="750"/>
                  </a:cubicBezTo>
                  <a:cubicBezTo>
                    <a:pt x="535" y="747"/>
                    <a:pt x="548" y="750"/>
                    <a:pt x="552" y="749"/>
                  </a:cubicBezTo>
                  <a:cubicBezTo>
                    <a:pt x="556" y="748"/>
                    <a:pt x="561" y="747"/>
                    <a:pt x="564" y="745"/>
                  </a:cubicBezTo>
                  <a:cubicBezTo>
                    <a:pt x="570" y="743"/>
                    <a:pt x="570" y="736"/>
                    <a:pt x="575" y="733"/>
                  </a:cubicBezTo>
                  <a:cubicBezTo>
                    <a:pt x="578" y="731"/>
                    <a:pt x="583" y="732"/>
                    <a:pt x="585" y="729"/>
                  </a:cubicBezTo>
                  <a:cubicBezTo>
                    <a:pt x="588" y="723"/>
                    <a:pt x="580" y="714"/>
                    <a:pt x="580" y="709"/>
                  </a:cubicBezTo>
                  <a:cubicBezTo>
                    <a:pt x="579" y="703"/>
                    <a:pt x="582" y="701"/>
                    <a:pt x="586" y="698"/>
                  </a:cubicBezTo>
                  <a:cubicBezTo>
                    <a:pt x="591" y="695"/>
                    <a:pt x="592" y="692"/>
                    <a:pt x="594" y="687"/>
                  </a:cubicBezTo>
                  <a:cubicBezTo>
                    <a:pt x="598" y="679"/>
                    <a:pt x="602" y="670"/>
                    <a:pt x="605" y="662"/>
                  </a:cubicBezTo>
                  <a:cubicBezTo>
                    <a:pt x="607" y="658"/>
                    <a:pt x="610" y="654"/>
                    <a:pt x="611" y="649"/>
                  </a:cubicBezTo>
                  <a:cubicBezTo>
                    <a:pt x="611" y="645"/>
                    <a:pt x="613" y="641"/>
                    <a:pt x="616" y="638"/>
                  </a:cubicBezTo>
                  <a:cubicBezTo>
                    <a:pt x="620" y="635"/>
                    <a:pt x="624" y="634"/>
                    <a:pt x="628" y="632"/>
                  </a:cubicBezTo>
                  <a:cubicBezTo>
                    <a:pt x="632" y="629"/>
                    <a:pt x="631" y="617"/>
                    <a:pt x="630" y="613"/>
                  </a:cubicBezTo>
                  <a:cubicBezTo>
                    <a:pt x="629" y="610"/>
                    <a:pt x="627" y="607"/>
                    <a:pt x="627" y="605"/>
                  </a:cubicBezTo>
                  <a:cubicBezTo>
                    <a:pt x="627" y="603"/>
                    <a:pt x="627" y="601"/>
                    <a:pt x="627" y="600"/>
                  </a:cubicBezTo>
                  <a:cubicBezTo>
                    <a:pt x="626" y="598"/>
                    <a:pt x="624" y="596"/>
                    <a:pt x="624" y="594"/>
                  </a:cubicBezTo>
                  <a:cubicBezTo>
                    <a:pt x="623" y="591"/>
                    <a:pt x="623" y="588"/>
                    <a:pt x="622" y="584"/>
                  </a:cubicBezTo>
                  <a:cubicBezTo>
                    <a:pt x="621" y="582"/>
                    <a:pt x="621" y="580"/>
                    <a:pt x="621" y="578"/>
                  </a:cubicBezTo>
                  <a:cubicBezTo>
                    <a:pt x="621" y="574"/>
                    <a:pt x="621" y="572"/>
                    <a:pt x="622" y="569"/>
                  </a:cubicBezTo>
                  <a:cubicBezTo>
                    <a:pt x="623" y="564"/>
                    <a:pt x="624" y="562"/>
                    <a:pt x="629" y="559"/>
                  </a:cubicBezTo>
                  <a:cubicBezTo>
                    <a:pt x="633" y="558"/>
                    <a:pt x="634" y="555"/>
                    <a:pt x="634" y="551"/>
                  </a:cubicBezTo>
                  <a:cubicBezTo>
                    <a:pt x="635" y="546"/>
                    <a:pt x="637" y="542"/>
                    <a:pt x="639" y="537"/>
                  </a:cubicBezTo>
                  <a:cubicBezTo>
                    <a:pt x="640" y="534"/>
                    <a:pt x="642" y="530"/>
                    <a:pt x="643" y="527"/>
                  </a:cubicBezTo>
                  <a:cubicBezTo>
                    <a:pt x="644" y="525"/>
                    <a:pt x="644" y="523"/>
                    <a:pt x="645" y="522"/>
                  </a:cubicBezTo>
                  <a:cubicBezTo>
                    <a:pt x="645" y="522"/>
                    <a:pt x="644" y="522"/>
                    <a:pt x="643" y="523"/>
                  </a:cubicBezTo>
                  <a:cubicBezTo>
                    <a:pt x="644" y="521"/>
                    <a:pt x="645" y="520"/>
                    <a:pt x="646" y="518"/>
                  </a:cubicBezTo>
                  <a:cubicBezTo>
                    <a:pt x="647" y="516"/>
                    <a:pt x="647" y="513"/>
                    <a:pt x="650" y="512"/>
                  </a:cubicBezTo>
                  <a:cubicBezTo>
                    <a:pt x="650" y="510"/>
                    <a:pt x="653" y="508"/>
                    <a:pt x="654" y="507"/>
                  </a:cubicBezTo>
                  <a:cubicBezTo>
                    <a:pt x="657" y="503"/>
                    <a:pt x="660" y="498"/>
                    <a:pt x="663" y="494"/>
                  </a:cubicBezTo>
                  <a:cubicBezTo>
                    <a:pt x="666" y="490"/>
                    <a:pt x="668" y="488"/>
                    <a:pt x="672" y="486"/>
                  </a:cubicBezTo>
                  <a:cubicBezTo>
                    <a:pt x="674" y="484"/>
                    <a:pt x="677" y="481"/>
                    <a:pt x="680" y="480"/>
                  </a:cubicBezTo>
                  <a:cubicBezTo>
                    <a:pt x="684" y="479"/>
                    <a:pt x="691" y="479"/>
                    <a:pt x="695" y="481"/>
                  </a:cubicBezTo>
                  <a:cubicBezTo>
                    <a:pt x="698" y="482"/>
                    <a:pt x="700" y="484"/>
                    <a:pt x="704" y="486"/>
                  </a:cubicBezTo>
                  <a:cubicBezTo>
                    <a:pt x="709" y="487"/>
                    <a:pt x="714" y="490"/>
                    <a:pt x="719" y="492"/>
                  </a:cubicBezTo>
                  <a:cubicBezTo>
                    <a:pt x="720" y="490"/>
                    <a:pt x="720" y="488"/>
                    <a:pt x="721" y="486"/>
                  </a:cubicBezTo>
                  <a:cubicBezTo>
                    <a:pt x="723" y="482"/>
                    <a:pt x="726" y="477"/>
                    <a:pt x="728" y="472"/>
                  </a:cubicBezTo>
                  <a:cubicBezTo>
                    <a:pt x="730" y="469"/>
                    <a:pt x="732" y="467"/>
                    <a:pt x="733" y="464"/>
                  </a:cubicBezTo>
                  <a:cubicBezTo>
                    <a:pt x="733" y="463"/>
                    <a:pt x="734" y="461"/>
                    <a:pt x="735" y="459"/>
                  </a:cubicBezTo>
                  <a:cubicBezTo>
                    <a:pt x="735" y="458"/>
                    <a:pt x="735" y="454"/>
                    <a:pt x="735" y="452"/>
                  </a:cubicBezTo>
                  <a:cubicBezTo>
                    <a:pt x="735" y="429"/>
                    <a:pt x="735" y="429"/>
                    <a:pt x="735" y="429"/>
                  </a:cubicBezTo>
                  <a:cubicBezTo>
                    <a:pt x="735" y="424"/>
                    <a:pt x="735" y="418"/>
                    <a:pt x="734" y="413"/>
                  </a:cubicBezTo>
                  <a:cubicBezTo>
                    <a:pt x="737" y="416"/>
                    <a:pt x="742" y="415"/>
                    <a:pt x="746" y="415"/>
                  </a:cubicBezTo>
                  <a:cubicBezTo>
                    <a:pt x="748" y="415"/>
                    <a:pt x="749" y="416"/>
                    <a:pt x="752" y="417"/>
                  </a:cubicBezTo>
                  <a:cubicBezTo>
                    <a:pt x="754" y="418"/>
                    <a:pt x="758" y="418"/>
                    <a:pt x="760" y="419"/>
                  </a:cubicBezTo>
                  <a:cubicBezTo>
                    <a:pt x="769" y="422"/>
                    <a:pt x="778" y="424"/>
                    <a:pt x="787" y="426"/>
                  </a:cubicBezTo>
                  <a:cubicBezTo>
                    <a:pt x="793" y="427"/>
                    <a:pt x="799" y="426"/>
                    <a:pt x="804" y="429"/>
                  </a:cubicBezTo>
                  <a:cubicBezTo>
                    <a:pt x="811" y="433"/>
                    <a:pt x="817" y="435"/>
                    <a:pt x="824" y="436"/>
                  </a:cubicBezTo>
                  <a:cubicBezTo>
                    <a:pt x="826" y="436"/>
                    <a:pt x="827" y="437"/>
                    <a:pt x="829" y="436"/>
                  </a:cubicBezTo>
                  <a:cubicBezTo>
                    <a:pt x="830" y="435"/>
                    <a:pt x="833" y="431"/>
                    <a:pt x="833" y="429"/>
                  </a:cubicBezTo>
                  <a:cubicBezTo>
                    <a:pt x="835" y="427"/>
                    <a:pt x="835" y="426"/>
                    <a:pt x="836" y="424"/>
                  </a:cubicBezTo>
                  <a:cubicBezTo>
                    <a:pt x="836" y="423"/>
                    <a:pt x="839" y="421"/>
                    <a:pt x="839" y="420"/>
                  </a:cubicBezTo>
                  <a:cubicBezTo>
                    <a:pt x="839" y="416"/>
                    <a:pt x="826" y="413"/>
                    <a:pt x="823" y="411"/>
                  </a:cubicBezTo>
                  <a:cubicBezTo>
                    <a:pt x="825" y="408"/>
                    <a:pt x="830" y="407"/>
                    <a:pt x="833" y="405"/>
                  </a:cubicBezTo>
                  <a:cubicBezTo>
                    <a:pt x="838" y="402"/>
                    <a:pt x="842" y="399"/>
                    <a:pt x="847" y="395"/>
                  </a:cubicBezTo>
                  <a:cubicBezTo>
                    <a:pt x="852" y="391"/>
                    <a:pt x="855" y="389"/>
                    <a:pt x="855" y="382"/>
                  </a:cubicBezTo>
                  <a:cubicBezTo>
                    <a:pt x="855" y="374"/>
                    <a:pt x="853" y="368"/>
                    <a:pt x="848" y="361"/>
                  </a:cubicBezTo>
                  <a:cubicBezTo>
                    <a:pt x="845" y="357"/>
                    <a:pt x="842" y="352"/>
                    <a:pt x="840" y="347"/>
                  </a:cubicBezTo>
                  <a:cubicBezTo>
                    <a:pt x="838" y="345"/>
                    <a:pt x="837" y="341"/>
                    <a:pt x="835" y="339"/>
                  </a:cubicBezTo>
                  <a:cubicBezTo>
                    <a:pt x="836" y="336"/>
                    <a:pt x="849" y="336"/>
                    <a:pt x="852" y="336"/>
                  </a:cubicBezTo>
                  <a:cubicBezTo>
                    <a:pt x="857" y="335"/>
                    <a:pt x="863" y="335"/>
                    <a:pt x="869" y="334"/>
                  </a:cubicBezTo>
                  <a:cubicBezTo>
                    <a:pt x="869" y="333"/>
                    <a:pt x="869" y="332"/>
                    <a:pt x="869" y="332"/>
                  </a:cubicBezTo>
                  <a:cubicBezTo>
                    <a:pt x="871" y="331"/>
                    <a:pt x="875" y="334"/>
                    <a:pt x="877" y="335"/>
                  </a:cubicBezTo>
                  <a:cubicBezTo>
                    <a:pt x="880" y="336"/>
                    <a:pt x="883" y="338"/>
                    <a:pt x="886" y="339"/>
                  </a:cubicBezTo>
                  <a:cubicBezTo>
                    <a:pt x="886" y="336"/>
                    <a:pt x="886" y="332"/>
                    <a:pt x="886" y="329"/>
                  </a:cubicBezTo>
                  <a:cubicBezTo>
                    <a:pt x="885" y="324"/>
                    <a:pt x="883" y="322"/>
                    <a:pt x="882" y="319"/>
                  </a:cubicBezTo>
                  <a:cubicBezTo>
                    <a:pt x="879" y="312"/>
                    <a:pt x="886" y="310"/>
                    <a:pt x="891" y="308"/>
                  </a:cubicBezTo>
                  <a:cubicBezTo>
                    <a:pt x="896" y="307"/>
                    <a:pt x="901" y="304"/>
                    <a:pt x="907" y="304"/>
                  </a:cubicBezTo>
                  <a:cubicBezTo>
                    <a:pt x="909" y="304"/>
                    <a:pt x="914" y="303"/>
                    <a:pt x="916" y="305"/>
                  </a:cubicBezTo>
                  <a:cubicBezTo>
                    <a:pt x="918" y="307"/>
                    <a:pt x="918" y="311"/>
                    <a:pt x="919" y="313"/>
                  </a:cubicBezTo>
                  <a:cubicBezTo>
                    <a:pt x="920" y="315"/>
                    <a:pt x="922" y="316"/>
                    <a:pt x="923" y="317"/>
                  </a:cubicBezTo>
                  <a:cubicBezTo>
                    <a:pt x="924" y="319"/>
                    <a:pt x="924" y="320"/>
                    <a:pt x="925" y="322"/>
                  </a:cubicBezTo>
                  <a:cubicBezTo>
                    <a:pt x="926" y="326"/>
                    <a:pt x="928" y="331"/>
                    <a:pt x="931" y="335"/>
                  </a:cubicBezTo>
                  <a:cubicBezTo>
                    <a:pt x="933" y="338"/>
                    <a:pt x="935" y="340"/>
                    <a:pt x="937" y="342"/>
                  </a:cubicBezTo>
                  <a:cubicBezTo>
                    <a:pt x="940" y="345"/>
                    <a:pt x="943" y="349"/>
                    <a:pt x="945" y="352"/>
                  </a:cubicBezTo>
                  <a:cubicBezTo>
                    <a:pt x="946" y="353"/>
                    <a:pt x="947" y="355"/>
                    <a:pt x="948" y="356"/>
                  </a:cubicBezTo>
                  <a:cubicBezTo>
                    <a:pt x="949" y="358"/>
                    <a:pt x="951" y="359"/>
                    <a:pt x="951" y="361"/>
                  </a:cubicBezTo>
                  <a:cubicBezTo>
                    <a:pt x="952" y="362"/>
                    <a:pt x="952" y="363"/>
                    <a:pt x="953" y="364"/>
                  </a:cubicBezTo>
                  <a:cubicBezTo>
                    <a:pt x="955" y="366"/>
                    <a:pt x="955" y="364"/>
                    <a:pt x="956" y="367"/>
                  </a:cubicBezTo>
                  <a:cubicBezTo>
                    <a:pt x="957" y="374"/>
                    <a:pt x="956" y="382"/>
                    <a:pt x="957" y="389"/>
                  </a:cubicBezTo>
                  <a:cubicBezTo>
                    <a:pt x="959" y="389"/>
                    <a:pt x="960" y="388"/>
                    <a:pt x="962" y="388"/>
                  </a:cubicBezTo>
                  <a:cubicBezTo>
                    <a:pt x="964" y="388"/>
                    <a:pt x="966" y="388"/>
                    <a:pt x="967" y="389"/>
                  </a:cubicBezTo>
                  <a:cubicBezTo>
                    <a:pt x="973" y="390"/>
                    <a:pt x="977" y="391"/>
                    <a:pt x="982" y="393"/>
                  </a:cubicBezTo>
                  <a:cubicBezTo>
                    <a:pt x="984" y="394"/>
                    <a:pt x="985" y="395"/>
                    <a:pt x="987" y="395"/>
                  </a:cubicBezTo>
                  <a:cubicBezTo>
                    <a:pt x="989" y="395"/>
                    <a:pt x="992" y="395"/>
                    <a:pt x="994" y="395"/>
                  </a:cubicBezTo>
                  <a:cubicBezTo>
                    <a:pt x="998" y="397"/>
                    <a:pt x="998" y="400"/>
                    <a:pt x="1002" y="401"/>
                  </a:cubicBezTo>
                  <a:cubicBezTo>
                    <a:pt x="1006" y="402"/>
                    <a:pt x="1011" y="398"/>
                    <a:pt x="1015" y="398"/>
                  </a:cubicBezTo>
                  <a:cubicBezTo>
                    <a:pt x="1017" y="398"/>
                    <a:pt x="1019" y="398"/>
                    <a:pt x="1021" y="398"/>
                  </a:cubicBezTo>
                  <a:cubicBezTo>
                    <a:pt x="1024" y="398"/>
                    <a:pt x="1022" y="398"/>
                    <a:pt x="1024" y="395"/>
                  </a:cubicBezTo>
                  <a:cubicBezTo>
                    <a:pt x="1024" y="395"/>
                    <a:pt x="1024" y="394"/>
                    <a:pt x="1024" y="393"/>
                  </a:cubicBezTo>
                  <a:cubicBezTo>
                    <a:pt x="1024" y="392"/>
                    <a:pt x="1026" y="393"/>
                    <a:pt x="1027" y="392"/>
                  </a:cubicBezTo>
                  <a:cubicBezTo>
                    <a:pt x="1028" y="390"/>
                    <a:pt x="1028" y="387"/>
                    <a:pt x="1030" y="384"/>
                  </a:cubicBezTo>
                  <a:cubicBezTo>
                    <a:pt x="1031" y="383"/>
                    <a:pt x="1033" y="381"/>
                    <a:pt x="1034" y="380"/>
                  </a:cubicBezTo>
                  <a:cubicBezTo>
                    <a:pt x="1035" y="378"/>
                    <a:pt x="1035" y="376"/>
                    <a:pt x="1036" y="374"/>
                  </a:cubicBezTo>
                  <a:cubicBezTo>
                    <a:pt x="1042" y="374"/>
                    <a:pt x="1047" y="378"/>
                    <a:pt x="1052" y="381"/>
                  </a:cubicBezTo>
                  <a:cubicBezTo>
                    <a:pt x="1056" y="384"/>
                    <a:pt x="1061" y="386"/>
                    <a:pt x="1065" y="389"/>
                  </a:cubicBezTo>
                  <a:cubicBezTo>
                    <a:pt x="1065" y="390"/>
                    <a:pt x="1066" y="390"/>
                    <a:pt x="1066" y="391"/>
                  </a:cubicBezTo>
                  <a:cubicBezTo>
                    <a:pt x="1067" y="391"/>
                    <a:pt x="1068" y="391"/>
                    <a:pt x="1069" y="392"/>
                  </a:cubicBezTo>
                  <a:cubicBezTo>
                    <a:pt x="1070" y="393"/>
                    <a:pt x="1072" y="393"/>
                    <a:pt x="1074" y="394"/>
                  </a:cubicBezTo>
                  <a:cubicBezTo>
                    <a:pt x="1077" y="395"/>
                    <a:pt x="1081" y="397"/>
                    <a:pt x="1084" y="398"/>
                  </a:cubicBezTo>
                  <a:cubicBezTo>
                    <a:pt x="1086" y="399"/>
                    <a:pt x="1086" y="401"/>
                    <a:pt x="1087" y="402"/>
                  </a:cubicBezTo>
                  <a:cubicBezTo>
                    <a:pt x="1089" y="404"/>
                    <a:pt x="1088" y="410"/>
                    <a:pt x="1091" y="410"/>
                  </a:cubicBezTo>
                  <a:cubicBezTo>
                    <a:pt x="1093" y="409"/>
                    <a:pt x="1093" y="407"/>
                    <a:pt x="1095" y="406"/>
                  </a:cubicBezTo>
                  <a:cubicBezTo>
                    <a:pt x="1097" y="404"/>
                    <a:pt x="1099" y="406"/>
                    <a:pt x="1101" y="405"/>
                  </a:cubicBezTo>
                  <a:cubicBezTo>
                    <a:pt x="1107" y="402"/>
                    <a:pt x="1099" y="392"/>
                    <a:pt x="1100" y="388"/>
                  </a:cubicBezTo>
                  <a:cubicBezTo>
                    <a:pt x="1101" y="385"/>
                    <a:pt x="1104" y="381"/>
                    <a:pt x="1106" y="379"/>
                  </a:cubicBezTo>
                  <a:cubicBezTo>
                    <a:pt x="1102" y="379"/>
                    <a:pt x="1095" y="376"/>
                    <a:pt x="1093" y="373"/>
                  </a:cubicBezTo>
                  <a:cubicBezTo>
                    <a:pt x="1096" y="374"/>
                    <a:pt x="1101" y="373"/>
                    <a:pt x="1104" y="376"/>
                  </a:cubicBezTo>
                  <a:cubicBezTo>
                    <a:pt x="1106" y="377"/>
                    <a:pt x="1106" y="379"/>
                    <a:pt x="1107" y="379"/>
                  </a:cubicBezTo>
                  <a:cubicBezTo>
                    <a:pt x="1107" y="380"/>
                    <a:pt x="1107" y="381"/>
                    <a:pt x="1108" y="381"/>
                  </a:cubicBezTo>
                  <a:cubicBezTo>
                    <a:pt x="1108" y="379"/>
                    <a:pt x="1109" y="380"/>
                    <a:pt x="1110" y="379"/>
                  </a:cubicBezTo>
                  <a:cubicBezTo>
                    <a:pt x="1111" y="378"/>
                    <a:pt x="1112" y="377"/>
                    <a:pt x="1112" y="376"/>
                  </a:cubicBezTo>
                  <a:cubicBezTo>
                    <a:pt x="1112" y="376"/>
                    <a:pt x="1115" y="374"/>
                    <a:pt x="1115" y="374"/>
                  </a:cubicBezTo>
                  <a:cubicBezTo>
                    <a:pt x="1117" y="372"/>
                    <a:pt x="1117" y="370"/>
                    <a:pt x="1118" y="367"/>
                  </a:cubicBezTo>
                  <a:cubicBezTo>
                    <a:pt x="1120" y="363"/>
                    <a:pt x="1120" y="363"/>
                    <a:pt x="1123" y="364"/>
                  </a:cubicBezTo>
                  <a:cubicBezTo>
                    <a:pt x="1126" y="364"/>
                    <a:pt x="1127" y="365"/>
                    <a:pt x="1130" y="365"/>
                  </a:cubicBezTo>
                  <a:cubicBezTo>
                    <a:pt x="1131" y="363"/>
                    <a:pt x="1130" y="362"/>
                    <a:pt x="1130" y="361"/>
                  </a:cubicBezTo>
                  <a:cubicBezTo>
                    <a:pt x="1131" y="358"/>
                    <a:pt x="1132" y="356"/>
                    <a:pt x="1133" y="355"/>
                  </a:cubicBezTo>
                  <a:cubicBezTo>
                    <a:pt x="1134" y="353"/>
                    <a:pt x="1135" y="350"/>
                    <a:pt x="1136" y="348"/>
                  </a:cubicBezTo>
                  <a:cubicBezTo>
                    <a:pt x="1137" y="347"/>
                    <a:pt x="1138" y="347"/>
                    <a:pt x="1139" y="345"/>
                  </a:cubicBezTo>
                  <a:cubicBezTo>
                    <a:pt x="1140" y="343"/>
                    <a:pt x="1140" y="342"/>
                    <a:pt x="1140" y="338"/>
                  </a:cubicBezTo>
                  <a:cubicBezTo>
                    <a:pt x="1140" y="330"/>
                    <a:pt x="1140" y="321"/>
                    <a:pt x="1140" y="313"/>
                  </a:cubicBezTo>
                  <a:cubicBezTo>
                    <a:pt x="1140" y="306"/>
                    <a:pt x="1140" y="299"/>
                    <a:pt x="1140" y="293"/>
                  </a:cubicBezTo>
                  <a:cubicBezTo>
                    <a:pt x="1140" y="288"/>
                    <a:pt x="1141" y="285"/>
                    <a:pt x="1142" y="280"/>
                  </a:cubicBezTo>
                  <a:cubicBezTo>
                    <a:pt x="1144" y="275"/>
                    <a:pt x="1143" y="269"/>
                    <a:pt x="1144" y="264"/>
                  </a:cubicBezTo>
                  <a:cubicBezTo>
                    <a:pt x="1144" y="261"/>
                    <a:pt x="1145" y="258"/>
                    <a:pt x="1145" y="256"/>
                  </a:cubicBezTo>
                  <a:cubicBezTo>
                    <a:pt x="1145" y="255"/>
                    <a:pt x="1144" y="253"/>
                    <a:pt x="1145" y="252"/>
                  </a:cubicBezTo>
                  <a:cubicBezTo>
                    <a:pt x="1145" y="251"/>
                    <a:pt x="1145" y="251"/>
                    <a:pt x="1146" y="250"/>
                  </a:cubicBezTo>
                  <a:cubicBezTo>
                    <a:pt x="1146" y="249"/>
                    <a:pt x="1146" y="248"/>
                    <a:pt x="1147" y="247"/>
                  </a:cubicBezTo>
                  <a:cubicBezTo>
                    <a:pt x="1149" y="243"/>
                    <a:pt x="1155" y="245"/>
                    <a:pt x="1158" y="242"/>
                  </a:cubicBezTo>
                  <a:cubicBezTo>
                    <a:pt x="1161" y="239"/>
                    <a:pt x="1158" y="234"/>
                    <a:pt x="1159" y="230"/>
                  </a:cubicBezTo>
                  <a:cubicBezTo>
                    <a:pt x="1159" y="228"/>
                    <a:pt x="1160" y="227"/>
                    <a:pt x="1161" y="226"/>
                  </a:cubicBezTo>
                  <a:cubicBezTo>
                    <a:pt x="1163" y="224"/>
                    <a:pt x="1163" y="221"/>
                    <a:pt x="1164" y="219"/>
                  </a:cubicBezTo>
                  <a:cubicBezTo>
                    <a:pt x="1167" y="214"/>
                    <a:pt x="1173" y="208"/>
                    <a:pt x="1178" y="205"/>
                  </a:cubicBezTo>
                  <a:cubicBezTo>
                    <a:pt x="1182" y="203"/>
                    <a:pt x="1187" y="204"/>
                    <a:pt x="1191" y="204"/>
                  </a:cubicBezTo>
                  <a:cubicBezTo>
                    <a:pt x="1195" y="204"/>
                    <a:pt x="1200" y="203"/>
                    <a:pt x="1204" y="204"/>
                  </a:cubicBezTo>
                  <a:cubicBezTo>
                    <a:pt x="1204" y="204"/>
                    <a:pt x="1204" y="206"/>
                    <a:pt x="1204" y="206"/>
                  </a:cubicBezTo>
                  <a:cubicBezTo>
                    <a:pt x="1207" y="207"/>
                    <a:pt x="1211" y="205"/>
                    <a:pt x="1214" y="205"/>
                  </a:cubicBezTo>
                  <a:cubicBezTo>
                    <a:pt x="1217" y="204"/>
                    <a:pt x="1220" y="204"/>
                    <a:pt x="1223" y="203"/>
                  </a:cubicBezTo>
                  <a:cubicBezTo>
                    <a:pt x="1224" y="199"/>
                    <a:pt x="1223" y="195"/>
                    <a:pt x="1226" y="192"/>
                  </a:cubicBezTo>
                  <a:cubicBezTo>
                    <a:pt x="1227" y="190"/>
                    <a:pt x="1229" y="189"/>
                    <a:pt x="1231" y="187"/>
                  </a:cubicBezTo>
                  <a:cubicBezTo>
                    <a:pt x="1233" y="185"/>
                    <a:pt x="1234" y="182"/>
                    <a:pt x="1237" y="180"/>
                  </a:cubicBezTo>
                  <a:cubicBezTo>
                    <a:pt x="1237" y="180"/>
                    <a:pt x="1238" y="179"/>
                    <a:pt x="1239" y="179"/>
                  </a:cubicBezTo>
                  <a:cubicBezTo>
                    <a:pt x="1240" y="179"/>
                    <a:pt x="1241" y="179"/>
                    <a:pt x="1242" y="178"/>
                  </a:cubicBezTo>
                  <a:cubicBezTo>
                    <a:pt x="1244" y="179"/>
                    <a:pt x="1244" y="180"/>
                    <a:pt x="1245" y="181"/>
                  </a:cubicBezTo>
                  <a:cubicBezTo>
                    <a:pt x="1249" y="183"/>
                    <a:pt x="1253" y="181"/>
                    <a:pt x="1256" y="181"/>
                  </a:cubicBezTo>
                  <a:cubicBezTo>
                    <a:pt x="1260" y="182"/>
                    <a:pt x="1257" y="180"/>
                    <a:pt x="1259" y="183"/>
                  </a:cubicBezTo>
                  <a:cubicBezTo>
                    <a:pt x="1260" y="183"/>
                    <a:pt x="1261" y="186"/>
                    <a:pt x="1261" y="187"/>
                  </a:cubicBezTo>
                  <a:cubicBezTo>
                    <a:pt x="1261" y="188"/>
                    <a:pt x="1260" y="191"/>
                    <a:pt x="1261" y="192"/>
                  </a:cubicBezTo>
                  <a:cubicBezTo>
                    <a:pt x="1262" y="195"/>
                    <a:pt x="1264" y="194"/>
                    <a:pt x="1266" y="195"/>
                  </a:cubicBezTo>
                  <a:cubicBezTo>
                    <a:pt x="1267" y="196"/>
                    <a:pt x="1269" y="199"/>
                    <a:pt x="1269" y="199"/>
                  </a:cubicBezTo>
                  <a:cubicBezTo>
                    <a:pt x="1271" y="202"/>
                    <a:pt x="1274" y="204"/>
                    <a:pt x="1275" y="207"/>
                  </a:cubicBezTo>
                  <a:cubicBezTo>
                    <a:pt x="1277" y="210"/>
                    <a:pt x="1278" y="212"/>
                    <a:pt x="1280" y="214"/>
                  </a:cubicBezTo>
                  <a:cubicBezTo>
                    <a:pt x="1280" y="215"/>
                    <a:pt x="1281" y="217"/>
                    <a:pt x="1282" y="218"/>
                  </a:cubicBezTo>
                  <a:cubicBezTo>
                    <a:pt x="1283" y="220"/>
                    <a:pt x="1284" y="221"/>
                    <a:pt x="1286" y="223"/>
                  </a:cubicBezTo>
                  <a:cubicBezTo>
                    <a:pt x="1293" y="226"/>
                    <a:pt x="1299" y="229"/>
                    <a:pt x="1304" y="234"/>
                  </a:cubicBezTo>
                  <a:cubicBezTo>
                    <a:pt x="1308" y="237"/>
                    <a:pt x="1310" y="241"/>
                    <a:pt x="1314" y="243"/>
                  </a:cubicBezTo>
                  <a:cubicBezTo>
                    <a:pt x="1316" y="244"/>
                    <a:pt x="1317" y="245"/>
                    <a:pt x="1318" y="247"/>
                  </a:cubicBezTo>
                  <a:cubicBezTo>
                    <a:pt x="1318" y="248"/>
                    <a:pt x="1318" y="250"/>
                    <a:pt x="1319" y="251"/>
                  </a:cubicBezTo>
                  <a:cubicBezTo>
                    <a:pt x="1320" y="255"/>
                    <a:pt x="1321" y="258"/>
                    <a:pt x="1323" y="262"/>
                  </a:cubicBezTo>
                  <a:cubicBezTo>
                    <a:pt x="1324" y="265"/>
                    <a:pt x="1326" y="269"/>
                    <a:pt x="1326" y="272"/>
                  </a:cubicBezTo>
                  <a:cubicBezTo>
                    <a:pt x="1326" y="274"/>
                    <a:pt x="1325" y="276"/>
                    <a:pt x="1324" y="278"/>
                  </a:cubicBezTo>
                  <a:cubicBezTo>
                    <a:pt x="1322" y="280"/>
                    <a:pt x="1321" y="282"/>
                    <a:pt x="1319" y="285"/>
                  </a:cubicBezTo>
                  <a:cubicBezTo>
                    <a:pt x="1315" y="290"/>
                    <a:pt x="1312" y="296"/>
                    <a:pt x="1308" y="303"/>
                  </a:cubicBezTo>
                  <a:cubicBezTo>
                    <a:pt x="1307" y="305"/>
                    <a:pt x="1306" y="308"/>
                    <a:pt x="1304" y="311"/>
                  </a:cubicBezTo>
                  <a:cubicBezTo>
                    <a:pt x="1303" y="312"/>
                    <a:pt x="1302" y="313"/>
                    <a:pt x="1302" y="314"/>
                  </a:cubicBezTo>
                  <a:cubicBezTo>
                    <a:pt x="1300" y="318"/>
                    <a:pt x="1299" y="321"/>
                    <a:pt x="1301" y="325"/>
                  </a:cubicBezTo>
                  <a:cubicBezTo>
                    <a:pt x="1302" y="326"/>
                    <a:pt x="1302" y="328"/>
                    <a:pt x="1303" y="330"/>
                  </a:cubicBezTo>
                  <a:cubicBezTo>
                    <a:pt x="1304" y="332"/>
                    <a:pt x="1305" y="334"/>
                    <a:pt x="1306" y="336"/>
                  </a:cubicBezTo>
                  <a:cubicBezTo>
                    <a:pt x="1307" y="337"/>
                    <a:pt x="1308" y="339"/>
                    <a:pt x="1310" y="340"/>
                  </a:cubicBezTo>
                  <a:cubicBezTo>
                    <a:pt x="1311" y="342"/>
                    <a:pt x="1314" y="341"/>
                    <a:pt x="1316" y="340"/>
                  </a:cubicBezTo>
                  <a:cubicBezTo>
                    <a:pt x="1319" y="339"/>
                    <a:pt x="1320" y="339"/>
                    <a:pt x="1322" y="337"/>
                  </a:cubicBezTo>
                  <a:cubicBezTo>
                    <a:pt x="1323" y="336"/>
                    <a:pt x="1325" y="336"/>
                    <a:pt x="1325" y="335"/>
                  </a:cubicBezTo>
                  <a:cubicBezTo>
                    <a:pt x="1326" y="333"/>
                    <a:pt x="1326" y="331"/>
                    <a:pt x="1327" y="330"/>
                  </a:cubicBezTo>
                  <a:cubicBezTo>
                    <a:pt x="1327" y="327"/>
                    <a:pt x="1327" y="325"/>
                    <a:pt x="1327" y="323"/>
                  </a:cubicBezTo>
                  <a:cubicBezTo>
                    <a:pt x="1328" y="320"/>
                    <a:pt x="1328" y="317"/>
                    <a:pt x="1329" y="315"/>
                  </a:cubicBezTo>
                  <a:cubicBezTo>
                    <a:pt x="1329" y="312"/>
                    <a:pt x="1330" y="309"/>
                    <a:pt x="1331" y="306"/>
                  </a:cubicBezTo>
                  <a:cubicBezTo>
                    <a:pt x="1331" y="305"/>
                    <a:pt x="1330" y="303"/>
                    <a:pt x="1330" y="302"/>
                  </a:cubicBezTo>
                  <a:cubicBezTo>
                    <a:pt x="1331" y="301"/>
                    <a:pt x="1332" y="300"/>
                    <a:pt x="1333" y="299"/>
                  </a:cubicBezTo>
                  <a:cubicBezTo>
                    <a:pt x="1335" y="298"/>
                    <a:pt x="1336" y="298"/>
                    <a:pt x="1338" y="298"/>
                  </a:cubicBezTo>
                  <a:cubicBezTo>
                    <a:pt x="1341" y="298"/>
                    <a:pt x="1344" y="295"/>
                    <a:pt x="1347" y="293"/>
                  </a:cubicBezTo>
                  <a:cubicBezTo>
                    <a:pt x="1348" y="292"/>
                    <a:pt x="1350" y="290"/>
                    <a:pt x="1351" y="289"/>
                  </a:cubicBezTo>
                  <a:cubicBezTo>
                    <a:pt x="1352" y="288"/>
                    <a:pt x="1353" y="288"/>
                    <a:pt x="1354" y="288"/>
                  </a:cubicBezTo>
                  <a:cubicBezTo>
                    <a:pt x="1354" y="287"/>
                    <a:pt x="1355" y="286"/>
                    <a:pt x="1356" y="286"/>
                  </a:cubicBezTo>
                  <a:cubicBezTo>
                    <a:pt x="1357" y="285"/>
                    <a:pt x="1358" y="285"/>
                    <a:pt x="1359" y="283"/>
                  </a:cubicBezTo>
                  <a:cubicBezTo>
                    <a:pt x="1360" y="282"/>
                    <a:pt x="1360" y="282"/>
                    <a:pt x="1362" y="282"/>
                  </a:cubicBezTo>
                  <a:cubicBezTo>
                    <a:pt x="1362" y="282"/>
                    <a:pt x="1363" y="282"/>
                    <a:pt x="1363" y="282"/>
                  </a:cubicBezTo>
                  <a:cubicBezTo>
                    <a:pt x="1364" y="282"/>
                    <a:pt x="1365" y="283"/>
                    <a:pt x="1365" y="283"/>
                  </a:cubicBezTo>
                  <a:cubicBezTo>
                    <a:pt x="1366" y="283"/>
                    <a:pt x="1366" y="281"/>
                    <a:pt x="1366" y="280"/>
                  </a:cubicBezTo>
                  <a:cubicBezTo>
                    <a:pt x="1367" y="278"/>
                    <a:pt x="1368" y="276"/>
                    <a:pt x="1370" y="274"/>
                  </a:cubicBezTo>
                  <a:cubicBezTo>
                    <a:pt x="1371" y="272"/>
                    <a:pt x="1372" y="269"/>
                    <a:pt x="1373" y="267"/>
                  </a:cubicBezTo>
                  <a:cubicBezTo>
                    <a:pt x="1374" y="265"/>
                    <a:pt x="1375" y="264"/>
                    <a:pt x="1375" y="261"/>
                  </a:cubicBezTo>
                  <a:cubicBezTo>
                    <a:pt x="1375" y="258"/>
                    <a:pt x="1375" y="255"/>
                    <a:pt x="1375" y="252"/>
                  </a:cubicBezTo>
                  <a:cubicBezTo>
                    <a:pt x="1375" y="251"/>
                    <a:pt x="1375" y="250"/>
                    <a:pt x="1374" y="249"/>
                  </a:cubicBezTo>
                  <a:cubicBezTo>
                    <a:pt x="1373" y="248"/>
                    <a:pt x="1370" y="247"/>
                    <a:pt x="1371" y="246"/>
                  </a:cubicBezTo>
                  <a:cubicBezTo>
                    <a:pt x="1372" y="245"/>
                    <a:pt x="1373" y="246"/>
                    <a:pt x="1374" y="246"/>
                  </a:cubicBezTo>
                  <a:cubicBezTo>
                    <a:pt x="1376" y="247"/>
                    <a:pt x="1378" y="248"/>
                    <a:pt x="1380" y="249"/>
                  </a:cubicBezTo>
                  <a:cubicBezTo>
                    <a:pt x="1382" y="250"/>
                    <a:pt x="1384" y="253"/>
                    <a:pt x="1385" y="256"/>
                  </a:cubicBezTo>
                  <a:cubicBezTo>
                    <a:pt x="1386" y="258"/>
                    <a:pt x="1388" y="258"/>
                    <a:pt x="1389" y="259"/>
                  </a:cubicBezTo>
                  <a:cubicBezTo>
                    <a:pt x="1392" y="260"/>
                    <a:pt x="1395" y="261"/>
                    <a:pt x="1397" y="263"/>
                  </a:cubicBezTo>
                  <a:cubicBezTo>
                    <a:pt x="1400" y="264"/>
                    <a:pt x="1402" y="266"/>
                    <a:pt x="1405" y="266"/>
                  </a:cubicBezTo>
                  <a:cubicBezTo>
                    <a:pt x="1408" y="267"/>
                    <a:pt x="1413" y="265"/>
                    <a:pt x="1415" y="264"/>
                  </a:cubicBezTo>
                  <a:cubicBezTo>
                    <a:pt x="1416" y="262"/>
                    <a:pt x="1417" y="260"/>
                    <a:pt x="1418" y="259"/>
                  </a:cubicBezTo>
                  <a:cubicBezTo>
                    <a:pt x="1420" y="255"/>
                    <a:pt x="1419" y="250"/>
                    <a:pt x="1418" y="246"/>
                  </a:cubicBezTo>
                  <a:cubicBezTo>
                    <a:pt x="1417" y="244"/>
                    <a:pt x="1417" y="242"/>
                    <a:pt x="1416" y="240"/>
                  </a:cubicBezTo>
                  <a:cubicBezTo>
                    <a:pt x="1416" y="238"/>
                    <a:pt x="1415" y="237"/>
                    <a:pt x="1415" y="235"/>
                  </a:cubicBezTo>
                  <a:cubicBezTo>
                    <a:pt x="1415" y="233"/>
                    <a:pt x="1414" y="232"/>
                    <a:pt x="1414" y="230"/>
                  </a:cubicBezTo>
                  <a:cubicBezTo>
                    <a:pt x="1413" y="229"/>
                    <a:pt x="1413" y="227"/>
                    <a:pt x="1412" y="226"/>
                  </a:cubicBezTo>
                  <a:cubicBezTo>
                    <a:pt x="1410" y="224"/>
                    <a:pt x="1407" y="227"/>
                    <a:pt x="1405" y="227"/>
                  </a:cubicBezTo>
                  <a:cubicBezTo>
                    <a:pt x="1403" y="227"/>
                    <a:pt x="1401" y="226"/>
                    <a:pt x="1400" y="226"/>
                  </a:cubicBezTo>
                  <a:cubicBezTo>
                    <a:pt x="1398" y="225"/>
                    <a:pt x="1397" y="224"/>
                    <a:pt x="1396" y="223"/>
                  </a:cubicBezTo>
                  <a:cubicBezTo>
                    <a:pt x="1396" y="223"/>
                    <a:pt x="1396" y="222"/>
                    <a:pt x="1396" y="222"/>
                  </a:cubicBezTo>
                  <a:cubicBezTo>
                    <a:pt x="1394" y="221"/>
                    <a:pt x="1392" y="223"/>
                    <a:pt x="1390" y="223"/>
                  </a:cubicBezTo>
                  <a:cubicBezTo>
                    <a:pt x="1386" y="222"/>
                    <a:pt x="1390" y="218"/>
                    <a:pt x="1390" y="215"/>
                  </a:cubicBezTo>
                  <a:cubicBezTo>
                    <a:pt x="1390" y="214"/>
                    <a:pt x="1384" y="212"/>
                    <a:pt x="1383" y="212"/>
                  </a:cubicBezTo>
                  <a:cubicBezTo>
                    <a:pt x="1381" y="211"/>
                    <a:pt x="1376" y="210"/>
                    <a:pt x="1374" y="213"/>
                  </a:cubicBezTo>
                  <a:cubicBezTo>
                    <a:pt x="1372" y="217"/>
                    <a:pt x="1377" y="220"/>
                    <a:pt x="1376" y="224"/>
                  </a:cubicBezTo>
                  <a:cubicBezTo>
                    <a:pt x="1375" y="224"/>
                    <a:pt x="1373" y="224"/>
                    <a:pt x="1372" y="224"/>
                  </a:cubicBezTo>
                  <a:cubicBezTo>
                    <a:pt x="1372" y="226"/>
                    <a:pt x="1373" y="228"/>
                    <a:pt x="1373" y="229"/>
                  </a:cubicBezTo>
                  <a:cubicBezTo>
                    <a:pt x="1374" y="230"/>
                    <a:pt x="1374" y="234"/>
                    <a:pt x="1373" y="235"/>
                  </a:cubicBezTo>
                  <a:cubicBezTo>
                    <a:pt x="1372" y="234"/>
                    <a:pt x="1373" y="233"/>
                    <a:pt x="1372" y="232"/>
                  </a:cubicBezTo>
                  <a:cubicBezTo>
                    <a:pt x="1371" y="231"/>
                    <a:pt x="1371" y="231"/>
                    <a:pt x="1370" y="230"/>
                  </a:cubicBezTo>
                  <a:cubicBezTo>
                    <a:pt x="1369" y="230"/>
                    <a:pt x="1367" y="229"/>
                    <a:pt x="1367" y="228"/>
                  </a:cubicBezTo>
                  <a:cubicBezTo>
                    <a:pt x="1367" y="226"/>
                    <a:pt x="1369" y="226"/>
                    <a:pt x="1370" y="225"/>
                  </a:cubicBezTo>
                  <a:cubicBezTo>
                    <a:pt x="1371" y="224"/>
                    <a:pt x="1372" y="223"/>
                    <a:pt x="1371" y="222"/>
                  </a:cubicBezTo>
                  <a:cubicBezTo>
                    <a:pt x="1371" y="221"/>
                    <a:pt x="1370" y="221"/>
                    <a:pt x="1370" y="220"/>
                  </a:cubicBezTo>
                  <a:cubicBezTo>
                    <a:pt x="1368" y="218"/>
                    <a:pt x="1369" y="218"/>
                    <a:pt x="1371" y="218"/>
                  </a:cubicBezTo>
                  <a:cubicBezTo>
                    <a:pt x="1372" y="218"/>
                    <a:pt x="1373" y="216"/>
                    <a:pt x="1373" y="215"/>
                  </a:cubicBezTo>
                  <a:cubicBezTo>
                    <a:pt x="1373" y="214"/>
                    <a:pt x="1371" y="213"/>
                    <a:pt x="1370" y="213"/>
                  </a:cubicBezTo>
                  <a:cubicBezTo>
                    <a:pt x="1369" y="211"/>
                    <a:pt x="1368" y="210"/>
                    <a:pt x="1367" y="209"/>
                  </a:cubicBezTo>
                  <a:cubicBezTo>
                    <a:pt x="1365" y="207"/>
                    <a:pt x="1362" y="207"/>
                    <a:pt x="1359" y="208"/>
                  </a:cubicBezTo>
                  <a:cubicBezTo>
                    <a:pt x="1357" y="208"/>
                    <a:pt x="1355" y="208"/>
                    <a:pt x="1353" y="208"/>
                  </a:cubicBezTo>
                  <a:cubicBezTo>
                    <a:pt x="1352" y="207"/>
                    <a:pt x="1350" y="207"/>
                    <a:pt x="1349" y="207"/>
                  </a:cubicBezTo>
                  <a:cubicBezTo>
                    <a:pt x="1348" y="207"/>
                    <a:pt x="1348" y="206"/>
                    <a:pt x="1347" y="206"/>
                  </a:cubicBezTo>
                  <a:cubicBezTo>
                    <a:pt x="1346" y="206"/>
                    <a:pt x="1345" y="206"/>
                    <a:pt x="1344" y="206"/>
                  </a:cubicBezTo>
                  <a:cubicBezTo>
                    <a:pt x="1342" y="206"/>
                    <a:pt x="1342" y="205"/>
                    <a:pt x="1341" y="204"/>
                  </a:cubicBezTo>
                  <a:cubicBezTo>
                    <a:pt x="1341" y="204"/>
                    <a:pt x="1340" y="204"/>
                    <a:pt x="1340" y="204"/>
                  </a:cubicBezTo>
                  <a:cubicBezTo>
                    <a:pt x="1339" y="203"/>
                    <a:pt x="1339" y="203"/>
                    <a:pt x="1339" y="202"/>
                  </a:cubicBezTo>
                  <a:cubicBezTo>
                    <a:pt x="1338" y="202"/>
                    <a:pt x="1338" y="202"/>
                    <a:pt x="1338" y="202"/>
                  </a:cubicBezTo>
                  <a:cubicBezTo>
                    <a:pt x="1339" y="202"/>
                    <a:pt x="1339" y="202"/>
                    <a:pt x="1339" y="200"/>
                  </a:cubicBezTo>
                  <a:cubicBezTo>
                    <a:pt x="1340" y="195"/>
                    <a:pt x="1338" y="195"/>
                    <a:pt x="1335" y="193"/>
                  </a:cubicBezTo>
                  <a:cubicBezTo>
                    <a:pt x="1325" y="188"/>
                    <a:pt x="1314" y="183"/>
                    <a:pt x="1303" y="180"/>
                  </a:cubicBezTo>
                  <a:cubicBezTo>
                    <a:pt x="1298" y="179"/>
                    <a:pt x="1295" y="177"/>
                    <a:pt x="1295" y="174"/>
                  </a:cubicBezTo>
                  <a:cubicBezTo>
                    <a:pt x="1307" y="173"/>
                    <a:pt x="1320" y="172"/>
                    <a:pt x="1332" y="174"/>
                  </a:cubicBezTo>
                  <a:cubicBezTo>
                    <a:pt x="1338" y="174"/>
                    <a:pt x="1346" y="173"/>
                    <a:pt x="1352" y="175"/>
                  </a:cubicBezTo>
                  <a:cubicBezTo>
                    <a:pt x="1355" y="176"/>
                    <a:pt x="1356" y="178"/>
                    <a:pt x="1359" y="178"/>
                  </a:cubicBezTo>
                  <a:cubicBezTo>
                    <a:pt x="1361" y="178"/>
                    <a:pt x="1363" y="178"/>
                    <a:pt x="1365" y="178"/>
                  </a:cubicBezTo>
                  <a:cubicBezTo>
                    <a:pt x="1369" y="178"/>
                    <a:pt x="1377" y="179"/>
                    <a:pt x="1381" y="178"/>
                  </a:cubicBezTo>
                  <a:cubicBezTo>
                    <a:pt x="1382" y="177"/>
                    <a:pt x="1386" y="174"/>
                    <a:pt x="1387" y="172"/>
                  </a:cubicBezTo>
                  <a:cubicBezTo>
                    <a:pt x="1390" y="169"/>
                    <a:pt x="1389" y="164"/>
                    <a:pt x="1392" y="162"/>
                  </a:cubicBezTo>
                  <a:cubicBezTo>
                    <a:pt x="1393" y="161"/>
                    <a:pt x="1397" y="161"/>
                    <a:pt x="1399" y="160"/>
                  </a:cubicBezTo>
                  <a:cubicBezTo>
                    <a:pt x="1401" y="159"/>
                    <a:pt x="1404" y="157"/>
                    <a:pt x="1406" y="156"/>
                  </a:cubicBezTo>
                  <a:cubicBezTo>
                    <a:pt x="1407" y="155"/>
                    <a:pt x="1406" y="154"/>
                    <a:pt x="1407" y="154"/>
                  </a:cubicBezTo>
                  <a:cubicBezTo>
                    <a:pt x="1408" y="154"/>
                    <a:pt x="1409" y="154"/>
                    <a:pt x="1410" y="154"/>
                  </a:cubicBezTo>
                  <a:cubicBezTo>
                    <a:pt x="1412" y="153"/>
                    <a:pt x="1411" y="151"/>
                    <a:pt x="1413" y="149"/>
                  </a:cubicBezTo>
                  <a:cubicBezTo>
                    <a:pt x="1416" y="146"/>
                    <a:pt x="1420" y="149"/>
                    <a:pt x="1423" y="146"/>
                  </a:cubicBezTo>
                  <a:cubicBezTo>
                    <a:pt x="1429" y="142"/>
                    <a:pt x="1419" y="130"/>
                    <a:pt x="1418" y="12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78" name="Freeform 139">
              <a:extLst>
                <a:ext uri="{FF2B5EF4-FFF2-40B4-BE49-F238E27FC236}">
                  <a16:creationId xmlns:a16="http://schemas.microsoft.com/office/drawing/2014/main" id="{04947546-249B-4E87-8FF5-C49F42F9F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0138" y="6602413"/>
              <a:ext cx="34925" cy="2063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3" y="3"/>
                </a:cxn>
                <a:cxn ang="0">
                  <a:pos x="1" y="7"/>
                </a:cxn>
                <a:cxn ang="0">
                  <a:pos x="5" y="10"/>
                </a:cxn>
                <a:cxn ang="0">
                  <a:pos x="14" y="11"/>
                </a:cxn>
                <a:cxn ang="0">
                  <a:pos x="17" y="7"/>
                </a:cxn>
                <a:cxn ang="0">
                  <a:pos x="19" y="3"/>
                </a:cxn>
                <a:cxn ang="0">
                  <a:pos x="16" y="2"/>
                </a:cxn>
              </a:cxnLst>
              <a:rect l="0" t="0" r="r" b="b"/>
              <a:pathLst>
                <a:path w="19" h="11">
                  <a:moveTo>
                    <a:pt x="16" y="2"/>
                  </a:moveTo>
                  <a:cubicBezTo>
                    <a:pt x="12" y="0"/>
                    <a:pt x="6" y="0"/>
                    <a:pt x="3" y="3"/>
                  </a:cubicBezTo>
                  <a:cubicBezTo>
                    <a:pt x="2" y="4"/>
                    <a:pt x="0" y="5"/>
                    <a:pt x="1" y="7"/>
                  </a:cubicBezTo>
                  <a:cubicBezTo>
                    <a:pt x="1" y="9"/>
                    <a:pt x="3" y="9"/>
                    <a:pt x="5" y="10"/>
                  </a:cubicBezTo>
                  <a:cubicBezTo>
                    <a:pt x="7" y="11"/>
                    <a:pt x="11" y="11"/>
                    <a:pt x="14" y="11"/>
                  </a:cubicBezTo>
                  <a:cubicBezTo>
                    <a:pt x="15" y="10"/>
                    <a:pt x="15" y="9"/>
                    <a:pt x="17" y="7"/>
                  </a:cubicBezTo>
                  <a:cubicBezTo>
                    <a:pt x="19" y="6"/>
                    <a:pt x="19" y="6"/>
                    <a:pt x="19" y="3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</p:grpSp>
      <p:sp>
        <p:nvSpPr>
          <p:cNvPr id="379" name="Oval 7">
            <a:extLst>
              <a:ext uri="{FF2B5EF4-FFF2-40B4-BE49-F238E27FC236}">
                <a16:creationId xmlns:a16="http://schemas.microsoft.com/office/drawing/2014/main" id="{C6062EAC-265A-4D4C-9AED-8661115E43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0069" y="3648759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380" name="Gruppieren 379">
            <a:extLst>
              <a:ext uri="{FF2B5EF4-FFF2-40B4-BE49-F238E27FC236}">
                <a16:creationId xmlns:a16="http://schemas.microsoft.com/office/drawing/2014/main" id="{2A45ECEF-CB12-4BC7-B0C8-9CB0E6F38D12}"/>
              </a:ext>
            </a:extLst>
          </p:cNvPr>
          <p:cNvGrpSpPr/>
          <p:nvPr/>
        </p:nvGrpSpPr>
        <p:grpSpPr>
          <a:xfrm>
            <a:off x="7013897" y="3846587"/>
            <a:ext cx="492344" cy="324343"/>
            <a:chOff x="3363913" y="1768476"/>
            <a:chExt cx="2416175" cy="1601788"/>
          </a:xfrm>
          <a:solidFill>
            <a:schemeClr val="accent4"/>
          </a:solidFill>
        </p:grpSpPr>
        <p:sp>
          <p:nvSpPr>
            <p:cNvPr id="381" name="Rectangle 14">
              <a:extLst>
                <a:ext uri="{FF2B5EF4-FFF2-40B4-BE49-F238E27FC236}">
                  <a16:creationId xmlns:a16="http://schemas.microsoft.com/office/drawing/2014/main" id="{9C2B1253-AD69-4FF6-8087-4FF792B13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7776" y="3262313"/>
              <a:ext cx="539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2" name="Rectangle 15">
              <a:extLst>
                <a:ext uri="{FF2B5EF4-FFF2-40B4-BE49-F238E27FC236}">
                  <a16:creationId xmlns:a16="http://schemas.microsoft.com/office/drawing/2014/main" id="{54A91D5C-1EAA-487D-85AE-1225946AF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813" y="3262313"/>
              <a:ext cx="114300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3" name="Rectangle 16">
              <a:extLst>
                <a:ext uri="{FF2B5EF4-FFF2-40B4-BE49-F238E27FC236}">
                  <a16:creationId xmlns:a16="http://schemas.microsoft.com/office/drawing/2014/main" id="{E51ECF1D-90D1-437C-B621-1472E5FD44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4038" y="3262313"/>
              <a:ext cx="114300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4" name="Rectangle 17">
              <a:extLst>
                <a:ext uri="{FF2B5EF4-FFF2-40B4-BE49-F238E27FC236}">
                  <a16:creationId xmlns:a16="http://schemas.microsoft.com/office/drawing/2014/main" id="{675DE007-F59E-4377-8134-E30A541B81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6001" y="3262313"/>
              <a:ext cx="1174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5" name="Rectangle 18">
              <a:extLst>
                <a:ext uri="{FF2B5EF4-FFF2-40B4-BE49-F238E27FC236}">
                  <a16:creationId xmlns:a16="http://schemas.microsoft.com/office/drawing/2014/main" id="{D3426E34-A311-48FF-8AB6-3862D5FC2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2588" y="3262313"/>
              <a:ext cx="539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6" name="Freeform 19">
              <a:extLst>
                <a:ext uri="{FF2B5EF4-FFF2-40B4-BE49-F238E27FC236}">
                  <a16:creationId xmlns:a16="http://schemas.microsoft.com/office/drawing/2014/main" id="{486B3323-CD2F-48F8-B307-2CFECD9D1B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913" y="1768476"/>
              <a:ext cx="2416175" cy="1601788"/>
            </a:xfrm>
            <a:custGeom>
              <a:avLst/>
              <a:gdLst>
                <a:gd name="T0" fmla="*/ 828 w 887"/>
                <a:gd name="T1" fmla="*/ 232 h 590"/>
                <a:gd name="T2" fmla="*/ 704 w 887"/>
                <a:gd name="T3" fmla="*/ 185 h 590"/>
                <a:gd name="T4" fmla="*/ 78 w 887"/>
                <a:gd name="T5" fmla="*/ 185 h 590"/>
                <a:gd name="T6" fmla="*/ 233 w 887"/>
                <a:gd name="T7" fmla="*/ 36 h 590"/>
                <a:gd name="T8" fmla="*/ 233 w 887"/>
                <a:gd name="T9" fmla="*/ 8 h 590"/>
                <a:gd name="T10" fmla="*/ 205 w 887"/>
                <a:gd name="T11" fmla="*/ 7 h 590"/>
                <a:gd name="T12" fmla="*/ 0 w 887"/>
                <a:gd name="T13" fmla="*/ 205 h 590"/>
                <a:gd name="T14" fmla="*/ 205 w 887"/>
                <a:gd name="T15" fmla="*/ 402 h 590"/>
                <a:gd name="T16" fmla="*/ 219 w 887"/>
                <a:gd name="T17" fmla="*/ 407 h 590"/>
                <a:gd name="T18" fmla="*/ 233 w 887"/>
                <a:gd name="T19" fmla="*/ 401 h 590"/>
                <a:gd name="T20" fmla="*/ 233 w 887"/>
                <a:gd name="T21" fmla="*/ 373 h 590"/>
                <a:gd name="T22" fmla="*/ 78 w 887"/>
                <a:gd name="T23" fmla="*/ 225 h 590"/>
                <a:gd name="T24" fmla="*/ 704 w 887"/>
                <a:gd name="T25" fmla="*/ 225 h 590"/>
                <a:gd name="T26" fmla="*/ 705 w 887"/>
                <a:gd name="T27" fmla="*/ 225 h 590"/>
                <a:gd name="T28" fmla="*/ 800 w 887"/>
                <a:gd name="T29" fmla="*/ 261 h 590"/>
                <a:gd name="T30" fmla="*/ 847 w 887"/>
                <a:gd name="T31" fmla="*/ 396 h 590"/>
                <a:gd name="T32" fmla="*/ 704 w 887"/>
                <a:gd name="T33" fmla="*/ 550 h 590"/>
                <a:gd name="T34" fmla="*/ 676 w 887"/>
                <a:gd name="T35" fmla="*/ 550 h 590"/>
                <a:gd name="T36" fmla="*/ 676 w 887"/>
                <a:gd name="T37" fmla="*/ 590 h 590"/>
                <a:gd name="T38" fmla="*/ 704 w 887"/>
                <a:gd name="T39" fmla="*/ 590 h 590"/>
                <a:gd name="T40" fmla="*/ 864 w 887"/>
                <a:gd name="T41" fmla="*/ 491 h 590"/>
                <a:gd name="T42" fmla="*/ 887 w 887"/>
                <a:gd name="T43" fmla="*/ 396 h 590"/>
                <a:gd name="T44" fmla="*/ 828 w 887"/>
                <a:gd name="T45" fmla="*/ 232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87" h="590">
                  <a:moveTo>
                    <a:pt x="828" y="232"/>
                  </a:moveTo>
                  <a:cubicBezTo>
                    <a:pt x="777" y="184"/>
                    <a:pt x="711" y="185"/>
                    <a:pt x="704" y="185"/>
                  </a:cubicBezTo>
                  <a:cubicBezTo>
                    <a:pt x="78" y="185"/>
                    <a:pt x="78" y="185"/>
                    <a:pt x="78" y="185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41" y="28"/>
                    <a:pt x="241" y="16"/>
                    <a:pt x="233" y="8"/>
                  </a:cubicBezTo>
                  <a:cubicBezTo>
                    <a:pt x="225" y="0"/>
                    <a:pt x="213" y="0"/>
                    <a:pt x="205" y="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205" y="402"/>
                    <a:pt x="205" y="402"/>
                    <a:pt x="205" y="402"/>
                  </a:cubicBezTo>
                  <a:cubicBezTo>
                    <a:pt x="209" y="406"/>
                    <a:pt x="214" y="407"/>
                    <a:pt x="219" y="407"/>
                  </a:cubicBezTo>
                  <a:cubicBezTo>
                    <a:pt x="224" y="407"/>
                    <a:pt x="229" y="405"/>
                    <a:pt x="233" y="401"/>
                  </a:cubicBezTo>
                  <a:cubicBezTo>
                    <a:pt x="241" y="393"/>
                    <a:pt x="241" y="381"/>
                    <a:pt x="233" y="373"/>
                  </a:cubicBezTo>
                  <a:cubicBezTo>
                    <a:pt x="78" y="225"/>
                    <a:pt x="78" y="225"/>
                    <a:pt x="78" y="225"/>
                  </a:cubicBezTo>
                  <a:cubicBezTo>
                    <a:pt x="704" y="225"/>
                    <a:pt x="704" y="225"/>
                    <a:pt x="704" y="225"/>
                  </a:cubicBezTo>
                  <a:cubicBezTo>
                    <a:pt x="705" y="225"/>
                    <a:pt x="705" y="225"/>
                    <a:pt x="705" y="225"/>
                  </a:cubicBezTo>
                  <a:cubicBezTo>
                    <a:pt x="706" y="225"/>
                    <a:pt x="759" y="222"/>
                    <a:pt x="800" y="261"/>
                  </a:cubicBezTo>
                  <a:cubicBezTo>
                    <a:pt x="831" y="290"/>
                    <a:pt x="847" y="336"/>
                    <a:pt x="847" y="396"/>
                  </a:cubicBezTo>
                  <a:cubicBezTo>
                    <a:pt x="847" y="402"/>
                    <a:pt x="844" y="550"/>
                    <a:pt x="704" y="550"/>
                  </a:cubicBezTo>
                  <a:cubicBezTo>
                    <a:pt x="676" y="550"/>
                    <a:pt x="676" y="550"/>
                    <a:pt x="676" y="550"/>
                  </a:cubicBezTo>
                  <a:cubicBezTo>
                    <a:pt x="676" y="590"/>
                    <a:pt x="676" y="590"/>
                    <a:pt x="676" y="590"/>
                  </a:cubicBezTo>
                  <a:cubicBezTo>
                    <a:pt x="704" y="590"/>
                    <a:pt x="704" y="590"/>
                    <a:pt x="704" y="590"/>
                  </a:cubicBezTo>
                  <a:cubicBezTo>
                    <a:pt x="799" y="590"/>
                    <a:pt x="843" y="536"/>
                    <a:pt x="864" y="491"/>
                  </a:cubicBezTo>
                  <a:cubicBezTo>
                    <a:pt x="886" y="445"/>
                    <a:pt x="887" y="398"/>
                    <a:pt x="887" y="396"/>
                  </a:cubicBezTo>
                  <a:cubicBezTo>
                    <a:pt x="887" y="324"/>
                    <a:pt x="867" y="269"/>
                    <a:pt x="828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87" name="Oval 8">
            <a:extLst>
              <a:ext uri="{FF2B5EF4-FFF2-40B4-BE49-F238E27FC236}">
                <a16:creationId xmlns:a16="http://schemas.microsoft.com/office/drawing/2014/main" id="{B10F5842-9AE3-4189-9C44-956D39216A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2253" y="1429873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388" name="Gruppieren 387">
            <a:extLst>
              <a:ext uri="{FF2B5EF4-FFF2-40B4-BE49-F238E27FC236}">
                <a16:creationId xmlns:a16="http://schemas.microsoft.com/office/drawing/2014/main" id="{8DECA2A5-3C3A-44B0-ABD4-C38F10059C29}"/>
              </a:ext>
            </a:extLst>
          </p:cNvPr>
          <p:cNvGrpSpPr/>
          <p:nvPr/>
        </p:nvGrpSpPr>
        <p:grpSpPr>
          <a:xfrm>
            <a:off x="8095183" y="1684677"/>
            <a:ext cx="534141" cy="210392"/>
            <a:chOff x="1504868" y="1362965"/>
            <a:chExt cx="1143979" cy="454025"/>
          </a:xfrm>
          <a:solidFill>
            <a:schemeClr val="accent3"/>
          </a:solidFill>
        </p:grpSpPr>
        <p:grpSp>
          <p:nvGrpSpPr>
            <p:cNvPr id="389" name="Group 250">
              <a:extLst>
                <a:ext uri="{FF2B5EF4-FFF2-40B4-BE49-F238E27FC236}">
                  <a16:creationId xmlns:a16="http://schemas.microsoft.com/office/drawing/2014/main" id="{FCA9DA67-0236-4762-9A1A-B701C10F23B3}"/>
                </a:ext>
              </a:extLst>
            </p:cNvPr>
            <p:cNvGrpSpPr/>
            <p:nvPr/>
          </p:nvGrpSpPr>
          <p:grpSpPr>
            <a:xfrm>
              <a:off x="1504868" y="1362965"/>
              <a:ext cx="1143979" cy="454025"/>
              <a:chOff x="-2701925" y="2127250"/>
              <a:chExt cx="1323975" cy="525463"/>
            </a:xfrm>
            <a:grpFill/>
          </p:grpSpPr>
          <p:sp>
            <p:nvSpPr>
              <p:cNvPr id="391" name="Freeform 44">
                <a:extLst>
                  <a:ext uri="{FF2B5EF4-FFF2-40B4-BE49-F238E27FC236}">
                    <a16:creationId xmlns:a16="http://schemas.microsoft.com/office/drawing/2014/main" id="{C048F2EA-66DB-4BE5-9993-297E00AC0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278063" y="2462213"/>
                <a:ext cx="184150" cy="190500"/>
              </a:xfrm>
              <a:custGeom>
                <a:avLst/>
                <a:gdLst>
                  <a:gd name="T0" fmla="*/ 49 w 49"/>
                  <a:gd name="T1" fmla="*/ 25 h 51"/>
                  <a:gd name="T2" fmla="*/ 25 w 49"/>
                  <a:gd name="T3" fmla="*/ 0 h 51"/>
                  <a:gd name="T4" fmla="*/ 0 w 49"/>
                  <a:gd name="T5" fmla="*/ 25 h 51"/>
                  <a:gd name="T6" fmla="*/ 25 w 49"/>
                  <a:gd name="T7" fmla="*/ 51 h 51"/>
                  <a:gd name="T8" fmla="*/ 49 w 49"/>
                  <a:gd name="T9" fmla="*/ 25 h 51"/>
                  <a:gd name="T10" fmla="*/ 36 w 49"/>
                  <a:gd name="T11" fmla="*/ 25 h 51"/>
                  <a:gd name="T12" fmla="*/ 25 w 49"/>
                  <a:gd name="T13" fmla="*/ 37 h 51"/>
                  <a:gd name="T14" fmla="*/ 15 w 49"/>
                  <a:gd name="T15" fmla="*/ 25 h 51"/>
                  <a:gd name="T16" fmla="*/ 25 w 49"/>
                  <a:gd name="T17" fmla="*/ 14 h 51"/>
                  <a:gd name="T18" fmla="*/ 36 w 49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51">
                    <a:moveTo>
                      <a:pt x="49" y="25"/>
                    </a:moveTo>
                    <a:cubicBezTo>
                      <a:pt x="49" y="12"/>
                      <a:pt x="38" y="0"/>
                      <a:pt x="25" y="0"/>
                    </a:cubicBezTo>
                    <a:cubicBezTo>
                      <a:pt x="12" y="0"/>
                      <a:pt x="0" y="12"/>
                      <a:pt x="0" y="25"/>
                    </a:cubicBezTo>
                    <a:cubicBezTo>
                      <a:pt x="0" y="39"/>
                      <a:pt x="12" y="51"/>
                      <a:pt x="25" y="51"/>
                    </a:cubicBezTo>
                    <a:cubicBezTo>
                      <a:pt x="38" y="51"/>
                      <a:pt x="49" y="39"/>
                      <a:pt x="49" y="25"/>
                    </a:cubicBezTo>
                    <a:close/>
                    <a:moveTo>
                      <a:pt x="36" y="25"/>
                    </a:moveTo>
                    <a:cubicBezTo>
                      <a:pt x="36" y="32"/>
                      <a:pt x="31" y="37"/>
                      <a:pt x="25" y="37"/>
                    </a:cubicBezTo>
                    <a:cubicBezTo>
                      <a:pt x="19" y="37"/>
                      <a:pt x="15" y="32"/>
                      <a:pt x="15" y="25"/>
                    </a:cubicBezTo>
                    <a:cubicBezTo>
                      <a:pt x="15" y="19"/>
                      <a:pt x="19" y="14"/>
                      <a:pt x="25" y="14"/>
                    </a:cubicBezTo>
                    <a:cubicBezTo>
                      <a:pt x="31" y="14"/>
                      <a:pt x="36" y="19"/>
                      <a:pt x="36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2" name="Freeform 45">
                <a:extLst>
                  <a:ext uri="{FF2B5EF4-FFF2-40B4-BE49-F238E27FC236}">
                    <a16:creationId xmlns:a16="http://schemas.microsoft.com/office/drawing/2014/main" id="{AD2B8CCD-A5CE-42EA-AFE0-35DDFA9F80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636713" y="2462213"/>
                <a:ext cx="179388" cy="190500"/>
              </a:xfrm>
              <a:custGeom>
                <a:avLst/>
                <a:gdLst>
                  <a:gd name="T0" fmla="*/ 48 w 48"/>
                  <a:gd name="T1" fmla="*/ 25 h 51"/>
                  <a:gd name="T2" fmla="*/ 23 w 48"/>
                  <a:gd name="T3" fmla="*/ 0 h 51"/>
                  <a:gd name="T4" fmla="*/ 0 w 48"/>
                  <a:gd name="T5" fmla="*/ 25 h 51"/>
                  <a:gd name="T6" fmla="*/ 23 w 48"/>
                  <a:gd name="T7" fmla="*/ 51 h 51"/>
                  <a:gd name="T8" fmla="*/ 48 w 48"/>
                  <a:gd name="T9" fmla="*/ 25 h 51"/>
                  <a:gd name="T10" fmla="*/ 35 w 48"/>
                  <a:gd name="T11" fmla="*/ 25 h 51"/>
                  <a:gd name="T12" fmla="*/ 23 w 48"/>
                  <a:gd name="T13" fmla="*/ 37 h 51"/>
                  <a:gd name="T14" fmla="*/ 13 w 48"/>
                  <a:gd name="T15" fmla="*/ 25 h 51"/>
                  <a:gd name="T16" fmla="*/ 23 w 48"/>
                  <a:gd name="T17" fmla="*/ 14 h 51"/>
                  <a:gd name="T18" fmla="*/ 35 w 48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51">
                    <a:moveTo>
                      <a:pt x="48" y="25"/>
                    </a:moveTo>
                    <a:cubicBezTo>
                      <a:pt x="48" y="12"/>
                      <a:pt x="37" y="0"/>
                      <a:pt x="23" y="0"/>
                    </a:cubicBezTo>
                    <a:cubicBezTo>
                      <a:pt x="10" y="0"/>
                      <a:pt x="0" y="12"/>
                      <a:pt x="0" y="25"/>
                    </a:cubicBezTo>
                    <a:cubicBezTo>
                      <a:pt x="0" y="39"/>
                      <a:pt x="10" y="51"/>
                      <a:pt x="23" y="51"/>
                    </a:cubicBezTo>
                    <a:cubicBezTo>
                      <a:pt x="37" y="51"/>
                      <a:pt x="48" y="39"/>
                      <a:pt x="48" y="25"/>
                    </a:cubicBezTo>
                    <a:close/>
                    <a:moveTo>
                      <a:pt x="35" y="25"/>
                    </a:moveTo>
                    <a:cubicBezTo>
                      <a:pt x="35" y="32"/>
                      <a:pt x="29" y="37"/>
                      <a:pt x="23" y="37"/>
                    </a:cubicBezTo>
                    <a:cubicBezTo>
                      <a:pt x="17" y="37"/>
                      <a:pt x="13" y="32"/>
                      <a:pt x="13" y="25"/>
                    </a:cubicBezTo>
                    <a:cubicBezTo>
                      <a:pt x="13" y="19"/>
                      <a:pt x="17" y="14"/>
                      <a:pt x="23" y="14"/>
                    </a:cubicBezTo>
                    <a:cubicBezTo>
                      <a:pt x="29" y="14"/>
                      <a:pt x="35" y="19"/>
                      <a:pt x="35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3" name="Freeform 46">
                <a:extLst>
                  <a:ext uri="{FF2B5EF4-FFF2-40B4-BE49-F238E27FC236}">
                    <a16:creationId xmlns:a16="http://schemas.microsoft.com/office/drawing/2014/main" id="{141AA514-D917-4176-BA05-B09101BCA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38388" y="2473325"/>
                <a:ext cx="79375" cy="82550"/>
              </a:xfrm>
              <a:custGeom>
                <a:avLst/>
                <a:gdLst>
                  <a:gd name="T0" fmla="*/ 0 w 21"/>
                  <a:gd name="T1" fmla="*/ 0 h 22"/>
                  <a:gd name="T2" fmla="*/ 0 w 21"/>
                  <a:gd name="T3" fmla="*/ 20 h 22"/>
                  <a:gd name="T4" fmla="*/ 4 w 21"/>
                  <a:gd name="T5" fmla="*/ 22 h 22"/>
                  <a:gd name="T6" fmla="*/ 11 w 21"/>
                  <a:gd name="T7" fmla="*/ 22 h 22"/>
                  <a:gd name="T8" fmla="*/ 11 w 21"/>
                  <a:gd name="T9" fmla="*/ 22 h 22"/>
                  <a:gd name="T10" fmla="*/ 21 w 21"/>
                  <a:gd name="T11" fmla="*/ 0 h 22"/>
                  <a:gd name="T12" fmla="*/ 0 w 21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2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2"/>
                      <a:pt x="4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13"/>
                      <a:pt x="15" y="5"/>
                      <a:pt x="2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4" name="Freeform 47">
                <a:extLst>
                  <a:ext uri="{FF2B5EF4-FFF2-40B4-BE49-F238E27FC236}">
                    <a16:creationId xmlns:a16="http://schemas.microsoft.com/office/drawing/2014/main" id="{E0457B7A-5A0F-4619-AABE-6676DFA862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38388" y="2127250"/>
                <a:ext cx="646113" cy="330200"/>
              </a:xfrm>
              <a:custGeom>
                <a:avLst/>
                <a:gdLst>
                  <a:gd name="T0" fmla="*/ 169 w 172"/>
                  <a:gd name="T1" fmla="*/ 0 h 88"/>
                  <a:gd name="T2" fmla="*/ 4 w 172"/>
                  <a:gd name="T3" fmla="*/ 0 h 88"/>
                  <a:gd name="T4" fmla="*/ 0 w 172"/>
                  <a:gd name="T5" fmla="*/ 3 h 88"/>
                  <a:gd name="T6" fmla="*/ 0 w 172"/>
                  <a:gd name="T7" fmla="*/ 88 h 88"/>
                  <a:gd name="T8" fmla="*/ 26 w 172"/>
                  <a:gd name="T9" fmla="*/ 88 h 88"/>
                  <a:gd name="T10" fmla="*/ 41 w 172"/>
                  <a:gd name="T11" fmla="*/ 83 h 88"/>
                  <a:gd name="T12" fmla="*/ 56 w 172"/>
                  <a:gd name="T13" fmla="*/ 88 h 88"/>
                  <a:gd name="T14" fmla="*/ 172 w 172"/>
                  <a:gd name="T15" fmla="*/ 88 h 88"/>
                  <a:gd name="T16" fmla="*/ 172 w 172"/>
                  <a:gd name="T17" fmla="*/ 3 h 88"/>
                  <a:gd name="T18" fmla="*/ 169 w 172"/>
                  <a:gd name="T1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88">
                    <a:moveTo>
                      <a:pt x="169" y="0"/>
                    </a:moveTo>
                    <a:cubicBezTo>
                      <a:pt x="0" y="0"/>
                      <a:pt x="4" y="0"/>
                      <a:pt x="4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31" y="85"/>
                      <a:pt x="36" y="83"/>
                      <a:pt x="41" y="83"/>
                    </a:cubicBezTo>
                    <a:cubicBezTo>
                      <a:pt x="47" y="83"/>
                      <a:pt x="52" y="85"/>
                      <a:pt x="56" y="88"/>
                    </a:cubicBezTo>
                    <a:cubicBezTo>
                      <a:pt x="172" y="88"/>
                      <a:pt x="172" y="88"/>
                      <a:pt x="172" y="88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72" y="1"/>
                      <a:pt x="171" y="0"/>
                      <a:pt x="1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5" name="Freeform 48">
                <a:extLst>
                  <a:ext uri="{FF2B5EF4-FFF2-40B4-BE49-F238E27FC236}">
                    <a16:creationId xmlns:a16="http://schemas.microsoft.com/office/drawing/2014/main" id="{8A8CAA5F-024D-40E3-980F-F92B94C9E9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109788" y="2198688"/>
                <a:ext cx="731838" cy="357188"/>
              </a:xfrm>
              <a:custGeom>
                <a:avLst/>
                <a:gdLst>
                  <a:gd name="T0" fmla="*/ 176 w 195"/>
                  <a:gd name="T1" fmla="*/ 4 h 95"/>
                  <a:gd name="T2" fmla="*/ 171 w 195"/>
                  <a:gd name="T3" fmla="*/ 2 h 95"/>
                  <a:gd name="T4" fmla="*/ 123 w 195"/>
                  <a:gd name="T5" fmla="*/ 2 h 95"/>
                  <a:gd name="T6" fmla="*/ 119 w 195"/>
                  <a:gd name="T7" fmla="*/ 4 h 95"/>
                  <a:gd name="T8" fmla="*/ 119 w 195"/>
                  <a:gd name="T9" fmla="*/ 73 h 95"/>
                  <a:gd name="T10" fmla="*/ 108 w 195"/>
                  <a:gd name="T11" fmla="*/ 73 h 95"/>
                  <a:gd name="T12" fmla="*/ 108 w 195"/>
                  <a:gd name="T13" fmla="*/ 73 h 95"/>
                  <a:gd name="T14" fmla="*/ 95 w 195"/>
                  <a:gd name="T15" fmla="*/ 73 h 95"/>
                  <a:gd name="T16" fmla="*/ 55 w 195"/>
                  <a:gd name="T17" fmla="*/ 73 h 95"/>
                  <a:gd name="T18" fmla="*/ 0 w 195"/>
                  <a:gd name="T19" fmla="*/ 73 h 95"/>
                  <a:gd name="T20" fmla="*/ 9 w 195"/>
                  <a:gd name="T21" fmla="*/ 95 h 95"/>
                  <a:gd name="T22" fmla="*/ 9 w 195"/>
                  <a:gd name="T23" fmla="*/ 95 h 95"/>
                  <a:gd name="T24" fmla="*/ 45 w 195"/>
                  <a:gd name="T25" fmla="*/ 95 h 95"/>
                  <a:gd name="T26" fmla="*/ 104 w 195"/>
                  <a:gd name="T27" fmla="*/ 95 h 95"/>
                  <a:gd name="T28" fmla="*/ 108 w 195"/>
                  <a:gd name="T29" fmla="*/ 95 h 95"/>
                  <a:gd name="T30" fmla="*/ 108 w 195"/>
                  <a:gd name="T31" fmla="*/ 95 h 95"/>
                  <a:gd name="T32" fmla="*/ 120 w 195"/>
                  <a:gd name="T33" fmla="*/ 95 h 95"/>
                  <a:gd name="T34" fmla="*/ 120 w 195"/>
                  <a:gd name="T35" fmla="*/ 88 h 95"/>
                  <a:gd name="T36" fmla="*/ 149 w 195"/>
                  <a:gd name="T37" fmla="*/ 64 h 95"/>
                  <a:gd name="T38" fmla="*/ 180 w 195"/>
                  <a:gd name="T39" fmla="*/ 95 h 95"/>
                  <a:gd name="T40" fmla="*/ 195 w 195"/>
                  <a:gd name="T41" fmla="*/ 95 h 95"/>
                  <a:gd name="T42" fmla="*/ 195 w 195"/>
                  <a:gd name="T43" fmla="*/ 48 h 95"/>
                  <a:gd name="T44" fmla="*/ 176 w 195"/>
                  <a:gd name="T45" fmla="*/ 4 h 95"/>
                  <a:gd name="T46" fmla="*/ 141 w 195"/>
                  <a:gd name="T47" fmla="*/ 39 h 95"/>
                  <a:gd name="T48" fmla="*/ 141 w 195"/>
                  <a:gd name="T49" fmla="*/ 10 h 95"/>
                  <a:gd name="T50" fmla="*/ 167 w 195"/>
                  <a:gd name="T51" fmla="*/ 10 h 95"/>
                  <a:gd name="T52" fmla="*/ 179 w 195"/>
                  <a:gd name="T53" fmla="*/ 39 h 95"/>
                  <a:gd name="T54" fmla="*/ 141 w 195"/>
                  <a:gd name="T55" fmla="*/ 3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5" h="95">
                    <a:moveTo>
                      <a:pt x="176" y="4"/>
                    </a:moveTo>
                    <a:cubicBezTo>
                      <a:pt x="176" y="0"/>
                      <a:pt x="171" y="2"/>
                      <a:pt x="171" y="2"/>
                    </a:cubicBezTo>
                    <a:cubicBezTo>
                      <a:pt x="171" y="2"/>
                      <a:pt x="171" y="2"/>
                      <a:pt x="123" y="2"/>
                    </a:cubicBezTo>
                    <a:cubicBezTo>
                      <a:pt x="123" y="2"/>
                      <a:pt x="119" y="0"/>
                      <a:pt x="119" y="4"/>
                    </a:cubicBezTo>
                    <a:cubicBezTo>
                      <a:pt x="119" y="4"/>
                      <a:pt x="119" y="4"/>
                      <a:pt x="119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95" y="73"/>
                      <a:pt x="95" y="73"/>
                      <a:pt x="95" y="73"/>
                    </a:cubicBezTo>
                    <a:cubicBezTo>
                      <a:pt x="55" y="73"/>
                      <a:pt x="55" y="73"/>
                      <a:pt x="55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6" y="78"/>
                      <a:pt x="9" y="86"/>
                      <a:pt x="9" y="95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44" y="95"/>
                      <a:pt x="45" y="95"/>
                      <a:pt x="45" y="95"/>
                    </a:cubicBezTo>
                    <a:cubicBezTo>
                      <a:pt x="104" y="95"/>
                      <a:pt x="104" y="95"/>
                      <a:pt x="104" y="95"/>
                    </a:cubicBezTo>
                    <a:cubicBezTo>
                      <a:pt x="107" y="95"/>
                      <a:pt x="107" y="95"/>
                      <a:pt x="108" y="95"/>
                    </a:cubicBezTo>
                    <a:cubicBezTo>
                      <a:pt x="108" y="95"/>
                      <a:pt x="108" y="95"/>
                      <a:pt x="108" y="95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0" y="88"/>
                      <a:pt x="120" y="88"/>
                      <a:pt x="120" y="88"/>
                    </a:cubicBezTo>
                    <a:cubicBezTo>
                      <a:pt x="123" y="75"/>
                      <a:pt x="135" y="64"/>
                      <a:pt x="149" y="64"/>
                    </a:cubicBezTo>
                    <a:cubicBezTo>
                      <a:pt x="165" y="64"/>
                      <a:pt x="180" y="78"/>
                      <a:pt x="180" y="95"/>
                    </a:cubicBezTo>
                    <a:cubicBezTo>
                      <a:pt x="180" y="95"/>
                      <a:pt x="180" y="95"/>
                      <a:pt x="195" y="95"/>
                    </a:cubicBezTo>
                    <a:cubicBezTo>
                      <a:pt x="195" y="48"/>
                      <a:pt x="195" y="48"/>
                      <a:pt x="195" y="48"/>
                    </a:cubicBezTo>
                    <a:cubicBezTo>
                      <a:pt x="195" y="48"/>
                      <a:pt x="177" y="8"/>
                      <a:pt x="176" y="4"/>
                    </a:cubicBezTo>
                    <a:close/>
                    <a:moveTo>
                      <a:pt x="141" y="39"/>
                    </a:moveTo>
                    <a:cubicBezTo>
                      <a:pt x="141" y="39"/>
                      <a:pt x="141" y="39"/>
                      <a:pt x="141" y="10"/>
                    </a:cubicBezTo>
                    <a:cubicBezTo>
                      <a:pt x="141" y="10"/>
                      <a:pt x="141" y="10"/>
                      <a:pt x="167" y="10"/>
                    </a:cubicBezTo>
                    <a:cubicBezTo>
                      <a:pt x="179" y="39"/>
                      <a:pt x="179" y="39"/>
                      <a:pt x="179" y="39"/>
                    </a:cubicBezTo>
                    <a:cubicBezTo>
                      <a:pt x="179" y="39"/>
                      <a:pt x="172" y="39"/>
                      <a:pt x="141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6" name="Freeform 49">
                <a:extLst>
                  <a:ext uri="{FF2B5EF4-FFF2-40B4-BE49-F238E27FC236}">
                    <a16:creationId xmlns:a16="http://schemas.microsoft.com/office/drawing/2014/main" id="{0369F376-C40D-464E-81B6-1E7BE1C53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01925" y="2449513"/>
                <a:ext cx="398463" cy="98425"/>
              </a:xfrm>
              <a:custGeom>
                <a:avLst/>
                <a:gdLst>
                  <a:gd name="T0" fmla="*/ 106 w 106"/>
                  <a:gd name="T1" fmla="*/ 15 h 26"/>
                  <a:gd name="T2" fmla="*/ 101 w 106"/>
                  <a:gd name="T3" fmla="*/ 12 h 26"/>
                  <a:gd name="T4" fmla="*/ 83 w 106"/>
                  <a:gd name="T5" fmla="*/ 17 h 26"/>
                  <a:gd name="T6" fmla="*/ 81 w 106"/>
                  <a:gd name="T7" fmla="*/ 8 h 26"/>
                  <a:gd name="T8" fmla="*/ 89 w 106"/>
                  <a:gd name="T9" fmla="*/ 8 h 26"/>
                  <a:gd name="T10" fmla="*/ 93 w 106"/>
                  <a:gd name="T11" fmla="*/ 4 h 26"/>
                  <a:gd name="T12" fmla="*/ 89 w 106"/>
                  <a:gd name="T13" fmla="*/ 0 h 26"/>
                  <a:gd name="T14" fmla="*/ 4 w 106"/>
                  <a:gd name="T15" fmla="*/ 0 h 26"/>
                  <a:gd name="T16" fmla="*/ 0 w 106"/>
                  <a:gd name="T17" fmla="*/ 4 h 26"/>
                  <a:gd name="T18" fmla="*/ 4 w 106"/>
                  <a:gd name="T19" fmla="*/ 8 h 26"/>
                  <a:gd name="T20" fmla="*/ 73 w 106"/>
                  <a:gd name="T21" fmla="*/ 8 h 26"/>
                  <a:gd name="T22" fmla="*/ 77 w 106"/>
                  <a:gd name="T23" fmla="*/ 23 h 26"/>
                  <a:gd name="T24" fmla="*/ 78 w 106"/>
                  <a:gd name="T25" fmla="*/ 25 h 26"/>
                  <a:gd name="T26" fmla="*/ 80 w 106"/>
                  <a:gd name="T27" fmla="*/ 26 h 26"/>
                  <a:gd name="T28" fmla="*/ 81 w 106"/>
                  <a:gd name="T29" fmla="*/ 26 h 26"/>
                  <a:gd name="T30" fmla="*/ 103 w 106"/>
                  <a:gd name="T31" fmla="*/ 20 h 26"/>
                  <a:gd name="T32" fmla="*/ 106 w 106"/>
                  <a:gd name="T33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6" h="26">
                    <a:moveTo>
                      <a:pt x="106" y="15"/>
                    </a:moveTo>
                    <a:cubicBezTo>
                      <a:pt x="105" y="13"/>
                      <a:pt x="103" y="12"/>
                      <a:pt x="101" y="12"/>
                    </a:cubicBezTo>
                    <a:cubicBezTo>
                      <a:pt x="83" y="17"/>
                      <a:pt x="83" y="17"/>
                      <a:pt x="83" y="17"/>
                    </a:cubicBezTo>
                    <a:cubicBezTo>
                      <a:pt x="81" y="8"/>
                      <a:pt x="81" y="8"/>
                      <a:pt x="81" y="8"/>
                    </a:cubicBezTo>
                    <a:cubicBezTo>
                      <a:pt x="89" y="8"/>
                      <a:pt x="89" y="8"/>
                      <a:pt x="89" y="8"/>
                    </a:cubicBezTo>
                    <a:cubicBezTo>
                      <a:pt x="91" y="8"/>
                      <a:pt x="93" y="6"/>
                      <a:pt x="93" y="4"/>
                    </a:cubicBezTo>
                    <a:cubicBezTo>
                      <a:pt x="93" y="2"/>
                      <a:pt x="91" y="0"/>
                      <a:pt x="8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6"/>
                      <a:pt x="1" y="8"/>
                      <a:pt x="4" y="8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7" y="24"/>
                      <a:pt x="77" y="25"/>
                      <a:pt x="78" y="25"/>
                    </a:cubicBezTo>
                    <a:cubicBezTo>
                      <a:pt x="79" y="26"/>
                      <a:pt x="80" y="26"/>
                      <a:pt x="80" y="26"/>
                    </a:cubicBezTo>
                    <a:cubicBezTo>
                      <a:pt x="81" y="26"/>
                      <a:pt x="81" y="26"/>
                      <a:pt x="81" y="26"/>
                    </a:cubicBezTo>
                    <a:cubicBezTo>
                      <a:pt x="103" y="20"/>
                      <a:pt x="103" y="20"/>
                      <a:pt x="103" y="20"/>
                    </a:cubicBezTo>
                    <a:cubicBezTo>
                      <a:pt x="105" y="19"/>
                      <a:pt x="106" y="17"/>
                      <a:pt x="10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7B35C95D-E655-4802-B9E4-EEACB9F16FE9}"/>
                </a:ext>
              </a:extLst>
            </p:cNvPr>
            <p:cNvSpPr/>
            <p:nvPr/>
          </p:nvSpPr>
          <p:spPr>
            <a:xfrm>
              <a:off x="1552575" y="1434557"/>
              <a:ext cx="185899" cy="1858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>
              <a:spAutoFit/>
            </a:bodyPr>
            <a:lstStyle/>
            <a:p>
              <a:pPr algn="l" rtl="0"/>
              <a:endParaRPr lang="fr-FR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97" name="Freihandform: Form 396">
            <a:extLst>
              <a:ext uri="{FF2B5EF4-FFF2-40B4-BE49-F238E27FC236}">
                <a16:creationId xmlns:a16="http://schemas.microsoft.com/office/drawing/2014/main" id="{AA257D20-B190-420D-99D6-99D5648BBF0D}"/>
              </a:ext>
            </a:extLst>
          </p:cNvPr>
          <p:cNvSpPr/>
          <p:nvPr/>
        </p:nvSpPr>
        <p:spPr>
          <a:xfrm>
            <a:off x="6193154" y="648653"/>
            <a:ext cx="733425" cy="365760"/>
          </a:xfrm>
          <a:custGeom>
            <a:avLst/>
            <a:gdLst>
              <a:gd name="connsiteX0" fmla="*/ 762000 w 762000"/>
              <a:gd name="connsiteY0" fmla="*/ 365760 h 365760"/>
              <a:gd name="connsiteX1" fmla="*/ 388620 w 762000"/>
              <a:gd name="connsiteY1" fmla="*/ 91440 h 365760"/>
              <a:gd name="connsiteX2" fmla="*/ 0 w 762000"/>
              <a:gd name="connsiteY2" fmla="*/ 0 h 365760"/>
              <a:gd name="connsiteX0" fmla="*/ 723900 w 723900"/>
              <a:gd name="connsiteY0" fmla="*/ 503872 h 503872"/>
              <a:gd name="connsiteX1" fmla="*/ 388620 w 723900"/>
              <a:gd name="connsiteY1" fmla="*/ 91440 h 503872"/>
              <a:gd name="connsiteX2" fmla="*/ 0 w 723900"/>
              <a:gd name="connsiteY2" fmla="*/ 0 h 503872"/>
              <a:gd name="connsiteX0" fmla="*/ 733425 w 733425"/>
              <a:gd name="connsiteY0" fmla="*/ 429525 h 429525"/>
              <a:gd name="connsiteX1" fmla="*/ 398145 w 733425"/>
              <a:gd name="connsiteY1" fmla="*/ 17093 h 429525"/>
              <a:gd name="connsiteX2" fmla="*/ 0 w 733425"/>
              <a:gd name="connsiteY2" fmla="*/ 63765 h 429525"/>
              <a:gd name="connsiteX0" fmla="*/ 733425 w 733425"/>
              <a:gd name="connsiteY0" fmla="*/ 365760 h 365760"/>
              <a:gd name="connsiteX1" fmla="*/ 412432 w 733425"/>
              <a:gd name="connsiteY1" fmla="*/ 77153 h 365760"/>
              <a:gd name="connsiteX2" fmla="*/ 0 w 733425"/>
              <a:gd name="connsiteY2" fmla="*/ 0 h 365760"/>
              <a:gd name="connsiteX0" fmla="*/ 733425 w 733425"/>
              <a:gd name="connsiteY0" fmla="*/ 365760 h 365760"/>
              <a:gd name="connsiteX1" fmla="*/ 412432 w 733425"/>
              <a:gd name="connsiteY1" fmla="*/ 77153 h 365760"/>
              <a:gd name="connsiteX2" fmla="*/ 0 w 733425"/>
              <a:gd name="connsiteY2" fmla="*/ 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425" h="365760">
                <a:moveTo>
                  <a:pt x="733425" y="365760"/>
                </a:moveTo>
                <a:cubicBezTo>
                  <a:pt x="619760" y="216217"/>
                  <a:pt x="534670" y="138113"/>
                  <a:pt x="412432" y="77153"/>
                </a:cubicBezTo>
                <a:cubicBezTo>
                  <a:pt x="290194" y="16193"/>
                  <a:pt x="130810" y="15240"/>
                  <a:pt x="0" y="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98" name="Freihandform: Form 397">
            <a:extLst>
              <a:ext uri="{FF2B5EF4-FFF2-40B4-BE49-F238E27FC236}">
                <a16:creationId xmlns:a16="http://schemas.microsoft.com/office/drawing/2014/main" id="{22135590-C594-4B9C-8AC2-3CE06269906F}"/>
              </a:ext>
            </a:extLst>
          </p:cNvPr>
          <p:cNvSpPr/>
          <p:nvPr/>
        </p:nvSpPr>
        <p:spPr>
          <a:xfrm>
            <a:off x="7613333" y="975310"/>
            <a:ext cx="754380" cy="464870"/>
          </a:xfrm>
          <a:custGeom>
            <a:avLst/>
            <a:gdLst>
              <a:gd name="connsiteX0" fmla="*/ 0 w 754380"/>
              <a:gd name="connsiteY0" fmla="*/ 0 h 464820"/>
              <a:gd name="connsiteX1" fmla="*/ 624840 w 754380"/>
              <a:gd name="connsiteY1" fmla="*/ 160020 h 464820"/>
              <a:gd name="connsiteX2" fmla="*/ 754380 w 754380"/>
              <a:gd name="connsiteY2" fmla="*/ 464820 h 464820"/>
              <a:gd name="connsiteX0" fmla="*/ 0 w 754380"/>
              <a:gd name="connsiteY0" fmla="*/ 0 h 464820"/>
              <a:gd name="connsiteX1" fmla="*/ 491490 w 754380"/>
              <a:gd name="connsiteY1" fmla="*/ 79057 h 464820"/>
              <a:gd name="connsiteX2" fmla="*/ 754380 w 754380"/>
              <a:gd name="connsiteY2" fmla="*/ 464820 h 464820"/>
              <a:gd name="connsiteX0" fmla="*/ 0 w 754380"/>
              <a:gd name="connsiteY0" fmla="*/ 263 h 465083"/>
              <a:gd name="connsiteX1" fmla="*/ 491490 w 754380"/>
              <a:gd name="connsiteY1" fmla="*/ 79320 h 465083"/>
              <a:gd name="connsiteX2" fmla="*/ 754380 w 754380"/>
              <a:gd name="connsiteY2" fmla="*/ 465083 h 465083"/>
              <a:gd name="connsiteX0" fmla="*/ 0 w 754380"/>
              <a:gd name="connsiteY0" fmla="*/ 50 h 464870"/>
              <a:gd name="connsiteX1" fmla="*/ 501015 w 754380"/>
              <a:gd name="connsiteY1" fmla="*/ 112445 h 464870"/>
              <a:gd name="connsiteX2" fmla="*/ 754380 w 754380"/>
              <a:gd name="connsiteY2" fmla="*/ 464870 h 46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54380" h="464870">
                <a:moveTo>
                  <a:pt x="0" y="50"/>
                </a:moveTo>
                <a:cubicBezTo>
                  <a:pt x="330517" y="-1537"/>
                  <a:pt x="375285" y="34975"/>
                  <a:pt x="501015" y="112445"/>
                </a:cubicBezTo>
                <a:cubicBezTo>
                  <a:pt x="626745" y="189915"/>
                  <a:pt x="752475" y="351205"/>
                  <a:pt x="754380" y="46487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99" name="Freihandform: Form 398">
            <a:extLst>
              <a:ext uri="{FF2B5EF4-FFF2-40B4-BE49-F238E27FC236}">
                <a16:creationId xmlns:a16="http://schemas.microsoft.com/office/drawing/2014/main" id="{26C14502-84C4-4636-B10D-896FF4A385AE}"/>
              </a:ext>
            </a:extLst>
          </p:cNvPr>
          <p:cNvSpPr/>
          <p:nvPr/>
        </p:nvSpPr>
        <p:spPr>
          <a:xfrm>
            <a:off x="7277100" y="1730692"/>
            <a:ext cx="727710" cy="448628"/>
          </a:xfrm>
          <a:custGeom>
            <a:avLst/>
            <a:gdLst>
              <a:gd name="connsiteX0" fmla="*/ 708660 w 708660"/>
              <a:gd name="connsiteY0" fmla="*/ 0 h 358140"/>
              <a:gd name="connsiteX1" fmla="*/ 205740 w 708660"/>
              <a:gd name="connsiteY1" fmla="*/ 129540 h 358140"/>
              <a:gd name="connsiteX2" fmla="*/ 0 w 708660"/>
              <a:gd name="connsiteY2" fmla="*/ 358140 h 358140"/>
              <a:gd name="connsiteX0" fmla="*/ 727710 w 727710"/>
              <a:gd name="connsiteY0" fmla="*/ 0 h 448628"/>
              <a:gd name="connsiteX1" fmla="*/ 205740 w 727710"/>
              <a:gd name="connsiteY1" fmla="*/ 220028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7710" h="448628">
                <a:moveTo>
                  <a:pt x="727710" y="0"/>
                </a:moveTo>
                <a:cubicBezTo>
                  <a:pt x="530543" y="11113"/>
                  <a:pt x="398462" y="45244"/>
                  <a:pt x="277177" y="120015"/>
                </a:cubicBezTo>
                <a:cubicBezTo>
                  <a:pt x="155892" y="194786"/>
                  <a:pt x="91440" y="278448"/>
                  <a:pt x="0" y="44862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00" name="Freihandform: Form 399">
            <a:extLst>
              <a:ext uri="{FF2B5EF4-FFF2-40B4-BE49-F238E27FC236}">
                <a16:creationId xmlns:a16="http://schemas.microsoft.com/office/drawing/2014/main" id="{F8A0D237-3E17-4B1E-A5B4-A363DB8D4E88}"/>
              </a:ext>
            </a:extLst>
          </p:cNvPr>
          <p:cNvSpPr/>
          <p:nvPr/>
        </p:nvSpPr>
        <p:spPr>
          <a:xfrm>
            <a:off x="7635240" y="4038600"/>
            <a:ext cx="1036320" cy="1112520"/>
          </a:xfrm>
          <a:custGeom>
            <a:avLst/>
            <a:gdLst>
              <a:gd name="connsiteX0" fmla="*/ 0 w 1036320"/>
              <a:gd name="connsiteY0" fmla="*/ 0 h 1112520"/>
              <a:gd name="connsiteX1" fmla="*/ 571500 w 1036320"/>
              <a:gd name="connsiteY1" fmla="*/ 358140 h 1112520"/>
              <a:gd name="connsiteX2" fmla="*/ 1036320 w 1036320"/>
              <a:gd name="connsiteY2" fmla="*/ 1112520 h 111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6320" h="1112520">
                <a:moveTo>
                  <a:pt x="0" y="0"/>
                </a:moveTo>
                <a:cubicBezTo>
                  <a:pt x="199390" y="86360"/>
                  <a:pt x="398780" y="172720"/>
                  <a:pt x="571500" y="358140"/>
                </a:cubicBezTo>
                <a:cubicBezTo>
                  <a:pt x="744220" y="543560"/>
                  <a:pt x="890270" y="828040"/>
                  <a:pt x="1036320" y="111252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01" name="Freihandform: Form 400">
            <a:extLst>
              <a:ext uri="{FF2B5EF4-FFF2-40B4-BE49-F238E27FC236}">
                <a16:creationId xmlns:a16="http://schemas.microsoft.com/office/drawing/2014/main" id="{953D11D2-C98E-4E40-8573-0D0068585C2B}"/>
              </a:ext>
            </a:extLst>
          </p:cNvPr>
          <p:cNvSpPr/>
          <p:nvPr/>
        </p:nvSpPr>
        <p:spPr>
          <a:xfrm>
            <a:off x="7229475" y="3202305"/>
            <a:ext cx="727710" cy="448628"/>
          </a:xfrm>
          <a:custGeom>
            <a:avLst/>
            <a:gdLst>
              <a:gd name="connsiteX0" fmla="*/ 708660 w 708660"/>
              <a:gd name="connsiteY0" fmla="*/ 0 h 358140"/>
              <a:gd name="connsiteX1" fmla="*/ 205740 w 708660"/>
              <a:gd name="connsiteY1" fmla="*/ 129540 h 358140"/>
              <a:gd name="connsiteX2" fmla="*/ 0 w 708660"/>
              <a:gd name="connsiteY2" fmla="*/ 358140 h 358140"/>
              <a:gd name="connsiteX0" fmla="*/ 727710 w 727710"/>
              <a:gd name="connsiteY0" fmla="*/ 0 h 448628"/>
              <a:gd name="connsiteX1" fmla="*/ 205740 w 727710"/>
              <a:gd name="connsiteY1" fmla="*/ 220028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7710" h="448628">
                <a:moveTo>
                  <a:pt x="727710" y="0"/>
                </a:moveTo>
                <a:cubicBezTo>
                  <a:pt x="530543" y="11113"/>
                  <a:pt x="398462" y="45244"/>
                  <a:pt x="277177" y="120015"/>
                </a:cubicBezTo>
                <a:cubicBezTo>
                  <a:pt x="155892" y="194786"/>
                  <a:pt x="91440" y="278448"/>
                  <a:pt x="0" y="44862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402" name="Freihandform: Form 401">
            <a:extLst>
              <a:ext uri="{FF2B5EF4-FFF2-40B4-BE49-F238E27FC236}">
                <a16:creationId xmlns:a16="http://schemas.microsoft.com/office/drawing/2014/main" id="{797BAAF1-1A61-4E9E-A4B5-51F4ABE52AD0}"/>
              </a:ext>
            </a:extLst>
          </p:cNvPr>
          <p:cNvSpPr/>
          <p:nvPr/>
        </p:nvSpPr>
        <p:spPr>
          <a:xfrm>
            <a:off x="7637144" y="2418366"/>
            <a:ext cx="687705" cy="498188"/>
          </a:xfrm>
          <a:custGeom>
            <a:avLst/>
            <a:gdLst>
              <a:gd name="connsiteX0" fmla="*/ 0 w 754380"/>
              <a:gd name="connsiteY0" fmla="*/ 0 h 464820"/>
              <a:gd name="connsiteX1" fmla="*/ 624840 w 754380"/>
              <a:gd name="connsiteY1" fmla="*/ 160020 h 464820"/>
              <a:gd name="connsiteX2" fmla="*/ 754380 w 754380"/>
              <a:gd name="connsiteY2" fmla="*/ 464820 h 464820"/>
              <a:gd name="connsiteX0" fmla="*/ 0 w 754380"/>
              <a:gd name="connsiteY0" fmla="*/ 0 h 464820"/>
              <a:gd name="connsiteX1" fmla="*/ 491490 w 754380"/>
              <a:gd name="connsiteY1" fmla="*/ 79057 h 464820"/>
              <a:gd name="connsiteX2" fmla="*/ 754380 w 754380"/>
              <a:gd name="connsiteY2" fmla="*/ 464820 h 464820"/>
              <a:gd name="connsiteX0" fmla="*/ 0 w 754380"/>
              <a:gd name="connsiteY0" fmla="*/ 263 h 465083"/>
              <a:gd name="connsiteX1" fmla="*/ 491490 w 754380"/>
              <a:gd name="connsiteY1" fmla="*/ 79320 h 465083"/>
              <a:gd name="connsiteX2" fmla="*/ 754380 w 754380"/>
              <a:gd name="connsiteY2" fmla="*/ 465083 h 465083"/>
              <a:gd name="connsiteX0" fmla="*/ 0 w 754380"/>
              <a:gd name="connsiteY0" fmla="*/ 50 h 464870"/>
              <a:gd name="connsiteX1" fmla="*/ 501015 w 754380"/>
              <a:gd name="connsiteY1" fmla="*/ 112445 h 464870"/>
              <a:gd name="connsiteX2" fmla="*/ 754380 w 754380"/>
              <a:gd name="connsiteY2" fmla="*/ 464870 h 464870"/>
              <a:gd name="connsiteX0" fmla="*/ 0 w 687705"/>
              <a:gd name="connsiteY0" fmla="*/ 57 h 498214"/>
              <a:gd name="connsiteX1" fmla="*/ 501015 w 687705"/>
              <a:gd name="connsiteY1" fmla="*/ 112452 h 498214"/>
              <a:gd name="connsiteX2" fmla="*/ 687705 w 687705"/>
              <a:gd name="connsiteY2" fmla="*/ 498214 h 498214"/>
              <a:gd name="connsiteX0" fmla="*/ 0 w 687705"/>
              <a:gd name="connsiteY0" fmla="*/ 31 h 498188"/>
              <a:gd name="connsiteX1" fmla="*/ 539115 w 687705"/>
              <a:gd name="connsiteY1" fmla="*/ 141001 h 498188"/>
              <a:gd name="connsiteX2" fmla="*/ 687705 w 687705"/>
              <a:gd name="connsiteY2" fmla="*/ 498188 h 49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7705" h="498188">
                <a:moveTo>
                  <a:pt x="0" y="31"/>
                </a:moveTo>
                <a:cubicBezTo>
                  <a:pt x="330517" y="-1556"/>
                  <a:pt x="424498" y="57975"/>
                  <a:pt x="539115" y="141001"/>
                </a:cubicBezTo>
                <a:cubicBezTo>
                  <a:pt x="653733" y="224027"/>
                  <a:pt x="685800" y="384523"/>
                  <a:pt x="687705" y="49818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609170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5101EC4-B8FE-406C-9BD1-8A920E1A1D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00762" y="0"/>
            <a:ext cx="3043237" cy="5143500"/>
          </a:xfrm>
        </p:spPr>
        <p:txBody>
          <a:bodyPr/>
          <a:lstStyle/>
          <a:p>
            <a:pPr algn="l" rtl="0"/>
            <a:r>
              <a:rPr lang="fr-FR" b="0" i="0" u="none" baseline="0"/>
              <a:t> </a:t>
            </a:r>
            <a:endParaRPr lang="fr-FR" dirty="0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7DB84EFA-17CF-42AD-AD4E-22BAA4E4A569}"/>
              </a:ext>
            </a:extLst>
          </p:cNvPr>
          <p:cNvSpPr/>
          <p:nvPr/>
        </p:nvSpPr>
        <p:spPr>
          <a:xfrm>
            <a:off x="6643673" y="2335212"/>
            <a:ext cx="3176601" cy="3176601"/>
          </a:xfrm>
          <a:prstGeom prst="ellipse">
            <a:avLst/>
          </a:prstGeom>
          <a:solidFill>
            <a:srgbClr val="87C4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spAutoFit/>
          </a:bodyPr>
          <a:lstStyle/>
          <a:p>
            <a:pPr algn="l" rtl="0"/>
            <a:endParaRPr lang="fr-FR" sz="1200" dirty="0" err="1">
              <a:solidFill>
                <a:schemeClr val="tx1"/>
              </a:solidFill>
            </a:endParaRPr>
          </a:p>
        </p:txBody>
      </p:sp>
      <p:pic>
        <p:nvPicPr>
          <p:cNvPr id="11" name="Inhaltsplatzhalter 10" descr="Ein Bild, das Person, haltend, Hand, Dessert enthält.&#10;&#10;Automatisch generierte Beschreibung">
            <a:extLst>
              <a:ext uri="{FF2B5EF4-FFF2-40B4-BE49-F238E27FC236}">
                <a16:creationId xmlns:a16="http://schemas.microsoft.com/office/drawing/2014/main" id="{2E0C03CB-2D7C-43A7-BD50-139953A18FAA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4101" y="2638039"/>
            <a:ext cx="3048006" cy="2505461"/>
          </a:xfr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2B08422-0D5F-4831-90E8-C57648C424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  <a:endParaRPr lang="fr-FR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F6A370-0AC9-4F46-A74A-E3C5C4A772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12</a:t>
            </a:fld>
            <a:endParaRPr lang="fr-FR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69F8A9B-339D-44C2-A4B9-88D0453A5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37457"/>
            <a:ext cx="5100487" cy="493950"/>
          </a:xfrm>
        </p:spPr>
        <p:txBody>
          <a:bodyPr/>
          <a:lstStyle/>
          <a:p>
            <a:pPr algn="l" rtl="0"/>
            <a:r>
              <a:rPr lang="fr-FR" b="1" i="0" u="none" baseline="0" dirty="0"/>
              <a:t>L’EFN présente des avantages considérables…</a:t>
            </a:r>
          </a:p>
        </p:txBody>
      </p:sp>
      <p:sp>
        <p:nvSpPr>
          <p:cNvPr id="12" name="Freeform 70">
            <a:extLst>
              <a:ext uri="{FF2B5EF4-FFF2-40B4-BE49-F238E27FC236}">
                <a16:creationId xmlns:a16="http://schemas.microsoft.com/office/drawing/2014/main" id="{F9C4CB92-7C5B-4110-BF5D-D7DC6DB0FAEB}"/>
              </a:ext>
            </a:extLst>
          </p:cNvPr>
          <p:cNvSpPr>
            <a:spLocks/>
          </p:cNvSpPr>
          <p:nvPr/>
        </p:nvSpPr>
        <p:spPr bwMode="auto">
          <a:xfrm>
            <a:off x="7209626" y="705982"/>
            <a:ext cx="724700" cy="720670"/>
          </a:xfrm>
          <a:custGeom>
            <a:avLst/>
            <a:gdLst>
              <a:gd name="T0" fmla="*/ 881 w 938"/>
              <a:gd name="T1" fmla="*/ 358 h 937"/>
              <a:gd name="T2" fmla="*/ 579 w 938"/>
              <a:gd name="T3" fmla="*/ 358 h 937"/>
              <a:gd name="T4" fmla="*/ 579 w 938"/>
              <a:gd name="T5" fmla="*/ 57 h 937"/>
              <a:gd name="T6" fmla="*/ 523 w 938"/>
              <a:gd name="T7" fmla="*/ 0 h 937"/>
              <a:gd name="T8" fmla="*/ 415 w 938"/>
              <a:gd name="T9" fmla="*/ 0 h 937"/>
              <a:gd name="T10" fmla="*/ 359 w 938"/>
              <a:gd name="T11" fmla="*/ 57 h 937"/>
              <a:gd name="T12" fmla="*/ 359 w 938"/>
              <a:gd name="T13" fmla="*/ 358 h 937"/>
              <a:gd name="T14" fmla="*/ 57 w 938"/>
              <a:gd name="T15" fmla="*/ 358 h 937"/>
              <a:gd name="T16" fmla="*/ 0 w 938"/>
              <a:gd name="T17" fmla="*/ 415 h 937"/>
              <a:gd name="T18" fmla="*/ 0 w 938"/>
              <a:gd name="T19" fmla="*/ 522 h 937"/>
              <a:gd name="T20" fmla="*/ 57 w 938"/>
              <a:gd name="T21" fmla="*/ 579 h 937"/>
              <a:gd name="T22" fmla="*/ 359 w 938"/>
              <a:gd name="T23" fmla="*/ 579 h 937"/>
              <a:gd name="T24" fmla="*/ 359 w 938"/>
              <a:gd name="T25" fmla="*/ 881 h 937"/>
              <a:gd name="T26" fmla="*/ 415 w 938"/>
              <a:gd name="T27" fmla="*/ 937 h 937"/>
              <a:gd name="T28" fmla="*/ 523 w 938"/>
              <a:gd name="T29" fmla="*/ 937 h 937"/>
              <a:gd name="T30" fmla="*/ 579 w 938"/>
              <a:gd name="T31" fmla="*/ 881 h 937"/>
              <a:gd name="T32" fmla="*/ 579 w 938"/>
              <a:gd name="T33" fmla="*/ 579 h 937"/>
              <a:gd name="T34" fmla="*/ 881 w 938"/>
              <a:gd name="T35" fmla="*/ 579 h 937"/>
              <a:gd name="T36" fmla="*/ 938 w 938"/>
              <a:gd name="T37" fmla="*/ 522 h 937"/>
              <a:gd name="T38" fmla="*/ 938 w 938"/>
              <a:gd name="T39" fmla="*/ 415 h 937"/>
              <a:gd name="T40" fmla="*/ 881 w 938"/>
              <a:gd name="T41" fmla="*/ 358 h 9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38" h="937">
                <a:moveTo>
                  <a:pt x="881" y="358"/>
                </a:moveTo>
                <a:cubicBezTo>
                  <a:pt x="579" y="358"/>
                  <a:pt x="579" y="358"/>
                  <a:pt x="579" y="358"/>
                </a:cubicBezTo>
                <a:cubicBezTo>
                  <a:pt x="579" y="57"/>
                  <a:pt x="579" y="57"/>
                  <a:pt x="579" y="57"/>
                </a:cubicBezTo>
                <a:cubicBezTo>
                  <a:pt x="579" y="25"/>
                  <a:pt x="554" y="0"/>
                  <a:pt x="523" y="0"/>
                </a:cubicBezTo>
                <a:cubicBezTo>
                  <a:pt x="415" y="0"/>
                  <a:pt x="415" y="0"/>
                  <a:pt x="415" y="0"/>
                </a:cubicBezTo>
                <a:cubicBezTo>
                  <a:pt x="384" y="0"/>
                  <a:pt x="359" y="25"/>
                  <a:pt x="359" y="57"/>
                </a:cubicBezTo>
                <a:cubicBezTo>
                  <a:pt x="359" y="358"/>
                  <a:pt x="359" y="358"/>
                  <a:pt x="359" y="358"/>
                </a:cubicBezTo>
                <a:cubicBezTo>
                  <a:pt x="57" y="358"/>
                  <a:pt x="57" y="358"/>
                  <a:pt x="57" y="358"/>
                </a:cubicBezTo>
                <a:cubicBezTo>
                  <a:pt x="26" y="358"/>
                  <a:pt x="0" y="384"/>
                  <a:pt x="0" y="415"/>
                </a:cubicBezTo>
                <a:cubicBezTo>
                  <a:pt x="0" y="522"/>
                  <a:pt x="0" y="522"/>
                  <a:pt x="0" y="522"/>
                </a:cubicBezTo>
                <a:cubicBezTo>
                  <a:pt x="0" y="554"/>
                  <a:pt x="26" y="579"/>
                  <a:pt x="57" y="579"/>
                </a:cubicBezTo>
                <a:cubicBezTo>
                  <a:pt x="359" y="579"/>
                  <a:pt x="359" y="579"/>
                  <a:pt x="359" y="579"/>
                </a:cubicBezTo>
                <a:cubicBezTo>
                  <a:pt x="359" y="881"/>
                  <a:pt x="359" y="881"/>
                  <a:pt x="359" y="881"/>
                </a:cubicBezTo>
                <a:cubicBezTo>
                  <a:pt x="359" y="912"/>
                  <a:pt x="384" y="937"/>
                  <a:pt x="415" y="937"/>
                </a:cubicBezTo>
                <a:cubicBezTo>
                  <a:pt x="523" y="937"/>
                  <a:pt x="523" y="937"/>
                  <a:pt x="523" y="937"/>
                </a:cubicBezTo>
                <a:cubicBezTo>
                  <a:pt x="554" y="937"/>
                  <a:pt x="579" y="912"/>
                  <a:pt x="579" y="881"/>
                </a:cubicBezTo>
                <a:cubicBezTo>
                  <a:pt x="579" y="579"/>
                  <a:pt x="579" y="579"/>
                  <a:pt x="579" y="579"/>
                </a:cubicBezTo>
                <a:cubicBezTo>
                  <a:pt x="881" y="579"/>
                  <a:pt x="881" y="579"/>
                  <a:pt x="881" y="579"/>
                </a:cubicBezTo>
                <a:cubicBezTo>
                  <a:pt x="912" y="579"/>
                  <a:pt x="938" y="554"/>
                  <a:pt x="938" y="522"/>
                </a:cubicBezTo>
                <a:cubicBezTo>
                  <a:pt x="938" y="415"/>
                  <a:pt x="938" y="415"/>
                  <a:pt x="938" y="415"/>
                </a:cubicBezTo>
                <a:cubicBezTo>
                  <a:pt x="938" y="384"/>
                  <a:pt x="912" y="358"/>
                  <a:pt x="881" y="358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3" name="Freeform 70">
            <a:extLst>
              <a:ext uri="{FF2B5EF4-FFF2-40B4-BE49-F238E27FC236}">
                <a16:creationId xmlns:a16="http://schemas.microsoft.com/office/drawing/2014/main" id="{A77C6092-7E87-4EAF-B3F5-4088128535FC}"/>
              </a:ext>
            </a:extLst>
          </p:cNvPr>
          <p:cNvSpPr>
            <a:spLocks/>
          </p:cNvSpPr>
          <p:nvPr/>
        </p:nvSpPr>
        <p:spPr bwMode="auto">
          <a:xfrm>
            <a:off x="8076003" y="1301312"/>
            <a:ext cx="525072" cy="522152"/>
          </a:xfrm>
          <a:custGeom>
            <a:avLst/>
            <a:gdLst>
              <a:gd name="T0" fmla="*/ 881 w 938"/>
              <a:gd name="T1" fmla="*/ 358 h 937"/>
              <a:gd name="T2" fmla="*/ 579 w 938"/>
              <a:gd name="T3" fmla="*/ 358 h 937"/>
              <a:gd name="T4" fmla="*/ 579 w 938"/>
              <a:gd name="T5" fmla="*/ 57 h 937"/>
              <a:gd name="T6" fmla="*/ 523 w 938"/>
              <a:gd name="T7" fmla="*/ 0 h 937"/>
              <a:gd name="T8" fmla="*/ 415 w 938"/>
              <a:gd name="T9" fmla="*/ 0 h 937"/>
              <a:gd name="T10" fmla="*/ 359 w 938"/>
              <a:gd name="T11" fmla="*/ 57 h 937"/>
              <a:gd name="T12" fmla="*/ 359 w 938"/>
              <a:gd name="T13" fmla="*/ 358 h 937"/>
              <a:gd name="T14" fmla="*/ 57 w 938"/>
              <a:gd name="T15" fmla="*/ 358 h 937"/>
              <a:gd name="T16" fmla="*/ 0 w 938"/>
              <a:gd name="T17" fmla="*/ 415 h 937"/>
              <a:gd name="T18" fmla="*/ 0 w 938"/>
              <a:gd name="T19" fmla="*/ 522 h 937"/>
              <a:gd name="T20" fmla="*/ 57 w 938"/>
              <a:gd name="T21" fmla="*/ 579 h 937"/>
              <a:gd name="T22" fmla="*/ 359 w 938"/>
              <a:gd name="T23" fmla="*/ 579 h 937"/>
              <a:gd name="T24" fmla="*/ 359 w 938"/>
              <a:gd name="T25" fmla="*/ 881 h 937"/>
              <a:gd name="T26" fmla="*/ 415 w 938"/>
              <a:gd name="T27" fmla="*/ 937 h 937"/>
              <a:gd name="T28" fmla="*/ 523 w 938"/>
              <a:gd name="T29" fmla="*/ 937 h 937"/>
              <a:gd name="T30" fmla="*/ 579 w 938"/>
              <a:gd name="T31" fmla="*/ 881 h 937"/>
              <a:gd name="T32" fmla="*/ 579 w 938"/>
              <a:gd name="T33" fmla="*/ 579 h 937"/>
              <a:gd name="T34" fmla="*/ 881 w 938"/>
              <a:gd name="T35" fmla="*/ 579 h 937"/>
              <a:gd name="T36" fmla="*/ 938 w 938"/>
              <a:gd name="T37" fmla="*/ 522 h 937"/>
              <a:gd name="T38" fmla="*/ 938 w 938"/>
              <a:gd name="T39" fmla="*/ 415 h 937"/>
              <a:gd name="T40" fmla="*/ 881 w 938"/>
              <a:gd name="T41" fmla="*/ 358 h 9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38" h="937">
                <a:moveTo>
                  <a:pt x="881" y="358"/>
                </a:moveTo>
                <a:cubicBezTo>
                  <a:pt x="579" y="358"/>
                  <a:pt x="579" y="358"/>
                  <a:pt x="579" y="358"/>
                </a:cubicBezTo>
                <a:cubicBezTo>
                  <a:pt x="579" y="57"/>
                  <a:pt x="579" y="57"/>
                  <a:pt x="579" y="57"/>
                </a:cubicBezTo>
                <a:cubicBezTo>
                  <a:pt x="579" y="25"/>
                  <a:pt x="554" y="0"/>
                  <a:pt x="523" y="0"/>
                </a:cubicBezTo>
                <a:cubicBezTo>
                  <a:pt x="415" y="0"/>
                  <a:pt x="415" y="0"/>
                  <a:pt x="415" y="0"/>
                </a:cubicBezTo>
                <a:cubicBezTo>
                  <a:pt x="384" y="0"/>
                  <a:pt x="359" y="25"/>
                  <a:pt x="359" y="57"/>
                </a:cubicBezTo>
                <a:cubicBezTo>
                  <a:pt x="359" y="358"/>
                  <a:pt x="359" y="358"/>
                  <a:pt x="359" y="358"/>
                </a:cubicBezTo>
                <a:cubicBezTo>
                  <a:pt x="57" y="358"/>
                  <a:pt x="57" y="358"/>
                  <a:pt x="57" y="358"/>
                </a:cubicBezTo>
                <a:cubicBezTo>
                  <a:pt x="26" y="358"/>
                  <a:pt x="0" y="384"/>
                  <a:pt x="0" y="415"/>
                </a:cubicBezTo>
                <a:cubicBezTo>
                  <a:pt x="0" y="522"/>
                  <a:pt x="0" y="522"/>
                  <a:pt x="0" y="522"/>
                </a:cubicBezTo>
                <a:cubicBezTo>
                  <a:pt x="0" y="554"/>
                  <a:pt x="26" y="579"/>
                  <a:pt x="57" y="579"/>
                </a:cubicBezTo>
                <a:cubicBezTo>
                  <a:pt x="359" y="579"/>
                  <a:pt x="359" y="579"/>
                  <a:pt x="359" y="579"/>
                </a:cubicBezTo>
                <a:cubicBezTo>
                  <a:pt x="359" y="881"/>
                  <a:pt x="359" y="881"/>
                  <a:pt x="359" y="881"/>
                </a:cubicBezTo>
                <a:cubicBezTo>
                  <a:pt x="359" y="912"/>
                  <a:pt x="384" y="937"/>
                  <a:pt x="415" y="937"/>
                </a:cubicBezTo>
                <a:cubicBezTo>
                  <a:pt x="523" y="937"/>
                  <a:pt x="523" y="937"/>
                  <a:pt x="523" y="937"/>
                </a:cubicBezTo>
                <a:cubicBezTo>
                  <a:pt x="554" y="937"/>
                  <a:pt x="579" y="912"/>
                  <a:pt x="579" y="881"/>
                </a:cubicBezTo>
                <a:cubicBezTo>
                  <a:pt x="579" y="579"/>
                  <a:pt x="579" y="579"/>
                  <a:pt x="579" y="579"/>
                </a:cubicBezTo>
                <a:cubicBezTo>
                  <a:pt x="881" y="579"/>
                  <a:pt x="881" y="579"/>
                  <a:pt x="881" y="579"/>
                </a:cubicBezTo>
                <a:cubicBezTo>
                  <a:pt x="912" y="579"/>
                  <a:pt x="938" y="554"/>
                  <a:pt x="938" y="522"/>
                </a:cubicBezTo>
                <a:cubicBezTo>
                  <a:pt x="938" y="415"/>
                  <a:pt x="938" y="415"/>
                  <a:pt x="938" y="415"/>
                </a:cubicBezTo>
                <a:cubicBezTo>
                  <a:pt x="938" y="384"/>
                  <a:pt x="912" y="358"/>
                  <a:pt x="881" y="358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4" name="Freeform 70">
            <a:extLst>
              <a:ext uri="{FF2B5EF4-FFF2-40B4-BE49-F238E27FC236}">
                <a16:creationId xmlns:a16="http://schemas.microsoft.com/office/drawing/2014/main" id="{14EB792A-9750-4B1C-8E7A-F07F123DFD00}"/>
              </a:ext>
            </a:extLst>
          </p:cNvPr>
          <p:cNvSpPr>
            <a:spLocks/>
          </p:cNvSpPr>
          <p:nvPr/>
        </p:nvSpPr>
        <p:spPr bwMode="auto">
          <a:xfrm>
            <a:off x="6825847" y="1958768"/>
            <a:ext cx="383779" cy="381645"/>
          </a:xfrm>
          <a:custGeom>
            <a:avLst/>
            <a:gdLst>
              <a:gd name="T0" fmla="*/ 881 w 938"/>
              <a:gd name="T1" fmla="*/ 358 h 937"/>
              <a:gd name="T2" fmla="*/ 579 w 938"/>
              <a:gd name="T3" fmla="*/ 358 h 937"/>
              <a:gd name="T4" fmla="*/ 579 w 938"/>
              <a:gd name="T5" fmla="*/ 57 h 937"/>
              <a:gd name="T6" fmla="*/ 523 w 938"/>
              <a:gd name="T7" fmla="*/ 0 h 937"/>
              <a:gd name="T8" fmla="*/ 415 w 938"/>
              <a:gd name="T9" fmla="*/ 0 h 937"/>
              <a:gd name="T10" fmla="*/ 359 w 938"/>
              <a:gd name="T11" fmla="*/ 57 h 937"/>
              <a:gd name="T12" fmla="*/ 359 w 938"/>
              <a:gd name="T13" fmla="*/ 358 h 937"/>
              <a:gd name="T14" fmla="*/ 57 w 938"/>
              <a:gd name="T15" fmla="*/ 358 h 937"/>
              <a:gd name="T16" fmla="*/ 0 w 938"/>
              <a:gd name="T17" fmla="*/ 415 h 937"/>
              <a:gd name="T18" fmla="*/ 0 w 938"/>
              <a:gd name="T19" fmla="*/ 522 h 937"/>
              <a:gd name="T20" fmla="*/ 57 w 938"/>
              <a:gd name="T21" fmla="*/ 579 h 937"/>
              <a:gd name="T22" fmla="*/ 359 w 938"/>
              <a:gd name="T23" fmla="*/ 579 h 937"/>
              <a:gd name="T24" fmla="*/ 359 w 938"/>
              <a:gd name="T25" fmla="*/ 881 h 937"/>
              <a:gd name="T26" fmla="*/ 415 w 938"/>
              <a:gd name="T27" fmla="*/ 937 h 937"/>
              <a:gd name="T28" fmla="*/ 523 w 938"/>
              <a:gd name="T29" fmla="*/ 937 h 937"/>
              <a:gd name="T30" fmla="*/ 579 w 938"/>
              <a:gd name="T31" fmla="*/ 881 h 937"/>
              <a:gd name="T32" fmla="*/ 579 w 938"/>
              <a:gd name="T33" fmla="*/ 579 h 937"/>
              <a:gd name="T34" fmla="*/ 881 w 938"/>
              <a:gd name="T35" fmla="*/ 579 h 937"/>
              <a:gd name="T36" fmla="*/ 938 w 938"/>
              <a:gd name="T37" fmla="*/ 522 h 937"/>
              <a:gd name="T38" fmla="*/ 938 w 938"/>
              <a:gd name="T39" fmla="*/ 415 h 937"/>
              <a:gd name="T40" fmla="*/ 881 w 938"/>
              <a:gd name="T41" fmla="*/ 358 h 9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38" h="937">
                <a:moveTo>
                  <a:pt x="881" y="358"/>
                </a:moveTo>
                <a:cubicBezTo>
                  <a:pt x="579" y="358"/>
                  <a:pt x="579" y="358"/>
                  <a:pt x="579" y="358"/>
                </a:cubicBezTo>
                <a:cubicBezTo>
                  <a:pt x="579" y="57"/>
                  <a:pt x="579" y="57"/>
                  <a:pt x="579" y="57"/>
                </a:cubicBezTo>
                <a:cubicBezTo>
                  <a:pt x="579" y="25"/>
                  <a:pt x="554" y="0"/>
                  <a:pt x="523" y="0"/>
                </a:cubicBezTo>
                <a:cubicBezTo>
                  <a:pt x="415" y="0"/>
                  <a:pt x="415" y="0"/>
                  <a:pt x="415" y="0"/>
                </a:cubicBezTo>
                <a:cubicBezTo>
                  <a:pt x="384" y="0"/>
                  <a:pt x="359" y="25"/>
                  <a:pt x="359" y="57"/>
                </a:cubicBezTo>
                <a:cubicBezTo>
                  <a:pt x="359" y="358"/>
                  <a:pt x="359" y="358"/>
                  <a:pt x="359" y="358"/>
                </a:cubicBezTo>
                <a:cubicBezTo>
                  <a:pt x="57" y="358"/>
                  <a:pt x="57" y="358"/>
                  <a:pt x="57" y="358"/>
                </a:cubicBezTo>
                <a:cubicBezTo>
                  <a:pt x="26" y="358"/>
                  <a:pt x="0" y="384"/>
                  <a:pt x="0" y="415"/>
                </a:cubicBezTo>
                <a:cubicBezTo>
                  <a:pt x="0" y="522"/>
                  <a:pt x="0" y="522"/>
                  <a:pt x="0" y="522"/>
                </a:cubicBezTo>
                <a:cubicBezTo>
                  <a:pt x="0" y="554"/>
                  <a:pt x="26" y="579"/>
                  <a:pt x="57" y="579"/>
                </a:cubicBezTo>
                <a:cubicBezTo>
                  <a:pt x="359" y="579"/>
                  <a:pt x="359" y="579"/>
                  <a:pt x="359" y="579"/>
                </a:cubicBezTo>
                <a:cubicBezTo>
                  <a:pt x="359" y="881"/>
                  <a:pt x="359" y="881"/>
                  <a:pt x="359" y="881"/>
                </a:cubicBezTo>
                <a:cubicBezTo>
                  <a:pt x="359" y="912"/>
                  <a:pt x="384" y="937"/>
                  <a:pt x="415" y="937"/>
                </a:cubicBezTo>
                <a:cubicBezTo>
                  <a:pt x="523" y="937"/>
                  <a:pt x="523" y="937"/>
                  <a:pt x="523" y="937"/>
                </a:cubicBezTo>
                <a:cubicBezTo>
                  <a:pt x="554" y="937"/>
                  <a:pt x="579" y="912"/>
                  <a:pt x="579" y="881"/>
                </a:cubicBezTo>
                <a:cubicBezTo>
                  <a:pt x="579" y="579"/>
                  <a:pt x="579" y="579"/>
                  <a:pt x="579" y="579"/>
                </a:cubicBezTo>
                <a:cubicBezTo>
                  <a:pt x="881" y="579"/>
                  <a:pt x="881" y="579"/>
                  <a:pt x="881" y="579"/>
                </a:cubicBezTo>
                <a:cubicBezTo>
                  <a:pt x="912" y="579"/>
                  <a:pt x="938" y="554"/>
                  <a:pt x="938" y="522"/>
                </a:cubicBezTo>
                <a:cubicBezTo>
                  <a:pt x="938" y="415"/>
                  <a:pt x="938" y="415"/>
                  <a:pt x="938" y="415"/>
                </a:cubicBezTo>
                <a:cubicBezTo>
                  <a:pt x="938" y="384"/>
                  <a:pt x="912" y="358"/>
                  <a:pt x="881" y="358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5" name="Freeform 70">
            <a:extLst>
              <a:ext uri="{FF2B5EF4-FFF2-40B4-BE49-F238E27FC236}">
                <a16:creationId xmlns:a16="http://schemas.microsoft.com/office/drawing/2014/main" id="{F0D0B60C-2F6F-457E-A884-D7EA46F4C782}"/>
              </a:ext>
            </a:extLst>
          </p:cNvPr>
          <p:cNvSpPr>
            <a:spLocks/>
          </p:cNvSpPr>
          <p:nvPr/>
        </p:nvSpPr>
        <p:spPr bwMode="auto">
          <a:xfrm>
            <a:off x="8217296" y="250493"/>
            <a:ext cx="383779" cy="381645"/>
          </a:xfrm>
          <a:custGeom>
            <a:avLst/>
            <a:gdLst>
              <a:gd name="T0" fmla="*/ 881 w 938"/>
              <a:gd name="T1" fmla="*/ 358 h 937"/>
              <a:gd name="T2" fmla="*/ 579 w 938"/>
              <a:gd name="T3" fmla="*/ 358 h 937"/>
              <a:gd name="T4" fmla="*/ 579 w 938"/>
              <a:gd name="T5" fmla="*/ 57 h 937"/>
              <a:gd name="T6" fmla="*/ 523 w 938"/>
              <a:gd name="T7" fmla="*/ 0 h 937"/>
              <a:gd name="T8" fmla="*/ 415 w 938"/>
              <a:gd name="T9" fmla="*/ 0 h 937"/>
              <a:gd name="T10" fmla="*/ 359 w 938"/>
              <a:gd name="T11" fmla="*/ 57 h 937"/>
              <a:gd name="T12" fmla="*/ 359 w 938"/>
              <a:gd name="T13" fmla="*/ 358 h 937"/>
              <a:gd name="T14" fmla="*/ 57 w 938"/>
              <a:gd name="T15" fmla="*/ 358 h 937"/>
              <a:gd name="T16" fmla="*/ 0 w 938"/>
              <a:gd name="T17" fmla="*/ 415 h 937"/>
              <a:gd name="T18" fmla="*/ 0 w 938"/>
              <a:gd name="T19" fmla="*/ 522 h 937"/>
              <a:gd name="T20" fmla="*/ 57 w 938"/>
              <a:gd name="T21" fmla="*/ 579 h 937"/>
              <a:gd name="T22" fmla="*/ 359 w 938"/>
              <a:gd name="T23" fmla="*/ 579 h 937"/>
              <a:gd name="T24" fmla="*/ 359 w 938"/>
              <a:gd name="T25" fmla="*/ 881 h 937"/>
              <a:gd name="T26" fmla="*/ 415 w 938"/>
              <a:gd name="T27" fmla="*/ 937 h 937"/>
              <a:gd name="T28" fmla="*/ 523 w 938"/>
              <a:gd name="T29" fmla="*/ 937 h 937"/>
              <a:gd name="T30" fmla="*/ 579 w 938"/>
              <a:gd name="T31" fmla="*/ 881 h 937"/>
              <a:gd name="T32" fmla="*/ 579 w 938"/>
              <a:gd name="T33" fmla="*/ 579 h 937"/>
              <a:gd name="T34" fmla="*/ 881 w 938"/>
              <a:gd name="T35" fmla="*/ 579 h 937"/>
              <a:gd name="T36" fmla="*/ 938 w 938"/>
              <a:gd name="T37" fmla="*/ 522 h 937"/>
              <a:gd name="T38" fmla="*/ 938 w 938"/>
              <a:gd name="T39" fmla="*/ 415 h 937"/>
              <a:gd name="T40" fmla="*/ 881 w 938"/>
              <a:gd name="T41" fmla="*/ 358 h 9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38" h="937">
                <a:moveTo>
                  <a:pt x="881" y="358"/>
                </a:moveTo>
                <a:cubicBezTo>
                  <a:pt x="579" y="358"/>
                  <a:pt x="579" y="358"/>
                  <a:pt x="579" y="358"/>
                </a:cubicBezTo>
                <a:cubicBezTo>
                  <a:pt x="579" y="57"/>
                  <a:pt x="579" y="57"/>
                  <a:pt x="579" y="57"/>
                </a:cubicBezTo>
                <a:cubicBezTo>
                  <a:pt x="579" y="25"/>
                  <a:pt x="554" y="0"/>
                  <a:pt x="523" y="0"/>
                </a:cubicBezTo>
                <a:cubicBezTo>
                  <a:pt x="415" y="0"/>
                  <a:pt x="415" y="0"/>
                  <a:pt x="415" y="0"/>
                </a:cubicBezTo>
                <a:cubicBezTo>
                  <a:pt x="384" y="0"/>
                  <a:pt x="359" y="25"/>
                  <a:pt x="359" y="57"/>
                </a:cubicBezTo>
                <a:cubicBezTo>
                  <a:pt x="359" y="358"/>
                  <a:pt x="359" y="358"/>
                  <a:pt x="359" y="358"/>
                </a:cubicBezTo>
                <a:cubicBezTo>
                  <a:pt x="57" y="358"/>
                  <a:pt x="57" y="358"/>
                  <a:pt x="57" y="358"/>
                </a:cubicBezTo>
                <a:cubicBezTo>
                  <a:pt x="26" y="358"/>
                  <a:pt x="0" y="384"/>
                  <a:pt x="0" y="415"/>
                </a:cubicBezTo>
                <a:cubicBezTo>
                  <a:pt x="0" y="522"/>
                  <a:pt x="0" y="522"/>
                  <a:pt x="0" y="522"/>
                </a:cubicBezTo>
                <a:cubicBezTo>
                  <a:pt x="0" y="554"/>
                  <a:pt x="26" y="579"/>
                  <a:pt x="57" y="579"/>
                </a:cubicBezTo>
                <a:cubicBezTo>
                  <a:pt x="359" y="579"/>
                  <a:pt x="359" y="579"/>
                  <a:pt x="359" y="579"/>
                </a:cubicBezTo>
                <a:cubicBezTo>
                  <a:pt x="359" y="881"/>
                  <a:pt x="359" y="881"/>
                  <a:pt x="359" y="881"/>
                </a:cubicBezTo>
                <a:cubicBezTo>
                  <a:pt x="359" y="912"/>
                  <a:pt x="384" y="937"/>
                  <a:pt x="415" y="937"/>
                </a:cubicBezTo>
                <a:cubicBezTo>
                  <a:pt x="523" y="937"/>
                  <a:pt x="523" y="937"/>
                  <a:pt x="523" y="937"/>
                </a:cubicBezTo>
                <a:cubicBezTo>
                  <a:pt x="554" y="937"/>
                  <a:pt x="579" y="912"/>
                  <a:pt x="579" y="881"/>
                </a:cubicBezTo>
                <a:cubicBezTo>
                  <a:pt x="579" y="579"/>
                  <a:pt x="579" y="579"/>
                  <a:pt x="579" y="579"/>
                </a:cubicBezTo>
                <a:cubicBezTo>
                  <a:pt x="881" y="579"/>
                  <a:pt x="881" y="579"/>
                  <a:pt x="881" y="579"/>
                </a:cubicBezTo>
                <a:cubicBezTo>
                  <a:pt x="912" y="579"/>
                  <a:pt x="938" y="554"/>
                  <a:pt x="938" y="522"/>
                </a:cubicBezTo>
                <a:cubicBezTo>
                  <a:pt x="938" y="415"/>
                  <a:pt x="938" y="415"/>
                  <a:pt x="938" y="415"/>
                </a:cubicBezTo>
                <a:cubicBezTo>
                  <a:pt x="938" y="384"/>
                  <a:pt x="912" y="358"/>
                  <a:pt x="881" y="358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6" name="Freeform 70">
            <a:extLst>
              <a:ext uri="{FF2B5EF4-FFF2-40B4-BE49-F238E27FC236}">
                <a16:creationId xmlns:a16="http://schemas.microsoft.com/office/drawing/2014/main" id="{52159F45-84B5-410B-9B45-79E60449DACA}"/>
              </a:ext>
            </a:extLst>
          </p:cNvPr>
          <p:cNvSpPr>
            <a:spLocks/>
          </p:cNvSpPr>
          <p:nvPr/>
        </p:nvSpPr>
        <p:spPr bwMode="auto">
          <a:xfrm>
            <a:off x="6300775" y="414817"/>
            <a:ext cx="525072" cy="522152"/>
          </a:xfrm>
          <a:custGeom>
            <a:avLst/>
            <a:gdLst>
              <a:gd name="T0" fmla="*/ 881 w 938"/>
              <a:gd name="T1" fmla="*/ 358 h 937"/>
              <a:gd name="T2" fmla="*/ 579 w 938"/>
              <a:gd name="T3" fmla="*/ 358 h 937"/>
              <a:gd name="T4" fmla="*/ 579 w 938"/>
              <a:gd name="T5" fmla="*/ 57 h 937"/>
              <a:gd name="T6" fmla="*/ 523 w 938"/>
              <a:gd name="T7" fmla="*/ 0 h 937"/>
              <a:gd name="T8" fmla="*/ 415 w 938"/>
              <a:gd name="T9" fmla="*/ 0 h 937"/>
              <a:gd name="T10" fmla="*/ 359 w 938"/>
              <a:gd name="T11" fmla="*/ 57 h 937"/>
              <a:gd name="T12" fmla="*/ 359 w 938"/>
              <a:gd name="T13" fmla="*/ 358 h 937"/>
              <a:gd name="T14" fmla="*/ 57 w 938"/>
              <a:gd name="T15" fmla="*/ 358 h 937"/>
              <a:gd name="T16" fmla="*/ 0 w 938"/>
              <a:gd name="T17" fmla="*/ 415 h 937"/>
              <a:gd name="T18" fmla="*/ 0 w 938"/>
              <a:gd name="T19" fmla="*/ 522 h 937"/>
              <a:gd name="T20" fmla="*/ 57 w 938"/>
              <a:gd name="T21" fmla="*/ 579 h 937"/>
              <a:gd name="T22" fmla="*/ 359 w 938"/>
              <a:gd name="T23" fmla="*/ 579 h 937"/>
              <a:gd name="T24" fmla="*/ 359 w 938"/>
              <a:gd name="T25" fmla="*/ 881 h 937"/>
              <a:gd name="T26" fmla="*/ 415 w 938"/>
              <a:gd name="T27" fmla="*/ 937 h 937"/>
              <a:gd name="T28" fmla="*/ 523 w 938"/>
              <a:gd name="T29" fmla="*/ 937 h 937"/>
              <a:gd name="T30" fmla="*/ 579 w 938"/>
              <a:gd name="T31" fmla="*/ 881 h 937"/>
              <a:gd name="T32" fmla="*/ 579 w 938"/>
              <a:gd name="T33" fmla="*/ 579 h 937"/>
              <a:gd name="T34" fmla="*/ 881 w 938"/>
              <a:gd name="T35" fmla="*/ 579 h 937"/>
              <a:gd name="T36" fmla="*/ 938 w 938"/>
              <a:gd name="T37" fmla="*/ 522 h 937"/>
              <a:gd name="T38" fmla="*/ 938 w 938"/>
              <a:gd name="T39" fmla="*/ 415 h 937"/>
              <a:gd name="T40" fmla="*/ 881 w 938"/>
              <a:gd name="T41" fmla="*/ 358 h 9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38" h="937">
                <a:moveTo>
                  <a:pt x="881" y="358"/>
                </a:moveTo>
                <a:cubicBezTo>
                  <a:pt x="579" y="358"/>
                  <a:pt x="579" y="358"/>
                  <a:pt x="579" y="358"/>
                </a:cubicBezTo>
                <a:cubicBezTo>
                  <a:pt x="579" y="57"/>
                  <a:pt x="579" y="57"/>
                  <a:pt x="579" y="57"/>
                </a:cubicBezTo>
                <a:cubicBezTo>
                  <a:pt x="579" y="25"/>
                  <a:pt x="554" y="0"/>
                  <a:pt x="523" y="0"/>
                </a:cubicBezTo>
                <a:cubicBezTo>
                  <a:pt x="415" y="0"/>
                  <a:pt x="415" y="0"/>
                  <a:pt x="415" y="0"/>
                </a:cubicBezTo>
                <a:cubicBezTo>
                  <a:pt x="384" y="0"/>
                  <a:pt x="359" y="25"/>
                  <a:pt x="359" y="57"/>
                </a:cubicBezTo>
                <a:cubicBezTo>
                  <a:pt x="359" y="358"/>
                  <a:pt x="359" y="358"/>
                  <a:pt x="359" y="358"/>
                </a:cubicBezTo>
                <a:cubicBezTo>
                  <a:pt x="57" y="358"/>
                  <a:pt x="57" y="358"/>
                  <a:pt x="57" y="358"/>
                </a:cubicBezTo>
                <a:cubicBezTo>
                  <a:pt x="26" y="358"/>
                  <a:pt x="0" y="384"/>
                  <a:pt x="0" y="415"/>
                </a:cubicBezTo>
                <a:cubicBezTo>
                  <a:pt x="0" y="522"/>
                  <a:pt x="0" y="522"/>
                  <a:pt x="0" y="522"/>
                </a:cubicBezTo>
                <a:cubicBezTo>
                  <a:pt x="0" y="554"/>
                  <a:pt x="26" y="579"/>
                  <a:pt x="57" y="579"/>
                </a:cubicBezTo>
                <a:cubicBezTo>
                  <a:pt x="359" y="579"/>
                  <a:pt x="359" y="579"/>
                  <a:pt x="359" y="579"/>
                </a:cubicBezTo>
                <a:cubicBezTo>
                  <a:pt x="359" y="881"/>
                  <a:pt x="359" y="881"/>
                  <a:pt x="359" y="881"/>
                </a:cubicBezTo>
                <a:cubicBezTo>
                  <a:pt x="359" y="912"/>
                  <a:pt x="384" y="937"/>
                  <a:pt x="415" y="937"/>
                </a:cubicBezTo>
                <a:cubicBezTo>
                  <a:pt x="523" y="937"/>
                  <a:pt x="523" y="937"/>
                  <a:pt x="523" y="937"/>
                </a:cubicBezTo>
                <a:cubicBezTo>
                  <a:pt x="554" y="937"/>
                  <a:pt x="579" y="912"/>
                  <a:pt x="579" y="881"/>
                </a:cubicBezTo>
                <a:cubicBezTo>
                  <a:pt x="579" y="579"/>
                  <a:pt x="579" y="579"/>
                  <a:pt x="579" y="579"/>
                </a:cubicBezTo>
                <a:cubicBezTo>
                  <a:pt x="881" y="579"/>
                  <a:pt x="881" y="579"/>
                  <a:pt x="881" y="579"/>
                </a:cubicBezTo>
                <a:cubicBezTo>
                  <a:pt x="912" y="579"/>
                  <a:pt x="938" y="554"/>
                  <a:pt x="938" y="522"/>
                </a:cubicBezTo>
                <a:cubicBezTo>
                  <a:pt x="938" y="415"/>
                  <a:pt x="938" y="415"/>
                  <a:pt x="938" y="415"/>
                </a:cubicBezTo>
                <a:cubicBezTo>
                  <a:pt x="938" y="384"/>
                  <a:pt x="912" y="358"/>
                  <a:pt x="881" y="358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7" name="Freeform 70">
            <a:extLst>
              <a:ext uri="{FF2B5EF4-FFF2-40B4-BE49-F238E27FC236}">
                <a16:creationId xmlns:a16="http://schemas.microsoft.com/office/drawing/2014/main" id="{799F6F24-A242-4DF7-B6E4-803F19FFFBCD}"/>
              </a:ext>
            </a:extLst>
          </p:cNvPr>
          <p:cNvSpPr>
            <a:spLocks/>
          </p:cNvSpPr>
          <p:nvPr/>
        </p:nvSpPr>
        <p:spPr bwMode="auto">
          <a:xfrm>
            <a:off x="6259828" y="1374363"/>
            <a:ext cx="383779" cy="381645"/>
          </a:xfrm>
          <a:custGeom>
            <a:avLst/>
            <a:gdLst>
              <a:gd name="T0" fmla="*/ 881 w 938"/>
              <a:gd name="T1" fmla="*/ 358 h 937"/>
              <a:gd name="T2" fmla="*/ 579 w 938"/>
              <a:gd name="T3" fmla="*/ 358 h 937"/>
              <a:gd name="T4" fmla="*/ 579 w 938"/>
              <a:gd name="T5" fmla="*/ 57 h 937"/>
              <a:gd name="T6" fmla="*/ 523 w 938"/>
              <a:gd name="T7" fmla="*/ 0 h 937"/>
              <a:gd name="T8" fmla="*/ 415 w 938"/>
              <a:gd name="T9" fmla="*/ 0 h 937"/>
              <a:gd name="T10" fmla="*/ 359 w 938"/>
              <a:gd name="T11" fmla="*/ 57 h 937"/>
              <a:gd name="T12" fmla="*/ 359 w 938"/>
              <a:gd name="T13" fmla="*/ 358 h 937"/>
              <a:gd name="T14" fmla="*/ 57 w 938"/>
              <a:gd name="T15" fmla="*/ 358 h 937"/>
              <a:gd name="T16" fmla="*/ 0 w 938"/>
              <a:gd name="T17" fmla="*/ 415 h 937"/>
              <a:gd name="T18" fmla="*/ 0 w 938"/>
              <a:gd name="T19" fmla="*/ 522 h 937"/>
              <a:gd name="T20" fmla="*/ 57 w 938"/>
              <a:gd name="T21" fmla="*/ 579 h 937"/>
              <a:gd name="T22" fmla="*/ 359 w 938"/>
              <a:gd name="T23" fmla="*/ 579 h 937"/>
              <a:gd name="T24" fmla="*/ 359 w 938"/>
              <a:gd name="T25" fmla="*/ 881 h 937"/>
              <a:gd name="T26" fmla="*/ 415 w 938"/>
              <a:gd name="T27" fmla="*/ 937 h 937"/>
              <a:gd name="T28" fmla="*/ 523 w 938"/>
              <a:gd name="T29" fmla="*/ 937 h 937"/>
              <a:gd name="T30" fmla="*/ 579 w 938"/>
              <a:gd name="T31" fmla="*/ 881 h 937"/>
              <a:gd name="T32" fmla="*/ 579 w 938"/>
              <a:gd name="T33" fmla="*/ 579 h 937"/>
              <a:gd name="T34" fmla="*/ 881 w 938"/>
              <a:gd name="T35" fmla="*/ 579 h 937"/>
              <a:gd name="T36" fmla="*/ 938 w 938"/>
              <a:gd name="T37" fmla="*/ 522 h 937"/>
              <a:gd name="T38" fmla="*/ 938 w 938"/>
              <a:gd name="T39" fmla="*/ 415 h 937"/>
              <a:gd name="T40" fmla="*/ 881 w 938"/>
              <a:gd name="T41" fmla="*/ 358 h 9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38" h="937">
                <a:moveTo>
                  <a:pt x="881" y="358"/>
                </a:moveTo>
                <a:cubicBezTo>
                  <a:pt x="579" y="358"/>
                  <a:pt x="579" y="358"/>
                  <a:pt x="579" y="358"/>
                </a:cubicBezTo>
                <a:cubicBezTo>
                  <a:pt x="579" y="57"/>
                  <a:pt x="579" y="57"/>
                  <a:pt x="579" y="57"/>
                </a:cubicBezTo>
                <a:cubicBezTo>
                  <a:pt x="579" y="25"/>
                  <a:pt x="554" y="0"/>
                  <a:pt x="523" y="0"/>
                </a:cubicBezTo>
                <a:cubicBezTo>
                  <a:pt x="415" y="0"/>
                  <a:pt x="415" y="0"/>
                  <a:pt x="415" y="0"/>
                </a:cubicBezTo>
                <a:cubicBezTo>
                  <a:pt x="384" y="0"/>
                  <a:pt x="359" y="25"/>
                  <a:pt x="359" y="57"/>
                </a:cubicBezTo>
                <a:cubicBezTo>
                  <a:pt x="359" y="358"/>
                  <a:pt x="359" y="358"/>
                  <a:pt x="359" y="358"/>
                </a:cubicBezTo>
                <a:cubicBezTo>
                  <a:pt x="57" y="358"/>
                  <a:pt x="57" y="358"/>
                  <a:pt x="57" y="358"/>
                </a:cubicBezTo>
                <a:cubicBezTo>
                  <a:pt x="26" y="358"/>
                  <a:pt x="0" y="384"/>
                  <a:pt x="0" y="415"/>
                </a:cubicBezTo>
                <a:cubicBezTo>
                  <a:pt x="0" y="522"/>
                  <a:pt x="0" y="522"/>
                  <a:pt x="0" y="522"/>
                </a:cubicBezTo>
                <a:cubicBezTo>
                  <a:pt x="0" y="554"/>
                  <a:pt x="26" y="579"/>
                  <a:pt x="57" y="579"/>
                </a:cubicBezTo>
                <a:cubicBezTo>
                  <a:pt x="359" y="579"/>
                  <a:pt x="359" y="579"/>
                  <a:pt x="359" y="579"/>
                </a:cubicBezTo>
                <a:cubicBezTo>
                  <a:pt x="359" y="881"/>
                  <a:pt x="359" y="881"/>
                  <a:pt x="359" y="881"/>
                </a:cubicBezTo>
                <a:cubicBezTo>
                  <a:pt x="359" y="912"/>
                  <a:pt x="384" y="937"/>
                  <a:pt x="415" y="937"/>
                </a:cubicBezTo>
                <a:cubicBezTo>
                  <a:pt x="523" y="937"/>
                  <a:pt x="523" y="937"/>
                  <a:pt x="523" y="937"/>
                </a:cubicBezTo>
                <a:cubicBezTo>
                  <a:pt x="554" y="937"/>
                  <a:pt x="579" y="912"/>
                  <a:pt x="579" y="881"/>
                </a:cubicBezTo>
                <a:cubicBezTo>
                  <a:pt x="579" y="579"/>
                  <a:pt x="579" y="579"/>
                  <a:pt x="579" y="579"/>
                </a:cubicBezTo>
                <a:cubicBezTo>
                  <a:pt x="881" y="579"/>
                  <a:pt x="881" y="579"/>
                  <a:pt x="881" y="579"/>
                </a:cubicBezTo>
                <a:cubicBezTo>
                  <a:pt x="912" y="579"/>
                  <a:pt x="938" y="554"/>
                  <a:pt x="938" y="522"/>
                </a:cubicBezTo>
                <a:cubicBezTo>
                  <a:pt x="938" y="415"/>
                  <a:pt x="938" y="415"/>
                  <a:pt x="938" y="415"/>
                </a:cubicBezTo>
                <a:cubicBezTo>
                  <a:pt x="938" y="384"/>
                  <a:pt x="912" y="358"/>
                  <a:pt x="881" y="358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8" name="Freeform 70">
            <a:extLst>
              <a:ext uri="{FF2B5EF4-FFF2-40B4-BE49-F238E27FC236}">
                <a16:creationId xmlns:a16="http://schemas.microsoft.com/office/drawing/2014/main" id="{880667F9-5CD0-44DA-9013-9786F448A08A}"/>
              </a:ext>
            </a:extLst>
          </p:cNvPr>
          <p:cNvSpPr>
            <a:spLocks/>
          </p:cNvSpPr>
          <p:nvPr/>
        </p:nvSpPr>
        <p:spPr bwMode="auto">
          <a:xfrm>
            <a:off x="6210019" y="2459902"/>
            <a:ext cx="383779" cy="381645"/>
          </a:xfrm>
          <a:custGeom>
            <a:avLst/>
            <a:gdLst>
              <a:gd name="T0" fmla="*/ 881 w 938"/>
              <a:gd name="T1" fmla="*/ 358 h 937"/>
              <a:gd name="T2" fmla="*/ 579 w 938"/>
              <a:gd name="T3" fmla="*/ 358 h 937"/>
              <a:gd name="T4" fmla="*/ 579 w 938"/>
              <a:gd name="T5" fmla="*/ 57 h 937"/>
              <a:gd name="T6" fmla="*/ 523 w 938"/>
              <a:gd name="T7" fmla="*/ 0 h 937"/>
              <a:gd name="T8" fmla="*/ 415 w 938"/>
              <a:gd name="T9" fmla="*/ 0 h 937"/>
              <a:gd name="T10" fmla="*/ 359 w 938"/>
              <a:gd name="T11" fmla="*/ 57 h 937"/>
              <a:gd name="T12" fmla="*/ 359 w 938"/>
              <a:gd name="T13" fmla="*/ 358 h 937"/>
              <a:gd name="T14" fmla="*/ 57 w 938"/>
              <a:gd name="T15" fmla="*/ 358 h 937"/>
              <a:gd name="T16" fmla="*/ 0 w 938"/>
              <a:gd name="T17" fmla="*/ 415 h 937"/>
              <a:gd name="T18" fmla="*/ 0 w 938"/>
              <a:gd name="T19" fmla="*/ 522 h 937"/>
              <a:gd name="T20" fmla="*/ 57 w 938"/>
              <a:gd name="T21" fmla="*/ 579 h 937"/>
              <a:gd name="T22" fmla="*/ 359 w 938"/>
              <a:gd name="T23" fmla="*/ 579 h 937"/>
              <a:gd name="T24" fmla="*/ 359 w 938"/>
              <a:gd name="T25" fmla="*/ 881 h 937"/>
              <a:gd name="T26" fmla="*/ 415 w 938"/>
              <a:gd name="T27" fmla="*/ 937 h 937"/>
              <a:gd name="T28" fmla="*/ 523 w 938"/>
              <a:gd name="T29" fmla="*/ 937 h 937"/>
              <a:gd name="T30" fmla="*/ 579 w 938"/>
              <a:gd name="T31" fmla="*/ 881 h 937"/>
              <a:gd name="T32" fmla="*/ 579 w 938"/>
              <a:gd name="T33" fmla="*/ 579 h 937"/>
              <a:gd name="T34" fmla="*/ 881 w 938"/>
              <a:gd name="T35" fmla="*/ 579 h 937"/>
              <a:gd name="T36" fmla="*/ 938 w 938"/>
              <a:gd name="T37" fmla="*/ 522 h 937"/>
              <a:gd name="T38" fmla="*/ 938 w 938"/>
              <a:gd name="T39" fmla="*/ 415 h 937"/>
              <a:gd name="T40" fmla="*/ 881 w 938"/>
              <a:gd name="T41" fmla="*/ 358 h 9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38" h="937">
                <a:moveTo>
                  <a:pt x="881" y="358"/>
                </a:moveTo>
                <a:cubicBezTo>
                  <a:pt x="579" y="358"/>
                  <a:pt x="579" y="358"/>
                  <a:pt x="579" y="358"/>
                </a:cubicBezTo>
                <a:cubicBezTo>
                  <a:pt x="579" y="57"/>
                  <a:pt x="579" y="57"/>
                  <a:pt x="579" y="57"/>
                </a:cubicBezTo>
                <a:cubicBezTo>
                  <a:pt x="579" y="25"/>
                  <a:pt x="554" y="0"/>
                  <a:pt x="523" y="0"/>
                </a:cubicBezTo>
                <a:cubicBezTo>
                  <a:pt x="415" y="0"/>
                  <a:pt x="415" y="0"/>
                  <a:pt x="415" y="0"/>
                </a:cubicBezTo>
                <a:cubicBezTo>
                  <a:pt x="384" y="0"/>
                  <a:pt x="359" y="25"/>
                  <a:pt x="359" y="57"/>
                </a:cubicBezTo>
                <a:cubicBezTo>
                  <a:pt x="359" y="358"/>
                  <a:pt x="359" y="358"/>
                  <a:pt x="359" y="358"/>
                </a:cubicBezTo>
                <a:cubicBezTo>
                  <a:pt x="57" y="358"/>
                  <a:pt x="57" y="358"/>
                  <a:pt x="57" y="358"/>
                </a:cubicBezTo>
                <a:cubicBezTo>
                  <a:pt x="26" y="358"/>
                  <a:pt x="0" y="384"/>
                  <a:pt x="0" y="415"/>
                </a:cubicBezTo>
                <a:cubicBezTo>
                  <a:pt x="0" y="522"/>
                  <a:pt x="0" y="522"/>
                  <a:pt x="0" y="522"/>
                </a:cubicBezTo>
                <a:cubicBezTo>
                  <a:pt x="0" y="554"/>
                  <a:pt x="26" y="579"/>
                  <a:pt x="57" y="579"/>
                </a:cubicBezTo>
                <a:cubicBezTo>
                  <a:pt x="359" y="579"/>
                  <a:pt x="359" y="579"/>
                  <a:pt x="359" y="579"/>
                </a:cubicBezTo>
                <a:cubicBezTo>
                  <a:pt x="359" y="881"/>
                  <a:pt x="359" y="881"/>
                  <a:pt x="359" y="881"/>
                </a:cubicBezTo>
                <a:cubicBezTo>
                  <a:pt x="359" y="912"/>
                  <a:pt x="384" y="937"/>
                  <a:pt x="415" y="937"/>
                </a:cubicBezTo>
                <a:cubicBezTo>
                  <a:pt x="523" y="937"/>
                  <a:pt x="523" y="937"/>
                  <a:pt x="523" y="937"/>
                </a:cubicBezTo>
                <a:cubicBezTo>
                  <a:pt x="554" y="937"/>
                  <a:pt x="579" y="912"/>
                  <a:pt x="579" y="881"/>
                </a:cubicBezTo>
                <a:cubicBezTo>
                  <a:pt x="579" y="579"/>
                  <a:pt x="579" y="579"/>
                  <a:pt x="579" y="579"/>
                </a:cubicBezTo>
                <a:cubicBezTo>
                  <a:pt x="881" y="579"/>
                  <a:pt x="881" y="579"/>
                  <a:pt x="881" y="579"/>
                </a:cubicBezTo>
                <a:cubicBezTo>
                  <a:pt x="912" y="579"/>
                  <a:pt x="938" y="554"/>
                  <a:pt x="938" y="522"/>
                </a:cubicBezTo>
                <a:cubicBezTo>
                  <a:pt x="938" y="415"/>
                  <a:pt x="938" y="415"/>
                  <a:pt x="938" y="415"/>
                </a:cubicBezTo>
                <a:cubicBezTo>
                  <a:pt x="938" y="384"/>
                  <a:pt x="912" y="358"/>
                  <a:pt x="881" y="358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9" name="Rectangle 23">
            <a:extLst>
              <a:ext uri="{FF2B5EF4-FFF2-40B4-BE49-F238E27FC236}">
                <a16:creationId xmlns:a16="http://schemas.microsoft.com/office/drawing/2014/main" id="{1D2DBD6E-259D-4FC5-9F6A-4918B3534C2A}"/>
              </a:ext>
            </a:extLst>
          </p:cNvPr>
          <p:cNvSpPr/>
          <p:nvPr/>
        </p:nvSpPr>
        <p:spPr>
          <a:xfrm>
            <a:off x="980337" y="1111185"/>
            <a:ext cx="4778272" cy="647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ctr" anchorCtr="0"/>
          <a:lstStyle/>
          <a:p>
            <a:pPr algn="just" rtl="0"/>
            <a:r>
              <a:rPr lang="fr-FR" sz="1200" b="1" i="0" u="none" baseline="0" dirty="0">
                <a:solidFill>
                  <a:schemeClr val="tx1"/>
                </a:solidFill>
              </a:rPr>
              <a:t>Il permet la livraison le lendemain sur tous les principaux marchés européens : </a:t>
            </a:r>
            <a:r>
              <a:rPr lang="fr-FR" sz="1200" b="0" i="0" u="none" baseline="0" dirty="0">
                <a:solidFill>
                  <a:schemeClr val="tx1"/>
                </a:solidFill>
              </a:rPr>
              <a:t>une présence importante avec plus de 30 sites de commerce électronique indépendants et capables de concurrencer les géants et les places de marché du commerce électronique </a:t>
            </a:r>
          </a:p>
        </p:txBody>
      </p:sp>
      <p:sp>
        <p:nvSpPr>
          <p:cNvPr id="20" name="Rectangle 23">
            <a:extLst>
              <a:ext uri="{FF2B5EF4-FFF2-40B4-BE49-F238E27FC236}">
                <a16:creationId xmlns:a16="http://schemas.microsoft.com/office/drawing/2014/main" id="{4B293763-1654-4DC4-9489-40E880A348A8}"/>
              </a:ext>
            </a:extLst>
          </p:cNvPr>
          <p:cNvSpPr/>
          <p:nvPr/>
        </p:nvSpPr>
        <p:spPr>
          <a:xfrm>
            <a:off x="980337" y="1863638"/>
            <a:ext cx="4771175" cy="647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ctr" anchorCtr="0"/>
          <a:lstStyle/>
          <a:p>
            <a:pPr algn="just" rtl="0"/>
            <a:r>
              <a:rPr lang="fr-FR" sz="1200" b="1" i="0" u="none" baseline="0" dirty="0">
                <a:solidFill>
                  <a:schemeClr val="tx1"/>
                </a:solidFill>
              </a:rPr>
              <a:t>Déploiements rapides : </a:t>
            </a:r>
            <a:r>
              <a:rPr lang="fr-FR" sz="1200" b="0" i="0" u="none" baseline="0" dirty="0">
                <a:solidFill>
                  <a:schemeClr val="tx1"/>
                </a:solidFill>
              </a:rPr>
              <a:t>3 mois réalisables grâce à des processus et des systèmes standardisés et une activation des nœuds encore plus rapide une fois que l’on est affilié</a:t>
            </a:r>
          </a:p>
        </p:txBody>
      </p:sp>
      <p:sp>
        <p:nvSpPr>
          <p:cNvPr id="21" name="Rectangle 23">
            <a:extLst>
              <a:ext uri="{FF2B5EF4-FFF2-40B4-BE49-F238E27FC236}">
                <a16:creationId xmlns:a16="http://schemas.microsoft.com/office/drawing/2014/main" id="{79C9DB16-4B92-47D2-ADF2-AF60B1C6DBAB}"/>
              </a:ext>
            </a:extLst>
          </p:cNvPr>
          <p:cNvSpPr/>
          <p:nvPr/>
        </p:nvSpPr>
        <p:spPr>
          <a:xfrm>
            <a:off x="980337" y="2592238"/>
            <a:ext cx="4771175" cy="647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ctr" anchorCtr="0"/>
          <a:lstStyle/>
          <a:p>
            <a:pPr algn="just" rtl="0"/>
            <a:r>
              <a:rPr lang="fr-FR" sz="1200" b="1" i="0" u="none" baseline="0" dirty="0">
                <a:solidFill>
                  <a:schemeClr val="tx1"/>
                </a:solidFill>
              </a:rPr>
              <a:t>Transparence et visibilité sur toute la ligne : </a:t>
            </a:r>
            <a:r>
              <a:rPr lang="fr-FR" sz="1200" b="0" i="0" u="none" baseline="0" dirty="0">
                <a:solidFill>
                  <a:schemeClr val="tx1"/>
                </a:solidFill>
              </a:rPr>
              <a:t>Statut de la commande, du clic sur la boutique en ligne à la livraison à la porte du client final</a:t>
            </a:r>
          </a:p>
        </p:txBody>
      </p:sp>
      <p:sp>
        <p:nvSpPr>
          <p:cNvPr id="22" name="Rectangle 23">
            <a:extLst>
              <a:ext uri="{FF2B5EF4-FFF2-40B4-BE49-F238E27FC236}">
                <a16:creationId xmlns:a16="http://schemas.microsoft.com/office/drawing/2014/main" id="{698DF2EB-55BA-4D20-9115-785E72B69FC3}"/>
              </a:ext>
            </a:extLst>
          </p:cNvPr>
          <p:cNvSpPr/>
          <p:nvPr/>
        </p:nvSpPr>
        <p:spPr>
          <a:xfrm>
            <a:off x="980337" y="3304936"/>
            <a:ext cx="4792308" cy="647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ctr" anchorCtr="0"/>
          <a:lstStyle/>
          <a:p>
            <a:pPr algn="just" rtl="0"/>
            <a:r>
              <a:rPr lang="fr-FR" sz="1200" b="1" i="0" u="none" baseline="0" dirty="0">
                <a:solidFill>
                  <a:schemeClr val="tx1"/>
                </a:solidFill>
              </a:rPr>
              <a:t>Modulaire et indépendant du transporteur : </a:t>
            </a:r>
            <a:r>
              <a:rPr lang="fr-FR" sz="1200" b="0" i="0" u="none" baseline="0" dirty="0">
                <a:solidFill>
                  <a:schemeClr val="tx1"/>
                </a:solidFill>
              </a:rPr>
              <a:t>les clients peuvent choisir les bons marchés et coopérer avec de grands transporteurs à travers l’Europe</a:t>
            </a:r>
          </a:p>
        </p:txBody>
      </p:sp>
      <p:sp>
        <p:nvSpPr>
          <p:cNvPr id="23" name="Rectangle 23">
            <a:extLst>
              <a:ext uri="{FF2B5EF4-FFF2-40B4-BE49-F238E27FC236}">
                <a16:creationId xmlns:a16="http://schemas.microsoft.com/office/drawing/2014/main" id="{C3CC4D86-4F60-465C-ABA1-2D238C2ADC6C}"/>
              </a:ext>
            </a:extLst>
          </p:cNvPr>
          <p:cNvSpPr/>
          <p:nvPr/>
        </p:nvSpPr>
        <p:spPr>
          <a:xfrm>
            <a:off x="980337" y="4033538"/>
            <a:ext cx="4771175" cy="647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ctr" anchorCtr="0"/>
          <a:lstStyle/>
          <a:p>
            <a:pPr algn="just" rtl="0"/>
            <a:r>
              <a:rPr lang="fr-FR" sz="1200" b="1" i="0" u="none" baseline="0" dirty="0">
                <a:solidFill>
                  <a:schemeClr val="tx1"/>
                </a:solidFill>
              </a:rPr>
              <a:t>Évolutif : </a:t>
            </a:r>
            <a:r>
              <a:rPr lang="fr-FR" sz="1200" b="0" i="0" u="none" baseline="0" dirty="0">
                <a:solidFill>
                  <a:schemeClr val="tx1"/>
                </a:solidFill>
              </a:rPr>
              <a:t>les publicités payées à l'utilisation et les grilles tarifaires basées sur le volume soutiennent l’expansion, l’agilité et la croissance du marché</a:t>
            </a:r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260E89CC-2593-4875-A2FC-1A723B098EAF}"/>
              </a:ext>
            </a:extLst>
          </p:cNvPr>
          <p:cNvGrpSpPr/>
          <p:nvPr/>
        </p:nvGrpSpPr>
        <p:grpSpPr>
          <a:xfrm>
            <a:off x="333623" y="1111185"/>
            <a:ext cx="648000" cy="648000"/>
            <a:chOff x="333623" y="1150940"/>
            <a:chExt cx="648000" cy="648000"/>
          </a:xfrm>
        </p:grpSpPr>
        <p:sp>
          <p:nvSpPr>
            <p:cNvPr id="25" name="Rectangle 20">
              <a:extLst>
                <a:ext uri="{FF2B5EF4-FFF2-40B4-BE49-F238E27FC236}">
                  <a16:creationId xmlns:a16="http://schemas.microsoft.com/office/drawing/2014/main" id="{B69D9FCD-F88C-4E61-8E7C-6B73711A2F19}"/>
                </a:ext>
              </a:extLst>
            </p:cNvPr>
            <p:cNvSpPr/>
            <p:nvPr/>
          </p:nvSpPr>
          <p:spPr>
            <a:xfrm>
              <a:off x="333623" y="1150940"/>
              <a:ext cx="648000" cy="648000"/>
            </a:xfrm>
            <a:prstGeom prst="ellipse">
              <a:avLst/>
            </a:prstGeom>
            <a:solidFill>
              <a:srgbClr val="6FAE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" tIns="108000" rIns="162000" bIns="108000" rtlCol="0" anchor="b"/>
            <a:lstStyle/>
            <a:p>
              <a:endParaRPr lang="fr-FR" sz="1200" b="1" dirty="0">
                <a:solidFill>
                  <a:schemeClr val="tx1"/>
                </a:solidFill>
              </a:endParaRPr>
            </a:p>
          </p:txBody>
        </p: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DA5C375E-AA42-45EB-8521-174CC9961C02}"/>
                </a:ext>
              </a:extLst>
            </p:cNvPr>
            <p:cNvGrpSpPr/>
            <p:nvPr/>
          </p:nvGrpSpPr>
          <p:grpSpPr>
            <a:xfrm>
              <a:off x="466915" y="1292625"/>
              <a:ext cx="381417" cy="364630"/>
              <a:chOff x="9493250" y="1712913"/>
              <a:chExt cx="1550988" cy="1482725"/>
            </a:xfrm>
            <a:solidFill>
              <a:schemeClr val="bg1"/>
            </a:solidFill>
          </p:grpSpPr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D706AFAF-56C3-48D3-A2BD-9D20C2CABE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3788" y="1712913"/>
                <a:ext cx="1060450" cy="1482725"/>
              </a:xfrm>
              <a:custGeom>
                <a:avLst/>
                <a:gdLst>
                  <a:gd name="T0" fmla="*/ 282 w 325"/>
                  <a:gd name="T1" fmla="*/ 138 h 455"/>
                  <a:gd name="T2" fmla="*/ 311 w 325"/>
                  <a:gd name="T3" fmla="*/ 111 h 455"/>
                  <a:gd name="T4" fmla="*/ 312 w 325"/>
                  <a:gd name="T5" fmla="*/ 83 h 455"/>
                  <a:gd name="T6" fmla="*/ 284 w 325"/>
                  <a:gd name="T7" fmla="*/ 82 h 455"/>
                  <a:gd name="T8" fmla="*/ 254 w 325"/>
                  <a:gd name="T9" fmla="*/ 110 h 455"/>
                  <a:gd name="T10" fmla="*/ 151 w 325"/>
                  <a:gd name="T11" fmla="*/ 67 h 455"/>
                  <a:gd name="T12" fmla="*/ 151 w 325"/>
                  <a:gd name="T13" fmla="*/ 40 h 455"/>
                  <a:gd name="T14" fmla="*/ 182 w 325"/>
                  <a:gd name="T15" fmla="*/ 40 h 455"/>
                  <a:gd name="T16" fmla="*/ 202 w 325"/>
                  <a:gd name="T17" fmla="*/ 20 h 455"/>
                  <a:gd name="T18" fmla="*/ 182 w 325"/>
                  <a:gd name="T19" fmla="*/ 0 h 455"/>
                  <a:gd name="T20" fmla="*/ 80 w 325"/>
                  <a:gd name="T21" fmla="*/ 0 h 455"/>
                  <a:gd name="T22" fmla="*/ 60 w 325"/>
                  <a:gd name="T23" fmla="*/ 20 h 455"/>
                  <a:gd name="T24" fmla="*/ 80 w 325"/>
                  <a:gd name="T25" fmla="*/ 40 h 455"/>
                  <a:gd name="T26" fmla="*/ 111 w 325"/>
                  <a:gd name="T27" fmla="*/ 40 h 455"/>
                  <a:gd name="T28" fmla="*/ 111 w 325"/>
                  <a:gd name="T29" fmla="*/ 67 h 455"/>
                  <a:gd name="T30" fmla="*/ 10 w 325"/>
                  <a:gd name="T31" fmla="*/ 108 h 455"/>
                  <a:gd name="T32" fmla="*/ 7 w 325"/>
                  <a:gd name="T33" fmla="*/ 136 h 455"/>
                  <a:gd name="T34" fmla="*/ 35 w 325"/>
                  <a:gd name="T35" fmla="*/ 139 h 455"/>
                  <a:gd name="T36" fmla="*/ 131 w 325"/>
                  <a:gd name="T37" fmla="*/ 106 h 455"/>
                  <a:gd name="T38" fmla="*/ 285 w 325"/>
                  <a:gd name="T39" fmla="*/ 261 h 455"/>
                  <a:gd name="T40" fmla="*/ 131 w 325"/>
                  <a:gd name="T41" fmla="*/ 415 h 455"/>
                  <a:gd name="T42" fmla="*/ 44 w 325"/>
                  <a:gd name="T43" fmla="*/ 389 h 455"/>
                  <a:gd name="T44" fmla="*/ 16 w 325"/>
                  <a:gd name="T45" fmla="*/ 394 h 455"/>
                  <a:gd name="T46" fmla="*/ 22 w 325"/>
                  <a:gd name="T47" fmla="*/ 422 h 455"/>
                  <a:gd name="T48" fmla="*/ 131 w 325"/>
                  <a:gd name="T49" fmla="*/ 455 h 455"/>
                  <a:gd name="T50" fmla="*/ 325 w 325"/>
                  <a:gd name="T51" fmla="*/ 261 h 455"/>
                  <a:gd name="T52" fmla="*/ 282 w 325"/>
                  <a:gd name="T53" fmla="*/ 138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5" h="455">
                    <a:moveTo>
                      <a:pt x="282" y="138"/>
                    </a:moveTo>
                    <a:cubicBezTo>
                      <a:pt x="311" y="111"/>
                      <a:pt x="311" y="111"/>
                      <a:pt x="311" y="111"/>
                    </a:cubicBezTo>
                    <a:cubicBezTo>
                      <a:pt x="319" y="103"/>
                      <a:pt x="320" y="91"/>
                      <a:pt x="312" y="83"/>
                    </a:cubicBezTo>
                    <a:cubicBezTo>
                      <a:pt x="305" y="75"/>
                      <a:pt x="292" y="74"/>
                      <a:pt x="284" y="82"/>
                    </a:cubicBezTo>
                    <a:cubicBezTo>
                      <a:pt x="254" y="110"/>
                      <a:pt x="254" y="110"/>
                      <a:pt x="254" y="110"/>
                    </a:cubicBezTo>
                    <a:cubicBezTo>
                      <a:pt x="225" y="87"/>
                      <a:pt x="190" y="71"/>
                      <a:pt x="151" y="67"/>
                    </a:cubicBezTo>
                    <a:cubicBezTo>
                      <a:pt x="151" y="40"/>
                      <a:pt x="151" y="40"/>
                      <a:pt x="151" y="40"/>
                    </a:cubicBezTo>
                    <a:cubicBezTo>
                      <a:pt x="182" y="40"/>
                      <a:pt x="182" y="40"/>
                      <a:pt x="182" y="40"/>
                    </a:cubicBezTo>
                    <a:cubicBezTo>
                      <a:pt x="193" y="40"/>
                      <a:pt x="202" y="31"/>
                      <a:pt x="202" y="20"/>
                    </a:cubicBezTo>
                    <a:cubicBezTo>
                      <a:pt x="202" y="9"/>
                      <a:pt x="193" y="0"/>
                      <a:pt x="182" y="0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69" y="0"/>
                      <a:pt x="60" y="9"/>
                      <a:pt x="60" y="20"/>
                    </a:cubicBezTo>
                    <a:cubicBezTo>
                      <a:pt x="60" y="31"/>
                      <a:pt x="69" y="40"/>
                      <a:pt x="80" y="40"/>
                    </a:cubicBezTo>
                    <a:cubicBezTo>
                      <a:pt x="111" y="40"/>
                      <a:pt x="111" y="40"/>
                      <a:pt x="111" y="40"/>
                    </a:cubicBezTo>
                    <a:cubicBezTo>
                      <a:pt x="111" y="67"/>
                      <a:pt x="111" y="67"/>
                      <a:pt x="111" y="67"/>
                    </a:cubicBezTo>
                    <a:cubicBezTo>
                      <a:pt x="74" y="71"/>
                      <a:pt x="40" y="85"/>
                      <a:pt x="10" y="108"/>
                    </a:cubicBezTo>
                    <a:cubicBezTo>
                      <a:pt x="2" y="114"/>
                      <a:pt x="0" y="127"/>
                      <a:pt x="7" y="136"/>
                    </a:cubicBezTo>
                    <a:cubicBezTo>
                      <a:pt x="14" y="144"/>
                      <a:pt x="26" y="146"/>
                      <a:pt x="35" y="139"/>
                    </a:cubicBezTo>
                    <a:cubicBezTo>
                      <a:pt x="63" y="118"/>
                      <a:pt x="96" y="106"/>
                      <a:pt x="131" y="106"/>
                    </a:cubicBezTo>
                    <a:cubicBezTo>
                      <a:pt x="216" y="106"/>
                      <a:pt x="285" y="175"/>
                      <a:pt x="285" y="261"/>
                    </a:cubicBezTo>
                    <a:cubicBezTo>
                      <a:pt x="285" y="346"/>
                      <a:pt x="216" y="415"/>
                      <a:pt x="131" y="415"/>
                    </a:cubicBezTo>
                    <a:cubicBezTo>
                      <a:pt x="100" y="415"/>
                      <a:pt x="70" y="406"/>
                      <a:pt x="44" y="389"/>
                    </a:cubicBezTo>
                    <a:cubicBezTo>
                      <a:pt x="35" y="383"/>
                      <a:pt x="23" y="385"/>
                      <a:pt x="16" y="394"/>
                    </a:cubicBezTo>
                    <a:cubicBezTo>
                      <a:pt x="10" y="404"/>
                      <a:pt x="13" y="416"/>
                      <a:pt x="22" y="422"/>
                    </a:cubicBezTo>
                    <a:cubicBezTo>
                      <a:pt x="54" y="444"/>
                      <a:pt x="92" y="455"/>
                      <a:pt x="131" y="455"/>
                    </a:cubicBezTo>
                    <a:cubicBezTo>
                      <a:pt x="238" y="455"/>
                      <a:pt x="325" y="368"/>
                      <a:pt x="325" y="261"/>
                    </a:cubicBezTo>
                    <a:cubicBezTo>
                      <a:pt x="325" y="214"/>
                      <a:pt x="309" y="172"/>
                      <a:pt x="282" y="13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08594803-90BB-407C-B847-30C3002BDF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93250" y="2273301"/>
                <a:ext cx="701675" cy="130175"/>
              </a:xfrm>
              <a:custGeom>
                <a:avLst/>
                <a:gdLst>
                  <a:gd name="T0" fmla="*/ 215 w 215"/>
                  <a:gd name="T1" fmla="*/ 20 h 40"/>
                  <a:gd name="T2" fmla="*/ 195 w 215"/>
                  <a:gd name="T3" fmla="*/ 0 h 40"/>
                  <a:gd name="T4" fmla="*/ 20 w 215"/>
                  <a:gd name="T5" fmla="*/ 0 h 40"/>
                  <a:gd name="T6" fmla="*/ 0 w 215"/>
                  <a:gd name="T7" fmla="*/ 20 h 40"/>
                  <a:gd name="T8" fmla="*/ 20 w 215"/>
                  <a:gd name="T9" fmla="*/ 40 h 40"/>
                  <a:gd name="T10" fmla="*/ 195 w 215"/>
                  <a:gd name="T11" fmla="*/ 40 h 40"/>
                  <a:gd name="T12" fmla="*/ 215 w 215"/>
                  <a:gd name="T1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40">
                    <a:moveTo>
                      <a:pt x="215" y="20"/>
                    </a:moveTo>
                    <a:cubicBezTo>
                      <a:pt x="215" y="9"/>
                      <a:pt x="206" y="0"/>
                      <a:pt x="195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31"/>
                      <a:pt x="9" y="40"/>
                      <a:pt x="20" y="40"/>
                    </a:cubicBezTo>
                    <a:cubicBezTo>
                      <a:pt x="195" y="40"/>
                      <a:pt x="195" y="40"/>
                      <a:pt x="195" y="40"/>
                    </a:cubicBezTo>
                    <a:cubicBezTo>
                      <a:pt x="206" y="40"/>
                      <a:pt x="215" y="31"/>
                      <a:pt x="215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CEC84238-6DD6-48CF-BFB9-7F35DAA9CF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53588" y="2514601"/>
                <a:ext cx="541338" cy="130175"/>
              </a:xfrm>
              <a:custGeom>
                <a:avLst/>
                <a:gdLst>
                  <a:gd name="T0" fmla="*/ 166 w 166"/>
                  <a:gd name="T1" fmla="*/ 20 h 40"/>
                  <a:gd name="T2" fmla="*/ 146 w 166"/>
                  <a:gd name="T3" fmla="*/ 0 h 40"/>
                  <a:gd name="T4" fmla="*/ 20 w 166"/>
                  <a:gd name="T5" fmla="*/ 0 h 40"/>
                  <a:gd name="T6" fmla="*/ 0 w 166"/>
                  <a:gd name="T7" fmla="*/ 20 h 40"/>
                  <a:gd name="T8" fmla="*/ 20 w 166"/>
                  <a:gd name="T9" fmla="*/ 40 h 40"/>
                  <a:gd name="T10" fmla="*/ 146 w 166"/>
                  <a:gd name="T11" fmla="*/ 40 h 40"/>
                  <a:gd name="T12" fmla="*/ 166 w 166"/>
                  <a:gd name="T1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6" h="40">
                    <a:moveTo>
                      <a:pt x="166" y="20"/>
                    </a:moveTo>
                    <a:cubicBezTo>
                      <a:pt x="166" y="9"/>
                      <a:pt x="157" y="0"/>
                      <a:pt x="146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31"/>
                      <a:pt x="9" y="40"/>
                      <a:pt x="20" y="40"/>
                    </a:cubicBezTo>
                    <a:cubicBezTo>
                      <a:pt x="146" y="40"/>
                      <a:pt x="146" y="40"/>
                      <a:pt x="146" y="40"/>
                    </a:cubicBezTo>
                    <a:cubicBezTo>
                      <a:pt x="157" y="40"/>
                      <a:pt x="166" y="31"/>
                      <a:pt x="166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1DB06C71-E2F0-406D-B15E-DFE8F95D65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52013" y="2759076"/>
                <a:ext cx="442913" cy="130175"/>
              </a:xfrm>
              <a:custGeom>
                <a:avLst/>
                <a:gdLst>
                  <a:gd name="T0" fmla="*/ 136 w 136"/>
                  <a:gd name="T1" fmla="*/ 20 h 40"/>
                  <a:gd name="T2" fmla="*/ 116 w 136"/>
                  <a:gd name="T3" fmla="*/ 0 h 40"/>
                  <a:gd name="T4" fmla="*/ 20 w 136"/>
                  <a:gd name="T5" fmla="*/ 0 h 40"/>
                  <a:gd name="T6" fmla="*/ 0 w 136"/>
                  <a:gd name="T7" fmla="*/ 20 h 40"/>
                  <a:gd name="T8" fmla="*/ 20 w 136"/>
                  <a:gd name="T9" fmla="*/ 40 h 40"/>
                  <a:gd name="T10" fmla="*/ 116 w 136"/>
                  <a:gd name="T11" fmla="*/ 40 h 40"/>
                  <a:gd name="T12" fmla="*/ 136 w 136"/>
                  <a:gd name="T1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6" h="40">
                    <a:moveTo>
                      <a:pt x="136" y="20"/>
                    </a:moveTo>
                    <a:cubicBezTo>
                      <a:pt x="136" y="9"/>
                      <a:pt x="127" y="0"/>
                      <a:pt x="116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31"/>
                      <a:pt x="9" y="40"/>
                      <a:pt x="20" y="40"/>
                    </a:cubicBezTo>
                    <a:cubicBezTo>
                      <a:pt x="116" y="40"/>
                      <a:pt x="116" y="40"/>
                      <a:pt x="116" y="40"/>
                    </a:cubicBezTo>
                    <a:cubicBezTo>
                      <a:pt x="127" y="40"/>
                      <a:pt x="136" y="31"/>
                      <a:pt x="136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3C7CB8FE-178B-432F-ABA3-B3E343F00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90175" y="2257426"/>
                <a:ext cx="433388" cy="436563"/>
              </a:xfrm>
              <a:custGeom>
                <a:avLst/>
                <a:gdLst>
                  <a:gd name="T0" fmla="*/ 123 w 133"/>
                  <a:gd name="T1" fmla="*/ 11 h 134"/>
                  <a:gd name="T2" fmla="*/ 97 w 133"/>
                  <a:gd name="T3" fmla="*/ 13 h 134"/>
                  <a:gd name="T4" fmla="*/ 44 w 133"/>
                  <a:gd name="T5" fmla="*/ 56 h 134"/>
                  <a:gd name="T6" fmla="*/ 39 w 133"/>
                  <a:gd name="T7" fmla="*/ 56 h 134"/>
                  <a:gd name="T8" fmla="*/ 0 w 133"/>
                  <a:gd name="T9" fmla="*/ 95 h 134"/>
                  <a:gd name="T10" fmla="*/ 39 w 133"/>
                  <a:gd name="T11" fmla="*/ 134 h 134"/>
                  <a:gd name="T12" fmla="*/ 78 w 133"/>
                  <a:gd name="T13" fmla="*/ 95 h 134"/>
                  <a:gd name="T14" fmla="*/ 78 w 133"/>
                  <a:gd name="T15" fmla="*/ 91 h 134"/>
                  <a:gd name="T16" fmla="*/ 123 w 133"/>
                  <a:gd name="T17" fmla="*/ 36 h 134"/>
                  <a:gd name="T18" fmla="*/ 123 w 133"/>
                  <a:gd name="T19" fmla="*/ 11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3" h="134">
                    <a:moveTo>
                      <a:pt x="123" y="11"/>
                    </a:moveTo>
                    <a:cubicBezTo>
                      <a:pt x="112" y="0"/>
                      <a:pt x="97" y="13"/>
                      <a:pt x="97" y="13"/>
                    </a:cubicBezTo>
                    <a:cubicBezTo>
                      <a:pt x="44" y="56"/>
                      <a:pt x="44" y="56"/>
                      <a:pt x="44" y="56"/>
                    </a:cubicBezTo>
                    <a:cubicBezTo>
                      <a:pt x="43" y="56"/>
                      <a:pt x="41" y="56"/>
                      <a:pt x="39" y="56"/>
                    </a:cubicBezTo>
                    <a:cubicBezTo>
                      <a:pt x="17" y="56"/>
                      <a:pt x="0" y="74"/>
                      <a:pt x="0" y="95"/>
                    </a:cubicBezTo>
                    <a:cubicBezTo>
                      <a:pt x="0" y="117"/>
                      <a:pt x="17" y="134"/>
                      <a:pt x="39" y="134"/>
                    </a:cubicBezTo>
                    <a:cubicBezTo>
                      <a:pt x="61" y="134"/>
                      <a:pt x="78" y="117"/>
                      <a:pt x="78" y="95"/>
                    </a:cubicBezTo>
                    <a:cubicBezTo>
                      <a:pt x="78" y="94"/>
                      <a:pt x="78" y="93"/>
                      <a:pt x="78" y="91"/>
                    </a:cubicBezTo>
                    <a:cubicBezTo>
                      <a:pt x="123" y="36"/>
                      <a:pt x="123" y="36"/>
                      <a:pt x="123" y="36"/>
                    </a:cubicBezTo>
                    <a:cubicBezTo>
                      <a:pt x="133" y="21"/>
                      <a:pt x="123" y="11"/>
                      <a:pt x="12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AB911236-474A-462C-BB8D-9239946669EB}"/>
              </a:ext>
            </a:extLst>
          </p:cNvPr>
          <p:cNvGrpSpPr/>
          <p:nvPr/>
        </p:nvGrpSpPr>
        <p:grpSpPr>
          <a:xfrm>
            <a:off x="333623" y="1863638"/>
            <a:ext cx="648000" cy="648000"/>
            <a:chOff x="333623" y="1871589"/>
            <a:chExt cx="648000" cy="648000"/>
          </a:xfrm>
        </p:grpSpPr>
        <p:sp>
          <p:nvSpPr>
            <p:cNvPr id="33" name="Rectangle 20">
              <a:extLst>
                <a:ext uri="{FF2B5EF4-FFF2-40B4-BE49-F238E27FC236}">
                  <a16:creationId xmlns:a16="http://schemas.microsoft.com/office/drawing/2014/main" id="{20536E3C-61BD-40AF-8CCD-802631C1F0CA}"/>
                </a:ext>
              </a:extLst>
            </p:cNvPr>
            <p:cNvSpPr/>
            <p:nvPr/>
          </p:nvSpPr>
          <p:spPr>
            <a:xfrm>
              <a:off x="333623" y="1871589"/>
              <a:ext cx="648000" cy="648000"/>
            </a:xfrm>
            <a:prstGeom prst="ellipse">
              <a:avLst/>
            </a:prstGeom>
            <a:solidFill>
              <a:srgbClr val="87C4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" tIns="108000" rIns="162000" bIns="108000" rtlCol="0" anchor="b"/>
            <a:lstStyle/>
            <a:p>
              <a:endParaRPr lang="fr-FR" sz="1200" b="1" dirty="0">
                <a:solidFill>
                  <a:schemeClr val="tx1"/>
                </a:solidFill>
              </a:endParaRPr>
            </a:p>
          </p:txBody>
        </p: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FB131A05-D291-4620-A389-0D72DCBD1AE8}"/>
                </a:ext>
              </a:extLst>
            </p:cNvPr>
            <p:cNvGrpSpPr/>
            <p:nvPr/>
          </p:nvGrpSpPr>
          <p:grpSpPr>
            <a:xfrm>
              <a:off x="460060" y="2025790"/>
              <a:ext cx="395126" cy="339598"/>
              <a:chOff x="-2401888" y="1606550"/>
              <a:chExt cx="1073150" cy="922338"/>
            </a:xfrm>
            <a:solidFill>
              <a:schemeClr val="bg1"/>
            </a:solidFill>
          </p:grpSpPr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7D4DD6E5-2EE6-4D4C-AD6F-B3970F4DAF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401888" y="2127250"/>
                <a:ext cx="844550" cy="157163"/>
              </a:xfrm>
              <a:custGeom>
                <a:avLst/>
                <a:gdLst>
                  <a:gd name="T0" fmla="*/ 254 w 258"/>
                  <a:gd name="T1" fmla="*/ 0 h 48"/>
                  <a:gd name="T2" fmla="*/ 4 w 258"/>
                  <a:gd name="T3" fmla="*/ 0 h 48"/>
                  <a:gd name="T4" fmla="*/ 0 w 258"/>
                  <a:gd name="T5" fmla="*/ 4 h 48"/>
                  <a:gd name="T6" fmla="*/ 0 w 258"/>
                  <a:gd name="T7" fmla="*/ 44 h 48"/>
                  <a:gd name="T8" fmla="*/ 4 w 258"/>
                  <a:gd name="T9" fmla="*/ 48 h 48"/>
                  <a:gd name="T10" fmla="*/ 167 w 258"/>
                  <a:gd name="T11" fmla="*/ 48 h 48"/>
                  <a:gd name="T12" fmla="*/ 167 w 258"/>
                  <a:gd name="T13" fmla="*/ 29 h 48"/>
                  <a:gd name="T14" fmla="*/ 188 w 258"/>
                  <a:gd name="T15" fmla="*/ 10 h 48"/>
                  <a:gd name="T16" fmla="*/ 258 w 258"/>
                  <a:gd name="T17" fmla="*/ 10 h 48"/>
                  <a:gd name="T18" fmla="*/ 258 w 258"/>
                  <a:gd name="T19" fmla="*/ 4 h 48"/>
                  <a:gd name="T20" fmla="*/ 254 w 258"/>
                  <a:gd name="T21" fmla="*/ 0 h 48"/>
                  <a:gd name="T22" fmla="*/ 37 w 258"/>
                  <a:gd name="T23" fmla="*/ 32 h 48"/>
                  <a:gd name="T24" fmla="*/ 29 w 258"/>
                  <a:gd name="T25" fmla="*/ 24 h 48"/>
                  <a:gd name="T26" fmla="*/ 37 w 258"/>
                  <a:gd name="T27" fmla="*/ 16 h 48"/>
                  <a:gd name="T28" fmla="*/ 45 w 258"/>
                  <a:gd name="T29" fmla="*/ 24 h 48"/>
                  <a:gd name="T30" fmla="*/ 37 w 258"/>
                  <a:gd name="T31" fmla="*/ 3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" h="48">
                    <a:moveTo>
                      <a:pt x="25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6"/>
                      <a:pt x="1" y="48"/>
                      <a:pt x="4" y="48"/>
                    </a:cubicBezTo>
                    <a:cubicBezTo>
                      <a:pt x="167" y="48"/>
                      <a:pt x="167" y="48"/>
                      <a:pt x="167" y="48"/>
                    </a:cubicBezTo>
                    <a:cubicBezTo>
                      <a:pt x="167" y="29"/>
                      <a:pt x="167" y="29"/>
                      <a:pt x="167" y="29"/>
                    </a:cubicBezTo>
                    <a:cubicBezTo>
                      <a:pt x="167" y="29"/>
                      <a:pt x="166" y="10"/>
                      <a:pt x="188" y="10"/>
                    </a:cubicBezTo>
                    <a:cubicBezTo>
                      <a:pt x="258" y="10"/>
                      <a:pt x="258" y="10"/>
                      <a:pt x="258" y="10"/>
                    </a:cubicBezTo>
                    <a:cubicBezTo>
                      <a:pt x="258" y="4"/>
                      <a:pt x="258" y="4"/>
                      <a:pt x="258" y="4"/>
                    </a:cubicBezTo>
                    <a:cubicBezTo>
                      <a:pt x="258" y="2"/>
                      <a:pt x="256" y="0"/>
                      <a:pt x="254" y="0"/>
                    </a:cubicBezTo>
                    <a:close/>
                    <a:moveTo>
                      <a:pt x="37" y="32"/>
                    </a:moveTo>
                    <a:cubicBezTo>
                      <a:pt x="33" y="32"/>
                      <a:pt x="29" y="28"/>
                      <a:pt x="29" y="24"/>
                    </a:cubicBezTo>
                    <a:cubicBezTo>
                      <a:pt x="29" y="20"/>
                      <a:pt x="33" y="16"/>
                      <a:pt x="37" y="16"/>
                    </a:cubicBezTo>
                    <a:cubicBezTo>
                      <a:pt x="42" y="16"/>
                      <a:pt x="45" y="20"/>
                      <a:pt x="45" y="24"/>
                    </a:cubicBezTo>
                    <a:cubicBezTo>
                      <a:pt x="45" y="28"/>
                      <a:pt x="42" y="32"/>
                      <a:pt x="37" y="3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" name="Freeform 36">
                <a:extLst>
                  <a:ext uri="{FF2B5EF4-FFF2-40B4-BE49-F238E27FC236}">
                    <a16:creationId xmlns:a16="http://schemas.microsoft.com/office/drawing/2014/main" id="{94716568-CEBA-4E11-9069-78EC12DDDA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401888" y="2312988"/>
                <a:ext cx="546100" cy="157163"/>
              </a:xfrm>
              <a:custGeom>
                <a:avLst/>
                <a:gdLst>
                  <a:gd name="T0" fmla="*/ 4 w 167"/>
                  <a:gd name="T1" fmla="*/ 0 h 48"/>
                  <a:gd name="T2" fmla="*/ 0 w 167"/>
                  <a:gd name="T3" fmla="*/ 4 h 48"/>
                  <a:gd name="T4" fmla="*/ 0 w 167"/>
                  <a:gd name="T5" fmla="*/ 44 h 48"/>
                  <a:gd name="T6" fmla="*/ 4 w 167"/>
                  <a:gd name="T7" fmla="*/ 48 h 48"/>
                  <a:gd name="T8" fmla="*/ 167 w 167"/>
                  <a:gd name="T9" fmla="*/ 48 h 48"/>
                  <a:gd name="T10" fmla="*/ 167 w 167"/>
                  <a:gd name="T11" fmla="*/ 0 h 48"/>
                  <a:gd name="T12" fmla="*/ 4 w 167"/>
                  <a:gd name="T13" fmla="*/ 0 h 48"/>
                  <a:gd name="T14" fmla="*/ 37 w 167"/>
                  <a:gd name="T15" fmla="*/ 32 h 48"/>
                  <a:gd name="T16" fmla="*/ 29 w 167"/>
                  <a:gd name="T17" fmla="*/ 24 h 48"/>
                  <a:gd name="T18" fmla="*/ 37 w 167"/>
                  <a:gd name="T19" fmla="*/ 15 h 48"/>
                  <a:gd name="T20" fmla="*/ 45 w 167"/>
                  <a:gd name="T21" fmla="*/ 24 h 48"/>
                  <a:gd name="T22" fmla="*/ 37 w 167"/>
                  <a:gd name="T23" fmla="*/ 3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7" h="48">
                    <a:moveTo>
                      <a:pt x="4" y="0"/>
                    </a:moveTo>
                    <a:cubicBezTo>
                      <a:pt x="1" y="0"/>
                      <a:pt x="0" y="1"/>
                      <a:pt x="0" y="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6"/>
                      <a:pt x="1" y="48"/>
                      <a:pt x="4" y="48"/>
                    </a:cubicBezTo>
                    <a:cubicBezTo>
                      <a:pt x="167" y="48"/>
                      <a:pt x="167" y="48"/>
                      <a:pt x="167" y="48"/>
                    </a:cubicBezTo>
                    <a:cubicBezTo>
                      <a:pt x="167" y="0"/>
                      <a:pt x="167" y="0"/>
                      <a:pt x="167" y="0"/>
                    </a:cubicBezTo>
                    <a:lnTo>
                      <a:pt x="4" y="0"/>
                    </a:lnTo>
                    <a:close/>
                    <a:moveTo>
                      <a:pt x="37" y="32"/>
                    </a:moveTo>
                    <a:cubicBezTo>
                      <a:pt x="33" y="32"/>
                      <a:pt x="29" y="28"/>
                      <a:pt x="29" y="24"/>
                    </a:cubicBezTo>
                    <a:cubicBezTo>
                      <a:pt x="29" y="19"/>
                      <a:pt x="33" y="15"/>
                      <a:pt x="37" y="15"/>
                    </a:cubicBezTo>
                    <a:cubicBezTo>
                      <a:pt x="42" y="15"/>
                      <a:pt x="45" y="19"/>
                      <a:pt x="45" y="24"/>
                    </a:cubicBezTo>
                    <a:cubicBezTo>
                      <a:pt x="45" y="28"/>
                      <a:pt x="42" y="32"/>
                      <a:pt x="37" y="3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BF4881A2-499B-4258-BDBA-7967E00F1F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401888" y="1936750"/>
                <a:ext cx="844550" cy="157163"/>
              </a:xfrm>
              <a:custGeom>
                <a:avLst/>
                <a:gdLst>
                  <a:gd name="T0" fmla="*/ 254 w 258"/>
                  <a:gd name="T1" fmla="*/ 0 h 48"/>
                  <a:gd name="T2" fmla="*/ 4 w 258"/>
                  <a:gd name="T3" fmla="*/ 0 h 48"/>
                  <a:gd name="T4" fmla="*/ 0 w 258"/>
                  <a:gd name="T5" fmla="*/ 4 h 48"/>
                  <a:gd name="T6" fmla="*/ 0 w 258"/>
                  <a:gd name="T7" fmla="*/ 44 h 48"/>
                  <a:gd name="T8" fmla="*/ 4 w 258"/>
                  <a:gd name="T9" fmla="*/ 48 h 48"/>
                  <a:gd name="T10" fmla="*/ 254 w 258"/>
                  <a:gd name="T11" fmla="*/ 48 h 48"/>
                  <a:gd name="T12" fmla="*/ 258 w 258"/>
                  <a:gd name="T13" fmla="*/ 44 h 48"/>
                  <a:gd name="T14" fmla="*/ 258 w 258"/>
                  <a:gd name="T15" fmla="*/ 4 h 48"/>
                  <a:gd name="T16" fmla="*/ 254 w 258"/>
                  <a:gd name="T17" fmla="*/ 0 h 48"/>
                  <a:gd name="T18" fmla="*/ 37 w 258"/>
                  <a:gd name="T19" fmla="*/ 32 h 48"/>
                  <a:gd name="T20" fmla="*/ 29 w 258"/>
                  <a:gd name="T21" fmla="*/ 24 h 48"/>
                  <a:gd name="T22" fmla="*/ 37 w 258"/>
                  <a:gd name="T23" fmla="*/ 15 h 48"/>
                  <a:gd name="T24" fmla="*/ 45 w 258"/>
                  <a:gd name="T25" fmla="*/ 24 h 48"/>
                  <a:gd name="T26" fmla="*/ 37 w 258"/>
                  <a:gd name="T27" fmla="*/ 32 h 48"/>
                  <a:gd name="T28" fmla="*/ 221 w 258"/>
                  <a:gd name="T29" fmla="*/ 32 h 48"/>
                  <a:gd name="T30" fmla="*/ 213 w 258"/>
                  <a:gd name="T31" fmla="*/ 24 h 48"/>
                  <a:gd name="T32" fmla="*/ 221 w 258"/>
                  <a:gd name="T33" fmla="*/ 15 h 48"/>
                  <a:gd name="T34" fmla="*/ 229 w 258"/>
                  <a:gd name="T35" fmla="*/ 24 h 48"/>
                  <a:gd name="T36" fmla="*/ 221 w 258"/>
                  <a:gd name="T37" fmla="*/ 3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8" h="48">
                    <a:moveTo>
                      <a:pt x="25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1"/>
                      <a:pt x="0" y="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6"/>
                      <a:pt x="1" y="48"/>
                      <a:pt x="4" y="48"/>
                    </a:cubicBezTo>
                    <a:cubicBezTo>
                      <a:pt x="254" y="48"/>
                      <a:pt x="254" y="48"/>
                      <a:pt x="254" y="48"/>
                    </a:cubicBezTo>
                    <a:cubicBezTo>
                      <a:pt x="256" y="48"/>
                      <a:pt x="258" y="46"/>
                      <a:pt x="258" y="44"/>
                    </a:cubicBezTo>
                    <a:cubicBezTo>
                      <a:pt x="258" y="4"/>
                      <a:pt x="258" y="4"/>
                      <a:pt x="258" y="4"/>
                    </a:cubicBezTo>
                    <a:cubicBezTo>
                      <a:pt x="258" y="1"/>
                      <a:pt x="256" y="0"/>
                      <a:pt x="254" y="0"/>
                    </a:cubicBezTo>
                    <a:close/>
                    <a:moveTo>
                      <a:pt x="37" y="32"/>
                    </a:moveTo>
                    <a:cubicBezTo>
                      <a:pt x="33" y="32"/>
                      <a:pt x="29" y="28"/>
                      <a:pt x="29" y="24"/>
                    </a:cubicBezTo>
                    <a:cubicBezTo>
                      <a:pt x="29" y="19"/>
                      <a:pt x="33" y="15"/>
                      <a:pt x="37" y="15"/>
                    </a:cubicBezTo>
                    <a:cubicBezTo>
                      <a:pt x="42" y="15"/>
                      <a:pt x="45" y="19"/>
                      <a:pt x="45" y="24"/>
                    </a:cubicBezTo>
                    <a:cubicBezTo>
                      <a:pt x="45" y="28"/>
                      <a:pt x="42" y="32"/>
                      <a:pt x="37" y="32"/>
                    </a:cubicBezTo>
                    <a:close/>
                    <a:moveTo>
                      <a:pt x="221" y="32"/>
                    </a:moveTo>
                    <a:cubicBezTo>
                      <a:pt x="217" y="32"/>
                      <a:pt x="213" y="28"/>
                      <a:pt x="213" y="24"/>
                    </a:cubicBezTo>
                    <a:cubicBezTo>
                      <a:pt x="213" y="19"/>
                      <a:pt x="217" y="15"/>
                      <a:pt x="221" y="15"/>
                    </a:cubicBezTo>
                    <a:cubicBezTo>
                      <a:pt x="226" y="15"/>
                      <a:pt x="229" y="19"/>
                      <a:pt x="229" y="24"/>
                    </a:cubicBezTo>
                    <a:cubicBezTo>
                      <a:pt x="229" y="28"/>
                      <a:pt x="226" y="32"/>
                      <a:pt x="221" y="3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8A6CA1FD-6134-48EC-8EDC-B418475752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09813" y="1616075"/>
                <a:ext cx="139700" cy="298450"/>
              </a:xfrm>
              <a:custGeom>
                <a:avLst/>
                <a:gdLst>
                  <a:gd name="T0" fmla="*/ 9 w 43"/>
                  <a:gd name="T1" fmla="*/ 91 h 91"/>
                  <a:gd name="T2" fmla="*/ 31 w 43"/>
                  <a:gd name="T3" fmla="*/ 91 h 91"/>
                  <a:gd name="T4" fmla="*/ 31 w 43"/>
                  <a:gd name="T5" fmla="*/ 39 h 91"/>
                  <a:gd name="T6" fmla="*/ 35 w 43"/>
                  <a:gd name="T7" fmla="*/ 37 h 91"/>
                  <a:gd name="T8" fmla="*/ 41 w 43"/>
                  <a:gd name="T9" fmla="*/ 5 h 91"/>
                  <a:gd name="T10" fmla="*/ 36 w 43"/>
                  <a:gd name="T11" fmla="*/ 0 h 91"/>
                  <a:gd name="T12" fmla="*/ 3 w 43"/>
                  <a:gd name="T13" fmla="*/ 0 h 91"/>
                  <a:gd name="T14" fmla="*/ 1 w 43"/>
                  <a:gd name="T15" fmla="*/ 7 h 91"/>
                  <a:gd name="T16" fmla="*/ 6 w 43"/>
                  <a:gd name="T17" fmla="*/ 36 h 91"/>
                  <a:gd name="T18" fmla="*/ 9 w 43"/>
                  <a:gd name="T19" fmla="*/ 38 h 91"/>
                  <a:gd name="T20" fmla="*/ 9 w 43"/>
                  <a:gd name="T21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" h="91">
                    <a:moveTo>
                      <a:pt x="9" y="91"/>
                    </a:moveTo>
                    <a:cubicBezTo>
                      <a:pt x="31" y="91"/>
                      <a:pt x="31" y="91"/>
                      <a:pt x="31" y="91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7"/>
                      <a:pt x="35" y="37"/>
                      <a:pt x="35" y="37"/>
                    </a:cubicBezTo>
                    <a:cubicBezTo>
                      <a:pt x="41" y="5"/>
                      <a:pt x="41" y="5"/>
                      <a:pt x="41" y="5"/>
                    </a:cubicBezTo>
                    <a:cubicBezTo>
                      <a:pt x="41" y="5"/>
                      <a:pt x="43" y="0"/>
                      <a:pt x="36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2"/>
                      <a:pt x="1" y="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9" y="38"/>
                      <a:pt x="9" y="38"/>
                      <a:pt x="9" y="38"/>
                    </a:cubicBezTo>
                    <a:lnTo>
                      <a:pt x="9" y="9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CFAEA742-F724-4162-B81E-ECF0F431D8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087563" y="1622425"/>
                <a:ext cx="188913" cy="292100"/>
              </a:xfrm>
              <a:custGeom>
                <a:avLst/>
                <a:gdLst>
                  <a:gd name="T0" fmla="*/ 0 w 58"/>
                  <a:gd name="T1" fmla="*/ 9 h 89"/>
                  <a:gd name="T2" fmla="*/ 0 w 58"/>
                  <a:gd name="T3" fmla="*/ 89 h 89"/>
                  <a:gd name="T4" fmla="*/ 46 w 58"/>
                  <a:gd name="T5" fmla="*/ 89 h 89"/>
                  <a:gd name="T6" fmla="*/ 41 w 58"/>
                  <a:gd name="T7" fmla="*/ 84 h 89"/>
                  <a:gd name="T8" fmla="*/ 54 w 58"/>
                  <a:gd name="T9" fmla="*/ 74 h 89"/>
                  <a:gd name="T10" fmla="*/ 43 w 58"/>
                  <a:gd name="T11" fmla="*/ 61 h 89"/>
                  <a:gd name="T12" fmla="*/ 54 w 58"/>
                  <a:gd name="T13" fmla="*/ 49 h 89"/>
                  <a:gd name="T14" fmla="*/ 43 w 58"/>
                  <a:gd name="T15" fmla="*/ 38 h 89"/>
                  <a:gd name="T16" fmla="*/ 54 w 58"/>
                  <a:gd name="T17" fmla="*/ 27 h 89"/>
                  <a:gd name="T18" fmla="*/ 42 w 58"/>
                  <a:gd name="T19" fmla="*/ 14 h 89"/>
                  <a:gd name="T20" fmla="*/ 54 w 58"/>
                  <a:gd name="T21" fmla="*/ 5 h 89"/>
                  <a:gd name="T22" fmla="*/ 51 w 58"/>
                  <a:gd name="T23" fmla="*/ 0 h 89"/>
                  <a:gd name="T24" fmla="*/ 0 w 58"/>
                  <a:gd name="T25" fmla="*/ 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" h="89">
                    <a:moveTo>
                      <a:pt x="0" y="9"/>
                    </a:moveTo>
                    <a:cubicBezTo>
                      <a:pt x="0" y="89"/>
                      <a:pt x="0" y="89"/>
                      <a:pt x="0" y="89"/>
                    </a:cubicBezTo>
                    <a:cubicBezTo>
                      <a:pt x="46" y="89"/>
                      <a:pt x="46" y="89"/>
                      <a:pt x="46" y="89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54" y="74"/>
                      <a:pt x="54" y="74"/>
                      <a:pt x="54" y="74"/>
                    </a:cubicBezTo>
                    <a:cubicBezTo>
                      <a:pt x="43" y="61"/>
                      <a:pt x="43" y="61"/>
                      <a:pt x="43" y="61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43" y="38"/>
                      <a:pt x="43" y="38"/>
                      <a:pt x="43" y="38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4" y="5"/>
                      <a:pt x="58" y="0"/>
                      <a:pt x="51" y="0"/>
                    </a:cubicBezTo>
                    <a:lnTo>
                      <a:pt x="0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805ED30F-AC8B-4CE2-8120-290D4247D6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843088" y="1606550"/>
                <a:ext cx="220663" cy="307975"/>
              </a:xfrm>
              <a:custGeom>
                <a:avLst/>
                <a:gdLst>
                  <a:gd name="T0" fmla="*/ 26 w 67"/>
                  <a:gd name="T1" fmla="*/ 7 h 94"/>
                  <a:gd name="T2" fmla="*/ 26 w 67"/>
                  <a:gd name="T3" fmla="*/ 25 h 94"/>
                  <a:gd name="T4" fmla="*/ 40 w 67"/>
                  <a:gd name="T5" fmla="*/ 25 h 94"/>
                  <a:gd name="T6" fmla="*/ 40 w 67"/>
                  <a:gd name="T7" fmla="*/ 8 h 94"/>
                  <a:gd name="T8" fmla="*/ 50 w 67"/>
                  <a:gd name="T9" fmla="*/ 7 h 94"/>
                  <a:gd name="T10" fmla="*/ 66 w 67"/>
                  <a:gd name="T11" fmla="*/ 35 h 94"/>
                  <a:gd name="T12" fmla="*/ 50 w 67"/>
                  <a:gd name="T13" fmla="*/ 62 h 94"/>
                  <a:gd name="T14" fmla="*/ 50 w 67"/>
                  <a:gd name="T15" fmla="*/ 94 h 94"/>
                  <a:gd name="T16" fmla="*/ 18 w 67"/>
                  <a:gd name="T17" fmla="*/ 94 h 94"/>
                  <a:gd name="T18" fmla="*/ 18 w 67"/>
                  <a:gd name="T19" fmla="*/ 63 h 94"/>
                  <a:gd name="T20" fmla="*/ 1 w 67"/>
                  <a:gd name="T21" fmla="*/ 34 h 94"/>
                  <a:gd name="T22" fmla="*/ 19 w 67"/>
                  <a:gd name="T23" fmla="*/ 5 h 94"/>
                  <a:gd name="T24" fmla="*/ 26 w 67"/>
                  <a:gd name="T25" fmla="*/ 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94">
                    <a:moveTo>
                      <a:pt x="26" y="7"/>
                    </a:moveTo>
                    <a:cubicBezTo>
                      <a:pt x="26" y="25"/>
                      <a:pt x="26" y="25"/>
                      <a:pt x="26" y="25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40" y="8"/>
                      <a:pt x="40" y="0"/>
                      <a:pt x="50" y="7"/>
                    </a:cubicBezTo>
                    <a:cubicBezTo>
                      <a:pt x="50" y="7"/>
                      <a:pt x="67" y="15"/>
                      <a:pt x="66" y="35"/>
                    </a:cubicBezTo>
                    <a:cubicBezTo>
                      <a:pt x="66" y="35"/>
                      <a:pt x="65" y="56"/>
                      <a:pt x="50" y="62"/>
                    </a:cubicBezTo>
                    <a:cubicBezTo>
                      <a:pt x="50" y="94"/>
                      <a:pt x="50" y="94"/>
                      <a:pt x="50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63"/>
                      <a:pt x="18" y="63"/>
                      <a:pt x="18" y="63"/>
                    </a:cubicBezTo>
                    <a:cubicBezTo>
                      <a:pt x="18" y="63"/>
                      <a:pt x="0" y="53"/>
                      <a:pt x="1" y="34"/>
                    </a:cubicBezTo>
                    <a:cubicBezTo>
                      <a:pt x="1" y="34"/>
                      <a:pt x="1" y="14"/>
                      <a:pt x="19" y="5"/>
                    </a:cubicBezTo>
                    <a:cubicBezTo>
                      <a:pt x="19" y="5"/>
                      <a:pt x="26" y="1"/>
                      <a:pt x="26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1" name="Line 41">
                <a:extLst>
                  <a:ext uri="{FF2B5EF4-FFF2-40B4-BE49-F238E27FC236}">
                    <a16:creationId xmlns:a16="http://schemas.microsoft.com/office/drawing/2014/main" id="{BEC8A90C-0800-46EE-9491-BD616AF326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627188" y="2451100"/>
                <a:ext cx="0" cy="0"/>
              </a:xfrm>
              <a:prstGeom prst="line">
                <a:avLst/>
              </a:prstGeom>
              <a:grpFill/>
              <a:ln w="12700" cap="flat">
                <a:solidFill>
                  <a:srgbClr val="0B0C0B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" name="Freeform 42">
                <a:extLst>
                  <a:ext uri="{FF2B5EF4-FFF2-40B4-BE49-F238E27FC236}">
                    <a16:creationId xmlns:a16="http://schemas.microsoft.com/office/drawing/2014/main" id="{02A535EC-5895-4AFB-AAF3-53AC9B78A4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633538" y="2179638"/>
                <a:ext cx="304800" cy="349250"/>
              </a:xfrm>
              <a:custGeom>
                <a:avLst/>
                <a:gdLst>
                  <a:gd name="T0" fmla="*/ 0 w 93"/>
                  <a:gd name="T1" fmla="*/ 90 h 107"/>
                  <a:gd name="T2" fmla="*/ 0 w 93"/>
                  <a:gd name="T3" fmla="*/ 92 h 107"/>
                  <a:gd name="T4" fmla="*/ 20 w 93"/>
                  <a:gd name="T5" fmla="*/ 100 h 107"/>
                  <a:gd name="T6" fmla="*/ 20 w 93"/>
                  <a:gd name="T7" fmla="*/ 100 h 107"/>
                  <a:gd name="T8" fmla="*/ 84 w 93"/>
                  <a:gd name="T9" fmla="*/ 62 h 107"/>
                  <a:gd name="T10" fmla="*/ 84 w 93"/>
                  <a:gd name="T11" fmla="*/ 44 h 107"/>
                  <a:gd name="T12" fmla="*/ 14 w 93"/>
                  <a:gd name="T13" fmla="*/ 4 h 107"/>
                  <a:gd name="T14" fmla="*/ 0 w 93"/>
                  <a:gd name="T15" fmla="*/ 14 h 107"/>
                  <a:gd name="T16" fmla="*/ 0 w 93"/>
                  <a:gd name="T17" fmla="*/ 16 h 107"/>
                  <a:gd name="T18" fmla="*/ 38 w 93"/>
                  <a:gd name="T19" fmla="*/ 38 h 107"/>
                  <a:gd name="T20" fmla="*/ 37 w 93"/>
                  <a:gd name="T21" fmla="*/ 68 h 107"/>
                  <a:gd name="T22" fmla="*/ 0 w 93"/>
                  <a:gd name="T23" fmla="*/ 9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3" h="107">
                    <a:moveTo>
                      <a:pt x="0" y="90"/>
                    </a:moveTo>
                    <a:cubicBezTo>
                      <a:pt x="0" y="90"/>
                      <a:pt x="0" y="91"/>
                      <a:pt x="0" y="92"/>
                    </a:cubicBezTo>
                    <a:cubicBezTo>
                      <a:pt x="0" y="101"/>
                      <a:pt x="9" y="107"/>
                      <a:pt x="20" y="100"/>
                    </a:cubicBezTo>
                    <a:cubicBezTo>
                      <a:pt x="20" y="100"/>
                      <a:pt x="20" y="100"/>
                      <a:pt x="20" y="100"/>
                    </a:cubicBezTo>
                    <a:cubicBezTo>
                      <a:pt x="84" y="62"/>
                      <a:pt x="84" y="62"/>
                      <a:pt x="84" y="62"/>
                    </a:cubicBezTo>
                    <a:cubicBezTo>
                      <a:pt x="93" y="57"/>
                      <a:pt x="89" y="47"/>
                      <a:pt x="84" y="4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8" y="0"/>
                      <a:pt x="0" y="3"/>
                      <a:pt x="0" y="14"/>
                    </a:cubicBezTo>
                    <a:cubicBezTo>
                      <a:pt x="0" y="15"/>
                      <a:pt x="0" y="16"/>
                      <a:pt x="0" y="16"/>
                    </a:cubicBezTo>
                    <a:cubicBezTo>
                      <a:pt x="38" y="38"/>
                      <a:pt x="38" y="38"/>
                      <a:pt x="38" y="38"/>
                    </a:cubicBezTo>
                    <a:cubicBezTo>
                      <a:pt x="38" y="38"/>
                      <a:pt x="60" y="52"/>
                      <a:pt x="37" y="68"/>
                    </a:cubicBezTo>
                    <a:lnTo>
                      <a:pt x="0" y="9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" name="Freeform 43">
                <a:extLst>
                  <a:ext uri="{FF2B5EF4-FFF2-40B4-BE49-F238E27FC236}">
                    <a16:creationId xmlns:a16="http://schemas.microsoft.com/office/drawing/2014/main" id="{FB17E4C7-FEEE-4FC7-A2FF-7A1C9F52D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816101" y="2182813"/>
                <a:ext cx="304800" cy="346075"/>
              </a:xfrm>
              <a:custGeom>
                <a:avLst/>
                <a:gdLst>
                  <a:gd name="T0" fmla="*/ 85 w 93"/>
                  <a:gd name="T1" fmla="*/ 62 h 106"/>
                  <a:gd name="T2" fmla="*/ 85 w 93"/>
                  <a:gd name="T3" fmla="*/ 44 h 106"/>
                  <a:gd name="T4" fmla="*/ 15 w 93"/>
                  <a:gd name="T5" fmla="*/ 3 h 106"/>
                  <a:gd name="T6" fmla="*/ 0 w 93"/>
                  <a:gd name="T7" fmla="*/ 14 h 106"/>
                  <a:gd name="T8" fmla="*/ 0 w 93"/>
                  <a:gd name="T9" fmla="*/ 92 h 106"/>
                  <a:gd name="T10" fmla="*/ 20 w 93"/>
                  <a:gd name="T11" fmla="*/ 99 h 106"/>
                  <a:gd name="T12" fmla="*/ 20 w 93"/>
                  <a:gd name="T13" fmla="*/ 99 h 106"/>
                  <a:gd name="T14" fmla="*/ 85 w 93"/>
                  <a:gd name="T15" fmla="*/ 6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" h="106">
                    <a:moveTo>
                      <a:pt x="85" y="62"/>
                    </a:moveTo>
                    <a:cubicBezTo>
                      <a:pt x="93" y="57"/>
                      <a:pt x="90" y="47"/>
                      <a:pt x="85" y="44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8" y="0"/>
                      <a:pt x="0" y="3"/>
                      <a:pt x="0" y="14"/>
                    </a:cubicBezTo>
                    <a:cubicBezTo>
                      <a:pt x="0" y="39"/>
                      <a:pt x="0" y="66"/>
                      <a:pt x="0" y="92"/>
                    </a:cubicBezTo>
                    <a:cubicBezTo>
                      <a:pt x="0" y="101"/>
                      <a:pt x="9" y="106"/>
                      <a:pt x="20" y="99"/>
                    </a:cubicBezTo>
                    <a:cubicBezTo>
                      <a:pt x="20" y="99"/>
                      <a:pt x="20" y="99"/>
                      <a:pt x="20" y="99"/>
                    </a:cubicBezTo>
                    <a:lnTo>
                      <a:pt x="85" y="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268084D1-77AE-4D55-BED8-40B8E2846727}"/>
              </a:ext>
            </a:extLst>
          </p:cNvPr>
          <p:cNvGrpSpPr/>
          <p:nvPr/>
        </p:nvGrpSpPr>
        <p:grpSpPr>
          <a:xfrm>
            <a:off x="333623" y="2592238"/>
            <a:ext cx="648000" cy="648000"/>
            <a:chOff x="333623" y="2592238"/>
            <a:chExt cx="648000" cy="648000"/>
          </a:xfrm>
        </p:grpSpPr>
        <p:sp>
          <p:nvSpPr>
            <p:cNvPr id="45" name="Rectangle 20">
              <a:extLst>
                <a:ext uri="{FF2B5EF4-FFF2-40B4-BE49-F238E27FC236}">
                  <a16:creationId xmlns:a16="http://schemas.microsoft.com/office/drawing/2014/main" id="{0DB0AA5B-ECED-4FE0-9BCB-89D53E7BA727}"/>
                </a:ext>
              </a:extLst>
            </p:cNvPr>
            <p:cNvSpPr/>
            <p:nvPr/>
          </p:nvSpPr>
          <p:spPr>
            <a:xfrm>
              <a:off x="333623" y="2592238"/>
              <a:ext cx="648000" cy="648000"/>
            </a:xfrm>
            <a:prstGeom prst="ellipse">
              <a:avLst/>
            </a:prstGeom>
            <a:solidFill>
              <a:srgbClr val="69A5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" tIns="108000" rIns="162000" bIns="108000" rtlCol="0" anchor="b"/>
            <a:lstStyle/>
            <a:p>
              <a:endParaRPr lang="fr-FR" sz="1200" b="1" dirty="0">
                <a:solidFill>
                  <a:schemeClr val="tx1"/>
                </a:solidFill>
              </a:endParaRPr>
            </a:p>
          </p:txBody>
        </p:sp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2F72D619-9323-42F0-A091-0241568CD8F4}"/>
                </a:ext>
              </a:extLst>
            </p:cNvPr>
            <p:cNvGrpSpPr/>
            <p:nvPr/>
          </p:nvGrpSpPr>
          <p:grpSpPr>
            <a:xfrm>
              <a:off x="484740" y="2739445"/>
              <a:ext cx="345766" cy="353586"/>
              <a:chOff x="-1601788" y="1668463"/>
              <a:chExt cx="982663" cy="1004887"/>
            </a:xfrm>
            <a:solidFill>
              <a:schemeClr val="bg1"/>
            </a:solidFill>
          </p:grpSpPr>
          <p:sp>
            <p:nvSpPr>
              <p:cNvPr id="47" name="Freeform 47">
                <a:extLst>
                  <a:ext uri="{FF2B5EF4-FFF2-40B4-BE49-F238E27FC236}">
                    <a16:creationId xmlns:a16="http://schemas.microsoft.com/office/drawing/2014/main" id="{DBD53E0D-725E-461B-9B5D-0CA97A8086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601788" y="1668463"/>
                <a:ext cx="982663" cy="1004887"/>
              </a:xfrm>
              <a:custGeom>
                <a:avLst/>
                <a:gdLst>
                  <a:gd name="T0" fmla="*/ 280 w 300"/>
                  <a:gd name="T1" fmla="*/ 0 h 307"/>
                  <a:gd name="T2" fmla="*/ 20 w 300"/>
                  <a:gd name="T3" fmla="*/ 0 h 307"/>
                  <a:gd name="T4" fmla="*/ 0 w 300"/>
                  <a:gd name="T5" fmla="*/ 20 h 307"/>
                  <a:gd name="T6" fmla="*/ 0 w 300"/>
                  <a:gd name="T7" fmla="*/ 232 h 307"/>
                  <a:gd name="T8" fmla="*/ 20 w 300"/>
                  <a:gd name="T9" fmla="*/ 252 h 307"/>
                  <a:gd name="T10" fmla="*/ 104 w 300"/>
                  <a:gd name="T11" fmla="*/ 252 h 307"/>
                  <a:gd name="T12" fmla="*/ 79 w 300"/>
                  <a:gd name="T13" fmla="*/ 285 h 307"/>
                  <a:gd name="T14" fmla="*/ 88 w 300"/>
                  <a:gd name="T15" fmla="*/ 307 h 307"/>
                  <a:gd name="T16" fmla="*/ 212 w 300"/>
                  <a:gd name="T17" fmla="*/ 307 h 307"/>
                  <a:gd name="T18" fmla="*/ 219 w 300"/>
                  <a:gd name="T19" fmla="*/ 284 h 307"/>
                  <a:gd name="T20" fmla="*/ 194 w 300"/>
                  <a:gd name="T21" fmla="*/ 252 h 307"/>
                  <a:gd name="T22" fmla="*/ 280 w 300"/>
                  <a:gd name="T23" fmla="*/ 252 h 307"/>
                  <a:gd name="T24" fmla="*/ 300 w 300"/>
                  <a:gd name="T25" fmla="*/ 232 h 307"/>
                  <a:gd name="T26" fmla="*/ 300 w 300"/>
                  <a:gd name="T27" fmla="*/ 20 h 307"/>
                  <a:gd name="T28" fmla="*/ 280 w 300"/>
                  <a:gd name="T29" fmla="*/ 0 h 307"/>
                  <a:gd name="T30" fmla="*/ 136 w 300"/>
                  <a:gd name="T31" fmla="*/ 224 h 307"/>
                  <a:gd name="T32" fmla="*/ 149 w 300"/>
                  <a:gd name="T33" fmla="*/ 211 h 307"/>
                  <a:gd name="T34" fmla="*/ 163 w 300"/>
                  <a:gd name="T35" fmla="*/ 224 h 307"/>
                  <a:gd name="T36" fmla="*/ 149 w 300"/>
                  <a:gd name="T37" fmla="*/ 237 h 307"/>
                  <a:gd name="T38" fmla="*/ 136 w 300"/>
                  <a:gd name="T39" fmla="*/ 224 h 307"/>
                  <a:gd name="T40" fmla="*/ 273 w 300"/>
                  <a:gd name="T41" fmla="*/ 186 h 307"/>
                  <a:gd name="T42" fmla="*/ 24 w 300"/>
                  <a:gd name="T43" fmla="*/ 186 h 307"/>
                  <a:gd name="T44" fmla="*/ 24 w 300"/>
                  <a:gd name="T45" fmla="*/ 25 h 307"/>
                  <a:gd name="T46" fmla="*/ 273 w 300"/>
                  <a:gd name="T47" fmla="*/ 25 h 307"/>
                  <a:gd name="T48" fmla="*/ 273 w 300"/>
                  <a:gd name="T49" fmla="*/ 186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00" h="307">
                    <a:moveTo>
                      <a:pt x="280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43"/>
                      <a:pt x="9" y="252"/>
                      <a:pt x="20" y="252"/>
                    </a:cubicBezTo>
                    <a:cubicBezTo>
                      <a:pt x="104" y="252"/>
                      <a:pt x="104" y="252"/>
                      <a:pt x="104" y="252"/>
                    </a:cubicBezTo>
                    <a:cubicBezTo>
                      <a:pt x="79" y="285"/>
                      <a:pt x="79" y="285"/>
                      <a:pt x="79" y="285"/>
                    </a:cubicBezTo>
                    <a:cubicBezTo>
                      <a:pt x="79" y="285"/>
                      <a:pt x="65" y="307"/>
                      <a:pt x="88" y="307"/>
                    </a:cubicBezTo>
                    <a:cubicBezTo>
                      <a:pt x="212" y="307"/>
                      <a:pt x="212" y="307"/>
                      <a:pt x="212" y="307"/>
                    </a:cubicBezTo>
                    <a:cubicBezTo>
                      <a:pt x="212" y="307"/>
                      <a:pt x="235" y="301"/>
                      <a:pt x="219" y="284"/>
                    </a:cubicBezTo>
                    <a:cubicBezTo>
                      <a:pt x="194" y="252"/>
                      <a:pt x="194" y="252"/>
                      <a:pt x="194" y="252"/>
                    </a:cubicBezTo>
                    <a:cubicBezTo>
                      <a:pt x="280" y="252"/>
                      <a:pt x="280" y="252"/>
                      <a:pt x="280" y="252"/>
                    </a:cubicBezTo>
                    <a:cubicBezTo>
                      <a:pt x="291" y="252"/>
                      <a:pt x="300" y="243"/>
                      <a:pt x="300" y="232"/>
                    </a:cubicBezTo>
                    <a:cubicBezTo>
                      <a:pt x="300" y="20"/>
                      <a:pt x="300" y="20"/>
                      <a:pt x="300" y="20"/>
                    </a:cubicBezTo>
                    <a:cubicBezTo>
                      <a:pt x="300" y="9"/>
                      <a:pt x="291" y="0"/>
                      <a:pt x="280" y="0"/>
                    </a:cubicBezTo>
                    <a:close/>
                    <a:moveTo>
                      <a:pt x="136" y="224"/>
                    </a:moveTo>
                    <a:cubicBezTo>
                      <a:pt x="136" y="217"/>
                      <a:pt x="142" y="211"/>
                      <a:pt x="149" y="211"/>
                    </a:cubicBezTo>
                    <a:cubicBezTo>
                      <a:pt x="157" y="211"/>
                      <a:pt x="163" y="217"/>
                      <a:pt x="163" y="224"/>
                    </a:cubicBezTo>
                    <a:cubicBezTo>
                      <a:pt x="163" y="231"/>
                      <a:pt x="157" y="237"/>
                      <a:pt x="149" y="237"/>
                    </a:cubicBezTo>
                    <a:cubicBezTo>
                      <a:pt x="142" y="237"/>
                      <a:pt x="136" y="231"/>
                      <a:pt x="136" y="224"/>
                    </a:cubicBezTo>
                    <a:close/>
                    <a:moveTo>
                      <a:pt x="273" y="186"/>
                    </a:moveTo>
                    <a:cubicBezTo>
                      <a:pt x="24" y="186"/>
                      <a:pt x="24" y="186"/>
                      <a:pt x="24" y="186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73" y="25"/>
                      <a:pt x="273" y="25"/>
                      <a:pt x="273" y="25"/>
                    </a:cubicBezTo>
                    <a:lnTo>
                      <a:pt x="273" y="1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" name="Freeform 48">
                <a:extLst>
                  <a:ext uri="{FF2B5EF4-FFF2-40B4-BE49-F238E27FC236}">
                    <a16:creationId xmlns:a16="http://schemas.microsoft.com/office/drawing/2014/main" id="{C0CA285D-0EBE-411D-B2BD-9B02C319F6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04938" y="2100263"/>
                <a:ext cx="71438" cy="92075"/>
              </a:xfrm>
              <a:custGeom>
                <a:avLst/>
                <a:gdLst>
                  <a:gd name="T0" fmla="*/ 18 w 22"/>
                  <a:gd name="T1" fmla="*/ 28 h 28"/>
                  <a:gd name="T2" fmla="*/ 4 w 22"/>
                  <a:gd name="T3" fmla="*/ 28 h 28"/>
                  <a:gd name="T4" fmla="*/ 0 w 22"/>
                  <a:gd name="T5" fmla="*/ 24 h 28"/>
                  <a:gd name="T6" fmla="*/ 0 w 22"/>
                  <a:gd name="T7" fmla="*/ 4 h 28"/>
                  <a:gd name="T8" fmla="*/ 4 w 22"/>
                  <a:gd name="T9" fmla="*/ 0 h 28"/>
                  <a:gd name="T10" fmla="*/ 18 w 22"/>
                  <a:gd name="T11" fmla="*/ 0 h 28"/>
                  <a:gd name="T12" fmla="*/ 22 w 22"/>
                  <a:gd name="T13" fmla="*/ 4 h 28"/>
                  <a:gd name="T14" fmla="*/ 22 w 22"/>
                  <a:gd name="T15" fmla="*/ 24 h 28"/>
                  <a:gd name="T16" fmla="*/ 18 w 22"/>
                  <a:gd name="T1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8">
                    <a:moveTo>
                      <a:pt x="18" y="28"/>
                    </a:moveTo>
                    <a:cubicBezTo>
                      <a:pt x="4" y="28"/>
                      <a:pt x="4" y="28"/>
                      <a:pt x="4" y="28"/>
                    </a:cubicBezTo>
                    <a:cubicBezTo>
                      <a:pt x="2" y="28"/>
                      <a:pt x="0" y="26"/>
                      <a:pt x="0" y="2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1" y="0"/>
                      <a:pt x="22" y="2"/>
                      <a:pt x="22" y="4"/>
                    </a:cubicBezTo>
                    <a:cubicBezTo>
                      <a:pt x="22" y="24"/>
                      <a:pt x="22" y="24"/>
                      <a:pt x="22" y="24"/>
                    </a:cubicBezTo>
                    <a:cubicBezTo>
                      <a:pt x="22" y="26"/>
                      <a:pt x="21" y="28"/>
                      <a:pt x="18" y="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9" name="Freeform 49">
                <a:extLst>
                  <a:ext uri="{FF2B5EF4-FFF2-40B4-BE49-F238E27FC236}">
                    <a16:creationId xmlns:a16="http://schemas.microsoft.com/office/drawing/2014/main" id="{74E98FE2-8B1F-4986-89C6-2877A1A65A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96988" y="2047875"/>
                <a:ext cx="74613" cy="144462"/>
              </a:xfrm>
              <a:custGeom>
                <a:avLst/>
                <a:gdLst>
                  <a:gd name="T0" fmla="*/ 19 w 23"/>
                  <a:gd name="T1" fmla="*/ 44 h 44"/>
                  <a:gd name="T2" fmla="*/ 4 w 23"/>
                  <a:gd name="T3" fmla="*/ 44 h 44"/>
                  <a:gd name="T4" fmla="*/ 0 w 23"/>
                  <a:gd name="T5" fmla="*/ 40 h 44"/>
                  <a:gd name="T6" fmla="*/ 0 w 23"/>
                  <a:gd name="T7" fmla="*/ 4 h 44"/>
                  <a:gd name="T8" fmla="*/ 4 w 23"/>
                  <a:gd name="T9" fmla="*/ 0 h 44"/>
                  <a:gd name="T10" fmla="*/ 19 w 23"/>
                  <a:gd name="T11" fmla="*/ 0 h 44"/>
                  <a:gd name="T12" fmla="*/ 23 w 23"/>
                  <a:gd name="T13" fmla="*/ 4 h 44"/>
                  <a:gd name="T14" fmla="*/ 23 w 23"/>
                  <a:gd name="T15" fmla="*/ 40 h 44"/>
                  <a:gd name="T16" fmla="*/ 19 w 23"/>
                  <a:gd name="T1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44">
                    <a:moveTo>
                      <a:pt x="19" y="44"/>
                    </a:moveTo>
                    <a:cubicBezTo>
                      <a:pt x="4" y="44"/>
                      <a:pt x="4" y="44"/>
                      <a:pt x="4" y="44"/>
                    </a:cubicBezTo>
                    <a:cubicBezTo>
                      <a:pt x="2" y="44"/>
                      <a:pt x="0" y="42"/>
                      <a:pt x="0" y="4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1" y="0"/>
                      <a:pt x="23" y="2"/>
                      <a:pt x="23" y="4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23" y="42"/>
                      <a:pt x="21" y="44"/>
                      <a:pt x="19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0" name="Freeform 50">
                <a:extLst>
                  <a:ext uri="{FF2B5EF4-FFF2-40B4-BE49-F238E27FC236}">
                    <a16:creationId xmlns:a16="http://schemas.microsoft.com/office/drawing/2014/main" id="{1C077734-109E-4BDC-B0B6-5D6573002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85863" y="2001838"/>
                <a:ext cx="71438" cy="190500"/>
              </a:xfrm>
              <a:custGeom>
                <a:avLst/>
                <a:gdLst>
                  <a:gd name="T0" fmla="*/ 18 w 22"/>
                  <a:gd name="T1" fmla="*/ 58 h 58"/>
                  <a:gd name="T2" fmla="*/ 4 w 22"/>
                  <a:gd name="T3" fmla="*/ 58 h 58"/>
                  <a:gd name="T4" fmla="*/ 0 w 22"/>
                  <a:gd name="T5" fmla="*/ 54 h 58"/>
                  <a:gd name="T6" fmla="*/ 0 w 22"/>
                  <a:gd name="T7" fmla="*/ 4 h 58"/>
                  <a:gd name="T8" fmla="*/ 4 w 22"/>
                  <a:gd name="T9" fmla="*/ 0 h 58"/>
                  <a:gd name="T10" fmla="*/ 18 w 22"/>
                  <a:gd name="T11" fmla="*/ 0 h 58"/>
                  <a:gd name="T12" fmla="*/ 22 w 22"/>
                  <a:gd name="T13" fmla="*/ 4 h 58"/>
                  <a:gd name="T14" fmla="*/ 22 w 22"/>
                  <a:gd name="T15" fmla="*/ 54 h 58"/>
                  <a:gd name="T16" fmla="*/ 18 w 22"/>
                  <a:gd name="T17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58">
                    <a:moveTo>
                      <a:pt x="18" y="58"/>
                    </a:moveTo>
                    <a:cubicBezTo>
                      <a:pt x="4" y="58"/>
                      <a:pt x="4" y="58"/>
                      <a:pt x="4" y="58"/>
                    </a:cubicBezTo>
                    <a:cubicBezTo>
                      <a:pt x="2" y="58"/>
                      <a:pt x="0" y="56"/>
                      <a:pt x="0" y="5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0" y="0"/>
                      <a:pt x="22" y="2"/>
                      <a:pt x="22" y="4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2" y="56"/>
                      <a:pt x="20" y="58"/>
                      <a:pt x="18" y="5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1" name="Freeform 51">
                <a:extLst>
                  <a:ext uri="{FF2B5EF4-FFF2-40B4-BE49-F238E27FC236}">
                    <a16:creationId xmlns:a16="http://schemas.microsoft.com/office/drawing/2014/main" id="{E682990F-3020-4741-8498-FD64BFCE40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5050" y="2120900"/>
                <a:ext cx="215900" cy="74612"/>
              </a:xfrm>
              <a:custGeom>
                <a:avLst/>
                <a:gdLst>
                  <a:gd name="T0" fmla="*/ 0 w 66"/>
                  <a:gd name="T1" fmla="*/ 19 h 23"/>
                  <a:gd name="T2" fmla="*/ 0 w 66"/>
                  <a:gd name="T3" fmla="*/ 4 h 23"/>
                  <a:gd name="T4" fmla="*/ 4 w 66"/>
                  <a:gd name="T5" fmla="*/ 0 h 23"/>
                  <a:gd name="T6" fmla="*/ 62 w 66"/>
                  <a:gd name="T7" fmla="*/ 0 h 23"/>
                  <a:gd name="T8" fmla="*/ 66 w 66"/>
                  <a:gd name="T9" fmla="*/ 4 h 23"/>
                  <a:gd name="T10" fmla="*/ 66 w 66"/>
                  <a:gd name="T11" fmla="*/ 19 h 23"/>
                  <a:gd name="T12" fmla="*/ 62 w 66"/>
                  <a:gd name="T13" fmla="*/ 23 h 23"/>
                  <a:gd name="T14" fmla="*/ 4 w 66"/>
                  <a:gd name="T15" fmla="*/ 23 h 23"/>
                  <a:gd name="T16" fmla="*/ 0 w 66"/>
                  <a:gd name="T17" fmla="*/ 1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" h="23">
                    <a:moveTo>
                      <a:pt x="0" y="19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4" y="0"/>
                      <a:pt x="66" y="2"/>
                      <a:pt x="66" y="4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6" y="21"/>
                      <a:pt x="64" y="23"/>
                      <a:pt x="62" y="23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2" y="23"/>
                      <a:pt x="0" y="21"/>
                      <a:pt x="0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2" name="Freeform 52">
                <a:extLst>
                  <a:ext uri="{FF2B5EF4-FFF2-40B4-BE49-F238E27FC236}">
                    <a16:creationId xmlns:a16="http://schemas.microsoft.com/office/drawing/2014/main" id="{3F7CC235-C5CD-48B2-B880-341852006E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14463" y="1835150"/>
                <a:ext cx="293688" cy="233362"/>
              </a:xfrm>
              <a:custGeom>
                <a:avLst/>
                <a:gdLst>
                  <a:gd name="T0" fmla="*/ 81 w 90"/>
                  <a:gd name="T1" fmla="*/ 2 h 71"/>
                  <a:gd name="T2" fmla="*/ 64 w 90"/>
                  <a:gd name="T3" fmla="*/ 9 h 71"/>
                  <a:gd name="T4" fmla="*/ 61 w 90"/>
                  <a:gd name="T5" fmla="*/ 14 h 71"/>
                  <a:gd name="T6" fmla="*/ 68 w 90"/>
                  <a:gd name="T7" fmla="*/ 20 h 71"/>
                  <a:gd name="T8" fmla="*/ 50 w 90"/>
                  <a:gd name="T9" fmla="*/ 42 h 71"/>
                  <a:gd name="T10" fmla="*/ 31 w 90"/>
                  <a:gd name="T11" fmla="*/ 27 h 71"/>
                  <a:gd name="T12" fmla="*/ 2 w 90"/>
                  <a:gd name="T13" fmla="*/ 61 h 71"/>
                  <a:gd name="T14" fmla="*/ 3 w 90"/>
                  <a:gd name="T15" fmla="*/ 70 h 71"/>
                  <a:gd name="T16" fmla="*/ 7 w 90"/>
                  <a:gd name="T17" fmla="*/ 71 h 71"/>
                  <a:gd name="T18" fmla="*/ 12 w 90"/>
                  <a:gd name="T19" fmla="*/ 69 h 71"/>
                  <a:gd name="T20" fmla="*/ 33 w 90"/>
                  <a:gd name="T21" fmla="*/ 44 h 71"/>
                  <a:gd name="T22" fmla="*/ 52 w 90"/>
                  <a:gd name="T23" fmla="*/ 59 h 71"/>
                  <a:gd name="T24" fmla="*/ 77 w 90"/>
                  <a:gd name="T25" fmla="*/ 27 h 71"/>
                  <a:gd name="T26" fmla="*/ 81 w 90"/>
                  <a:gd name="T27" fmla="*/ 30 h 71"/>
                  <a:gd name="T28" fmla="*/ 88 w 90"/>
                  <a:gd name="T29" fmla="*/ 25 h 71"/>
                  <a:gd name="T30" fmla="*/ 88 w 90"/>
                  <a:gd name="T31" fmla="*/ 6 h 71"/>
                  <a:gd name="T32" fmla="*/ 81 w 90"/>
                  <a:gd name="T33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71">
                    <a:moveTo>
                      <a:pt x="81" y="2"/>
                    </a:moveTo>
                    <a:cubicBezTo>
                      <a:pt x="64" y="9"/>
                      <a:pt x="64" y="9"/>
                      <a:pt x="64" y="9"/>
                    </a:cubicBezTo>
                    <a:cubicBezTo>
                      <a:pt x="64" y="9"/>
                      <a:pt x="58" y="10"/>
                      <a:pt x="61" y="14"/>
                    </a:cubicBezTo>
                    <a:cubicBezTo>
                      <a:pt x="68" y="20"/>
                      <a:pt x="68" y="20"/>
                      <a:pt x="68" y="20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2" y="61"/>
                      <a:pt x="2" y="61"/>
                      <a:pt x="2" y="61"/>
                    </a:cubicBezTo>
                    <a:cubicBezTo>
                      <a:pt x="0" y="64"/>
                      <a:pt x="1" y="68"/>
                      <a:pt x="3" y="70"/>
                    </a:cubicBezTo>
                    <a:cubicBezTo>
                      <a:pt x="4" y="71"/>
                      <a:pt x="6" y="71"/>
                      <a:pt x="7" y="71"/>
                    </a:cubicBezTo>
                    <a:cubicBezTo>
                      <a:pt x="9" y="71"/>
                      <a:pt x="10" y="70"/>
                      <a:pt x="12" y="69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52" y="59"/>
                      <a:pt x="52" y="59"/>
                      <a:pt x="52" y="59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81" y="30"/>
                      <a:pt x="81" y="30"/>
                      <a:pt x="81" y="30"/>
                    </a:cubicBezTo>
                    <a:cubicBezTo>
                      <a:pt x="81" y="30"/>
                      <a:pt x="88" y="34"/>
                      <a:pt x="88" y="25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8" y="6"/>
                      <a:pt x="90" y="0"/>
                      <a:pt x="81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3" name="Freeform 53">
                <a:extLst>
                  <a:ext uri="{FF2B5EF4-FFF2-40B4-BE49-F238E27FC236}">
                    <a16:creationId xmlns:a16="http://schemas.microsoft.com/office/drawing/2014/main" id="{ABC3B62B-AC02-4726-9A95-8CCEBC3043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1400" y="1862138"/>
                <a:ext cx="219075" cy="198437"/>
              </a:xfrm>
              <a:custGeom>
                <a:avLst/>
                <a:gdLst>
                  <a:gd name="T0" fmla="*/ 67 w 67"/>
                  <a:gd name="T1" fmla="*/ 32 h 61"/>
                  <a:gd name="T2" fmla="*/ 34 w 67"/>
                  <a:gd name="T3" fmla="*/ 61 h 61"/>
                  <a:gd name="T4" fmla="*/ 0 w 67"/>
                  <a:gd name="T5" fmla="*/ 27 h 61"/>
                  <a:gd name="T6" fmla="*/ 13 w 67"/>
                  <a:gd name="T7" fmla="*/ 0 h 61"/>
                  <a:gd name="T8" fmla="*/ 34 w 67"/>
                  <a:gd name="T9" fmla="*/ 32 h 61"/>
                  <a:gd name="T10" fmla="*/ 67 w 67"/>
                  <a:gd name="T11" fmla="*/ 3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" h="61">
                    <a:moveTo>
                      <a:pt x="67" y="32"/>
                    </a:moveTo>
                    <a:cubicBezTo>
                      <a:pt x="65" y="49"/>
                      <a:pt x="51" y="61"/>
                      <a:pt x="34" y="61"/>
                    </a:cubicBezTo>
                    <a:cubicBezTo>
                      <a:pt x="15" y="61"/>
                      <a:pt x="0" y="46"/>
                      <a:pt x="0" y="27"/>
                    </a:cubicBezTo>
                    <a:cubicBezTo>
                      <a:pt x="0" y="16"/>
                      <a:pt x="5" y="7"/>
                      <a:pt x="13" y="0"/>
                    </a:cubicBezTo>
                    <a:cubicBezTo>
                      <a:pt x="34" y="32"/>
                      <a:pt x="34" y="32"/>
                      <a:pt x="34" y="32"/>
                    </a:cubicBezTo>
                    <a:lnTo>
                      <a:pt x="67" y="3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4" name="Freeform 54">
                <a:extLst>
                  <a:ext uri="{FF2B5EF4-FFF2-40B4-BE49-F238E27FC236}">
                    <a16:creationId xmlns:a16="http://schemas.microsoft.com/office/drawing/2014/main" id="{BDB0BF77-B7E2-4CAA-BFB7-A9C20CA98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69963" y="1841500"/>
                <a:ext cx="147638" cy="92075"/>
              </a:xfrm>
              <a:custGeom>
                <a:avLst/>
                <a:gdLst>
                  <a:gd name="T0" fmla="*/ 45 w 45"/>
                  <a:gd name="T1" fmla="*/ 28 h 28"/>
                  <a:gd name="T2" fmla="*/ 12 w 45"/>
                  <a:gd name="T3" fmla="*/ 0 h 28"/>
                  <a:gd name="T4" fmla="*/ 0 w 45"/>
                  <a:gd name="T5" fmla="*/ 2 h 28"/>
                  <a:gd name="T6" fmla="*/ 16 w 45"/>
                  <a:gd name="T7" fmla="*/ 28 h 28"/>
                  <a:gd name="T8" fmla="*/ 45 w 45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28">
                    <a:moveTo>
                      <a:pt x="45" y="28"/>
                    </a:moveTo>
                    <a:cubicBezTo>
                      <a:pt x="42" y="12"/>
                      <a:pt x="28" y="0"/>
                      <a:pt x="12" y="0"/>
                    </a:cubicBezTo>
                    <a:cubicBezTo>
                      <a:pt x="9" y="0"/>
                      <a:pt x="3" y="0"/>
                      <a:pt x="0" y="2"/>
                    </a:cubicBezTo>
                    <a:cubicBezTo>
                      <a:pt x="16" y="28"/>
                      <a:pt x="16" y="28"/>
                      <a:pt x="16" y="28"/>
                    </a:cubicBezTo>
                    <a:lnTo>
                      <a:pt x="45" y="2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561F8C6E-3DF1-4CE8-9B3E-34FC7C09634F}"/>
              </a:ext>
            </a:extLst>
          </p:cNvPr>
          <p:cNvGrpSpPr/>
          <p:nvPr/>
        </p:nvGrpSpPr>
        <p:grpSpPr>
          <a:xfrm>
            <a:off x="333623" y="3312887"/>
            <a:ext cx="648000" cy="648000"/>
            <a:chOff x="333623" y="3312887"/>
            <a:chExt cx="648000" cy="648000"/>
          </a:xfrm>
        </p:grpSpPr>
        <p:sp>
          <p:nvSpPr>
            <p:cNvPr id="56" name="Rectangle 20">
              <a:extLst>
                <a:ext uri="{FF2B5EF4-FFF2-40B4-BE49-F238E27FC236}">
                  <a16:creationId xmlns:a16="http://schemas.microsoft.com/office/drawing/2014/main" id="{738FBF01-3FF0-4AA6-BA26-42148FE1FB22}"/>
                </a:ext>
              </a:extLst>
            </p:cNvPr>
            <p:cNvSpPr/>
            <p:nvPr/>
          </p:nvSpPr>
          <p:spPr>
            <a:xfrm>
              <a:off x="333623" y="3312887"/>
              <a:ext cx="648000" cy="648000"/>
            </a:xfrm>
            <a:prstGeom prst="ellipse">
              <a:avLst/>
            </a:prstGeom>
            <a:solidFill>
              <a:srgbClr val="8ECC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" tIns="108000" rIns="162000" bIns="108000" rtlCol="0" anchor="b"/>
            <a:lstStyle/>
            <a:p>
              <a:endParaRPr lang="fr-FR" sz="1200" b="1" dirty="0">
                <a:solidFill>
                  <a:schemeClr val="tx1"/>
                </a:solidFill>
              </a:endParaRPr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A84E6EA-BDC3-485A-B111-8D6434C3DC7B}"/>
                </a:ext>
              </a:extLst>
            </p:cNvPr>
            <p:cNvGrpSpPr/>
            <p:nvPr/>
          </p:nvGrpSpPr>
          <p:grpSpPr>
            <a:xfrm>
              <a:off x="444384" y="3454233"/>
              <a:ext cx="426479" cy="365308"/>
              <a:chOff x="4775200" y="-1482725"/>
              <a:chExt cx="1184276" cy="1014412"/>
            </a:xfrm>
            <a:solidFill>
              <a:schemeClr val="bg1"/>
            </a:solidFill>
          </p:grpSpPr>
          <p:sp>
            <p:nvSpPr>
              <p:cNvPr id="58" name="Freeform 59">
                <a:extLst>
                  <a:ext uri="{FF2B5EF4-FFF2-40B4-BE49-F238E27FC236}">
                    <a16:creationId xmlns:a16="http://schemas.microsoft.com/office/drawing/2014/main" id="{D92B4C17-2455-4443-A879-88E5CDDF74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72088" y="-1482725"/>
                <a:ext cx="363538" cy="314325"/>
              </a:xfrm>
              <a:custGeom>
                <a:avLst/>
                <a:gdLst>
                  <a:gd name="T0" fmla="*/ 83 w 111"/>
                  <a:gd name="T1" fmla="*/ 0 h 96"/>
                  <a:gd name="T2" fmla="*/ 28 w 111"/>
                  <a:gd name="T3" fmla="*/ 0 h 96"/>
                  <a:gd name="T4" fmla="*/ 0 w 111"/>
                  <a:gd name="T5" fmla="*/ 48 h 96"/>
                  <a:gd name="T6" fmla="*/ 28 w 111"/>
                  <a:gd name="T7" fmla="*/ 96 h 96"/>
                  <a:gd name="T8" fmla="*/ 83 w 111"/>
                  <a:gd name="T9" fmla="*/ 96 h 96"/>
                  <a:gd name="T10" fmla="*/ 111 w 111"/>
                  <a:gd name="T11" fmla="*/ 48 h 96"/>
                  <a:gd name="T12" fmla="*/ 83 w 111"/>
                  <a:gd name="T13" fmla="*/ 0 h 96"/>
                  <a:gd name="T14" fmla="*/ 80 w 111"/>
                  <a:gd name="T15" fmla="*/ 53 h 96"/>
                  <a:gd name="T16" fmla="*/ 77 w 111"/>
                  <a:gd name="T17" fmla="*/ 54 h 96"/>
                  <a:gd name="T18" fmla="*/ 72 w 111"/>
                  <a:gd name="T19" fmla="*/ 51 h 96"/>
                  <a:gd name="T20" fmla="*/ 62 w 111"/>
                  <a:gd name="T21" fmla="*/ 34 h 96"/>
                  <a:gd name="T22" fmla="*/ 41 w 111"/>
                  <a:gd name="T23" fmla="*/ 34 h 96"/>
                  <a:gd name="T24" fmla="*/ 35 w 111"/>
                  <a:gd name="T25" fmla="*/ 28 h 96"/>
                  <a:gd name="T26" fmla="*/ 41 w 111"/>
                  <a:gd name="T27" fmla="*/ 22 h 96"/>
                  <a:gd name="T28" fmla="*/ 69 w 111"/>
                  <a:gd name="T29" fmla="*/ 22 h 96"/>
                  <a:gd name="T30" fmla="*/ 82 w 111"/>
                  <a:gd name="T31" fmla="*/ 45 h 96"/>
                  <a:gd name="T32" fmla="*/ 80 w 111"/>
                  <a:gd name="T33" fmla="*/ 5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1" h="96">
                    <a:moveTo>
                      <a:pt x="83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28" y="96"/>
                      <a:pt x="28" y="96"/>
                      <a:pt x="28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111" y="48"/>
                      <a:pt x="111" y="48"/>
                      <a:pt x="111" y="48"/>
                    </a:cubicBezTo>
                    <a:lnTo>
                      <a:pt x="83" y="0"/>
                    </a:lnTo>
                    <a:close/>
                    <a:moveTo>
                      <a:pt x="80" y="53"/>
                    </a:moveTo>
                    <a:cubicBezTo>
                      <a:pt x="79" y="54"/>
                      <a:pt x="78" y="54"/>
                      <a:pt x="77" y="54"/>
                    </a:cubicBezTo>
                    <a:cubicBezTo>
                      <a:pt x="75" y="54"/>
                      <a:pt x="73" y="53"/>
                      <a:pt x="72" y="51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41" y="34"/>
                      <a:pt x="41" y="34"/>
                      <a:pt x="41" y="34"/>
                    </a:cubicBezTo>
                    <a:cubicBezTo>
                      <a:pt x="37" y="34"/>
                      <a:pt x="35" y="31"/>
                      <a:pt x="35" y="28"/>
                    </a:cubicBezTo>
                    <a:cubicBezTo>
                      <a:pt x="35" y="24"/>
                      <a:pt x="37" y="22"/>
                      <a:pt x="41" y="22"/>
                    </a:cubicBezTo>
                    <a:cubicBezTo>
                      <a:pt x="69" y="22"/>
                      <a:pt x="69" y="22"/>
                      <a:pt x="69" y="22"/>
                    </a:cubicBezTo>
                    <a:cubicBezTo>
                      <a:pt x="82" y="45"/>
                      <a:pt x="82" y="45"/>
                      <a:pt x="82" y="45"/>
                    </a:cubicBezTo>
                    <a:cubicBezTo>
                      <a:pt x="84" y="48"/>
                      <a:pt x="83" y="51"/>
                      <a:pt x="80" y="5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9" name="Freeform 60">
                <a:extLst>
                  <a:ext uri="{FF2B5EF4-FFF2-40B4-BE49-F238E27FC236}">
                    <a16:creationId xmlns:a16="http://schemas.microsoft.com/office/drawing/2014/main" id="{5FEF1EB5-577D-4952-A9B7-6A211B6A85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5200" y="-1201738"/>
                <a:ext cx="363538" cy="314325"/>
              </a:xfrm>
              <a:custGeom>
                <a:avLst/>
                <a:gdLst>
                  <a:gd name="T0" fmla="*/ 83 w 111"/>
                  <a:gd name="T1" fmla="*/ 0 h 96"/>
                  <a:gd name="T2" fmla="*/ 28 w 111"/>
                  <a:gd name="T3" fmla="*/ 0 h 96"/>
                  <a:gd name="T4" fmla="*/ 0 w 111"/>
                  <a:gd name="T5" fmla="*/ 48 h 96"/>
                  <a:gd name="T6" fmla="*/ 28 w 111"/>
                  <a:gd name="T7" fmla="*/ 96 h 96"/>
                  <a:gd name="T8" fmla="*/ 83 w 111"/>
                  <a:gd name="T9" fmla="*/ 96 h 96"/>
                  <a:gd name="T10" fmla="*/ 111 w 111"/>
                  <a:gd name="T11" fmla="*/ 48 h 96"/>
                  <a:gd name="T12" fmla="*/ 83 w 111"/>
                  <a:gd name="T13" fmla="*/ 0 h 96"/>
                  <a:gd name="T14" fmla="*/ 80 w 111"/>
                  <a:gd name="T15" fmla="*/ 53 h 96"/>
                  <a:gd name="T16" fmla="*/ 77 w 111"/>
                  <a:gd name="T17" fmla="*/ 54 h 96"/>
                  <a:gd name="T18" fmla="*/ 71 w 111"/>
                  <a:gd name="T19" fmla="*/ 51 h 96"/>
                  <a:gd name="T20" fmla="*/ 62 w 111"/>
                  <a:gd name="T21" fmla="*/ 34 h 96"/>
                  <a:gd name="T22" fmla="*/ 40 w 111"/>
                  <a:gd name="T23" fmla="*/ 34 h 96"/>
                  <a:gd name="T24" fmla="*/ 34 w 111"/>
                  <a:gd name="T25" fmla="*/ 28 h 96"/>
                  <a:gd name="T26" fmla="*/ 40 w 111"/>
                  <a:gd name="T27" fmla="*/ 22 h 96"/>
                  <a:gd name="T28" fmla="*/ 69 w 111"/>
                  <a:gd name="T29" fmla="*/ 22 h 96"/>
                  <a:gd name="T30" fmla="*/ 82 w 111"/>
                  <a:gd name="T31" fmla="*/ 45 h 96"/>
                  <a:gd name="T32" fmla="*/ 80 w 111"/>
                  <a:gd name="T33" fmla="*/ 5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1" h="96">
                    <a:moveTo>
                      <a:pt x="83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28" y="96"/>
                      <a:pt x="28" y="96"/>
                      <a:pt x="28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111" y="48"/>
                      <a:pt x="111" y="48"/>
                      <a:pt x="111" y="48"/>
                    </a:cubicBezTo>
                    <a:lnTo>
                      <a:pt x="83" y="0"/>
                    </a:lnTo>
                    <a:close/>
                    <a:moveTo>
                      <a:pt x="80" y="53"/>
                    </a:moveTo>
                    <a:cubicBezTo>
                      <a:pt x="79" y="54"/>
                      <a:pt x="78" y="54"/>
                      <a:pt x="77" y="54"/>
                    </a:cubicBezTo>
                    <a:cubicBezTo>
                      <a:pt x="74" y="54"/>
                      <a:pt x="72" y="53"/>
                      <a:pt x="71" y="51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37" y="34"/>
                      <a:pt x="34" y="31"/>
                      <a:pt x="34" y="28"/>
                    </a:cubicBezTo>
                    <a:cubicBezTo>
                      <a:pt x="34" y="25"/>
                      <a:pt x="37" y="22"/>
                      <a:pt x="40" y="22"/>
                    </a:cubicBezTo>
                    <a:cubicBezTo>
                      <a:pt x="69" y="22"/>
                      <a:pt x="69" y="22"/>
                      <a:pt x="69" y="22"/>
                    </a:cubicBezTo>
                    <a:cubicBezTo>
                      <a:pt x="82" y="45"/>
                      <a:pt x="82" y="45"/>
                      <a:pt x="82" y="45"/>
                    </a:cubicBezTo>
                    <a:cubicBezTo>
                      <a:pt x="83" y="48"/>
                      <a:pt x="82" y="52"/>
                      <a:pt x="80" y="5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0" name="Freeform 61">
                <a:extLst>
                  <a:ext uri="{FF2B5EF4-FFF2-40B4-BE49-F238E27FC236}">
                    <a16:creationId xmlns:a16="http://schemas.microsoft.com/office/drawing/2014/main" id="{54199C9E-A266-4334-93D8-BCE29D3BE4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1263" y="-785813"/>
                <a:ext cx="365125" cy="317500"/>
              </a:xfrm>
              <a:custGeom>
                <a:avLst/>
                <a:gdLst>
                  <a:gd name="T0" fmla="*/ 84 w 112"/>
                  <a:gd name="T1" fmla="*/ 0 h 97"/>
                  <a:gd name="T2" fmla="*/ 28 w 112"/>
                  <a:gd name="T3" fmla="*/ 0 h 97"/>
                  <a:gd name="T4" fmla="*/ 0 w 112"/>
                  <a:gd name="T5" fmla="*/ 48 h 97"/>
                  <a:gd name="T6" fmla="*/ 28 w 112"/>
                  <a:gd name="T7" fmla="*/ 97 h 97"/>
                  <a:gd name="T8" fmla="*/ 84 w 112"/>
                  <a:gd name="T9" fmla="*/ 97 h 97"/>
                  <a:gd name="T10" fmla="*/ 112 w 112"/>
                  <a:gd name="T11" fmla="*/ 48 h 97"/>
                  <a:gd name="T12" fmla="*/ 84 w 112"/>
                  <a:gd name="T13" fmla="*/ 0 h 97"/>
                  <a:gd name="T14" fmla="*/ 80 w 112"/>
                  <a:gd name="T15" fmla="*/ 54 h 97"/>
                  <a:gd name="T16" fmla="*/ 77 w 112"/>
                  <a:gd name="T17" fmla="*/ 54 h 97"/>
                  <a:gd name="T18" fmla="*/ 72 w 112"/>
                  <a:gd name="T19" fmla="*/ 51 h 97"/>
                  <a:gd name="T20" fmla="*/ 62 w 112"/>
                  <a:gd name="T21" fmla="*/ 34 h 97"/>
                  <a:gd name="T22" fmla="*/ 41 w 112"/>
                  <a:gd name="T23" fmla="*/ 34 h 97"/>
                  <a:gd name="T24" fmla="*/ 35 w 112"/>
                  <a:gd name="T25" fmla="*/ 28 h 97"/>
                  <a:gd name="T26" fmla="*/ 41 w 112"/>
                  <a:gd name="T27" fmla="*/ 22 h 97"/>
                  <a:gd name="T28" fmla="*/ 69 w 112"/>
                  <a:gd name="T29" fmla="*/ 22 h 97"/>
                  <a:gd name="T30" fmla="*/ 82 w 112"/>
                  <a:gd name="T31" fmla="*/ 45 h 97"/>
                  <a:gd name="T32" fmla="*/ 80 w 112"/>
                  <a:gd name="T33" fmla="*/ 5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2" h="97">
                    <a:moveTo>
                      <a:pt x="84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28" y="97"/>
                      <a:pt x="28" y="97"/>
                      <a:pt x="28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112" y="48"/>
                      <a:pt x="112" y="48"/>
                      <a:pt x="112" y="48"/>
                    </a:cubicBezTo>
                    <a:lnTo>
                      <a:pt x="84" y="0"/>
                    </a:lnTo>
                    <a:close/>
                    <a:moveTo>
                      <a:pt x="80" y="54"/>
                    </a:moveTo>
                    <a:cubicBezTo>
                      <a:pt x="79" y="54"/>
                      <a:pt x="78" y="54"/>
                      <a:pt x="77" y="54"/>
                    </a:cubicBezTo>
                    <a:cubicBezTo>
                      <a:pt x="75" y="54"/>
                      <a:pt x="73" y="53"/>
                      <a:pt x="72" y="51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41" y="34"/>
                      <a:pt x="41" y="34"/>
                      <a:pt x="41" y="34"/>
                    </a:cubicBezTo>
                    <a:cubicBezTo>
                      <a:pt x="38" y="34"/>
                      <a:pt x="35" y="32"/>
                      <a:pt x="35" y="28"/>
                    </a:cubicBezTo>
                    <a:cubicBezTo>
                      <a:pt x="35" y="25"/>
                      <a:pt x="38" y="22"/>
                      <a:pt x="41" y="22"/>
                    </a:cubicBezTo>
                    <a:cubicBezTo>
                      <a:pt x="69" y="22"/>
                      <a:pt x="69" y="22"/>
                      <a:pt x="69" y="22"/>
                    </a:cubicBezTo>
                    <a:cubicBezTo>
                      <a:pt x="82" y="45"/>
                      <a:pt x="82" y="45"/>
                      <a:pt x="82" y="45"/>
                    </a:cubicBezTo>
                    <a:cubicBezTo>
                      <a:pt x="84" y="48"/>
                      <a:pt x="83" y="52"/>
                      <a:pt x="80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1" name="Freeform 62">
                <a:extLst>
                  <a:ext uri="{FF2B5EF4-FFF2-40B4-BE49-F238E27FC236}">
                    <a16:creationId xmlns:a16="http://schemas.microsoft.com/office/drawing/2014/main" id="{22404D7C-35A6-4C06-A328-186BE58007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0338" y="-1100138"/>
                <a:ext cx="365125" cy="314325"/>
              </a:xfrm>
              <a:custGeom>
                <a:avLst/>
                <a:gdLst>
                  <a:gd name="T0" fmla="*/ 84 w 112"/>
                  <a:gd name="T1" fmla="*/ 0 h 96"/>
                  <a:gd name="T2" fmla="*/ 28 w 112"/>
                  <a:gd name="T3" fmla="*/ 0 h 96"/>
                  <a:gd name="T4" fmla="*/ 0 w 112"/>
                  <a:gd name="T5" fmla="*/ 48 h 96"/>
                  <a:gd name="T6" fmla="*/ 28 w 112"/>
                  <a:gd name="T7" fmla="*/ 96 h 96"/>
                  <a:gd name="T8" fmla="*/ 84 w 112"/>
                  <a:gd name="T9" fmla="*/ 96 h 96"/>
                  <a:gd name="T10" fmla="*/ 112 w 112"/>
                  <a:gd name="T11" fmla="*/ 48 h 96"/>
                  <a:gd name="T12" fmla="*/ 84 w 112"/>
                  <a:gd name="T13" fmla="*/ 0 h 96"/>
                  <a:gd name="T14" fmla="*/ 80 w 112"/>
                  <a:gd name="T15" fmla="*/ 53 h 96"/>
                  <a:gd name="T16" fmla="*/ 77 w 112"/>
                  <a:gd name="T17" fmla="*/ 54 h 96"/>
                  <a:gd name="T18" fmla="*/ 72 w 112"/>
                  <a:gd name="T19" fmla="*/ 51 h 96"/>
                  <a:gd name="T20" fmla="*/ 62 w 112"/>
                  <a:gd name="T21" fmla="*/ 34 h 96"/>
                  <a:gd name="T22" fmla="*/ 41 w 112"/>
                  <a:gd name="T23" fmla="*/ 34 h 96"/>
                  <a:gd name="T24" fmla="*/ 35 w 112"/>
                  <a:gd name="T25" fmla="*/ 28 h 96"/>
                  <a:gd name="T26" fmla="*/ 41 w 112"/>
                  <a:gd name="T27" fmla="*/ 22 h 96"/>
                  <a:gd name="T28" fmla="*/ 69 w 112"/>
                  <a:gd name="T29" fmla="*/ 22 h 96"/>
                  <a:gd name="T30" fmla="*/ 82 w 112"/>
                  <a:gd name="T31" fmla="*/ 45 h 96"/>
                  <a:gd name="T32" fmla="*/ 80 w 112"/>
                  <a:gd name="T33" fmla="*/ 5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2" h="96">
                    <a:moveTo>
                      <a:pt x="84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28" y="96"/>
                      <a:pt x="28" y="96"/>
                      <a:pt x="28" y="96"/>
                    </a:cubicBezTo>
                    <a:cubicBezTo>
                      <a:pt x="84" y="96"/>
                      <a:pt x="84" y="96"/>
                      <a:pt x="84" y="96"/>
                    </a:cubicBezTo>
                    <a:cubicBezTo>
                      <a:pt x="112" y="48"/>
                      <a:pt x="112" y="48"/>
                      <a:pt x="112" y="48"/>
                    </a:cubicBezTo>
                    <a:lnTo>
                      <a:pt x="84" y="0"/>
                    </a:lnTo>
                    <a:close/>
                    <a:moveTo>
                      <a:pt x="80" y="53"/>
                    </a:moveTo>
                    <a:cubicBezTo>
                      <a:pt x="79" y="54"/>
                      <a:pt x="78" y="54"/>
                      <a:pt x="77" y="54"/>
                    </a:cubicBezTo>
                    <a:cubicBezTo>
                      <a:pt x="75" y="54"/>
                      <a:pt x="73" y="53"/>
                      <a:pt x="72" y="51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41" y="34"/>
                      <a:pt x="41" y="34"/>
                      <a:pt x="41" y="34"/>
                    </a:cubicBezTo>
                    <a:cubicBezTo>
                      <a:pt x="38" y="34"/>
                      <a:pt x="35" y="31"/>
                      <a:pt x="35" y="28"/>
                    </a:cubicBezTo>
                    <a:cubicBezTo>
                      <a:pt x="35" y="25"/>
                      <a:pt x="38" y="22"/>
                      <a:pt x="41" y="22"/>
                    </a:cubicBezTo>
                    <a:cubicBezTo>
                      <a:pt x="69" y="22"/>
                      <a:pt x="69" y="22"/>
                      <a:pt x="69" y="22"/>
                    </a:cubicBezTo>
                    <a:cubicBezTo>
                      <a:pt x="82" y="45"/>
                      <a:pt x="82" y="45"/>
                      <a:pt x="82" y="45"/>
                    </a:cubicBezTo>
                    <a:cubicBezTo>
                      <a:pt x="84" y="48"/>
                      <a:pt x="83" y="52"/>
                      <a:pt x="80" y="5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2" name="Freeform 63">
                <a:extLst>
                  <a:ext uri="{FF2B5EF4-FFF2-40B4-BE49-F238E27FC236}">
                    <a16:creationId xmlns:a16="http://schemas.microsoft.com/office/drawing/2014/main" id="{B7F5262F-473A-456F-8F63-D28299C5AF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2763" y="-1201738"/>
                <a:ext cx="366713" cy="314325"/>
              </a:xfrm>
              <a:custGeom>
                <a:avLst/>
                <a:gdLst>
                  <a:gd name="T0" fmla="*/ 84 w 112"/>
                  <a:gd name="T1" fmla="*/ 0 h 96"/>
                  <a:gd name="T2" fmla="*/ 28 w 112"/>
                  <a:gd name="T3" fmla="*/ 0 h 96"/>
                  <a:gd name="T4" fmla="*/ 0 w 112"/>
                  <a:gd name="T5" fmla="*/ 48 h 96"/>
                  <a:gd name="T6" fmla="*/ 28 w 112"/>
                  <a:gd name="T7" fmla="*/ 96 h 96"/>
                  <a:gd name="T8" fmla="*/ 84 w 112"/>
                  <a:gd name="T9" fmla="*/ 96 h 96"/>
                  <a:gd name="T10" fmla="*/ 112 w 112"/>
                  <a:gd name="T11" fmla="*/ 48 h 96"/>
                  <a:gd name="T12" fmla="*/ 84 w 112"/>
                  <a:gd name="T13" fmla="*/ 0 h 96"/>
                  <a:gd name="T14" fmla="*/ 80 w 112"/>
                  <a:gd name="T15" fmla="*/ 53 h 96"/>
                  <a:gd name="T16" fmla="*/ 77 w 112"/>
                  <a:gd name="T17" fmla="*/ 54 h 96"/>
                  <a:gd name="T18" fmla="*/ 72 w 112"/>
                  <a:gd name="T19" fmla="*/ 51 h 96"/>
                  <a:gd name="T20" fmla="*/ 62 w 112"/>
                  <a:gd name="T21" fmla="*/ 34 h 96"/>
                  <a:gd name="T22" fmla="*/ 41 w 112"/>
                  <a:gd name="T23" fmla="*/ 34 h 96"/>
                  <a:gd name="T24" fmla="*/ 35 w 112"/>
                  <a:gd name="T25" fmla="*/ 28 h 96"/>
                  <a:gd name="T26" fmla="*/ 41 w 112"/>
                  <a:gd name="T27" fmla="*/ 22 h 96"/>
                  <a:gd name="T28" fmla="*/ 69 w 112"/>
                  <a:gd name="T29" fmla="*/ 22 h 96"/>
                  <a:gd name="T30" fmla="*/ 82 w 112"/>
                  <a:gd name="T31" fmla="*/ 45 h 96"/>
                  <a:gd name="T32" fmla="*/ 80 w 112"/>
                  <a:gd name="T33" fmla="*/ 5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2" h="96">
                    <a:moveTo>
                      <a:pt x="84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28" y="96"/>
                      <a:pt x="28" y="96"/>
                      <a:pt x="28" y="96"/>
                    </a:cubicBezTo>
                    <a:cubicBezTo>
                      <a:pt x="84" y="96"/>
                      <a:pt x="84" y="96"/>
                      <a:pt x="84" y="96"/>
                    </a:cubicBezTo>
                    <a:cubicBezTo>
                      <a:pt x="112" y="48"/>
                      <a:pt x="112" y="48"/>
                      <a:pt x="112" y="48"/>
                    </a:cubicBezTo>
                    <a:lnTo>
                      <a:pt x="84" y="0"/>
                    </a:lnTo>
                    <a:close/>
                    <a:moveTo>
                      <a:pt x="80" y="53"/>
                    </a:moveTo>
                    <a:cubicBezTo>
                      <a:pt x="79" y="54"/>
                      <a:pt x="78" y="54"/>
                      <a:pt x="77" y="54"/>
                    </a:cubicBezTo>
                    <a:cubicBezTo>
                      <a:pt x="75" y="54"/>
                      <a:pt x="73" y="53"/>
                      <a:pt x="72" y="51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41" y="34"/>
                      <a:pt x="41" y="34"/>
                      <a:pt x="41" y="34"/>
                    </a:cubicBezTo>
                    <a:cubicBezTo>
                      <a:pt x="38" y="34"/>
                      <a:pt x="35" y="31"/>
                      <a:pt x="35" y="28"/>
                    </a:cubicBezTo>
                    <a:cubicBezTo>
                      <a:pt x="35" y="25"/>
                      <a:pt x="38" y="22"/>
                      <a:pt x="41" y="22"/>
                    </a:cubicBezTo>
                    <a:cubicBezTo>
                      <a:pt x="69" y="22"/>
                      <a:pt x="69" y="22"/>
                      <a:pt x="69" y="22"/>
                    </a:cubicBezTo>
                    <a:cubicBezTo>
                      <a:pt x="82" y="45"/>
                      <a:pt x="82" y="45"/>
                      <a:pt x="82" y="45"/>
                    </a:cubicBezTo>
                    <a:cubicBezTo>
                      <a:pt x="84" y="48"/>
                      <a:pt x="83" y="52"/>
                      <a:pt x="80" y="5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F7D5E35B-268F-4F9D-94B5-E3BDC81B514F}"/>
              </a:ext>
            </a:extLst>
          </p:cNvPr>
          <p:cNvGrpSpPr/>
          <p:nvPr/>
        </p:nvGrpSpPr>
        <p:grpSpPr>
          <a:xfrm>
            <a:off x="333623" y="4033538"/>
            <a:ext cx="648000" cy="648000"/>
            <a:chOff x="333623" y="4033538"/>
            <a:chExt cx="648000" cy="648000"/>
          </a:xfrm>
        </p:grpSpPr>
        <p:sp>
          <p:nvSpPr>
            <p:cNvPr id="64" name="Rectangle 20">
              <a:extLst>
                <a:ext uri="{FF2B5EF4-FFF2-40B4-BE49-F238E27FC236}">
                  <a16:creationId xmlns:a16="http://schemas.microsoft.com/office/drawing/2014/main" id="{568A3455-0AA4-445A-9663-305C8303B00F}"/>
                </a:ext>
              </a:extLst>
            </p:cNvPr>
            <p:cNvSpPr/>
            <p:nvPr/>
          </p:nvSpPr>
          <p:spPr>
            <a:xfrm>
              <a:off x="333623" y="4033538"/>
              <a:ext cx="648000" cy="648000"/>
            </a:xfrm>
            <a:prstGeom prst="ellipse">
              <a:avLst/>
            </a:prstGeom>
            <a:solidFill>
              <a:srgbClr val="C0DA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" tIns="108000" rIns="162000" bIns="108000" rtlCol="0" anchor="b"/>
            <a:lstStyle/>
            <a:p>
              <a:endParaRPr lang="fr-FR" sz="1200" b="1" dirty="0">
                <a:solidFill>
                  <a:schemeClr val="tx1"/>
                </a:solidFill>
              </a:endParaRPr>
            </a:p>
          </p:txBody>
        </p: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340FD20B-638F-4916-9904-1327D61FE058}"/>
                </a:ext>
              </a:extLst>
            </p:cNvPr>
            <p:cNvGrpSpPr/>
            <p:nvPr/>
          </p:nvGrpSpPr>
          <p:grpSpPr>
            <a:xfrm>
              <a:off x="473603" y="4169892"/>
              <a:ext cx="368040" cy="375292"/>
              <a:chOff x="3506788" y="-800100"/>
              <a:chExt cx="644525" cy="657225"/>
            </a:xfrm>
            <a:solidFill>
              <a:schemeClr val="bg1"/>
            </a:solidFill>
          </p:grpSpPr>
          <p:sp>
            <p:nvSpPr>
              <p:cNvPr id="66" name="Freeform 67">
                <a:extLst>
                  <a:ext uri="{FF2B5EF4-FFF2-40B4-BE49-F238E27FC236}">
                    <a16:creationId xmlns:a16="http://schemas.microsoft.com/office/drawing/2014/main" id="{5BC390DA-0DDF-4287-9883-0C33261D0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6788" y="-800100"/>
                <a:ext cx="644525" cy="657225"/>
              </a:xfrm>
              <a:custGeom>
                <a:avLst/>
                <a:gdLst>
                  <a:gd name="T0" fmla="*/ 25 w 406"/>
                  <a:gd name="T1" fmla="*/ 389 h 414"/>
                  <a:gd name="T2" fmla="*/ 25 w 406"/>
                  <a:gd name="T3" fmla="*/ 335 h 414"/>
                  <a:gd name="T4" fmla="*/ 52 w 406"/>
                  <a:gd name="T5" fmla="*/ 335 h 414"/>
                  <a:gd name="T6" fmla="*/ 52 w 406"/>
                  <a:gd name="T7" fmla="*/ 311 h 414"/>
                  <a:gd name="T8" fmla="*/ 25 w 406"/>
                  <a:gd name="T9" fmla="*/ 311 h 414"/>
                  <a:gd name="T10" fmla="*/ 25 w 406"/>
                  <a:gd name="T11" fmla="*/ 261 h 414"/>
                  <a:gd name="T12" fmla="*/ 52 w 406"/>
                  <a:gd name="T13" fmla="*/ 261 h 414"/>
                  <a:gd name="T14" fmla="*/ 52 w 406"/>
                  <a:gd name="T15" fmla="*/ 236 h 414"/>
                  <a:gd name="T16" fmla="*/ 25 w 406"/>
                  <a:gd name="T17" fmla="*/ 236 h 414"/>
                  <a:gd name="T18" fmla="*/ 25 w 406"/>
                  <a:gd name="T19" fmla="*/ 182 h 414"/>
                  <a:gd name="T20" fmla="*/ 52 w 406"/>
                  <a:gd name="T21" fmla="*/ 182 h 414"/>
                  <a:gd name="T22" fmla="*/ 52 w 406"/>
                  <a:gd name="T23" fmla="*/ 157 h 414"/>
                  <a:gd name="T24" fmla="*/ 25 w 406"/>
                  <a:gd name="T25" fmla="*/ 157 h 414"/>
                  <a:gd name="T26" fmla="*/ 25 w 406"/>
                  <a:gd name="T27" fmla="*/ 103 h 414"/>
                  <a:gd name="T28" fmla="*/ 52 w 406"/>
                  <a:gd name="T29" fmla="*/ 103 h 414"/>
                  <a:gd name="T30" fmla="*/ 52 w 406"/>
                  <a:gd name="T31" fmla="*/ 79 h 414"/>
                  <a:gd name="T32" fmla="*/ 25 w 406"/>
                  <a:gd name="T33" fmla="*/ 79 h 414"/>
                  <a:gd name="T34" fmla="*/ 25 w 406"/>
                  <a:gd name="T35" fmla="*/ 25 h 414"/>
                  <a:gd name="T36" fmla="*/ 52 w 406"/>
                  <a:gd name="T37" fmla="*/ 25 h 414"/>
                  <a:gd name="T38" fmla="*/ 52 w 406"/>
                  <a:gd name="T39" fmla="*/ 0 h 414"/>
                  <a:gd name="T40" fmla="*/ 0 w 406"/>
                  <a:gd name="T41" fmla="*/ 0 h 414"/>
                  <a:gd name="T42" fmla="*/ 0 w 406"/>
                  <a:gd name="T43" fmla="*/ 414 h 414"/>
                  <a:gd name="T44" fmla="*/ 406 w 406"/>
                  <a:gd name="T45" fmla="*/ 414 h 414"/>
                  <a:gd name="T46" fmla="*/ 406 w 406"/>
                  <a:gd name="T47" fmla="*/ 389 h 414"/>
                  <a:gd name="T48" fmla="*/ 25 w 406"/>
                  <a:gd name="T49" fmla="*/ 389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6" h="414">
                    <a:moveTo>
                      <a:pt x="25" y="389"/>
                    </a:moveTo>
                    <a:lnTo>
                      <a:pt x="25" y="335"/>
                    </a:lnTo>
                    <a:lnTo>
                      <a:pt x="52" y="335"/>
                    </a:lnTo>
                    <a:lnTo>
                      <a:pt x="52" y="311"/>
                    </a:lnTo>
                    <a:lnTo>
                      <a:pt x="25" y="311"/>
                    </a:lnTo>
                    <a:lnTo>
                      <a:pt x="25" y="261"/>
                    </a:lnTo>
                    <a:lnTo>
                      <a:pt x="52" y="261"/>
                    </a:lnTo>
                    <a:lnTo>
                      <a:pt x="52" y="236"/>
                    </a:lnTo>
                    <a:lnTo>
                      <a:pt x="25" y="236"/>
                    </a:lnTo>
                    <a:lnTo>
                      <a:pt x="25" y="182"/>
                    </a:lnTo>
                    <a:lnTo>
                      <a:pt x="52" y="182"/>
                    </a:lnTo>
                    <a:lnTo>
                      <a:pt x="52" y="157"/>
                    </a:lnTo>
                    <a:lnTo>
                      <a:pt x="25" y="157"/>
                    </a:lnTo>
                    <a:lnTo>
                      <a:pt x="25" y="103"/>
                    </a:lnTo>
                    <a:lnTo>
                      <a:pt x="52" y="103"/>
                    </a:lnTo>
                    <a:lnTo>
                      <a:pt x="52" y="79"/>
                    </a:lnTo>
                    <a:lnTo>
                      <a:pt x="25" y="79"/>
                    </a:lnTo>
                    <a:lnTo>
                      <a:pt x="25" y="25"/>
                    </a:lnTo>
                    <a:lnTo>
                      <a:pt x="52" y="25"/>
                    </a:lnTo>
                    <a:lnTo>
                      <a:pt x="52" y="0"/>
                    </a:lnTo>
                    <a:lnTo>
                      <a:pt x="0" y="0"/>
                    </a:lnTo>
                    <a:lnTo>
                      <a:pt x="0" y="414"/>
                    </a:lnTo>
                    <a:lnTo>
                      <a:pt x="406" y="414"/>
                    </a:lnTo>
                    <a:lnTo>
                      <a:pt x="406" y="389"/>
                    </a:lnTo>
                    <a:lnTo>
                      <a:pt x="25" y="38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7" name="Freeform 68">
                <a:extLst>
                  <a:ext uri="{FF2B5EF4-FFF2-40B4-BE49-F238E27FC236}">
                    <a16:creationId xmlns:a16="http://schemas.microsoft.com/office/drawing/2014/main" id="{6BAF61CF-A740-4BF9-A2DC-0C4449A0B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4738" y="-563563"/>
                <a:ext cx="500063" cy="279400"/>
              </a:xfrm>
              <a:custGeom>
                <a:avLst/>
                <a:gdLst>
                  <a:gd name="T0" fmla="*/ 50 w 315"/>
                  <a:gd name="T1" fmla="*/ 33 h 176"/>
                  <a:gd name="T2" fmla="*/ 261 w 315"/>
                  <a:gd name="T3" fmla="*/ 176 h 176"/>
                  <a:gd name="T4" fmla="*/ 292 w 315"/>
                  <a:gd name="T5" fmla="*/ 122 h 176"/>
                  <a:gd name="T6" fmla="*/ 315 w 315"/>
                  <a:gd name="T7" fmla="*/ 135 h 176"/>
                  <a:gd name="T8" fmla="*/ 315 w 315"/>
                  <a:gd name="T9" fmla="*/ 60 h 176"/>
                  <a:gd name="T10" fmla="*/ 251 w 315"/>
                  <a:gd name="T11" fmla="*/ 99 h 176"/>
                  <a:gd name="T12" fmla="*/ 272 w 315"/>
                  <a:gd name="T13" fmla="*/ 112 h 176"/>
                  <a:gd name="T14" fmla="*/ 253 w 315"/>
                  <a:gd name="T15" fmla="*/ 141 h 176"/>
                  <a:gd name="T16" fmla="*/ 46 w 315"/>
                  <a:gd name="T17" fmla="*/ 0 h 176"/>
                  <a:gd name="T18" fmla="*/ 0 w 315"/>
                  <a:gd name="T19" fmla="*/ 50 h 176"/>
                  <a:gd name="T20" fmla="*/ 19 w 315"/>
                  <a:gd name="T21" fmla="*/ 66 h 176"/>
                  <a:gd name="T22" fmla="*/ 50 w 315"/>
                  <a:gd name="T23" fmla="*/ 33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5" h="176">
                    <a:moveTo>
                      <a:pt x="50" y="33"/>
                    </a:moveTo>
                    <a:lnTo>
                      <a:pt x="261" y="176"/>
                    </a:lnTo>
                    <a:lnTo>
                      <a:pt x="292" y="122"/>
                    </a:lnTo>
                    <a:lnTo>
                      <a:pt x="315" y="135"/>
                    </a:lnTo>
                    <a:lnTo>
                      <a:pt x="315" y="60"/>
                    </a:lnTo>
                    <a:lnTo>
                      <a:pt x="251" y="99"/>
                    </a:lnTo>
                    <a:lnTo>
                      <a:pt x="272" y="112"/>
                    </a:lnTo>
                    <a:lnTo>
                      <a:pt x="253" y="141"/>
                    </a:lnTo>
                    <a:lnTo>
                      <a:pt x="46" y="0"/>
                    </a:lnTo>
                    <a:lnTo>
                      <a:pt x="0" y="50"/>
                    </a:lnTo>
                    <a:lnTo>
                      <a:pt x="19" y="66"/>
                    </a:lnTo>
                    <a:lnTo>
                      <a:pt x="50" y="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8" name="Freeform 69">
                <a:extLst>
                  <a:ext uri="{FF2B5EF4-FFF2-40B4-BE49-F238E27FC236}">
                    <a16:creationId xmlns:a16="http://schemas.microsoft.com/office/drawing/2014/main" id="{C9793001-556A-45E1-8BC2-5D71BCB94E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4738" y="-458788"/>
                <a:ext cx="149225" cy="161925"/>
              </a:xfrm>
              <a:custGeom>
                <a:avLst/>
                <a:gdLst>
                  <a:gd name="T0" fmla="*/ 94 w 94"/>
                  <a:gd name="T1" fmla="*/ 17 h 102"/>
                  <a:gd name="T2" fmla="*/ 75 w 94"/>
                  <a:gd name="T3" fmla="*/ 0 h 102"/>
                  <a:gd name="T4" fmla="*/ 0 w 94"/>
                  <a:gd name="T5" fmla="*/ 85 h 102"/>
                  <a:gd name="T6" fmla="*/ 19 w 94"/>
                  <a:gd name="T7" fmla="*/ 102 h 102"/>
                  <a:gd name="T8" fmla="*/ 94 w 94"/>
                  <a:gd name="T9" fmla="*/ 1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102">
                    <a:moveTo>
                      <a:pt x="94" y="17"/>
                    </a:moveTo>
                    <a:lnTo>
                      <a:pt x="75" y="0"/>
                    </a:lnTo>
                    <a:lnTo>
                      <a:pt x="0" y="85"/>
                    </a:lnTo>
                    <a:lnTo>
                      <a:pt x="19" y="102"/>
                    </a:lnTo>
                    <a:lnTo>
                      <a:pt x="94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9" name="Freeform 70">
                <a:extLst>
                  <a:ext uri="{FF2B5EF4-FFF2-40B4-BE49-F238E27FC236}">
                    <a16:creationId xmlns:a16="http://schemas.microsoft.com/office/drawing/2014/main" id="{4DF5506B-ABB3-466E-90CE-E7D23F3444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6188" y="-750888"/>
                <a:ext cx="328613" cy="309563"/>
              </a:xfrm>
              <a:custGeom>
                <a:avLst/>
                <a:gdLst>
                  <a:gd name="T0" fmla="*/ 31 w 207"/>
                  <a:gd name="T1" fmla="*/ 143 h 195"/>
                  <a:gd name="T2" fmla="*/ 108 w 207"/>
                  <a:gd name="T3" fmla="*/ 195 h 195"/>
                  <a:gd name="T4" fmla="*/ 184 w 207"/>
                  <a:gd name="T5" fmla="*/ 62 h 195"/>
                  <a:gd name="T6" fmla="*/ 207 w 207"/>
                  <a:gd name="T7" fmla="*/ 74 h 195"/>
                  <a:gd name="T8" fmla="*/ 207 w 207"/>
                  <a:gd name="T9" fmla="*/ 0 h 195"/>
                  <a:gd name="T10" fmla="*/ 143 w 207"/>
                  <a:gd name="T11" fmla="*/ 37 h 195"/>
                  <a:gd name="T12" fmla="*/ 164 w 207"/>
                  <a:gd name="T13" fmla="*/ 50 h 195"/>
                  <a:gd name="T14" fmla="*/ 99 w 207"/>
                  <a:gd name="T15" fmla="*/ 159 h 195"/>
                  <a:gd name="T16" fmla="*/ 27 w 207"/>
                  <a:gd name="T17" fmla="*/ 112 h 195"/>
                  <a:gd name="T18" fmla="*/ 0 w 207"/>
                  <a:gd name="T19" fmla="*/ 139 h 195"/>
                  <a:gd name="T20" fmla="*/ 19 w 207"/>
                  <a:gd name="T21" fmla="*/ 157 h 195"/>
                  <a:gd name="T22" fmla="*/ 31 w 207"/>
                  <a:gd name="T23" fmla="*/ 143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7" h="195">
                    <a:moveTo>
                      <a:pt x="31" y="143"/>
                    </a:moveTo>
                    <a:lnTo>
                      <a:pt x="108" y="195"/>
                    </a:lnTo>
                    <a:lnTo>
                      <a:pt x="184" y="62"/>
                    </a:lnTo>
                    <a:lnTo>
                      <a:pt x="207" y="74"/>
                    </a:lnTo>
                    <a:lnTo>
                      <a:pt x="207" y="0"/>
                    </a:lnTo>
                    <a:lnTo>
                      <a:pt x="143" y="37"/>
                    </a:lnTo>
                    <a:lnTo>
                      <a:pt x="164" y="50"/>
                    </a:lnTo>
                    <a:lnTo>
                      <a:pt x="99" y="159"/>
                    </a:lnTo>
                    <a:lnTo>
                      <a:pt x="27" y="112"/>
                    </a:lnTo>
                    <a:lnTo>
                      <a:pt x="0" y="139"/>
                    </a:lnTo>
                    <a:lnTo>
                      <a:pt x="19" y="157"/>
                    </a:lnTo>
                    <a:lnTo>
                      <a:pt x="31" y="14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434315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5101EC4-B8FE-406C-9BD1-8A920E1A1D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70026" y="0"/>
            <a:ext cx="2973973" cy="5143500"/>
          </a:xfrm>
        </p:spPr>
        <p:txBody>
          <a:bodyPr/>
          <a:lstStyle/>
          <a:p>
            <a:pPr algn="l" rtl="0"/>
            <a:r>
              <a:rPr lang="fr-FR" b="0" i="0" u="none" baseline="0"/>
              <a:t> </a:t>
            </a:r>
            <a:endParaRPr lang="fr-FR" dirty="0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7DB84EFA-17CF-42AD-AD4E-22BAA4E4A569}"/>
              </a:ext>
            </a:extLst>
          </p:cNvPr>
          <p:cNvSpPr/>
          <p:nvPr/>
        </p:nvSpPr>
        <p:spPr>
          <a:xfrm>
            <a:off x="6352744" y="1867984"/>
            <a:ext cx="2571933" cy="2571933"/>
          </a:xfrm>
          <a:prstGeom prst="ellipse">
            <a:avLst/>
          </a:prstGeom>
          <a:solidFill>
            <a:srgbClr val="C0DA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spAutoFit/>
          </a:bodyPr>
          <a:lstStyle/>
          <a:p>
            <a:pPr algn="l" rtl="0"/>
            <a:endParaRPr lang="fr-FR" sz="1200" dirty="0" err="1">
              <a:solidFill>
                <a:schemeClr val="tx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2B08422-0D5F-4831-90E8-C57648C424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  <a:endParaRPr lang="fr-FR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F6A370-0AC9-4F46-A74A-E3C5C4A772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13</a:t>
            </a:fld>
            <a:endParaRPr lang="fr-FR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69F8A9B-339D-44C2-A4B9-88D0453A5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38" y="385163"/>
            <a:ext cx="5849624" cy="493950"/>
          </a:xfrm>
        </p:spPr>
        <p:txBody>
          <a:bodyPr/>
          <a:lstStyle/>
          <a:p>
            <a:pPr algn="l" rtl="0"/>
            <a:r>
              <a:rPr lang="fr-FR" b="1" i="0" u="none" baseline="0" dirty="0"/>
              <a:t>...et présente encore plus d'intérêt à l’ère de la COVID-19</a:t>
            </a:r>
          </a:p>
        </p:txBody>
      </p:sp>
      <p:sp>
        <p:nvSpPr>
          <p:cNvPr id="19" name="Rectangle 23">
            <a:extLst>
              <a:ext uri="{FF2B5EF4-FFF2-40B4-BE49-F238E27FC236}">
                <a16:creationId xmlns:a16="http://schemas.microsoft.com/office/drawing/2014/main" id="{1D2DBD6E-259D-4FC5-9F6A-4918B3534C2A}"/>
              </a:ext>
            </a:extLst>
          </p:cNvPr>
          <p:cNvSpPr/>
          <p:nvPr/>
        </p:nvSpPr>
        <p:spPr>
          <a:xfrm>
            <a:off x="557447" y="2448961"/>
            <a:ext cx="1507524" cy="1510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36000" bIns="108000" rtlCol="0" anchor="ctr" anchorCtr="0">
            <a:spAutoFit/>
          </a:bodyPr>
          <a:lstStyle/>
          <a:p>
            <a:pPr rtl="0"/>
            <a:r>
              <a:rPr lang="fr-FR" sz="1200" b="1" i="0" u="none" baseline="0" dirty="0">
                <a:solidFill>
                  <a:schemeClr val="tx1"/>
                </a:solidFill>
              </a:rPr>
              <a:t>Augmenter les ventes en ligne </a:t>
            </a:r>
            <a:r>
              <a:rPr lang="fr-FR" sz="1200" b="0" i="0" u="none" baseline="0" dirty="0">
                <a:solidFill>
                  <a:schemeClr val="tx1"/>
                </a:solidFill>
              </a:rPr>
              <a:t>alors que le trafic piétonnier est en baisse et que les magasins physiques sont fermés</a:t>
            </a:r>
          </a:p>
        </p:txBody>
      </p:sp>
      <p:sp>
        <p:nvSpPr>
          <p:cNvPr id="21" name="Rectangle 23">
            <a:extLst>
              <a:ext uri="{FF2B5EF4-FFF2-40B4-BE49-F238E27FC236}">
                <a16:creationId xmlns:a16="http://schemas.microsoft.com/office/drawing/2014/main" id="{79C9DB16-4B92-47D2-ADF2-AF60B1C6DBAB}"/>
              </a:ext>
            </a:extLst>
          </p:cNvPr>
          <p:cNvSpPr/>
          <p:nvPr/>
        </p:nvSpPr>
        <p:spPr>
          <a:xfrm>
            <a:off x="2487894" y="2440148"/>
            <a:ext cx="1497601" cy="1510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36000" bIns="108000" rtlCol="0" anchor="ctr" anchorCtr="0">
            <a:spAutoFit/>
          </a:bodyPr>
          <a:lstStyle/>
          <a:p>
            <a:pPr algn="l" rtl="0"/>
            <a:r>
              <a:rPr lang="fr-FR" sz="1200" b="1" i="0" u="none" baseline="0" dirty="0">
                <a:solidFill>
                  <a:schemeClr val="tx1"/>
                </a:solidFill>
              </a:rPr>
              <a:t>Améliorer la résilience de la chaîne logistique </a:t>
            </a:r>
            <a:r>
              <a:rPr lang="fr-FR" sz="1200" b="0" i="0" u="none" baseline="0" dirty="0">
                <a:solidFill>
                  <a:schemeClr val="tx1"/>
                </a:solidFill>
              </a:rPr>
              <a:t>en permutant sur différents nœuds de réseau pour maintenir les ventes</a:t>
            </a:r>
          </a:p>
        </p:txBody>
      </p:sp>
      <p:sp>
        <p:nvSpPr>
          <p:cNvPr id="23" name="Rectangle 23">
            <a:extLst>
              <a:ext uri="{FF2B5EF4-FFF2-40B4-BE49-F238E27FC236}">
                <a16:creationId xmlns:a16="http://schemas.microsoft.com/office/drawing/2014/main" id="{C3CC4D86-4F60-465C-ABA1-2D238C2ADC6C}"/>
              </a:ext>
            </a:extLst>
          </p:cNvPr>
          <p:cNvSpPr/>
          <p:nvPr/>
        </p:nvSpPr>
        <p:spPr>
          <a:xfrm>
            <a:off x="4461392" y="2407911"/>
            <a:ext cx="1511360" cy="22494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36000" bIns="108000" rtlCol="0" anchor="ctr" anchorCtr="0">
            <a:spAutoFit/>
          </a:bodyPr>
          <a:lstStyle/>
          <a:p>
            <a:pPr algn="l" rtl="0"/>
            <a:r>
              <a:rPr lang="fr-FR" sz="1200" b="1" i="0" u="none" baseline="0" dirty="0">
                <a:solidFill>
                  <a:schemeClr val="tx1"/>
                </a:solidFill>
              </a:rPr>
              <a:t>Éviter les perturbations des canaux de vente </a:t>
            </a:r>
            <a:r>
              <a:rPr lang="fr-FR" sz="1200" b="0" i="0" u="none" baseline="0" dirty="0">
                <a:solidFill>
                  <a:schemeClr val="tx1"/>
                </a:solidFill>
              </a:rPr>
              <a:t>lorsque les géants du commerce électronique et les places de marché décident de hiérarchiser différemment les commandes </a:t>
            </a:r>
          </a:p>
        </p:txBody>
      </p:sp>
      <p:pic>
        <p:nvPicPr>
          <p:cNvPr id="63" name="Grafik 62" descr="Ein Bild, das Person, rot, darstellend enthält.&#10;&#10;Automatisch generierte Beschreibung">
            <a:extLst>
              <a:ext uri="{FF2B5EF4-FFF2-40B4-BE49-F238E27FC236}">
                <a16:creationId xmlns:a16="http://schemas.microsoft.com/office/drawing/2014/main" id="{829F5E85-8C98-4CF8-837C-AFFEE781C5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1314" y="1473695"/>
            <a:ext cx="3423325" cy="3669805"/>
          </a:xfrm>
          <a:prstGeom prst="rect">
            <a:avLst/>
          </a:prstGeom>
        </p:spPr>
      </p:pic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E6E7A84-57F6-479C-9052-E3CA1E237ACD}"/>
              </a:ext>
            </a:extLst>
          </p:cNvPr>
          <p:cNvGrpSpPr/>
          <p:nvPr/>
        </p:nvGrpSpPr>
        <p:grpSpPr>
          <a:xfrm>
            <a:off x="674842" y="1373576"/>
            <a:ext cx="1009402" cy="1009402"/>
            <a:chOff x="674842" y="1150940"/>
            <a:chExt cx="1009402" cy="1009402"/>
          </a:xfrm>
        </p:grpSpPr>
        <p:sp>
          <p:nvSpPr>
            <p:cNvPr id="25" name="Rectangle 20">
              <a:extLst>
                <a:ext uri="{FF2B5EF4-FFF2-40B4-BE49-F238E27FC236}">
                  <a16:creationId xmlns:a16="http://schemas.microsoft.com/office/drawing/2014/main" id="{B69D9FCD-F88C-4E61-8E7C-6B73711A2F19}"/>
                </a:ext>
              </a:extLst>
            </p:cNvPr>
            <p:cNvSpPr/>
            <p:nvPr/>
          </p:nvSpPr>
          <p:spPr>
            <a:xfrm>
              <a:off x="674842" y="1150940"/>
              <a:ext cx="1009402" cy="1009402"/>
            </a:xfrm>
            <a:prstGeom prst="ellipse">
              <a:avLst/>
            </a:prstGeom>
            <a:solidFill>
              <a:srgbClr val="6FAE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" tIns="108000" rIns="162000" bIns="108000" rtlCol="0" anchor="b"/>
            <a:lstStyle/>
            <a:p>
              <a:endParaRPr lang="fr-FR" sz="1200" b="1" dirty="0">
                <a:solidFill>
                  <a:schemeClr val="tx1"/>
                </a:solidFill>
              </a:endParaRPr>
            </a:p>
          </p:txBody>
        </p:sp>
        <p:grpSp>
          <p:nvGrpSpPr>
            <p:cNvPr id="81" name="Gruppieren 80">
              <a:extLst>
                <a:ext uri="{FF2B5EF4-FFF2-40B4-BE49-F238E27FC236}">
                  <a16:creationId xmlns:a16="http://schemas.microsoft.com/office/drawing/2014/main" id="{9C1BBE5E-AB46-4442-90BB-E5289683B4FB}"/>
                </a:ext>
              </a:extLst>
            </p:cNvPr>
            <p:cNvGrpSpPr/>
            <p:nvPr/>
          </p:nvGrpSpPr>
          <p:grpSpPr>
            <a:xfrm>
              <a:off x="916940" y="1449022"/>
              <a:ext cx="525207" cy="413238"/>
              <a:chOff x="-2406003" y="1312830"/>
              <a:chExt cx="871538" cy="685734"/>
            </a:xfrm>
            <a:solidFill>
              <a:schemeClr val="bg1"/>
            </a:solidFill>
          </p:grpSpPr>
          <p:sp>
            <p:nvSpPr>
              <p:cNvPr id="82" name="Freeform 6">
                <a:extLst>
                  <a:ext uri="{FF2B5EF4-FFF2-40B4-BE49-F238E27FC236}">
                    <a16:creationId xmlns:a16="http://schemas.microsoft.com/office/drawing/2014/main" id="{4310EFA7-FAC2-473C-8122-AEC84541DB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406003" y="1312830"/>
                <a:ext cx="871538" cy="606511"/>
              </a:xfrm>
              <a:custGeom>
                <a:avLst/>
                <a:gdLst>
                  <a:gd name="T0" fmla="*/ 430 w 1076"/>
                  <a:gd name="T1" fmla="*/ 574 h 749"/>
                  <a:gd name="T2" fmla="*/ 342 w 1076"/>
                  <a:gd name="T3" fmla="*/ 662 h 749"/>
                  <a:gd name="T4" fmla="*/ 430 w 1076"/>
                  <a:gd name="T5" fmla="*/ 749 h 749"/>
                  <a:gd name="T6" fmla="*/ 518 w 1076"/>
                  <a:gd name="T7" fmla="*/ 662 h 749"/>
                  <a:gd name="T8" fmla="*/ 430 w 1076"/>
                  <a:gd name="T9" fmla="*/ 574 h 749"/>
                  <a:gd name="T10" fmla="*/ 721 w 1076"/>
                  <a:gd name="T11" fmla="*/ 574 h 749"/>
                  <a:gd name="T12" fmla="*/ 633 w 1076"/>
                  <a:gd name="T13" fmla="*/ 662 h 749"/>
                  <a:gd name="T14" fmla="*/ 721 w 1076"/>
                  <a:gd name="T15" fmla="*/ 749 h 749"/>
                  <a:gd name="T16" fmla="*/ 809 w 1076"/>
                  <a:gd name="T17" fmla="*/ 662 h 749"/>
                  <a:gd name="T18" fmla="*/ 721 w 1076"/>
                  <a:gd name="T19" fmla="*/ 574 h 749"/>
                  <a:gd name="T20" fmla="*/ 1066 w 1076"/>
                  <a:gd name="T21" fmla="*/ 107 h 749"/>
                  <a:gd name="T22" fmla="*/ 1028 w 1076"/>
                  <a:gd name="T23" fmla="*/ 86 h 749"/>
                  <a:gd name="T24" fmla="*/ 234 w 1076"/>
                  <a:gd name="T25" fmla="*/ 86 h 749"/>
                  <a:gd name="T26" fmla="*/ 228 w 1076"/>
                  <a:gd name="T27" fmla="*/ 66 h 749"/>
                  <a:gd name="T28" fmla="*/ 190 w 1076"/>
                  <a:gd name="T29" fmla="*/ 31 h 749"/>
                  <a:gd name="T30" fmla="*/ 65 w 1076"/>
                  <a:gd name="T31" fmla="*/ 6 h 749"/>
                  <a:gd name="T32" fmla="*/ 6 w 1076"/>
                  <a:gd name="T33" fmla="*/ 45 h 749"/>
                  <a:gd name="T34" fmla="*/ 45 w 1076"/>
                  <a:gd name="T35" fmla="*/ 104 h 749"/>
                  <a:gd name="T36" fmla="*/ 141 w 1076"/>
                  <a:gd name="T37" fmla="*/ 123 h 749"/>
                  <a:gd name="T38" fmla="*/ 252 w 1076"/>
                  <a:gd name="T39" fmla="*/ 506 h 749"/>
                  <a:gd name="T40" fmla="*/ 300 w 1076"/>
                  <a:gd name="T41" fmla="*/ 542 h 749"/>
                  <a:gd name="T42" fmla="*/ 866 w 1076"/>
                  <a:gd name="T43" fmla="*/ 542 h 749"/>
                  <a:gd name="T44" fmla="*/ 914 w 1076"/>
                  <a:gd name="T45" fmla="*/ 508 h 749"/>
                  <a:gd name="T46" fmla="*/ 914 w 1076"/>
                  <a:gd name="T47" fmla="*/ 508 h 749"/>
                  <a:gd name="T48" fmla="*/ 1070 w 1076"/>
                  <a:gd name="T49" fmla="*/ 150 h 749"/>
                  <a:gd name="T50" fmla="*/ 1066 w 1076"/>
                  <a:gd name="T51" fmla="*/ 107 h 749"/>
                  <a:gd name="T52" fmla="*/ 842 w 1076"/>
                  <a:gd name="T53" fmla="*/ 442 h 749"/>
                  <a:gd name="T54" fmla="*/ 338 w 1076"/>
                  <a:gd name="T55" fmla="*/ 442 h 749"/>
                  <a:gd name="T56" fmla="*/ 261 w 1076"/>
                  <a:gd name="T57" fmla="*/ 178 h 749"/>
                  <a:gd name="T58" fmla="*/ 957 w 1076"/>
                  <a:gd name="T59" fmla="*/ 178 h 749"/>
                  <a:gd name="T60" fmla="*/ 842 w 1076"/>
                  <a:gd name="T61" fmla="*/ 442 h 7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76" h="749">
                    <a:moveTo>
                      <a:pt x="430" y="574"/>
                    </a:moveTo>
                    <a:cubicBezTo>
                      <a:pt x="382" y="574"/>
                      <a:pt x="342" y="613"/>
                      <a:pt x="342" y="662"/>
                    </a:cubicBezTo>
                    <a:cubicBezTo>
                      <a:pt x="342" y="710"/>
                      <a:pt x="382" y="749"/>
                      <a:pt x="430" y="749"/>
                    </a:cubicBezTo>
                    <a:cubicBezTo>
                      <a:pt x="479" y="749"/>
                      <a:pt x="518" y="710"/>
                      <a:pt x="518" y="662"/>
                    </a:cubicBezTo>
                    <a:cubicBezTo>
                      <a:pt x="518" y="613"/>
                      <a:pt x="479" y="574"/>
                      <a:pt x="430" y="574"/>
                    </a:cubicBezTo>
                    <a:close/>
                    <a:moveTo>
                      <a:pt x="721" y="574"/>
                    </a:moveTo>
                    <a:cubicBezTo>
                      <a:pt x="673" y="574"/>
                      <a:pt x="633" y="613"/>
                      <a:pt x="633" y="662"/>
                    </a:cubicBezTo>
                    <a:cubicBezTo>
                      <a:pt x="633" y="710"/>
                      <a:pt x="673" y="749"/>
                      <a:pt x="721" y="749"/>
                    </a:cubicBezTo>
                    <a:cubicBezTo>
                      <a:pt x="770" y="749"/>
                      <a:pt x="809" y="710"/>
                      <a:pt x="809" y="662"/>
                    </a:cubicBezTo>
                    <a:cubicBezTo>
                      <a:pt x="809" y="613"/>
                      <a:pt x="770" y="574"/>
                      <a:pt x="721" y="574"/>
                    </a:cubicBezTo>
                    <a:close/>
                    <a:moveTo>
                      <a:pt x="1066" y="107"/>
                    </a:moveTo>
                    <a:cubicBezTo>
                      <a:pt x="1058" y="94"/>
                      <a:pt x="1043" y="86"/>
                      <a:pt x="1028" y="86"/>
                    </a:cubicBezTo>
                    <a:cubicBezTo>
                      <a:pt x="234" y="86"/>
                      <a:pt x="234" y="86"/>
                      <a:pt x="234" y="86"/>
                    </a:cubicBezTo>
                    <a:cubicBezTo>
                      <a:pt x="228" y="66"/>
                      <a:pt x="228" y="66"/>
                      <a:pt x="228" y="66"/>
                    </a:cubicBezTo>
                    <a:cubicBezTo>
                      <a:pt x="223" y="48"/>
                      <a:pt x="208" y="34"/>
                      <a:pt x="190" y="31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38" y="0"/>
                      <a:pt x="11" y="18"/>
                      <a:pt x="6" y="45"/>
                    </a:cubicBezTo>
                    <a:cubicBezTo>
                      <a:pt x="0" y="72"/>
                      <a:pt x="18" y="98"/>
                      <a:pt x="45" y="104"/>
                    </a:cubicBezTo>
                    <a:cubicBezTo>
                      <a:pt x="141" y="123"/>
                      <a:pt x="141" y="123"/>
                      <a:pt x="141" y="123"/>
                    </a:cubicBezTo>
                    <a:cubicBezTo>
                      <a:pt x="252" y="506"/>
                      <a:pt x="252" y="506"/>
                      <a:pt x="252" y="506"/>
                    </a:cubicBezTo>
                    <a:cubicBezTo>
                      <a:pt x="258" y="527"/>
                      <a:pt x="278" y="542"/>
                      <a:pt x="300" y="542"/>
                    </a:cubicBezTo>
                    <a:cubicBezTo>
                      <a:pt x="866" y="542"/>
                      <a:pt x="866" y="542"/>
                      <a:pt x="866" y="542"/>
                    </a:cubicBezTo>
                    <a:cubicBezTo>
                      <a:pt x="888" y="542"/>
                      <a:pt x="907" y="527"/>
                      <a:pt x="914" y="508"/>
                    </a:cubicBezTo>
                    <a:cubicBezTo>
                      <a:pt x="914" y="508"/>
                      <a:pt x="914" y="508"/>
                      <a:pt x="914" y="508"/>
                    </a:cubicBezTo>
                    <a:cubicBezTo>
                      <a:pt x="1070" y="150"/>
                      <a:pt x="1070" y="150"/>
                      <a:pt x="1070" y="150"/>
                    </a:cubicBezTo>
                    <a:cubicBezTo>
                      <a:pt x="1076" y="136"/>
                      <a:pt x="1075" y="120"/>
                      <a:pt x="1066" y="107"/>
                    </a:cubicBezTo>
                    <a:close/>
                    <a:moveTo>
                      <a:pt x="842" y="442"/>
                    </a:moveTo>
                    <a:cubicBezTo>
                      <a:pt x="338" y="442"/>
                      <a:pt x="338" y="442"/>
                      <a:pt x="338" y="442"/>
                    </a:cubicBezTo>
                    <a:cubicBezTo>
                      <a:pt x="302" y="317"/>
                      <a:pt x="277" y="234"/>
                      <a:pt x="261" y="178"/>
                    </a:cubicBezTo>
                    <a:cubicBezTo>
                      <a:pt x="957" y="178"/>
                      <a:pt x="957" y="178"/>
                      <a:pt x="957" y="178"/>
                    </a:cubicBezTo>
                    <a:lnTo>
                      <a:pt x="842" y="44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3" name="Freeform 16">
                <a:extLst>
                  <a:ext uri="{FF2B5EF4-FFF2-40B4-BE49-F238E27FC236}">
                    <a16:creationId xmlns:a16="http://schemas.microsoft.com/office/drawing/2014/main" id="{952B4C46-77A9-44A8-8909-FCAF9A1CE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851426" y="1688601"/>
                <a:ext cx="309963" cy="309963"/>
              </a:xfrm>
              <a:custGeom>
                <a:avLst/>
                <a:gdLst>
                  <a:gd name="T0" fmla="*/ 28 w 69"/>
                  <a:gd name="T1" fmla="*/ 37 h 69"/>
                  <a:gd name="T2" fmla="*/ 57 w 69"/>
                  <a:gd name="T3" fmla="*/ 66 h 69"/>
                  <a:gd name="T4" fmla="*/ 66 w 69"/>
                  <a:gd name="T5" fmla="*/ 66 h 69"/>
                  <a:gd name="T6" fmla="*/ 66 w 69"/>
                  <a:gd name="T7" fmla="*/ 57 h 69"/>
                  <a:gd name="T8" fmla="*/ 38 w 69"/>
                  <a:gd name="T9" fmla="*/ 28 h 69"/>
                  <a:gd name="T10" fmla="*/ 57 w 69"/>
                  <a:gd name="T11" fmla="*/ 22 h 69"/>
                  <a:gd name="T12" fmla="*/ 0 w 69"/>
                  <a:gd name="T13" fmla="*/ 0 h 69"/>
                  <a:gd name="T14" fmla="*/ 22 w 69"/>
                  <a:gd name="T15" fmla="*/ 57 h 69"/>
                  <a:gd name="T16" fmla="*/ 28 w 69"/>
                  <a:gd name="T17" fmla="*/ 3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69">
                    <a:moveTo>
                      <a:pt x="28" y="37"/>
                    </a:moveTo>
                    <a:cubicBezTo>
                      <a:pt x="57" y="66"/>
                      <a:pt x="57" y="66"/>
                      <a:pt x="57" y="66"/>
                    </a:cubicBezTo>
                    <a:cubicBezTo>
                      <a:pt x="60" y="69"/>
                      <a:pt x="64" y="69"/>
                      <a:pt x="66" y="66"/>
                    </a:cubicBezTo>
                    <a:cubicBezTo>
                      <a:pt x="69" y="63"/>
                      <a:pt x="69" y="59"/>
                      <a:pt x="66" y="57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57" y="22"/>
                      <a:pt x="57" y="22"/>
                      <a:pt x="57" y="2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2" y="57"/>
                      <a:pt x="22" y="57"/>
                      <a:pt x="22" y="57"/>
                    </a:cubicBezTo>
                    <a:lnTo>
                      <a:pt x="28" y="37"/>
                    </a:lnTo>
                    <a:close/>
                  </a:path>
                </a:pathLst>
              </a:custGeom>
              <a:grpFill/>
              <a:ln w="19050">
                <a:solidFill>
                  <a:srgbClr val="6FAECD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98" name="Gruppieren 97">
            <a:extLst>
              <a:ext uri="{FF2B5EF4-FFF2-40B4-BE49-F238E27FC236}">
                <a16:creationId xmlns:a16="http://schemas.microsoft.com/office/drawing/2014/main" id="{BCA825FE-6A22-48C6-B16C-7CABAC09E716}"/>
              </a:ext>
            </a:extLst>
          </p:cNvPr>
          <p:cNvGrpSpPr/>
          <p:nvPr/>
        </p:nvGrpSpPr>
        <p:grpSpPr>
          <a:xfrm>
            <a:off x="2620568" y="1373576"/>
            <a:ext cx="1009402" cy="1009402"/>
            <a:chOff x="2620568" y="1150940"/>
            <a:chExt cx="1009402" cy="1009402"/>
          </a:xfrm>
        </p:grpSpPr>
        <p:sp>
          <p:nvSpPr>
            <p:cNvPr id="45" name="Rectangle 20">
              <a:extLst>
                <a:ext uri="{FF2B5EF4-FFF2-40B4-BE49-F238E27FC236}">
                  <a16:creationId xmlns:a16="http://schemas.microsoft.com/office/drawing/2014/main" id="{0DB0AA5B-ECED-4FE0-9BCB-89D53E7BA727}"/>
                </a:ext>
              </a:extLst>
            </p:cNvPr>
            <p:cNvSpPr/>
            <p:nvPr/>
          </p:nvSpPr>
          <p:spPr>
            <a:xfrm>
              <a:off x="2620568" y="1150940"/>
              <a:ext cx="1009402" cy="1009402"/>
            </a:xfrm>
            <a:prstGeom prst="ellipse">
              <a:avLst/>
            </a:prstGeom>
            <a:solidFill>
              <a:srgbClr val="69A5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" tIns="108000" rIns="162000" bIns="108000" rtlCol="0" anchor="b"/>
            <a:lstStyle/>
            <a:p>
              <a:endParaRPr lang="fr-FR" sz="1200" b="1" dirty="0">
                <a:solidFill>
                  <a:schemeClr val="tx1"/>
                </a:solidFill>
              </a:endParaRPr>
            </a:p>
          </p:txBody>
        </p:sp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D1FA2260-5D92-4E69-A471-FD8094157FA3}"/>
                </a:ext>
              </a:extLst>
            </p:cNvPr>
            <p:cNvGrpSpPr/>
            <p:nvPr/>
          </p:nvGrpSpPr>
          <p:grpSpPr>
            <a:xfrm>
              <a:off x="2892187" y="1393011"/>
              <a:ext cx="466165" cy="525260"/>
              <a:chOff x="-2979523" y="1949971"/>
              <a:chExt cx="725581" cy="817562"/>
            </a:xfrm>
            <a:solidFill>
              <a:schemeClr val="bg1"/>
            </a:solidFill>
          </p:grpSpPr>
          <p:sp>
            <p:nvSpPr>
              <p:cNvPr id="87" name="Freeform 24">
                <a:extLst>
                  <a:ext uri="{FF2B5EF4-FFF2-40B4-BE49-F238E27FC236}">
                    <a16:creationId xmlns:a16="http://schemas.microsoft.com/office/drawing/2014/main" id="{F6DAE25F-BDDF-4A96-A133-289F2E7C26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979523" y="1949971"/>
                <a:ext cx="725581" cy="817562"/>
              </a:xfrm>
              <a:custGeom>
                <a:avLst/>
                <a:gdLst>
                  <a:gd name="T0" fmla="*/ 360 w 718"/>
                  <a:gd name="T1" fmla="*/ 809 h 809"/>
                  <a:gd name="T2" fmla="*/ 359 w 718"/>
                  <a:gd name="T3" fmla="*/ 809 h 809"/>
                  <a:gd name="T4" fmla="*/ 350 w 718"/>
                  <a:gd name="T5" fmla="*/ 806 h 809"/>
                  <a:gd name="T6" fmla="*/ 0 w 718"/>
                  <a:gd name="T7" fmla="*/ 118 h 809"/>
                  <a:gd name="T8" fmla="*/ 8 w 718"/>
                  <a:gd name="T9" fmla="*/ 103 h 809"/>
                  <a:gd name="T10" fmla="*/ 25 w 718"/>
                  <a:gd name="T11" fmla="*/ 99 h 809"/>
                  <a:gd name="T12" fmla="*/ 60 w 718"/>
                  <a:gd name="T13" fmla="*/ 102 h 809"/>
                  <a:gd name="T14" fmla="*/ 347 w 718"/>
                  <a:gd name="T15" fmla="*/ 5 h 809"/>
                  <a:gd name="T16" fmla="*/ 372 w 718"/>
                  <a:gd name="T17" fmla="*/ 5 h 809"/>
                  <a:gd name="T18" fmla="*/ 659 w 718"/>
                  <a:gd name="T19" fmla="*/ 102 h 809"/>
                  <a:gd name="T20" fmla="*/ 694 w 718"/>
                  <a:gd name="T21" fmla="*/ 99 h 809"/>
                  <a:gd name="T22" fmla="*/ 711 w 718"/>
                  <a:gd name="T23" fmla="*/ 103 h 809"/>
                  <a:gd name="T24" fmla="*/ 718 w 718"/>
                  <a:gd name="T25" fmla="*/ 118 h 809"/>
                  <a:gd name="T26" fmla="*/ 369 w 718"/>
                  <a:gd name="T27" fmla="*/ 806 h 809"/>
                  <a:gd name="T28" fmla="*/ 360 w 718"/>
                  <a:gd name="T29" fmla="*/ 809 h 809"/>
                  <a:gd name="T30" fmla="*/ 41 w 718"/>
                  <a:gd name="T31" fmla="*/ 141 h 809"/>
                  <a:gd name="T32" fmla="*/ 359 w 718"/>
                  <a:gd name="T33" fmla="*/ 766 h 809"/>
                  <a:gd name="T34" fmla="*/ 678 w 718"/>
                  <a:gd name="T35" fmla="*/ 141 h 809"/>
                  <a:gd name="T36" fmla="*/ 659 w 718"/>
                  <a:gd name="T37" fmla="*/ 142 h 809"/>
                  <a:gd name="T38" fmla="*/ 359 w 718"/>
                  <a:gd name="T39" fmla="*/ 46 h 809"/>
                  <a:gd name="T40" fmla="*/ 60 w 718"/>
                  <a:gd name="T41" fmla="*/ 142 h 809"/>
                  <a:gd name="T42" fmla="*/ 41 w 718"/>
                  <a:gd name="T43" fmla="*/ 141 h 8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18" h="809">
                    <a:moveTo>
                      <a:pt x="360" y="809"/>
                    </a:moveTo>
                    <a:cubicBezTo>
                      <a:pt x="359" y="809"/>
                      <a:pt x="359" y="809"/>
                      <a:pt x="359" y="809"/>
                    </a:cubicBezTo>
                    <a:cubicBezTo>
                      <a:pt x="356" y="809"/>
                      <a:pt x="353" y="808"/>
                      <a:pt x="350" y="806"/>
                    </a:cubicBezTo>
                    <a:cubicBezTo>
                      <a:pt x="108" y="682"/>
                      <a:pt x="0" y="553"/>
                      <a:pt x="0" y="118"/>
                    </a:cubicBezTo>
                    <a:cubicBezTo>
                      <a:pt x="0" y="112"/>
                      <a:pt x="3" y="106"/>
                      <a:pt x="8" y="103"/>
                    </a:cubicBezTo>
                    <a:cubicBezTo>
                      <a:pt x="13" y="99"/>
                      <a:pt x="19" y="97"/>
                      <a:pt x="25" y="99"/>
                    </a:cubicBezTo>
                    <a:cubicBezTo>
                      <a:pt x="35" y="101"/>
                      <a:pt x="47" y="102"/>
                      <a:pt x="60" y="102"/>
                    </a:cubicBezTo>
                    <a:cubicBezTo>
                      <a:pt x="149" y="102"/>
                      <a:pt x="288" y="50"/>
                      <a:pt x="347" y="5"/>
                    </a:cubicBezTo>
                    <a:cubicBezTo>
                      <a:pt x="354" y="0"/>
                      <a:pt x="365" y="0"/>
                      <a:pt x="372" y="5"/>
                    </a:cubicBezTo>
                    <a:cubicBezTo>
                      <a:pt x="431" y="50"/>
                      <a:pt x="570" y="102"/>
                      <a:pt x="659" y="102"/>
                    </a:cubicBezTo>
                    <a:cubicBezTo>
                      <a:pt x="672" y="102"/>
                      <a:pt x="684" y="101"/>
                      <a:pt x="694" y="99"/>
                    </a:cubicBezTo>
                    <a:cubicBezTo>
                      <a:pt x="700" y="97"/>
                      <a:pt x="706" y="99"/>
                      <a:pt x="711" y="103"/>
                    </a:cubicBezTo>
                    <a:cubicBezTo>
                      <a:pt x="716" y="106"/>
                      <a:pt x="718" y="112"/>
                      <a:pt x="718" y="118"/>
                    </a:cubicBezTo>
                    <a:cubicBezTo>
                      <a:pt x="718" y="553"/>
                      <a:pt x="611" y="682"/>
                      <a:pt x="369" y="806"/>
                    </a:cubicBezTo>
                    <a:cubicBezTo>
                      <a:pt x="366" y="808"/>
                      <a:pt x="363" y="809"/>
                      <a:pt x="360" y="809"/>
                    </a:cubicBezTo>
                    <a:close/>
                    <a:moveTo>
                      <a:pt x="41" y="141"/>
                    </a:moveTo>
                    <a:cubicBezTo>
                      <a:pt x="44" y="534"/>
                      <a:pt x="139" y="651"/>
                      <a:pt x="359" y="766"/>
                    </a:cubicBezTo>
                    <a:cubicBezTo>
                      <a:pt x="580" y="651"/>
                      <a:pt x="675" y="534"/>
                      <a:pt x="678" y="141"/>
                    </a:cubicBezTo>
                    <a:cubicBezTo>
                      <a:pt x="672" y="142"/>
                      <a:pt x="665" y="142"/>
                      <a:pt x="659" y="142"/>
                    </a:cubicBezTo>
                    <a:cubicBezTo>
                      <a:pt x="566" y="142"/>
                      <a:pt x="430" y="93"/>
                      <a:pt x="359" y="46"/>
                    </a:cubicBezTo>
                    <a:cubicBezTo>
                      <a:pt x="289" y="93"/>
                      <a:pt x="153" y="142"/>
                      <a:pt x="60" y="142"/>
                    </a:cubicBezTo>
                    <a:cubicBezTo>
                      <a:pt x="53" y="142"/>
                      <a:pt x="47" y="142"/>
                      <a:pt x="41" y="14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8" name="Freihandform: Form 87">
                <a:extLst>
                  <a:ext uri="{FF2B5EF4-FFF2-40B4-BE49-F238E27FC236}">
                    <a16:creationId xmlns:a16="http://schemas.microsoft.com/office/drawing/2014/main" id="{BB4A65BE-28BB-403D-8C10-D90F1C4AC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01660" y="2038956"/>
                <a:ext cx="571138" cy="643868"/>
              </a:xfrm>
              <a:custGeom>
                <a:avLst/>
                <a:gdLst>
                  <a:gd name="connsiteX0" fmla="*/ 387175 w 571138"/>
                  <a:gd name="connsiteY0" fmla="*/ 152118 h 643868"/>
                  <a:gd name="connsiteX1" fmla="*/ 337298 w 571138"/>
                  <a:gd name="connsiteY1" fmla="*/ 177145 h 643868"/>
                  <a:gd name="connsiteX2" fmla="*/ 252507 w 571138"/>
                  <a:gd name="connsiteY2" fmla="*/ 372351 h 643868"/>
                  <a:gd name="connsiteX3" fmla="*/ 232556 w 571138"/>
                  <a:gd name="connsiteY3" fmla="*/ 332309 h 643868"/>
                  <a:gd name="connsiteX4" fmla="*/ 182680 w 571138"/>
                  <a:gd name="connsiteY4" fmla="*/ 317293 h 643868"/>
                  <a:gd name="connsiteX5" fmla="*/ 167716 w 571138"/>
                  <a:gd name="connsiteY5" fmla="*/ 372351 h 643868"/>
                  <a:gd name="connsiteX6" fmla="*/ 227569 w 571138"/>
                  <a:gd name="connsiteY6" fmla="*/ 472457 h 643868"/>
                  <a:gd name="connsiteX7" fmla="*/ 262483 w 571138"/>
                  <a:gd name="connsiteY7" fmla="*/ 492478 h 643868"/>
                  <a:gd name="connsiteX8" fmla="*/ 297396 w 571138"/>
                  <a:gd name="connsiteY8" fmla="*/ 467452 h 643868"/>
                  <a:gd name="connsiteX9" fmla="*/ 407125 w 571138"/>
                  <a:gd name="connsiteY9" fmla="*/ 202171 h 643868"/>
                  <a:gd name="connsiteX10" fmla="*/ 387175 w 571138"/>
                  <a:gd name="connsiteY10" fmla="*/ 152118 h 643868"/>
                  <a:gd name="connsiteX11" fmla="*/ 285064 w 571138"/>
                  <a:gd name="connsiteY11" fmla="*/ 0 h 643868"/>
                  <a:gd name="connsiteX12" fmla="*/ 571138 w 571138"/>
                  <a:gd name="connsiteY12" fmla="*/ 90970 h 643868"/>
                  <a:gd name="connsiteX13" fmla="*/ 285064 w 571138"/>
                  <a:gd name="connsiteY13" fmla="*/ 643868 h 643868"/>
                  <a:gd name="connsiteX14" fmla="*/ 0 w 571138"/>
                  <a:gd name="connsiteY14" fmla="*/ 90970 h 643868"/>
                  <a:gd name="connsiteX15" fmla="*/ 285064 w 571138"/>
                  <a:gd name="connsiteY15" fmla="*/ 0 h 643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71138" h="643868">
                    <a:moveTo>
                      <a:pt x="387175" y="152118"/>
                    </a:moveTo>
                    <a:cubicBezTo>
                      <a:pt x="367224" y="147113"/>
                      <a:pt x="347273" y="152118"/>
                      <a:pt x="337298" y="177145"/>
                    </a:cubicBezTo>
                    <a:cubicBezTo>
                      <a:pt x="252507" y="372351"/>
                      <a:pt x="252507" y="372351"/>
                      <a:pt x="252507" y="372351"/>
                    </a:cubicBezTo>
                    <a:cubicBezTo>
                      <a:pt x="232556" y="332309"/>
                      <a:pt x="232556" y="332309"/>
                      <a:pt x="232556" y="332309"/>
                    </a:cubicBezTo>
                    <a:cubicBezTo>
                      <a:pt x="222581" y="317293"/>
                      <a:pt x="197643" y="307282"/>
                      <a:pt x="182680" y="317293"/>
                    </a:cubicBezTo>
                    <a:cubicBezTo>
                      <a:pt x="162729" y="327304"/>
                      <a:pt x="157741" y="352330"/>
                      <a:pt x="167716" y="372351"/>
                    </a:cubicBezTo>
                    <a:cubicBezTo>
                      <a:pt x="227569" y="472457"/>
                      <a:pt x="227569" y="472457"/>
                      <a:pt x="227569" y="472457"/>
                    </a:cubicBezTo>
                    <a:cubicBezTo>
                      <a:pt x="237544" y="482468"/>
                      <a:pt x="247519" y="492478"/>
                      <a:pt x="262483" y="492478"/>
                    </a:cubicBezTo>
                    <a:cubicBezTo>
                      <a:pt x="277446" y="487473"/>
                      <a:pt x="287421" y="482468"/>
                      <a:pt x="297396" y="467452"/>
                    </a:cubicBezTo>
                    <a:cubicBezTo>
                      <a:pt x="407125" y="202171"/>
                      <a:pt x="407125" y="202171"/>
                      <a:pt x="407125" y="202171"/>
                    </a:cubicBezTo>
                    <a:cubicBezTo>
                      <a:pt x="412113" y="182150"/>
                      <a:pt x="407125" y="162129"/>
                      <a:pt x="387175" y="152118"/>
                    </a:cubicBezTo>
                    <a:close/>
                    <a:moveTo>
                      <a:pt x="285064" y="0"/>
                    </a:moveTo>
                    <a:cubicBezTo>
                      <a:pt x="358857" y="43464"/>
                      <a:pt x="478139" y="85916"/>
                      <a:pt x="571138" y="90970"/>
                    </a:cubicBezTo>
                    <a:cubicBezTo>
                      <a:pt x="562040" y="432615"/>
                      <a:pt x="477128" y="540768"/>
                      <a:pt x="285064" y="643868"/>
                    </a:cubicBezTo>
                    <a:cubicBezTo>
                      <a:pt x="94010" y="540768"/>
                      <a:pt x="9098" y="432615"/>
                      <a:pt x="0" y="90970"/>
                    </a:cubicBezTo>
                    <a:cubicBezTo>
                      <a:pt x="92999" y="85916"/>
                      <a:pt x="212282" y="43464"/>
                      <a:pt x="285064" y="0"/>
                    </a:cubicBezTo>
                    <a:close/>
                  </a:path>
                </a:pathLst>
              </a:custGeom>
              <a:grpFill/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43FDDF7B-5AFC-46EA-87AF-07677D701521}"/>
              </a:ext>
            </a:extLst>
          </p:cNvPr>
          <p:cNvGrpSpPr/>
          <p:nvPr/>
        </p:nvGrpSpPr>
        <p:grpSpPr>
          <a:xfrm>
            <a:off x="4566295" y="1373576"/>
            <a:ext cx="1009402" cy="1009402"/>
            <a:chOff x="4566295" y="1150940"/>
            <a:chExt cx="1009402" cy="1009402"/>
          </a:xfrm>
        </p:grpSpPr>
        <p:sp>
          <p:nvSpPr>
            <p:cNvPr id="64" name="Rectangle 20">
              <a:extLst>
                <a:ext uri="{FF2B5EF4-FFF2-40B4-BE49-F238E27FC236}">
                  <a16:creationId xmlns:a16="http://schemas.microsoft.com/office/drawing/2014/main" id="{568A3455-0AA4-445A-9663-305C8303B00F}"/>
                </a:ext>
              </a:extLst>
            </p:cNvPr>
            <p:cNvSpPr/>
            <p:nvPr/>
          </p:nvSpPr>
          <p:spPr>
            <a:xfrm>
              <a:off x="4566295" y="1150940"/>
              <a:ext cx="1009402" cy="1009402"/>
            </a:xfrm>
            <a:prstGeom prst="ellipse">
              <a:avLst/>
            </a:prstGeom>
            <a:solidFill>
              <a:srgbClr val="C0DA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" tIns="108000" rIns="162000" bIns="108000" rtlCol="0" anchor="b"/>
            <a:lstStyle/>
            <a:p>
              <a:endParaRPr lang="fr-FR" sz="1200" b="1" dirty="0">
                <a:solidFill>
                  <a:schemeClr val="tx1"/>
                </a:solidFill>
              </a:endParaRPr>
            </a:p>
          </p:txBody>
        </p:sp>
        <p:grpSp>
          <p:nvGrpSpPr>
            <p:cNvPr id="91" name="Gruppieren 90">
              <a:extLst>
                <a:ext uri="{FF2B5EF4-FFF2-40B4-BE49-F238E27FC236}">
                  <a16:creationId xmlns:a16="http://schemas.microsoft.com/office/drawing/2014/main" id="{73B38F3E-D67D-4EE0-91AB-46A237EF7EC9}"/>
                </a:ext>
              </a:extLst>
            </p:cNvPr>
            <p:cNvGrpSpPr/>
            <p:nvPr/>
          </p:nvGrpSpPr>
          <p:grpSpPr>
            <a:xfrm>
              <a:off x="4816772" y="1490072"/>
              <a:ext cx="508449" cy="331138"/>
              <a:chOff x="6103938" y="-1128713"/>
              <a:chExt cx="687387" cy="447675"/>
            </a:xfrm>
            <a:solidFill>
              <a:schemeClr val="bg1"/>
            </a:solidFill>
          </p:grpSpPr>
          <p:sp>
            <p:nvSpPr>
              <p:cNvPr id="92" name="Freeform 25">
                <a:extLst>
                  <a:ext uri="{FF2B5EF4-FFF2-40B4-BE49-F238E27FC236}">
                    <a16:creationId xmlns:a16="http://schemas.microsoft.com/office/drawing/2014/main" id="{5EBAB320-98DA-4330-A5B4-D45B5F2313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2713" y="-927101"/>
                <a:ext cx="328612" cy="246063"/>
              </a:xfrm>
              <a:custGeom>
                <a:avLst/>
                <a:gdLst>
                  <a:gd name="T0" fmla="*/ 54 w 100"/>
                  <a:gd name="T1" fmla="*/ 40 h 74"/>
                  <a:gd name="T2" fmla="*/ 27 w 100"/>
                  <a:gd name="T3" fmla="*/ 53 h 74"/>
                  <a:gd name="T4" fmla="*/ 11 w 100"/>
                  <a:gd name="T5" fmla="*/ 54 h 74"/>
                  <a:gd name="T6" fmla="*/ 0 w 100"/>
                  <a:gd name="T7" fmla="*/ 45 h 74"/>
                  <a:gd name="T8" fmla="*/ 11 w 100"/>
                  <a:gd name="T9" fmla="*/ 35 h 74"/>
                  <a:gd name="T10" fmla="*/ 33 w 100"/>
                  <a:gd name="T11" fmla="*/ 33 h 74"/>
                  <a:gd name="T12" fmla="*/ 38 w 100"/>
                  <a:gd name="T13" fmla="*/ 30 h 74"/>
                  <a:gd name="T14" fmla="*/ 44 w 100"/>
                  <a:gd name="T15" fmla="*/ 19 h 74"/>
                  <a:gd name="T16" fmla="*/ 63 w 100"/>
                  <a:gd name="T17" fmla="*/ 4 h 74"/>
                  <a:gd name="T18" fmla="*/ 79 w 100"/>
                  <a:gd name="T19" fmla="*/ 1 h 74"/>
                  <a:gd name="T20" fmla="*/ 92 w 100"/>
                  <a:gd name="T21" fmla="*/ 8 h 74"/>
                  <a:gd name="T22" fmla="*/ 98 w 100"/>
                  <a:gd name="T23" fmla="*/ 36 h 74"/>
                  <a:gd name="T24" fmla="*/ 100 w 100"/>
                  <a:gd name="T25" fmla="*/ 68 h 74"/>
                  <a:gd name="T26" fmla="*/ 94 w 100"/>
                  <a:gd name="T27" fmla="*/ 74 h 74"/>
                  <a:gd name="T28" fmla="*/ 63 w 100"/>
                  <a:gd name="T29" fmla="*/ 74 h 74"/>
                  <a:gd name="T30" fmla="*/ 57 w 100"/>
                  <a:gd name="T31" fmla="*/ 68 h 74"/>
                  <a:gd name="T32" fmla="*/ 54 w 100"/>
                  <a:gd name="T33" fmla="*/ 4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74">
                    <a:moveTo>
                      <a:pt x="54" y="40"/>
                    </a:moveTo>
                    <a:cubicBezTo>
                      <a:pt x="48" y="52"/>
                      <a:pt x="37" y="52"/>
                      <a:pt x="27" y="53"/>
                    </a:cubicBezTo>
                    <a:cubicBezTo>
                      <a:pt x="22" y="54"/>
                      <a:pt x="16" y="54"/>
                      <a:pt x="11" y="54"/>
                    </a:cubicBezTo>
                    <a:cubicBezTo>
                      <a:pt x="5" y="55"/>
                      <a:pt x="1" y="51"/>
                      <a:pt x="0" y="45"/>
                    </a:cubicBezTo>
                    <a:cubicBezTo>
                      <a:pt x="0" y="39"/>
                      <a:pt x="4" y="35"/>
                      <a:pt x="11" y="35"/>
                    </a:cubicBezTo>
                    <a:cubicBezTo>
                      <a:pt x="18" y="35"/>
                      <a:pt x="26" y="35"/>
                      <a:pt x="33" y="33"/>
                    </a:cubicBezTo>
                    <a:cubicBezTo>
                      <a:pt x="36" y="33"/>
                      <a:pt x="37" y="32"/>
                      <a:pt x="38" y="30"/>
                    </a:cubicBezTo>
                    <a:cubicBezTo>
                      <a:pt x="40" y="26"/>
                      <a:pt x="42" y="23"/>
                      <a:pt x="44" y="19"/>
                    </a:cubicBezTo>
                    <a:cubicBezTo>
                      <a:pt x="48" y="10"/>
                      <a:pt x="54" y="5"/>
                      <a:pt x="63" y="4"/>
                    </a:cubicBezTo>
                    <a:cubicBezTo>
                      <a:pt x="69" y="3"/>
                      <a:pt x="74" y="1"/>
                      <a:pt x="79" y="1"/>
                    </a:cubicBezTo>
                    <a:cubicBezTo>
                      <a:pt x="85" y="0"/>
                      <a:pt x="90" y="2"/>
                      <a:pt x="92" y="8"/>
                    </a:cubicBezTo>
                    <a:cubicBezTo>
                      <a:pt x="96" y="17"/>
                      <a:pt x="97" y="26"/>
                      <a:pt x="98" y="36"/>
                    </a:cubicBezTo>
                    <a:cubicBezTo>
                      <a:pt x="99" y="46"/>
                      <a:pt x="100" y="57"/>
                      <a:pt x="100" y="68"/>
                    </a:cubicBezTo>
                    <a:cubicBezTo>
                      <a:pt x="100" y="73"/>
                      <a:pt x="99" y="74"/>
                      <a:pt x="94" y="74"/>
                    </a:cubicBezTo>
                    <a:cubicBezTo>
                      <a:pt x="84" y="74"/>
                      <a:pt x="73" y="74"/>
                      <a:pt x="63" y="74"/>
                    </a:cubicBezTo>
                    <a:cubicBezTo>
                      <a:pt x="59" y="74"/>
                      <a:pt x="58" y="72"/>
                      <a:pt x="57" y="68"/>
                    </a:cubicBezTo>
                    <a:cubicBezTo>
                      <a:pt x="56" y="59"/>
                      <a:pt x="55" y="50"/>
                      <a:pt x="54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3" name="Freeform 26">
                <a:extLst>
                  <a:ext uri="{FF2B5EF4-FFF2-40B4-BE49-F238E27FC236}">
                    <a16:creationId xmlns:a16="http://schemas.microsoft.com/office/drawing/2014/main" id="{01C4E93B-D5FF-46BF-AC87-8478C15901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3938" y="-927101"/>
                <a:ext cx="328612" cy="246063"/>
              </a:xfrm>
              <a:custGeom>
                <a:avLst/>
                <a:gdLst>
                  <a:gd name="T0" fmla="*/ 46 w 100"/>
                  <a:gd name="T1" fmla="*/ 40 h 74"/>
                  <a:gd name="T2" fmla="*/ 42 w 100"/>
                  <a:gd name="T3" fmla="*/ 70 h 74"/>
                  <a:gd name="T4" fmla="*/ 37 w 100"/>
                  <a:gd name="T5" fmla="*/ 74 h 74"/>
                  <a:gd name="T6" fmla="*/ 3 w 100"/>
                  <a:gd name="T7" fmla="*/ 73 h 74"/>
                  <a:gd name="T8" fmla="*/ 0 w 100"/>
                  <a:gd name="T9" fmla="*/ 70 h 74"/>
                  <a:gd name="T10" fmla="*/ 6 w 100"/>
                  <a:gd name="T11" fmla="*/ 11 h 74"/>
                  <a:gd name="T12" fmla="*/ 25 w 100"/>
                  <a:gd name="T13" fmla="*/ 1 h 74"/>
                  <a:gd name="T14" fmla="*/ 42 w 100"/>
                  <a:gd name="T15" fmla="*/ 5 h 74"/>
                  <a:gd name="T16" fmla="*/ 52 w 100"/>
                  <a:gd name="T17" fmla="*/ 13 h 74"/>
                  <a:gd name="T18" fmla="*/ 61 w 100"/>
                  <a:gd name="T19" fmla="*/ 29 h 74"/>
                  <a:gd name="T20" fmla="*/ 68 w 100"/>
                  <a:gd name="T21" fmla="*/ 31 h 74"/>
                  <a:gd name="T22" fmla="*/ 85 w 100"/>
                  <a:gd name="T23" fmla="*/ 23 h 74"/>
                  <a:gd name="T24" fmla="*/ 97 w 100"/>
                  <a:gd name="T25" fmla="*/ 25 h 74"/>
                  <a:gd name="T26" fmla="*/ 96 w 100"/>
                  <a:gd name="T27" fmla="*/ 37 h 74"/>
                  <a:gd name="T28" fmla="*/ 67 w 100"/>
                  <a:gd name="T29" fmla="*/ 51 h 74"/>
                  <a:gd name="T30" fmla="*/ 46 w 100"/>
                  <a:gd name="T31" fmla="*/ 4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0" h="74">
                    <a:moveTo>
                      <a:pt x="46" y="40"/>
                    </a:moveTo>
                    <a:cubicBezTo>
                      <a:pt x="44" y="50"/>
                      <a:pt x="43" y="60"/>
                      <a:pt x="42" y="70"/>
                    </a:cubicBezTo>
                    <a:cubicBezTo>
                      <a:pt x="41" y="73"/>
                      <a:pt x="40" y="74"/>
                      <a:pt x="37" y="74"/>
                    </a:cubicBezTo>
                    <a:cubicBezTo>
                      <a:pt x="26" y="74"/>
                      <a:pt x="14" y="74"/>
                      <a:pt x="3" y="73"/>
                    </a:cubicBezTo>
                    <a:cubicBezTo>
                      <a:pt x="0" y="73"/>
                      <a:pt x="0" y="72"/>
                      <a:pt x="0" y="70"/>
                    </a:cubicBezTo>
                    <a:cubicBezTo>
                      <a:pt x="0" y="50"/>
                      <a:pt x="1" y="30"/>
                      <a:pt x="6" y="11"/>
                    </a:cubicBezTo>
                    <a:cubicBezTo>
                      <a:pt x="9" y="0"/>
                      <a:pt x="14" y="0"/>
                      <a:pt x="25" y="1"/>
                    </a:cubicBezTo>
                    <a:cubicBezTo>
                      <a:pt x="30" y="2"/>
                      <a:pt x="36" y="4"/>
                      <a:pt x="42" y="5"/>
                    </a:cubicBezTo>
                    <a:cubicBezTo>
                      <a:pt x="46" y="6"/>
                      <a:pt x="50" y="9"/>
                      <a:pt x="52" y="13"/>
                    </a:cubicBezTo>
                    <a:cubicBezTo>
                      <a:pt x="56" y="18"/>
                      <a:pt x="58" y="23"/>
                      <a:pt x="61" y="29"/>
                    </a:cubicBezTo>
                    <a:cubicBezTo>
                      <a:pt x="63" y="32"/>
                      <a:pt x="65" y="33"/>
                      <a:pt x="68" y="31"/>
                    </a:cubicBezTo>
                    <a:cubicBezTo>
                      <a:pt x="74" y="29"/>
                      <a:pt x="79" y="26"/>
                      <a:pt x="85" y="23"/>
                    </a:cubicBezTo>
                    <a:cubicBezTo>
                      <a:pt x="89" y="20"/>
                      <a:pt x="94" y="21"/>
                      <a:pt x="97" y="25"/>
                    </a:cubicBezTo>
                    <a:cubicBezTo>
                      <a:pt x="100" y="28"/>
                      <a:pt x="100" y="34"/>
                      <a:pt x="96" y="37"/>
                    </a:cubicBezTo>
                    <a:cubicBezTo>
                      <a:pt x="88" y="44"/>
                      <a:pt x="78" y="49"/>
                      <a:pt x="67" y="51"/>
                    </a:cubicBezTo>
                    <a:cubicBezTo>
                      <a:pt x="57" y="52"/>
                      <a:pt x="51" y="48"/>
                      <a:pt x="46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4" name="Freeform 27">
                <a:extLst>
                  <a:ext uri="{FF2B5EF4-FFF2-40B4-BE49-F238E27FC236}">
                    <a16:creationId xmlns:a16="http://schemas.microsoft.com/office/drawing/2014/main" id="{C387C8B0-FB26-4D09-B3A9-CE5077FA9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0638" y="-1128713"/>
                <a:ext cx="153987" cy="228600"/>
              </a:xfrm>
              <a:custGeom>
                <a:avLst/>
                <a:gdLst>
                  <a:gd name="T0" fmla="*/ 29 w 47"/>
                  <a:gd name="T1" fmla="*/ 24 h 69"/>
                  <a:gd name="T2" fmla="*/ 41 w 47"/>
                  <a:gd name="T3" fmla="*/ 24 h 69"/>
                  <a:gd name="T4" fmla="*/ 45 w 47"/>
                  <a:gd name="T5" fmla="*/ 30 h 69"/>
                  <a:gd name="T6" fmla="*/ 23 w 47"/>
                  <a:gd name="T7" fmla="*/ 67 h 69"/>
                  <a:gd name="T8" fmla="*/ 19 w 47"/>
                  <a:gd name="T9" fmla="*/ 69 h 69"/>
                  <a:gd name="T10" fmla="*/ 16 w 47"/>
                  <a:gd name="T11" fmla="*/ 65 h 69"/>
                  <a:gd name="T12" fmla="*/ 17 w 47"/>
                  <a:gd name="T13" fmla="*/ 45 h 69"/>
                  <a:gd name="T14" fmla="*/ 14 w 47"/>
                  <a:gd name="T15" fmla="*/ 41 h 69"/>
                  <a:gd name="T16" fmla="*/ 5 w 47"/>
                  <a:gd name="T17" fmla="*/ 41 h 69"/>
                  <a:gd name="T18" fmla="*/ 1 w 47"/>
                  <a:gd name="T19" fmla="*/ 36 h 69"/>
                  <a:gd name="T20" fmla="*/ 11 w 47"/>
                  <a:gd name="T21" fmla="*/ 4 h 69"/>
                  <a:gd name="T22" fmla="*/ 16 w 47"/>
                  <a:gd name="T23" fmla="*/ 0 h 69"/>
                  <a:gd name="T24" fmla="*/ 32 w 47"/>
                  <a:gd name="T25" fmla="*/ 0 h 69"/>
                  <a:gd name="T26" fmla="*/ 36 w 47"/>
                  <a:gd name="T27" fmla="*/ 7 h 69"/>
                  <a:gd name="T28" fmla="*/ 29 w 47"/>
                  <a:gd name="T29" fmla="*/ 2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69">
                    <a:moveTo>
                      <a:pt x="29" y="24"/>
                    </a:moveTo>
                    <a:cubicBezTo>
                      <a:pt x="34" y="24"/>
                      <a:pt x="38" y="24"/>
                      <a:pt x="41" y="24"/>
                    </a:cubicBezTo>
                    <a:cubicBezTo>
                      <a:pt x="45" y="24"/>
                      <a:pt x="47" y="27"/>
                      <a:pt x="45" y="30"/>
                    </a:cubicBezTo>
                    <a:cubicBezTo>
                      <a:pt x="38" y="42"/>
                      <a:pt x="30" y="55"/>
                      <a:pt x="23" y="67"/>
                    </a:cubicBezTo>
                    <a:cubicBezTo>
                      <a:pt x="22" y="68"/>
                      <a:pt x="20" y="69"/>
                      <a:pt x="19" y="69"/>
                    </a:cubicBezTo>
                    <a:cubicBezTo>
                      <a:pt x="17" y="68"/>
                      <a:pt x="16" y="67"/>
                      <a:pt x="16" y="65"/>
                    </a:cubicBezTo>
                    <a:cubicBezTo>
                      <a:pt x="16" y="58"/>
                      <a:pt x="16" y="51"/>
                      <a:pt x="17" y="45"/>
                    </a:cubicBezTo>
                    <a:cubicBezTo>
                      <a:pt x="17" y="42"/>
                      <a:pt x="16" y="41"/>
                      <a:pt x="14" y="41"/>
                    </a:cubicBezTo>
                    <a:cubicBezTo>
                      <a:pt x="11" y="42"/>
                      <a:pt x="8" y="42"/>
                      <a:pt x="5" y="41"/>
                    </a:cubicBezTo>
                    <a:cubicBezTo>
                      <a:pt x="2" y="41"/>
                      <a:pt x="0" y="40"/>
                      <a:pt x="1" y="36"/>
                    </a:cubicBezTo>
                    <a:cubicBezTo>
                      <a:pt x="5" y="25"/>
                      <a:pt x="8" y="14"/>
                      <a:pt x="11" y="4"/>
                    </a:cubicBezTo>
                    <a:cubicBezTo>
                      <a:pt x="12" y="1"/>
                      <a:pt x="14" y="0"/>
                      <a:pt x="16" y="0"/>
                    </a:cubicBezTo>
                    <a:cubicBezTo>
                      <a:pt x="21" y="0"/>
                      <a:pt x="26" y="0"/>
                      <a:pt x="32" y="0"/>
                    </a:cubicBezTo>
                    <a:cubicBezTo>
                      <a:pt x="36" y="0"/>
                      <a:pt x="38" y="2"/>
                      <a:pt x="36" y="7"/>
                    </a:cubicBezTo>
                    <a:cubicBezTo>
                      <a:pt x="34" y="13"/>
                      <a:pt x="32" y="18"/>
                      <a:pt x="29" y="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5" name="Freeform 28">
                <a:extLst>
                  <a:ext uri="{FF2B5EF4-FFF2-40B4-BE49-F238E27FC236}">
                    <a16:creationId xmlns:a16="http://schemas.microsoft.com/office/drawing/2014/main" id="{B6DBBA90-C0F2-4090-AEF9-8690EFE74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9975" y="-1085851"/>
                <a:ext cx="144462" cy="149225"/>
              </a:xfrm>
              <a:custGeom>
                <a:avLst/>
                <a:gdLst>
                  <a:gd name="T0" fmla="*/ 22 w 44"/>
                  <a:gd name="T1" fmla="*/ 45 h 45"/>
                  <a:gd name="T2" fmla="*/ 0 w 44"/>
                  <a:gd name="T3" fmla="*/ 23 h 45"/>
                  <a:gd name="T4" fmla="*/ 22 w 44"/>
                  <a:gd name="T5" fmla="*/ 1 h 45"/>
                  <a:gd name="T6" fmla="*/ 44 w 44"/>
                  <a:gd name="T7" fmla="*/ 23 h 45"/>
                  <a:gd name="T8" fmla="*/ 22 w 44"/>
                  <a:gd name="T9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5">
                    <a:moveTo>
                      <a:pt x="22" y="45"/>
                    </a:moveTo>
                    <a:cubicBezTo>
                      <a:pt x="10" y="45"/>
                      <a:pt x="0" y="35"/>
                      <a:pt x="0" y="23"/>
                    </a:cubicBezTo>
                    <a:cubicBezTo>
                      <a:pt x="0" y="10"/>
                      <a:pt x="9" y="1"/>
                      <a:pt x="22" y="1"/>
                    </a:cubicBezTo>
                    <a:cubicBezTo>
                      <a:pt x="34" y="0"/>
                      <a:pt x="44" y="11"/>
                      <a:pt x="44" y="23"/>
                    </a:cubicBezTo>
                    <a:cubicBezTo>
                      <a:pt x="44" y="35"/>
                      <a:pt x="35" y="44"/>
                      <a:pt x="22" y="4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6" name="Freeform 29">
                <a:extLst>
                  <a:ext uri="{FF2B5EF4-FFF2-40B4-BE49-F238E27FC236}">
                    <a16:creationId xmlns:a16="http://schemas.microsoft.com/office/drawing/2014/main" id="{C46C965D-7AB6-4378-ABE3-FCFB3C7032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0825" y="-1082676"/>
                <a:ext cx="144462" cy="146050"/>
              </a:xfrm>
              <a:custGeom>
                <a:avLst/>
                <a:gdLst>
                  <a:gd name="T0" fmla="*/ 22 w 44"/>
                  <a:gd name="T1" fmla="*/ 44 h 44"/>
                  <a:gd name="T2" fmla="*/ 0 w 44"/>
                  <a:gd name="T3" fmla="*/ 22 h 44"/>
                  <a:gd name="T4" fmla="*/ 22 w 44"/>
                  <a:gd name="T5" fmla="*/ 0 h 44"/>
                  <a:gd name="T6" fmla="*/ 44 w 44"/>
                  <a:gd name="T7" fmla="*/ 22 h 44"/>
                  <a:gd name="T8" fmla="*/ 22 w 44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4">
                    <a:moveTo>
                      <a:pt x="22" y="44"/>
                    </a:moveTo>
                    <a:cubicBezTo>
                      <a:pt x="10" y="44"/>
                      <a:pt x="0" y="34"/>
                      <a:pt x="0" y="22"/>
                    </a:cubicBezTo>
                    <a:cubicBezTo>
                      <a:pt x="0" y="9"/>
                      <a:pt x="10" y="0"/>
                      <a:pt x="22" y="0"/>
                    </a:cubicBezTo>
                    <a:cubicBezTo>
                      <a:pt x="34" y="0"/>
                      <a:pt x="43" y="9"/>
                      <a:pt x="44" y="22"/>
                    </a:cubicBezTo>
                    <a:cubicBezTo>
                      <a:pt x="44" y="34"/>
                      <a:pt x="34" y="44"/>
                      <a:pt x="22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11096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B9AF4AA-A5C4-4E14-92AD-CA71CF5464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00762" y="0"/>
            <a:ext cx="3043237" cy="5143500"/>
          </a:xfrm>
        </p:spPr>
        <p:txBody>
          <a:bodyPr/>
          <a:lstStyle/>
          <a:p>
            <a:pPr algn="l" rtl="0"/>
            <a:r>
              <a:rPr lang="fr-FR" b="0" i="0" u="none" baseline="0"/>
              <a:t> </a:t>
            </a:r>
            <a:endParaRPr lang="fr-FR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2ACFC21-2B20-4C22-9419-8376E6EA83C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  <a:endParaRPr lang="fr-FR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074BC1-B71E-4403-AA3F-920A30EEEF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14</a:t>
            </a:fld>
            <a:endParaRPr lang="fr-FR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96A1A21F-8400-4E83-8200-37C303DE7A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4001" y="1150938"/>
            <a:ext cx="4644724" cy="260943"/>
          </a:xfrm>
        </p:spPr>
        <p:txBody>
          <a:bodyPr/>
          <a:lstStyle/>
          <a:p>
            <a:pPr algn="l" rtl="0"/>
            <a:r>
              <a:rPr lang="fr-FR" b="0" i="0" u="none" baseline="0"/>
              <a:t>Sur la base d’un exemple de clien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BE40AD2-3E37-41CD-815E-974D5526B6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5510130" cy="493950"/>
          </a:xfrm>
        </p:spPr>
        <p:txBody>
          <a:bodyPr/>
          <a:lstStyle/>
          <a:p>
            <a:pPr algn="l" rtl="0"/>
            <a:r>
              <a:rPr lang="fr-FR" b="1" i="0" u="none" baseline="0" dirty="0"/>
              <a:t>Un exemple d’amélioration des coûts par commande</a:t>
            </a:r>
            <a:endParaRPr lang="fr-FR" dirty="0"/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8759C7E4-F88F-40FA-9791-60EE0E03811F}"/>
              </a:ext>
            </a:extLst>
          </p:cNvPr>
          <p:cNvSpPr txBox="1">
            <a:spLocks/>
          </p:cNvSpPr>
          <p:nvPr/>
        </p:nvSpPr>
        <p:spPr>
          <a:xfrm>
            <a:off x="107592" y="4474479"/>
            <a:ext cx="6013433" cy="2031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fr-FR" b="0" i="0" u="none" baseline="0" dirty="0"/>
              <a:t>Tout cela en </a:t>
            </a:r>
            <a:r>
              <a:rPr lang="fr-FR" b="1" i="0" u="none" baseline="0" dirty="0"/>
              <a:t>améliorant le délai moyen de livraison </a:t>
            </a:r>
            <a:r>
              <a:rPr lang="fr-FR" b="0" i="0" u="none" baseline="0" dirty="0"/>
              <a:t>de </a:t>
            </a:r>
            <a:r>
              <a:rPr lang="fr-FR" b="1" i="0" u="none" baseline="0" dirty="0"/>
              <a:t>4 jours à la livraison le lendemain</a:t>
            </a: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258F9D59-D922-4F5C-B207-34EA0B6CB00B}"/>
              </a:ext>
            </a:extLst>
          </p:cNvPr>
          <p:cNvSpPr/>
          <p:nvPr/>
        </p:nvSpPr>
        <p:spPr>
          <a:xfrm>
            <a:off x="6352744" y="2351958"/>
            <a:ext cx="2571933" cy="2571933"/>
          </a:xfrm>
          <a:prstGeom prst="ellipse">
            <a:avLst/>
          </a:prstGeom>
          <a:solidFill>
            <a:srgbClr val="6FAE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spAutoFit/>
          </a:bodyPr>
          <a:lstStyle/>
          <a:p>
            <a:pPr algn="l" rtl="0"/>
            <a:endParaRPr lang="fr-FR" sz="1200" dirty="0" err="1">
              <a:solidFill>
                <a:schemeClr val="tx1"/>
              </a:solidFill>
            </a:endParaRPr>
          </a:p>
        </p:txBody>
      </p:sp>
      <p:pic>
        <p:nvPicPr>
          <p:cNvPr id="54" name="Grafik 53" descr="Ein Bild, das Person, darstellend enthält.&#10;&#10;Automatisch generierte Beschreibung">
            <a:extLst>
              <a:ext uri="{FF2B5EF4-FFF2-40B4-BE49-F238E27FC236}">
                <a16:creationId xmlns:a16="http://schemas.microsoft.com/office/drawing/2014/main" id="{69FC54B3-74F4-4AB1-A36B-D2271C0BEF58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1025" y="1755454"/>
            <a:ext cx="3074451" cy="3388045"/>
          </a:xfrm>
          <a:prstGeom prst="rect">
            <a:avLst/>
          </a:prstGeom>
        </p:spPr>
      </p:pic>
      <p:sp>
        <p:nvSpPr>
          <p:cNvPr id="61" name="Freeform 6">
            <a:extLst>
              <a:ext uri="{FF2B5EF4-FFF2-40B4-BE49-F238E27FC236}">
                <a16:creationId xmlns:a16="http://schemas.microsoft.com/office/drawing/2014/main" id="{610E2439-B0F7-4585-BD8B-AD7A41D60C9B}"/>
              </a:ext>
            </a:extLst>
          </p:cNvPr>
          <p:cNvSpPr/>
          <p:nvPr/>
        </p:nvSpPr>
        <p:spPr bwMode="auto">
          <a:xfrm>
            <a:off x="1643361" y="1757794"/>
            <a:ext cx="3111693" cy="1515475"/>
          </a:xfrm>
          <a:custGeom>
            <a:avLst/>
            <a:gdLst>
              <a:gd name="connsiteX0" fmla="*/ 51275 w 1649339"/>
              <a:gd name="connsiteY0" fmla="*/ 0 h 3700329"/>
              <a:gd name="connsiteX1" fmla="*/ 1632247 w 1649339"/>
              <a:gd name="connsiteY1" fmla="*/ 3093578 h 3700329"/>
              <a:gd name="connsiteX2" fmla="*/ 1649339 w 1649339"/>
              <a:gd name="connsiteY2" fmla="*/ 3700329 h 3700329"/>
              <a:gd name="connsiteX3" fmla="*/ 8546 w 1649339"/>
              <a:gd name="connsiteY3" fmla="*/ 2486826 h 3700329"/>
              <a:gd name="connsiteX4" fmla="*/ 0 w 1649339"/>
              <a:gd name="connsiteY4" fmla="*/ 59821 h 3700329"/>
              <a:gd name="connsiteX5" fmla="*/ 51275 w 1649339"/>
              <a:gd name="connsiteY5" fmla="*/ 0 h 3700329"/>
              <a:gd name="connsiteX0" fmla="*/ 118213 w 1716277"/>
              <a:gd name="connsiteY0" fmla="*/ 0 h 3700329"/>
              <a:gd name="connsiteX1" fmla="*/ 1699185 w 1716277"/>
              <a:gd name="connsiteY1" fmla="*/ 3093578 h 3700329"/>
              <a:gd name="connsiteX2" fmla="*/ 1716277 w 1716277"/>
              <a:gd name="connsiteY2" fmla="*/ 3700329 h 3700329"/>
              <a:gd name="connsiteX3" fmla="*/ 75484 w 1716277"/>
              <a:gd name="connsiteY3" fmla="*/ 2486826 h 3700329"/>
              <a:gd name="connsiteX4" fmla="*/ 0 w 1716277"/>
              <a:gd name="connsiteY4" fmla="*/ 797276 h 3700329"/>
              <a:gd name="connsiteX5" fmla="*/ 118213 w 1716277"/>
              <a:gd name="connsiteY5" fmla="*/ 0 h 3700329"/>
              <a:gd name="connsiteX0" fmla="*/ 45189 w 1716277"/>
              <a:gd name="connsiteY0" fmla="*/ 0 h 3223681"/>
              <a:gd name="connsiteX1" fmla="*/ 1699185 w 1716277"/>
              <a:gd name="connsiteY1" fmla="*/ 2616930 h 3223681"/>
              <a:gd name="connsiteX2" fmla="*/ 1716277 w 1716277"/>
              <a:gd name="connsiteY2" fmla="*/ 3223681 h 3223681"/>
              <a:gd name="connsiteX3" fmla="*/ 75484 w 1716277"/>
              <a:gd name="connsiteY3" fmla="*/ 2010178 h 3223681"/>
              <a:gd name="connsiteX4" fmla="*/ 0 w 1716277"/>
              <a:gd name="connsiteY4" fmla="*/ 320628 h 3223681"/>
              <a:gd name="connsiteX5" fmla="*/ 45189 w 1716277"/>
              <a:gd name="connsiteY5" fmla="*/ 0 h 3223681"/>
              <a:gd name="connsiteX0" fmla="*/ 45189 w 1716277"/>
              <a:gd name="connsiteY0" fmla="*/ 0 h 3223681"/>
              <a:gd name="connsiteX1" fmla="*/ 1699185 w 1716277"/>
              <a:gd name="connsiteY1" fmla="*/ 2616930 h 3223681"/>
              <a:gd name="connsiteX2" fmla="*/ 1716277 w 1716277"/>
              <a:gd name="connsiteY2" fmla="*/ 3223681 h 3223681"/>
              <a:gd name="connsiteX3" fmla="*/ 69399 w 1716277"/>
              <a:gd name="connsiteY3" fmla="*/ 2387898 h 3223681"/>
              <a:gd name="connsiteX4" fmla="*/ 0 w 1716277"/>
              <a:gd name="connsiteY4" fmla="*/ 320628 h 3223681"/>
              <a:gd name="connsiteX5" fmla="*/ 45189 w 1716277"/>
              <a:gd name="connsiteY5" fmla="*/ 0 h 3223681"/>
              <a:gd name="connsiteX0" fmla="*/ 45189 w 1716277"/>
              <a:gd name="connsiteY0" fmla="*/ 0 h 3223681"/>
              <a:gd name="connsiteX1" fmla="*/ 1711356 w 1716277"/>
              <a:gd name="connsiteY1" fmla="*/ 1780548 h 3223681"/>
              <a:gd name="connsiteX2" fmla="*/ 1716277 w 1716277"/>
              <a:gd name="connsiteY2" fmla="*/ 3223681 h 3223681"/>
              <a:gd name="connsiteX3" fmla="*/ 69399 w 1716277"/>
              <a:gd name="connsiteY3" fmla="*/ 2387898 h 3223681"/>
              <a:gd name="connsiteX4" fmla="*/ 0 w 1716277"/>
              <a:gd name="connsiteY4" fmla="*/ 320628 h 3223681"/>
              <a:gd name="connsiteX5" fmla="*/ 45189 w 1716277"/>
              <a:gd name="connsiteY5" fmla="*/ 0 h 3223681"/>
              <a:gd name="connsiteX0" fmla="*/ 45189 w 1716277"/>
              <a:gd name="connsiteY0" fmla="*/ 0 h 2387898"/>
              <a:gd name="connsiteX1" fmla="*/ 1711356 w 1716277"/>
              <a:gd name="connsiteY1" fmla="*/ 1780548 h 2387898"/>
              <a:gd name="connsiteX2" fmla="*/ 1716277 w 1716277"/>
              <a:gd name="connsiteY2" fmla="*/ 2252399 h 2387898"/>
              <a:gd name="connsiteX3" fmla="*/ 69399 w 1716277"/>
              <a:gd name="connsiteY3" fmla="*/ 2387898 h 2387898"/>
              <a:gd name="connsiteX4" fmla="*/ 0 w 1716277"/>
              <a:gd name="connsiteY4" fmla="*/ 320628 h 2387898"/>
              <a:gd name="connsiteX5" fmla="*/ 45189 w 1716277"/>
              <a:gd name="connsiteY5" fmla="*/ 0 h 2387898"/>
              <a:gd name="connsiteX0" fmla="*/ 45189 w 1716277"/>
              <a:gd name="connsiteY0" fmla="*/ 0 h 2513805"/>
              <a:gd name="connsiteX1" fmla="*/ 1711356 w 1716277"/>
              <a:gd name="connsiteY1" fmla="*/ 1780548 h 2513805"/>
              <a:gd name="connsiteX2" fmla="*/ 1716277 w 1716277"/>
              <a:gd name="connsiteY2" fmla="*/ 2252399 h 2513805"/>
              <a:gd name="connsiteX3" fmla="*/ 51143 w 1716277"/>
              <a:gd name="connsiteY3" fmla="*/ 2513805 h 2513805"/>
              <a:gd name="connsiteX4" fmla="*/ 0 w 1716277"/>
              <a:gd name="connsiteY4" fmla="*/ 320628 h 2513805"/>
              <a:gd name="connsiteX5" fmla="*/ 45189 w 1716277"/>
              <a:gd name="connsiteY5" fmla="*/ 0 h 2513805"/>
              <a:gd name="connsiteX0" fmla="*/ 205246 w 1876334"/>
              <a:gd name="connsiteY0" fmla="*/ 0 h 2513805"/>
              <a:gd name="connsiteX1" fmla="*/ 1871413 w 1876334"/>
              <a:gd name="connsiteY1" fmla="*/ 1780548 h 2513805"/>
              <a:gd name="connsiteX2" fmla="*/ 1876334 w 1876334"/>
              <a:gd name="connsiteY2" fmla="*/ 2252399 h 2513805"/>
              <a:gd name="connsiteX3" fmla="*/ 211200 w 1876334"/>
              <a:gd name="connsiteY3" fmla="*/ 2513805 h 2513805"/>
              <a:gd name="connsiteX4" fmla="*/ 205246 w 1876334"/>
              <a:gd name="connsiteY4" fmla="*/ 0 h 2513805"/>
              <a:gd name="connsiteX0" fmla="*/ 0 w 1671088"/>
              <a:gd name="connsiteY0" fmla="*/ 0 h 2513805"/>
              <a:gd name="connsiteX1" fmla="*/ 1666167 w 1671088"/>
              <a:gd name="connsiteY1" fmla="*/ 1780548 h 2513805"/>
              <a:gd name="connsiteX2" fmla="*/ 1671088 w 1671088"/>
              <a:gd name="connsiteY2" fmla="*/ 2252399 h 2513805"/>
              <a:gd name="connsiteX3" fmla="*/ 5954 w 1671088"/>
              <a:gd name="connsiteY3" fmla="*/ 2513805 h 2513805"/>
              <a:gd name="connsiteX4" fmla="*/ 0 w 1671088"/>
              <a:gd name="connsiteY4" fmla="*/ 0 h 2513805"/>
              <a:gd name="connsiteX0" fmla="*/ 0 w 1672517"/>
              <a:gd name="connsiteY0" fmla="*/ 0 h 2513805"/>
              <a:gd name="connsiteX1" fmla="*/ 1672140 w 1672517"/>
              <a:gd name="connsiteY1" fmla="*/ 1453900 h 2513805"/>
              <a:gd name="connsiteX2" fmla="*/ 1671088 w 1672517"/>
              <a:gd name="connsiteY2" fmla="*/ 2252399 h 2513805"/>
              <a:gd name="connsiteX3" fmla="*/ 5954 w 1672517"/>
              <a:gd name="connsiteY3" fmla="*/ 2513805 h 2513805"/>
              <a:gd name="connsiteX4" fmla="*/ 0 w 1672517"/>
              <a:gd name="connsiteY4" fmla="*/ 0 h 2513805"/>
              <a:gd name="connsiteX0" fmla="*/ 0 w 1672517"/>
              <a:gd name="connsiteY0" fmla="*/ 0 h 2513805"/>
              <a:gd name="connsiteX1" fmla="*/ 1672140 w 1672517"/>
              <a:gd name="connsiteY1" fmla="*/ 1453900 h 2513805"/>
              <a:gd name="connsiteX2" fmla="*/ 1671088 w 1672517"/>
              <a:gd name="connsiteY2" fmla="*/ 2111146 h 2513805"/>
              <a:gd name="connsiteX3" fmla="*/ 5954 w 1672517"/>
              <a:gd name="connsiteY3" fmla="*/ 2513805 h 2513805"/>
              <a:gd name="connsiteX4" fmla="*/ 0 w 1672517"/>
              <a:gd name="connsiteY4" fmla="*/ 0 h 2513805"/>
              <a:gd name="connsiteX0" fmla="*/ 0 w 1672517"/>
              <a:gd name="connsiteY0" fmla="*/ 0 h 2513805"/>
              <a:gd name="connsiteX1" fmla="*/ 1672140 w 1672517"/>
              <a:gd name="connsiteY1" fmla="*/ 1453900 h 2513805"/>
              <a:gd name="connsiteX2" fmla="*/ 1671088 w 1672517"/>
              <a:gd name="connsiteY2" fmla="*/ 2111146 h 2513805"/>
              <a:gd name="connsiteX3" fmla="*/ 5954 w 1672517"/>
              <a:gd name="connsiteY3" fmla="*/ 2513805 h 2513805"/>
              <a:gd name="connsiteX4" fmla="*/ 0 w 1672517"/>
              <a:gd name="connsiteY4" fmla="*/ 0 h 2513805"/>
              <a:gd name="connsiteX0" fmla="*/ 1589 w 1674106"/>
              <a:gd name="connsiteY0" fmla="*/ 0 h 2611333"/>
              <a:gd name="connsiteX1" fmla="*/ 1673729 w 1674106"/>
              <a:gd name="connsiteY1" fmla="*/ 1453900 h 2611333"/>
              <a:gd name="connsiteX2" fmla="*/ 1672677 w 1674106"/>
              <a:gd name="connsiteY2" fmla="*/ 2111146 h 2611333"/>
              <a:gd name="connsiteX3" fmla="*/ 468 w 1674106"/>
              <a:gd name="connsiteY3" fmla="*/ 2611333 h 2611333"/>
              <a:gd name="connsiteX4" fmla="*/ 1589 w 1674106"/>
              <a:gd name="connsiteY4" fmla="*/ 0 h 2611333"/>
              <a:gd name="connsiteX0" fmla="*/ 1589 w 1673890"/>
              <a:gd name="connsiteY0" fmla="*/ 0 h 2611333"/>
              <a:gd name="connsiteX1" fmla="*/ 1673729 w 1673890"/>
              <a:gd name="connsiteY1" fmla="*/ 1453900 h 2611333"/>
              <a:gd name="connsiteX2" fmla="*/ 1665602 w 1673890"/>
              <a:gd name="connsiteY2" fmla="*/ 2403736 h 2611333"/>
              <a:gd name="connsiteX3" fmla="*/ 468 w 1673890"/>
              <a:gd name="connsiteY3" fmla="*/ 2611333 h 2611333"/>
              <a:gd name="connsiteX4" fmla="*/ 1589 w 1673890"/>
              <a:gd name="connsiteY4" fmla="*/ 0 h 2611333"/>
              <a:gd name="connsiteX0" fmla="*/ 1589 w 1673890"/>
              <a:gd name="connsiteY0" fmla="*/ 0 h 2611333"/>
              <a:gd name="connsiteX1" fmla="*/ 1673729 w 1673890"/>
              <a:gd name="connsiteY1" fmla="*/ 952318 h 2611333"/>
              <a:gd name="connsiteX2" fmla="*/ 1665602 w 1673890"/>
              <a:gd name="connsiteY2" fmla="*/ 2403736 h 2611333"/>
              <a:gd name="connsiteX3" fmla="*/ 468 w 1673890"/>
              <a:gd name="connsiteY3" fmla="*/ 2611333 h 2611333"/>
              <a:gd name="connsiteX4" fmla="*/ 1589 w 1673890"/>
              <a:gd name="connsiteY4" fmla="*/ 0 h 2611333"/>
              <a:gd name="connsiteX0" fmla="*/ 1589 w 1673890"/>
              <a:gd name="connsiteY0" fmla="*/ 0 h 2611333"/>
              <a:gd name="connsiteX1" fmla="*/ 1673729 w 1673890"/>
              <a:gd name="connsiteY1" fmla="*/ 952318 h 2611333"/>
              <a:gd name="connsiteX2" fmla="*/ 1665602 w 1673890"/>
              <a:gd name="connsiteY2" fmla="*/ 2403736 h 2611333"/>
              <a:gd name="connsiteX3" fmla="*/ 468 w 1673890"/>
              <a:gd name="connsiteY3" fmla="*/ 2611333 h 2611333"/>
              <a:gd name="connsiteX4" fmla="*/ 1589 w 1673890"/>
              <a:gd name="connsiteY4" fmla="*/ 0 h 2611333"/>
              <a:gd name="connsiteX0" fmla="*/ 1589 w 1665602"/>
              <a:gd name="connsiteY0" fmla="*/ 0 h 2611333"/>
              <a:gd name="connsiteX1" fmla="*/ 1659408 w 1665602"/>
              <a:gd name="connsiteY1" fmla="*/ 779805 h 2611333"/>
              <a:gd name="connsiteX2" fmla="*/ 1665602 w 1665602"/>
              <a:gd name="connsiteY2" fmla="*/ 2403736 h 2611333"/>
              <a:gd name="connsiteX3" fmla="*/ 468 w 1665602"/>
              <a:gd name="connsiteY3" fmla="*/ 2611333 h 2611333"/>
              <a:gd name="connsiteX4" fmla="*/ 1589 w 1665602"/>
              <a:gd name="connsiteY4" fmla="*/ 0 h 2611333"/>
              <a:gd name="connsiteX0" fmla="*/ 1589 w 1662021"/>
              <a:gd name="connsiteY0" fmla="*/ 0 h 2611333"/>
              <a:gd name="connsiteX1" fmla="*/ 1659408 w 1662021"/>
              <a:gd name="connsiteY1" fmla="*/ 779805 h 2611333"/>
              <a:gd name="connsiteX2" fmla="*/ 1662021 w 1662021"/>
              <a:gd name="connsiteY2" fmla="*/ 2392234 h 2611333"/>
              <a:gd name="connsiteX3" fmla="*/ 468 w 1662021"/>
              <a:gd name="connsiteY3" fmla="*/ 2611333 h 2611333"/>
              <a:gd name="connsiteX4" fmla="*/ 1589 w 1662021"/>
              <a:gd name="connsiteY4" fmla="*/ 0 h 2611333"/>
              <a:gd name="connsiteX0" fmla="*/ 1589 w 1669182"/>
              <a:gd name="connsiteY0" fmla="*/ 0 h 2611333"/>
              <a:gd name="connsiteX1" fmla="*/ 1659408 w 1669182"/>
              <a:gd name="connsiteY1" fmla="*/ 779805 h 2611333"/>
              <a:gd name="connsiteX2" fmla="*/ 1669182 w 1669182"/>
              <a:gd name="connsiteY2" fmla="*/ 2426738 h 2611333"/>
              <a:gd name="connsiteX3" fmla="*/ 468 w 1669182"/>
              <a:gd name="connsiteY3" fmla="*/ 2611333 h 2611333"/>
              <a:gd name="connsiteX4" fmla="*/ 1589 w 1669182"/>
              <a:gd name="connsiteY4" fmla="*/ 0 h 2611333"/>
              <a:gd name="connsiteX0" fmla="*/ 1589 w 1669182"/>
              <a:gd name="connsiteY0" fmla="*/ 0 h 2611333"/>
              <a:gd name="connsiteX1" fmla="*/ 1659408 w 1669182"/>
              <a:gd name="connsiteY1" fmla="*/ 779805 h 2611333"/>
              <a:gd name="connsiteX2" fmla="*/ 1669182 w 1669182"/>
              <a:gd name="connsiteY2" fmla="*/ 2426738 h 2611333"/>
              <a:gd name="connsiteX3" fmla="*/ 468 w 1669182"/>
              <a:gd name="connsiteY3" fmla="*/ 2611333 h 2611333"/>
              <a:gd name="connsiteX4" fmla="*/ 1589 w 1669182"/>
              <a:gd name="connsiteY4" fmla="*/ 0 h 2611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69182" h="2611333">
                <a:moveTo>
                  <a:pt x="1589" y="0"/>
                </a:moveTo>
                <a:lnTo>
                  <a:pt x="1659408" y="779805"/>
                </a:lnTo>
                <a:cubicBezTo>
                  <a:pt x="1661048" y="1260849"/>
                  <a:pt x="1667542" y="1945694"/>
                  <a:pt x="1669182" y="2426738"/>
                </a:cubicBezTo>
                <a:lnTo>
                  <a:pt x="468" y="2611333"/>
                </a:lnTo>
                <a:cubicBezTo>
                  <a:pt x="-1517" y="1773398"/>
                  <a:pt x="3574" y="837935"/>
                  <a:pt x="1589" y="0"/>
                </a:cubicBezTo>
                <a:close/>
              </a:path>
            </a:pathLst>
          </a:custGeom>
          <a:solidFill>
            <a:srgbClr val="87C4D6">
              <a:alpha val="4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algn="l" defTabSz="746522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1000" dirty="0">
              <a:latin typeface="Delivery" panose="020F0503020204020204" pitchFamily="34" charset="0"/>
            </a:endParaRPr>
          </a:p>
        </p:txBody>
      </p:sp>
      <p:sp>
        <p:nvSpPr>
          <p:cNvPr id="63" name="Freeform 5">
            <a:extLst>
              <a:ext uri="{FF2B5EF4-FFF2-40B4-BE49-F238E27FC236}">
                <a16:creationId xmlns:a16="http://schemas.microsoft.com/office/drawing/2014/main" id="{B003AF3B-12EF-4375-AFF1-2D5B67C0DF68}"/>
              </a:ext>
            </a:extLst>
          </p:cNvPr>
          <p:cNvSpPr/>
          <p:nvPr/>
        </p:nvSpPr>
        <p:spPr bwMode="auto">
          <a:xfrm>
            <a:off x="1645619" y="3174645"/>
            <a:ext cx="3118107" cy="849707"/>
          </a:xfrm>
          <a:custGeom>
            <a:avLst/>
            <a:gdLst>
              <a:gd name="connsiteX0" fmla="*/ 18990 w 1693966"/>
              <a:gd name="connsiteY0" fmla="*/ 0 h 1367327"/>
              <a:gd name="connsiteX1" fmla="*/ 1693966 w 1693966"/>
              <a:gd name="connsiteY1" fmla="*/ 1213503 h 1367327"/>
              <a:gd name="connsiteX2" fmla="*/ 1685420 w 1693966"/>
              <a:gd name="connsiteY2" fmla="*/ 1367327 h 1367327"/>
              <a:gd name="connsiteX3" fmla="*/ 1899 w 1693966"/>
              <a:gd name="connsiteY3" fmla="*/ 752030 h 1367327"/>
              <a:gd name="connsiteX4" fmla="*/ 18990 w 1693966"/>
              <a:gd name="connsiteY4" fmla="*/ 0 h 1367327"/>
              <a:gd name="connsiteX0" fmla="*/ 12409 w 1699556"/>
              <a:gd name="connsiteY0" fmla="*/ 0 h 917659"/>
              <a:gd name="connsiteX1" fmla="*/ 1699556 w 1699556"/>
              <a:gd name="connsiteY1" fmla="*/ 763835 h 917659"/>
              <a:gd name="connsiteX2" fmla="*/ 1691010 w 1699556"/>
              <a:gd name="connsiteY2" fmla="*/ 917659 h 917659"/>
              <a:gd name="connsiteX3" fmla="*/ 7489 w 1699556"/>
              <a:gd name="connsiteY3" fmla="*/ 302362 h 917659"/>
              <a:gd name="connsiteX4" fmla="*/ 12409 w 1699556"/>
              <a:gd name="connsiteY4" fmla="*/ 0 h 917659"/>
              <a:gd name="connsiteX0" fmla="*/ 10465 w 1697612"/>
              <a:gd name="connsiteY0" fmla="*/ 0 h 917659"/>
              <a:gd name="connsiteX1" fmla="*/ 1697612 w 1697612"/>
              <a:gd name="connsiteY1" fmla="*/ 763835 h 917659"/>
              <a:gd name="connsiteX2" fmla="*/ 1689066 w 1697612"/>
              <a:gd name="connsiteY2" fmla="*/ 917659 h 917659"/>
              <a:gd name="connsiteX3" fmla="*/ 11631 w 1697612"/>
              <a:gd name="connsiteY3" fmla="*/ 877936 h 917659"/>
              <a:gd name="connsiteX4" fmla="*/ 10465 w 1697612"/>
              <a:gd name="connsiteY4" fmla="*/ 0 h 917659"/>
              <a:gd name="connsiteX0" fmla="*/ 10465 w 1689066"/>
              <a:gd name="connsiteY0" fmla="*/ 261407 h 1179066"/>
              <a:gd name="connsiteX1" fmla="*/ 1673271 w 1689066"/>
              <a:gd name="connsiteY1" fmla="*/ 0 h 1179066"/>
              <a:gd name="connsiteX2" fmla="*/ 1689066 w 1689066"/>
              <a:gd name="connsiteY2" fmla="*/ 1179066 h 1179066"/>
              <a:gd name="connsiteX3" fmla="*/ 11631 w 1689066"/>
              <a:gd name="connsiteY3" fmla="*/ 1139343 h 1179066"/>
              <a:gd name="connsiteX4" fmla="*/ 10465 w 1689066"/>
              <a:gd name="connsiteY4" fmla="*/ 261407 h 1179066"/>
              <a:gd name="connsiteX0" fmla="*/ 10465 w 1689066"/>
              <a:gd name="connsiteY0" fmla="*/ 261407 h 1139343"/>
              <a:gd name="connsiteX1" fmla="*/ 1673271 w 1689066"/>
              <a:gd name="connsiteY1" fmla="*/ 0 h 1139343"/>
              <a:gd name="connsiteX2" fmla="*/ 1689066 w 1689066"/>
              <a:gd name="connsiteY2" fmla="*/ 1134099 h 1139343"/>
              <a:gd name="connsiteX3" fmla="*/ 11631 w 1689066"/>
              <a:gd name="connsiteY3" fmla="*/ 1139343 h 1139343"/>
              <a:gd name="connsiteX4" fmla="*/ 10465 w 1689066"/>
              <a:gd name="connsiteY4" fmla="*/ 261407 h 1139343"/>
              <a:gd name="connsiteX0" fmla="*/ 10465 w 1689066"/>
              <a:gd name="connsiteY0" fmla="*/ 367347 h 1245283"/>
              <a:gd name="connsiteX1" fmla="*/ 1679245 w 1689066"/>
              <a:gd name="connsiteY1" fmla="*/ 0 h 1245283"/>
              <a:gd name="connsiteX2" fmla="*/ 1689066 w 1689066"/>
              <a:gd name="connsiteY2" fmla="*/ 1240039 h 1245283"/>
              <a:gd name="connsiteX3" fmla="*/ 11631 w 1689066"/>
              <a:gd name="connsiteY3" fmla="*/ 1245283 h 1245283"/>
              <a:gd name="connsiteX4" fmla="*/ 10465 w 1689066"/>
              <a:gd name="connsiteY4" fmla="*/ 367347 h 1245283"/>
              <a:gd name="connsiteX0" fmla="*/ 16251 w 1680695"/>
              <a:gd name="connsiteY0" fmla="*/ 263778 h 1245283"/>
              <a:gd name="connsiteX1" fmla="*/ 1670874 w 1680695"/>
              <a:gd name="connsiteY1" fmla="*/ 0 h 1245283"/>
              <a:gd name="connsiteX2" fmla="*/ 1680695 w 1680695"/>
              <a:gd name="connsiteY2" fmla="*/ 1240039 h 1245283"/>
              <a:gd name="connsiteX3" fmla="*/ 3260 w 1680695"/>
              <a:gd name="connsiteY3" fmla="*/ 1245283 h 1245283"/>
              <a:gd name="connsiteX4" fmla="*/ 16251 w 1680695"/>
              <a:gd name="connsiteY4" fmla="*/ 263778 h 1245283"/>
              <a:gd name="connsiteX0" fmla="*/ 16251 w 1680695"/>
              <a:gd name="connsiteY0" fmla="*/ 217747 h 1199252"/>
              <a:gd name="connsiteX1" fmla="*/ 1670874 w 1680695"/>
              <a:gd name="connsiteY1" fmla="*/ 0 h 1199252"/>
              <a:gd name="connsiteX2" fmla="*/ 1680695 w 1680695"/>
              <a:gd name="connsiteY2" fmla="*/ 1194008 h 1199252"/>
              <a:gd name="connsiteX3" fmla="*/ 3260 w 1680695"/>
              <a:gd name="connsiteY3" fmla="*/ 1199252 h 1199252"/>
              <a:gd name="connsiteX4" fmla="*/ 16251 w 1680695"/>
              <a:gd name="connsiteY4" fmla="*/ 217747 h 1199252"/>
              <a:gd name="connsiteX0" fmla="*/ 16251 w 1680695"/>
              <a:gd name="connsiteY0" fmla="*/ 217747 h 1199252"/>
              <a:gd name="connsiteX1" fmla="*/ 1670874 w 1680695"/>
              <a:gd name="connsiteY1" fmla="*/ 0 h 1199252"/>
              <a:gd name="connsiteX2" fmla="*/ 1680695 w 1680695"/>
              <a:gd name="connsiteY2" fmla="*/ 1194008 h 1199252"/>
              <a:gd name="connsiteX3" fmla="*/ 3260 w 1680695"/>
              <a:gd name="connsiteY3" fmla="*/ 1199252 h 1199252"/>
              <a:gd name="connsiteX4" fmla="*/ 16251 w 1680695"/>
              <a:gd name="connsiteY4" fmla="*/ 217747 h 1199252"/>
              <a:gd name="connsiteX0" fmla="*/ 664 w 2229016"/>
              <a:gd name="connsiteY0" fmla="*/ 94015 h 1199252"/>
              <a:gd name="connsiteX1" fmla="*/ 2219195 w 2229016"/>
              <a:gd name="connsiteY1" fmla="*/ 0 h 1199252"/>
              <a:gd name="connsiteX2" fmla="*/ 2229016 w 2229016"/>
              <a:gd name="connsiteY2" fmla="*/ 1194008 h 1199252"/>
              <a:gd name="connsiteX3" fmla="*/ 551581 w 2229016"/>
              <a:gd name="connsiteY3" fmla="*/ 1199252 h 1199252"/>
              <a:gd name="connsiteX4" fmla="*/ 664 w 2229016"/>
              <a:gd name="connsiteY4" fmla="*/ 94015 h 1199252"/>
              <a:gd name="connsiteX0" fmla="*/ 0 w 2228352"/>
              <a:gd name="connsiteY0" fmla="*/ 94015 h 1199252"/>
              <a:gd name="connsiteX1" fmla="*/ 2218531 w 2228352"/>
              <a:gd name="connsiteY1" fmla="*/ 0 h 1199252"/>
              <a:gd name="connsiteX2" fmla="*/ 2228352 w 2228352"/>
              <a:gd name="connsiteY2" fmla="*/ 1194008 h 1199252"/>
              <a:gd name="connsiteX3" fmla="*/ 550917 w 2228352"/>
              <a:gd name="connsiteY3" fmla="*/ 1199252 h 1199252"/>
              <a:gd name="connsiteX4" fmla="*/ 0 w 2228352"/>
              <a:gd name="connsiteY4" fmla="*/ 94015 h 1199252"/>
              <a:gd name="connsiteX0" fmla="*/ 0 w 2228352"/>
              <a:gd name="connsiteY0" fmla="*/ 94015 h 1199252"/>
              <a:gd name="connsiteX1" fmla="*/ 2218531 w 2228352"/>
              <a:gd name="connsiteY1" fmla="*/ 0 h 1199252"/>
              <a:gd name="connsiteX2" fmla="*/ 2228352 w 2228352"/>
              <a:gd name="connsiteY2" fmla="*/ 1194008 h 1199252"/>
              <a:gd name="connsiteX3" fmla="*/ 550917 w 2228352"/>
              <a:gd name="connsiteY3" fmla="*/ 1199252 h 1199252"/>
              <a:gd name="connsiteX4" fmla="*/ 0 w 2228352"/>
              <a:gd name="connsiteY4" fmla="*/ 94015 h 1199252"/>
              <a:gd name="connsiteX0" fmla="*/ 319 w 2228671"/>
              <a:gd name="connsiteY0" fmla="*/ 94015 h 1261119"/>
              <a:gd name="connsiteX1" fmla="*/ 2218850 w 2228671"/>
              <a:gd name="connsiteY1" fmla="*/ 0 h 1261119"/>
              <a:gd name="connsiteX2" fmla="*/ 2228671 w 2228671"/>
              <a:gd name="connsiteY2" fmla="*/ 1194008 h 1261119"/>
              <a:gd name="connsiteX3" fmla="*/ 0 w 2228671"/>
              <a:gd name="connsiteY3" fmla="*/ 1261119 h 1261119"/>
              <a:gd name="connsiteX4" fmla="*/ 319 w 2228671"/>
              <a:gd name="connsiteY4" fmla="*/ 94015 h 1261119"/>
              <a:gd name="connsiteX0" fmla="*/ 319 w 2957316"/>
              <a:gd name="connsiteY0" fmla="*/ 94015 h 1261119"/>
              <a:gd name="connsiteX1" fmla="*/ 2218850 w 2957316"/>
              <a:gd name="connsiteY1" fmla="*/ 0 h 1261119"/>
              <a:gd name="connsiteX2" fmla="*/ 2957316 w 2957316"/>
              <a:gd name="connsiteY2" fmla="*/ 1255874 h 1261119"/>
              <a:gd name="connsiteX3" fmla="*/ 0 w 2957316"/>
              <a:gd name="connsiteY3" fmla="*/ 1261119 h 1261119"/>
              <a:gd name="connsiteX4" fmla="*/ 319 w 2957316"/>
              <a:gd name="connsiteY4" fmla="*/ 94015 h 1261119"/>
              <a:gd name="connsiteX0" fmla="*/ 319 w 2957316"/>
              <a:gd name="connsiteY0" fmla="*/ 145570 h 1312674"/>
              <a:gd name="connsiteX1" fmla="*/ 2947496 w 2957316"/>
              <a:gd name="connsiteY1" fmla="*/ 0 h 1312674"/>
              <a:gd name="connsiteX2" fmla="*/ 2957316 w 2957316"/>
              <a:gd name="connsiteY2" fmla="*/ 1307429 h 1312674"/>
              <a:gd name="connsiteX3" fmla="*/ 0 w 2957316"/>
              <a:gd name="connsiteY3" fmla="*/ 1312674 h 1312674"/>
              <a:gd name="connsiteX4" fmla="*/ 319 w 2957316"/>
              <a:gd name="connsiteY4" fmla="*/ 145570 h 1312674"/>
              <a:gd name="connsiteX0" fmla="*/ 319 w 2957316"/>
              <a:gd name="connsiteY0" fmla="*/ 145570 h 1312674"/>
              <a:gd name="connsiteX1" fmla="*/ 2947496 w 2957316"/>
              <a:gd name="connsiteY1" fmla="*/ 0 h 1312674"/>
              <a:gd name="connsiteX2" fmla="*/ 2957316 w 2957316"/>
              <a:gd name="connsiteY2" fmla="*/ 1307429 h 1312674"/>
              <a:gd name="connsiteX3" fmla="*/ 0 w 2957316"/>
              <a:gd name="connsiteY3" fmla="*/ 1312674 h 1312674"/>
              <a:gd name="connsiteX4" fmla="*/ 319 w 2957316"/>
              <a:gd name="connsiteY4" fmla="*/ 145570 h 1312674"/>
              <a:gd name="connsiteX0" fmla="*/ 2 w 2960013"/>
              <a:gd name="connsiteY0" fmla="*/ 165190 h 1312674"/>
              <a:gd name="connsiteX1" fmla="*/ 2950193 w 2960013"/>
              <a:gd name="connsiteY1" fmla="*/ 0 h 1312674"/>
              <a:gd name="connsiteX2" fmla="*/ 2960013 w 2960013"/>
              <a:gd name="connsiteY2" fmla="*/ 1307429 h 1312674"/>
              <a:gd name="connsiteX3" fmla="*/ 2697 w 2960013"/>
              <a:gd name="connsiteY3" fmla="*/ 1312674 h 1312674"/>
              <a:gd name="connsiteX4" fmla="*/ 2 w 2960013"/>
              <a:gd name="connsiteY4" fmla="*/ 165190 h 1312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60013" h="1312674">
                <a:moveTo>
                  <a:pt x="2" y="165190"/>
                </a:moveTo>
                <a:lnTo>
                  <a:pt x="2950193" y="0"/>
                </a:lnTo>
                <a:cubicBezTo>
                  <a:pt x="2953466" y="435810"/>
                  <a:pt x="2956740" y="871619"/>
                  <a:pt x="2960013" y="1307429"/>
                </a:cubicBezTo>
                <a:lnTo>
                  <a:pt x="2697" y="1312674"/>
                </a:lnTo>
                <a:cubicBezTo>
                  <a:pt x="2803" y="923639"/>
                  <a:pt x="-104" y="554225"/>
                  <a:pt x="2" y="165190"/>
                </a:cubicBezTo>
                <a:close/>
              </a:path>
            </a:pathLst>
          </a:custGeom>
          <a:solidFill>
            <a:srgbClr val="8ECCCB">
              <a:alpha val="4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algn="l" defTabSz="746522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1000" dirty="0">
              <a:latin typeface="Delivery" panose="020F0503020204020204" pitchFamily="34" charset="0"/>
            </a:endParaRPr>
          </a:p>
        </p:txBody>
      </p:sp>
      <p:cxnSp>
        <p:nvCxnSpPr>
          <p:cNvPr id="65" name="Straight Connector 123">
            <a:extLst>
              <a:ext uri="{FF2B5EF4-FFF2-40B4-BE49-F238E27FC236}">
                <a16:creationId xmlns:a16="http://schemas.microsoft.com/office/drawing/2014/main" id="{DBB70521-8CF9-4B03-83B0-A23E6DEA0CB0}"/>
              </a:ext>
            </a:extLst>
          </p:cNvPr>
          <p:cNvCxnSpPr>
            <a:endCxn id="68" idx="1"/>
          </p:cNvCxnSpPr>
          <p:nvPr/>
        </p:nvCxnSpPr>
        <p:spPr>
          <a:xfrm flipH="1">
            <a:off x="4804189" y="2604371"/>
            <a:ext cx="3" cy="797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6" name="Chart 83">
            <a:extLst>
              <a:ext uri="{FF2B5EF4-FFF2-40B4-BE49-F238E27FC236}">
                <a16:creationId xmlns:a16="http://schemas.microsoft.com/office/drawing/2014/main" id="{49A68A9D-E2CB-4654-B7A3-7E81073F9F63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727922"/>
              </p:ext>
            </p:extLst>
          </p:nvPr>
        </p:nvGraphicFramePr>
        <p:xfrm>
          <a:off x="4508914" y="1698305"/>
          <a:ext cx="879872" cy="2390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67" name="Textplatzhalter 60">
            <a:extLst>
              <a:ext uri="{FF2B5EF4-FFF2-40B4-BE49-F238E27FC236}">
                <a16:creationId xmlns:a16="http://schemas.microsoft.com/office/drawing/2014/main" id="{D2099384-316F-4A62-A81A-B628C8B5C491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275335" y="4071220"/>
            <a:ext cx="1347590" cy="159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–"/>
              <a:tabLst/>
              <a:def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3pPr>
            <a:lvl4pPr marL="54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–"/>
              <a:tabLst/>
              <a:def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spcBef>
                <a:spcPct val="0"/>
              </a:spcBef>
              <a:spcAft>
                <a:spcPct val="0"/>
              </a:spcAft>
            </a:pPr>
            <a:r>
              <a:rPr lang="fr-FR" sz="1000" b="1" i="0" u="none" baseline="0">
                <a:latin typeface="Delivery" panose="020F0503020204020204" pitchFamily="34" charset="0"/>
                <a:ea typeface="+mj-ea"/>
                <a:cs typeface="+mj-cs"/>
              </a:rPr>
              <a:t>Configuration DHL EFN </a:t>
            </a:r>
            <a:r>
              <a:rPr lang="fr-FR" sz="1000" b="0" i="0" u="none" baseline="0">
                <a:latin typeface="Delivery" panose="020F0503020204020204" pitchFamily="34" charset="0"/>
                <a:ea typeface="+mj-ea"/>
                <a:cs typeface="+mj-cs"/>
              </a:rPr>
              <a:t>– 6 sites</a:t>
            </a:r>
            <a:endParaRPr lang="fr-FR" sz="1000" dirty="0">
              <a:latin typeface="Delivery" panose="020F0503020204020204" pitchFamily="34" charset="0"/>
              <a:ea typeface="+mj-ea"/>
              <a:cs typeface="+mj-cs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5497A919-6B03-433F-82E1-59A583739A5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804189" y="2604370"/>
            <a:ext cx="289322" cy="159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b="0" i="0" u="none" baseline="0">
                <a:solidFill>
                  <a:schemeClr val="bg1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53 %</a:t>
            </a:r>
            <a:endParaRPr lang="fr-FR" sz="1000" dirty="0">
              <a:solidFill>
                <a:schemeClr val="bg1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48DB42A7-0ED5-4081-89A1-A8337AC0D6C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804189" y="3518770"/>
            <a:ext cx="289322" cy="159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b="0" i="0" u="none" baseline="0">
                <a:solidFill>
                  <a:schemeClr val="bg1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47 %</a:t>
            </a:r>
            <a:endParaRPr lang="fr-FR" sz="1000" dirty="0">
              <a:solidFill>
                <a:schemeClr val="bg1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graphicFrame>
        <p:nvGraphicFramePr>
          <p:cNvPr id="70" name="Chart 84">
            <a:extLst>
              <a:ext uri="{FF2B5EF4-FFF2-40B4-BE49-F238E27FC236}">
                <a16:creationId xmlns:a16="http://schemas.microsoft.com/office/drawing/2014/main" id="{BBF37D42-C290-489E-827C-09E771FE884D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15567411"/>
              </p:ext>
            </p:extLst>
          </p:nvPr>
        </p:nvGraphicFramePr>
        <p:xfrm>
          <a:off x="1002506" y="1698305"/>
          <a:ext cx="879872" cy="2390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8C6DF96-B289-480C-8687-55F2BA19367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298446" y="3568777"/>
            <a:ext cx="289322" cy="159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b="0" i="0" u="none" baseline="0">
                <a:solidFill>
                  <a:schemeClr val="bg1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33 %</a:t>
            </a:r>
            <a:endParaRPr lang="fr-FR" sz="1000" dirty="0">
              <a:solidFill>
                <a:schemeClr val="bg1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EEDD73A3-85C3-463D-9C7C-7D699B7DCEF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98446" y="2435302"/>
            <a:ext cx="289322" cy="159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b="0" i="0" u="none" baseline="0">
                <a:solidFill>
                  <a:schemeClr val="bg1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67 %</a:t>
            </a:r>
            <a:endParaRPr lang="fr-FR" sz="1000" dirty="0">
              <a:solidFill>
                <a:schemeClr val="bg1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C3D0F813-D28E-4B30-8AC2-245784A37EB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56022" y="2435302"/>
            <a:ext cx="569119" cy="159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1B043362-00F3-402A-AB40-711E44C2C6E9}" type="datetime'Dernier kilomètre'">
              <a:rPr sz="1000" b="1">
                <a:latin typeface="Delivery" panose="020F0503020204020204" pitchFamily="34" charset="0"/>
                <a:sym typeface="Delivery" panose="020F0503020204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ernier kilomètre</a:t>
            </a:fld>
            <a:endParaRPr lang="fr-FR" sz="1000" b="1" dirty="0"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26A23C09-EBE6-40E4-903B-561E161B92B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98819" y="4071221"/>
            <a:ext cx="128605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b="1" i="0" u="none" baseline="0" dirty="0">
                <a:latin typeface="Delivery" panose="020F0503020204020204" pitchFamily="34" charset="0"/>
                <a:sym typeface="Delivery" panose="020F0503020204020204" pitchFamily="34" charset="0"/>
              </a:rPr>
              <a:t>Configuration actuelle </a:t>
            </a:r>
            <a:r>
              <a:rPr lang="fr-FR" sz="1000" b="0" i="0" u="none" baseline="0" dirty="0">
                <a:latin typeface="Delivery" panose="020F0503020204020204" pitchFamily="34" charset="0"/>
                <a:sym typeface="Delivery" panose="020F0503020204020204" pitchFamily="34" charset="0"/>
              </a:rPr>
              <a:t>– 2 sites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C500FD09-2832-4D9A-9CC9-3092E00329D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23850" y="3568777"/>
            <a:ext cx="801291" cy="159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7D9F4C61-9563-45A4-A407-107385F5758D}" type="datetime'Entreposage'">
              <a:rPr sz="1000" b="1">
                <a:latin typeface="Delivery" panose="020F0503020204020204" pitchFamily="34" charset="0"/>
                <a:sym typeface="Delivery" panose="020F0503020204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ntreposage</a:t>
            </a:fld>
            <a:endParaRPr lang="fr-FR" sz="1000" b="1" dirty="0"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cxnSp>
        <p:nvCxnSpPr>
          <p:cNvPr id="76" name="Elbow Connector 18">
            <a:extLst>
              <a:ext uri="{FF2B5EF4-FFF2-40B4-BE49-F238E27FC236}">
                <a16:creationId xmlns:a16="http://schemas.microsoft.com/office/drawing/2014/main" id="{5CA72B13-CDCE-4D3A-BCF9-105D599F9426}"/>
              </a:ext>
            </a:extLst>
          </p:cNvPr>
          <p:cNvCxnSpPr>
            <a:cxnSpLocks/>
            <a:stCxn id="70" idx="0"/>
            <a:endCxn id="78" idx="2"/>
          </p:cNvCxnSpPr>
          <p:nvPr/>
        </p:nvCxnSpPr>
        <p:spPr bwMode="auto">
          <a:xfrm rot="5400000" flipH="1" flipV="1">
            <a:off x="2102703" y="817802"/>
            <a:ext cx="220242" cy="1540765"/>
          </a:xfrm>
          <a:prstGeom prst="bentConnector2">
            <a:avLst/>
          </a:prstGeom>
          <a:solidFill>
            <a:schemeClr val="bg1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7" name="Elbow Connector 19">
            <a:extLst>
              <a:ext uri="{FF2B5EF4-FFF2-40B4-BE49-F238E27FC236}">
                <a16:creationId xmlns:a16="http://schemas.microsoft.com/office/drawing/2014/main" id="{3762C506-6825-4CE1-8E82-81B904C9DB51}"/>
              </a:ext>
            </a:extLst>
          </p:cNvPr>
          <p:cNvCxnSpPr>
            <a:cxnSpLocks/>
            <a:stCxn id="78" idx="6"/>
            <a:endCxn id="130" idx="0"/>
          </p:cNvCxnSpPr>
          <p:nvPr/>
        </p:nvCxnSpPr>
        <p:spPr bwMode="auto">
          <a:xfrm>
            <a:off x="3415207" y="1478063"/>
            <a:ext cx="1534618" cy="645294"/>
          </a:xfrm>
          <a:prstGeom prst="bentConnector2">
            <a:avLst/>
          </a:prstGeom>
          <a:solidFill>
            <a:schemeClr val="bg1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78" name="Oval 21">
            <a:extLst>
              <a:ext uri="{FF2B5EF4-FFF2-40B4-BE49-F238E27FC236}">
                <a16:creationId xmlns:a16="http://schemas.microsoft.com/office/drawing/2014/main" id="{0A4DFF31-ECDC-4B25-AAE5-68B069F6F8D5}"/>
              </a:ext>
            </a:extLst>
          </p:cNvPr>
          <p:cNvSpPr/>
          <p:nvPr/>
        </p:nvSpPr>
        <p:spPr bwMode="auto">
          <a:xfrm>
            <a:off x="2983207" y="1262063"/>
            <a:ext cx="432000" cy="432000"/>
          </a:xfrm>
          <a:prstGeom prst="ellipse">
            <a:avLst/>
          </a:prstGeom>
          <a:solidFill>
            <a:srgbClr val="FABD6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54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6522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00" b="1" i="0" u="none" baseline="0">
                <a:solidFill>
                  <a:schemeClr val="bg1"/>
                </a:solidFill>
                <a:latin typeface="Delivery" panose="020F0503020204020204" pitchFamily="34" charset="0"/>
              </a:rPr>
              <a:t>-19 %</a:t>
            </a:r>
          </a:p>
        </p:txBody>
      </p:sp>
      <p:sp>
        <p:nvSpPr>
          <p:cNvPr id="80" name="Oval 100">
            <a:extLst>
              <a:ext uri="{FF2B5EF4-FFF2-40B4-BE49-F238E27FC236}">
                <a16:creationId xmlns:a16="http://schemas.microsoft.com/office/drawing/2014/main" id="{C8444213-A689-4468-9FAA-BB337A5614E2}"/>
              </a:ext>
            </a:extLst>
          </p:cNvPr>
          <p:cNvSpPr/>
          <p:nvPr/>
        </p:nvSpPr>
        <p:spPr bwMode="auto">
          <a:xfrm>
            <a:off x="2983207" y="2412766"/>
            <a:ext cx="432000" cy="432000"/>
          </a:xfrm>
          <a:prstGeom prst="ellipse">
            <a:avLst/>
          </a:prstGeom>
          <a:solidFill>
            <a:srgbClr val="FABD6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54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6522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00" b="1" i="0" u="none" baseline="0">
                <a:solidFill>
                  <a:schemeClr val="bg1"/>
                </a:solidFill>
                <a:latin typeface="Delivery" panose="020F0503020204020204" pitchFamily="34" charset="0"/>
              </a:rPr>
              <a:t>-36 %</a:t>
            </a:r>
          </a:p>
        </p:txBody>
      </p:sp>
      <p:sp>
        <p:nvSpPr>
          <p:cNvPr id="82" name="Oval 120">
            <a:extLst>
              <a:ext uri="{FF2B5EF4-FFF2-40B4-BE49-F238E27FC236}">
                <a16:creationId xmlns:a16="http://schemas.microsoft.com/office/drawing/2014/main" id="{952B02E1-35F0-4CE3-A39C-FC2C55A0CA0C}"/>
              </a:ext>
            </a:extLst>
          </p:cNvPr>
          <p:cNvSpPr/>
          <p:nvPr/>
        </p:nvSpPr>
        <p:spPr bwMode="auto">
          <a:xfrm>
            <a:off x="2983207" y="3423124"/>
            <a:ext cx="432000" cy="432000"/>
          </a:xfrm>
          <a:prstGeom prst="ellipse">
            <a:avLst/>
          </a:prstGeom>
          <a:solidFill>
            <a:srgbClr val="FABD6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54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6522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00" b="1" i="0" u="none" baseline="0">
                <a:solidFill>
                  <a:schemeClr val="bg1"/>
                </a:solidFill>
                <a:latin typeface="Delivery" panose="020F0503020204020204" pitchFamily="34" charset="0"/>
              </a:rPr>
              <a:t>+13 %</a:t>
            </a:r>
            <a:endParaRPr lang="fr-FR" sz="1000" b="1" dirty="0">
              <a:solidFill>
                <a:schemeClr val="bg1"/>
              </a:solidFill>
              <a:latin typeface="Delivery" panose="020F0503020204020204" pitchFamily="34" charset="0"/>
            </a:endParaRPr>
          </a:p>
        </p:txBody>
      </p:sp>
      <p:sp>
        <p:nvSpPr>
          <p:cNvPr id="84" name="TextBox 9">
            <a:extLst>
              <a:ext uri="{FF2B5EF4-FFF2-40B4-BE49-F238E27FC236}">
                <a16:creationId xmlns:a16="http://schemas.microsoft.com/office/drawing/2014/main" id="{7E3EDDA9-8570-4E6E-8571-5CAD2B126D01}"/>
              </a:ext>
            </a:extLst>
          </p:cNvPr>
          <p:cNvSpPr txBox="1"/>
          <p:nvPr/>
        </p:nvSpPr>
        <p:spPr>
          <a:xfrm>
            <a:off x="2478443" y="1683706"/>
            <a:ext cx="14766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0"/>
            <a:r>
              <a:rPr lang="fr-FR" sz="1000" b="1" i="0" u="none" baseline="0" dirty="0"/>
              <a:t>réduction totale des coûts de gestion des commandes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B625D21D-ECDC-474D-9BE2-B5D133A36736}"/>
              </a:ext>
            </a:extLst>
          </p:cNvPr>
          <p:cNvSpPr/>
          <p:nvPr/>
        </p:nvSpPr>
        <p:spPr>
          <a:xfrm>
            <a:off x="4864100" y="2123357"/>
            <a:ext cx="171450" cy="88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spAutoFit/>
          </a:bodyPr>
          <a:lstStyle/>
          <a:p>
            <a:pPr algn="l" rtl="0"/>
            <a:endParaRPr lang="fr-FR" sz="12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0254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CA36CDD-25D6-4972-B186-EE59F04B2F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00761" y="0"/>
            <a:ext cx="3043237" cy="5143500"/>
          </a:xfrm>
        </p:spPr>
        <p:txBody>
          <a:bodyPr/>
          <a:lstStyle/>
          <a:p>
            <a:pPr algn="l" rtl="0"/>
            <a:r>
              <a:rPr lang="fr-FR" b="0" i="0" u="none" baseline="0"/>
              <a:t> </a:t>
            </a:r>
            <a:endParaRPr lang="fr-FR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8562D8-8FB9-41E1-873F-9DBDE7C5C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FD711EE-E231-4BBA-ACB7-428F6AFF2CB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36747" y="1118098"/>
            <a:ext cx="5694925" cy="3530600"/>
          </a:xfrm>
        </p:spPr>
        <p:txBody>
          <a:bodyPr/>
          <a:lstStyle/>
          <a:p>
            <a:pPr lvl="1" algn="l" rtl="0">
              <a:spcAft>
                <a:spcPts val="1200"/>
              </a:spcAft>
            </a:pPr>
            <a:r>
              <a:rPr lang="fr-FR" b="1" i="0" u="none" baseline="0" dirty="0"/>
              <a:t>Une entreprise technologique établie</a:t>
            </a:r>
            <a:r>
              <a:rPr lang="fr-FR" b="0" i="0" u="none" baseline="0" dirty="0"/>
              <a:t> est passée d’une stratégie de gestion des commandes centralisée à trois nœuds de réseau distribués, ce qui a permis de réduire considérablement les coûts logistiques totaux </a:t>
            </a:r>
          </a:p>
          <a:p>
            <a:pPr lvl="1" algn="l" rtl="0">
              <a:spcAft>
                <a:spcPts val="1200"/>
              </a:spcAft>
            </a:pPr>
            <a:r>
              <a:rPr lang="fr-FR" b="1" i="0" u="none" baseline="0" dirty="0"/>
              <a:t>Une société d’électroménager premium </a:t>
            </a:r>
            <a:r>
              <a:rPr lang="fr-FR" b="0" i="0" u="none" baseline="0" dirty="0"/>
              <a:t>a couvert les risques du </a:t>
            </a:r>
            <a:r>
              <a:rPr lang="fr-FR" b="0" i="0" u="none" baseline="0" dirty="0" err="1"/>
              <a:t>Brexit</a:t>
            </a:r>
            <a:r>
              <a:rPr lang="fr-FR" b="0" i="0" u="none" baseline="0" dirty="0"/>
              <a:t> et a amélioré ses niveaux de service en sous-traitant la gestion des commandes en ligne pour ses clients britanniques</a:t>
            </a:r>
          </a:p>
          <a:p>
            <a:pPr lvl="1" algn="l" rtl="0">
              <a:spcAft>
                <a:spcPts val="1200"/>
              </a:spcAft>
            </a:pPr>
            <a:r>
              <a:rPr lang="fr-FR" b="1" i="0" u="none" baseline="0" dirty="0"/>
              <a:t>Un acteur du secteur de la mode en ligne </a:t>
            </a:r>
            <a:r>
              <a:rPr lang="fr-FR" b="0" i="0" u="none" baseline="0" dirty="0"/>
              <a:t>a été confronté à l’arrêt du traitement des commandes en ligne dans un pays, mais a pu continuer à desservir le marché à partir d’un centre de traitement de DHL EFN</a:t>
            </a:r>
          </a:p>
          <a:p>
            <a:pPr lvl="1" algn="l" rtl="0">
              <a:spcAft>
                <a:spcPts val="1200"/>
              </a:spcAft>
            </a:pPr>
            <a:r>
              <a:rPr lang="fr-FR" b="1" i="0" u="none" baseline="0" dirty="0"/>
              <a:t>Un grand détaillant de vêtements </a:t>
            </a:r>
            <a:r>
              <a:rPr lang="fr-FR" b="0" i="0" u="none" baseline="0" dirty="0"/>
              <a:t>a fait passer ses campagnes de vente de la filière stationnaire aux canaux en ligne, ce qui a permis un flux de trésorerie continu et des ventes en ligne plus importantes pendant la période de COVID-19</a:t>
            </a:r>
          </a:p>
          <a:p>
            <a:pPr lvl="1" algn="l" rtl="0">
              <a:spcAft>
                <a:spcPts val="1200"/>
              </a:spcAft>
            </a:pPr>
            <a:r>
              <a:rPr lang="fr-FR" b="0" i="0" u="none" baseline="0" dirty="0"/>
              <a:t>...et nous en ajoutons d’autres à mesure que nous faisons participer davantage de clients et que nous les aidons à relever leurs défis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39CF002-E2AB-4E15-A97D-B623729D0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fr-FR" dirty="0"/>
              <a:t/>
            </a:r>
            <a:br>
              <a:rPr lang="fr-FR" dirty="0"/>
            </a:br>
            <a:r>
              <a:rPr lang="fr-FR" b="1" i="0" u="none" baseline="0" dirty="0"/>
              <a:t>Nous avons déjà des exemples </a:t>
            </a:r>
            <a:r>
              <a:rPr lang="fr-FR" b="1" i="0" u="none" baseline="0" dirty="0" smtClean="0"/>
              <a:t>concrets</a:t>
            </a:r>
            <a:endParaRPr lang="fr-FR" dirty="0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60F5BEDE-B764-465B-91FE-F284BEDBE2B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042474" y="0"/>
            <a:ext cx="3101524" cy="5143499"/>
          </a:xfrm>
          <a:prstGeom prst="rect">
            <a:avLst/>
          </a:prstGeom>
        </p:spPr>
      </p:pic>
      <p:sp>
        <p:nvSpPr>
          <p:cNvPr id="34" name="Foliennummernplatzhalter 33">
            <a:extLst>
              <a:ext uri="{FF2B5EF4-FFF2-40B4-BE49-F238E27FC236}">
                <a16:creationId xmlns:a16="http://schemas.microsoft.com/office/drawing/2014/main" id="{DE9EAD1C-1BC5-47E5-B0A3-66F894656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0245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EDCFEBB-A643-4627-96D4-8434A9CE0C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00762" y="0"/>
            <a:ext cx="3043237" cy="5143500"/>
          </a:xfrm>
        </p:spPr>
        <p:txBody>
          <a:bodyPr/>
          <a:lstStyle/>
          <a:p>
            <a:pPr algn="l" rtl="0"/>
            <a:r>
              <a:rPr lang="fr-FR" b="0" i="0" u="none" baseline="0"/>
              <a:t> </a:t>
            </a:r>
            <a:endParaRPr lang="fr-FR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988EFF9-256D-4936-9874-1681119A36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</a:t>
            </a:r>
            <a:r>
              <a:rPr lang="fr-FR" b="0" i="0" u="none" baseline="0">
                <a:effectLst/>
              </a:rPr>
              <a:t>DHL European Fulfillment Network </a:t>
            </a:r>
            <a:r>
              <a:rPr lang="fr-FR" b="0" i="0" u="none" baseline="0"/>
              <a:t>| 2021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CDE6ECF-5F73-4E4D-835D-54B6E3E6FE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16</a:t>
            </a:fld>
            <a:endParaRPr lang="fr-FR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A4936C0-5208-4165-B623-57DB0576BEEC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71705" y="928682"/>
            <a:ext cx="2299931" cy="2291977"/>
          </a:xfrm>
        </p:spPr>
        <p:txBody>
          <a:bodyPr/>
          <a:lstStyle/>
          <a:p>
            <a:pPr algn="l" rtl="0"/>
            <a:r>
              <a:rPr lang="fr-FR" b="1" i="0" u="none" baseline="0" dirty="0"/>
              <a:t>Aidez-nous à comprendre votre chaîne logistique</a:t>
            </a:r>
          </a:p>
          <a:p>
            <a:pPr lvl="1" algn="l" rtl="0"/>
            <a:r>
              <a:rPr lang="fr-FR" b="0" i="0" u="none" baseline="0" dirty="0"/>
              <a:t>Quels marchés européens souhaitez-vous desservir dans le domaine du commerce électronique B2C ?</a:t>
            </a:r>
          </a:p>
          <a:p>
            <a:pPr lvl="1" algn="l" rtl="0"/>
            <a:r>
              <a:rPr lang="fr-FR" b="0" i="0" u="none" baseline="0" dirty="0"/>
              <a:t>Quels sont les niveaux de service souhaités/idéaux que vous visez, et en quoi cela remet-il en cause votre </a:t>
            </a:r>
            <a:r>
              <a:rPr lang="fr-FR" b="0" i="0" u="none" baseline="0" dirty="0" smtClean="0"/>
              <a:t>organisation </a:t>
            </a:r>
            <a:r>
              <a:rPr lang="fr-FR" b="0" i="0" u="none" baseline="0" dirty="0"/>
              <a:t>actuelle ?</a:t>
            </a:r>
          </a:p>
          <a:p>
            <a:endParaRPr lang="fr-FR" dirty="0"/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83391BAB-589D-4062-AD6C-997CF4F89449}"/>
              </a:ext>
            </a:extLst>
          </p:cNvPr>
          <p:cNvSpPr txBox="1">
            <a:spLocks/>
          </p:cNvSpPr>
          <p:nvPr/>
        </p:nvSpPr>
        <p:spPr>
          <a:xfrm>
            <a:off x="3213250" y="2311316"/>
            <a:ext cx="2479464" cy="1687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fr-FR" b="1" i="0" u="none" baseline="0" dirty="0"/>
              <a:t>Poursuivez le processus avec nous</a:t>
            </a:r>
          </a:p>
          <a:p>
            <a:pPr lvl="1" algn="l" rtl="0"/>
            <a:r>
              <a:rPr lang="fr-FR" b="0" i="0" u="none" baseline="0" dirty="0"/>
              <a:t>Contactez-nous par l’intermédiaire de votre </a:t>
            </a:r>
            <a:r>
              <a:rPr lang="fr-FR" b="0" i="0" u="none" baseline="0" dirty="0" smtClean="0"/>
              <a:t>interlocuteur DHL</a:t>
            </a:r>
            <a:endParaRPr lang="fr-FR" b="0" i="0" u="none" baseline="0" dirty="0"/>
          </a:p>
          <a:p>
            <a:pPr lvl="1" algn="l" rtl="0"/>
            <a:r>
              <a:rPr lang="fr-FR" b="0" i="0" u="none" baseline="0" dirty="0"/>
              <a:t>Nous serions heureux de mener des discussions plus approfondies afin de répondre à vos besoins spécifiques</a:t>
            </a:r>
          </a:p>
          <a:p>
            <a:endParaRPr lang="fr-FR" dirty="0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80924D28-87A3-4F96-A186-EBC70C1A6C7E}"/>
              </a:ext>
            </a:extLst>
          </p:cNvPr>
          <p:cNvSpPr/>
          <p:nvPr/>
        </p:nvSpPr>
        <p:spPr>
          <a:xfrm>
            <a:off x="6352744" y="1637336"/>
            <a:ext cx="3286556" cy="3286556"/>
          </a:xfrm>
          <a:prstGeom prst="ellipse">
            <a:avLst/>
          </a:prstGeom>
          <a:solidFill>
            <a:srgbClr val="8ECC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spAutoFit/>
          </a:bodyPr>
          <a:lstStyle/>
          <a:p>
            <a:pPr algn="l" rtl="0"/>
            <a:endParaRPr lang="fr-FR" sz="1200" dirty="0" err="1">
              <a:solidFill>
                <a:schemeClr val="tx1"/>
              </a:solidFill>
            </a:endParaRPr>
          </a:p>
        </p:txBody>
      </p:sp>
      <p:pic>
        <p:nvPicPr>
          <p:cNvPr id="10" name="Grafik 9" descr="Ein Bild, das Person, haltend, Hand enthält.&#10;&#10;Automatisch generierte Beschreibung">
            <a:extLst>
              <a:ext uri="{FF2B5EF4-FFF2-40B4-BE49-F238E27FC236}">
                <a16:creationId xmlns:a16="http://schemas.microsoft.com/office/drawing/2014/main" id="{DAE6BF81-CB34-4C6A-9403-2F2AA117894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2036" y="1166812"/>
            <a:ext cx="3012641" cy="3976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4784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CA1FA4AD-2324-4A13-9C38-ACD641448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fr-FR" b="1" i="0" u="none" baseline="0"/>
              <a:t>La montée des géants</a:t>
            </a:r>
            <a:endParaRPr lang="fr-FR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1F8D737-87C1-469D-A376-77F9B5D4F4D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6147" y="1150938"/>
            <a:ext cx="3309745" cy="1083374"/>
          </a:xfrm>
        </p:spPr>
        <p:txBody>
          <a:bodyPr wrap="square">
            <a:spAutoFit/>
          </a:bodyPr>
          <a:lstStyle/>
          <a:p>
            <a:pPr algn="l" rtl="0"/>
            <a:r>
              <a:rPr lang="fr-FR" sz="1600" b="0" i="0" u="none" baseline="0" dirty="0"/>
              <a:t>Ce n’est un secret pour personne que le marché du commerce </a:t>
            </a:r>
            <a:r>
              <a:rPr lang="fr-FR" sz="1600" b="0" i="0" u="none" baseline="0" dirty="0" smtClean="0"/>
              <a:t>électronique </a:t>
            </a:r>
            <a:r>
              <a:rPr lang="fr-FR" sz="1600" b="0" i="0" u="none" baseline="0" dirty="0"/>
              <a:t>connaît une croissance remarquablement rapide...	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D360CC3-DD3B-4C85-9457-46F3F54D03B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64646" y="1095281"/>
            <a:ext cx="3392171" cy="812530"/>
          </a:xfrm>
        </p:spPr>
        <p:txBody>
          <a:bodyPr wrap="square">
            <a:spAutoFit/>
          </a:bodyPr>
          <a:lstStyle/>
          <a:p>
            <a:pPr algn="l" rtl="0"/>
            <a:r>
              <a:rPr lang="fr-FR" sz="1600" b="0" i="0" u="none" baseline="0" dirty="0"/>
              <a:t>...cependant, ce sont les places de marché géantes </a:t>
            </a:r>
            <a:r>
              <a:rPr lang="fr-FR" sz="1600" b="0" i="0" u="none" baseline="0" dirty="0" smtClean="0"/>
              <a:t>qui </a:t>
            </a:r>
            <a:r>
              <a:rPr lang="fr-FR" sz="1600" b="0" i="0" u="none" baseline="0" dirty="0"/>
              <a:t>captent la majorité de cette croissance</a:t>
            </a:r>
          </a:p>
        </p:txBody>
      </p:sp>
      <p:sp>
        <p:nvSpPr>
          <p:cNvPr id="12" name="Inhaltsplatzhalter 9">
            <a:extLst>
              <a:ext uri="{FF2B5EF4-FFF2-40B4-BE49-F238E27FC236}">
                <a16:creationId xmlns:a16="http://schemas.microsoft.com/office/drawing/2014/main" id="{16C5FD85-CA5F-4339-9F96-84BAA603414C}"/>
              </a:ext>
            </a:extLst>
          </p:cNvPr>
          <p:cNvSpPr txBox="1">
            <a:spLocks/>
          </p:cNvSpPr>
          <p:nvPr/>
        </p:nvSpPr>
        <p:spPr>
          <a:xfrm>
            <a:off x="626147" y="3611222"/>
            <a:ext cx="3447899" cy="5267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fr-FR" sz="1600" b="0" i="0" u="none" baseline="0" dirty="0"/>
              <a:t>de croissance du marché mondial du </a:t>
            </a:r>
            <a:r>
              <a:rPr lang="fr-FR" sz="1600" dirty="0"/>
              <a:t/>
            </a:r>
            <a:br>
              <a:rPr lang="fr-FR" sz="1600" dirty="0"/>
            </a:br>
            <a:r>
              <a:rPr lang="fr-FR" sz="1600" b="0" i="0" u="none" baseline="0" dirty="0"/>
              <a:t>commerce électronique en 2020</a:t>
            </a:r>
            <a:r>
              <a:rPr lang="fr-FR" sz="1600" b="0" i="0" u="none" baseline="30000" dirty="0"/>
              <a:t>1</a:t>
            </a:r>
            <a:r>
              <a:rPr lang="fr-FR" sz="1600" b="0" i="0" u="none" baseline="0" dirty="0"/>
              <a:t> </a:t>
            </a:r>
          </a:p>
        </p:txBody>
      </p:sp>
      <p:sp>
        <p:nvSpPr>
          <p:cNvPr id="13" name="Inhaltsplatzhalter 10">
            <a:extLst>
              <a:ext uri="{FF2B5EF4-FFF2-40B4-BE49-F238E27FC236}">
                <a16:creationId xmlns:a16="http://schemas.microsoft.com/office/drawing/2014/main" id="{27571428-209C-4EB9-941B-4160FC35D045}"/>
              </a:ext>
            </a:extLst>
          </p:cNvPr>
          <p:cNvSpPr txBox="1">
            <a:spLocks/>
          </p:cNvSpPr>
          <p:nvPr/>
        </p:nvSpPr>
        <p:spPr>
          <a:xfrm>
            <a:off x="4932842" y="3595320"/>
            <a:ext cx="3447899" cy="5267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fr-FR" sz="1600" b="0" i="0" u="none" baseline="0"/>
              <a:t>de croissance mondiale des ventes </a:t>
            </a:r>
            <a:r>
              <a:rPr lang="fr-FR" sz="1600"/>
              <a:t/>
            </a:r>
            <a:br>
              <a:rPr lang="fr-FR" sz="1600"/>
            </a:br>
            <a:r>
              <a:rPr lang="fr-FR" sz="1600" b="0" i="0" u="none" baseline="0"/>
              <a:t>sur le marché de détail en 2020</a:t>
            </a:r>
            <a:r>
              <a:rPr lang="fr-FR" sz="1600" b="0" i="0" u="none" baseline="30000"/>
              <a:t>2</a:t>
            </a:r>
          </a:p>
        </p:txBody>
      </p:sp>
      <p:sp>
        <p:nvSpPr>
          <p:cNvPr id="14" name="Inhaltsplatzhalter 9">
            <a:extLst>
              <a:ext uri="{FF2B5EF4-FFF2-40B4-BE49-F238E27FC236}">
                <a16:creationId xmlns:a16="http://schemas.microsoft.com/office/drawing/2014/main" id="{7AB24D40-1B6D-4BD6-9C73-F8432AE56725}"/>
              </a:ext>
            </a:extLst>
          </p:cNvPr>
          <p:cNvSpPr txBox="1">
            <a:spLocks/>
          </p:cNvSpPr>
          <p:nvPr/>
        </p:nvSpPr>
        <p:spPr>
          <a:xfrm>
            <a:off x="626147" y="2155320"/>
            <a:ext cx="3447899" cy="14394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fr-FR" sz="9000" b="1" i="0" u="none" baseline="0" dirty="0">
                <a:solidFill>
                  <a:schemeClr val="accent4"/>
                </a:solidFill>
              </a:rPr>
              <a:t>19 %</a:t>
            </a:r>
          </a:p>
        </p:txBody>
      </p:sp>
      <p:sp>
        <p:nvSpPr>
          <p:cNvPr id="15" name="Inhaltsplatzhalter 9">
            <a:extLst>
              <a:ext uri="{FF2B5EF4-FFF2-40B4-BE49-F238E27FC236}">
                <a16:creationId xmlns:a16="http://schemas.microsoft.com/office/drawing/2014/main" id="{82F3E520-F717-4BC6-8D84-87C3BE0E2662}"/>
              </a:ext>
            </a:extLst>
          </p:cNvPr>
          <p:cNvSpPr txBox="1">
            <a:spLocks/>
          </p:cNvSpPr>
          <p:nvPr/>
        </p:nvSpPr>
        <p:spPr>
          <a:xfrm>
            <a:off x="4932842" y="2155320"/>
            <a:ext cx="3447899" cy="14394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fr-FR" sz="9000" b="1" i="0" u="none" baseline="0">
                <a:solidFill>
                  <a:schemeClr val="accent4"/>
                </a:solidFill>
              </a:rPr>
              <a:t>26,4 %</a:t>
            </a:r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D4589F60-6A48-418E-819D-D1EE0BB96C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  <a:endParaRPr lang="fr-FR" dirty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D4A1B36E-6EF8-4B5B-9885-1332F68A4B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2</a:t>
            </a:fld>
            <a:endParaRPr lang="fr-FR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BD844AC-7ED1-4301-8CFB-1173996FA686}"/>
              </a:ext>
            </a:extLst>
          </p:cNvPr>
          <p:cNvSpPr/>
          <p:nvPr/>
        </p:nvSpPr>
        <p:spPr>
          <a:xfrm>
            <a:off x="4924924" y="4588538"/>
            <a:ext cx="346373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fr-FR" sz="700" b="0" i="0" u="none" baseline="30000" dirty="0"/>
              <a:t>1</a:t>
            </a:r>
            <a:r>
              <a:rPr lang="fr-FR" sz="700" b="0" i="0" u="none" baseline="0" dirty="0"/>
              <a:t>Croissance du commerce électronique accélérée par la COVID-19 « 4 à 6 ans » – Forbes </a:t>
            </a:r>
            <a:r>
              <a:rPr lang="fr-FR" sz="700" dirty="0"/>
              <a:t/>
            </a:r>
            <a:br>
              <a:rPr lang="fr-FR" sz="700" dirty="0"/>
            </a:br>
            <a:r>
              <a:rPr lang="fr-FR" sz="700" b="0" i="0" u="none" baseline="0" dirty="0"/>
              <a:t>(</a:t>
            </a:r>
            <a:r>
              <a:rPr lang="fr-FR" sz="700" b="0" i="0" u="none" baseline="0" dirty="0">
                <a:hlinkClick r:id="rId3"/>
              </a:rPr>
              <a:t>https://www.forbes.com/sites/johnkoetsier/2020/06/12/covid-19-accelerated-e-commerce-growth-4-to-6-years/?sh=38cc966600fa</a:t>
            </a:r>
            <a:r>
              <a:rPr lang="fr-FR" sz="700" b="0" i="0" u="none" baseline="0" dirty="0"/>
              <a:t>)</a:t>
            </a:r>
          </a:p>
          <a:p>
            <a:pPr algn="l" rtl="0"/>
            <a:r>
              <a:rPr lang="fr-FR" sz="700" b="0" i="0" u="none" baseline="30000" dirty="0"/>
              <a:t>2</a:t>
            </a:r>
            <a:r>
              <a:rPr lang="fr-FR" sz="700" b="0" i="0" u="none" baseline="0" dirty="0"/>
              <a:t>Le Guide stratégique – DHL Supply Chain</a:t>
            </a:r>
            <a:endParaRPr lang="fr-FR" sz="700" dirty="0"/>
          </a:p>
        </p:txBody>
      </p:sp>
    </p:spTree>
    <p:extLst>
      <p:ext uri="{BB962C8B-B14F-4D97-AF65-F5344CB8AC3E}">
        <p14:creationId xmlns:p14="http://schemas.microsoft.com/office/powerpoint/2010/main" val="8287965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0">
            <a:extLst>
              <a:ext uri="{FF2B5EF4-FFF2-40B4-BE49-F238E27FC236}">
                <a16:creationId xmlns:a16="http://schemas.microsoft.com/office/drawing/2014/main" id="{D003D7DB-72FA-4AB6-9493-AB09F0307C44}"/>
              </a:ext>
            </a:extLst>
          </p:cNvPr>
          <p:cNvSpPr/>
          <p:nvPr/>
        </p:nvSpPr>
        <p:spPr>
          <a:xfrm rot="10800000">
            <a:off x="0" y="1159772"/>
            <a:ext cx="3550920" cy="3983728"/>
          </a:xfrm>
          <a:prstGeom prst="rect">
            <a:avLst/>
          </a:prstGeom>
          <a:gradFill flip="none" rotWithShape="1"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b"/>
          <a:lstStyle/>
          <a:p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1A081-27E4-481C-9577-EF4D7A6BE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fr-FR" b="1" i="0" u="none" baseline="0"/>
              <a:t>La valeur d’un réseau distribué</a:t>
            </a:r>
            <a:endParaRPr lang="fr-FR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CFB8EB-868D-47AF-BB9F-D184AFF0FE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CAEA29D-2EB0-4EBF-8613-E567EBBB7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3</a:t>
            </a:fld>
            <a:endParaRPr lang="fr-FR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6A1D439-6D72-4DDE-9EF8-A0DF98730FB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31308" y="1123968"/>
            <a:ext cx="3358249" cy="812530"/>
          </a:xfrm>
        </p:spPr>
        <p:txBody>
          <a:bodyPr wrap="square">
            <a:spAutoFit/>
          </a:bodyPr>
          <a:lstStyle/>
          <a:p>
            <a:pPr algn="l" rtl="0"/>
            <a:r>
              <a:rPr lang="fr-FR" sz="1600" b="0" i="0" u="none" baseline="0" dirty="0"/>
              <a:t>des paniers en ligne sont abandonnés en raison d’une livraison trop lente ou trop coûteuse</a:t>
            </a:r>
            <a:r>
              <a:rPr lang="fr-FR" sz="1600" b="0" i="0" u="none" baseline="30000" dirty="0"/>
              <a:t>1</a:t>
            </a:r>
          </a:p>
        </p:txBody>
      </p:sp>
      <p:sp>
        <p:nvSpPr>
          <p:cNvPr id="19" name="Oval 31">
            <a:extLst>
              <a:ext uri="{FF2B5EF4-FFF2-40B4-BE49-F238E27FC236}">
                <a16:creationId xmlns:a16="http://schemas.microsoft.com/office/drawing/2014/main" id="{51912C08-3CCC-409C-817A-C2A474530E4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350402" y="1371413"/>
            <a:ext cx="139835" cy="139835"/>
          </a:xfrm>
          <a:prstGeom prst="ellipse">
            <a:avLst/>
          </a:prstGeom>
          <a:solidFill>
            <a:srgbClr val="FAB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fr-FR" sz="600" b="0" i="0" u="none" baseline="0"/>
              <a:t>X</a:t>
            </a:r>
          </a:p>
        </p:txBody>
      </p:sp>
      <p:sp>
        <p:nvSpPr>
          <p:cNvPr id="20" name="Rectangle 143">
            <a:extLst>
              <a:ext uri="{FF2B5EF4-FFF2-40B4-BE49-F238E27FC236}">
                <a16:creationId xmlns:a16="http://schemas.microsoft.com/office/drawing/2014/main" id="{FD52DEED-FA50-40CC-993A-5ABFD7D68CC6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10909" y="1371809"/>
            <a:ext cx="874918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000" tIns="0" rIns="0" bIns="0" anchor="ctr" anchorCtr="0">
            <a:spAutoFit/>
          </a:bodyPr>
          <a:lstStyle/>
          <a:p>
            <a:pPr algn="l" defTabSz="699722" rtl="0">
              <a:defRPr/>
            </a:pPr>
            <a:r>
              <a:rPr lang="fr-FR" sz="800" b="0" i="0" u="none" kern="0" baseline="0">
                <a:latin typeface="Delivery" panose="020F0503020204020204" pitchFamily="34" charset="0"/>
              </a:rPr>
              <a:t>Sites de gestion des commandes</a:t>
            </a:r>
          </a:p>
        </p:txBody>
      </p:sp>
      <p:sp>
        <p:nvSpPr>
          <p:cNvPr id="21" name="Freeform 51">
            <a:extLst>
              <a:ext uri="{FF2B5EF4-FFF2-40B4-BE49-F238E27FC236}">
                <a16:creationId xmlns:a16="http://schemas.microsoft.com/office/drawing/2014/main" id="{D361D858-FBBE-4C0A-8BC2-4151D5F78AA1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347051" y="1700484"/>
            <a:ext cx="146537" cy="129017"/>
          </a:xfrm>
          <a:custGeom>
            <a:avLst/>
            <a:gdLst>
              <a:gd name="T0" fmla="*/ 60 w 111"/>
              <a:gd name="T1" fmla="*/ 54 h 70"/>
              <a:gd name="T2" fmla="*/ 78 w 111"/>
              <a:gd name="T3" fmla="*/ 67 h 70"/>
              <a:gd name="T4" fmla="*/ 101 w 111"/>
              <a:gd name="T5" fmla="*/ 64 h 70"/>
              <a:gd name="T6" fmla="*/ 100 w 111"/>
              <a:gd name="T7" fmla="*/ 53 h 70"/>
              <a:gd name="T8" fmla="*/ 111 w 111"/>
              <a:gd name="T9" fmla="*/ 52 h 70"/>
              <a:gd name="T10" fmla="*/ 108 w 111"/>
              <a:gd name="T11" fmla="*/ 43 h 70"/>
              <a:gd name="T12" fmla="*/ 100 w 111"/>
              <a:gd name="T13" fmla="*/ 43 h 70"/>
              <a:gd name="T14" fmla="*/ 93 w 111"/>
              <a:gd name="T15" fmla="*/ 22 h 70"/>
              <a:gd name="T16" fmla="*/ 94 w 111"/>
              <a:gd name="T17" fmla="*/ 4 h 70"/>
              <a:gd name="T18" fmla="*/ 74 w 111"/>
              <a:gd name="T19" fmla="*/ 7 h 70"/>
              <a:gd name="T20" fmla="*/ 62 w 111"/>
              <a:gd name="T21" fmla="*/ 2 h 70"/>
              <a:gd name="T22" fmla="*/ 49 w 111"/>
              <a:gd name="T23" fmla="*/ 7 h 70"/>
              <a:gd name="T24" fmla="*/ 44 w 111"/>
              <a:gd name="T25" fmla="*/ 6 h 70"/>
              <a:gd name="T26" fmla="*/ 42 w 111"/>
              <a:gd name="T27" fmla="*/ 11 h 70"/>
              <a:gd name="T28" fmla="*/ 35 w 111"/>
              <a:gd name="T29" fmla="*/ 8 h 70"/>
              <a:gd name="T30" fmla="*/ 35 w 111"/>
              <a:gd name="T31" fmla="*/ 16 h 70"/>
              <a:gd name="T32" fmla="*/ 19 w 111"/>
              <a:gd name="T33" fmla="*/ 24 h 70"/>
              <a:gd name="T34" fmla="*/ 25 w 111"/>
              <a:gd name="T35" fmla="*/ 25 h 70"/>
              <a:gd name="T36" fmla="*/ 12 w 111"/>
              <a:gd name="T37" fmla="*/ 28 h 70"/>
              <a:gd name="T38" fmla="*/ 0 w 111"/>
              <a:gd name="T39" fmla="*/ 36 h 70"/>
              <a:gd name="T40" fmla="*/ 10 w 111"/>
              <a:gd name="T41" fmla="*/ 41 h 70"/>
              <a:gd name="T42" fmla="*/ 0 w 111"/>
              <a:gd name="T43" fmla="*/ 57 h 70"/>
              <a:gd name="T44" fmla="*/ 3 w 111"/>
              <a:gd name="T45" fmla="*/ 70 h 70"/>
              <a:gd name="T46" fmla="*/ 22 w 111"/>
              <a:gd name="T47" fmla="*/ 46 h 70"/>
              <a:gd name="T48" fmla="*/ 39 w 111"/>
              <a:gd name="T49" fmla="*/ 56 h 70"/>
              <a:gd name="T50" fmla="*/ 43 w 111"/>
              <a:gd name="T51" fmla="*/ 47 h 70"/>
              <a:gd name="T52" fmla="*/ 47 w 111"/>
              <a:gd name="T53" fmla="*/ 64 h 70"/>
              <a:gd name="T54" fmla="*/ 60 w 111"/>
              <a:gd name="T55" fmla="*/ 54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11" h="70">
                <a:moveTo>
                  <a:pt x="60" y="54"/>
                </a:moveTo>
                <a:cubicBezTo>
                  <a:pt x="62" y="54"/>
                  <a:pt x="74" y="66"/>
                  <a:pt x="78" y="67"/>
                </a:cubicBezTo>
                <a:cubicBezTo>
                  <a:pt x="80" y="67"/>
                  <a:pt x="91" y="66"/>
                  <a:pt x="101" y="64"/>
                </a:cubicBezTo>
                <a:cubicBezTo>
                  <a:pt x="98" y="62"/>
                  <a:pt x="96" y="60"/>
                  <a:pt x="100" y="53"/>
                </a:cubicBezTo>
                <a:cubicBezTo>
                  <a:pt x="103" y="54"/>
                  <a:pt x="107" y="51"/>
                  <a:pt x="111" y="52"/>
                </a:cubicBezTo>
                <a:cubicBezTo>
                  <a:pt x="111" y="50"/>
                  <a:pt x="109" y="46"/>
                  <a:pt x="108" y="43"/>
                </a:cubicBezTo>
                <a:cubicBezTo>
                  <a:pt x="106" y="45"/>
                  <a:pt x="102" y="42"/>
                  <a:pt x="100" y="43"/>
                </a:cubicBezTo>
                <a:cubicBezTo>
                  <a:pt x="101" y="35"/>
                  <a:pt x="94" y="30"/>
                  <a:pt x="93" y="22"/>
                </a:cubicBezTo>
                <a:cubicBezTo>
                  <a:pt x="92" y="16"/>
                  <a:pt x="95" y="9"/>
                  <a:pt x="94" y="4"/>
                </a:cubicBezTo>
                <a:cubicBezTo>
                  <a:pt x="87" y="0"/>
                  <a:pt x="79" y="0"/>
                  <a:pt x="74" y="7"/>
                </a:cubicBezTo>
                <a:cubicBezTo>
                  <a:pt x="70" y="4"/>
                  <a:pt x="66" y="5"/>
                  <a:pt x="62" y="2"/>
                </a:cubicBezTo>
                <a:cubicBezTo>
                  <a:pt x="57" y="3"/>
                  <a:pt x="52" y="5"/>
                  <a:pt x="49" y="7"/>
                </a:cubicBezTo>
                <a:cubicBezTo>
                  <a:pt x="47" y="8"/>
                  <a:pt x="46" y="5"/>
                  <a:pt x="44" y="6"/>
                </a:cubicBezTo>
                <a:cubicBezTo>
                  <a:pt x="44" y="6"/>
                  <a:pt x="43" y="10"/>
                  <a:pt x="42" y="11"/>
                </a:cubicBezTo>
                <a:cubicBezTo>
                  <a:pt x="40" y="9"/>
                  <a:pt x="39" y="9"/>
                  <a:pt x="35" y="8"/>
                </a:cubicBezTo>
                <a:cubicBezTo>
                  <a:pt x="35" y="10"/>
                  <a:pt x="35" y="13"/>
                  <a:pt x="35" y="16"/>
                </a:cubicBezTo>
                <a:cubicBezTo>
                  <a:pt x="30" y="18"/>
                  <a:pt x="24" y="21"/>
                  <a:pt x="19" y="24"/>
                </a:cubicBezTo>
                <a:cubicBezTo>
                  <a:pt x="20" y="24"/>
                  <a:pt x="22" y="24"/>
                  <a:pt x="25" y="25"/>
                </a:cubicBezTo>
                <a:cubicBezTo>
                  <a:pt x="20" y="28"/>
                  <a:pt x="19" y="30"/>
                  <a:pt x="12" y="28"/>
                </a:cubicBezTo>
                <a:cubicBezTo>
                  <a:pt x="9" y="34"/>
                  <a:pt x="6" y="36"/>
                  <a:pt x="0" y="36"/>
                </a:cubicBezTo>
                <a:cubicBezTo>
                  <a:pt x="1" y="37"/>
                  <a:pt x="6" y="40"/>
                  <a:pt x="10" y="41"/>
                </a:cubicBezTo>
                <a:cubicBezTo>
                  <a:pt x="6" y="48"/>
                  <a:pt x="6" y="52"/>
                  <a:pt x="0" y="57"/>
                </a:cubicBezTo>
                <a:cubicBezTo>
                  <a:pt x="1" y="59"/>
                  <a:pt x="2" y="67"/>
                  <a:pt x="3" y="70"/>
                </a:cubicBezTo>
                <a:cubicBezTo>
                  <a:pt x="6" y="58"/>
                  <a:pt x="25" y="59"/>
                  <a:pt x="22" y="46"/>
                </a:cubicBezTo>
                <a:cubicBezTo>
                  <a:pt x="30" y="45"/>
                  <a:pt x="35" y="50"/>
                  <a:pt x="39" y="56"/>
                </a:cubicBezTo>
                <a:cubicBezTo>
                  <a:pt x="40" y="53"/>
                  <a:pt x="42" y="50"/>
                  <a:pt x="43" y="47"/>
                </a:cubicBezTo>
                <a:cubicBezTo>
                  <a:pt x="44" y="51"/>
                  <a:pt x="46" y="57"/>
                  <a:pt x="47" y="64"/>
                </a:cubicBezTo>
                <a:cubicBezTo>
                  <a:pt x="50" y="60"/>
                  <a:pt x="53" y="55"/>
                  <a:pt x="60" y="54"/>
                </a:cubicBezTo>
                <a:close/>
              </a:path>
            </a:pathLst>
          </a:custGeom>
          <a:solidFill>
            <a:schemeClr val="bg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l" defTabSz="699722" rtl="0">
              <a:defRPr/>
            </a:pPr>
            <a:endParaRPr lang="fr-FR" sz="825" kern="0" dirty="0">
              <a:solidFill>
                <a:schemeClr val="bg1"/>
              </a:solidFill>
              <a:latin typeface="Delivery" panose="020F0503020204020204" pitchFamily="34" charset="0"/>
            </a:endParaRPr>
          </a:p>
        </p:txBody>
      </p:sp>
      <p:sp>
        <p:nvSpPr>
          <p:cNvPr id="22" name="Rectangle 143">
            <a:extLst>
              <a:ext uri="{FF2B5EF4-FFF2-40B4-BE49-F238E27FC236}">
                <a16:creationId xmlns:a16="http://schemas.microsoft.com/office/drawing/2014/main" id="{83C4F533-930C-4E7C-9AB9-90983D8FB64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10908" y="1729795"/>
            <a:ext cx="98822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000" tIns="0" rIns="0" bIns="0" anchor="ctr" anchorCtr="0">
            <a:spAutoFit/>
          </a:bodyPr>
          <a:lstStyle/>
          <a:p>
            <a:pPr algn="l" defTabSz="699722" rtl="0">
              <a:defRPr/>
            </a:pPr>
            <a:r>
              <a:rPr lang="fr-FR" sz="800" b="0" i="0" u="none" kern="0" spc="-15" baseline="0">
                <a:latin typeface="Delivery" panose="020F0503020204020204" pitchFamily="34" charset="0"/>
              </a:rPr>
              <a:t>Places de marché européennes </a:t>
            </a:r>
            <a:r>
              <a:rPr lang="fr-FR" sz="800" kern="0" spc="-15">
                <a:latin typeface="Delivery" panose="020F0503020204020204" pitchFamily="34" charset="0"/>
              </a:rPr>
              <a:t/>
            </a:r>
            <a:br>
              <a:rPr lang="fr-FR" sz="800" kern="0" spc="-15">
                <a:latin typeface="Delivery" panose="020F0503020204020204" pitchFamily="34" charset="0"/>
              </a:rPr>
            </a:br>
            <a:r>
              <a:rPr lang="fr-FR" sz="800" b="0" i="0" u="none" kern="0" spc="-15" baseline="0">
                <a:latin typeface="Delivery" panose="020F0503020204020204" pitchFamily="34" charset="0"/>
              </a:rPr>
              <a:t>« Amazon 5 »</a:t>
            </a:r>
          </a:p>
        </p:txBody>
      </p:sp>
      <p:sp>
        <p:nvSpPr>
          <p:cNvPr id="23" name="Oval 31">
            <a:extLst>
              <a:ext uri="{FF2B5EF4-FFF2-40B4-BE49-F238E27FC236}">
                <a16:creationId xmlns:a16="http://schemas.microsoft.com/office/drawing/2014/main" id="{9AE2FFB1-9148-41F6-AB61-AFECE42D7B5C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350402" y="1527494"/>
            <a:ext cx="139835" cy="139835"/>
          </a:xfrm>
          <a:prstGeom prst="ellipse">
            <a:avLst/>
          </a:prstGeom>
          <a:solidFill>
            <a:srgbClr val="6FAE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fr-FR" sz="600" b="0" i="0" u="none" baseline="0"/>
              <a:t>X</a:t>
            </a:r>
          </a:p>
        </p:txBody>
      </p:sp>
      <p:sp>
        <p:nvSpPr>
          <p:cNvPr id="24" name="Rectangle 143">
            <a:extLst>
              <a:ext uri="{FF2B5EF4-FFF2-40B4-BE49-F238E27FC236}">
                <a16:creationId xmlns:a16="http://schemas.microsoft.com/office/drawing/2014/main" id="{58D09459-C19D-4739-9612-C67DA7E28EC2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10908" y="1533933"/>
            <a:ext cx="899832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000" tIns="0" rIns="0" bIns="0" anchor="ctr" anchorCtr="0">
            <a:spAutoFit/>
          </a:bodyPr>
          <a:lstStyle/>
          <a:p>
            <a:pPr algn="l" defTabSz="699722" rtl="0">
              <a:defRPr/>
            </a:pPr>
            <a:r>
              <a:rPr lang="fr-FR" sz="800" b="0" i="0" u="none" kern="0" baseline="0">
                <a:latin typeface="Delivery" panose="020F0503020204020204" pitchFamily="34" charset="0"/>
              </a:rPr>
              <a:t>Hubs Prime Now</a:t>
            </a:r>
          </a:p>
        </p:txBody>
      </p:sp>
      <p:pic>
        <p:nvPicPr>
          <p:cNvPr id="162" name="Grafik 161">
            <a:extLst>
              <a:ext uri="{FF2B5EF4-FFF2-40B4-BE49-F238E27FC236}">
                <a16:creationId xmlns:a16="http://schemas.microsoft.com/office/drawing/2014/main" id="{2DF1BE42-B4BC-4FD7-AC53-8B61D245CAC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23534" r="33228" b="-1"/>
          <a:stretch/>
        </p:blipFill>
        <p:spPr>
          <a:xfrm>
            <a:off x="1378580" y="1161798"/>
            <a:ext cx="2172341" cy="2922914"/>
          </a:xfrm>
          <a:prstGeom prst="rect">
            <a:avLst/>
          </a:prstGeom>
        </p:spPr>
      </p:pic>
      <p:sp>
        <p:nvSpPr>
          <p:cNvPr id="163" name="Ellipse 162">
            <a:extLst>
              <a:ext uri="{FF2B5EF4-FFF2-40B4-BE49-F238E27FC236}">
                <a16:creationId xmlns:a16="http://schemas.microsoft.com/office/drawing/2014/main" id="{77ACA7D5-4E54-4C36-AA94-358918A7BAAE}"/>
              </a:ext>
            </a:extLst>
          </p:cNvPr>
          <p:cNvSpPr/>
          <p:nvPr/>
        </p:nvSpPr>
        <p:spPr>
          <a:xfrm>
            <a:off x="1636511" y="3690364"/>
            <a:ext cx="128395" cy="128395"/>
          </a:xfrm>
          <a:prstGeom prst="ellipse">
            <a:avLst/>
          </a:prstGeom>
          <a:solidFill>
            <a:srgbClr val="6FAE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 rtl="0"/>
            <a:r>
              <a:rPr lang="fr-FR" sz="600" b="0" i="0" u="none" baseline="0">
                <a:solidFill>
                  <a:schemeClr val="tx1"/>
                </a:solidFill>
              </a:rPr>
              <a:t>4</a:t>
            </a:r>
            <a:endParaRPr lang="fr-FR" sz="600" dirty="0" err="1">
              <a:solidFill>
                <a:schemeClr val="tx1"/>
              </a:solidFill>
            </a:endParaRPr>
          </a:p>
        </p:txBody>
      </p:sp>
      <p:sp>
        <p:nvSpPr>
          <p:cNvPr id="164" name="Ellipse 163">
            <a:extLst>
              <a:ext uri="{FF2B5EF4-FFF2-40B4-BE49-F238E27FC236}">
                <a16:creationId xmlns:a16="http://schemas.microsoft.com/office/drawing/2014/main" id="{2B88CF70-DC48-4977-9A10-D8C43A17F0E4}"/>
              </a:ext>
            </a:extLst>
          </p:cNvPr>
          <p:cNvSpPr/>
          <p:nvPr/>
        </p:nvSpPr>
        <p:spPr>
          <a:xfrm>
            <a:off x="1636511" y="3536550"/>
            <a:ext cx="128395" cy="128395"/>
          </a:xfrm>
          <a:prstGeom prst="ellipse">
            <a:avLst/>
          </a:prstGeom>
          <a:solidFill>
            <a:srgbClr val="FAB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 rtl="0"/>
            <a:r>
              <a:rPr lang="fr-FR" sz="600" b="0" i="0" u="none" baseline="0">
                <a:solidFill>
                  <a:schemeClr val="tx1"/>
                </a:solidFill>
              </a:rPr>
              <a:t>25</a:t>
            </a:r>
            <a:endParaRPr lang="fr-FR" sz="600" dirty="0" err="1">
              <a:solidFill>
                <a:schemeClr val="tx1"/>
              </a:solidFill>
            </a:endParaRPr>
          </a:p>
        </p:txBody>
      </p:sp>
      <p:sp>
        <p:nvSpPr>
          <p:cNvPr id="165" name="Ellipse 164">
            <a:extLst>
              <a:ext uri="{FF2B5EF4-FFF2-40B4-BE49-F238E27FC236}">
                <a16:creationId xmlns:a16="http://schemas.microsoft.com/office/drawing/2014/main" id="{F341EB07-B93A-4CF1-BD3D-24E9E5B2113D}"/>
              </a:ext>
            </a:extLst>
          </p:cNvPr>
          <p:cNvSpPr/>
          <p:nvPr/>
        </p:nvSpPr>
        <p:spPr>
          <a:xfrm>
            <a:off x="2057405" y="3173309"/>
            <a:ext cx="128395" cy="128395"/>
          </a:xfrm>
          <a:prstGeom prst="ellipse">
            <a:avLst/>
          </a:prstGeom>
          <a:solidFill>
            <a:srgbClr val="6FAE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 rtl="0"/>
            <a:r>
              <a:rPr lang="fr-FR" sz="600" b="0" i="0" u="none" baseline="0">
                <a:solidFill>
                  <a:schemeClr val="tx1"/>
                </a:solidFill>
              </a:rPr>
              <a:t>1</a:t>
            </a:r>
            <a:endParaRPr lang="fr-FR" sz="600" dirty="0" err="1">
              <a:solidFill>
                <a:schemeClr val="tx1"/>
              </a:solidFill>
            </a:endParaRPr>
          </a:p>
        </p:txBody>
      </p:sp>
      <p:sp>
        <p:nvSpPr>
          <p:cNvPr id="166" name="Ellipse 165">
            <a:extLst>
              <a:ext uri="{FF2B5EF4-FFF2-40B4-BE49-F238E27FC236}">
                <a16:creationId xmlns:a16="http://schemas.microsoft.com/office/drawing/2014/main" id="{F6E0878E-E0C7-419A-B6BE-A33A88431451}"/>
              </a:ext>
            </a:extLst>
          </p:cNvPr>
          <p:cNvSpPr/>
          <p:nvPr/>
        </p:nvSpPr>
        <p:spPr>
          <a:xfrm>
            <a:off x="2057405" y="3019495"/>
            <a:ext cx="128395" cy="128395"/>
          </a:xfrm>
          <a:prstGeom prst="ellipse">
            <a:avLst/>
          </a:prstGeom>
          <a:solidFill>
            <a:srgbClr val="FAB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 rtl="0"/>
            <a:r>
              <a:rPr lang="fr-FR" sz="600" b="0" i="0" u="none" baseline="0">
                <a:solidFill>
                  <a:schemeClr val="tx1"/>
                </a:solidFill>
              </a:rPr>
              <a:t>21</a:t>
            </a:r>
            <a:endParaRPr lang="fr-FR" sz="600" dirty="0" err="1">
              <a:solidFill>
                <a:schemeClr val="tx1"/>
              </a:solidFill>
            </a:endParaRPr>
          </a:p>
        </p:txBody>
      </p:sp>
      <p:sp>
        <p:nvSpPr>
          <p:cNvPr id="167" name="Ellipse 166">
            <a:extLst>
              <a:ext uri="{FF2B5EF4-FFF2-40B4-BE49-F238E27FC236}">
                <a16:creationId xmlns:a16="http://schemas.microsoft.com/office/drawing/2014/main" id="{4824D789-032D-41AC-B2F0-8164372A7F29}"/>
              </a:ext>
            </a:extLst>
          </p:cNvPr>
          <p:cNvSpPr/>
          <p:nvPr/>
        </p:nvSpPr>
        <p:spPr>
          <a:xfrm>
            <a:off x="2565122" y="3356263"/>
            <a:ext cx="128395" cy="128395"/>
          </a:xfrm>
          <a:prstGeom prst="ellipse">
            <a:avLst/>
          </a:prstGeom>
          <a:solidFill>
            <a:srgbClr val="6FAE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 rtl="0"/>
            <a:r>
              <a:rPr lang="fr-FR" sz="600" b="0" i="0" u="none" baseline="0">
                <a:solidFill>
                  <a:schemeClr val="tx1"/>
                </a:solidFill>
              </a:rPr>
              <a:t>2</a:t>
            </a:r>
            <a:endParaRPr lang="fr-FR" sz="600" dirty="0" err="1">
              <a:solidFill>
                <a:schemeClr val="tx1"/>
              </a:solidFill>
            </a:endParaRPr>
          </a:p>
        </p:txBody>
      </p:sp>
      <p:sp>
        <p:nvSpPr>
          <p:cNvPr id="168" name="Ellipse 167">
            <a:extLst>
              <a:ext uri="{FF2B5EF4-FFF2-40B4-BE49-F238E27FC236}">
                <a16:creationId xmlns:a16="http://schemas.microsoft.com/office/drawing/2014/main" id="{44ACDEE7-4C8C-475A-8DE0-465597912FC4}"/>
              </a:ext>
            </a:extLst>
          </p:cNvPr>
          <p:cNvSpPr/>
          <p:nvPr/>
        </p:nvSpPr>
        <p:spPr>
          <a:xfrm>
            <a:off x="2565122" y="3202449"/>
            <a:ext cx="128395" cy="128395"/>
          </a:xfrm>
          <a:prstGeom prst="ellipse">
            <a:avLst/>
          </a:prstGeom>
          <a:solidFill>
            <a:srgbClr val="FAB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 rtl="0"/>
            <a:r>
              <a:rPr lang="fr-FR" sz="600" b="0" i="0" u="none" baseline="0">
                <a:solidFill>
                  <a:schemeClr val="tx1"/>
                </a:solidFill>
              </a:rPr>
              <a:t>25</a:t>
            </a:r>
            <a:endParaRPr lang="fr-FR" sz="600" dirty="0" err="1">
              <a:solidFill>
                <a:schemeClr val="tx1"/>
              </a:solidFill>
            </a:endParaRPr>
          </a:p>
        </p:txBody>
      </p:sp>
      <p:sp>
        <p:nvSpPr>
          <p:cNvPr id="169" name="Ellipse 168">
            <a:extLst>
              <a:ext uri="{FF2B5EF4-FFF2-40B4-BE49-F238E27FC236}">
                <a16:creationId xmlns:a16="http://schemas.microsoft.com/office/drawing/2014/main" id="{60DA2713-22D0-45A8-BEF1-21F2EB2B4D06}"/>
              </a:ext>
            </a:extLst>
          </p:cNvPr>
          <p:cNvSpPr/>
          <p:nvPr/>
        </p:nvSpPr>
        <p:spPr>
          <a:xfrm>
            <a:off x="1826723" y="2639807"/>
            <a:ext cx="128395" cy="128395"/>
          </a:xfrm>
          <a:prstGeom prst="ellipse">
            <a:avLst/>
          </a:prstGeom>
          <a:solidFill>
            <a:srgbClr val="6FAE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 rtl="0"/>
            <a:r>
              <a:rPr lang="fr-FR" sz="600" b="0" i="0" u="none" baseline="0">
                <a:solidFill>
                  <a:schemeClr val="tx1"/>
                </a:solidFill>
              </a:rPr>
              <a:t>13</a:t>
            </a:r>
            <a:endParaRPr lang="fr-FR" sz="600" dirty="0" err="1">
              <a:solidFill>
                <a:schemeClr val="tx1"/>
              </a:solidFill>
            </a:endParaRPr>
          </a:p>
        </p:txBody>
      </p:sp>
      <p:sp>
        <p:nvSpPr>
          <p:cNvPr id="170" name="Ellipse 169">
            <a:extLst>
              <a:ext uri="{FF2B5EF4-FFF2-40B4-BE49-F238E27FC236}">
                <a16:creationId xmlns:a16="http://schemas.microsoft.com/office/drawing/2014/main" id="{B9E982AB-C921-453C-AB02-49605E02C14B}"/>
              </a:ext>
            </a:extLst>
          </p:cNvPr>
          <p:cNvSpPr/>
          <p:nvPr/>
        </p:nvSpPr>
        <p:spPr>
          <a:xfrm>
            <a:off x="1826723" y="2485992"/>
            <a:ext cx="128395" cy="128395"/>
          </a:xfrm>
          <a:prstGeom prst="ellipse">
            <a:avLst/>
          </a:prstGeom>
          <a:solidFill>
            <a:srgbClr val="FAB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 rtl="0"/>
            <a:r>
              <a:rPr lang="fr-FR" sz="600" b="0" i="0" u="none" baseline="0">
                <a:solidFill>
                  <a:schemeClr val="tx1"/>
                </a:solidFill>
              </a:rPr>
              <a:t>83</a:t>
            </a:r>
            <a:endParaRPr lang="fr-FR" sz="600" dirty="0" err="1">
              <a:solidFill>
                <a:schemeClr val="tx1"/>
              </a:solidFill>
            </a:endParaRPr>
          </a:p>
        </p:txBody>
      </p:sp>
      <p:sp>
        <p:nvSpPr>
          <p:cNvPr id="171" name="Ellipse 170">
            <a:extLst>
              <a:ext uri="{FF2B5EF4-FFF2-40B4-BE49-F238E27FC236}">
                <a16:creationId xmlns:a16="http://schemas.microsoft.com/office/drawing/2014/main" id="{7A6CA1F1-FDAC-41CE-BD61-3CF2BB2A459B}"/>
              </a:ext>
            </a:extLst>
          </p:cNvPr>
          <p:cNvSpPr/>
          <p:nvPr/>
        </p:nvSpPr>
        <p:spPr>
          <a:xfrm>
            <a:off x="2500924" y="2822488"/>
            <a:ext cx="128395" cy="128395"/>
          </a:xfrm>
          <a:prstGeom prst="ellipse">
            <a:avLst/>
          </a:prstGeom>
          <a:solidFill>
            <a:srgbClr val="6FAE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 rtl="0"/>
            <a:r>
              <a:rPr lang="fr-FR" sz="600" b="0" i="0" u="none" baseline="0">
                <a:solidFill>
                  <a:schemeClr val="tx1"/>
                </a:solidFill>
              </a:rPr>
              <a:t>4</a:t>
            </a:r>
            <a:endParaRPr lang="fr-FR" sz="600" dirty="0" err="1">
              <a:solidFill>
                <a:schemeClr val="tx1"/>
              </a:solidFill>
            </a:endParaRPr>
          </a:p>
        </p:txBody>
      </p:sp>
      <p:sp>
        <p:nvSpPr>
          <p:cNvPr id="172" name="Ellipse 171">
            <a:extLst>
              <a:ext uri="{FF2B5EF4-FFF2-40B4-BE49-F238E27FC236}">
                <a16:creationId xmlns:a16="http://schemas.microsoft.com/office/drawing/2014/main" id="{E29D678F-BDC0-400D-902C-DC4CBBC56B82}"/>
              </a:ext>
            </a:extLst>
          </p:cNvPr>
          <p:cNvSpPr/>
          <p:nvPr/>
        </p:nvSpPr>
        <p:spPr>
          <a:xfrm>
            <a:off x="2500924" y="2668674"/>
            <a:ext cx="128395" cy="128395"/>
          </a:xfrm>
          <a:prstGeom prst="ellipse">
            <a:avLst/>
          </a:prstGeom>
          <a:solidFill>
            <a:srgbClr val="FAB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 rtl="0"/>
            <a:r>
              <a:rPr lang="fr-FR" sz="600" b="0" i="0" u="none" baseline="0">
                <a:solidFill>
                  <a:schemeClr val="tx1"/>
                </a:solidFill>
              </a:rPr>
              <a:t>44</a:t>
            </a:r>
            <a:endParaRPr lang="fr-FR" sz="600" dirty="0" err="1">
              <a:solidFill>
                <a:schemeClr val="tx1"/>
              </a:solidFill>
            </a:endParaRPr>
          </a:p>
        </p:txBody>
      </p:sp>
      <p:sp>
        <p:nvSpPr>
          <p:cNvPr id="173" name="Ellipse 172">
            <a:extLst>
              <a:ext uri="{FF2B5EF4-FFF2-40B4-BE49-F238E27FC236}">
                <a16:creationId xmlns:a16="http://schemas.microsoft.com/office/drawing/2014/main" id="{7F15D4CD-9795-4F14-ABD7-96C076BA1518}"/>
              </a:ext>
            </a:extLst>
          </p:cNvPr>
          <p:cNvSpPr/>
          <p:nvPr/>
        </p:nvSpPr>
        <p:spPr>
          <a:xfrm>
            <a:off x="3002416" y="2575609"/>
            <a:ext cx="128395" cy="128395"/>
          </a:xfrm>
          <a:prstGeom prst="ellipse">
            <a:avLst/>
          </a:prstGeom>
          <a:solidFill>
            <a:srgbClr val="FAB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 rtl="0"/>
            <a:r>
              <a:rPr lang="fr-FR" sz="600" b="0" i="0" u="none" baseline="0">
                <a:solidFill>
                  <a:schemeClr val="tx1"/>
                </a:solidFill>
              </a:rPr>
              <a:t>7</a:t>
            </a:r>
            <a:endParaRPr lang="fr-FR" sz="600" dirty="0" err="1">
              <a:solidFill>
                <a:schemeClr val="tx1"/>
              </a:solidFill>
            </a:endParaRPr>
          </a:p>
        </p:txBody>
      </p:sp>
      <p:sp>
        <p:nvSpPr>
          <p:cNvPr id="174" name="Ellipse 173">
            <a:extLst>
              <a:ext uri="{FF2B5EF4-FFF2-40B4-BE49-F238E27FC236}">
                <a16:creationId xmlns:a16="http://schemas.microsoft.com/office/drawing/2014/main" id="{BC10EEA5-3635-4FF7-82EE-B7993F69CDB7}"/>
              </a:ext>
            </a:extLst>
          </p:cNvPr>
          <p:cNvSpPr/>
          <p:nvPr/>
        </p:nvSpPr>
        <p:spPr>
          <a:xfrm>
            <a:off x="3034059" y="2828965"/>
            <a:ext cx="128395" cy="128395"/>
          </a:xfrm>
          <a:prstGeom prst="ellipse">
            <a:avLst/>
          </a:prstGeom>
          <a:solidFill>
            <a:srgbClr val="FAB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 rtl="0"/>
            <a:r>
              <a:rPr lang="fr-FR" sz="600" b="0" i="0" u="none" baseline="0">
                <a:solidFill>
                  <a:schemeClr val="tx1"/>
                </a:solidFill>
              </a:rPr>
              <a:t>1</a:t>
            </a:r>
            <a:endParaRPr lang="fr-FR" sz="600" dirty="0" err="1">
              <a:solidFill>
                <a:schemeClr val="tx1"/>
              </a:solidFill>
            </a:endParaRPr>
          </a:p>
        </p:txBody>
      </p:sp>
      <p:sp>
        <p:nvSpPr>
          <p:cNvPr id="175" name="Ellipse 174">
            <a:extLst>
              <a:ext uri="{FF2B5EF4-FFF2-40B4-BE49-F238E27FC236}">
                <a16:creationId xmlns:a16="http://schemas.microsoft.com/office/drawing/2014/main" id="{E737AD62-B299-464D-A2B3-11175BA45019}"/>
              </a:ext>
            </a:extLst>
          </p:cNvPr>
          <p:cNvSpPr/>
          <p:nvPr/>
        </p:nvSpPr>
        <p:spPr>
          <a:xfrm>
            <a:off x="2743856" y="2957359"/>
            <a:ext cx="128395" cy="128395"/>
          </a:xfrm>
          <a:prstGeom prst="ellipse">
            <a:avLst/>
          </a:prstGeom>
          <a:solidFill>
            <a:srgbClr val="FAB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 rtl="0"/>
            <a:r>
              <a:rPr lang="fr-FR" sz="600" b="0" i="0" u="none" baseline="0">
                <a:solidFill>
                  <a:schemeClr val="tx1"/>
                </a:solidFill>
              </a:rPr>
              <a:t>1</a:t>
            </a:r>
            <a:endParaRPr lang="fr-FR" sz="600" dirty="0" err="1">
              <a:solidFill>
                <a:schemeClr val="tx1"/>
              </a:solidFill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B5424DB5-B5C8-4A2B-83BF-5491CCE4E50D}"/>
              </a:ext>
            </a:extLst>
          </p:cNvPr>
          <p:cNvSpPr txBox="1"/>
          <p:nvPr/>
        </p:nvSpPr>
        <p:spPr>
          <a:xfrm>
            <a:off x="1801471" y="2373523"/>
            <a:ext cx="99386" cy="95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fr-FR" sz="600" b="0" i="0" u="none" baseline="0"/>
              <a:t>Royaume-Uni</a:t>
            </a:r>
            <a:endParaRPr lang="fr-FR" sz="600" dirty="0" err="1"/>
          </a:p>
        </p:txBody>
      </p:sp>
      <p:sp>
        <p:nvSpPr>
          <p:cNvPr id="178" name="Textfeld 177">
            <a:extLst>
              <a:ext uri="{FF2B5EF4-FFF2-40B4-BE49-F238E27FC236}">
                <a16:creationId xmlns:a16="http://schemas.microsoft.com/office/drawing/2014/main" id="{C5DF6E07-EE9C-41C7-826E-45976B09869C}"/>
              </a:ext>
            </a:extLst>
          </p:cNvPr>
          <p:cNvSpPr txBox="1"/>
          <p:nvPr/>
        </p:nvSpPr>
        <p:spPr>
          <a:xfrm>
            <a:off x="2009893" y="2875596"/>
            <a:ext cx="227626" cy="95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fr-FR" sz="600" b="0" i="0" u="none" baseline="0"/>
              <a:t>France</a:t>
            </a:r>
            <a:endParaRPr lang="fr-FR" sz="600" dirty="0" err="1"/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7B4BCE36-765C-4233-8F3F-9C71A8AD4A23}"/>
              </a:ext>
            </a:extLst>
          </p:cNvPr>
          <p:cNvSpPr txBox="1"/>
          <p:nvPr/>
        </p:nvSpPr>
        <p:spPr>
          <a:xfrm>
            <a:off x="1610007" y="3388072"/>
            <a:ext cx="187552" cy="95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fr-FR" sz="600" b="0" i="0" u="none" baseline="0"/>
              <a:t>Espagne</a:t>
            </a:r>
            <a:endParaRPr lang="fr-FR" sz="600" dirty="0" err="1"/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E9B19C54-5239-4457-8AF5-DFD23560AC73}"/>
              </a:ext>
            </a:extLst>
          </p:cNvPr>
          <p:cNvSpPr txBox="1"/>
          <p:nvPr/>
        </p:nvSpPr>
        <p:spPr>
          <a:xfrm>
            <a:off x="2557184" y="3082147"/>
            <a:ext cx="144270" cy="95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fr-FR" sz="600" b="0" i="0" u="none" baseline="0"/>
              <a:t>Italie</a:t>
            </a:r>
            <a:endParaRPr lang="fr-FR" sz="600" dirty="0" err="1"/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87A22841-6D10-445B-89CC-F60FA9D0BE5D}"/>
              </a:ext>
            </a:extLst>
          </p:cNvPr>
          <p:cNvSpPr txBox="1"/>
          <p:nvPr/>
        </p:nvSpPr>
        <p:spPr>
          <a:xfrm>
            <a:off x="2412882" y="2538462"/>
            <a:ext cx="306174" cy="95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fr-FR" sz="600" b="0" i="0" u="none" baseline="0"/>
              <a:t>Allemagne</a:t>
            </a:r>
            <a:endParaRPr lang="fr-FR" sz="600" dirty="0" err="1"/>
          </a:p>
        </p:txBody>
      </p:sp>
      <p:sp>
        <p:nvSpPr>
          <p:cNvPr id="182" name="Textfeld 181">
            <a:extLst>
              <a:ext uri="{FF2B5EF4-FFF2-40B4-BE49-F238E27FC236}">
                <a16:creationId xmlns:a16="http://schemas.microsoft.com/office/drawing/2014/main" id="{64A4C153-EAB3-4362-BEC8-86D73A767D00}"/>
              </a:ext>
            </a:extLst>
          </p:cNvPr>
          <p:cNvSpPr txBox="1"/>
          <p:nvPr/>
        </p:nvSpPr>
        <p:spPr>
          <a:xfrm>
            <a:off x="2695288" y="2865907"/>
            <a:ext cx="237244" cy="95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fr-FR" sz="600" b="0" i="0" u="none" baseline="0"/>
              <a:t>Autriche</a:t>
            </a:r>
            <a:endParaRPr lang="fr-FR" sz="600" dirty="0" err="1"/>
          </a:p>
        </p:txBody>
      </p:sp>
      <p:sp>
        <p:nvSpPr>
          <p:cNvPr id="183" name="Textfeld 182">
            <a:extLst>
              <a:ext uri="{FF2B5EF4-FFF2-40B4-BE49-F238E27FC236}">
                <a16:creationId xmlns:a16="http://schemas.microsoft.com/office/drawing/2014/main" id="{C99336D3-BA21-4F32-9F31-C31EDF3D2163}"/>
              </a:ext>
            </a:extLst>
          </p:cNvPr>
          <p:cNvSpPr txBox="1"/>
          <p:nvPr/>
        </p:nvSpPr>
        <p:spPr>
          <a:xfrm>
            <a:off x="2950395" y="2438631"/>
            <a:ext cx="232436" cy="95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fr-FR" sz="600" b="0" i="0" u="none" baseline="0"/>
              <a:t>Pologne</a:t>
            </a:r>
            <a:endParaRPr lang="fr-FR" sz="600" dirty="0" err="1"/>
          </a:p>
        </p:txBody>
      </p:sp>
      <p:sp>
        <p:nvSpPr>
          <p:cNvPr id="184" name="Textfeld 183">
            <a:extLst>
              <a:ext uri="{FF2B5EF4-FFF2-40B4-BE49-F238E27FC236}">
                <a16:creationId xmlns:a16="http://schemas.microsoft.com/office/drawing/2014/main" id="{9CBA3AB3-5515-445E-AACF-FD2D7CE7FB5B}"/>
              </a:ext>
            </a:extLst>
          </p:cNvPr>
          <p:cNvSpPr txBox="1"/>
          <p:nvPr/>
        </p:nvSpPr>
        <p:spPr>
          <a:xfrm>
            <a:off x="2965420" y="2729628"/>
            <a:ext cx="278923" cy="95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fr-FR" sz="600" b="0" i="0" u="none" baseline="0"/>
              <a:t>Slovaquie</a:t>
            </a:r>
            <a:endParaRPr lang="fr-FR" sz="600" dirty="0" err="1"/>
          </a:p>
        </p:txBody>
      </p:sp>
      <p:sp>
        <p:nvSpPr>
          <p:cNvPr id="188" name="Oval 5">
            <a:extLst>
              <a:ext uri="{FF2B5EF4-FFF2-40B4-BE49-F238E27FC236}">
                <a16:creationId xmlns:a16="http://schemas.microsoft.com/office/drawing/2014/main" id="{8F87600C-6C18-48AF-AD79-B4C50469F2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3480" y="3797067"/>
            <a:ext cx="884681" cy="884681"/>
          </a:xfrm>
          <a:prstGeom prst="ellipse">
            <a:avLst/>
          </a:prstGeom>
          <a:solidFill>
            <a:srgbClr val="FFFFFF">
              <a:alpha val="50000"/>
            </a:srgbClr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 rtl="0">
              <a:lnSpc>
                <a:spcPct val="60000"/>
              </a:lnSpc>
            </a:pPr>
            <a:r>
              <a:rPr lang="fr-FR" sz="1600" b="1" i="0" u="none" baseline="0">
                <a:solidFill>
                  <a:schemeClr val="accent4"/>
                </a:solidFill>
                <a:latin typeface="Delivery" panose="020F0503020204020204" pitchFamily="34" charset="0"/>
              </a:rPr>
              <a:t>230+ </a:t>
            </a:r>
          </a:p>
          <a:p>
            <a:pPr lvl="0" algn="ctr" rtl="0"/>
            <a:r>
              <a:rPr lang="fr-FR" sz="1050" b="1" i="0" u="none" baseline="0">
                <a:solidFill>
                  <a:schemeClr val="accent4"/>
                </a:solidFill>
                <a:latin typeface="Delivery" panose="020F0503020204020204" pitchFamily="34" charset="0"/>
              </a:rPr>
              <a:t>sites Amazon</a:t>
            </a:r>
          </a:p>
          <a:p>
            <a:pPr lvl="0" algn="ctr" rtl="0"/>
            <a:r>
              <a:rPr lang="fr-FR" sz="1050" b="0" i="0" u="none" baseline="0">
                <a:solidFill>
                  <a:schemeClr val="accent4"/>
                </a:solidFill>
                <a:latin typeface="Delivery" panose="020F0503020204020204" pitchFamily="34" charset="0"/>
              </a:rPr>
              <a:t>en Europe !</a:t>
            </a:r>
            <a:endParaRPr lang="fr-FR" sz="1050" dirty="0">
              <a:solidFill>
                <a:schemeClr val="accent4"/>
              </a:solidFill>
              <a:latin typeface="Delivery" panose="020F0503020204020204" pitchFamily="34" charset="0"/>
            </a:endParaRPr>
          </a:p>
        </p:txBody>
      </p:sp>
      <p:sp>
        <p:nvSpPr>
          <p:cNvPr id="206" name="Freeform 5">
            <a:extLst>
              <a:ext uri="{FF2B5EF4-FFF2-40B4-BE49-F238E27FC236}">
                <a16:creationId xmlns:a16="http://schemas.microsoft.com/office/drawing/2014/main" id="{1D0AD12A-7B38-4390-9F06-068CCD7E7C80}"/>
              </a:ext>
            </a:extLst>
          </p:cNvPr>
          <p:cNvSpPr>
            <a:spLocks/>
          </p:cNvSpPr>
          <p:nvPr/>
        </p:nvSpPr>
        <p:spPr bwMode="auto">
          <a:xfrm rot="463820">
            <a:off x="2078316" y="3395117"/>
            <a:ext cx="406894" cy="575558"/>
          </a:xfrm>
          <a:custGeom>
            <a:avLst/>
            <a:gdLst>
              <a:gd name="T0" fmla="*/ 276 w 330"/>
              <a:gd name="T1" fmla="*/ 273 h 413"/>
              <a:gd name="T2" fmla="*/ 245 w 330"/>
              <a:gd name="T3" fmla="*/ 266 h 413"/>
              <a:gd name="T4" fmla="*/ 238 w 330"/>
              <a:gd name="T5" fmla="*/ 296 h 413"/>
              <a:gd name="T6" fmla="*/ 249 w 330"/>
              <a:gd name="T7" fmla="*/ 314 h 413"/>
              <a:gd name="T8" fmla="*/ 79 w 330"/>
              <a:gd name="T9" fmla="*/ 177 h 413"/>
              <a:gd name="T10" fmla="*/ 86 w 330"/>
              <a:gd name="T11" fmla="*/ 36 h 413"/>
              <a:gd name="T12" fmla="*/ 77 w 330"/>
              <a:gd name="T13" fmla="*/ 6 h 413"/>
              <a:gd name="T14" fmla="*/ 47 w 330"/>
              <a:gd name="T15" fmla="*/ 14 h 413"/>
              <a:gd name="T16" fmla="*/ 38 w 330"/>
              <a:gd name="T17" fmla="*/ 194 h 413"/>
              <a:gd name="T18" fmla="*/ 241 w 330"/>
              <a:gd name="T19" fmla="*/ 359 h 413"/>
              <a:gd name="T20" fmla="*/ 216 w 330"/>
              <a:gd name="T21" fmla="*/ 371 h 413"/>
              <a:gd name="T22" fmla="*/ 206 w 330"/>
              <a:gd name="T23" fmla="*/ 401 h 413"/>
              <a:gd name="T24" fmla="*/ 226 w 330"/>
              <a:gd name="T25" fmla="*/ 413 h 413"/>
              <a:gd name="T26" fmla="*/ 236 w 330"/>
              <a:gd name="T27" fmla="*/ 411 h 413"/>
              <a:gd name="T28" fmla="*/ 330 w 330"/>
              <a:gd name="T29" fmla="*/ 363 h 413"/>
              <a:gd name="T30" fmla="*/ 276 w 330"/>
              <a:gd name="T31" fmla="*/ 273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0" h="413">
                <a:moveTo>
                  <a:pt x="276" y="273"/>
                </a:moveTo>
                <a:cubicBezTo>
                  <a:pt x="270" y="263"/>
                  <a:pt x="256" y="260"/>
                  <a:pt x="245" y="266"/>
                </a:cubicBezTo>
                <a:cubicBezTo>
                  <a:pt x="235" y="272"/>
                  <a:pt x="232" y="286"/>
                  <a:pt x="238" y="296"/>
                </a:cubicBezTo>
                <a:cubicBezTo>
                  <a:pt x="249" y="314"/>
                  <a:pt x="249" y="314"/>
                  <a:pt x="249" y="314"/>
                </a:cubicBezTo>
                <a:cubicBezTo>
                  <a:pt x="160" y="280"/>
                  <a:pt x="103" y="234"/>
                  <a:pt x="79" y="177"/>
                </a:cubicBezTo>
                <a:cubicBezTo>
                  <a:pt x="49" y="105"/>
                  <a:pt x="85" y="37"/>
                  <a:pt x="86" y="36"/>
                </a:cubicBezTo>
                <a:cubicBezTo>
                  <a:pt x="91" y="25"/>
                  <a:pt x="88" y="12"/>
                  <a:pt x="77" y="6"/>
                </a:cubicBezTo>
                <a:cubicBezTo>
                  <a:pt x="66" y="0"/>
                  <a:pt x="53" y="3"/>
                  <a:pt x="47" y="14"/>
                </a:cubicBezTo>
                <a:cubicBezTo>
                  <a:pt x="45" y="18"/>
                  <a:pt x="0" y="101"/>
                  <a:pt x="38" y="194"/>
                </a:cubicBezTo>
                <a:cubicBezTo>
                  <a:pt x="67" y="264"/>
                  <a:pt x="135" y="320"/>
                  <a:pt x="241" y="359"/>
                </a:cubicBezTo>
                <a:cubicBezTo>
                  <a:pt x="216" y="371"/>
                  <a:pt x="216" y="371"/>
                  <a:pt x="216" y="371"/>
                </a:cubicBezTo>
                <a:cubicBezTo>
                  <a:pt x="205" y="377"/>
                  <a:pt x="201" y="390"/>
                  <a:pt x="206" y="401"/>
                </a:cubicBezTo>
                <a:cubicBezTo>
                  <a:pt x="210" y="409"/>
                  <a:pt x="218" y="413"/>
                  <a:pt x="226" y="413"/>
                </a:cubicBezTo>
                <a:cubicBezTo>
                  <a:pt x="229" y="413"/>
                  <a:pt x="233" y="412"/>
                  <a:pt x="236" y="411"/>
                </a:cubicBezTo>
                <a:cubicBezTo>
                  <a:pt x="330" y="363"/>
                  <a:pt x="330" y="363"/>
                  <a:pt x="330" y="363"/>
                </a:cubicBezTo>
                <a:lnTo>
                  <a:pt x="276" y="273"/>
                </a:lnTo>
                <a:close/>
              </a:path>
            </a:pathLst>
          </a:custGeom>
          <a:solidFill>
            <a:schemeClr val="accent4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fr-FR" sz="1013" dirty="0">
              <a:latin typeface="Delivery" panose="020F0503020204020204" pitchFamily="34" charset="0"/>
            </a:endParaRPr>
          </a:p>
        </p:txBody>
      </p:sp>
      <p:sp>
        <p:nvSpPr>
          <p:cNvPr id="44" name="Content Placeholder 5">
            <a:extLst>
              <a:ext uri="{FF2B5EF4-FFF2-40B4-BE49-F238E27FC236}">
                <a16:creationId xmlns:a16="http://schemas.microsoft.com/office/drawing/2014/main" id="{5E0C137A-6580-4592-9F91-D93E4AAF18AB}"/>
              </a:ext>
            </a:extLst>
          </p:cNvPr>
          <p:cNvSpPr txBox="1">
            <a:spLocks/>
          </p:cNvSpPr>
          <p:nvPr/>
        </p:nvSpPr>
        <p:spPr>
          <a:xfrm>
            <a:off x="3910481" y="1015744"/>
            <a:ext cx="1445904" cy="80021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fr-FR" sz="5200" b="1" i="0" u="none" baseline="0" dirty="0">
                <a:solidFill>
                  <a:schemeClr val="accent4"/>
                </a:solidFill>
                <a:latin typeface="Delivery" panose="020F0503020204020204" pitchFamily="34" charset="0"/>
              </a:rPr>
              <a:t>65 %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F31AE36-166D-4155-B3E9-4B0CC06392B1}"/>
              </a:ext>
            </a:extLst>
          </p:cNvPr>
          <p:cNvSpPr/>
          <p:nvPr/>
        </p:nvSpPr>
        <p:spPr>
          <a:xfrm>
            <a:off x="3867873" y="4815527"/>
            <a:ext cx="514295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fr-FR" sz="700" b="0" i="0" u="none" baseline="30000" dirty="0"/>
              <a:t>1</a:t>
            </a:r>
            <a:r>
              <a:rPr lang="fr-FR" sz="700" b="0" i="0" u="none" baseline="0" dirty="0"/>
              <a:t>Cinq tendances du commerce électronique et comment répondre à un marché en évolution – DHL Supply Chain</a:t>
            </a:r>
          </a:p>
          <a:p>
            <a:pPr algn="l" rtl="0"/>
            <a:r>
              <a:rPr lang="fr-FR" sz="700" b="0" i="0" u="none" baseline="30000" dirty="0"/>
              <a:t>2</a:t>
            </a:r>
            <a:r>
              <a:rPr lang="fr-FR" sz="700" b="0" i="0" u="none" baseline="0" dirty="0"/>
              <a:t>https://digiday.com/</a:t>
            </a:r>
            <a:r>
              <a:rPr lang="fr-FR" sz="700" b="0" i="0" u="none" baseline="0" dirty="0" err="1"/>
              <a:t>retail</a:t>
            </a:r>
            <a:r>
              <a:rPr lang="fr-FR" sz="700" b="0" i="0" u="none" baseline="0" dirty="0"/>
              <a:t>/walmart-grows-e-commerce-sales-37-focus-grocery</a:t>
            </a:r>
            <a:endParaRPr lang="fr-FR" sz="700" dirty="0"/>
          </a:p>
        </p:txBody>
      </p:sp>
      <p:sp>
        <p:nvSpPr>
          <p:cNvPr id="43" name="Inhaltsplatzhalter 5">
            <a:extLst>
              <a:ext uri="{FF2B5EF4-FFF2-40B4-BE49-F238E27FC236}">
                <a16:creationId xmlns:a16="http://schemas.microsoft.com/office/drawing/2014/main" id="{DA95D5EB-8F05-48D3-917B-B2B07CBCD305}"/>
              </a:ext>
            </a:extLst>
          </p:cNvPr>
          <p:cNvSpPr txBox="1">
            <a:spLocks/>
          </p:cNvSpPr>
          <p:nvPr/>
        </p:nvSpPr>
        <p:spPr>
          <a:xfrm>
            <a:off x="5531308" y="2148193"/>
            <a:ext cx="3523745" cy="10833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fr-FR" sz="1600" b="0" i="0" u="none" baseline="0" dirty="0"/>
              <a:t>d’augmentation prévue du nombre d’</a:t>
            </a:r>
            <a:r>
              <a:rPr lang="fr-FR" sz="1600" b="1" i="0" u="none" baseline="0" dirty="0"/>
              <a:t>utilisateurs mondiaux d’Amazon Prime</a:t>
            </a:r>
            <a:r>
              <a:rPr lang="fr-FR" sz="1600" b="0" i="0" u="none" baseline="0" dirty="0"/>
              <a:t> en passant à la norme de </a:t>
            </a:r>
            <a:r>
              <a:rPr lang="fr-FR" sz="1600" b="1" i="0" u="none" baseline="0" dirty="0"/>
              <a:t>livraison le lendemain</a:t>
            </a:r>
          </a:p>
        </p:txBody>
      </p:sp>
      <p:sp>
        <p:nvSpPr>
          <p:cNvPr id="46" name="Inhaltsplatzhalter 5">
            <a:extLst>
              <a:ext uri="{FF2B5EF4-FFF2-40B4-BE49-F238E27FC236}">
                <a16:creationId xmlns:a16="http://schemas.microsoft.com/office/drawing/2014/main" id="{E7A6A407-09E4-4129-8C46-C862AEDC3999}"/>
              </a:ext>
            </a:extLst>
          </p:cNvPr>
          <p:cNvSpPr txBox="1">
            <a:spLocks/>
          </p:cNvSpPr>
          <p:nvPr/>
        </p:nvSpPr>
        <p:spPr>
          <a:xfrm>
            <a:off x="5531308" y="3423773"/>
            <a:ext cx="3523745" cy="10833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fr-FR" sz="1600" b="0" i="0" u="none" baseline="0" dirty="0"/>
              <a:t>de croissance des </a:t>
            </a:r>
            <a:r>
              <a:rPr lang="fr-FR" sz="1600" b="1" i="0" u="none" baseline="0" dirty="0"/>
              <a:t>recettes </a:t>
            </a:r>
            <a:r>
              <a:rPr lang="fr-FR" sz="1600" b="0" i="0" u="none" baseline="0" dirty="0"/>
              <a:t>annuelles issues du </a:t>
            </a:r>
            <a:r>
              <a:rPr lang="fr-FR" sz="1600" b="1" i="0" u="none" baseline="0" dirty="0"/>
              <a:t>commerce électronique </a:t>
            </a:r>
            <a:r>
              <a:rPr lang="fr-FR" sz="1600" b="0" i="0" u="none" baseline="0" dirty="0"/>
              <a:t>de </a:t>
            </a:r>
            <a:r>
              <a:rPr lang="fr-FR" sz="1600" b="1" i="0" u="none" baseline="0" dirty="0" err="1"/>
              <a:t>Walmart</a:t>
            </a:r>
            <a:r>
              <a:rPr lang="fr-FR" sz="1600" b="1" i="0" u="none" baseline="0" dirty="0"/>
              <a:t> </a:t>
            </a:r>
            <a:r>
              <a:rPr lang="fr-FR" sz="1600" b="0" i="0" u="none" baseline="0" dirty="0"/>
              <a:t>après avoir offert la</a:t>
            </a:r>
            <a:r>
              <a:rPr lang="fr-FR" sz="1600" b="1" dirty="0"/>
              <a:t/>
            </a:r>
            <a:br>
              <a:rPr lang="fr-FR" sz="1600" b="1" dirty="0"/>
            </a:br>
            <a:r>
              <a:rPr lang="fr-FR" sz="1600" b="1" i="0" u="none" baseline="0" dirty="0"/>
              <a:t>livraison gratuite le lendemain</a:t>
            </a:r>
            <a:r>
              <a:rPr lang="fr-FR" sz="1600" b="0" i="0" u="none" baseline="30000" dirty="0"/>
              <a:t>2</a:t>
            </a:r>
          </a:p>
        </p:txBody>
      </p:sp>
      <p:sp>
        <p:nvSpPr>
          <p:cNvPr id="47" name="Content Placeholder 5">
            <a:extLst>
              <a:ext uri="{FF2B5EF4-FFF2-40B4-BE49-F238E27FC236}">
                <a16:creationId xmlns:a16="http://schemas.microsoft.com/office/drawing/2014/main" id="{E38C3B1F-6399-4C46-ACC9-58DFF6E5C058}"/>
              </a:ext>
            </a:extLst>
          </p:cNvPr>
          <p:cNvSpPr txBox="1">
            <a:spLocks/>
          </p:cNvSpPr>
          <p:nvPr/>
        </p:nvSpPr>
        <p:spPr>
          <a:xfrm>
            <a:off x="3910481" y="2171520"/>
            <a:ext cx="1445904" cy="80021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fr-FR" sz="5200" b="1" i="0" u="none" baseline="0" dirty="0">
                <a:solidFill>
                  <a:schemeClr val="accent4"/>
                </a:solidFill>
                <a:latin typeface="Delivery" panose="020F0503020204020204" pitchFamily="34" charset="0"/>
              </a:rPr>
              <a:t>24 %</a:t>
            </a:r>
          </a:p>
        </p:txBody>
      </p:sp>
      <p:sp>
        <p:nvSpPr>
          <p:cNvPr id="48" name="Content Placeholder 5">
            <a:extLst>
              <a:ext uri="{FF2B5EF4-FFF2-40B4-BE49-F238E27FC236}">
                <a16:creationId xmlns:a16="http://schemas.microsoft.com/office/drawing/2014/main" id="{EF1A1FB3-26C8-4577-8580-0342CB6C2D48}"/>
              </a:ext>
            </a:extLst>
          </p:cNvPr>
          <p:cNvSpPr txBox="1">
            <a:spLocks/>
          </p:cNvSpPr>
          <p:nvPr/>
        </p:nvSpPr>
        <p:spPr>
          <a:xfrm>
            <a:off x="3910481" y="3418447"/>
            <a:ext cx="1445904" cy="80021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fr-FR" sz="5200" b="1" i="0" u="none" baseline="0" dirty="0">
                <a:solidFill>
                  <a:schemeClr val="accent4"/>
                </a:solidFill>
                <a:latin typeface="Delivery" panose="020F0503020204020204" pitchFamily="34" charset="0"/>
              </a:rPr>
              <a:t>37 %</a:t>
            </a:r>
          </a:p>
        </p:txBody>
      </p:sp>
    </p:spTree>
    <p:extLst>
      <p:ext uri="{BB962C8B-B14F-4D97-AF65-F5344CB8AC3E}">
        <p14:creationId xmlns:p14="http://schemas.microsoft.com/office/powerpoint/2010/main" val="37200566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2AE971D-3A99-4E78-B4AC-BDF4D9F4C9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00762" y="0"/>
            <a:ext cx="3043237" cy="5143500"/>
          </a:xfrm>
        </p:spPr>
        <p:txBody>
          <a:bodyPr/>
          <a:lstStyle/>
          <a:p>
            <a:pPr algn="l" rtl="0"/>
            <a:r>
              <a:rPr lang="fr-FR" b="0" i="0" u="none" baseline="0"/>
              <a:t> </a:t>
            </a:r>
            <a:endParaRPr lang="fr-FR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2713E01-FAC3-4CE5-B40D-1C2B809C57B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  <a:endParaRPr lang="fr-FR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7C60B7-1E06-4745-A46F-7BA4781968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4</a:t>
            </a:fld>
            <a:endParaRPr lang="fr-FR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3AB4D5D-D6B0-4266-96B6-29EFEAE91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fr-FR" b="1" i="0" u="none" baseline="0"/>
              <a:t>Les avantages à gérer son propre canal B2C</a:t>
            </a:r>
            <a:endParaRPr lang="fr-FR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EB9FC3F5-BCD9-4035-8844-C24E96900FD5}"/>
              </a:ext>
            </a:extLst>
          </p:cNvPr>
          <p:cNvSpPr txBox="1">
            <a:spLocks/>
          </p:cNvSpPr>
          <p:nvPr/>
        </p:nvSpPr>
        <p:spPr>
          <a:xfrm>
            <a:off x="323850" y="3164986"/>
            <a:ext cx="1260000" cy="8654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fr-FR" b="1" i="0" u="none" baseline="0" dirty="0"/>
              <a:t>Relation directe avec le client final </a:t>
            </a:r>
            <a:endParaRPr lang="fr-FR" b="1" dirty="0"/>
          </a:p>
          <a:p>
            <a:pPr algn="ctr" rtl="0"/>
            <a:r>
              <a:rPr lang="fr-FR" b="0" i="0" u="none" baseline="0" dirty="0" smtClean="0"/>
              <a:t>zéro </a:t>
            </a:r>
            <a:r>
              <a:rPr lang="fr-FR" b="0" i="0" u="none" baseline="0" dirty="0"/>
              <a:t>dilution de la marque</a:t>
            </a:r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EFEDBDBE-28C2-4AC3-ADED-F1C0C4217C88}"/>
              </a:ext>
            </a:extLst>
          </p:cNvPr>
          <p:cNvSpPr txBox="1">
            <a:spLocks/>
          </p:cNvSpPr>
          <p:nvPr/>
        </p:nvSpPr>
        <p:spPr>
          <a:xfrm>
            <a:off x="1763713" y="3164986"/>
            <a:ext cx="1260000" cy="1271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fr-FR" b="1" i="0" u="none" baseline="0" dirty="0"/>
              <a:t>Plus de valeur capturée </a:t>
            </a:r>
            <a:endParaRPr lang="fr-FR" b="1" dirty="0"/>
          </a:p>
          <a:p>
            <a:pPr algn="ctr" rtl="0"/>
            <a:r>
              <a:rPr lang="fr-FR" b="0" i="0" u="none" baseline="0" dirty="0" smtClean="0"/>
              <a:t>pas </a:t>
            </a:r>
            <a:r>
              <a:rPr lang="fr-FR" b="0" i="0" u="none" baseline="0" dirty="0"/>
              <a:t>de tarifs ni de commissions à </a:t>
            </a:r>
            <a:r>
              <a:rPr lang="fr-FR" dirty="0"/>
              <a:t/>
            </a:r>
            <a:br>
              <a:rPr lang="fr-FR" dirty="0"/>
            </a:br>
            <a:r>
              <a:rPr lang="fr-FR" b="0" i="0" u="none" baseline="0" dirty="0"/>
              <a:t>une place de marché</a:t>
            </a:r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CA47E510-6FA1-4A90-9BB5-2DBF850C3269}"/>
              </a:ext>
            </a:extLst>
          </p:cNvPr>
          <p:cNvSpPr txBox="1">
            <a:spLocks/>
          </p:cNvSpPr>
          <p:nvPr/>
        </p:nvSpPr>
        <p:spPr>
          <a:xfrm>
            <a:off x="3203576" y="3164986"/>
            <a:ext cx="1260000" cy="12187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fr-FR" b="1" i="0" u="none" baseline="0" dirty="0"/>
              <a:t>Flexibilité </a:t>
            </a:r>
            <a:r>
              <a:rPr lang="fr-FR" b="0" i="0" u="none" baseline="0" dirty="0" smtClean="0"/>
              <a:t> </a:t>
            </a:r>
            <a:r>
              <a:rPr lang="fr-FR" dirty="0"/>
              <a:t/>
            </a:r>
            <a:br>
              <a:rPr lang="fr-FR" dirty="0"/>
            </a:br>
            <a:r>
              <a:rPr lang="fr-FR" b="0" i="0" u="none" baseline="0" dirty="0"/>
              <a:t>vous n’êtes pas limité par les restrictions strictes des places de marché</a:t>
            </a:r>
          </a:p>
        </p:txBody>
      </p:sp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C736174B-6D1B-47B1-A197-D0943B923DC3}"/>
              </a:ext>
            </a:extLst>
          </p:cNvPr>
          <p:cNvSpPr txBox="1">
            <a:spLocks/>
          </p:cNvSpPr>
          <p:nvPr/>
        </p:nvSpPr>
        <p:spPr>
          <a:xfrm>
            <a:off x="4643438" y="3164986"/>
            <a:ext cx="1260000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fr-FR" b="1" i="0" u="none" baseline="0" dirty="0"/>
              <a:t>Indépendance </a:t>
            </a:r>
            <a:r>
              <a:rPr lang="fr-FR" b="1" i="0" u="none" baseline="0" dirty="0" smtClean="0"/>
              <a:t> </a:t>
            </a:r>
            <a:r>
              <a:rPr lang="fr-FR" dirty="0"/>
              <a:t/>
            </a:r>
            <a:br>
              <a:rPr lang="fr-FR" dirty="0"/>
            </a:br>
            <a:r>
              <a:rPr lang="fr-FR" b="0" i="0" u="none" baseline="0" dirty="0"/>
              <a:t>aucune perturbation causée par des </a:t>
            </a:r>
            <a:r>
              <a:rPr lang="fr-FR" dirty="0"/>
              <a:t/>
            </a:r>
            <a:br>
              <a:rPr lang="fr-FR" dirty="0"/>
            </a:br>
            <a:r>
              <a:rPr lang="fr-FR" b="0" i="0" u="none" baseline="0" dirty="0"/>
              <a:t>décisions de tiers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21BEEB3D-6A3C-4BEA-83BE-9D9E8C9E9C2B}"/>
              </a:ext>
            </a:extLst>
          </p:cNvPr>
          <p:cNvGrpSpPr>
            <a:grpSpLocks noChangeAspect="1"/>
          </p:cNvGrpSpPr>
          <p:nvPr/>
        </p:nvGrpSpPr>
        <p:grpSpPr>
          <a:xfrm>
            <a:off x="1822060" y="1600200"/>
            <a:ext cx="1143307" cy="1152000"/>
            <a:chOff x="2865438" y="1228725"/>
            <a:chExt cx="1252538" cy="1262063"/>
          </a:xfrm>
        </p:grpSpPr>
        <p:sp>
          <p:nvSpPr>
            <p:cNvPr id="18" name="Oval 8">
              <a:extLst>
                <a:ext uri="{FF2B5EF4-FFF2-40B4-BE49-F238E27FC236}">
                  <a16:creationId xmlns:a16="http://schemas.microsoft.com/office/drawing/2014/main" id="{99DB589B-58E2-4FF1-B3B4-CBCB0B58F1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5438" y="1228725"/>
              <a:ext cx="1252538" cy="1262063"/>
            </a:xfrm>
            <a:prstGeom prst="ellipse">
              <a:avLst/>
            </a:prstGeom>
            <a:solidFill>
              <a:srgbClr val="6A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C333BB78-3CF6-416A-9AD5-BF52907772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9600" y="1519238"/>
              <a:ext cx="679450" cy="684213"/>
            </a:xfrm>
            <a:custGeom>
              <a:avLst/>
              <a:gdLst>
                <a:gd name="T0" fmla="*/ 132 w 205"/>
                <a:gd name="T1" fmla="*/ 49 h 205"/>
                <a:gd name="T2" fmla="*/ 156 w 205"/>
                <a:gd name="T3" fmla="*/ 49 h 205"/>
                <a:gd name="T4" fmla="*/ 156 w 205"/>
                <a:gd name="T5" fmla="*/ 72 h 205"/>
                <a:gd name="T6" fmla="*/ 132 w 205"/>
                <a:gd name="T7" fmla="*/ 72 h 205"/>
                <a:gd name="T8" fmla="*/ 132 w 205"/>
                <a:gd name="T9" fmla="*/ 72 h 205"/>
                <a:gd name="T10" fmla="*/ 132 w 205"/>
                <a:gd name="T11" fmla="*/ 49 h 205"/>
                <a:gd name="T12" fmla="*/ 132 w 205"/>
                <a:gd name="T13" fmla="*/ 49 h 205"/>
                <a:gd name="T14" fmla="*/ 119 w 205"/>
                <a:gd name="T15" fmla="*/ 0 h 205"/>
                <a:gd name="T16" fmla="*/ 4 w 205"/>
                <a:gd name="T17" fmla="*/ 114 h 205"/>
                <a:gd name="T18" fmla="*/ 4 w 205"/>
                <a:gd name="T19" fmla="*/ 131 h 205"/>
                <a:gd name="T20" fmla="*/ 73 w 205"/>
                <a:gd name="T21" fmla="*/ 200 h 205"/>
                <a:gd name="T22" fmla="*/ 90 w 205"/>
                <a:gd name="T23" fmla="*/ 200 h 205"/>
                <a:gd name="T24" fmla="*/ 205 w 205"/>
                <a:gd name="T25" fmla="*/ 85 h 205"/>
                <a:gd name="T26" fmla="*/ 188 w 205"/>
                <a:gd name="T27" fmla="*/ 17 h 205"/>
                <a:gd name="T28" fmla="*/ 119 w 205"/>
                <a:gd name="T29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5" h="205">
                  <a:moveTo>
                    <a:pt x="132" y="49"/>
                  </a:moveTo>
                  <a:cubicBezTo>
                    <a:pt x="139" y="42"/>
                    <a:pt x="149" y="42"/>
                    <a:pt x="156" y="49"/>
                  </a:cubicBezTo>
                  <a:cubicBezTo>
                    <a:pt x="162" y="55"/>
                    <a:pt x="162" y="65"/>
                    <a:pt x="156" y="72"/>
                  </a:cubicBezTo>
                  <a:cubicBezTo>
                    <a:pt x="149" y="78"/>
                    <a:pt x="139" y="78"/>
                    <a:pt x="132" y="72"/>
                  </a:cubicBezTo>
                  <a:cubicBezTo>
                    <a:pt x="132" y="72"/>
                    <a:pt x="132" y="72"/>
                    <a:pt x="132" y="72"/>
                  </a:cubicBezTo>
                  <a:cubicBezTo>
                    <a:pt x="126" y="66"/>
                    <a:pt x="126" y="55"/>
                    <a:pt x="132" y="49"/>
                  </a:cubicBezTo>
                  <a:cubicBezTo>
                    <a:pt x="132" y="49"/>
                    <a:pt x="132" y="49"/>
                    <a:pt x="132" y="49"/>
                  </a:cubicBezTo>
                  <a:moveTo>
                    <a:pt x="119" y="0"/>
                  </a:moveTo>
                  <a:cubicBezTo>
                    <a:pt x="4" y="114"/>
                    <a:pt x="4" y="114"/>
                    <a:pt x="4" y="114"/>
                  </a:cubicBezTo>
                  <a:cubicBezTo>
                    <a:pt x="0" y="119"/>
                    <a:pt x="0" y="127"/>
                    <a:pt x="4" y="131"/>
                  </a:cubicBezTo>
                  <a:cubicBezTo>
                    <a:pt x="73" y="200"/>
                    <a:pt x="73" y="200"/>
                    <a:pt x="73" y="200"/>
                  </a:cubicBezTo>
                  <a:cubicBezTo>
                    <a:pt x="78" y="205"/>
                    <a:pt x="85" y="205"/>
                    <a:pt x="90" y="200"/>
                  </a:cubicBezTo>
                  <a:cubicBezTo>
                    <a:pt x="205" y="85"/>
                    <a:pt x="205" y="85"/>
                    <a:pt x="205" y="85"/>
                  </a:cubicBezTo>
                  <a:cubicBezTo>
                    <a:pt x="188" y="17"/>
                    <a:pt x="188" y="17"/>
                    <a:pt x="188" y="17"/>
                  </a:cubicBezTo>
                  <a:lnTo>
                    <a:pt x="1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Rectangle 10">
              <a:extLst>
                <a:ext uri="{FF2B5EF4-FFF2-40B4-BE49-F238E27FC236}">
                  <a16:creationId xmlns:a16="http://schemas.microsoft.com/office/drawing/2014/main" id="{2E3B33E5-9E0E-4BCC-A23D-C35539ED7F5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700000">
              <a:off x="3249612" y="1703388"/>
              <a:ext cx="396875" cy="654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2600" b="1" i="0" u="none" strike="noStrike" cap="none" normalizeH="0" baseline="0">
                  <a:ln>
                    <a:noFill/>
                  </a:ln>
                  <a:solidFill>
                    <a:srgbClr val="6AA5AD"/>
                  </a:solidFill>
                  <a:effectLst/>
                  <a:latin typeface="Delivery" panose="020F0503020204020204" pitchFamily="34" charset="0"/>
                </a:rPr>
                <a:t>€</a:t>
              </a:r>
              <a:endParaRPr kumimoji="0" lang="fr-FR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D405EF9C-4FC3-47BC-A357-5B7F8A8405E4}"/>
              </a:ext>
            </a:extLst>
          </p:cNvPr>
          <p:cNvGrpSpPr>
            <a:grpSpLocks noChangeAspect="1"/>
          </p:cNvGrpSpPr>
          <p:nvPr/>
        </p:nvGrpSpPr>
        <p:grpSpPr>
          <a:xfrm>
            <a:off x="381474" y="1600200"/>
            <a:ext cx="1144753" cy="1152000"/>
            <a:chOff x="95250" y="1228725"/>
            <a:chExt cx="1254125" cy="1262063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104C876B-EC0B-466A-AF31-A1878A3EB6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50" y="1228725"/>
              <a:ext cx="1254125" cy="1262063"/>
            </a:xfrm>
            <a:prstGeom prst="ellipse">
              <a:avLst/>
            </a:prstGeom>
            <a:solidFill>
              <a:srgbClr val="70AE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A1625399-8B53-47E6-BD49-456A42594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888" y="1619250"/>
              <a:ext cx="557213" cy="320675"/>
            </a:xfrm>
            <a:custGeom>
              <a:avLst/>
              <a:gdLst>
                <a:gd name="T0" fmla="*/ 166 w 168"/>
                <a:gd name="T1" fmla="*/ 63 h 96"/>
                <a:gd name="T2" fmla="*/ 152 w 168"/>
                <a:gd name="T3" fmla="*/ 30 h 96"/>
                <a:gd name="T4" fmla="*/ 147 w 168"/>
                <a:gd name="T5" fmla="*/ 28 h 96"/>
                <a:gd name="T6" fmla="*/ 129 w 168"/>
                <a:gd name="T7" fmla="*/ 30 h 96"/>
                <a:gd name="T8" fmla="*/ 120 w 168"/>
                <a:gd name="T9" fmla="*/ 28 h 96"/>
                <a:gd name="T10" fmla="*/ 69 w 168"/>
                <a:gd name="T11" fmla="*/ 5 h 96"/>
                <a:gd name="T12" fmla="*/ 42 w 168"/>
                <a:gd name="T13" fmla="*/ 6 h 96"/>
                <a:gd name="T14" fmla="*/ 11 w 168"/>
                <a:gd name="T15" fmla="*/ 23 h 96"/>
                <a:gd name="T16" fmla="*/ 8 w 168"/>
                <a:gd name="T17" fmla="*/ 47 h 96"/>
                <a:gd name="T18" fmla="*/ 26 w 168"/>
                <a:gd name="T19" fmla="*/ 47 h 96"/>
                <a:gd name="T20" fmla="*/ 54 w 168"/>
                <a:gd name="T21" fmla="*/ 32 h 96"/>
                <a:gd name="T22" fmla="*/ 58 w 168"/>
                <a:gd name="T23" fmla="*/ 31 h 96"/>
                <a:gd name="T24" fmla="*/ 82 w 168"/>
                <a:gd name="T25" fmla="*/ 43 h 96"/>
                <a:gd name="T26" fmla="*/ 103 w 168"/>
                <a:gd name="T27" fmla="*/ 58 h 96"/>
                <a:gd name="T28" fmla="*/ 140 w 168"/>
                <a:gd name="T29" fmla="*/ 85 h 96"/>
                <a:gd name="T30" fmla="*/ 147 w 168"/>
                <a:gd name="T31" fmla="*/ 90 h 96"/>
                <a:gd name="T32" fmla="*/ 165 w 168"/>
                <a:gd name="T33" fmla="*/ 94 h 96"/>
                <a:gd name="T34" fmla="*/ 168 w 168"/>
                <a:gd name="T35" fmla="*/ 89 h 96"/>
                <a:gd name="T36" fmla="*/ 166 w 168"/>
                <a:gd name="T37" fmla="*/ 6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8" h="96">
                  <a:moveTo>
                    <a:pt x="166" y="63"/>
                  </a:moveTo>
                  <a:cubicBezTo>
                    <a:pt x="163" y="51"/>
                    <a:pt x="159" y="40"/>
                    <a:pt x="152" y="30"/>
                  </a:cubicBezTo>
                  <a:cubicBezTo>
                    <a:pt x="150" y="28"/>
                    <a:pt x="149" y="28"/>
                    <a:pt x="147" y="28"/>
                  </a:cubicBezTo>
                  <a:cubicBezTo>
                    <a:pt x="141" y="29"/>
                    <a:pt x="135" y="30"/>
                    <a:pt x="129" y="30"/>
                  </a:cubicBezTo>
                  <a:cubicBezTo>
                    <a:pt x="126" y="30"/>
                    <a:pt x="122" y="30"/>
                    <a:pt x="120" y="28"/>
                  </a:cubicBezTo>
                  <a:cubicBezTo>
                    <a:pt x="103" y="21"/>
                    <a:pt x="85" y="14"/>
                    <a:pt x="69" y="5"/>
                  </a:cubicBezTo>
                  <a:cubicBezTo>
                    <a:pt x="59" y="1"/>
                    <a:pt x="51" y="0"/>
                    <a:pt x="42" y="6"/>
                  </a:cubicBezTo>
                  <a:cubicBezTo>
                    <a:pt x="32" y="12"/>
                    <a:pt x="21" y="17"/>
                    <a:pt x="11" y="23"/>
                  </a:cubicBezTo>
                  <a:cubicBezTo>
                    <a:pt x="2" y="28"/>
                    <a:pt x="0" y="40"/>
                    <a:pt x="8" y="47"/>
                  </a:cubicBezTo>
                  <a:cubicBezTo>
                    <a:pt x="13" y="51"/>
                    <a:pt x="20" y="51"/>
                    <a:pt x="26" y="47"/>
                  </a:cubicBezTo>
                  <a:cubicBezTo>
                    <a:pt x="35" y="42"/>
                    <a:pt x="45" y="37"/>
                    <a:pt x="54" y="32"/>
                  </a:cubicBezTo>
                  <a:cubicBezTo>
                    <a:pt x="55" y="31"/>
                    <a:pt x="57" y="31"/>
                    <a:pt x="58" y="31"/>
                  </a:cubicBezTo>
                  <a:cubicBezTo>
                    <a:pt x="66" y="35"/>
                    <a:pt x="74" y="38"/>
                    <a:pt x="82" y="43"/>
                  </a:cubicBezTo>
                  <a:cubicBezTo>
                    <a:pt x="89" y="48"/>
                    <a:pt x="96" y="53"/>
                    <a:pt x="103" y="58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43" y="87"/>
                    <a:pt x="145" y="88"/>
                    <a:pt x="147" y="90"/>
                  </a:cubicBezTo>
                  <a:cubicBezTo>
                    <a:pt x="153" y="96"/>
                    <a:pt x="158" y="96"/>
                    <a:pt x="165" y="94"/>
                  </a:cubicBezTo>
                  <a:cubicBezTo>
                    <a:pt x="168" y="93"/>
                    <a:pt x="168" y="92"/>
                    <a:pt x="168" y="89"/>
                  </a:cubicBezTo>
                  <a:cubicBezTo>
                    <a:pt x="167" y="80"/>
                    <a:pt x="167" y="71"/>
                    <a:pt x="166" y="6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73039E05-7ECC-4E18-AC12-2948E7D12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563" y="1930400"/>
              <a:ext cx="268288" cy="188913"/>
            </a:xfrm>
            <a:custGeom>
              <a:avLst/>
              <a:gdLst>
                <a:gd name="T0" fmla="*/ 70 w 81"/>
                <a:gd name="T1" fmla="*/ 20 h 57"/>
                <a:gd name="T2" fmla="*/ 61 w 81"/>
                <a:gd name="T3" fmla="*/ 22 h 57"/>
                <a:gd name="T4" fmla="*/ 62 w 81"/>
                <a:gd name="T5" fmla="*/ 13 h 57"/>
                <a:gd name="T6" fmla="*/ 56 w 81"/>
                <a:gd name="T7" fmla="*/ 6 h 57"/>
                <a:gd name="T8" fmla="*/ 48 w 81"/>
                <a:gd name="T9" fmla="*/ 6 h 57"/>
                <a:gd name="T10" fmla="*/ 41 w 81"/>
                <a:gd name="T11" fmla="*/ 12 h 57"/>
                <a:gd name="T12" fmla="*/ 32 w 81"/>
                <a:gd name="T13" fmla="*/ 3 h 57"/>
                <a:gd name="T14" fmla="*/ 21 w 81"/>
                <a:gd name="T15" fmla="*/ 9 h 57"/>
                <a:gd name="T16" fmla="*/ 20 w 81"/>
                <a:gd name="T17" fmla="*/ 8 h 57"/>
                <a:gd name="T18" fmla="*/ 7 w 81"/>
                <a:gd name="T19" fmla="*/ 2 h 57"/>
                <a:gd name="T20" fmla="*/ 1 w 81"/>
                <a:gd name="T21" fmla="*/ 15 h 57"/>
                <a:gd name="T22" fmla="*/ 4 w 81"/>
                <a:gd name="T23" fmla="*/ 27 h 57"/>
                <a:gd name="T24" fmla="*/ 15 w 81"/>
                <a:gd name="T25" fmla="*/ 35 h 57"/>
                <a:gd name="T26" fmla="*/ 19 w 81"/>
                <a:gd name="T27" fmla="*/ 37 h 57"/>
                <a:gd name="T28" fmla="*/ 34 w 81"/>
                <a:gd name="T29" fmla="*/ 39 h 57"/>
                <a:gd name="T30" fmla="*/ 37 w 81"/>
                <a:gd name="T31" fmla="*/ 37 h 57"/>
                <a:gd name="T32" fmla="*/ 42 w 81"/>
                <a:gd name="T33" fmla="*/ 49 h 57"/>
                <a:gd name="T34" fmla="*/ 55 w 81"/>
                <a:gd name="T35" fmla="*/ 46 h 57"/>
                <a:gd name="T36" fmla="*/ 57 w 81"/>
                <a:gd name="T37" fmla="*/ 51 h 57"/>
                <a:gd name="T38" fmla="*/ 66 w 81"/>
                <a:gd name="T39" fmla="*/ 57 h 57"/>
                <a:gd name="T40" fmla="*/ 76 w 81"/>
                <a:gd name="T41" fmla="*/ 50 h 57"/>
                <a:gd name="T42" fmla="*/ 80 w 81"/>
                <a:gd name="T43" fmla="*/ 31 h 57"/>
                <a:gd name="T44" fmla="*/ 70 w 81"/>
                <a:gd name="T45" fmla="*/ 2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1" h="57">
                  <a:moveTo>
                    <a:pt x="70" y="20"/>
                  </a:moveTo>
                  <a:cubicBezTo>
                    <a:pt x="67" y="20"/>
                    <a:pt x="64" y="21"/>
                    <a:pt x="61" y="22"/>
                  </a:cubicBezTo>
                  <a:cubicBezTo>
                    <a:pt x="61" y="20"/>
                    <a:pt x="63" y="16"/>
                    <a:pt x="62" y="13"/>
                  </a:cubicBezTo>
                  <a:cubicBezTo>
                    <a:pt x="61" y="11"/>
                    <a:pt x="58" y="7"/>
                    <a:pt x="56" y="6"/>
                  </a:cubicBezTo>
                  <a:cubicBezTo>
                    <a:pt x="54" y="5"/>
                    <a:pt x="50" y="5"/>
                    <a:pt x="48" y="6"/>
                  </a:cubicBezTo>
                  <a:cubicBezTo>
                    <a:pt x="45" y="7"/>
                    <a:pt x="43" y="10"/>
                    <a:pt x="41" y="12"/>
                  </a:cubicBezTo>
                  <a:cubicBezTo>
                    <a:pt x="40" y="7"/>
                    <a:pt x="37" y="4"/>
                    <a:pt x="32" y="3"/>
                  </a:cubicBezTo>
                  <a:cubicBezTo>
                    <a:pt x="27" y="2"/>
                    <a:pt x="24" y="5"/>
                    <a:pt x="21" y="9"/>
                  </a:cubicBezTo>
                  <a:cubicBezTo>
                    <a:pt x="21" y="9"/>
                    <a:pt x="21" y="8"/>
                    <a:pt x="20" y="8"/>
                  </a:cubicBezTo>
                  <a:cubicBezTo>
                    <a:pt x="17" y="2"/>
                    <a:pt x="13" y="0"/>
                    <a:pt x="7" y="2"/>
                  </a:cubicBezTo>
                  <a:cubicBezTo>
                    <a:pt x="2" y="4"/>
                    <a:pt x="0" y="9"/>
                    <a:pt x="1" y="15"/>
                  </a:cubicBezTo>
                  <a:cubicBezTo>
                    <a:pt x="2" y="19"/>
                    <a:pt x="3" y="23"/>
                    <a:pt x="4" y="27"/>
                  </a:cubicBezTo>
                  <a:cubicBezTo>
                    <a:pt x="5" y="32"/>
                    <a:pt x="10" y="35"/>
                    <a:pt x="15" y="35"/>
                  </a:cubicBezTo>
                  <a:cubicBezTo>
                    <a:pt x="17" y="34"/>
                    <a:pt x="18" y="35"/>
                    <a:pt x="19" y="37"/>
                  </a:cubicBezTo>
                  <a:cubicBezTo>
                    <a:pt x="23" y="42"/>
                    <a:pt x="29" y="43"/>
                    <a:pt x="34" y="39"/>
                  </a:cubicBezTo>
                  <a:cubicBezTo>
                    <a:pt x="35" y="38"/>
                    <a:pt x="35" y="38"/>
                    <a:pt x="37" y="37"/>
                  </a:cubicBezTo>
                  <a:cubicBezTo>
                    <a:pt x="36" y="42"/>
                    <a:pt x="37" y="46"/>
                    <a:pt x="42" y="49"/>
                  </a:cubicBezTo>
                  <a:cubicBezTo>
                    <a:pt x="47" y="52"/>
                    <a:pt x="51" y="50"/>
                    <a:pt x="55" y="46"/>
                  </a:cubicBezTo>
                  <a:cubicBezTo>
                    <a:pt x="56" y="48"/>
                    <a:pt x="56" y="49"/>
                    <a:pt x="57" y="51"/>
                  </a:cubicBezTo>
                  <a:cubicBezTo>
                    <a:pt x="58" y="54"/>
                    <a:pt x="62" y="57"/>
                    <a:pt x="66" y="57"/>
                  </a:cubicBezTo>
                  <a:cubicBezTo>
                    <a:pt x="70" y="57"/>
                    <a:pt x="75" y="54"/>
                    <a:pt x="76" y="50"/>
                  </a:cubicBezTo>
                  <a:cubicBezTo>
                    <a:pt x="77" y="43"/>
                    <a:pt x="79" y="37"/>
                    <a:pt x="80" y="31"/>
                  </a:cubicBezTo>
                  <a:cubicBezTo>
                    <a:pt x="81" y="25"/>
                    <a:pt x="76" y="19"/>
                    <a:pt x="70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737F8961-5B12-4BA1-A0AE-C96F1AAF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975" y="1643063"/>
              <a:ext cx="149225" cy="300038"/>
            </a:xfrm>
            <a:custGeom>
              <a:avLst/>
              <a:gdLst>
                <a:gd name="T0" fmla="*/ 33 w 45"/>
                <a:gd name="T1" fmla="*/ 2 h 90"/>
                <a:gd name="T2" fmla="*/ 24 w 45"/>
                <a:gd name="T3" fmla="*/ 6 h 90"/>
                <a:gd name="T4" fmla="*/ 2 w 45"/>
                <a:gd name="T5" fmla="*/ 78 h 90"/>
                <a:gd name="T6" fmla="*/ 7 w 45"/>
                <a:gd name="T7" fmla="*/ 86 h 90"/>
                <a:gd name="T8" fmla="*/ 14 w 45"/>
                <a:gd name="T9" fmla="*/ 88 h 90"/>
                <a:gd name="T10" fmla="*/ 24 w 45"/>
                <a:gd name="T11" fmla="*/ 90 h 90"/>
                <a:gd name="T12" fmla="*/ 45 w 45"/>
                <a:gd name="T13" fmla="*/ 8 h 90"/>
                <a:gd name="T14" fmla="*/ 33 w 45"/>
                <a:gd name="T15" fmla="*/ 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90">
                  <a:moveTo>
                    <a:pt x="33" y="2"/>
                  </a:moveTo>
                  <a:cubicBezTo>
                    <a:pt x="29" y="0"/>
                    <a:pt x="25" y="2"/>
                    <a:pt x="24" y="6"/>
                  </a:cubicBezTo>
                  <a:cubicBezTo>
                    <a:pt x="17" y="30"/>
                    <a:pt x="9" y="54"/>
                    <a:pt x="2" y="78"/>
                  </a:cubicBezTo>
                  <a:cubicBezTo>
                    <a:pt x="0" y="82"/>
                    <a:pt x="3" y="85"/>
                    <a:pt x="7" y="86"/>
                  </a:cubicBezTo>
                  <a:cubicBezTo>
                    <a:pt x="9" y="87"/>
                    <a:pt x="11" y="87"/>
                    <a:pt x="14" y="88"/>
                  </a:cubicBezTo>
                  <a:cubicBezTo>
                    <a:pt x="17" y="88"/>
                    <a:pt x="21" y="89"/>
                    <a:pt x="24" y="90"/>
                  </a:cubicBezTo>
                  <a:cubicBezTo>
                    <a:pt x="24" y="60"/>
                    <a:pt x="33" y="34"/>
                    <a:pt x="45" y="8"/>
                  </a:cubicBezTo>
                  <a:cubicBezTo>
                    <a:pt x="41" y="6"/>
                    <a:pt x="37" y="3"/>
                    <a:pt x="33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C67AD890-A42C-49D8-B4C2-58CE4EBFE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238" y="1668463"/>
              <a:ext cx="128588" cy="271463"/>
            </a:xfrm>
            <a:custGeom>
              <a:avLst/>
              <a:gdLst>
                <a:gd name="T0" fmla="*/ 37 w 39"/>
                <a:gd name="T1" fmla="*/ 70 h 81"/>
                <a:gd name="T2" fmla="*/ 34 w 39"/>
                <a:gd name="T3" fmla="*/ 45 h 81"/>
                <a:gd name="T4" fmla="*/ 30 w 39"/>
                <a:gd name="T5" fmla="*/ 6 h 81"/>
                <a:gd name="T6" fmla="*/ 21 w 39"/>
                <a:gd name="T7" fmla="*/ 1 h 81"/>
                <a:gd name="T8" fmla="*/ 0 w 39"/>
                <a:gd name="T9" fmla="*/ 6 h 81"/>
                <a:gd name="T10" fmla="*/ 20 w 39"/>
                <a:gd name="T11" fmla="*/ 81 h 81"/>
                <a:gd name="T12" fmla="*/ 27 w 39"/>
                <a:gd name="T13" fmla="*/ 81 h 81"/>
                <a:gd name="T14" fmla="*/ 37 w 39"/>
                <a:gd name="T15" fmla="*/ 7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1">
                  <a:moveTo>
                    <a:pt x="37" y="70"/>
                  </a:moveTo>
                  <a:cubicBezTo>
                    <a:pt x="36" y="61"/>
                    <a:pt x="35" y="53"/>
                    <a:pt x="34" y="45"/>
                  </a:cubicBezTo>
                  <a:cubicBezTo>
                    <a:pt x="33" y="32"/>
                    <a:pt x="32" y="19"/>
                    <a:pt x="30" y="6"/>
                  </a:cubicBezTo>
                  <a:cubicBezTo>
                    <a:pt x="29" y="2"/>
                    <a:pt x="26" y="0"/>
                    <a:pt x="21" y="1"/>
                  </a:cubicBezTo>
                  <a:cubicBezTo>
                    <a:pt x="14" y="3"/>
                    <a:pt x="7" y="4"/>
                    <a:pt x="0" y="6"/>
                  </a:cubicBezTo>
                  <a:cubicBezTo>
                    <a:pt x="17" y="29"/>
                    <a:pt x="21" y="53"/>
                    <a:pt x="20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36" y="81"/>
                    <a:pt x="39" y="78"/>
                    <a:pt x="37" y="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3723E379-A5E0-442D-A4E7-94049C3620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75" y="1682750"/>
              <a:ext cx="604838" cy="447675"/>
            </a:xfrm>
            <a:custGeom>
              <a:avLst/>
              <a:gdLst>
                <a:gd name="T0" fmla="*/ 175 w 182"/>
                <a:gd name="T1" fmla="*/ 82 h 134"/>
                <a:gd name="T2" fmla="*/ 120 w 182"/>
                <a:gd name="T3" fmla="*/ 43 h 134"/>
                <a:gd name="T4" fmla="*/ 86 w 182"/>
                <a:gd name="T5" fmla="*/ 21 h 134"/>
                <a:gd name="T6" fmla="*/ 80 w 182"/>
                <a:gd name="T7" fmla="*/ 21 h 134"/>
                <a:gd name="T8" fmla="*/ 54 w 182"/>
                <a:gd name="T9" fmla="*/ 35 h 134"/>
                <a:gd name="T10" fmla="*/ 27 w 182"/>
                <a:gd name="T11" fmla="*/ 30 h 134"/>
                <a:gd name="T12" fmla="*/ 27 w 182"/>
                <a:gd name="T13" fmla="*/ 4 h 134"/>
                <a:gd name="T14" fmla="*/ 29 w 182"/>
                <a:gd name="T15" fmla="*/ 1 h 134"/>
                <a:gd name="T16" fmla="*/ 26 w 182"/>
                <a:gd name="T17" fmla="*/ 1 h 134"/>
                <a:gd name="T18" fmla="*/ 17 w 182"/>
                <a:gd name="T19" fmla="*/ 6 h 134"/>
                <a:gd name="T20" fmla="*/ 5 w 182"/>
                <a:gd name="T21" fmla="*/ 40 h 134"/>
                <a:gd name="T22" fmla="*/ 2 w 182"/>
                <a:gd name="T23" fmla="*/ 54 h 134"/>
                <a:gd name="T24" fmla="*/ 1 w 182"/>
                <a:gd name="T25" fmla="*/ 65 h 134"/>
                <a:gd name="T26" fmla="*/ 1 w 182"/>
                <a:gd name="T27" fmla="*/ 75 h 134"/>
                <a:gd name="T28" fmla="*/ 2 w 182"/>
                <a:gd name="T29" fmla="*/ 77 h 134"/>
                <a:gd name="T30" fmla="*/ 4 w 182"/>
                <a:gd name="T31" fmla="*/ 76 h 134"/>
                <a:gd name="T32" fmla="*/ 8 w 182"/>
                <a:gd name="T33" fmla="*/ 71 h 134"/>
                <a:gd name="T34" fmla="*/ 25 w 182"/>
                <a:gd name="T35" fmla="*/ 70 h 134"/>
                <a:gd name="T36" fmla="*/ 34 w 182"/>
                <a:gd name="T37" fmla="*/ 71 h 134"/>
                <a:gd name="T38" fmla="*/ 48 w 182"/>
                <a:gd name="T39" fmla="*/ 72 h 134"/>
                <a:gd name="T40" fmla="*/ 54 w 182"/>
                <a:gd name="T41" fmla="*/ 73 h 134"/>
                <a:gd name="T42" fmla="*/ 77 w 182"/>
                <a:gd name="T43" fmla="*/ 83 h 134"/>
                <a:gd name="T44" fmla="*/ 80 w 182"/>
                <a:gd name="T45" fmla="*/ 85 h 134"/>
                <a:gd name="T46" fmla="*/ 95 w 182"/>
                <a:gd name="T47" fmla="*/ 108 h 134"/>
                <a:gd name="T48" fmla="*/ 93 w 182"/>
                <a:gd name="T49" fmla="*/ 117 h 134"/>
                <a:gd name="T50" fmla="*/ 94 w 182"/>
                <a:gd name="T51" fmla="*/ 122 h 134"/>
                <a:gd name="T52" fmla="*/ 106 w 182"/>
                <a:gd name="T53" fmla="*/ 130 h 134"/>
                <a:gd name="T54" fmla="*/ 119 w 182"/>
                <a:gd name="T55" fmla="*/ 125 h 134"/>
                <a:gd name="T56" fmla="*/ 116 w 182"/>
                <a:gd name="T57" fmla="*/ 119 h 134"/>
                <a:gd name="T58" fmla="*/ 104 w 182"/>
                <a:gd name="T59" fmla="*/ 109 h 134"/>
                <a:gd name="T60" fmla="*/ 106 w 182"/>
                <a:gd name="T61" fmla="*/ 106 h 134"/>
                <a:gd name="T62" fmla="*/ 108 w 182"/>
                <a:gd name="T63" fmla="*/ 107 h 134"/>
                <a:gd name="T64" fmla="*/ 128 w 182"/>
                <a:gd name="T65" fmla="*/ 122 h 134"/>
                <a:gd name="T66" fmla="*/ 139 w 182"/>
                <a:gd name="T67" fmla="*/ 119 h 134"/>
                <a:gd name="T68" fmla="*/ 138 w 182"/>
                <a:gd name="T69" fmla="*/ 109 h 134"/>
                <a:gd name="T70" fmla="*/ 115 w 182"/>
                <a:gd name="T71" fmla="*/ 92 h 134"/>
                <a:gd name="T72" fmla="*/ 112 w 182"/>
                <a:gd name="T73" fmla="*/ 87 h 134"/>
                <a:gd name="T74" fmla="*/ 117 w 182"/>
                <a:gd name="T75" fmla="*/ 88 h 134"/>
                <a:gd name="T76" fmla="*/ 146 w 182"/>
                <a:gd name="T77" fmla="*/ 109 h 134"/>
                <a:gd name="T78" fmla="*/ 154 w 182"/>
                <a:gd name="T79" fmla="*/ 111 h 134"/>
                <a:gd name="T80" fmla="*/ 160 w 182"/>
                <a:gd name="T81" fmla="*/ 103 h 134"/>
                <a:gd name="T82" fmla="*/ 158 w 182"/>
                <a:gd name="T83" fmla="*/ 98 h 134"/>
                <a:gd name="T84" fmla="*/ 133 w 182"/>
                <a:gd name="T85" fmla="*/ 80 h 134"/>
                <a:gd name="T86" fmla="*/ 131 w 182"/>
                <a:gd name="T87" fmla="*/ 75 h 134"/>
                <a:gd name="T88" fmla="*/ 136 w 182"/>
                <a:gd name="T89" fmla="*/ 76 h 134"/>
                <a:gd name="T90" fmla="*/ 167 w 182"/>
                <a:gd name="T91" fmla="*/ 99 h 134"/>
                <a:gd name="T92" fmla="*/ 173 w 182"/>
                <a:gd name="T93" fmla="*/ 100 h 134"/>
                <a:gd name="T94" fmla="*/ 175 w 182"/>
                <a:gd name="T95" fmla="*/ 8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2" h="134">
                  <a:moveTo>
                    <a:pt x="175" y="82"/>
                  </a:moveTo>
                  <a:cubicBezTo>
                    <a:pt x="120" y="43"/>
                    <a:pt x="120" y="43"/>
                    <a:pt x="120" y="43"/>
                  </a:cubicBezTo>
                  <a:cubicBezTo>
                    <a:pt x="110" y="34"/>
                    <a:pt x="99" y="26"/>
                    <a:pt x="86" y="21"/>
                  </a:cubicBezTo>
                  <a:cubicBezTo>
                    <a:pt x="84" y="20"/>
                    <a:pt x="81" y="20"/>
                    <a:pt x="80" y="21"/>
                  </a:cubicBezTo>
                  <a:cubicBezTo>
                    <a:pt x="71" y="26"/>
                    <a:pt x="62" y="30"/>
                    <a:pt x="54" y="35"/>
                  </a:cubicBezTo>
                  <a:cubicBezTo>
                    <a:pt x="45" y="40"/>
                    <a:pt x="34" y="38"/>
                    <a:pt x="27" y="30"/>
                  </a:cubicBezTo>
                  <a:cubicBezTo>
                    <a:pt x="21" y="23"/>
                    <a:pt x="21" y="11"/>
                    <a:pt x="27" y="4"/>
                  </a:cubicBezTo>
                  <a:cubicBezTo>
                    <a:pt x="28" y="3"/>
                    <a:pt x="28" y="2"/>
                    <a:pt x="29" y="1"/>
                  </a:cubicBezTo>
                  <a:cubicBezTo>
                    <a:pt x="28" y="1"/>
                    <a:pt x="27" y="1"/>
                    <a:pt x="26" y="1"/>
                  </a:cubicBezTo>
                  <a:cubicBezTo>
                    <a:pt x="21" y="0"/>
                    <a:pt x="18" y="1"/>
                    <a:pt x="17" y="6"/>
                  </a:cubicBezTo>
                  <a:cubicBezTo>
                    <a:pt x="13" y="18"/>
                    <a:pt x="9" y="29"/>
                    <a:pt x="5" y="40"/>
                  </a:cubicBezTo>
                  <a:cubicBezTo>
                    <a:pt x="4" y="41"/>
                    <a:pt x="2" y="51"/>
                    <a:pt x="2" y="54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69"/>
                    <a:pt x="0" y="72"/>
                    <a:pt x="1" y="75"/>
                  </a:cubicBezTo>
                  <a:cubicBezTo>
                    <a:pt x="1" y="76"/>
                    <a:pt x="1" y="77"/>
                    <a:pt x="2" y="77"/>
                  </a:cubicBezTo>
                  <a:cubicBezTo>
                    <a:pt x="2" y="77"/>
                    <a:pt x="3" y="77"/>
                    <a:pt x="4" y="76"/>
                  </a:cubicBezTo>
                  <a:cubicBezTo>
                    <a:pt x="5" y="75"/>
                    <a:pt x="7" y="73"/>
                    <a:pt x="8" y="71"/>
                  </a:cubicBezTo>
                  <a:cubicBezTo>
                    <a:pt x="13" y="67"/>
                    <a:pt x="20" y="67"/>
                    <a:pt x="25" y="70"/>
                  </a:cubicBezTo>
                  <a:cubicBezTo>
                    <a:pt x="29" y="72"/>
                    <a:pt x="29" y="72"/>
                    <a:pt x="34" y="71"/>
                  </a:cubicBezTo>
                  <a:cubicBezTo>
                    <a:pt x="39" y="69"/>
                    <a:pt x="44" y="70"/>
                    <a:pt x="48" y="72"/>
                  </a:cubicBezTo>
                  <a:cubicBezTo>
                    <a:pt x="50" y="73"/>
                    <a:pt x="51" y="74"/>
                    <a:pt x="54" y="73"/>
                  </a:cubicBezTo>
                  <a:cubicBezTo>
                    <a:pt x="63" y="68"/>
                    <a:pt x="74" y="75"/>
                    <a:pt x="77" y="83"/>
                  </a:cubicBezTo>
                  <a:cubicBezTo>
                    <a:pt x="77" y="84"/>
                    <a:pt x="78" y="85"/>
                    <a:pt x="80" y="85"/>
                  </a:cubicBezTo>
                  <a:cubicBezTo>
                    <a:pt x="91" y="88"/>
                    <a:pt x="98" y="98"/>
                    <a:pt x="95" y="108"/>
                  </a:cubicBezTo>
                  <a:cubicBezTo>
                    <a:pt x="94" y="111"/>
                    <a:pt x="93" y="114"/>
                    <a:pt x="93" y="117"/>
                  </a:cubicBezTo>
                  <a:cubicBezTo>
                    <a:pt x="92" y="119"/>
                    <a:pt x="92" y="120"/>
                    <a:pt x="94" y="122"/>
                  </a:cubicBezTo>
                  <a:cubicBezTo>
                    <a:pt x="98" y="124"/>
                    <a:pt x="102" y="127"/>
                    <a:pt x="106" y="130"/>
                  </a:cubicBezTo>
                  <a:cubicBezTo>
                    <a:pt x="111" y="134"/>
                    <a:pt x="117" y="132"/>
                    <a:pt x="119" y="125"/>
                  </a:cubicBezTo>
                  <a:cubicBezTo>
                    <a:pt x="120" y="122"/>
                    <a:pt x="119" y="120"/>
                    <a:pt x="116" y="119"/>
                  </a:cubicBezTo>
                  <a:cubicBezTo>
                    <a:pt x="112" y="116"/>
                    <a:pt x="108" y="113"/>
                    <a:pt x="104" y="109"/>
                  </a:cubicBezTo>
                  <a:cubicBezTo>
                    <a:pt x="102" y="108"/>
                    <a:pt x="103" y="104"/>
                    <a:pt x="106" y="106"/>
                  </a:cubicBezTo>
                  <a:cubicBezTo>
                    <a:pt x="107" y="106"/>
                    <a:pt x="107" y="106"/>
                    <a:pt x="108" y="107"/>
                  </a:cubicBezTo>
                  <a:cubicBezTo>
                    <a:pt x="115" y="112"/>
                    <a:pt x="122" y="117"/>
                    <a:pt x="128" y="122"/>
                  </a:cubicBezTo>
                  <a:cubicBezTo>
                    <a:pt x="132" y="124"/>
                    <a:pt x="136" y="123"/>
                    <a:pt x="139" y="119"/>
                  </a:cubicBezTo>
                  <a:cubicBezTo>
                    <a:pt x="142" y="115"/>
                    <a:pt x="142" y="112"/>
                    <a:pt x="138" y="109"/>
                  </a:cubicBezTo>
                  <a:cubicBezTo>
                    <a:pt x="130" y="103"/>
                    <a:pt x="122" y="98"/>
                    <a:pt x="115" y="92"/>
                  </a:cubicBezTo>
                  <a:cubicBezTo>
                    <a:pt x="113" y="91"/>
                    <a:pt x="110" y="90"/>
                    <a:pt x="112" y="87"/>
                  </a:cubicBezTo>
                  <a:cubicBezTo>
                    <a:pt x="114" y="85"/>
                    <a:pt x="116" y="87"/>
                    <a:pt x="117" y="88"/>
                  </a:cubicBezTo>
                  <a:cubicBezTo>
                    <a:pt x="127" y="95"/>
                    <a:pt x="137" y="102"/>
                    <a:pt x="146" y="109"/>
                  </a:cubicBezTo>
                  <a:cubicBezTo>
                    <a:pt x="149" y="111"/>
                    <a:pt x="151" y="113"/>
                    <a:pt x="154" y="111"/>
                  </a:cubicBezTo>
                  <a:cubicBezTo>
                    <a:pt x="158" y="110"/>
                    <a:pt x="160" y="107"/>
                    <a:pt x="160" y="103"/>
                  </a:cubicBezTo>
                  <a:cubicBezTo>
                    <a:pt x="160" y="101"/>
                    <a:pt x="159" y="99"/>
                    <a:pt x="158" y="98"/>
                  </a:cubicBezTo>
                  <a:cubicBezTo>
                    <a:pt x="150" y="92"/>
                    <a:pt x="141" y="86"/>
                    <a:pt x="133" y="80"/>
                  </a:cubicBezTo>
                  <a:cubicBezTo>
                    <a:pt x="131" y="79"/>
                    <a:pt x="130" y="77"/>
                    <a:pt x="131" y="75"/>
                  </a:cubicBezTo>
                  <a:cubicBezTo>
                    <a:pt x="132" y="75"/>
                    <a:pt x="135" y="75"/>
                    <a:pt x="136" y="76"/>
                  </a:cubicBezTo>
                  <a:cubicBezTo>
                    <a:pt x="146" y="84"/>
                    <a:pt x="157" y="91"/>
                    <a:pt x="167" y="99"/>
                  </a:cubicBezTo>
                  <a:cubicBezTo>
                    <a:pt x="169" y="101"/>
                    <a:pt x="171" y="101"/>
                    <a:pt x="173" y="100"/>
                  </a:cubicBezTo>
                  <a:cubicBezTo>
                    <a:pt x="181" y="97"/>
                    <a:pt x="182" y="87"/>
                    <a:pt x="175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46238BCE-3E90-4D8B-8E50-0A2EDC9082AD}"/>
              </a:ext>
            </a:extLst>
          </p:cNvPr>
          <p:cNvGrpSpPr>
            <a:grpSpLocks noChangeAspect="1"/>
          </p:cNvGrpSpPr>
          <p:nvPr/>
        </p:nvGrpSpPr>
        <p:grpSpPr>
          <a:xfrm>
            <a:off x="3261200" y="1600200"/>
            <a:ext cx="1144753" cy="1152000"/>
            <a:chOff x="5391150" y="1228725"/>
            <a:chExt cx="1254125" cy="1262063"/>
          </a:xfrm>
        </p:grpSpPr>
        <p:sp>
          <p:nvSpPr>
            <p:cNvPr id="16" name="Oval 6">
              <a:extLst>
                <a:ext uri="{FF2B5EF4-FFF2-40B4-BE49-F238E27FC236}">
                  <a16:creationId xmlns:a16="http://schemas.microsoft.com/office/drawing/2014/main" id="{AFF1A063-C832-4421-A593-ED618F0949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150" y="1228725"/>
              <a:ext cx="1254125" cy="1262063"/>
            </a:xfrm>
            <a:prstGeom prst="ellipse">
              <a:avLst/>
            </a:prstGeom>
            <a:solidFill>
              <a:srgbClr val="C0DA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0AF28992-3CD8-4B94-96DB-6101B9474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7388" y="1519238"/>
              <a:ext cx="506413" cy="677863"/>
            </a:xfrm>
            <a:custGeom>
              <a:avLst/>
              <a:gdLst>
                <a:gd name="T0" fmla="*/ 76 w 153"/>
                <a:gd name="T1" fmla="*/ 165 h 203"/>
                <a:gd name="T2" fmla="*/ 136 w 153"/>
                <a:gd name="T3" fmla="*/ 165 h 203"/>
                <a:gd name="T4" fmla="*/ 136 w 153"/>
                <a:gd name="T5" fmla="*/ 172 h 203"/>
                <a:gd name="T6" fmla="*/ 73 w 153"/>
                <a:gd name="T7" fmla="*/ 169 h 203"/>
                <a:gd name="T8" fmla="*/ 76 w 153"/>
                <a:gd name="T9" fmla="*/ 131 h 203"/>
                <a:gd name="T10" fmla="*/ 76 w 153"/>
                <a:gd name="T11" fmla="*/ 131 h 203"/>
                <a:gd name="T12" fmla="*/ 139 w 153"/>
                <a:gd name="T13" fmla="*/ 134 h 203"/>
                <a:gd name="T14" fmla="*/ 76 w 153"/>
                <a:gd name="T15" fmla="*/ 137 h 203"/>
                <a:gd name="T16" fmla="*/ 76 w 153"/>
                <a:gd name="T17" fmla="*/ 131 h 203"/>
                <a:gd name="T18" fmla="*/ 59 w 153"/>
                <a:gd name="T19" fmla="*/ 105 h 203"/>
                <a:gd name="T20" fmla="*/ 32 w 153"/>
                <a:gd name="T21" fmla="*/ 134 h 203"/>
                <a:gd name="T22" fmla="*/ 14 w 153"/>
                <a:gd name="T23" fmla="*/ 121 h 203"/>
                <a:gd name="T24" fmla="*/ 19 w 153"/>
                <a:gd name="T25" fmla="*/ 116 h 203"/>
                <a:gd name="T26" fmla="*/ 53 w 153"/>
                <a:gd name="T27" fmla="*/ 103 h 203"/>
                <a:gd name="T28" fmla="*/ 55 w 153"/>
                <a:gd name="T29" fmla="*/ 102 h 203"/>
                <a:gd name="T30" fmla="*/ 76 w 153"/>
                <a:gd name="T31" fmla="*/ 96 h 203"/>
                <a:gd name="T32" fmla="*/ 136 w 153"/>
                <a:gd name="T33" fmla="*/ 96 h 203"/>
                <a:gd name="T34" fmla="*/ 136 w 153"/>
                <a:gd name="T35" fmla="*/ 102 h 203"/>
                <a:gd name="T36" fmla="*/ 73 w 153"/>
                <a:gd name="T37" fmla="*/ 99 h 203"/>
                <a:gd name="T38" fmla="*/ 76 w 153"/>
                <a:gd name="T39" fmla="*/ 61 h 203"/>
                <a:gd name="T40" fmla="*/ 76 w 153"/>
                <a:gd name="T41" fmla="*/ 61 h 203"/>
                <a:gd name="T42" fmla="*/ 139 w 153"/>
                <a:gd name="T43" fmla="*/ 64 h 203"/>
                <a:gd name="T44" fmla="*/ 76 w 153"/>
                <a:gd name="T45" fmla="*/ 68 h 203"/>
                <a:gd name="T46" fmla="*/ 76 w 153"/>
                <a:gd name="T47" fmla="*/ 61 h 203"/>
                <a:gd name="T48" fmla="*/ 59 w 153"/>
                <a:gd name="T49" fmla="*/ 42 h 203"/>
                <a:gd name="T50" fmla="*/ 32 w 153"/>
                <a:gd name="T51" fmla="*/ 71 h 203"/>
                <a:gd name="T52" fmla="*/ 14 w 153"/>
                <a:gd name="T53" fmla="*/ 58 h 203"/>
                <a:gd name="T54" fmla="*/ 19 w 153"/>
                <a:gd name="T55" fmla="*/ 53 h 203"/>
                <a:gd name="T56" fmla="*/ 29 w 153"/>
                <a:gd name="T57" fmla="*/ 64 h 203"/>
                <a:gd name="T58" fmla="*/ 55 w 153"/>
                <a:gd name="T59" fmla="*/ 39 h 203"/>
                <a:gd name="T60" fmla="*/ 119 w 153"/>
                <a:gd name="T61" fmla="*/ 5 h 203"/>
                <a:gd name="T62" fmla="*/ 148 w 153"/>
                <a:gd name="T63" fmla="*/ 33 h 203"/>
                <a:gd name="T64" fmla="*/ 0 w 153"/>
                <a:gd name="T65" fmla="*/ 0 h 203"/>
                <a:gd name="T66" fmla="*/ 153 w 153"/>
                <a:gd name="T67" fmla="*/ 203 h 203"/>
                <a:gd name="T68" fmla="*/ 116 w 153"/>
                <a:gd name="T69" fmla="*/ 40 h 203"/>
                <a:gd name="T70" fmla="*/ 113 w 153"/>
                <a:gd name="T71" fmla="*/ 37 h 203"/>
                <a:gd name="T72" fmla="*/ 0 w 153"/>
                <a:gd name="T73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3" h="203">
                  <a:moveTo>
                    <a:pt x="76" y="165"/>
                  </a:moveTo>
                  <a:cubicBezTo>
                    <a:pt x="76" y="165"/>
                    <a:pt x="76" y="165"/>
                    <a:pt x="76" y="165"/>
                  </a:cubicBezTo>
                  <a:cubicBezTo>
                    <a:pt x="76" y="165"/>
                    <a:pt x="76" y="165"/>
                    <a:pt x="76" y="165"/>
                  </a:cubicBezTo>
                  <a:cubicBezTo>
                    <a:pt x="136" y="165"/>
                    <a:pt x="136" y="165"/>
                    <a:pt x="136" y="165"/>
                  </a:cubicBezTo>
                  <a:cubicBezTo>
                    <a:pt x="138" y="165"/>
                    <a:pt x="139" y="167"/>
                    <a:pt x="139" y="169"/>
                  </a:cubicBezTo>
                  <a:cubicBezTo>
                    <a:pt x="139" y="171"/>
                    <a:pt x="138" y="172"/>
                    <a:pt x="136" y="172"/>
                  </a:cubicBezTo>
                  <a:cubicBezTo>
                    <a:pt x="76" y="172"/>
                    <a:pt x="76" y="172"/>
                    <a:pt x="76" y="172"/>
                  </a:cubicBezTo>
                  <a:cubicBezTo>
                    <a:pt x="74" y="172"/>
                    <a:pt x="73" y="171"/>
                    <a:pt x="73" y="169"/>
                  </a:cubicBezTo>
                  <a:cubicBezTo>
                    <a:pt x="72" y="167"/>
                    <a:pt x="74" y="166"/>
                    <a:pt x="76" y="165"/>
                  </a:cubicBezTo>
                  <a:moveTo>
                    <a:pt x="76" y="131"/>
                  </a:moveTo>
                  <a:cubicBezTo>
                    <a:pt x="76" y="131"/>
                    <a:pt x="76" y="131"/>
                    <a:pt x="76" y="131"/>
                  </a:cubicBezTo>
                  <a:cubicBezTo>
                    <a:pt x="76" y="131"/>
                    <a:pt x="76" y="131"/>
                    <a:pt x="76" y="131"/>
                  </a:cubicBezTo>
                  <a:cubicBezTo>
                    <a:pt x="136" y="131"/>
                    <a:pt x="136" y="131"/>
                    <a:pt x="136" y="131"/>
                  </a:cubicBezTo>
                  <a:cubicBezTo>
                    <a:pt x="138" y="131"/>
                    <a:pt x="139" y="132"/>
                    <a:pt x="139" y="134"/>
                  </a:cubicBezTo>
                  <a:cubicBezTo>
                    <a:pt x="139" y="136"/>
                    <a:pt x="138" y="137"/>
                    <a:pt x="136" y="137"/>
                  </a:cubicBezTo>
                  <a:cubicBezTo>
                    <a:pt x="76" y="137"/>
                    <a:pt x="76" y="137"/>
                    <a:pt x="76" y="137"/>
                  </a:cubicBezTo>
                  <a:cubicBezTo>
                    <a:pt x="74" y="138"/>
                    <a:pt x="73" y="136"/>
                    <a:pt x="73" y="134"/>
                  </a:cubicBezTo>
                  <a:cubicBezTo>
                    <a:pt x="72" y="132"/>
                    <a:pt x="74" y="131"/>
                    <a:pt x="76" y="131"/>
                  </a:cubicBezTo>
                  <a:moveTo>
                    <a:pt x="55" y="102"/>
                  </a:moveTo>
                  <a:cubicBezTo>
                    <a:pt x="57" y="102"/>
                    <a:pt x="58" y="103"/>
                    <a:pt x="59" y="105"/>
                  </a:cubicBezTo>
                  <a:cubicBezTo>
                    <a:pt x="59" y="106"/>
                    <a:pt x="58" y="107"/>
                    <a:pt x="58" y="108"/>
                  </a:cubicBezTo>
                  <a:cubicBezTo>
                    <a:pt x="32" y="134"/>
                    <a:pt x="32" y="134"/>
                    <a:pt x="32" y="134"/>
                  </a:cubicBezTo>
                  <a:cubicBezTo>
                    <a:pt x="30" y="135"/>
                    <a:pt x="28" y="135"/>
                    <a:pt x="27" y="13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0"/>
                    <a:pt x="13" y="117"/>
                    <a:pt x="14" y="116"/>
                  </a:cubicBezTo>
                  <a:cubicBezTo>
                    <a:pt x="15" y="115"/>
                    <a:pt x="18" y="115"/>
                    <a:pt x="19" y="116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53" y="103"/>
                    <a:pt x="53" y="103"/>
                    <a:pt x="53" y="103"/>
                  </a:cubicBezTo>
                  <a:cubicBezTo>
                    <a:pt x="53" y="103"/>
                    <a:pt x="54" y="102"/>
                    <a:pt x="55" y="102"/>
                  </a:cubicBezTo>
                  <a:cubicBezTo>
                    <a:pt x="55" y="102"/>
                    <a:pt x="55" y="102"/>
                    <a:pt x="55" y="102"/>
                  </a:cubicBezTo>
                  <a:close/>
                  <a:moveTo>
                    <a:pt x="76" y="96"/>
                  </a:moveTo>
                  <a:cubicBezTo>
                    <a:pt x="76" y="96"/>
                    <a:pt x="76" y="96"/>
                    <a:pt x="76" y="96"/>
                  </a:cubicBezTo>
                  <a:cubicBezTo>
                    <a:pt x="76" y="96"/>
                    <a:pt x="76" y="96"/>
                    <a:pt x="7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8" y="96"/>
                    <a:pt x="139" y="97"/>
                    <a:pt x="139" y="99"/>
                  </a:cubicBezTo>
                  <a:cubicBezTo>
                    <a:pt x="139" y="101"/>
                    <a:pt x="138" y="102"/>
                    <a:pt x="136" y="102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4" y="103"/>
                    <a:pt x="73" y="101"/>
                    <a:pt x="73" y="99"/>
                  </a:cubicBezTo>
                  <a:cubicBezTo>
                    <a:pt x="72" y="98"/>
                    <a:pt x="74" y="96"/>
                    <a:pt x="76" y="96"/>
                  </a:cubicBezTo>
                  <a:moveTo>
                    <a:pt x="76" y="61"/>
                  </a:moveTo>
                  <a:cubicBezTo>
                    <a:pt x="76" y="61"/>
                    <a:pt x="76" y="61"/>
                    <a:pt x="76" y="61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136" y="61"/>
                    <a:pt x="136" y="61"/>
                    <a:pt x="136" y="61"/>
                  </a:cubicBezTo>
                  <a:cubicBezTo>
                    <a:pt x="138" y="61"/>
                    <a:pt x="139" y="62"/>
                    <a:pt x="139" y="64"/>
                  </a:cubicBezTo>
                  <a:cubicBezTo>
                    <a:pt x="139" y="66"/>
                    <a:pt x="138" y="68"/>
                    <a:pt x="13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4" y="68"/>
                    <a:pt x="73" y="66"/>
                    <a:pt x="73" y="65"/>
                  </a:cubicBezTo>
                  <a:cubicBezTo>
                    <a:pt x="72" y="63"/>
                    <a:pt x="74" y="61"/>
                    <a:pt x="76" y="61"/>
                  </a:cubicBezTo>
                  <a:moveTo>
                    <a:pt x="55" y="39"/>
                  </a:moveTo>
                  <a:cubicBezTo>
                    <a:pt x="57" y="39"/>
                    <a:pt x="58" y="40"/>
                    <a:pt x="59" y="42"/>
                  </a:cubicBezTo>
                  <a:cubicBezTo>
                    <a:pt x="59" y="43"/>
                    <a:pt x="58" y="44"/>
                    <a:pt x="58" y="45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0" y="72"/>
                    <a:pt x="28" y="72"/>
                    <a:pt x="27" y="71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3" y="56"/>
                    <a:pt x="13" y="54"/>
                    <a:pt x="14" y="53"/>
                  </a:cubicBezTo>
                  <a:cubicBezTo>
                    <a:pt x="15" y="52"/>
                    <a:pt x="18" y="52"/>
                    <a:pt x="19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39"/>
                    <a:pt x="54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lose/>
                  <a:moveTo>
                    <a:pt x="119" y="5"/>
                  </a:moveTo>
                  <a:cubicBezTo>
                    <a:pt x="119" y="33"/>
                    <a:pt x="119" y="33"/>
                    <a:pt x="119" y="33"/>
                  </a:cubicBezTo>
                  <a:cubicBezTo>
                    <a:pt x="148" y="33"/>
                    <a:pt x="148" y="33"/>
                    <a:pt x="148" y="33"/>
                  </a:cubicBezTo>
                  <a:lnTo>
                    <a:pt x="119" y="5"/>
                  </a:lnTo>
                  <a:close/>
                  <a:moveTo>
                    <a:pt x="0" y="0"/>
                  </a:moveTo>
                  <a:cubicBezTo>
                    <a:pt x="0" y="203"/>
                    <a:pt x="0" y="203"/>
                    <a:pt x="0" y="203"/>
                  </a:cubicBezTo>
                  <a:cubicBezTo>
                    <a:pt x="153" y="203"/>
                    <a:pt x="153" y="203"/>
                    <a:pt x="153" y="203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4" y="40"/>
                    <a:pt x="113" y="39"/>
                    <a:pt x="113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3" y="0"/>
                    <a:pt x="113" y="0"/>
                    <a:pt x="11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CBF2540-4D65-446D-9D55-C54407CDBC71}"/>
              </a:ext>
            </a:extLst>
          </p:cNvPr>
          <p:cNvGrpSpPr>
            <a:grpSpLocks noChangeAspect="1"/>
          </p:cNvGrpSpPr>
          <p:nvPr/>
        </p:nvGrpSpPr>
        <p:grpSpPr>
          <a:xfrm>
            <a:off x="4701062" y="1600200"/>
            <a:ext cx="1144753" cy="1152000"/>
            <a:chOff x="7988300" y="1228725"/>
            <a:chExt cx="1254125" cy="1262063"/>
          </a:xfrm>
        </p:grpSpPr>
        <p:sp>
          <p:nvSpPr>
            <p:cNvPr id="17" name="Oval 7">
              <a:extLst>
                <a:ext uri="{FF2B5EF4-FFF2-40B4-BE49-F238E27FC236}">
                  <a16:creationId xmlns:a16="http://schemas.microsoft.com/office/drawing/2014/main" id="{D2805286-403B-4B3A-A1DE-08AB3B106A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8300" y="1228725"/>
              <a:ext cx="1254125" cy="1262063"/>
            </a:xfrm>
            <a:prstGeom prst="ellipse">
              <a:avLst/>
            </a:prstGeom>
            <a:solidFill>
              <a:srgbClr val="8DCC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FCEECFCA-860B-48AB-A79A-5206FB6A5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4200" y="1522413"/>
              <a:ext cx="347663" cy="504825"/>
            </a:xfrm>
            <a:custGeom>
              <a:avLst/>
              <a:gdLst>
                <a:gd name="T0" fmla="*/ 105 w 105"/>
                <a:gd name="T1" fmla="*/ 127 h 151"/>
                <a:gd name="T2" fmla="*/ 101 w 105"/>
                <a:gd name="T3" fmla="*/ 110 h 151"/>
                <a:gd name="T4" fmla="*/ 67 w 105"/>
                <a:gd name="T5" fmla="*/ 119 h 151"/>
                <a:gd name="T6" fmla="*/ 64 w 105"/>
                <a:gd name="T7" fmla="*/ 104 h 151"/>
                <a:gd name="T8" fmla="*/ 76 w 105"/>
                <a:gd name="T9" fmla="*/ 71 h 151"/>
                <a:gd name="T10" fmla="*/ 73 w 105"/>
                <a:gd name="T11" fmla="*/ 60 h 151"/>
                <a:gd name="T12" fmla="*/ 64 w 105"/>
                <a:gd name="T13" fmla="*/ 19 h 151"/>
                <a:gd name="T14" fmla="*/ 48 w 105"/>
                <a:gd name="T15" fmla="*/ 22 h 151"/>
                <a:gd name="T16" fmla="*/ 56 w 105"/>
                <a:gd name="T17" fmla="*/ 52 h 151"/>
                <a:gd name="T18" fmla="*/ 51 w 105"/>
                <a:gd name="T19" fmla="*/ 53 h 151"/>
                <a:gd name="T20" fmla="*/ 40 w 105"/>
                <a:gd name="T21" fmla="*/ 8 h 151"/>
                <a:gd name="T22" fmla="*/ 40 w 105"/>
                <a:gd name="T23" fmla="*/ 7 h 151"/>
                <a:gd name="T24" fmla="*/ 32 w 105"/>
                <a:gd name="T25" fmla="*/ 1 h 151"/>
                <a:gd name="T26" fmla="*/ 32 w 105"/>
                <a:gd name="T27" fmla="*/ 1 h 151"/>
                <a:gd name="T28" fmla="*/ 31 w 105"/>
                <a:gd name="T29" fmla="*/ 1 h 151"/>
                <a:gd name="T30" fmla="*/ 31 w 105"/>
                <a:gd name="T31" fmla="*/ 1 h 151"/>
                <a:gd name="T32" fmla="*/ 25 w 105"/>
                <a:gd name="T33" fmla="*/ 10 h 151"/>
                <a:gd name="T34" fmla="*/ 26 w 105"/>
                <a:gd name="T35" fmla="*/ 11 h 151"/>
                <a:gd name="T36" fmla="*/ 32 w 105"/>
                <a:gd name="T37" fmla="*/ 39 h 151"/>
                <a:gd name="T38" fmla="*/ 28 w 105"/>
                <a:gd name="T39" fmla="*/ 40 h 151"/>
                <a:gd name="T40" fmla="*/ 23 w 105"/>
                <a:gd name="T41" fmla="*/ 20 h 151"/>
                <a:gd name="T42" fmla="*/ 17 w 105"/>
                <a:gd name="T43" fmla="*/ 40 h 151"/>
                <a:gd name="T44" fmla="*/ 20 w 105"/>
                <a:gd name="T45" fmla="*/ 51 h 151"/>
                <a:gd name="T46" fmla="*/ 17 w 105"/>
                <a:gd name="T47" fmla="*/ 51 h 151"/>
                <a:gd name="T48" fmla="*/ 14 w 105"/>
                <a:gd name="T49" fmla="*/ 39 h 151"/>
                <a:gd name="T50" fmla="*/ 6 w 105"/>
                <a:gd name="T51" fmla="*/ 60 h 151"/>
                <a:gd name="T52" fmla="*/ 23 w 105"/>
                <a:gd name="T53" fmla="*/ 129 h 151"/>
                <a:gd name="T54" fmla="*/ 8 w 105"/>
                <a:gd name="T55" fmla="*/ 133 h 151"/>
                <a:gd name="T56" fmla="*/ 1 w 105"/>
                <a:gd name="T57" fmla="*/ 144 h 151"/>
                <a:gd name="T58" fmla="*/ 10 w 105"/>
                <a:gd name="T59" fmla="*/ 151 h 151"/>
                <a:gd name="T60" fmla="*/ 12 w 105"/>
                <a:gd name="T61" fmla="*/ 150 h 151"/>
                <a:gd name="T62" fmla="*/ 27 w 105"/>
                <a:gd name="T63" fmla="*/ 147 h 151"/>
                <a:gd name="T64" fmla="*/ 105 w 105"/>
                <a:gd name="T65" fmla="*/ 12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151">
                  <a:moveTo>
                    <a:pt x="105" y="127"/>
                  </a:moveTo>
                  <a:cubicBezTo>
                    <a:pt x="101" y="110"/>
                    <a:pt x="101" y="110"/>
                    <a:pt x="101" y="110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64" y="104"/>
                    <a:pt x="64" y="104"/>
                    <a:pt x="64" y="104"/>
                  </a:cubicBezTo>
                  <a:cubicBezTo>
                    <a:pt x="64" y="104"/>
                    <a:pt x="79" y="81"/>
                    <a:pt x="76" y="71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1" y="8"/>
                    <a:pt x="46" y="11"/>
                    <a:pt x="48" y="22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56" y="54"/>
                    <a:pt x="52" y="55"/>
                    <a:pt x="51" y="53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3"/>
                    <a:pt x="36" y="0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6" y="3"/>
                    <a:pt x="25" y="7"/>
                    <a:pt x="25" y="10"/>
                  </a:cubicBezTo>
                  <a:cubicBezTo>
                    <a:pt x="26" y="10"/>
                    <a:pt x="26" y="11"/>
                    <a:pt x="26" y="11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0" y="23"/>
                    <a:pt x="15" y="30"/>
                    <a:pt x="17" y="40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0" y="42"/>
                    <a:pt x="4" y="49"/>
                    <a:pt x="6" y="60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3" y="134"/>
                    <a:pt x="0" y="139"/>
                    <a:pt x="1" y="144"/>
                  </a:cubicBezTo>
                  <a:cubicBezTo>
                    <a:pt x="2" y="148"/>
                    <a:pt x="6" y="151"/>
                    <a:pt x="10" y="151"/>
                  </a:cubicBezTo>
                  <a:cubicBezTo>
                    <a:pt x="10" y="151"/>
                    <a:pt x="11" y="151"/>
                    <a:pt x="12" y="150"/>
                  </a:cubicBezTo>
                  <a:cubicBezTo>
                    <a:pt x="27" y="147"/>
                    <a:pt x="27" y="147"/>
                    <a:pt x="27" y="147"/>
                  </a:cubicBezTo>
                  <a:lnTo>
                    <a:pt x="105" y="1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8A4225BA-4992-4590-9D79-A21056004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7863" y="1992313"/>
              <a:ext cx="195263" cy="198438"/>
            </a:xfrm>
            <a:custGeom>
              <a:avLst/>
              <a:gdLst>
                <a:gd name="T0" fmla="*/ 0 w 123"/>
                <a:gd name="T1" fmla="*/ 24 h 125"/>
                <a:gd name="T2" fmla="*/ 25 w 123"/>
                <a:gd name="T3" fmla="*/ 125 h 125"/>
                <a:gd name="T4" fmla="*/ 123 w 123"/>
                <a:gd name="T5" fmla="*/ 122 h 125"/>
                <a:gd name="T6" fmla="*/ 92 w 123"/>
                <a:gd name="T7" fmla="*/ 0 h 125"/>
                <a:gd name="T8" fmla="*/ 0 w 123"/>
                <a:gd name="T9" fmla="*/ 2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125">
                  <a:moveTo>
                    <a:pt x="0" y="24"/>
                  </a:moveTo>
                  <a:lnTo>
                    <a:pt x="25" y="125"/>
                  </a:lnTo>
                  <a:lnTo>
                    <a:pt x="123" y="122"/>
                  </a:lnTo>
                  <a:lnTo>
                    <a:pt x="92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4AA7E29D-E79F-471B-8BB8-365679FD9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5688" y="1522413"/>
              <a:ext cx="347663" cy="504825"/>
            </a:xfrm>
            <a:custGeom>
              <a:avLst/>
              <a:gdLst>
                <a:gd name="T0" fmla="*/ 0 w 105"/>
                <a:gd name="T1" fmla="*/ 127 h 151"/>
                <a:gd name="T2" fmla="*/ 5 w 105"/>
                <a:gd name="T3" fmla="*/ 110 h 151"/>
                <a:gd name="T4" fmla="*/ 38 w 105"/>
                <a:gd name="T5" fmla="*/ 119 h 151"/>
                <a:gd name="T6" fmla="*/ 42 w 105"/>
                <a:gd name="T7" fmla="*/ 104 h 151"/>
                <a:gd name="T8" fmla="*/ 29 w 105"/>
                <a:gd name="T9" fmla="*/ 71 h 151"/>
                <a:gd name="T10" fmla="*/ 32 w 105"/>
                <a:gd name="T11" fmla="*/ 60 h 151"/>
                <a:gd name="T12" fmla="*/ 42 w 105"/>
                <a:gd name="T13" fmla="*/ 19 h 151"/>
                <a:gd name="T14" fmla="*/ 57 w 105"/>
                <a:gd name="T15" fmla="*/ 22 h 151"/>
                <a:gd name="T16" fmla="*/ 50 w 105"/>
                <a:gd name="T17" fmla="*/ 52 h 151"/>
                <a:gd name="T18" fmla="*/ 54 w 105"/>
                <a:gd name="T19" fmla="*/ 53 h 151"/>
                <a:gd name="T20" fmla="*/ 65 w 105"/>
                <a:gd name="T21" fmla="*/ 8 h 151"/>
                <a:gd name="T22" fmla="*/ 65 w 105"/>
                <a:gd name="T23" fmla="*/ 7 h 151"/>
                <a:gd name="T24" fmla="*/ 74 w 105"/>
                <a:gd name="T25" fmla="*/ 1 h 151"/>
                <a:gd name="T26" fmla="*/ 74 w 105"/>
                <a:gd name="T27" fmla="*/ 1 h 151"/>
                <a:gd name="T28" fmla="*/ 75 w 105"/>
                <a:gd name="T29" fmla="*/ 1 h 151"/>
                <a:gd name="T30" fmla="*/ 75 w 105"/>
                <a:gd name="T31" fmla="*/ 1 h 151"/>
                <a:gd name="T32" fmla="*/ 80 w 105"/>
                <a:gd name="T33" fmla="*/ 10 h 151"/>
                <a:gd name="T34" fmla="*/ 80 w 105"/>
                <a:gd name="T35" fmla="*/ 11 h 151"/>
                <a:gd name="T36" fmla="*/ 73 w 105"/>
                <a:gd name="T37" fmla="*/ 39 h 151"/>
                <a:gd name="T38" fmla="*/ 77 w 105"/>
                <a:gd name="T39" fmla="*/ 40 h 151"/>
                <a:gd name="T40" fmla="*/ 82 w 105"/>
                <a:gd name="T41" fmla="*/ 20 h 151"/>
                <a:gd name="T42" fmla="*/ 88 w 105"/>
                <a:gd name="T43" fmla="*/ 40 h 151"/>
                <a:gd name="T44" fmla="*/ 85 w 105"/>
                <a:gd name="T45" fmla="*/ 51 h 151"/>
                <a:gd name="T46" fmla="*/ 89 w 105"/>
                <a:gd name="T47" fmla="*/ 51 h 151"/>
                <a:gd name="T48" fmla="*/ 92 w 105"/>
                <a:gd name="T49" fmla="*/ 39 h 151"/>
                <a:gd name="T50" fmla="*/ 99 w 105"/>
                <a:gd name="T51" fmla="*/ 60 h 151"/>
                <a:gd name="T52" fmla="*/ 83 w 105"/>
                <a:gd name="T53" fmla="*/ 129 h 151"/>
                <a:gd name="T54" fmla="*/ 98 w 105"/>
                <a:gd name="T55" fmla="*/ 133 h 151"/>
                <a:gd name="T56" fmla="*/ 104 w 105"/>
                <a:gd name="T57" fmla="*/ 144 h 151"/>
                <a:gd name="T58" fmla="*/ 95 w 105"/>
                <a:gd name="T59" fmla="*/ 151 h 151"/>
                <a:gd name="T60" fmla="*/ 93 w 105"/>
                <a:gd name="T61" fmla="*/ 150 h 151"/>
                <a:gd name="T62" fmla="*/ 78 w 105"/>
                <a:gd name="T63" fmla="*/ 147 h 151"/>
                <a:gd name="T64" fmla="*/ 0 w 105"/>
                <a:gd name="T65" fmla="*/ 12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151">
                  <a:moveTo>
                    <a:pt x="0" y="127"/>
                  </a:moveTo>
                  <a:cubicBezTo>
                    <a:pt x="5" y="110"/>
                    <a:pt x="5" y="110"/>
                    <a:pt x="5" y="110"/>
                  </a:cubicBezTo>
                  <a:cubicBezTo>
                    <a:pt x="38" y="119"/>
                    <a:pt x="38" y="119"/>
                    <a:pt x="38" y="119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42" y="104"/>
                    <a:pt x="27" y="81"/>
                    <a:pt x="29" y="71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4" y="8"/>
                    <a:pt x="60" y="11"/>
                    <a:pt x="57" y="22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49" y="54"/>
                    <a:pt x="54" y="55"/>
                    <a:pt x="54" y="53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6" y="3"/>
                    <a:pt x="69" y="0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9" y="3"/>
                    <a:pt x="80" y="7"/>
                    <a:pt x="80" y="10"/>
                  </a:cubicBezTo>
                  <a:cubicBezTo>
                    <a:pt x="80" y="10"/>
                    <a:pt x="80" y="11"/>
                    <a:pt x="80" y="11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5" y="23"/>
                    <a:pt x="90" y="30"/>
                    <a:pt x="88" y="40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5" y="42"/>
                    <a:pt x="102" y="49"/>
                    <a:pt x="99" y="60"/>
                  </a:cubicBezTo>
                  <a:cubicBezTo>
                    <a:pt x="83" y="129"/>
                    <a:pt x="83" y="129"/>
                    <a:pt x="83" y="129"/>
                  </a:cubicBezTo>
                  <a:cubicBezTo>
                    <a:pt x="98" y="133"/>
                    <a:pt x="98" y="133"/>
                    <a:pt x="98" y="133"/>
                  </a:cubicBezTo>
                  <a:cubicBezTo>
                    <a:pt x="102" y="134"/>
                    <a:pt x="105" y="139"/>
                    <a:pt x="104" y="144"/>
                  </a:cubicBezTo>
                  <a:cubicBezTo>
                    <a:pt x="103" y="148"/>
                    <a:pt x="99" y="151"/>
                    <a:pt x="95" y="151"/>
                  </a:cubicBezTo>
                  <a:cubicBezTo>
                    <a:pt x="95" y="151"/>
                    <a:pt x="94" y="151"/>
                    <a:pt x="93" y="150"/>
                  </a:cubicBezTo>
                  <a:cubicBezTo>
                    <a:pt x="78" y="147"/>
                    <a:pt x="78" y="147"/>
                    <a:pt x="78" y="147"/>
                  </a:cubicBezTo>
                  <a:lnTo>
                    <a:pt x="0" y="1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A2BAF120-7040-4EFD-8B60-87CA87E4F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7600" y="1992313"/>
              <a:ext cx="193675" cy="198438"/>
            </a:xfrm>
            <a:custGeom>
              <a:avLst/>
              <a:gdLst>
                <a:gd name="T0" fmla="*/ 122 w 122"/>
                <a:gd name="T1" fmla="*/ 24 h 125"/>
                <a:gd name="T2" fmla="*/ 99 w 122"/>
                <a:gd name="T3" fmla="*/ 125 h 125"/>
                <a:gd name="T4" fmla="*/ 0 w 122"/>
                <a:gd name="T5" fmla="*/ 122 h 125"/>
                <a:gd name="T6" fmla="*/ 30 w 122"/>
                <a:gd name="T7" fmla="*/ 0 h 125"/>
                <a:gd name="T8" fmla="*/ 122 w 122"/>
                <a:gd name="T9" fmla="*/ 2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125">
                  <a:moveTo>
                    <a:pt x="122" y="24"/>
                  </a:moveTo>
                  <a:lnTo>
                    <a:pt x="99" y="125"/>
                  </a:lnTo>
                  <a:lnTo>
                    <a:pt x="0" y="122"/>
                  </a:lnTo>
                  <a:lnTo>
                    <a:pt x="30" y="0"/>
                  </a:lnTo>
                  <a:lnTo>
                    <a:pt x="122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144440E-33B1-41BC-944F-008B240F3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2650" y="1803400"/>
              <a:ext cx="73025" cy="69850"/>
            </a:xfrm>
            <a:custGeom>
              <a:avLst/>
              <a:gdLst>
                <a:gd name="T0" fmla="*/ 38 w 46"/>
                <a:gd name="T1" fmla="*/ 44 h 44"/>
                <a:gd name="T2" fmla="*/ 0 w 46"/>
                <a:gd name="T3" fmla="*/ 8 h 44"/>
                <a:gd name="T4" fmla="*/ 9 w 46"/>
                <a:gd name="T5" fmla="*/ 0 h 44"/>
                <a:gd name="T6" fmla="*/ 46 w 46"/>
                <a:gd name="T7" fmla="*/ 35 h 44"/>
                <a:gd name="T8" fmla="*/ 38 w 46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4">
                  <a:moveTo>
                    <a:pt x="38" y="44"/>
                  </a:moveTo>
                  <a:lnTo>
                    <a:pt x="0" y="8"/>
                  </a:lnTo>
                  <a:lnTo>
                    <a:pt x="9" y="0"/>
                  </a:lnTo>
                  <a:lnTo>
                    <a:pt x="46" y="35"/>
                  </a:lnTo>
                  <a:lnTo>
                    <a:pt x="38" y="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72D26E30-6134-4606-82F4-898CBEC05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9650" y="1970088"/>
              <a:ext cx="58738" cy="76200"/>
            </a:xfrm>
            <a:custGeom>
              <a:avLst/>
              <a:gdLst>
                <a:gd name="T0" fmla="*/ 25 w 37"/>
                <a:gd name="T1" fmla="*/ 48 h 48"/>
                <a:gd name="T2" fmla="*/ 0 w 37"/>
                <a:gd name="T3" fmla="*/ 6 h 48"/>
                <a:gd name="T4" fmla="*/ 10 w 37"/>
                <a:gd name="T5" fmla="*/ 0 h 48"/>
                <a:gd name="T6" fmla="*/ 37 w 37"/>
                <a:gd name="T7" fmla="*/ 40 h 48"/>
                <a:gd name="T8" fmla="*/ 25 w 37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48">
                  <a:moveTo>
                    <a:pt x="25" y="48"/>
                  </a:moveTo>
                  <a:lnTo>
                    <a:pt x="0" y="6"/>
                  </a:lnTo>
                  <a:lnTo>
                    <a:pt x="10" y="0"/>
                  </a:lnTo>
                  <a:lnTo>
                    <a:pt x="37" y="40"/>
                  </a:lnTo>
                  <a:lnTo>
                    <a:pt x="25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5F6CC97-5D2E-431A-B451-87A2F3B2FC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2338" y="1970088"/>
              <a:ext cx="60325" cy="76200"/>
            </a:xfrm>
            <a:custGeom>
              <a:avLst/>
              <a:gdLst>
                <a:gd name="T0" fmla="*/ 13 w 38"/>
                <a:gd name="T1" fmla="*/ 48 h 48"/>
                <a:gd name="T2" fmla="*/ 0 w 38"/>
                <a:gd name="T3" fmla="*/ 40 h 48"/>
                <a:gd name="T4" fmla="*/ 25 w 38"/>
                <a:gd name="T5" fmla="*/ 0 h 48"/>
                <a:gd name="T6" fmla="*/ 38 w 38"/>
                <a:gd name="T7" fmla="*/ 6 h 48"/>
                <a:gd name="T8" fmla="*/ 13 w 38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8">
                  <a:moveTo>
                    <a:pt x="13" y="48"/>
                  </a:moveTo>
                  <a:lnTo>
                    <a:pt x="0" y="40"/>
                  </a:lnTo>
                  <a:lnTo>
                    <a:pt x="25" y="0"/>
                  </a:lnTo>
                  <a:lnTo>
                    <a:pt x="38" y="6"/>
                  </a:lnTo>
                  <a:lnTo>
                    <a:pt x="13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B03E070F-7C29-4B38-91DA-3BD4EF497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9175" y="1803400"/>
              <a:ext cx="76200" cy="73025"/>
            </a:xfrm>
            <a:custGeom>
              <a:avLst/>
              <a:gdLst>
                <a:gd name="T0" fmla="*/ 8 w 48"/>
                <a:gd name="T1" fmla="*/ 46 h 46"/>
                <a:gd name="T2" fmla="*/ 0 w 48"/>
                <a:gd name="T3" fmla="*/ 37 h 46"/>
                <a:gd name="T4" fmla="*/ 37 w 48"/>
                <a:gd name="T5" fmla="*/ 0 h 46"/>
                <a:gd name="T6" fmla="*/ 48 w 48"/>
                <a:gd name="T7" fmla="*/ 8 h 46"/>
                <a:gd name="T8" fmla="*/ 8 w 48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6">
                  <a:moveTo>
                    <a:pt x="8" y="46"/>
                  </a:moveTo>
                  <a:lnTo>
                    <a:pt x="0" y="37"/>
                  </a:lnTo>
                  <a:lnTo>
                    <a:pt x="37" y="0"/>
                  </a:lnTo>
                  <a:lnTo>
                    <a:pt x="48" y="8"/>
                  </a:lnTo>
                  <a:lnTo>
                    <a:pt x="8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Rectangle 25">
              <a:extLst>
                <a:ext uri="{FF2B5EF4-FFF2-40B4-BE49-F238E27FC236}">
                  <a16:creationId xmlns:a16="http://schemas.microsoft.com/office/drawing/2014/main" id="{D8C57CA0-B5AC-4BD0-AB3D-D839B05E9A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9488" y="1762125"/>
              <a:ext cx="22225" cy="714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1" name="Oval 7">
            <a:extLst>
              <a:ext uri="{FF2B5EF4-FFF2-40B4-BE49-F238E27FC236}">
                <a16:creationId xmlns:a16="http://schemas.microsoft.com/office/drawing/2014/main" id="{6D806251-5BC7-4A91-B337-044A2F77C7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68385" y="1719342"/>
            <a:ext cx="3169315" cy="3189379"/>
          </a:xfrm>
          <a:prstGeom prst="ellipse">
            <a:avLst/>
          </a:prstGeom>
          <a:solidFill>
            <a:srgbClr val="8DCCC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42" name="Grafik 41" descr="Ein Bild, das Person, gelb, haltend, gestreift enthält.&#10;&#10;Automatisch generierte Beschreibung">
            <a:extLst>
              <a:ext uri="{FF2B5EF4-FFF2-40B4-BE49-F238E27FC236}">
                <a16:creationId xmlns:a16="http://schemas.microsoft.com/office/drawing/2014/main" id="{AE3A9493-8BB2-4CE0-8FAC-E8E8F9E7E0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0763" y="1950295"/>
            <a:ext cx="3516747" cy="3193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6472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5D6D109-2F18-423B-8C8A-0CFB74E587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 </a:t>
            </a:r>
            <a:endParaRPr lang="fr-FR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30B519C-A30D-4DC1-B8B9-CE972EF065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  <a:endParaRPr lang="fr-FR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96EC78E-2E77-4B17-9401-688E85265E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5</a:t>
            </a:fld>
            <a:endParaRPr lang="fr-FR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EBB13CA-8037-4462-9F50-D4467700E70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4001" y="1333818"/>
            <a:ext cx="4644724" cy="3047351"/>
          </a:xfrm>
        </p:spPr>
        <p:txBody>
          <a:bodyPr/>
          <a:lstStyle/>
          <a:p>
            <a:pPr lvl="1" algn="l" rtl="0">
              <a:spcAft>
                <a:spcPts val="2400"/>
              </a:spcAft>
            </a:pPr>
            <a:r>
              <a:rPr lang="fr-FR" sz="1600" b="0" i="0" u="none" baseline="0" dirty="0"/>
              <a:t>En tirant parti de </a:t>
            </a:r>
            <a:r>
              <a:rPr lang="fr-FR" sz="1600" b="1" i="0" u="none" baseline="0" dirty="0"/>
              <a:t>l’expérience et de la présence physique inégalées de DHL </a:t>
            </a:r>
            <a:r>
              <a:rPr lang="fr-FR" sz="1600" b="0" i="0" u="none" baseline="0" dirty="0"/>
              <a:t>dans le secteur logistique européen...</a:t>
            </a:r>
          </a:p>
          <a:p>
            <a:pPr lvl="1" algn="l" rtl="0">
              <a:spcAft>
                <a:spcPts val="2400"/>
              </a:spcAft>
            </a:pPr>
            <a:r>
              <a:rPr lang="fr-FR" sz="1600" b="0" i="0" u="none" baseline="0" dirty="0"/>
              <a:t>...et en regroupant efficacement les clients dans un </a:t>
            </a:r>
            <a:r>
              <a:rPr lang="fr-FR" sz="1600" b="1" i="0" u="none" baseline="0" dirty="0"/>
              <a:t>réseau distribué et multi-clients...</a:t>
            </a:r>
          </a:p>
          <a:p>
            <a:pPr lvl="1" algn="l" rtl="0">
              <a:spcAft>
                <a:spcPts val="2400"/>
              </a:spcAft>
            </a:pPr>
            <a:r>
              <a:rPr lang="fr-FR" sz="1600" b="0" i="0" u="none" baseline="0" dirty="0"/>
              <a:t>...le </a:t>
            </a:r>
            <a:r>
              <a:rPr lang="fr-FR" sz="1600" b="1" i="0" u="none" baseline="0" dirty="0"/>
              <a:t>DHL EU </a:t>
            </a:r>
            <a:r>
              <a:rPr lang="fr-FR" sz="1600" b="1" i="0" u="none" baseline="0" dirty="0" err="1"/>
              <a:t>Fulfillment</a:t>
            </a:r>
            <a:r>
              <a:rPr lang="fr-FR" sz="1600" b="1" i="0" u="none" baseline="0" dirty="0"/>
              <a:t> Network </a:t>
            </a:r>
            <a:r>
              <a:rPr lang="fr-FR" sz="1600" b="0" i="0" u="none" baseline="0" dirty="0"/>
              <a:t>vous permettra de répondre aux </a:t>
            </a:r>
            <a:r>
              <a:rPr lang="fr-FR" sz="1600" b="1" i="0" u="none" baseline="0" dirty="0"/>
              <a:t>besoins croissants des clients finaux </a:t>
            </a:r>
            <a:r>
              <a:rPr lang="fr-FR" sz="1600" b="0" i="0" u="none" baseline="0" dirty="0"/>
              <a:t>tout en </a:t>
            </a:r>
            <a:r>
              <a:rPr lang="fr-FR" sz="1600" b="1" i="0" u="none" baseline="0" dirty="0"/>
              <a:t>équilibrant vos coût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4B7B8AE-FA8F-4B3A-B171-9C17F2085A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fr-FR" b="1" i="0" u="none" baseline="0"/>
              <a:t>La contribution de DHL</a:t>
            </a:r>
            <a:endParaRPr lang="fr-FR" dirty="0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9785DE49-0DE7-4F74-B3FD-870410F91488}"/>
              </a:ext>
            </a:extLst>
          </p:cNvPr>
          <p:cNvSpPr/>
          <p:nvPr/>
        </p:nvSpPr>
        <p:spPr>
          <a:xfrm>
            <a:off x="5627209" y="1499233"/>
            <a:ext cx="3182306" cy="3182306"/>
          </a:xfrm>
          <a:prstGeom prst="ellipse">
            <a:avLst/>
          </a:prstGeom>
          <a:solidFill>
            <a:srgbClr val="C0DA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spAutoFit/>
          </a:bodyPr>
          <a:lstStyle/>
          <a:p>
            <a:pPr algn="l" rtl="0"/>
            <a:endParaRPr lang="fr-FR" sz="1200" dirty="0" err="1">
              <a:solidFill>
                <a:schemeClr val="tx1"/>
              </a:solidFill>
            </a:endParaRPr>
          </a:p>
        </p:txBody>
      </p:sp>
      <p:pic>
        <p:nvPicPr>
          <p:cNvPr id="9" name="Grafik 8" descr="Ein Bild, das Person, stehend enthält.&#10;&#10;Automatisch generierte Beschreibung">
            <a:extLst>
              <a:ext uri="{FF2B5EF4-FFF2-40B4-BE49-F238E27FC236}">
                <a16:creationId xmlns:a16="http://schemas.microsoft.com/office/drawing/2014/main" id="{5A7A0647-E3EC-43C8-A737-FFDA6BE5E06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8045" y="2162175"/>
            <a:ext cx="3600635" cy="2981326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97CDF691-2F4E-4F3A-B703-C8FADEB12256}"/>
              </a:ext>
            </a:extLst>
          </p:cNvPr>
          <p:cNvGrpSpPr/>
          <p:nvPr/>
        </p:nvGrpSpPr>
        <p:grpSpPr>
          <a:xfrm>
            <a:off x="6957218" y="378539"/>
            <a:ext cx="522287" cy="772399"/>
            <a:chOff x="10126663" y="1408113"/>
            <a:chExt cx="225425" cy="333376"/>
          </a:xfrm>
          <a:solidFill>
            <a:schemeClr val="bg1">
              <a:alpha val="60000"/>
            </a:schemeClr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F4EE5A8-3DCB-4913-ACC8-8B8AB8DCD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276" y="1676401"/>
              <a:ext cx="69850" cy="65088"/>
            </a:xfrm>
            <a:custGeom>
              <a:avLst/>
              <a:gdLst>
                <a:gd name="T0" fmla="*/ 19 w 22"/>
                <a:gd name="T1" fmla="*/ 18 h 21"/>
                <a:gd name="T2" fmla="*/ 19 w 22"/>
                <a:gd name="T3" fmla="*/ 18 h 21"/>
                <a:gd name="T4" fmla="*/ 11 w 22"/>
                <a:gd name="T5" fmla="*/ 21 h 21"/>
                <a:gd name="T6" fmla="*/ 3 w 22"/>
                <a:gd name="T7" fmla="*/ 18 h 21"/>
                <a:gd name="T8" fmla="*/ 0 w 22"/>
                <a:gd name="T9" fmla="*/ 10 h 21"/>
                <a:gd name="T10" fmla="*/ 3 w 22"/>
                <a:gd name="T11" fmla="*/ 3 h 21"/>
                <a:gd name="T12" fmla="*/ 11 w 22"/>
                <a:gd name="T13" fmla="*/ 0 h 21"/>
                <a:gd name="T14" fmla="*/ 19 w 22"/>
                <a:gd name="T15" fmla="*/ 3 h 21"/>
                <a:gd name="T16" fmla="*/ 22 w 22"/>
                <a:gd name="T17" fmla="*/ 10 h 21"/>
                <a:gd name="T18" fmla="*/ 19 w 22"/>
                <a:gd name="T1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19" y="18"/>
                  </a:moveTo>
                  <a:cubicBezTo>
                    <a:pt x="19" y="18"/>
                    <a:pt x="19" y="18"/>
                    <a:pt x="19" y="18"/>
                  </a:cubicBezTo>
                  <a:cubicBezTo>
                    <a:pt x="16" y="20"/>
                    <a:pt x="14" y="21"/>
                    <a:pt x="11" y="21"/>
                  </a:cubicBezTo>
                  <a:cubicBezTo>
                    <a:pt x="8" y="21"/>
                    <a:pt x="6" y="20"/>
                    <a:pt x="3" y="18"/>
                  </a:cubicBezTo>
                  <a:cubicBezTo>
                    <a:pt x="1" y="16"/>
                    <a:pt x="0" y="14"/>
                    <a:pt x="0" y="10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4" y="0"/>
                    <a:pt x="17" y="1"/>
                    <a:pt x="19" y="3"/>
                  </a:cubicBezTo>
                  <a:cubicBezTo>
                    <a:pt x="21" y="5"/>
                    <a:pt x="22" y="7"/>
                    <a:pt x="22" y="10"/>
                  </a:cubicBezTo>
                  <a:cubicBezTo>
                    <a:pt x="22" y="14"/>
                    <a:pt x="21" y="16"/>
                    <a:pt x="1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2E81D0B0-9768-4D40-B2A8-DBF9F7F65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408113"/>
              <a:ext cx="225425" cy="246063"/>
            </a:xfrm>
            <a:custGeom>
              <a:avLst/>
              <a:gdLst>
                <a:gd name="T0" fmla="*/ 69 w 72"/>
                <a:gd name="T1" fmla="*/ 39 h 80"/>
                <a:gd name="T2" fmla="*/ 69 w 72"/>
                <a:gd name="T3" fmla="*/ 39 h 80"/>
                <a:gd name="T4" fmla="*/ 64 w 72"/>
                <a:gd name="T5" fmla="*/ 47 h 80"/>
                <a:gd name="T6" fmla="*/ 51 w 72"/>
                <a:gd name="T7" fmla="*/ 58 h 80"/>
                <a:gd name="T8" fmla="*/ 47 w 72"/>
                <a:gd name="T9" fmla="*/ 62 h 80"/>
                <a:gd name="T10" fmla="*/ 45 w 72"/>
                <a:gd name="T11" fmla="*/ 65 h 80"/>
                <a:gd name="T12" fmla="*/ 44 w 72"/>
                <a:gd name="T13" fmla="*/ 68 h 80"/>
                <a:gd name="T14" fmla="*/ 43 w 72"/>
                <a:gd name="T15" fmla="*/ 73 h 80"/>
                <a:gd name="T16" fmla="*/ 34 w 72"/>
                <a:gd name="T17" fmla="*/ 80 h 80"/>
                <a:gd name="T18" fmla="*/ 28 w 72"/>
                <a:gd name="T19" fmla="*/ 78 h 80"/>
                <a:gd name="T20" fmla="*/ 25 w 72"/>
                <a:gd name="T21" fmla="*/ 70 h 80"/>
                <a:gd name="T22" fmla="*/ 27 w 72"/>
                <a:gd name="T23" fmla="*/ 60 h 80"/>
                <a:gd name="T24" fmla="*/ 32 w 72"/>
                <a:gd name="T25" fmla="*/ 52 h 80"/>
                <a:gd name="T26" fmla="*/ 41 w 72"/>
                <a:gd name="T27" fmla="*/ 44 h 80"/>
                <a:gd name="T28" fmla="*/ 47 w 72"/>
                <a:gd name="T29" fmla="*/ 38 h 80"/>
                <a:gd name="T30" fmla="*/ 51 w 72"/>
                <a:gd name="T31" fmla="*/ 34 h 80"/>
                <a:gd name="T32" fmla="*/ 52 w 72"/>
                <a:gd name="T33" fmla="*/ 28 h 80"/>
                <a:gd name="T34" fmla="*/ 48 w 72"/>
                <a:gd name="T35" fmla="*/ 19 h 80"/>
                <a:gd name="T36" fmla="*/ 37 w 72"/>
                <a:gd name="T37" fmla="*/ 15 h 80"/>
                <a:gd name="T38" fmla="*/ 25 w 72"/>
                <a:gd name="T39" fmla="*/ 19 h 80"/>
                <a:gd name="T40" fmla="*/ 19 w 72"/>
                <a:gd name="T41" fmla="*/ 31 h 80"/>
                <a:gd name="T42" fmla="*/ 9 w 72"/>
                <a:gd name="T43" fmla="*/ 39 h 80"/>
                <a:gd name="T44" fmla="*/ 3 w 72"/>
                <a:gd name="T45" fmla="*/ 36 h 80"/>
                <a:gd name="T46" fmla="*/ 0 w 72"/>
                <a:gd name="T47" fmla="*/ 30 h 80"/>
                <a:gd name="T48" fmla="*/ 4 w 72"/>
                <a:gd name="T49" fmla="*/ 16 h 80"/>
                <a:gd name="T50" fmla="*/ 17 w 72"/>
                <a:gd name="T51" fmla="*/ 4 h 80"/>
                <a:gd name="T52" fmla="*/ 37 w 72"/>
                <a:gd name="T53" fmla="*/ 0 h 80"/>
                <a:gd name="T54" fmla="*/ 55 w 72"/>
                <a:gd name="T55" fmla="*/ 4 h 80"/>
                <a:gd name="T56" fmla="*/ 68 w 72"/>
                <a:gd name="T57" fmla="*/ 14 h 80"/>
                <a:gd name="T58" fmla="*/ 72 w 72"/>
                <a:gd name="T59" fmla="*/ 28 h 80"/>
                <a:gd name="T60" fmla="*/ 69 w 72"/>
                <a:gd name="T61" fmla="*/ 3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80">
                  <a:moveTo>
                    <a:pt x="69" y="39"/>
                  </a:moveTo>
                  <a:cubicBezTo>
                    <a:pt x="69" y="39"/>
                    <a:pt x="69" y="39"/>
                    <a:pt x="69" y="39"/>
                  </a:cubicBezTo>
                  <a:cubicBezTo>
                    <a:pt x="68" y="42"/>
                    <a:pt x="66" y="45"/>
                    <a:pt x="64" y="47"/>
                  </a:cubicBezTo>
                  <a:cubicBezTo>
                    <a:pt x="61" y="49"/>
                    <a:pt x="57" y="53"/>
                    <a:pt x="51" y="58"/>
                  </a:cubicBezTo>
                  <a:cubicBezTo>
                    <a:pt x="50" y="60"/>
                    <a:pt x="48" y="61"/>
                    <a:pt x="47" y="62"/>
                  </a:cubicBezTo>
                  <a:cubicBezTo>
                    <a:pt x="46" y="63"/>
                    <a:pt x="46" y="64"/>
                    <a:pt x="45" y="65"/>
                  </a:cubicBezTo>
                  <a:cubicBezTo>
                    <a:pt x="45" y="66"/>
                    <a:pt x="44" y="67"/>
                    <a:pt x="44" y="68"/>
                  </a:cubicBezTo>
                  <a:cubicBezTo>
                    <a:pt x="44" y="69"/>
                    <a:pt x="43" y="70"/>
                    <a:pt x="43" y="73"/>
                  </a:cubicBezTo>
                  <a:cubicBezTo>
                    <a:pt x="42" y="78"/>
                    <a:pt x="39" y="80"/>
                    <a:pt x="34" y="80"/>
                  </a:cubicBezTo>
                  <a:cubicBezTo>
                    <a:pt x="32" y="80"/>
                    <a:pt x="30" y="79"/>
                    <a:pt x="28" y="78"/>
                  </a:cubicBezTo>
                  <a:cubicBezTo>
                    <a:pt x="26" y="76"/>
                    <a:pt x="25" y="74"/>
                    <a:pt x="25" y="70"/>
                  </a:cubicBezTo>
                  <a:cubicBezTo>
                    <a:pt x="25" y="66"/>
                    <a:pt x="26" y="63"/>
                    <a:pt x="27" y="60"/>
                  </a:cubicBezTo>
                  <a:cubicBezTo>
                    <a:pt x="28" y="57"/>
                    <a:pt x="30" y="55"/>
                    <a:pt x="32" y="52"/>
                  </a:cubicBezTo>
                  <a:cubicBezTo>
                    <a:pt x="34" y="50"/>
                    <a:pt x="37" y="48"/>
                    <a:pt x="41" y="44"/>
                  </a:cubicBezTo>
                  <a:cubicBezTo>
                    <a:pt x="44" y="42"/>
                    <a:pt x="46" y="40"/>
                    <a:pt x="47" y="38"/>
                  </a:cubicBezTo>
                  <a:cubicBezTo>
                    <a:pt x="49" y="37"/>
                    <a:pt x="50" y="36"/>
                    <a:pt x="51" y="34"/>
                  </a:cubicBezTo>
                  <a:cubicBezTo>
                    <a:pt x="52" y="32"/>
                    <a:pt x="52" y="30"/>
                    <a:pt x="52" y="28"/>
                  </a:cubicBezTo>
                  <a:cubicBezTo>
                    <a:pt x="52" y="25"/>
                    <a:pt x="51" y="21"/>
                    <a:pt x="48" y="19"/>
                  </a:cubicBezTo>
                  <a:cubicBezTo>
                    <a:pt x="45" y="16"/>
                    <a:pt x="41" y="15"/>
                    <a:pt x="37" y="15"/>
                  </a:cubicBezTo>
                  <a:cubicBezTo>
                    <a:pt x="31" y="15"/>
                    <a:pt x="28" y="16"/>
                    <a:pt x="25" y="19"/>
                  </a:cubicBezTo>
                  <a:cubicBezTo>
                    <a:pt x="23" y="21"/>
                    <a:pt x="21" y="25"/>
                    <a:pt x="19" y="31"/>
                  </a:cubicBezTo>
                  <a:cubicBezTo>
                    <a:pt x="17" y="36"/>
                    <a:pt x="14" y="39"/>
                    <a:pt x="9" y="39"/>
                  </a:cubicBezTo>
                  <a:cubicBezTo>
                    <a:pt x="7" y="39"/>
                    <a:pt x="4" y="38"/>
                    <a:pt x="3" y="36"/>
                  </a:cubicBezTo>
                  <a:cubicBezTo>
                    <a:pt x="1" y="34"/>
                    <a:pt x="0" y="32"/>
                    <a:pt x="0" y="30"/>
                  </a:cubicBezTo>
                  <a:cubicBezTo>
                    <a:pt x="0" y="25"/>
                    <a:pt x="1" y="21"/>
                    <a:pt x="4" y="16"/>
                  </a:cubicBezTo>
                  <a:cubicBezTo>
                    <a:pt x="7" y="11"/>
                    <a:pt x="11" y="7"/>
                    <a:pt x="17" y="4"/>
                  </a:cubicBezTo>
                  <a:cubicBezTo>
                    <a:pt x="23" y="1"/>
                    <a:pt x="29" y="0"/>
                    <a:pt x="37" y="0"/>
                  </a:cubicBezTo>
                  <a:cubicBezTo>
                    <a:pt x="44" y="0"/>
                    <a:pt x="50" y="1"/>
                    <a:pt x="55" y="4"/>
                  </a:cubicBezTo>
                  <a:cubicBezTo>
                    <a:pt x="61" y="6"/>
                    <a:pt x="65" y="10"/>
                    <a:pt x="68" y="14"/>
                  </a:cubicBezTo>
                  <a:cubicBezTo>
                    <a:pt x="70" y="18"/>
                    <a:pt x="72" y="23"/>
                    <a:pt x="72" y="28"/>
                  </a:cubicBezTo>
                  <a:cubicBezTo>
                    <a:pt x="72" y="32"/>
                    <a:pt x="71" y="36"/>
                    <a:pt x="6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DF1598E-8062-4FA1-9EE6-D8EBCDE74586}"/>
              </a:ext>
            </a:extLst>
          </p:cNvPr>
          <p:cNvGrpSpPr/>
          <p:nvPr/>
        </p:nvGrpSpPr>
        <p:grpSpPr>
          <a:xfrm>
            <a:off x="7915670" y="791033"/>
            <a:ext cx="396082" cy="585757"/>
            <a:chOff x="10126663" y="1408113"/>
            <a:chExt cx="225425" cy="333376"/>
          </a:xfrm>
          <a:solidFill>
            <a:schemeClr val="bg1">
              <a:alpha val="60000"/>
            </a:schemeClr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7657D668-217E-4EC2-A481-02AA1A7F9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276" y="1676401"/>
              <a:ext cx="69850" cy="65088"/>
            </a:xfrm>
            <a:custGeom>
              <a:avLst/>
              <a:gdLst>
                <a:gd name="T0" fmla="*/ 19 w 22"/>
                <a:gd name="T1" fmla="*/ 18 h 21"/>
                <a:gd name="T2" fmla="*/ 19 w 22"/>
                <a:gd name="T3" fmla="*/ 18 h 21"/>
                <a:gd name="T4" fmla="*/ 11 w 22"/>
                <a:gd name="T5" fmla="*/ 21 h 21"/>
                <a:gd name="T6" fmla="*/ 3 w 22"/>
                <a:gd name="T7" fmla="*/ 18 h 21"/>
                <a:gd name="T8" fmla="*/ 0 w 22"/>
                <a:gd name="T9" fmla="*/ 10 h 21"/>
                <a:gd name="T10" fmla="*/ 3 w 22"/>
                <a:gd name="T11" fmla="*/ 3 h 21"/>
                <a:gd name="T12" fmla="*/ 11 w 22"/>
                <a:gd name="T13" fmla="*/ 0 h 21"/>
                <a:gd name="T14" fmla="*/ 19 w 22"/>
                <a:gd name="T15" fmla="*/ 3 h 21"/>
                <a:gd name="T16" fmla="*/ 22 w 22"/>
                <a:gd name="T17" fmla="*/ 10 h 21"/>
                <a:gd name="T18" fmla="*/ 19 w 22"/>
                <a:gd name="T1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19" y="18"/>
                  </a:moveTo>
                  <a:cubicBezTo>
                    <a:pt x="19" y="18"/>
                    <a:pt x="19" y="18"/>
                    <a:pt x="19" y="18"/>
                  </a:cubicBezTo>
                  <a:cubicBezTo>
                    <a:pt x="16" y="20"/>
                    <a:pt x="14" y="21"/>
                    <a:pt x="11" y="21"/>
                  </a:cubicBezTo>
                  <a:cubicBezTo>
                    <a:pt x="8" y="21"/>
                    <a:pt x="6" y="20"/>
                    <a:pt x="3" y="18"/>
                  </a:cubicBezTo>
                  <a:cubicBezTo>
                    <a:pt x="1" y="16"/>
                    <a:pt x="0" y="14"/>
                    <a:pt x="0" y="10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4" y="0"/>
                    <a:pt x="17" y="1"/>
                    <a:pt x="19" y="3"/>
                  </a:cubicBezTo>
                  <a:cubicBezTo>
                    <a:pt x="21" y="5"/>
                    <a:pt x="22" y="7"/>
                    <a:pt x="22" y="10"/>
                  </a:cubicBezTo>
                  <a:cubicBezTo>
                    <a:pt x="22" y="14"/>
                    <a:pt x="21" y="16"/>
                    <a:pt x="1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E6D5821A-1C60-44A2-8C38-688F80C17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408113"/>
              <a:ext cx="225425" cy="246063"/>
            </a:xfrm>
            <a:custGeom>
              <a:avLst/>
              <a:gdLst>
                <a:gd name="T0" fmla="*/ 69 w 72"/>
                <a:gd name="T1" fmla="*/ 39 h 80"/>
                <a:gd name="T2" fmla="*/ 69 w 72"/>
                <a:gd name="T3" fmla="*/ 39 h 80"/>
                <a:gd name="T4" fmla="*/ 64 w 72"/>
                <a:gd name="T5" fmla="*/ 47 h 80"/>
                <a:gd name="T6" fmla="*/ 51 w 72"/>
                <a:gd name="T7" fmla="*/ 58 h 80"/>
                <a:gd name="T8" fmla="*/ 47 w 72"/>
                <a:gd name="T9" fmla="*/ 62 h 80"/>
                <a:gd name="T10" fmla="*/ 45 w 72"/>
                <a:gd name="T11" fmla="*/ 65 h 80"/>
                <a:gd name="T12" fmla="*/ 44 w 72"/>
                <a:gd name="T13" fmla="*/ 68 h 80"/>
                <a:gd name="T14" fmla="*/ 43 w 72"/>
                <a:gd name="T15" fmla="*/ 73 h 80"/>
                <a:gd name="T16" fmla="*/ 34 w 72"/>
                <a:gd name="T17" fmla="*/ 80 h 80"/>
                <a:gd name="T18" fmla="*/ 28 w 72"/>
                <a:gd name="T19" fmla="*/ 78 h 80"/>
                <a:gd name="T20" fmla="*/ 25 w 72"/>
                <a:gd name="T21" fmla="*/ 70 h 80"/>
                <a:gd name="T22" fmla="*/ 27 w 72"/>
                <a:gd name="T23" fmla="*/ 60 h 80"/>
                <a:gd name="T24" fmla="*/ 32 w 72"/>
                <a:gd name="T25" fmla="*/ 52 h 80"/>
                <a:gd name="T26" fmla="*/ 41 w 72"/>
                <a:gd name="T27" fmla="*/ 44 h 80"/>
                <a:gd name="T28" fmla="*/ 47 w 72"/>
                <a:gd name="T29" fmla="*/ 38 h 80"/>
                <a:gd name="T30" fmla="*/ 51 w 72"/>
                <a:gd name="T31" fmla="*/ 34 h 80"/>
                <a:gd name="T32" fmla="*/ 52 w 72"/>
                <a:gd name="T33" fmla="*/ 28 h 80"/>
                <a:gd name="T34" fmla="*/ 48 w 72"/>
                <a:gd name="T35" fmla="*/ 19 h 80"/>
                <a:gd name="T36" fmla="*/ 37 w 72"/>
                <a:gd name="T37" fmla="*/ 15 h 80"/>
                <a:gd name="T38" fmla="*/ 25 w 72"/>
                <a:gd name="T39" fmla="*/ 19 h 80"/>
                <a:gd name="T40" fmla="*/ 19 w 72"/>
                <a:gd name="T41" fmla="*/ 31 h 80"/>
                <a:gd name="T42" fmla="*/ 9 w 72"/>
                <a:gd name="T43" fmla="*/ 39 h 80"/>
                <a:gd name="T44" fmla="*/ 3 w 72"/>
                <a:gd name="T45" fmla="*/ 36 h 80"/>
                <a:gd name="T46" fmla="*/ 0 w 72"/>
                <a:gd name="T47" fmla="*/ 30 h 80"/>
                <a:gd name="T48" fmla="*/ 4 w 72"/>
                <a:gd name="T49" fmla="*/ 16 h 80"/>
                <a:gd name="T50" fmla="*/ 17 w 72"/>
                <a:gd name="T51" fmla="*/ 4 h 80"/>
                <a:gd name="T52" fmla="*/ 37 w 72"/>
                <a:gd name="T53" fmla="*/ 0 h 80"/>
                <a:gd name="T54" fmla="*/ 55 w 72"/>
                <a:gd name="T55" fmla="*/ 4 h 80"/>
                <a:gd name="T56" fmla="*/ 68 w 72"/>
                <a:gd name="T57" fmla="*/ 14 h 80"/>
                <a:gd name="T58" fmla="*/ 72 w 72"/>
                <a:gd name="T59" fmla="*/ 28 h 80"/>
                <a:gd name="T60" fmla="*/ 69 w 72"/>
                <a:gd name="T61" fmla="*/ 3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80">
                  <a:moveTo>
                    <a:pt x="69" y="39"/>
                  </a:moveTo>
                  <a:cubicBezTo>
                    <a:pt x="69" y="39"/>
                    <a:pt x="69" y="39"/>
                    <a:pt x="69" y="39"/>
                  </a:cubicBezTo>
                  <a:cubicBezTo>
                    <a:pt x="68" y="42"/>
                    <a:pt x="66" y="45"/>
                    <a:pt x="64" y="47"/>
                  </a:cubicBezTo>
                  <a:cubicBezTo>
                    <a:pt x="61" y="49"/>
                    <a:pt x="57" y="53"/>
                    <a:pt x="51" y="58"/>
                  </a:cubicBezTo>
                  <a:cubicBezTo>
                    <a:pt x="50" y="60"/>
                    <a:pt x="48" y="61"/>
                    <a:pt x="47" y="62"/>
                  </a:cubicBezTo>
                  <a:cubicBezTo>
                    <a:pt x="46" y="63"/>
                    <a:pt x="46" y="64"/>
                    <a:pt x="45" y="65"/>
                  </a:cubicBezTo>
                  <a:cubicBezTo>
                    <a:pt x="45" y="66"/>
                    <a:pt x="44" y="67"/>
                    <a:pt x="44" y="68"/>
                  </a:cubicBezTo>
                  <a:cubicBezTo>
                    <a:pt x="44" y="69"/>
                    <a:pt x="43" y="70"/>
                    <a:pt x="43" y="73"/>
                  </a:cubicBezTo>
                  <a:cubicBezTo>
                    <a:pt x="42" y="78"/>
                    <a:pt x="39" y="80"/>
                    <a:pt x="34" y="80"/>
                  </a:cubicBezTo>
                  <a:cubicBezTo>
                    <a:pt x="32" y="80"/>
                    <a:pt x="30" y="79"/>
                    <a:pt x="28" y="78"/>
                  </a:cubicBezTo>
                  <a:cubicBezTo>
                    <a:pt x="26" y="76"/>
                    <a:pt x="25" y="74"/>
                    <a:pt x="25" y="70"/>
                  </a:cubicBezTo>
                  <a:cubicBezTo>
                    <a:pt x="25" y="66"/>
                    <a:pt x="26" y="63"/>
                    <a:pt x="27" y="60"/>
                  </a:cubicBezTo>
                  <a:cubicBezTo>
                    <a:pt x="28" y="57"/>
                    <a:pt x="30" y="55"/>
                    <a:pt x="32" y="52"/>
                  </a:cubicBezTo>
                  <a:cubicBezTo>
                    <a:pt x="34" y="50"/>
                    <a:pt x="37" y="48"/>
                    <a:pt x="41" y="44"/>
                  </a:cubicBezTo>
                  <a:cubicBezTo>
                    <a:pt x="44" y="42"/>
                    <a:pt x="46" y="40"/>
                    <a:pt x="47" y="38"/>
                  </a:cubicBezTo>
                  <a:cubicBezTo>
                    <a:pt x="49" y="37"/>
                    <a:pt x="50" y="36"/>
                    <a:pt x="51" y="34"/>
                  </a:cubicBezTo>
                  <a:cubicBezTo>
                    <a:pt x="52" y="32"/>
                    <a:pt x="52" y="30"/>
                    <a:pt x="52" y="28"/>
                  </a:cubicBezTo>
                  <a:cubicBezTo>
                    <a:pt x="52" y="25"/>
                    <a:pt x="51" y="21"/>
                    <a:pt x="48" y="19"/>
                  </a:cubicBezTo>
                  <a:cubicBezTo>
                    <a:pt x="45" y="16"/>
                    <a:pt x="41" y="15"/>
                    <a:pt x="37" y="15"/>
                  </a:cubicBezTo>
                  <a:cubicBezTo>
                    <a:pt x="31" y="15"/>
                    <a:pt x="28" y="16"/>
                    <a:pt x="25" y="19"/>
                  </a:cubicBezTo>
                  <a:cubicBezTo>
                    <a:pt x="23" y="21"/>
                    <a:pt x="21" y="25"/>
                    <a:pt x="19" y="31"/>
                  </a:cubicBezTo>
                  <a:cubicBezTo>
                    <a:pt x="17" y="36"/>
                    <a:pt x="14" y="39"/>
                    <a:pt x="9" y="39"/>
                  </a:cubicBezTo>
                  <a:cubicBezTo>
                    <a:pt x="7" y="39"/>
                    <a:pt x="4" y="38"/>
                    <a:pt x="3" y="36"/>
                  </a:cubicBezTo>
                  <a:cubicBezTo>
                    <a:pt x="1" y="34"/>
                    <a:pt x="0" y="32"/>
                    <a:pt x="0" y="30"/>
                  </a:cubicBezTo>
                  <a:cubicBezTo>
                    <a:pt x="0" y="25"/>
                    <a:pt x="1" y="21"/>
                    <a:pt x="4" y="16"/>
                  </a:cubicBezTo>
                  <a:cubicBezTo>
                    <a:pt x="7" y="11"/>
                    <a:pt x="11" y="7"/>
                    <a:pt x="17" y="4"/>
                  </a:cubicBezTo>
                  <a:cubicBezTo>
                    <a:pt x="23" y="1"/>
                    <a:pt x="29" y="0"/>
                    <a:pt x="37" y="0"/>
                  </a:cubicBezTo>
                  <a:cubicBezTo>
                    <a:pt x="44" y="0"/>
                    <a:pt x="50" y="1"/>
                    <a:pt x="55" y="4"/>
                  </a:cubicBezTo>
                  <a:cubicBezTo>
                    <a:pt x="61" y="6"/>
                    <a:pt x="65" y="10"/>
                    <a:pt x="68" y="14"/>
                  </a:cubicBezTo>
                  <a:cubicBezTo>
                    <a:pt x="70" y="18"/>
                    <a:pt x="72" y="23"/>
                    <a:pt x="72" y="28"/>
                  </a:cubicBezTo>
                  <a:cubicBezTo>
                    <a:pt x="72" y="32"/>
                    <a:pt x="71" y="36"/>
                    <a:pt x="6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E6846BD-E793-4524-BD85-E0E5ACA0EBF6}"/>
              </a:ext>
            </a:extLst>
          </p:cNvPr>
          <p:cNvGrpSpPr/>
          <p:nvPr/>
        </p:nvGrpSpPr>
        <p:grpSpPr>
          <a:xfrm>
            <a:off x="5972219" y="1018824"/>
            <a:ext cx="396082" cy="585757"/>
            <a:chOff x="10126663" y="1408113"/>
            <a:chExt cx="225425" cy="333376"/>
          </a:xfrm>
          <a:solidFill>
            <a:schemeClr val="bg1">
              <a:alpha val="60000"/>
            </a:schemeClr>
          </a:solidFill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EE4A493D-A7D0-41E0-8622-C3638D6BF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276" y="1676401"/>
              <a:ext cx="69850" cy="65088"/>
            </a:xfrm>
            <a:custGeom>
              <a:avLst/>
              <a:gdLst>
                <a:gd name="T0" fmla="*/ 19 w 22"/>
                <a:gd name="T1" fmla="*/ 18 h 21"/>
                <a:gd name="T2" fmla="*/ 19 w 22"/>
                <a:gd name="T3" fmla="*/ 18 h 21"/>
                <a:gd name="T4" fmla="*/ 11 w 22"/>
                <a:gd name="T5" fmla="*/ 21 h 21"/>
                <a:gd name="T6" fmla="*/ 3 w 22"/>
                <a:gd name="T7" fmla="*/ 18 h 21"/>
                <a:gd name="T8" fmla="*/ 0 w 22"/>
                <a:gd name="T9" fmla="*/ 10 h 21"/>
                <a:gd name="T10" fmla="*/ 3 w 22"/>
                <a:gd name="T11" fmla="*/ 3 h 21"/>
                <a:gd name="T12" fmla="*/ 11 w 22"/>
                <a:gd name="T13" fmla="*/ 0 h 21"/>
                <a:gd name="T14" fmla="*/ 19 w 22"/>
                <a:gd name="T15" fmla="*/ 3 h 21"/>
                <a:gd name="T16" fmla="*/ 22 w 22"/>
                <a:gd name="T17" fmla="*/ 10 h 21"/>
                <a:gd name="T18" fmla="*/ 19 w 22"/>
                <a:gd name="T1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19" y="18"/>
                  </a:moveTo>
                  <a:cubicBezTo>
                    <a:pt x="19" y="18"/>
                    <a:pt x="19" y="18"/>
                    <a:pt x="19" y="18"/>
                  </a:cubicBezTo>
                  <a:cubicBezTo>
                    <a:pt x="16" y="20"/>
                    <a:pt x="14" y="21"/>
                    <a:pt x="11" y="21"/>
                  </a:cubicBezTo>
                  <a:cubicBezTo>
                    <a:pt x="8" y="21"/>
                    <a:pt x="6" y="20"/>
                    <a:pt x="3" y="18"/>
                  </a:cubicBezTo>
                  <a:cubicBezTo>
                    <a:pt x="1" y="16"/>
                    <a:pt x="0" y="14"/>
                    <a:pt x="0" y="10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4" y="0"/>
                    <a:pt x="17" y="1"/>
                    <a:pt x="19" y="3"/>
                  </a:cubicBezTo>
                  <a:cubicBezTo>
                    <a:pt x="21" y="5"/>
                    <a:pt x="22" y="7"/>
                    <a:pt x="22" y="10"/>
                  </a:cubicBezTo>
                  <a:cubicBezTo>
                    <a:pt x="22" y="14"/>
                    <a:pt x="21" y="16"/>
                    <a:pt x="1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B491FF23-2A32-41DC-95B4-C542B42DC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408113"/>
              <a:ext cx="225425" cy="246063"/>
            </a:xfrm>
            <a:custGeom>
              <a:avLst/>
              <a:gdLst>
                <a:gd name="T0" fmla="*/ 69 w 72"/>
                <a:gd name="T1" fmla="*/ 39 h 80"/>
                <a:gd name="T2" fmla="*/ 69 w 72"/>
                <a:gd name="T3" fmla="*/ 39 h 80"/>
                <a:gd name="T4" fmla="*/ 64 w 72"/>
                <a:gd name="T5" fmla="*/ 47 h 80"/>
                <a:gd name="T6" fmla="*/ 51 w 72"/>
                <a:gd name="T7" fmla="*/ 58 h 80"/>
                <a:gd name="T8" fmla="*/ 47 w 72"/>
                <a:gd name="T9" fmla="*/ 62 h 80"/>
                <a:gd name="T10" fmla="*/ 45 w 72"/>
                <a:gd name="T11" fmla="*/ 65 h 80"/>
                <a:gd name="T12" fmla="*/ 44 w 72"/>
                <a:gd name="T13" fmla="*/ 68 h 80"/>
                <a:gd name="T14" fmla="*/ 43 w 72"/>
                <a:gd name="T15" fmla="*/ 73 h 80"/>
                <a:gd name="T16" fmla="*/ 34 w 72"/>
                <a:gd name="T17" fmla="*/ 80 h 80"/>
                <a:gd name="T18" fmla="*/ 28 w 72"/>
                <a:gd name="T19" fmla="*/ 78 h 80"/>
                <a:gd name="T20" fmla="*/ 25 w 72"/>
                <a:gd name="T21" fmla="*/ 70 h 80"/>
                <a:gd name="T22" fmla="*/ 27 w 72"/>
                <a:gd name="T23" fmla="*/ 60 h 80"/>
                <a:gd name="T24" fmla="*/ 32 w 72"/>
                <a:gd name="T25" fmla="*/ 52 h 80"/>
                <a:gd name="T26" fmla="*/ 41 w 72"/>
                <a:gd name="T27" fmla="*/ 44 h 80"/>
                <a:gd name="T28" fmla="*/ 47 w 72"/>
                <a:gd name="T29" fmla="*/ 38 h 80"/>
                <a:gd name="T30" fmla="*/ 51 w 72"/>
                <a:gd name="T31" fmla="*/ 34 h 80"/>
                <a:gd name="T32" fmla="*/ 52 w 72"/>
                <a:gd name="T33" fmla="*/ 28 h 80"/>
                <a:gd name="T34" fmla="*/ 48 w 72"/>
                <a:gd name="T35" fmla="*/ 19 h 80"/>
                <a:gd name="T36" fmla="*/ 37 w 72"/>
                <a:gd name="T37" fmla="*/ 15 h 80"/>
                <a:gd name="T38" fmla="*/ 25 w 72"/>
                <a:gd name="T39" fmla="*/ 19 h 80"/>
                <a:gd name="T40" fmla="*/ 19 w 72"/>
                <a:gd name="T41" fmla="*/ 31 h 80"/>
                <a:gd name="T42" fmla="*/ 9 w 72"/>
                <a:gd name="T43" fmla="*/ 39 h 80"/>
                <a:gd name="T44" fmla="*/ 3 w 72"/>
                <a:gd name="T45" fmla="*/ 36 h 80"/>
                <a:gd name="T46" fmla="*/ 0 w 72"/>
                <a:gd name="T47" fmla="*/ 30 h 80"/>
                <a:gd name="T48" fmla="*/ 4 w 72"/>
                <a:gd name="T49" fmla="*/ 16 h 80"/>
                <a:gd name="T50" fmla="*/ 17 w 72"/>
                <a:gd name="T51" fmla="*/ 4 h 80"/>
                <a:gd name="T52" fmla="*/ 37 w 72"/>
                <a:gd name="T53" fmla="*/ 0 h 80"/>
                <a:gd name="T54" fmla="*/ 55 w 72"/>
                <a:gd name="T55" fmla="*/ 4 h 80"/>
                <a:gd name="T56" fmla="*/ 68 w 72"/>
                <a:gd name="T57" fmla="*/ 14 h 80"/>
                <a:gd name="T58" fmla="*/ 72 w 72"/>
                <a:gd name="T59" fmla="*/ 28 h 80"/>
                <a:gd name="T60" fmla="*/ 69 w 72"/>
                <a:gd name="T61" fmla="*/ 3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80">
                  <a:moveTo>
                    <a:pt x="69" y="39"/>
                  </a:moveTo>
                  <a:cubicBezTo>
                    <a:pt x="69" y="39"/>
                    <a:pt x="69" y="39"/>
                    <a:pt x="69" y="39"/>
                  </a:cubicBezTo>
                  <a:cubicBezTo>
                    <a:pt x="68" y="42"/>
                    <a:pt x="66" y="45"/>
                    <a:pt x="64" y="47"/>
                  </a:cubicBezTo>
                  <a:cubicBezTo>
                    <a:pt x="61" y="49"/>
                    <a:pt x="57" y="53"/>
                    <a:pt x="51" y="58"/>
                  </a:cubicBezTo>
                  <a:cubicBezTo>
                    <a:pt x="50" y="60"/>
                    <a:pt x="48" y="61"/>
                    <a:pt x="47" y="62"/>
                  </a:cubicBezTo>
                  <a:cubicBezTo>
                    <a:pt x="46" y="63"/>
                    <a:pt x="46" y="64"/>
                    <a:pt x="45" y="65"/>
                  </a:cubicBezTo>
                  <a:cubicBezTo>
                    <a:pt x="45" y="66"/>
                    <a:pt x="44" y="67"/>
                    <a:pt x="44" y="68"/>
                  </a:cubicBezTo>
                  <a:cubicBezTo>
                    <a:pt x="44" y="69"/>
                    <a:pt x="43" y="70"/>
                    <a:pt x="43" y="73"/>
                  </a:cubicBezTo>
                  <a:cubicBezTo>
                    <a:pt x="42" y="78"/>
                    <a:pt x="39" y="80"/>
                    <a:pt x="34" y="80"/>
                  </a:cubicBezTo>
                  <a:cubicBezTo>
                    <a:pt x="32" y="80"/>
                    <a:pt x="30" y="79"/>
                    <a:pt x="28" y="78"/>
                  </a:cubicBezTo>
                  <a:cubicBezTo>
                    <a:pt x="26" y="76"/>
                    <a:pt x="25" y="74"/>
                    <a:pt x="25" y="70"/>
                  </a:cubicBezTo>
                  <a:cubicBezTo>
                    <a:pt x="25" y="66"/>
                    <a:pt x="26" y="63"/>
                    <a:pt x="27" y="60"/>
                  </a:cubicBezTo>
                  <a:cubicBezTo>
                    <a:pt x="28" y="57"/>
                    <a:pt x="30" y="55"/>
                    <a:pt x="32" y="52"/>
                  </a:cubicBezTo>
                  <a:cubicBezTo>
                    <a:pt x="34" y="50"/>
                    <a:pt x="37" y="48"/>
                    <a:pt x="41" y="44"/>
                  </a:cubicBezTo>
                  <a:cubicBezTo>
                    <a:pt x="44" y="42"/>
                    <a:pt x="46" y="40"/>
                    <a:pt x="47" y="38"/>
                  </a:cubicBezTo>
                  <a:cubicBezTo>
                    <a:pt x="49" y="37"/>
                    <a:pt x="50" y="36"/>
                    <a:pt x="51" y="34"/>
                  </a:cubicBezTo>
                  <a:cubicBezTo>
                    <a:pt x="52" y="32"/>
                    <a:pt x="52" y="30"/>
                    <a:pt x="52" y="28"/>
                  </a:cubicBezTo>
                  <a:cubicBezTo>
                    <a:pt x="52" y="25"/>
                    <a:pt x="51" y="21"/>
                    <a:pt x="48" y="19"/>
                  </a:cubicBezTo>
                  <a:cubicBezTo>
                    <a:pt x="45" y="16"/>
                    <a:pt x="41" y="15"/>
                    <a:pt x="37" y="15"/>
                  </a:cubicBezTo>
                  <a:cubicBezTo>
                    <a:pt x="31" y="15"/>
                    <a:pt x="28" y="16"/>
                    <a:pt x="25" y="19"/>
                  </a:cubicBezTo>
                  <a:cubicBezTo>
                    <a:pt x="23" y="21"/>
                    <a:pt x="21" y="25"/>
                    <a:pt x="19" y="31"/>
                  </a:cubicBezTo>
                  <a:cubicBezTo>
                    <a:pt x="17" y="36"/>
                    <a:pt x="14" y="39"/>
                    <a:pt x="9" y="39"/>
                  </a:cubicBezTo>
                  <a:cubicBezTo>
                    <a:pt x="7" y="39"/>
                    <a:pt x="4" y="38"/>
                    <a:pt x="3" y="36"/>
                  </a:cubicBezTo>
                  <a:cubicBezTo>
                    <a:pt x="1" y="34"/>
                    <a:pt x="0" y="32"/>
                    <a:pt x="0" y="30"/>
                  </a:cubicBezTo>
                  <a:cubicBezTo>
                    <a:pt x="0" y="25"/>
                    <a:pt x="1" y="21"/>
                    <a:pt x="4" y="16"/>
                  </a:cubicBezTo>
                  <a:cubicBezTo>
                    <a:pt x="7" y="11"/>
                    <a:pt x="11" y="7"/>
                    <a:pt x="17" y="4"/>
                  </a:cubicBezTo>
                  <a:cubicBezTo>
                    <a:pt x="23" y="1"/>
                    <a:pt x="29" y="0"/>
                    <a:pt x="37" y="0"/>
                  </a:cubicBezTo>
                  <a:cubicBezTo>
                    <a:pt x="44" y="0"/>
                    <a:pt x="50" y="1"/>
                    <a:pt x="55" y="4"/>
                  </a:cubicBezTo>
                  <a:cubicBezTo>
                    <a:pt x="61" y="6"/>
                    <a:pt x="65" y="10"/>
                    <a:pt x="68" y="14"/>
                  </a:cubicBezTo>
                  <a:cubicBezTo>
                    <a:pt x="70" y="18"/>
                    <a:pt x="72" y="23"/>
                    <a:pt x="72" y="28"/>
                  </a:cubicBezTo>
                  <a:cubicBezTo>
                    <a:pt x="72" y="32"/>
                    <a:pt x="71" y="36"/>
                    <a:pt x="6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68006CE8-E860-4AA6-84CB-3CE6844BB983}"/>
              </a:ext>
            </a:extLst>
          </p:cNvPr>
          <p:cNvGrpSpPr/>
          <p:nvPr/>
        </p:nvGrpSpPr>
        <p:grpSpPr>
          <a:xfrm>
            <a:off x="5623329" y="514241"/>
            <a:ext cx="269876" cy="399114"/>
            <a:chOff x="10126663" y="1408113"/>
            <a:chExt cx="225425" cy="333376"/>
          </a:xfrm>
          <a:solidFill>
            <a:schemeClr val="bg1">
              <a:alpha val="60000"/>
            </a:schemeClr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B982122-E34E-438D-9EBA-96D61AE0C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276" y="1676401"/>
              <a:ext cx="69850" cy="65088"/>
            </a:xfrm>
            <a:custGeom>
              <a:avLst/>
              <a:gdLst>
                <a:gd name="T0" fmla="*/ 19 w 22"/>
                <a:gd name="T1" fmla="*/ 18 h 21"/>
                <a:gd name="T2" fmla="*/ 19 w 22"/>
                <a:gd name="T3" fmla="*/ 18 h 21"/>
                <a:gd name="T4" fmla="*/ 11 w 22"/>
                <a:gd name="T5" fmla="*/ 21 h 21"/>
                <a:gd name="T6" fmla="*/ 3 w 22"/>
                <a:gd name="T7" fmla="*/ 18 h 21"/>
                <a:gd name="T8" fmla="*/ 0 w 22"/>
                <a:gd name="T9" fmla="*/ 10 h 21"/>
                <a:gd name="T10" fmla="*/ 3 w 22"/>
                <a:gd name="T11" fmla="*/ 3 h 21"/>
                <a:gd name="T12" fmla="*/ 11 w 22"/>
                <a:gd name="T13" fmla="*/ 0 h 21"/>
                <a:gd name="T14" fmla="*/ 19 w 22"/>
                <a:gd name="T15" fmla="*/ 3 h 21"/>
                <a:gd name="T16" fmla="*/ 22 w 22"/>
                <a:gd name="T17" fmla="*/ 10 h 21"/>
                <a:gd name="T18" fmla="*/ 19 w 22"/>
                <a:gd name="T1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19" y="18"/>
                  </a:moveTo>
                  <a:cubicBezTo>
                    <a:pt x="19" y="18"/>
                    <a:pt x="19" y="18"/>
                    <a:pt x="19" y="18"/>
                  </a:cubicBezTo>
                  <a:cubicBezTo>
                    <a:pt x="16" y="20"/>
                    <a:pt x="14" y="21"/>
                    <a:pt x="11" y="21"/>
                  </a:cubicBezTo>
                  <a:cubicBezTo>
                    <a:pt x="8" y="21"/>
                    <a:pt x="6" y="20"/>
                    <a:pt x="3" y="18"/>
                  </a:cubicBezTo>
                  <a:cubicBezTo>
                    <a:pt x="1" y="16"/>
                    <a:pt x="0" y="14"/>
                    <a:pt x="0" y="10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4" y="0"/>
                    <a:pt x="17" y="1"/>
                    <a:pt x="19" y="3"/>
                  </a:cubicBezTo>
                  <a:cubicBezTo>
                    <a:pt x="21" y="5"/>
                    <a:pt x="22" y="7"/>
                    <a:pt x="22" y="10"/>
                  </a:cubicBezTo>
                  <a:cubicBezTo>
                    <a:pt x="22" y="14"/>
                    <a:pt x="21" y="16"/>
                    <a:pt x="1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948AB6E9-222A-4852-A38F-02AE1A45F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408113"/>
              <a:ext cx="225425" cy="246063"/>
            </a:xfrm>
            <a:custGeom>
              <a:avLst/>
              <a:gdLst>
                <a:gd name="T0" fmla="*/ 69 w 72"/>
                <a:gd name="T1" fmla="*/ 39 h 80"/>
                <a:gd name="T2" fmla="*/ 69 w 72"/>
                <a:gd name="T3" fmla="*/ 39 h 80"/>
                <a:gd name="T4" fmla="*/ 64 w 72"/>
                <a:gd name="T5" fmla="*/ 47 h 80"/>
                <a:gd name="T6" fmla="*/ 51 w 72"/>
                <a:gd name="T7" fmla="*/ 58 h 80"/>
                <a:gd name="T8" fmla="*/ 47 w 72"/>
                <a:gd name="T9" fmla="*/ 62 h 80"/>
                <a:gd name="T10" fmla="*/ 45 w 72"/>
                <a:gd name="T11" fmla="*/ 65 h 80"/>
                <a:gd name="T12" fmla="*/ 44 w 72"/>
                <a:gd name="T13" fmla="*/ 68 h 80"/>
                <a:gd name="T14" fmla="*/ 43 w 72"/>
                <a:gd name="T15" fmla="*/ 73 h 80"/>
                <a:gd name="T16" fmla="*/ 34 w 72"/>
                <a:gd name="T17" fmla="*/ 80 h 80"/>
                <a:gd name="T18" fmla="*/ 28 w 72"/>
                <a:gd name="T19" fmla="*/ 78 h 80"/>
                <a:gd name="T20" fmla="*/ 25 w 72"/>
                <a:gd name="T21" fmla="*/ 70 h 80"/>
                <a:gd name="T22" fmla="*/ 27 w 72"/>
                <a:gd name="T23" fmla="*/ 60 h 80"/>
                <a:gd name="T24" fmla="*/ 32 w 72"/>
                <a:gd name="T25" fmla="*/ 52 h 80"/>
                <a:gd name="T26" fmla="*/ 41 w 72"/>
                <a:gd name="T27" fmla="*/ 44 h 80"/>
                <a:gd name="T28" fmla="*/ 47 w 72"/>
                <a:gd name="T29" fmla="*/ 38 h 80"/>
                <a:gd name="T30" fmla="*/ 51 w 72"/>
                <a:gd name="T31" fmla="*/ 34 h 80"/>
                <a:gd name="T32" fmla="*/ 52 w 72"/>
                <a:gd name="T33" fmla="*/ 28 h 80"/>
                <a:gd name="T34" fmla="*/ 48 w 72"/>
                <a:gd name="T35" fmla="*/ 19 h 80"/>
                <a:gd name="T36" fmla="*/ 37 w 72"/>
                <a:gd name="T37" fmla="*/ 15 h 80"/>
                <a:gd name="T38" fmla="*/ 25 w 72"/>
                <a:gd name="T39" fmla="*/ 19 h 80"/>
                <a:gd name="T40" fmla="*/ 19 w 72"/>
                <a:gd name="T41" fmla="*/ 31 h 80"/>
                <a:gd name="T42" fmla="*/ 9 w 72"/>
                <a:gd name="T43" fmla="*/ 39 h 80"/>
                <a:gd name="T44" fmla="*/ 3 w 72"/>
                <a:gd name="T45" fmla="*/ 36 h 80"/>
                <a:gd name="T46" fmla="*/ 0 w 72"/>
                <a:gd name="T47" fmla="*/ 30 h 80"/>
                <a:gd name="T48" fmla="*/ 4 w 72"/>
                <a:gd name="T49" fmla="*/ 16 h 80"/>
                <a:gd name="T50" fmla="*/ 17 w 72"/>
                <a:gd name="T51" fmla="*/ 4 h 80"/>
                <a:gd name="T52" fmla="*/ 37 w 72"/>
                <a:gd name="T53" fmla="*/ 0 h 80"/>
                <a:gd name="T54" fmla="*/ 55 w 72"/>
                <a:gd name="T55" fmla="*/ 4 h 80"/>
                <a:gd name="T56" fmla="*/ 68 w 72"/>
                <a:gd name="T57" fmla="*/ 14 h 80"/>
                <a:gd name="T58" fmla="*/ 72 w 72"/>
                <a:gd name="T59" fmla="*/ 28 h 80"/>
                <a:gd name="T60" fmla="*/ 69 w 72"/>
                <a:gd name="T61" fmla="*/ 3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80">
                  <a:moveTo>
                    <a:pt x="69" y="39"/>
                  </a:moveTo>
                  <a:cubicBezTo>
                    <a:pt x="69" y="39"/>
                    <a:pt x="69" y="39"/>
                    <a:pt x="69" y="39"/>
                  </a:cubicBezTo>
                  <a:cubicBezTo>
                    <a:pt x="68" y="42"/>
                    <a:pt x="66" y="45"/>
                    <a:pt x="64" y="47"/>
                  </a:cubicBezTo>
                  <a:cubicBezTo>
                    <a:pt x="61" y="49"/>
                    <a:pt x="57" y="53"/>
                    <a:pt x="51" y="58"/>
                  </a:cubicBezTo>
                  <a:cubicBezTo>
                    <a:pt x="50" y="60"/>
                    <a:pt x="48" y="61"/>
                    <a:pt x="47" y="62"/>
                  </a:cubicBezTo>
                  <a:cubicBezTo>
                    <a:pt x="46" y="63"/>
                    <a:pt x="46" y="64"/>
                    <a:pt x="45" y="65"/>
                  </a:cubicBezTo>
                  <a:cubicBezTo>
                    <a:pt x="45" y="66"/>
                    <a:pt x="44" y="67"/>
                    <a:pt x="44" y="68"/>
                  </a:cubicBezTo>
                  <a:cubicBezTo>
                    <a:pt x="44" y="69"/>
                    <a:pt x="43" y="70"/>
                    <a:pt x="43" y="73"/>
                  </a:cubicBezTo>
                  <a:cubicBezTo>
                    <a:pt x="42" y="78"/>
                    <a:pt x="39" y="80"/>
                    <a:pt x="34" y="80"/>
                  </a:cubicBezTo>
                  <a:cubicBezTo>
                    <a:pt x="32" y="80"/>
                    <a:pt x="30" y="79"/>
                    <a:pt x="28" y="78"/>
                  </a:cubicBezTo>
                  <a:cubicBezTo>
                    <a:pt x="26" y="76"/>
                    <a:pt x="25" y="74"/>
                    <a:pt x="25" y="70"/>
                  </a:cubicBezTo>
                  <a:cubicBezTo>
                    <a:pt x="25" y="66"/>
                    <a:pt x="26" y="63"/>
                    <a:pt x="27" y="60"/>
                  </a:cubicBezTo>
                  <a:cubicBezTo>
                    <a:pt x="28" y="57"/>
                    <a:pt x="30" y="55"/>
                    <a:pt x="32" y="52"/>
                  </a:cubicBezTo>
                  <a:cubicBezTo>
                    <a:pt x="34" y="50"/>
                    <a:pt x="37" y="48"/>
                    <a:pt x="41" y="44"/>
                  </a:cubicBezTo>
                  <a:cubicBezTo>
                    <a:pt x="44" y="42"/>
                    <a:pt x="46" y="40"/>
                    <a:pt x="47" y="38"/>
                  </a:cubicBezTo>
                  <a:cubicBezTo>
                    <a:pt x="49" y="37"/>
                    <a:pt x="50" y="36"/>
                    <a:pt x="51" y="34"/>
                  </a:cubicBezTo>
                  <a:cubicBezTo>
                    <a:pt x="52" y="32"/>
                    <a:pt x="52" y="30"/>
                    <a:pt x="52" y="28"/>
                  </a:cubicBezTo>
                  <a:cubicBezTo>
                    <a:pt x="52" y="25"/>
                    <a:pt x="51" y="21"/>
                    <a:pt x="48" y="19"/>
                  </a:cubicBezTo>
                  <a:cubicBezTo>
                    <a:pt x="45" y="16"/>
                    <a:pt x="41" y="15"/>
                    <a:pt x="37" y="15"/>
                  </a:cubicBezTo>
                  <a:cubicBezTo>
                    <a:pt x="31" y="15"/>
                    <a:pt x="28" y="16"/>
                    <a:pt x="25" y="19"/>
                  </a:cubicBezTo>
                  <a:cubicBezTo>
                    <a:pt x="23" y="21"/>
                    <a:pt x="21" y="25"/>
                    <a:pt x="19" y="31"/>
                  </a:cubicBezTo>
                  <a:cubicBezTo>
                    <a:pt x="17" y="36"/>
                    <a:pt x="14" y="39"/>
                    <a:pt x="9" y="39"/>
                  </a:cubicBezTo>
                  <a:cubicBezTo>
                    <a:pt x="7" y="39"/>
                    <a:pt x="4" y="38"/>
                    <a:pt x="3" y="36"/>
                  </a:cubicBezTo>
                  <a:cubicBezTo>
                    <a:pt x="1" y="34"/>
                    <a:pt x="0" y="32"/>
                    <a:pt x="0" y="30"/>
                  </a:cubicBezTo>
                  <a:cubicBezTo>
                    <a:pt x="0" y="25"/>
                    <a:pt x="1" y="21"/>
                    <a:pt x="4" y="16"/>
                  </a:cubicBezTo>
                  <a:cubicBezTo>
                    <a:pt x="7" y="11"/>
                    <a:pt x="11" y="7"/>
                    <a:pt x="17" y="4"/>
                  </a:cubicBezTo>
                  <a:cubicBezTo>
                    <a:pt x="23" y="1"/>
                    <a:pt x="29" y="0"/>
                    <a:pt x="37" y="0"/>
                  </a:cubicBezTo>
                  <a:cubicBezTo>
                    <a:pt x="44" y="0"/>
                    <a:pt x="50" y="1"/>
                    <a:pt x="55" y="4"/>
                  </a:cubicBezTo>
                  <a:cubicBezTo>
                    <a:pt x="61" y="6"/>
                    <a:pt x="65" y="10"/>
                    <a:pt x="68" y="14"/>
                  </a:cubicBezTo>
                  <a:cubicBezTo>
                    <a:pt x="70" y="18"/>
                    <a:pt x="72" y="23"/>
                    <a:pt x="72" y="28"/>
                  </a:cubicBezTo>
                  <a:cubicBezTo>
                    <a:pt x="72" y="32"/>
                    <a:pt x="71" y="36"/>
                    <a:pt x="6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E903B2DB-D72C-4786-84F9-DBCEDE3581BE}"/>
              </a:ext>
            </a:extLst>
          </p:cNvPr>
          <p:cNvGrpSpPr/>
          <p:nvPr/>
        </p:nvGrpSpPr>
        <p:grpSpPr>
          <a:xfrm>
            <a:off x="8592938" y="391919"/>
            <a:ext cx="269876" cy="399114"/>
            <a:chOff x="10126663" y="1408113"/>
            <a:chExt cx="225425" cy="333376"/>
          </a:xfrm>
          <a:solidFill>
            <a:schemeClr val="bg1">
              <a:alpha val="60000"/>
            </a:schemeClr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7D7B97DF-38FB-4E01-BE97-BCCC6B2F9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276" y="1676401"/>
              <a:ext cx="69850" cy="65088"/>
            </a:xfrm>
            <a:custGeom>
              <a:avLst/>
              <a:gdLst>
                <a:gd name="T0" fmla="*/ 19 w 22"/>
                <a:gd name="T1" fmla="*/ 18 h 21"/>
                <a:gd name="T2" fmla="*/ 19 w 22"/>
                <a:gd name="T3" fmla="*/ 18 h 21"/>
                <a:gd name="T4" fmla="*/ 11 w 22"/>
                <a:gd name="T5" fmla="*/ 21 h 21"/>
                <a:gd name="T6" fmla="*/ 3 w 22"/>
                <a:gd name="T7" fmla="*/ 18 h 21"/>
                <a:gd name="T8" fmla="*/ 0 w 22"/>
                <a:gd name="T9" fmla="*/ 10 h 21"/>
                <a:gd name="T10" fmla="*/ 3 w 22"/>
                <a:gd name="T11" fmla="*/ 3 h 21"/>
                <a:gd name="T12" fmla="*/ 11 w 22"/>
                <a:gd name="T13" fmla="*/ 0 h 21"/>
                <a:gd name="T14" fmla="*/ 19 w 22"/>
                <a:gd name="T15" fmla="*/ 3 h 21"/>
                <a:gd name="T16" fmla="*/ 22 w 22"/>
                <a:gd name="T17" fmla="*/ 10 h 21"/>
                <a:gd name="T18" fmla="*/ 19 w 22"/>
                <a:gd name="T1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19" y="18"/>
                  </a:moveTo>
                  <a:cubicBezTo>
                    <a:pt x="19" y="18"/>
                    <a:pt x="19" y="18"/>
                    <a:pt x="19" y="18"/>
                  </a:cubicBezTo>
                  <a:cubicBezTo>
                    <a:pt x="16" y="20"/>
                    <a:pt x="14" y="21"/>
                    <a:pt x="11" y="21"/>
                  </a:cubicBezTo>
                  <a:cubicBezTo>
                    <a:pt x="8" y="21"/>
                    <a:pt x="6" y="20"/>
                    <a:pt x="3" y="18"/>
                  </a:cubicBezTo>
                  <a:cubicBezTo>
                    <a:pt x="1" y="16"/>
                    <a:pt x="0" y="14"/>
                    <a:pt x="0" y="10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4" y="0"/>
                    <a:pt x="17" y="1"/>
                    <a:pt x="19" y="3"/>
                  </a:cubicBezTo>
                  <a:cubicBezTo>
                    <a:pt x="21" y="5"/>
                    <a:pt x="22" y="7"/>
                    <a:pt x="22" y="10"/>
                  </a:cubicBezTo>
                  <a:cubicBezTo>
                    <a:pt x="22" y="14"/>
                    <a:pt x="21" y="16"/>
                    <a:pt x="1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C397048-BE8C-4965-BBDB-7E995E1E4F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408113"/>
              <a:ext cx="225425" cy="246063"/>
            </a:xfrm>
            <a:custGeom>
              <a:avLst/>
              <a:gdLst>
                <a:gd name="T0" fmla="*/ 69 w 72"/>
                <a:gd name="T1" fmla="*/ 39 h 80"/>
                <a:gd name="T2" fmla="*/ 69 w 72"/>
                <a:gd name="T3" fmla="*/ 39 h 80"/>
                <a:gd name="T4" fmla="*/ 64 w 72"/>
                <a:gd name="T5" fmla="*/ 47 h 80"/>
                <a:gd name="T6" fmla="*/ 51 w 72"/>
                <a:gd name="T7" fmla="*/ 58 h 80"/>
                <a:gd name="T8" fmla="*/ 47 w 72"/>
                <a:gd name="T9" fmla="*/ 62 h 80"/>
                <a:gd name="T10" fmla="*/ 45 w 72"/>
                <a:gd name="T11" fmla="*/ 65 h 80"/>
                <a:gd name="T12" fmla="*/ 44 w 72"/>
                <a:gd name="T13" fmla="*/ 68 h 80"/>
                <a:gd name="T14" fmla="*/ 43 w 72"/>
                <a:gd name="T15" fmla="*/ 73 h 80"/>
                <a:gd name="T16" fmla="*/ 34 w 72"/>
                <a:gd name="T17" fmla="*/ 80 h 80"/>
                <a:gd name="T18" fmla="*/ 28 w 72"/>
                <a:gd name="T19" fmla="*/ 78 h 80"/>
                <a:gd name="T20" fmla="*/ 25 w 72"/>
                <a:gd name="T21" fmla="*/ 70 h 80"/>
                <a:gd name="T22" fmla="*/ 27 w 72"/>
                <a:gd name="T23" fmla="*/ 60 h 80"/>
                <a:gd name="T24" fmla="*/ 32 w 72"/>
                <a:gd name="T25" fmla="*/ 52 h 80"/>
                <a:gd name="T26" fmla="*/ 41 w 72"/>
                <a:gd name="T27" fmla="*/ 44 h 80"/>
                <a:gd name="T28" fmla="*/ 47 w 72"/>
                <a:gd name="T29" fmla="*/ 38 h 80"/>
                <a:gd name="T30" fmla="*/ 51 w 72"/>
                <a:gd name="T31" fmla="*/ 34 h 80"/>
                <a:gd name="T32" fmla="*/ 52 w 72"/>
                <a:gd name="T33" fmla="*/ 28 h 80"/>
                <a:gd name="T34" fmla="*/ 48 w 72"/>
                <a:gd name="T35" fmla="*/ 19 h 80"/>
                <a:gd name="T36" fmla="*/ 37 w 72"/>
                <a:gd name="T37" fmla="*/ 15 h 80"/>
                <a:gd name="T38" fmla="*/ 25 w 72"/>
                <a:gd name="T39" fmla="*/ 19 h 80"/>
                <a:gd name="T40" fmla="*/ 19 w 72"/>
                <a:gd name="T41" fmla="*/ 31 h 80"/>
                <a:gd name="T42" fmla="*/ 9 w 72"/>
                <a:gd name="T43" fmla="*/ 39 h 80"/>
                <a:gd name="T44" fmla="*/ 3 w 72"/>
                <a:gd name="T45" fmla="*/ 36 h 80"/>
                <a:gd name="T46" fmla="*/ 0 w 72"/>
                <a:gd name="T47" fmla="*/ 30 h 80"/>
                <a:gd name="T48" fmla="*/ 4 w 72"/>
                <a:gd name="T49" fmla="*/ 16 h 80"/>
                <a:gd name="T50" fmla="*/ 17 w 72"/>
                <a:gd name="T51" fmla="*/ 4 h 80"/>
                <a:gd name="T52" fmla="*/ 37 w 72"/>
                <a:gd name="T53" fmla="*/ 0 h 80"/>
                <a:gd name="T54" fmla="*/ 55 w 72"/>
                <a:gd name="T55" fmla="*/ 4 h 80"/>
                <a:gd name="T56" fmla="*/ 68 w 72"/>
                <a:gd name="T57" fmla="*/ 14 h 80"/>
                <a:gd name="T58" fmla="*/ 72 w 72"/>
                <a:gd name="T59" fmla="*/ 28 h 80"/>
                <a:gd name="T60" fmla="*/ 69 w 72"/>
                <a:gd name="T61" fmla="*/ 3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80">
                  <a:moveTo>
                    <a:pt x="69" y="39"/>
                  </a:moveTo>
                  <a:cubicBezTo>
                    <a:pt x="69" y="39"/>
                    <a:pt x="69" y="39"/>
                    <a:pt x="69" y="39"/>
                  </a:cubicBezTo>
                  <a:cubicBezTo>
                    <a:pt x="68" y="42"/>
                    <a:pt x="66" y="45"/>
                    <a:pt x="64" y="47"/>
                  </a:cubicBezTo>
                  <a:cubicBezTo>
                    <a:pt x="61" y="49"/>
                    <a:pt x="57" y="53"/>
                    <a:pt x="51" y="58"/>
                  </a:cubicBezTo>
                  <a:cubicBezTo>
                    <a:pt x="50" y="60"/>
                    <a:pt x="48" y="61"/>
                    <a:pt x="47" y="62"/>
                  </a:cubicBezTo>
                  <a:cubicBezTo>
                    <a:pt x="46" y="63"/>
                    <a:pt x="46" y="64"/>
                    <a:pt x="45" y="65"/>
                  </a:cubicBezTo>
                  <a:cubicBezTo>
                    <a:pt x="45" y="66"/>
                    <a:pt x="44" y="67"/>
                    <a:pt x="44" y="68"/>
                  </a:cubicBezTo>
                  <a:cubicBezTo>
                    <a:pt x="44" y="69"/>
                    <a:pt x="43" y="70"/>
                    <a:pt x="43" y="73"/>
                  </a:cubicBezTo>
                  <a:cubicBezTo>
                    <a:pt x="42" y="78"/>
                    <a:pt x="39" y="80"/>
                    <a:pt x="34" y="80"/>
                  </a:cubicBezTo>
                  <a:cubicBezTo>
                    <a:pt x="32" y="80"/>
                    <a:pt x="30" y="79"/>
                    <a:pt x="28" y="78"/>
                  </a:cubicBezTo>
                  <a:cubicBezTo>
                    <a:pt x="26" y="76"/>
                    <a:pt x="25" y="74"/>
                    <a:pt x="25" y="70"/>
                  </a:cubicBezTo>
                  <a:cubicBezTo>
                    <a:pt x="25" y="66"/>
                    <a:pt x="26" y="63"/>
                    <a:pt x="27" y="60"/>
                  </a:cubicBezTo>
                  <a:cubicBezTo>
                    <a:pt x="28" y="57"/>
                    <a:pt x="30" y="55"/>
                    <a:pt x="32" y="52"/>
                  </a:cubicBezTo>
                  <a:cubicBezTo>
                    <a:pt x="34" y="50"/>
                    <a:pt x="37" y="48"/>
                    <a:pt x="41" y="44"/>
                  </a:cubicBezTo>
                  <a:cubicBezTo>
                    <a:pt x="44" y="42"/>
                    <a:pt x="46" y="40"/>
                    <a:pt x="47" y="38"/>
                  </a:cubicBezTo>
                  <a:cubicBezTo>
                    <a:pt x="49" y="37"/>
                    <a:pt x="50" y="36"/>
                    <a:pt x="51" y="34"/>
                  </a:cubicBezTo>
                  <a:cubicBezTo>
                    <a:pt x="52" y="32"/>
                    <a:pt x="52" y="30"/>
                    <a:pt x="52" y="28"/>
                  </a:cubicBezTo>
                  <a:cubicBezTo>
                    <a:pt x="52" y="25"/>
                    <a:pt x="51" y="21"/>
                    <a:pt x="48" y="19"/>
                  </a:cubicBezTo>
                  <a:cubicBezTo>
                    <a:pt x="45" y="16"/>
                    <a:pt x="41" y="15"/>
                    <a:pt x="37" y="15"/>
                  </a:cubicBezTo>
                  <a:cubicBezTo>
                    <a:pt x="31" y="15"/>
                    <a:pt x="28" y="16"/>
                    <a:pt x="25" y="19"/>
                  </a:cubicBezTo>
                  <a:cubicBezTo>
                    <a:pt x="23" y="21"/>
                    <a:pt x="21" y="25"/>
                    <a:pt x="19" y="31"/>
                  </a:cubicBezTo>
                  <a:cubicBezTo>
                    <a:pt x="17" y="36"/>
                    <a:pt x="14" y="39"/>
                    <a:pt x="9" y="39"/>
                  </a:cubicBezTo>
                  <a:cubicBezTo>
                    <a:pt x="7" y="39"/>
                    <a:pt x="4" y="38"/>
                    <a:pt x="3" y="36"/>
                  </a:cubicBezTo>
                  <a:cubicBezTo>
                    <a:pt x="1" y="34"/>
                    <a:pt x="0" y="32"/>
                    <a:pt x="0" y="30"/>
                  </a:cubicBezTo>
                  <a:cubicBezTo>
                    <a:pt x="0" y="25"/>
                    <a:pt x="1" y="21"/>
                    <a:pt x="4" y="16"/>
                  </a:cubicBezTo>
                  <a:cubicBezTo>
                    <a:pt x="7" y="11"/>
                    <a:pt x="11" y="7"/>
                    <a:pt x="17" y="4"/>
                  </a:cubicBezTo>
                  <a:cubicBezTo>
                    <a:pt x="23" y="1"/>
                    <a:pt x="29" y="0"/>
                    <a:pt x="37" y="0"/>
                  </a:cubicBezTo>
                  <a:cubicBezTo>
                    <a:pt x="44" y="0"/>
                    <a:pt x="50" y="1"/>
                    <a:pt x="55" y="4"/>
                  </a:cubicBezTo>
                  <a:cubicBezTo>
                    <a:pt x="61" y="6"/>
                    <a:pt x="65" y="10"/>
                    <a:pt x="68" y="14"/>
                  </a:cubicBezTo>
                  <a:cubicBezTo>
                    <a:pt x="70" y="18"/>
                    <a:pt x="72" y="23"/>
                    <a:pt x="72" y="28"/>
                  </a:cubicBezTo>
                  <a:cubicBezTo>
                    <a:pt x="72" y="32"/>
                    <a:pt x="71" y="36"/>
                    <a:pt x="6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401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D47F287-5D85-4694-BA2D-ED70D15F4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fr-FR" b="1" i="0" u="none" baseline="0"/>
              <a:t>Qu’est-ce que le European Fulfillment Network ?</a:t>
            </a:r>
            <a:endParaRPr lang="fr-FR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D3F938-DD09-4A2C-8C19-09760F0CC6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  <a:endParaRPr lang="fr-FR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BBB826-20D6-4809-8C59-CA9F260038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6</a:t>
            </a:fld>
            <a:endParaRPr lang="fr-FR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E94E588-F9D7-47A8-B250-A72D2B9B95B0}"/>
              </a:ext>
            </a:extLst>
          </p:cNvPr>
          <p:cNvGrpSpPr/>
          <p:nvPr/>
        </p:nvGrpSpPr>
        <p:grpSpPr>
          <a:xfrm>
            <a:off x="4213726" y="3088863"/>
            <a:ext cx="1004240" cy="1010596"/>
            <a:chOff x="5932489" y="1894530"/>
            <a:chExt cx="1004240" cy="1010596"/>
          </a:xfrm>
        </p:grpSpPr>
        <p:sp>
          <p:nvSpPr>
            <p:cNvPr id="23" name="Oval 6">
              <a:extLst>
                <a:ext uri="{FF2B5EF4-FFF2-40B4-BE49-F238E27FC236}">
                  <a16:creationId xmlns:a16="http://schemas.microsoft.com/office/drawing/2014/main" id="{4D86E650-5E8F-4FA1-A13F-841D6ED3F5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2489" y="1894530"/>
              <a:ext cx="1004240" cy="1010596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550ACC7C-2115-4E05-B719-4D20F9701D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83122" y="2213009"/>
              <a:ext cx="502973" cy="373638"/>
            </a:xfrm>
            <a:custGeom>
              <a:avLst/>
              <a:gdLst>
                <a:gd name="T0" fmla="*/ 76 w 630"/>
                <a:gd name="T1" fmla="*/ 249 h 468"/>
                <a:gd name="T2" fmla="*/ 171 w 630"/>
                <a:gd name="T3" fmla="*/ 249 h 468"/>
                <a:gd name="T4" fmla="*/ 171 w 630"/>
                <a:gd name="T5" fmla="*/ 290 h 468"/>
                <a:gd name="T6" fmla="*/ 76 w 630"/>
                <a:gd name="T7" fmla="*/ 290 h 468"/>
                <a:gd name="T8" fmla="*/ 76 w 630"/>
                <a:gd name="T9" fmla="*/ 249 h 468"/>
                <a:gd name="T10" fmla="*/ 200 w 630"/>
                <a:gd name="T11" fmla="*/ 249 h 468"/>
                <a:gd name="T12" fmla="*/ 293 w 630"/>
                <a:gd name="T13" fmla="*/ 249 h 468"/>
                <a:gd name="T14" fmla="*/ 293 w 630"/>
                <a:gd name="T15" fmla="*/ 290 h 468"/>
                <a:gd name="T16" fmla="*/ 200 w 630"/>
                <a:gd name="T17" fmla="*/ 290 h 468"/>
                <a:gd name="T18" fmla="*/ 200 w 630"/>
                <a:gd name="T19" fmla="*/ 249 h 468"/>
                <a:gd name="T20" fmla="*/ 322 w 630"/>
                <a:gd name="T21" fmla="*/ 249 h 468"/>
                <a:gd name="T22" fmla="*/ 417 w 630"/>
                <a:gd name="T23" fmla="*/ 249 h 468"/>
                <a:gd name="T24" fmla="*/ 417 w 630"/>
                <a:gd name="T25" fmla="*/ 290 h 468"/>
                <a:gd name="T26" fmla="*/ 322 w 630"/>
                <a:gd name="T27" fmla="*/ 290 h 468"/>
                <a:gd name="T28" fmla="*/ 322 w 630"/>
                <a:gd name="T29" fmla="*/ 249 h 468"/>
                <a:gd name="T30" fmla="*/ 446 w 630"/>
                <a:gd name="T31" fmla="*/ 249 h 468"/>
                <a:gd name="T32" fmla="*/ 539 w 630"/>
                <a:gd name="T33" fmla="*/ 249 h 468"/>
                <a:gd name="T34" fmla="*/ 539 w 630"/>
                <a:gd name="T35" fmla="*/ 290 h 468"/>
                <a:gd name="T36" fmla="*/ 446 w 630"/>
                <a:gd name="T37" fmla="*/ 290 h 468"/>
                <a:gd name="T38" fmla="*/ 446 w 630"/>
                <a:gd name="T39" fmla="*/ 249 h 468"/>
                <a:gd name="T40" fmla="*/ 315 w 630"/>
                <a:gd name="T41" fmla="*/ 0 h 468"/>
                <a:gd name="T42" fmla="*/ 0 w 630"/>
                <a:gd name="T43" fmla="*/ 124 h 468"/>
                <a:gd name="T44" fmla="*/ 0 w 630"/>
                <a:gd name="T45" fmla="*/ 177 h 468"/>
                <a:gd name="T46" fmla="*/ 45 w 630"/>
                <a:gd name="T47" fmla="*/ 180 h 468"/>
                <a:gd name="T48" fmla="*/ 45 w 630"/>
                <a:gd name="T49" fmla="*/ 465 h 468"/>
                <a:gd name="T50" fmla="*/ 312 w 630"/>
                <a:gd name="T51" fmla="*/ 465 h 468"/>
                <a:gd name="T52" fmla="*/ 312 w 630"/>
                <a:gd name="T53" fmla="*/ 367 h 468"/>
                <a:gd name="T54" fmla="*/ 536 w 630"/>
                <a:gd name="T55" fmla="*/ 367 h 468"/>
                <a:gd name="T56" fmla="*/ 536 w 630"/>
                <a:gd name="T57" fmla="*/ 468 h 468"/>
                <a:gd name="T58" fmla="*/ 584 w 630"/>
                <a:gd name="T59" fmla="*/ 468 h 468"/>
                <a:gd name="T60" fmla="*/ 584 w 630"/>
                <a:gd name="T61" fmla="*/ 177 h 468"/>
                <a:gd name="T62" fmla="*/ 630 w 630"/>
                <a:gd name="T63" fmla="*/ 177 h 468"/>
                <a:gd name="T64" fmla="*/ 630 w 630"/>
                <a:gd name="T65" fmla="*/ 127 h 468"/>
                <a:gd name="T66" fmla="*/ 315 w 630"/>
                <a:gd name="T67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0" h="468">
                  <a:moveTo>
                    <a:pt x="76" y="249"/>
                  </a:moveTo>
                  <a:lnTo>
                    <a:pt x="171" y="249"/>
                  </a:lnTo>
                  <a:lnTo>
                    <a:pt x="171" y="290"/>
                  </a:lnTo>
                  <a:lnTo>
                    <a:pt x="76" y="290"/>
                  </a:lnTo>
                  <a:lnTo>
                    <a:pt x="76" y="249"/>
                  </a:lnTo>
                  <a:close/>
                  <a:moveTo>
                    <a:pt x="200" y="249"/>
                  </a:moveTo>
                  <a:lnTo>
                    <a:pt x="293" y="249"/>
                  </a:lnTo>
                  <a:lnTo>
                    <a:pt x="293" y="290"/>
                  </a:lnTo>
                  <a:lnTo>
                    <a:pt x="200" y="290"/>
                  </a:lnTo>
                  <a:lnTo>
                    <a:pt x="200" y="249"/>
                  </a:lnTo>
                  <a:close/>
                  <a:moveTo>
                    <a:pt x="322" y="249"/>
                  </a:moveTo>
                  <a:lnTo>
                    <a:pt x="417" y="249"/>
                  </a:lnTo>
                  <a:lnTo>
                    <a:pt x="417" y="290"/>
                  </a:lnTo>
                  <a:lnTo>
                    <a:pt x="322" y="290"/>
                  </a:lnTo>
                  <a:lnTo>
                    <a:pt x="322" y="249"/>
                  </a:lnTo>
                  <a:close/>
                  <a:moveTo>
                    <a:pt x="446" y="249"/>
                  </a:moveTo>
                  <a:lnTo>
                    <a:pt x="539" y="249"/>
                  </a:lnTo>
                  <a:lnTo>
                    <a:pt x="539" y="290"/>
                  </a:lnTo>
                  <a:lnTo>
                    <a:pt x="446" y="290"/>
                  </a:lnTo>
                  <a:lnTo>
                    <a:pt x="446" y="249"/>
                  </a:lnTo>
                  <a:close/>
                  <a:moveTo>
                    <a:pt x="315" y="0"/>
                  </a:moveTo>
                  <a:lnTo>
                    <a:pt x="0" y="124"/>
                  </a:lnTo>
                  <a:lnTo>
                    <a:pt x="0" y="177"/>
                  </a:lnTo>
                  <a:lnTo>
                    <a:pt x="45" y="180"/>
                  </a:lnTo>
                  <a:lnTo>
                    <a:pt x="45" y="465"/>
                  </a:lnTo>
                  <a:lnTo>
                    <a:pt x="312" y="465"/>
                  </a:lnTo>
                  <a:lnTo>
                    <a:pt x="312" y="367"/>
                  </a:lnTo>
                  <a:lnTo>
                    <a:pt x="536" y="367"/>
                  </a:lnTo>
                  <a:lnTo>
                    <a:pt x="536" y="468"/>
                  </a:lnTo>
                  <a:lnTo>
                    <a:pt x="584" y="468"/>
                  </a:lnTo>
                  <a:lnTo>
                    <a:pt x="584" y="177"/>
                  </a:lnTo>
                  <a:lnTo>
                    <a:pt x="630" y="177"/>
                  </a:lnTo>
                  <a:lnTo>
                    <a:pt x="630" y="127"/>
                  </a:lnTo>
                  <a:lnTo>
                    <a:pt x="31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2257ADC-D22C-4F23-828D-9E9F9C8F51E7}"/>
              </a:ext>
            </a:extLst>
          </p:cNvPr>
          <p:cNvGrpSpPr/>
          <p:nvPr/>
        </p:nvGrpSpPr>
        <p:grpSpPr>
          <a:xfrm>
            <a:off x="6030125" y="1492570"/>
            <a:ext cx="1004240" cy="1010596"/>
            <a:chOff x="8345255" y="1894530"/>
            <a:chExt cx="1004240" cy="1010596"/>
          </a:xfrm>
        </p:grpSpPr>
        <p:sp>
          <p:nvSpPr>
            <p:cNvPr id="26" name="Oval 7">
              <a:extLst>
                <a:ext uri="{FF2B5EF4-FFF2-40B4-BE49-F238E27FC236}">
                  <a16:creationId xmlns:a16="http://schemas.microsoft.com/office/drawing/2014/main" id="{A4951EBE-89DD-4093-8877-E38530E76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45255" y="1894530"/>
              <a:ext cx="1004240" cy="1010596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E31FBAF4-CCAC-4117-B205-421A77F7C8F1}"/>
                </a:ext>
              </a:extLst>
            </p:cNvPr>
            <p:cNvGrpSpPr/>
            <p:nvPr/>
          </p:nvGrpSpPr>
          <p:grpSpPr>
            <a:xfrm>
              <a:off x="8442954" y="2246258"/>
              <a:ext cx="767113" cy="307139"/>
              <a:chOff x="1455282" y="1844935"/>
              <a:chExt cx="1203137" cy="481714"/>
            </a:xfrm>
            <a:solidFill>
              <a:schemeClr val="accent4"/>
            </a:solidFill>
          </p:grpSpPr>
          <p:grpSp>
            <p:nvGrpSpPr>
              <p:cNvPr id="49" name="Group 337954">
                <a:extLst>
                  <a:ext uri="{FF2B5EF4-FFF2-40B4-BE49-F238E27FC236}">
                    <a16:creationId xmlns:a16="http://schemas.microsoft.com/office/drawing/2014/main" id="{D00A7607-A3AE-433A-96A1-4268018E2828}"/>
                  </a:ext>
                </a:extLst>
              </p:cNvPr>
              <p:cNvGrpSpPr/>
              <p:nvPr/>
            </p:nvGrpSpPr>
            <p:grpSpPr>
              <a:xfrm>
                <a:off x="1777943" y="1844935"/>
                <a:ext cx="880476" cy="481714"/>
                <a:chOff x="-1220788" y="1668463"/>
                <a:chExt cx="960438" cy="525462"/>
              </a:xfrm>
              <a:grpFill/>
            </p:grpSpPr>
            <p:sp>
              <p:nvSpPr>
                <p:cNvPr id="51" name="Freeform 55">
                  <a:extLst>
                    <a:ext uri="{FF2B5EF4-FFF2-40B4-BE49-F238E27FC236}">
                      <a16:creationId xmlns:a16="http://schemas.microsoft.com/office/drawing/2014/main" id="{6BB3D700-9A50-4FEA-BE13-1FC882CBFEA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160463" y="2001838"/>
                  <a:ext cx="184150" cy="192087"/>
                </a:xfrm>
                <a:custGeom>
                  <a:avLst/>
                  <a:gdLst>
                    <a:gd name="T0" fmla="*/ 49 w 49"/>
                    <a:gd name="T1" fmla="*/ 25 h 51"/>
                    <a:gd name="T2" fmla="*/ 25 w 49"/>
                    <a:gd name="T3" fmla="*/ 0 h 51"/>
                    <a:gd name="T4" fmla="*/ 0 w 49"/>
                    <a:gd name="T5" fmla="*/ 25 h 51"/>
                    <a:gd name="T6" fmla="*/ 25 w 49"/>
                    <a:gd name="T7" fmla="*/ 51 h 51"/>
                    <a:gd name="T8" fmla="*/ 49 w 49"/>
                    <a:gd name="T9" fmla="*/ 25 h 51"/>
                    <a:gd name="T10" fmla="*/ 36 w 49"/>
                    <a:gd name="T11" fmla="*/ 25 h 51"/>
                    <a:gd name="T12" fmla="*/ 25 w 49"/>
                    <a:gd name="T13" fmla="*/ 37 h 51"/>
                    <a:gd name="T14" fmla="*/ 15 w 49"/>
                    <a:gd name="T15" fmla="*/ 25 h 51"/>
                    <a:gd name="T16" fmla="*/ 25 w 49"/>
                    <a:gd name="T17" fmla="*/ 14 h 51"/>
                    <a:gd name="T18" fmla="*/ 36 w 49"/>
                    <a:gd name="T19" fmla="*/ 25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9" h="51">
                      <a:moveTo>
                        <a:pt x="49" y="25"/>
                      </a:moveTo>
                      <a:cubicBezTo>
                        <a:pt x="49" y="12"/>
                        <a:pt x="38" y="0"/>
                        <a:pt x="25" y="0"/>
                      </a:cubicBezTo>
                      <a:cubicBezTo>
                        <a:pt x="12" y="0"/>
                        <a:pt x="0" y="12"/>
                        <a:pt x="0" y="25"/>
                      </a:cubicBezTo>
                      <a:cubicBezTo>
                        <a:pt x="0" y="39"/>
                        <a:pt x="12" y="51"/>
                        <a:pt x="25" y="51"/>
                      </a:cubicBezTo>
                      <a:cubicBezTo>
                        <a:pt x="38" y="51"/>
                        <a:pt x="49" y="39"/>
                        <a:pt x="49" y="25"/>
                      </a:cubicBezTo>
                      <a:close/>
                      <a:moveTo>
                        <a:pt x="36" y="25"/>
                      </a:moveTo>
                      <a:cubicBezTo>
                        <a:pt x="36" y="32"/>
                        <a:pt x="31" y="37"/>
                        <a:pt x="25" y="37"/>
                      </a:cubicBezTo>
                      <a:cubicBezTo>
                        <a:pt x="19" y="37"/>
                        <a:pt x="15" y="32"/>
                        <a:pt x="15" y="25"/>
                      </a:cubicBezTo>
                      <a:cubicBezTo>
                        <a:pt x="15" y="19"/>
                        <a:pt x="19" y="14"/>
                        <a:pt x="25" y="14"/>
                      </a:cubicBezTo>
                      <a:cubicBezTo>
                        <a:pt x="31" y="14"/>
                        <a:pt x="36" y="19"/>
                        <a:pt x="36" y="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" name="Freeform 56">
                  <a:extLst>
                    <a:ext uri="{FF2B5EF4-FFF2-40B4-BE49-F238E27FC236}">
                      <a16:creationId xmlns:a16="http://schemas.microsoft.com/office/drawing/2014/main" id="{A756AECF-F0F3-48AB-9299-9140EF7D64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519113" y="2001838"/>
                  <a:ext cx="180975" cy="192087"/>
                </a:xfrm>
                <a:custGeom>
                  <a:avLst/>
                  <a:gdLst>
                    <a:gd name="T0" fmla="*/ 48 w 48"/>
                    <a:gd name="T1" fmla="*/ 25 h 51"/>
                    <a:gd name="T2" fmla="*/ 23 w 48"/>
                    <a:gd name="T3" fmla="*/ 0 h 51"/>
                    <a:gd name="T4" fmla="*/ 0 w 48"/>
                    <a:gd name="T5" fmla="*/ 25 h 51"/>
                    <a:gd name="T6" fmla="*/ 23 w 48"/>
                    <a:gd name="T7" fmla="*/ 51 h 51"/>
                    <a:gd name="T8" fmla="*/ 48 w 48"/>
                    <a:gd name="T9" fmla="*/ 25 h 51"/>
                    <a:gd name="T10" fmla="*/ 35 w 48"/>
                    <a:gd name="T11" fmla="*/ 25 h 51"/>
                    <a:gd name="T12" fmla="*/ 23 w 48"/>
                    <a:gd name="T13" fmla="*/ 37 h 51"/>
                    <a:gd name="T14" fmla="*/ 13 w 48"/>
                    <a:gd name="T15" fmla="*/ 25 h 51"/>
                    <a:gd name="T16" fmla="*/ 23 w 48"/>
                    <a:gd name="T17" fmla="*/ 14 h 51"/>
                    <a:gd name="T18" fmla="*/ 35 w 48"/>
                    <a:gd name="T19" fmla="*/ 25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8" h="51">
                      <a:moveTo>
                        <a:pt x="48" y="25"/>
                      </a:moveTo>
                      <a:cubicBezTo>
                        <a:pt x="48" y="12"/>
                        <a:pt x="37" y="0"/>
                        <a:pt x="23" y="0"/>
                      </a:cubicBezTo>
                      <a:cubicBezTo>
                        <a:pt x="10" y="0"/>
                        <a:pt x="0" y="12"/>
                        <a:pt x="0" y="25"/>
                      </a:cubicBezTo>
                      <a:cubicBezTo>
                        <a:pt x="0" y="39"/>
                        <a:pt x="10" y="51"/>
                        <a:pt x="23" y="51"/>
                      </a:cubicBezTo>
                      <a:cubicBezTo>
                        <a:pt x="37" y="51"/>
                        <a:pt x="48" y="39"/>
                        <a:pt x="48" y="25"/>
                      </a:cubicBezTo>
                      <a:close/>
                      <a:moveTo>
                        <a:pt x="35" y="25"/>
                      </a:moveTo>
                      <a:cubicBezTo>
                        <a:pt x="35" y="32"/>
                        <a:pt x="29" y="37"/>
                        <a:pt x="23" y="37"/>
                      </a:cubicBezTo>
                      <a:cubicBezTo>
                        <a:pt x="17" y="37"/>
                        <a:pt x="13" y="32"/>
                        <a:pt x="13" y="25"/>
                      </a:cubicBezTo>
                      <a:cubicBezTo>
                        <a:pt x="13" y="19"/>
                        <a:pt x="17" y="14"/>
                        <a:pt x="23" y="14"/>
                      </a:cubicBezTo>
                      <a:cubicBezTo>
                        <a:pt x="29" y="14"/>
                        <a:pt x="35" y="19"/>
                        <a:pt x="35" y="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3" name="Freeform 57">
                  <a:extLst>
                    <a:ext uri="{FF2B5EF4-FFF2-40B4-BE49-F238E27FC236}">
                      <a16:creationId xmlns:a16="http://schemas.microsoft.com/office/drawing/2014/main" id="{B3E26CFE-E76B-4B80-9B24-778FB3DE1A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20788" y="2012950"/>
                  <a:ext cx="79375" cy="82550"/>
                </a:xfrm>
                <a:custGeom>
                  <a:avLst/>
                  <a:gdLst>
                    <a:gd name="T0" fmla="*/ 0 w 21"/>
                    <a:gd name="T1" fmla="*/ 0 h 22"/>
                    <a:gd name="T2" fmla="*/ 0 w 21"/>
                    <a:gd name="T3" fmla="*/ 20 h 22"/>
                    <a:gd name="T4" fmla="*/ 4 w 21"/>
                    <a:gd name="T5" fmla="*/ 22 h 22"/>
                    <a:gd name="T6" fmla="*/ 11 w 21"/>
                    <a:gd name="T7" fmla="*/ 22 h 22"/>
                    <a:gd name="T8" fmla="*/ 11 w 21"/>
                    <a:gd name="T9" fmla="*/ 22 h 22"/>
                    <a:gd name="T10" fmla="*/ 21 w 21"/>
                    <a:gd name="T11" fmla="*/ 0 h 22"/>
                    <a:gd name="T12" fmla="*/ 0 w 21"/>
                    <a:gd name="T1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" h="22">
                      <a:moveTo>
                        <a:pt x="0" y="0"/>
                      </a:move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21"/>
                        <a:pt x="1" y="22"/>
                        <a:pt x="4" y="22"/>
                      </a:cubicBezTo>
                      <a:cubicBezTo>
                        <a:pt x="11" y="22"/>
                        <a:pt x="11" y="22"/>
                        <a:pt x="11" y="22"/>
                      </a:cubicBezTo>
                      <a:cubicBezTo>
                        <a:pt x="11" y="22"/>
                        <a:pt x="11" y="22"/>
                        <a:pt x="11" y="22"/>
                      </a:cubicBezTo>
                      <a:cubicBezTo>
                        <a:pt x="11" y="13"/>
                        <a:pt x="15" y="5"/>
                        <a:pt x="2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" name="Freeform 58">
                  <a:extLst>
                    <a:ext uri="{FF2B5EF4-FFF2-40B4-BE49-F238E27FC236}">
                      <a16:creationId xmlns:a16="http://schemas.microsoft.com/office/drawing/2014/main" id="{1AEBF6EA-420D-4330-91F3-B93008CE38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20788" y="1668463"/>
                  <a:ext cx="646113" cy="330200"/>
                </a:xfrm>
                <a:custGeom>
                  <a:avLst/>
                  <a:gdLst>
                    <a:gd name="T0" fmla="*/ 169 w 172"/>
                    <a:gd name="T1" fmla="*/ 0 h 88"/>
                    <a:gd name="T2" fmla="*/ 4 w 172"/>
                    <a:gd name="T3" fmla="*/ 0 h 88"/>
                    <a:gd name="T4" fmla="*/ 0 w 172"/>
                    <a:gd name="T5" fmla="*/ 3 h 88"/>
                    <a:gd name="T6" fmla="*/ 0 w 172"/>
                    <a:gd name="T7" fmla="*/ 88 h 88"/>
                    <a:gd name="T8" fmla="*/ 26 w 172"/>
                    <a:gd name="T9" fmla="*/ 88 h 88"/>
                    <a:gd name="T10" fmla="*/ 41 w 172"/>
                    <a:gd name="T11" fmla="*/ 83 h 88"/>
                    <a:gd name="T12" fmla="*/ 56 w 172"/>
                    <a:gd name="T13" fmla="*/ 88 h 88"/>
                    <a:gd name="T14" fmla="*/ 172 w 172"/>
                    <a:gd name="T15" fmla="*/ 88 h 88"/>
                    <a:gd name="T16" fmla="*/ 172 w 172"/>
                    <a:gd name="T17" fmla="*/ 3 h 88"/>
                    <a:gd name="T18" fmla="*/ 169 w 172"/>
                    <a:gd name="T19" fmla="*/ 0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72" h="88">
                      <a:moveTo>
                        <a:pt x="169" y="0"/>
                      </a:moveTo>
                      <a:cubicBezTo>
                        <a:pt x="0" y="0"/>
                        <a:pt x="4" y="0"/>
                        <a:pt x="4" y="0"/>
                      </a:cubicBezTo>
                      <a:cubicBezTo>
                        <a:pt x="1" y="0"/>
                        <a:pt x="0" y="1"/>
                        <a:pt x="0" y="3"/>
                      </a:cubicBezTo>
                      <a:cubicBezTo>
                        <a:pt x="0" y="88"/>
                        <a:pt x="0" y="88"/>
                        <a:pt x="0" y="88"/>
                      </a:cubicBezTo>
                      <a:cubicBezTo>
                        <a:pt x="26" y="88"/>
                        <a:pt x="26" y="88"/>
                        <a:pt x="26" y="88"/>
                      </a:cubicBezTo>
                      <a:cubicBezTo>
                        <a:pt x="31" y="85"/>
                        <a:pt x="36" y="83"/>
                        <a:pt x="41" y="83"/>
                      </a:cubicBezTo>
                      <a:cubicBezTo>
                        <a:pt x="47" y="83"/>
                        <a:pt x="52" y="85"/>
                        <a:pt x="56" y="88"/>
                      </a:cubicBezTo>
                      <a:cubicBezTo>
                        <a:pt x="172" y="88"/>
                        <a:pt x="172" y="88"/>
                        <a:pt x="172" y="88"/>
                      </a:cubicBezTo>
                      <a:cubicBezTo>
                        <a:pt x="172" y="3"/>
                        <a:pt x="172" y="3"/>
                        <a:pt x="172" y="3"/>
                      </a:cubicBezTo>
                      <a:cubicBezTo>
                        <a:pt x="172" y="1"/>
                        <a:pt x="171" y="0"/>
                        <a:pt x="16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" name="Freeform 59">
                  <a:extLst>
                    <a:ext uri="{FF2B5EF4-FFF2-40B4-BE49-F238E27FC236}">
                      <a16:creationId xmlns:a16="http://schemas.microsoft.com/office/drawing/2014/main" id="{19DCE336-9C4F-41CD-8F79-223F622E7B6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992188" y="1739900"/>
                  <a:ext cx="731838" cy="355600"/>
                </a:xfrm>
                <a:custGeom>
                  <a:avLst/>
                  <a:gdLst>
                    <a:gd name="T0" fmla="*/ 176 w 195"/>
                    <a:gd name="T1" fmla="*/ 4 h 95"/>
                    <a:gd name="T2" fmla="*/ 171 w 195"/>
                    <a:gd name="T3" fmla="*/ 2 h 95"/>
                    <a:gd name="T4" fmla="*/ 123 w 195"/>
                    <a:gd name="T5" fmla="*/ 2 h 95"/>
                    <a:gd name="T6" fmla="*/ 119 w 195"/>
                    <a:gd name="T7" fmla="*/ 4 h 95"/>
                    <a:gd name="T8" fmla="*/ 119 w 195"/>
                    <a:gd name="T9" fmla="*/ 73 h 95"/>
                    <a:gd name="T10" fmla="*/ 108 w 195"/>
                    <a:gd name="T11" fmla="*/ 73 h 95"/>
                    <a:gd name="T12" fmla="*/ 108 w 195"/>
                    <a:gd name="T13" fmla="*/ 73 h 95"/>
                    <a:gd name="T14" fmla="*/ 95 w 195"/>
                    <a:gd name="T15" fmla="*/ 73 h 95"/>
                    <a:gd name="T16" fmla="*/ 55 w 195"/>
                    <a:gd name="T17" fmla="*/ 73 h 95"/>
                    <a:gd name="T18" fmla="*/ 0 w 195"/>
                    <a:gd name="T19" fmla="*/ 73 h 95"/>
                    <a:gd name="T20" fmla="*/ 9 w 195"/>
                    <a:gd name="T21" fmla="*/ 95 h 95"/>
                    <a:gd name="T22" fmla="*/ 9 w 195"/>
                    <a:gd name="T23" fmla="*/ 95 h 95"/>
                    <a:gd name="T24" fmla="*/ 45 w 195"/>
                    <a:gd name="T25" fmla="*/ 95 h 95"/>
                    <a:gd name="T26" fmla="*/ 104 w 195"/>
                    <a:gd name="T27" fmla="*/ 95 h 95"/>
                    <a:gd name="T28" fmla="*/ 108 w 195"/>
                    <a:gd name="T29" fmla="*/ 95 h 95"/>
                    <a:gd name="T30" fmla="*/ 108 w 195"/>
                    <a:gd name="T31" fmla="*/ 95 h 95"/>
                    <a:gd name="T32" fmla="*/ 120 w 195"/>
                    <a:gd name="T33" fmla="*/ 95 h 95"/>
                    <a:gd name="T34" fmla="*/ 120 w 195"/>
                    <a:gd name="T35" fmla="*/ 88 h 95"/>
                    <a:gd name="T36" fmla="*/ 149 w 195"/>
                    <a:gd name="T37" fmla="*/ 64 h 95"/>
                    <a:gd name="T38" fmla="*/ 180 w 195"/>
                    <a:gd name="T39" fmla="*/ 95 h 95"/>
                    <a:gd name="T40" fmla="*/ 195 w 195"/>
                    <a:gd name="T41" fmla="*/ 95 h 95"/>
                    <a:gd name="T42" fmla="*/ 195 w 195"/>
                    <a:gd name="T43" fmla="*/ 48 h 95"/>
                    <a:gd name="T44" fmla="*/ 176 w 195"/>
                    <a:gd name="T45" fmla="*/ 4 h 95"/>
                    <a:gd name="T46" fmla="*/ 141 w 195"/>
                    <a:gd name="T47" fmla="*/ 39 h 95"/>
                    <a:gd name="T48" fmla="*/ 141 w 195"/>
                    <a:gd name="T49" fmla="*/ 10 h 95"/>
                    <a:gd name="T50" fmla="*/ 167 w 195"/>
                    <a:gd name="T51" fmla="*/ 10 h 95"/>
                    <a:gd name="T52" fmla="*/ 179 w 195"/>
                    <a:gd name="T53" fmla="*/ 39 h 95"/>
                    <a:gd name="T54" fmla="*/ 141 w 195"/>
                    <a:gd name="T55" fmla="*/ 39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95" h="95">
                      <a:moveTo>
                        <a:pt x="176" y="4"/>
                      </a:moveTo>
                      <a:cubicBezTo>
                        <a:pt x="176" y="0"/>
                        <a:pt x="171" y="2"/>
                        <a:pt x="171" y="2"/>
                      </a:cubicBezTo>
                      <a:cubicBezTo>
                        <a:pt x="171" y="2"/>
                        <a:pt x="171" y="2"/>
                        <a:pt x="123" y="2"/>
                      </a:cubicBezTo>
                      <a:cubicBezTo>
                        <a:pt x="123" y="2"/>
                        <a:pt x="119" y="0"/>
                        <a:pt x="119" y="4"/>
                      </a:cubicBezTo>
                      <a:cubicBezTo>
                        <a:pt x="119" y="4"/>
                        <a:pt x="119" y="4"/>
                        <a:pt x="119" y="73"/>
                      </a:cubicBezTo>
                      <a:cubicBezTo>
                        <a:pt x="108" y="73"/>
                        <a:pt x="108" y="73"/>
                        <a:pt x="108" y="73"/>
                      </a:cubicBezTo>
                      <a:cubicBezTo>
                        <a:pt x="108" y="73"/>
                        <a:pt x="108" y="73"/>
                        <a:pt x="108" y="73"/>
                      </a:cubicBezTo>
                      <a:cubicBezTo>
                        <a:pt x="95" y="73"/>
                        <a:pt x="95" y="73"/>
                        <a:pt x="95" y="73"/>
                      </a:cubicBezTo>
                      <a:cubicBezTo>
                        <a:pt x="55" y="73"/>
                        <a:pt x="55" y="73"/>
                        <a:pt x="55" y="73"/>
                      </a:cubicBezTo>
                      <a:cubicBezTo>
                        <a:pt x="0" y="73"/>
                        <a:pt x="0" y="73"/>
                        <a:pt x="0" y="73"/>
                      </a:cubicBezTo>
                      <a:cubicBezTo>
                        <a:pt x="6" y="78"/>
                        <a:pt x="9" y="86"/>
                        <a:pt x="9" y="95"/>
                      </a:cubicBezTo>
                      <a:cubicBezTo>
                        <a:pt x="9" y="95"/>
                        <a:pt x="9" y="95"/>
                        <a:pt x="9" y="95"/>
                      </a:cubicBezTo>
                      <a:cubicBezTo>
                        <a:pt x="44" y="95"/>
                        <a:pt x="45" y="95"/>
                        <a:pt x="45" y="95"/>
                      </a:cubicBezTo>
                      <a:cubicBezTo>
                        <a:pt x="104" y="95"/>
                        <a:pt x="104" y="95"/>
                        <a:pt x="104" y="95"/>
                      </a:cubicBezTo>
                      <a:cubicBezTo>
                        <a:pt x="107" y="95"/>
                        <a:pt x="107" y="95"/>
                        <a:pt x="108" y="95"/>
                      </a:cubicBezTo>
                      <a:cubicBezTo>
                        <a:pt x="108" y="95"/>
                        <a:pt x="108" y="95"/>
                        <a:pt x="108" y="95"/>
                      </a:cubicBezTo>
                      <a:cubicBezTo>
                        <a:pt x="120" y="95"/>
                        <a:pt x="120" y="95"/>
                        <a:pt x="120" y="95"/>
                      </a:cubicBezTo>
                      <a:cubicBezTo>
                        <a:pt x="120" y="88"/>
                        <a:pt x="120" y="88"/>
                        <a:pt x="120" y="88"/>
                      </a:cubicBezTo>
                      <a:cubicBezTo>
                        <a:pt x="123" y="75"/>
                        <a:pt x="135" y="64"/>
                        <a:pt x="149" y="64"/>
                      </a:cubicBezTo>
                      <a:cubicBezTo>
                        <a:pt x="165" y="64"/>
                        <a:pt x="180" y="78"/>
                        <a:pt x="180" y="95"/>
                      </a:cubicBezTo>
                      <a:cubicBezTo>
                        <a:pt x="180" y="95"/>
                        <a:pt x="180" y="95"/>
                        <a:pt x="195" y="95"/>
                      </a:cubicBezTo>
                      <a:cubicBezTo>
                        <a:pt x="195" y="48"/>
                        <a:pt x="195" y="48"/>
                        <a:pt x="195" y="48"/>
                      </a:cubicBezTo>
                      <a:cubicBezTo>
                        <a:pt x="195" y="48"/>
                        <a:pt x="177" y="8"/>
                        <a:pt x="176" y="4"/>
                      </a:cubicBezTo>
                      <a:close/>
                      <a:moveTo>
                        <a:pt x="141" y="39"/>
                      </a:moveTo>
                      <a:cubicBezTo>
                        <a:pt x="141" y="39"/>
                        <a:pt x="141" y="39"/>
                        <a:pt x="141" y="10"/>
                      </a:cubicBezTo>
                      <a:cubicBezTo>
                        <a:pt x="141" y="10"/>
                        <a:pt x="141" y="10"/>
                        <a:pt x="167" y="10"/>
                      </a:cubicBezTo>
                      <a:cubicBezTo>
                        <a:pt x="179" y="39"/>
                        <a:pt x="179" y="39"/>
                        <a:pt x="179" y="39"/>
                      </a:cubicBezTo>
                      <a:cubicBezTo>
                        <a:pt x="179" y="39"/>
                        <a:pt x="172" y="39"/>
                        <a:pt x="141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709F15EE-7A1B-4E14-A2CE-2683B6AAD3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455282" y="1871867"/>
                <a:ext cx="239580" cy="315545"/>
              </a:xfrm>
              <a:custGeom>
                <a:avLst/>
                <a:gdLst>
                  <a:gd name="T0" fmla="*/ 18 w 243"/>
                  <a:gd name="T1" fmla="*/ 36 h 320"/>
                  <a:gd name="T2" fmla="*/ 225 w 243"/>
                  <a:gd name="T3" fmla="*/ 36 h 320"/>
                  <a:gd name="T4" fmla="*/ 243 w 243"/>
                  <a:gd name="T5" fmla="*/ 18 h 320"/>
                  <a:gd name="T6" fmla="*/ 225 w 243"/>
                  <a:gd name="T7" fmla="*/ 0 h 320"/>
                  <a:gd name="T8" fmla="*/ 18 w 243"/>
                  <a:gd name="T9" fmla="*/ 0 h 320"/>
                  <a:gd name="T10" fmla="*/ 0 w 243"/>
                  <a:gd name="T11" fmla="*/ 18 h 320"/>
                  <a:gd name="T12" fmla="*/ 18 w 243"/>
                  <a:gd name="T13" fmla="*/ 36 h 320"/>
                  <a:gd name="T14" fmla="*/ 225 w 243"/>
                  <a:gd name="T15" fmla="*/ 284 h 320"/>
                  <a:gd name="T16" fmla="*/ 18 w 243"/>
                  <a:gd name="T17" fmla="*/ 284 h 320"/>
                  <a:gd name="T18" fmla="*/ 0 w 243"/>
                  <a:gd name="T19" fmla="*/ 302 h 320"/>
                  <a:gd name="T20" fmla="*/ 18 w 243"/>
                  <a:gd name="T21" fmla="*/ 320 h 320"/>
                  <a:gd name="T22" fmla="*/ 225 w 243"/>
                  <a:gd name="T23" fmla="*/ 320 h 320"/>
                  <a:gd name="T24" fmla="*/ 243 w 243"/>
                  <a:gd name="T25" fmla="*/ 302 h 320"/>
                  <a:gd name="T26" fmla="*/ 225 w 243"/>
                  <a:gd name="T27" fmla="*/ 284 h 320"/>
                  <a:gd name="T28" fmla="*/ 18 w 243"/>
                  <a:gd name="T29" fmla="*/ 176 h 320"/>
                  <a:gd name="T30" fmla="*/ 113 w 243"/>
                  <a:gd name="T31" fmla="*/ 176 h 320"/>
                  <a:gd name="T32" fmla="*/ 131 w 243"/>
                  <a:gd name="T33" fmla="*/ 158 h 320"/>
                  <a:gd name="T34" fmla="*/ 113 w 243"/>
                  <a:gd name="T35" fmla="*/ 140 h 320"/>
                  <a:gd name="T36" fmla="*/ 18 w 243"/>
                  <a:gd name="T37" fmla="*/ 140 h 320"/>
                  <a:gd name="T38" fmla="*/ 0 w 243"/>
                  <a:gd name="T39" fmla="*/ 158 h 320"/>
                  <a:gd name="T40" fmla="*/ 18 w 243"/>
                  <a:gd name="T41" fmla="*/ 176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43" h="320">
                    <a:moveTo>
                      <a:pt x="18" y="36"/>
                    </a:moveTo>
                    <a:cubicBezTo>
                      <a:pt x="225" y="36"/>
                      <a:pt x="225" y="36"/>
                      <a:pt x="225" y="36"/>
                    </a:cubicBezTo>
                    <a:cubicBezTo>
                      <a:pt x="235" y="36"/>
                      <a:pt x="243" y="28"/>
                      <a:pt x="243" y="18"/>
                    </a:cubicBezTo>
                    <a:cubicBezTo>
                      <a:pt x="243" y="8"/>
                      <a:pt x="235" y="0"/>
                      <a:pt x="225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28"/>
                      <a:pt x="8" y="36"/>
                      <a:pt x="18" y="36"/>
                    </a:cubicBezTo>
                    <a:close/>
                    <a:moveTo>
                      <a:pt x="225" y="284"/>
                    </a:moveTo>
                    <a:cubicBezTo>
                      <a:pt x="18" y="284"/>
                      <a:pt x="18" y="284"/>
                      <a:pt x="18" y="284"/>
                    </a:cubicBezTo>
                    <a:cubicBezTo>
                      <a:pt x="8" y="284"/>
                      <a:pt x="0" y="292"/>
                      <a:pt x="0" y="302"/>
                    </a:cubicBezTo>
                    <a:cubicBezTo>
                      <a:pt x="0" y="312"/>
                      <a:pt x="8" y="320"/>
                      <a:pt x="18" y="320"/>
                    </a:cubicBezTo>
                    <a:cubicBezTo>
                      <a:pt x="225" y="320"/>
                      <a:pt x="225" y="320"/>
                      <a:pt x="225" y="320"/>
                    </a:cubicBezTo>
                    <a:cubicBezTo>
                      <a:pt x="235" y="320"/>
                      <a:pt x="243" y="312"/>
                      <a:pt x="243" y="302"/>
                    </a:cubicBezTo>
                    <a:cubicBezTo>
                      <a:pt x="243" y="292"/>
                      <a:pt x="235" y="284"/>
                      <a:pt x="225" y="284"/>
                    </a:cubicBezTo>
                    <a:close/>
                    <a:moveTo>
                      <a:pt x="18" y="176"/>
                    </a:moveTo>
                    <a:cubicBezTo>
                      <a:pt x="113" y="176"/>
                      <a:pt x="113" y="176"/>
                      <a:pt x="113" y="176"/>
                    </a:cubicBezTo>
                    <a:cubicBezTo>
                      <a:pt x="123" y="176"/>
                      <a:pt x="131" y="168"/>
                      <a:pt x="131" y="158"/>
                    </a:cubicBezTo>
                    <a:cubicBezTo>
                      <a:pt x="131" y="148"/>
                      <a:pt x="123" y="140"/>
                      <a:pt x="113" y="140"/>
                    </a:cubicBezTo>
                    <a:cubicBezTo>
                      <a:pt x="18" y="140"/>
                      <a:pt x="18" y="140"/>
                      <a:pt x="18" y="140"/>
                    </a:cubicBezTo>
                    <a:cubicBezTo>
                      <a:pt x="8" y="140"/>
                      <a:pt x="0" y="148"/>
                      <a:pt x="0" y="158"/>
                    </a:cubicBezTo>
                    <a:cubicBezTo>
                      <a:pt x="0" y="168"/>
                      <a:pt x="8" y="176"/>
                      <a:pt x="18" y="17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AE66C12B-3682-4CCF-8F15-255D3D376EE8}"/>
              </a:ext>
            </a:extLst>
          </p:cNvPr>
          <p:cNvGrpSpPr/>
          <p:nvPr/>
        </p:nvGrpSpPr>
        <p:grpSpPr>
          <a:xfrm>
            <a:off x="333377" y="2299246"/>
            <a:ext cx="1004240" cy="1010596"/>
            <a:chOff x="323851" y="2299246"/>
            <a:chExt cx="1004240" cy="1010596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81E4994-572B-4597-8E38-0C6425212C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851" y="2299246"/>
              <a:ext cx="1004240" cy="1010596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grpSp>
          <p:nvGrpSpPr>
            <p:cNvPr id="56" name="Gruppieren 55">
              <a:extLst>
                <a:ext uri="{FF2B5EF4-FFF2-40B4-BE49-F238E27FC236}">
                  <a16:creationId xmlns:a16="http://schemas.microsoft.com/office/drawing/2014/main" id="{9723440F-723D-49D5-8E6D-C67C0EACFC5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6395" y="2476360"/>
              <a:ext cx="559151" cy="656368"/>
              <a:chOff x="2355850" y="-1588"/>
              <a:chExt cx="5843588" cy="6859588"/>
            </a:xfrm>
            <a:solidFill>
              <a:schemeClr val="accent4"/>
            </a:solidFill>
          </p:grpSpPr>
          <p:sp>
            <p:nvSpPr>
              <p:cNvPr id="57" name="Freeform 5">
                <a:extLst>
                  <a:ext uri="{FF2B5EF4-FFF2-40B4-BE49-F238E27FC236}">
                    <a16:creationId xmlns:a16="http://schemas.microsoft.com/office/drawing/2014/main" id="{FA64FF1A-F911-4FB7-958D-F2959F7895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67375" y="4162425"/>
                <a:ext cx="1917700" cy="1274763"/>
              </a:xfrm>
              <a:custGeom>
                <a:avLst/>
                <a:gdLst/>
                <a:ahLst/>
                <a:cxnLst>
                  <a:cxn ang="0">
                    <a:pos x="575" y="586"/>
                  </a:cxn>
                  <a:cxn ang="0">
                    <a:pos x="625" y="631"/>
                  </a:cxn>
                  <a:cxn ang="0">
                    <a:pos x="672" y="660"/>
                  </a:cxn>
                  <a:cxn ang="0">
                    <a:pos x="758" y="614"/>
                  </a:cxn>
                  <a:cxn ang="0">
                    <a:pos x="784" y="585"/>
                  </a:cxn>
                  <a:cxn ang="0">
                    <a:pos x="740" y="599"/>
                  </a:cxn>
                  <a:cxn ang="0">
                    <a:pos x="668" y="542"/>
                  </a:cxn>
                  <a:cxn ang="0">
                    <a:pos x="948" y="438"/>
                  </a:cxn>
                  <a:cxn ang="0">
                    <a:pos x="988" y="242"/>
                  </a:cxn>
                  <a:cxn ang="0">
                    <a:pos x="913" y="209"/>
                  </a:cxn>
                  <a:cxn ang="0">
                    <a:pos x="836" y="180"/>
                  </a:cxn>
                  <a:cxn ang="0">
                    <a:pos x="742" y="162"/>
                  </a:cxn>
                  <a:cxn ang="0">
                    <a:pos x="686" y="105"/>
                  </a:cxn>
                  <a:cxn ang="0">
                    <a:pos x="677" y="43"/>
                  </a:cxn>
                  <a:cxn ang="0">
                    <a:pos x="649" y="6"/>
                  </a:cxn>
                  <a:cxn ang="0">
                    <a:pos x="592" y="15"/>
                  </a:cxn>
                  <a:cxn ang="0">
                    <a:pos x="549" y="31"/>
                  </a:cxn>
                  <a:cxn ang="0">
                    <a:pos x="492" y="52"/>
                  </a:cxn>
                  <a:cxn ang="0">
                    <a:pos x="432" y="88"/>
                  </a:cxn>
                  <a:cxn ang="0">
                    <a:pos x="378" y="92"/>
                  </a:cxn>
                  <a:cxn ang="0">
                    <a:pos x="321" y="83"/>
                  </a:cxn>
                  <a:cxn ang="0">
                    <a:pos x="255" y="54"/>
                  </a:cxn>
                  <a:cxn ang="0">
                    <a:pos x="176" y="46"/>
                  </a:cxn>
                  <a:cxn ang="0">
                    <a:pos x="115" y="70"/>
                  </a:cxn>
                  <a:cxn ang="0">
                    <a:pos x="139" y="130"/>
                  </a:cxn>
                  <a:cxn ang="0">
                    <a:pos x="135" y="170"/>
                  </a:cxn>
                  <a:cxn ang="0">
                    <a:pos x="66" y="235"/>
                  </a:cxn>
                  <a:cxn ang="0">
                    <a:pos x="67" y="276"/>
                  </a:cxn>
                  <a:cxn ang="0">
                    <a:pos x="25" y="291"/>
                  </a:cxn>
                  <a:cxn ang="0">
                    <a:pos x="0" y="331"/>
                  </a:cxn>
                  <a:cxn ang="0">
                    <a:pos x="52" y="369"/>
                  </a:cxn>
                  <a:cxn ang="0">
                    <a:pos x="122" y="378"/>
                  </a:cxn>
                  <a:cxn ang="0">
                    <a:pos x="211" y="374"/>
                  </a:cxn>
                  <a:cxn ang="0">
                    <a:pos x="252" y="337"/>
                  </a:cxn>
                  <a:cxn ang="0">
                    <a:pos x="284" y="336"/>
                  </a:cxn>
                  <a:cxn ang="0">
                    <a:pos x="323" y="348"/>
                  </a:cxn>
                  <a:cxn ang="0">
                    <a:pos x="343" y="359"/>
                  </a:cxn>
                  <a:cxn ang="0">
                    <a:pos x="363" y="365"/>
                  </a:cxn>
                  <a:cxn ang="0">
                    <a:pos x="389" y="378"/>
                  </a:cxn>
                  <a:cxn ang="0">
                    <a:pos x="387" y="404"/>
                  </a:cxn>
                  <a:cxn ang="0">
                    <a:pos x="398" y="431"/>
                  </a:cxn>
                  <a:cxn ang="0">
                    <a:pos x="406" y="453"/>
                  </a:cxn>
                  <a:cxn ang="0">
                    <a:pos x="427" y="490"/>
                  </a:cxn>
                  <a:cxn ang="0">
                    <a:pos x="406" y="507"/>
                  </a:cxn>
                  <a:cxn ang="0">
                    <a:pos x="389" y="504"/>
                  </a:cxn>
                  <a:cxn ang="0">
                    <a:pos x="375" y="523"/>
                  </a:cxn>
                  <a:cxn ang="0">
                    <a:pos x="350" y="562"/>
                  </a:cxn>
                  <a:cxn ang="0">
                    <a:pos x="342" y="586"/>
                  </a:cxn>
                  <a:cxn ang="0">
                    <a:pos x="385" y="595"/>
                  </a:cxn>
                  <a:cxn ang="0">
                    <a:pos x="445" y="557"/>
                  </a:cxn>
                  <a:cxn ang="0">
                    <a:pos x="474" y="508"/>
                  </a:cxn>
                  <a:cxn ang="0">
                    <a:pos x="542" y="495"/>
                  </a:cxn>
                  <a:cxn ang="0">
                    <a:pos x="555" y="536"/>
                  </a:cxn>
                  <a:cxn ang="0">
                    <a:pos x="637" y="532"/>
                  </a:cxn>
                  <a:cxn ang="0">
                    <a:pos x="695" y="533"/>
                  </a:cxn>
                  <a:cxn ang="0">
                    <a:pos x="737" y="506"/>
                  </a:cxn>
                  <a:cxn ang="0">
                    <a:pos x="836" y="469"/>
                  </a:cxn>
                  <a:cxn ang="0">
                    <a:pos x="912" y="437"/>
                  </a:cxn>
                  <a:cxn ang="0">
                    <a:pos x="967" y="387"/>
                  </a:cxn>
                  <a:cxn ang="0">
                    <a:pos x="992" y="331"/>
                  </a:cxn>
                  <a:cxn ang="0">
                    <a:pos x="134" y="165"/>
                  </a:cxn>
                </a:cxnLst>
                <a:rect l="0" t="0" r="r" b="b"/>
                <a:pathLst>
                  <a:path w="1026" h="682">
                    <a:moveTo>
                      <a:pt x="641" y="535"/>
                    </a:moveTo>
                    <a:cubicBezTo>
                      <a:pt x="641" y="534"/>
                      <a:pt x="639" y="534"/>
                      <a:pt x="638" y="533"/>
                    </a:cubicBezTo>
                    <a:cubicBezTo>
                      <a:pt x="638" y="536"/>
                      <a:pt x="637" y="539"/>
                      <a:pt x="637" y="542"/>
                    </a:cubicBezTo>
                    <a:cubicBezTo>
                      <a:pt x="637" y="544"/>
                      <a:pt x="637" y="546"/>
                      <a:pt x="638" y="547"/>
                    </a:cubicBezTo>
                    <a:cubicBezTo>
                      <a:pt x="639" y="550"/>
                      <a:pt x="640" y="548"/>
                      <a:pt x="642" y="550"/>
                    </a:cubicBezTo>
                    <a:cubicBezTo>
                      <a:pt x="644" y="552"/>
                      <a:pt x="642" y="553"/>
                      <a:pt x="640" y="554"/>
                    </a:cubicBezTo>
                    <a:cubicBezTo>
                      <a:pt x="639" y="555"/>
                      <a:pt x="637" y="556"/>
                      <a:pt x="635" y="557"/>
                    </a:cubicBezTo>
                    <a:cubicBezTo>
                      <a:pt x="632" y="560"/>
                      <a:pt x="629" y="559"/>
                      <a:pt x="624" y="560"/>
                    </a:cubicBezTo>
                    <a:cubicBezTo>
                      <a:pt x="621" y="560"/>
                      <a:pt x="616" y="562"/>
                      <a:pt x="613" y="564"/>
                    </a:cubicBezTo>
                    <a:cubicBezTo>
                      <a:pt x="607" y="568"/>
                      <a:pt x="599" y="572"/>
                      <a:pt x="593" y="575"/>
                    </a:cubicBezTo>
                    <a:cubicBezTo>
                      <a:pt x="588" y="577"/>
                      <a:pt x="583" y="579"/>
                      <a:pt x="579" y="583"/>
                    </a:cubicBezTo>
                    <a:cubicBezTo>
                      <a:pt x="578" y="584"/>
                      <a:pt x="576" y="585"/>
                      <a:pt x="575" y="586"/>
                    </a:cubicBezTo>
                    <a:cubicBezTo>
                      <a:pt x="572" y="587"/>
                      <a:pt x="571" y="586"/>
                      <a:pt x="569" y="589"/>
                    </a:cubicBezTo>
                    <a:cubicBezTo>
                      <a:pt x="568" y="591"/>
                      <a:pt x="565" y="596"/>
                      <a:pt x="567" y="599"/>
                    </a:cubicBezTo>
                    <a:cubicBezTo>
                      <a:pt x="569" y="601"/>
                      <a:pt x="578" y="601"/>
                      <a:pt x="581" y="601"/>
                    </a:cubicBezTo>
                    <a:cubicBezTo>
                      <a:pt x="583" y="601"/>
                      <a:pt x="586" y="600"/>
                      <a:pt x="588" y="600"/>
                    </a:cubicBezTo>
                    <a:cubicBezTo>
                      <a:pt x="591" y="601"/>
                      <a:pt x="590" y="603"/>
                      <a:pt x="592" y="605"/>
                    </a:cubicBezTo>
                    <a:cubicBezTo>
                      <a:pt x="593" y="606"/>
                      <a:pt x="596" y="607"/>
                      <a:pt x="597" y="607"/>
                    </a:cubicBezTo>
                    <a:cubicBezTo>
                      <a:pt x="600" y="608"/>
                      <a:pt x="601" y="609"/>
                      <a:pt x="603" y="610"/>
                    </a:cubicBezTo>
                    <a:cubicBezTo>
                      <a:pt x="605" y="611"/>
                      <a:pt x="607" y="613"/>
                      <a:pt x="609" y="614"/>
                    </a:cubicBezTo>
                    <a:cubicBezTo>
                      <a:pt x="613" y="616"/>
                      <a:pt x="615" y="612"/>
                      <a:pt x="618" y="610"/>
                    </a:cubicBezTo>
                    <a:cubicBezTo>
                      <a:pt x="623" y="607"/>
                      <a:pt x="625" y="610"/>
                      <a:pt x="625" y="615"/>
                    </a:cubicBezTo>
                    <a:cubicBezTo>
                      <a:pt x="624" y="619"/>
                      <a:pt x="626" y="622"/>
                      <a:pt x="625" y="626"/>
                    </a:cubicBezTo>
                    <a:cubicBezTo>
                      <a:pt x="625" y="629"/>
                      <a:pt x="624" y="629"/>
                      <a:pt x="625" y="631"/>
                    </a:cubicBezTo>
                    <a:cubicBezTo>
                      <a:pt x="626" y="634"/>
                      <a:pt x="628" y="635"/>
                      <a:pt x="628" y="638"/>
                    </a:cubicBezTo>
                    <a:cubicBezTo>
                      <a:pt x="628" y="642"/>
                      <a:pt x="622" y="647"/>
                      <a:pt x="620" y="650"/>
                    </a:cubicBezTo>
                    <a:cubicBezTo>
                      <a:pt x="619" y="651"/>
                      <a:pt x="618" y="652"/>
                      <a:pt x="616" y="653"/>
                    </a:cubicBezTo>
                    <a:cubicBezTo>
                      <a:pt x="614" y="655"/>
                      <a:pt x="611" y="655"/>
                      <a:pt x="612" y="658"/>
                    </a:cubicBezTo>
                    <a:cubicBezTo>
                      <a:pt x="614" y="668"/>
                      <a:pt x="630" y="661"/>
                      <a:pt x="634" y="667"/>
                    </a:cubicBezTo>
                    <a:cubicBezTo>
                      <a:pt x="635" y="668"/>
                      <a:pt x="634" y="670"/>
                      <a:pt x="635" y="671"/>
                    </a:cubicBezTo>
                    <a:cubicBezTo>
                      <a:pt x="636" y="674"/>
                      <a:pt x="639" y="676"/>
                      <a:pt x="642" y="677"/>
                    </a:cubicBezTo>
                    <a:cubicBezTo>
                      <a:pt x="648" y="682"/>
                      <a:pt x="663" y="681"/>
                      <a:pt x="670" y="679"/>
                    </a:cubicBezTo>
                    <a:cubicBezTo>
                      <a:pt x="673" y="678"/>
                      <a:pt x="675" y="677"/>
                      <a:pt x="677" y="676"/>
                    </a:cubicBezTo>
                    <a:cubicBezTo>
                      <a:pt x="681" y="675"/>
                      <a:pt x="684" y="677"/>
                      <a:pt x="684" y="672"/>
                    </a:cubicBezTo>
                    <a:cubicBezTo>
                      <a:pt x="683" y="664"/>
                      <a:pt x="671" y="663"/>
                      <a:pt x="665" y="666"/>
                    </a:cubicBezTo>
                    <a:cubicBezTo>
                      <a:pt x="663" y="662"/>
                      <a:pt x="670" y="661"/>
                      <a:pt x="672" y="660"/>
                    </a:cubicBezTo>
                    <a:cubicBezTo>
                      <a:pt x="676" y="659"/>
                      <a:pt x="678" y="658"/>
                      <a:pt x="681" y="656"/>
                    </a:cubicBezTo>
                    <a:cubicBezTo>
                      <a:pt x="683" y="654"/>
                      <a:pt x="685" y="653"/>
                      <a:pt x="686" y="650"/>
                    </a:cubicBezTo>
                    <a:cubicBezTo>
                      <a:pt x="686" y="647"/>
                      <a:pt x="686" y="642"/>
                      <a:pt x="689" y="640"/>
                    </a:cubicBezTo>
                    <a:cubicBezTo>
                      <a:pt x="692" y="639"/>
                      <a:pt x="696" y="641"/>
                      <a:pt x="699" y="640"/>
                    </a:cubicBezTo>
                    <a:cubicBezTo>
                      <a:pt x="703" y="638"/>
                      <a:pt x="706" y="635"/>
                      <a:pt x="710" y="635"/>
                    </a:cubicBezTo>
                    <a:cubicBezTo>
                      <a:pt x="715" y="635"/>
                      <a:pt x="712" y="637"/>
                      <a:pt x="715" y="639"/>
                    </a:cubicBezTo>
                    <a:cubicBezTo>
                      <a:pt x="718" y="642"/>
                      <a:pt x="721" y="634"/>
                      <a:pt x="722" y="632"/>
                    </a:cubicBezTo>
                    <a:cubicBezTo>
                      <a:pt x="724" y="630"/>
                      <a:pt x="726" y="626"/>
                      <a:pt x="728" y="625"/>
                    </a:cubicBezTo>
                    <a:cubicBezTo>
                      <a:pt x="730" y="623"/>
                      <a:pt x="733" y="625"/>
                      <a:pt x="735" y="622"/>
                    </a:cubicBezTo>
                    <a:cubicBezTo>
                      <a:pt x="740" y="617"/>
                      <a:pt x="742" y="609"/>
                      <a:pt x="750" y="611"/>
                    </a:cubicBezTo>
                    <a:cubicBezTo>
                      <a:pt x="751" y="611"/>
                      <a:pt x="753" y="612"/>
                      <a:pt x="753" y="613"/>
                    </a:cubicBezTo>
                    <a:cubicBezTo>
                      <a:pt x="755" y="613"/>
                      <a:pt x="756" y="614"/>
                      <a:pt x="758" y="614"/>
                    </a:cubicBezTo>
                    <a:cubicBezTo>
                      <a:pt x="761" y="615"/>
                      <a:pt x="764" y="615"/>
                      <a:pt x="767" y="615"/>
                    </a:cubicBezTo>
                    <a:cubicBezTo>
                      <a:pt x="774" y="615"/>
                      <a:pt x="780" y="612"/>
                      <a:pt x="787" y="613"/>
                    </a:cubicBezTo>
                    <a:cubicBezTo>
                      <a:pt x="786" y="613"/>
                      <a:pt x="787" y="614"/>
                      <a:pt x="787" y="615"/>
                    </a:cubicBezTo>
                    <a:cubicBezTo>
                      <a:pt x="789" y="615"/>
                      <a:pt x="791" y="614"/>
                      <a:pt x="793" y="613"/>
                    </a:cubicBezTo>
                    <a:cubicBezTo>
                      <a:pt x="795" y="613"/>
                      <a:pt x="799" y="613"/>
                      <a:pt x="800" y="613"/>
                    </a:cubicBezTo>
                    <a:cubicBezTo>
                      <a:pt x="804" y="611"/>
                      <a:pt x="801" y="604"/>
                      <a:pt x="797" y="605"/>
                    </a:cubicBezTo>
                    <a:cubicBezTo>
                      <a:pt x="794" y="602"/>
                      <a:pt x="797" y="598"/>
                      <a:pt x="800" y="597"/>
                    </a:cubicBezTo>
                    <a:cubicBezTo>
                      <a:pt x="804" y="595"/>
                      <a:pt x="809" y="594"/>
                      <a:pt x="809" y="589"/>
                    </a:cubicBezTo>
                    <a:cubicBezTo>
                      <a:pt x="810" y="589"/>
                      <a:pt x="812" y="590"/>
                      <a:pt x="813" y="590"/>
                    </a:cubicBezTo>
                    <a:cubicBezTo>
                      <a:pt x="815" y="584"/>
                      <a:pt x="804" y="587"/>
                      <a:pt x="802" y="586"/>
                    </a:cubicBezTo>
                    <a:cubicBezTo>
                      <a:pt x="799" y="585"/>
                      <a:pt x="799" y="581"/>
                      <a:pt x="795" y="581"/>
                    </a:cubicBezTo>
                    <a:cubicBezTo>
                      <a:pt x="791" y="580"/>
                      <a:pt x="787" y="583"/>
                      <a:pt x="784" y="585"/>
                    </a:cubicBezTo>
                    <a:cubicBezTo>
                      <a:pt x="782" y="585"/>
                      <a:pt x="783" y="586"/>
                      <a:pt x="781" y="586"/>
                    </a:cubicBezTo>
                    <a:cubicBezTo>
                      <a:pt x="780" y="587"/>
                      <a:pt x="778" y="586"/>
                      <a:pt x="776" y="586"/>
                    </a:cubicBezTo>
                    <a:cubicBezTo>
                      <a:pt x="776" y="587"/>
                      <a:pt x="776" y="587"/>
                      <a:pt x="776" y="588"/>
                    </a:cubicBezTo>
                    <a:cubicBezTo>
                      <a:pt x="774" y="588"/>
                      <a:pt x="771" y="587"/>
                      <a:pt x="769" y="586"/>
                    </a:cubicBezTo>
                    <a:cubicBezTo>
                      <a:pt x="767" y="584"/>
                      <a:pt x="767" y="582"/>
                      <a:pt x="764" y="582"/>
                    </a:cubicBezTo>
                    <a:cubicBezTo>
                      <a:pt x="761" y="581"/>
                      <a:pt x="760" y="585"/>
                      <a:pt x="758" y="587"/>
                    </a:cubicBezTo>
                    <a:cubicBezTo>
                      <a:pt x="757" y="588"/>
                      <a:pt x="756" y="588"/>
                      <a:pt x="755" y="589"/>
                    </a:cubicBezTo>
                    <a:cubicBezTo>
                      <a:pt x="754" y="589"/>
                      <a:pt x="753" y="589"/>
                      <a:pt x="753" y="590"/>
                    </a:cubicBezTo>
                    <a:cubicBezTo>
                      <a:pt x="753" y="590"/>
                      <a:pt x="752" y="591"/>
                      <a:pt x="752" y="591"/>
                    </a:cubicBezTo>
                    <a:cubicBezTo>
                      <a:pt x="751" y="592"/>
                      <a:pt x="750" y="592"/>
                      <a:pt x="749" y="593"/>
                    </a:cubicBezTo>
                    <a:cubicBezTo>
                      <a:pt x="746" y="594"/>
                      <a:pt x="747" y="593"/>
                      <a:pt x="745" y="595"/>
                    </a:cubicBezTo>
                    <a:cubicBezTo>
                      <a:pt x="743" y="597"/>
                      <a:pt x="743" y="598"/>
                      <a:pt x="740" y="599"/>
                    </a:cubicBezTo>
                    <a:cubicBezTo>
                      <a:pt x="734" y="600"/>
                      <a:pt x="730" y="596"/>
                      <a:pt x="726" y="592"/>
                    </a:cubicBezTo>
                    <a:cubicBezTo>
                      <a:pt x="721" y="588"/>
                      <a:pt x="716" y="584"/>
                      <a:pt x="709" y="583"/>
                    </a:cubicBezTo>
                    <a:cubicBezTo>
                      <a:pt x="710" y="582"/>
                      <a:pt x="714" y="582"/>
                      <a:pt x="716" y="579"/>
                    </a:cubicBezTo>
                    <a:cubicBezTo>
                      <a:pt x="719" y="574"/>
                      <a:pt x="713" y="573"/>
                      <a:pt x="709" y="573"/>
                    </a:cubicBezTo>
                    <a:cubicBezTo>
                      <a:pt x="709" y="571"/>
                      <a:pt x="710" y="567"/>
                      <a:pt x="709" y="565"/>
                    </a:cubicBezTo>
                    <a:cubicBezTo>
                      <a:pt x="706" y="562"/>
                      <a:pt x="699" y="563"/>
                      <a:pt x="695" y="563"/>
                    </a:cubicBezTo>
                    <a:cubicBezTo>
                      <a:pt x="695" y="560"/>
                      <a:pt x="695" y="556"/>
                      <a:pt x="694" y="554"/>
                    </a:cubicBezTo>
                    <a:cubicBezTo>
                      <a:pt x="694" y="551"/>
                      <a:pt x="694" y="551"/>
                      <a:pt x="690" y="551"/>
                    </a:cubicBezTo>
                    <a:cubicBezTo>
                      <a:pt x="687" y="551"/>
                      <a:pt x="686" y="552"/>
                      <a:pt x="684" y="554"/>
                    </a:cubicBezTo>
                    <a:cubicBezTo>
                      <a:pt x="683" y="552"/>
                      <a:pt x="680" y="548"/>
                      <a:pt x="678" y="546"/>
                    </a:cubicBezTo>
                    <a:cubicBezTo>
                      <a:pt x="677" y="544"/>
                      <a:pt x="678" y="543"/>
                      <a:pt x="676" y="542"/>
                    </a:cubicBezTo>
                    <a:cubicBezTo>
                      <a:pt x="673" y="540"/>
                      <a:pt x="670" y="542"/>
                      <a:pt x="668" y="542"/>
                    </a:cubicBezTo>
                    <a:cubicBezTo>
                      <a:pt x="665" y="542"/>
                      <a:pt x="662" y="541"/>
                      <a:pt x="660" y="539"/>
                    </a:cubicBezTo>
                    <a:cubicBezTo>
                      <a:pt x="658" y="539"/>
                      <a:pt x="655" y="536"/>
                      <a:pt x="654" y="535"/>
                    </a:cubicBezTo>
                    <a:cubicBezTo>
                      <a:pt x="651" y="535"/>
                      <a:pt x="650" y="537"/>
                      <a:pt x="648" y="538"/>
                    </a:cubicBezTo>
                    <a:cubicBezTo>
                      <a:pt x="646" y="538"/>
                      <a:pt x="644" y="537"/>
                      <a:pt x="641" y="535"/>
                    </a:cubicBezTo>
                    <a:moveTo>
                      <a:pt x="638" y="532"/>
                    </a:moveTo>
                    <a:cubicBezTo>
                      <a:pt x="638" y="532"/>
                      <a:pt x="637" y="532"/>
                      <a:pt x="637" y="532"/>
                    </a:cubicBezTo>
                    <a:cubicBezTo>
                      <a:pt x="637" y="532"/>
                      <a:pt x="638" y="533"/>
                      <a:pt x="638" y="533"/>
                    </a:cubicBezTo>
                    <a:cubicBezTo>
                      <a:pt x="638" y="532"/>
                      <a:pt x="638" y="532"/>
                      <a:pt x="638" y="532"/>
                    </a:cubicBezTo>
                    <a:moveTo>
                      <a:pt x="931" y="441"/>
                    </a:moveTo>
                    <a:cubicBezTo>
                      <a:pt x="929" y="441"/>
                      <a:pt x="928" y="441"/>
                      <a:pt x="927" y="442"/>
                    </a:cubicBezTo>
                    <a:cubicBezTo>
                      <a:pt x="928" y="443"/>
                      <a:pt x="930" y="443"/>
                      <a:pt x="931" y="443"/>
                    </a:cubicBezTo>
                    <a:cubicBezTo>
                      <a:pt x="937" y="443"/>
                      <a:pt x="942" y="442"/>
                      <a:pt x="948" y="438"/>
                    </a:cubicBezTo>
                    <a:cubicBezTo>
                      <a:pt x="944" y="439"/>
                      <a:pt x="942" y="442"/>
                      <a:pt x="939" y="442"/>
                    </a:cubicBezTo>
                    <a:cubicBezTo>
                      <a:pt x="936" y="442"/>
                      <a:pt x="934" y="441"/>
                      <a:pt x="931" y="441"/>
                    </a:cubicBezTo>
                    <a:moveTo>
                      <a:pt x="1024" y="264"/>
                    </a:moveTo>
                    <a:cubicBezTo>
                      <a:pt x="1021" y="260"/>
                      <a:pt x="1014" y="262"/>
                      <a:pt x="1010" y="261"/>
                    </a:cubicBezTo>
                    <a:cubicBezTo>
                      <a:pt x="1010" y="260"/>
                      <a:pt x="1010" y="258"/>
                      <a:pt x="1009" y="257"/>
                    </a:cubicBezTo>
                    <a:cubicBezTo>
                      <a:pt x="1009" y="255"/>
                      <a:pt x="1007" y="255"/>
                      <a:pt x="1008" y="252"/>
                    </a:cubicBezTo>
                    <a:cubicBezTo>
                      <a:pt x="1008" y="250"/>
                      <a:pt x="1009" y="248"/>
                      <a:pt x="1009" y="247"/>
                    </a:cubicBezTo>
                    <a:cubicBezTo>
                      <a:pt x="1010" y="245"/>
                      <a:pt x="1012" y="245"/>
                      <a:pt x="1013" y="244"/>
                    </a:cubicBezTo>
                    <a:cubicBezTo>
                      <a:pt x="1013" y="243"/>
                      <a:pt x="1014" y="240"/>
                      <a:pt x="1013" y="239"/>
                    </a:cubicBezTo>
                    <a:cubicBezTo>
                      <a:pt x="1012" y="238"/>
                      <a:pt x="1008" y="239"/>
                      <a:pt x="1007" y="239"/>
                    </a:cubicBezTo>
                    <a:cubicBezTo>
                      <a:pt x="1004" y="240"/>
                      <a:pt x="1003" y="243"/>
                      <a:pt x="1001" y="244"/>
                    </a:cubicBezTo>
                    <a:cubicBezTo>
                      <a:pt x="997" y="245"/>
                      <a:pt x="991" y="244"/>
                      <a:pt x="988" y="242"/>
                    </a:cubicBezTo>
                    <a:cubicBezTo>
                      <a:pt x="986" y="241"/>
                      <a:pt x="985" y="238"/>
                      <a:pt x="984" y="236"/>
                    </a:cubicBezTo>
                    <a:cubicBezTo>
                      <a:pt x="983" y="235"/>
                      <a:pt x="983" y="232"/>
                      <a:pt x="982" y="231"/>
                    </a:cubicBezTo>
                    <a:cubicBezTo>
                      <a:pt x="980" y="229"/>
                      <a:pt x="975" y="229"/>
                      <a:pt x="972" y="229"/>
                    </a:cubicBezTo>
                    <a:cubicBezTo>
                      <a:pt x="970" y="229"/>
                      <a:pt x="968" y="230"/>
                      <a:pt x="966" y="229"/>
                    </a:cubicBezTo>
                    <a:cubicBezTo>
                      <a:pt x="964" y="229"/>
                      <a:pt x="962" y="226"/>
                      <a:pt x="960" y="225"/>
                    </a:cubicBezTo>
                    <a:cubicBezTo>
                      <a:pt x="957" y="224"/>
                      <a:pt x="953" y="220"/>
                      <a:pt x="950" y="221"/>
                    </a:cubicBezTo>
                    <a:cubicBezTo>
                      <a:pt x="950" y="227"/>
                      <a:pt x="943" y="223"/>
                      <a:pt x="941" y="221"/>
                    </a:cubicBezTo>
                    <a:cubicBezTo>
                      <a:pt x="939" y="219"/>
                      <a:pt x="937" y="219"/>
                      <a:pt x="934" y="217"/>
                    </a:cubicBezTo>
                    <a:cubicBezTo>
                      <a:pt x="929" y="215"/>
                      <a:pt x="931" y="215"/>
                      <a:pt x="930" y="211"/>
                    </a:cubicBezTo>
                    <a:cubicBezTo>
                      <a:pt x="929" y="208"/>
                      <a:pt x="928" y="207"/>
                      <a:pt x="925" y="208"/>
                    </a:cubicBezTo>
                    <a:cubicBezTo>
                      <a:pt x="923" y="209"/>
                      <a:pt x="923" y="212"/>
                      <a:pt x="921" y="213"/>
                    </a:cubicBezTo>
                    <a:cubicBezTo>
                      <a:pt x="917" y="215"/>
                      <a:pt x="916" y="211"/>
                      <a:pt x="913" y="209"/>
                    </a:cubicBezTo>
                    <a:cubicBezTo>
                      <a:pt x="911" y="208"/>
                      <a:pt x="909" y="209"/>
                      <a:pt x="907" y="208"/>
                    </a:cubicBezTo>
                    <a:cubicBezTo>
                      <a:pt x="906" y="206"/>
                      <a:pt x="907" y="204"/>
                      <a:pt x="907" y="202"/>
                    </a:cubicBezTo>
                    <a:cubicBezTo>
                      <a:pt x="898" y="201"/>
                      <a:pt x="904" y="206"/>
                      <a:pt x="901" y="210"/>
                    </a:cubicBezTo>
                    <a:cubicBezTo>
                      <a:pt x="899" y="212"/>
                      <a:pt x="894" y="213"/>
                      <a:pt x="891" y="212"/>
                    </a:cubicBezTo>
                    <a:cubicBezTo>
                      <a:pt x="890" y="212"/>
                      <a:pt x="889" y="209"/>
                      <a:pt x="887" y="208"/>
                    </a:cubicBezTo>
                    <a:cubicBezTo>
                      <a:pt x="885" y="207"/>
                      <a:pt x="882" y="206"/>
                      <a:pt x="879" y="204"/>
                    </a:cubicBezTo>
                    <a:cubicBezTo>
                      <a:pt x="874" y="202"/>
                      <a:pt x="873" y="201"/>
                      <a:pt x="872" y="195"/>
                    </a:cubicBezTo>
                    <a:cubicBezTo>
                      <a:pt x="871" y="190"/>
                      <a:pt x="871" y="177"/>
                      <a:pt x="862" y="182"/>
                    </a:cubicBezTo>
                    <a:cubicBezTo>
                      <a:pt x="863" y="177"/>
                      <a:pt x="859" y="172"/>
                      <a:pt x="855" y="172"/>
                    </a:cubicBezTo>
                    <a:cubicBezTo>
                      <a:pt x="853" y="173"/>
                      <a:pt x="853" y="174"/>
                      <a:pt x="851" y="175"/>
                    </a:cubicBezTo>
                    <a:cubicBezTo>
                      <a:pt x="849" y="176"/>
                      <a:pt x="850" y="177"/>
                      <a:pt x="847" y="177"/>
                    </a:cubicBezTo>
                    <a:cubicBezTo>
                      <a:pt x="843" y="178"/>
                      <a:pt x="840" y="179"/>
                      <a:pt x="836" y="180"/>
                    </a:cubicBezTo>
                    <a:cubicBezTo>
                      <a:pt x="834" y="180"/>
                      <a:pt x="832" y="181"/>
                      <a:pt x="829" y="181"/>
                    </a:cubicBezTo>
                    <a:cubicBezTo>
                      <a:pt x="825" y="182"/>
                      <a:pt x="821" y="184"/>
                      <a:pt x="817" y="187"/>
                    </a:cubicBezTo>
                    <a:cubicBezTo>
                      <a:pt x="815" y="188"/>
                      <a:pt x="815" y="188"/>
                      <a:pt x="814" y="191"/>
                    </a:cubicBezTo>
                    <a:cubicBezTo>
                      <a:pt x="813" y="195"/>
                      <a:pt x="812" y="197"/>
                      <a:pt x="808" y="194"/>
                    </a:cubicBezTo>
                    <a:cubicBezTo>
                      <a:pt x="804" y="192"/>
                      <a:pt x="806" y="182"/>
                      <a:pt x="799" y="185"/>
                    </a:cubicBezTo>
                    <a:cubicBezTo>
                      <a:pt x="796" y="186"/>
                      <a:pt x="797" y="187"/>
                      <a:pt x="794" y="186"/>
                    </a:cubicBezTo>
                    <a:cubicBezTo>
                      <a:pt x="792" y="185"/>
                      <a:pt x="791" y="182"/>
                      <a:pt x="790" y="180"/>
                    </a:cubicBezTo>
                    <a:cubicBezTo>
                      <a:pt x="788" y="179"/>
                      <a:pt x="786" y="178"/>
                      <a:pt x="784" y="178"/>
                    </a:cubicBezTo>
                    <a:cubicBezTo>
                      <a:pt x="780" y="177"/>
                      <a:pt x="777" y="175"/>
                      <a:pt x="773" y="175"/>
                    </a:cubicBezTo>
                    <a:cubicBezTo>
                      <a:pt x="767" y="175"/>
                      <a:pt x="762" y="176"/>
                      <a:pt x="762" y="183"/>
                    </a:cubicBezTo>
                    <a:cubicBezTo>
                      <a:pt x="758" y="184"/>
                      <a:pt x="753" y="175"/>
                      <a:pt x="751" y="173"/>
                    </a:cubicBezTo>
                    <a:cubicBezTo>
                      <a:pt x="747" y="170"/>
                      <a:pt x="741" y="167"/>
                      <a:pt x="742" y="162"/>
                    </a:cubicBezTo>
                    <a:cubicBezTo>
                      <a:pt x="743" y="157"/>
                      <a:pt x="749" y="156"/>
                      <a:pt x="749" y="152"/>
                    </a:cubicBezTo>
                    <a:cubicBezTo>
                      <a:pt x="749" y="151"/>
                      <a:pt x="747" y="148"/>
                      <a:pt x="747" y="147"/>
                    </a:cubicBezTo>
                    <a:cubicBezTo>
                      <a:pt x="746" y="143"/>
                      <a:pt x="745" y="139"/>
                      <a:pt x="744" y="135"/>
                    </a:cubicBezTo>
                    <a:cubicBezTo>
                      <a:pt x="744" y="132"/>
                      <a:pt x="742" y="130"/>
                      <a:pt x="742" y="127"/>
                    </a:cubicBezTo>
                    <a:cubicBezTo>
                      <a:pt x="742" y="125"/>
                      <a:pt x="742" y="124"/>
                      <a:pt x="744" y="123"/>
                    </a:cubicBezTo>
                    <a:cubicBezTo>
                      <a:pt x="740" y="122"/>
                      <a:pt x="736" y="122"/>
                      <a:pt x="733" y="121"/>
                    </a:cubicBezTo>
                    <a:cubicBezTo>
                      <a:pt x="730" y="120"/>
                      <a:pt x="730" y="116"/>
                      <a:pt x="729" y="113"/>
                    </a:cubicBezTo>
                    <a:cubicBezTo>
                      <a:pt x="728" y="110"/>
                      <a:pt x="726" y="108"/>
                      <a:pt x="726" y="106"/>
                    </a:cubicBezTo>
                    <a:cubicBezTo>
                      <a:pt x="721" y="104"/>
                      <a:pt x="720" y="111"/>
                      <a:pt x="716" y="111"/>
                    </a:cubicBezTo>
                    <a:cubicBezTo>
                      <a:pt x="712" y="111"/>
                      <a:pt x="707" y="110"/>
                      <a:pt x="703" y="108"/>
                    </a:cubicBezTo>
                    <a:cubicBezTo>
                      <a:pt x="699" y="106"/>
                      <a:pt x="695" y="103"/>
                      <a:pt x="690" y="104"/>
                    </a:cubicBezTo>
                    <a:cubicBezTo>
                      <a:pt x="689" y="104"/>
                      <a:pt x="688" y="105"/>
                      <a:pt x="686" y="105"/>
                    </a:cubicBezTo>
                    <a:cubicBezTo>
                      <a:pt x="683" y="105"/>
                      <a:pt x="680" y="106"/>
                      <a:pt x="677" y="105"/>
                    </a:cubicBezTo>
                    <a:cubicBezTo>
                      <a:pt x="677" y="103"/>
                      <a:pt x="677" y="99"/>
                      <a:pt x="680" y="99"/>
                    </a:cubicBezTo>
                    <a:cubicBezTo>
                      <a:pt x="680" y="96"/>
                      <a:pt x="671" y="94"/>
                      <a:pt x="672" y="89"/>
                    </a:cubicBezTo>
                    <a:cubicBezTo>
                      <a:pt x="673" y="86"/>
                      <a:pt x="678" y="88"/>
                      <a:pt x="680" y="85"/>
                    </a:cubicBezTo>
                    <a:cubicBezTo>
                      <a:pt x="682" y="83"/>
                      <a:pt x="681" y="77"/>
                      <a:pt x="681" y="74"/>
                    </a:cubicBezTo>
                    <a:cubicBezTo>
                      <a:pt x="678" y="74"/>
                      <a:pt x="672" y="72"/>
                      <a:pt x="670" y="70"/>
                    </a:cubicBezTo>
                    <a:cubicBezTo>
                      <a:pt x="667" y="67"/>
                      <a:pt x="669" y="65"/>
                      <a:pt x="673" y="65"/>
                    </a:cubicBezTo>
                    <a:cubicBezTo>
                      <a:pt x="677" y="64"/>
                      <a:pt x="680" y="65"/>
                      <a:pt x="684" y="65"/>
                    </a:cubicBezTo>
                    <a:cubicBezTo>
                      <a:pt x="687" y="65"/>
                      <a:pt x="687" y="65"/>
                      <a:pt x="690" y="62"/>
                    </a:cubicBezTo>
                    <a:cubicBezTo>
                      <a:pt x="692" y="60"/>
                      <a:pt x="691" y="45"/>
                      <a:pt x="686" y="45"/>
                    </a:cubicBezTo>
                    <a:cubicBezTo>
                      <a:pt x="684" y="45"/>
                      <a:pt x="682" y="45"/>
                      <a:pt x="680" y="45"/>
                    </a:cubicBezTo>
                    <a:cubicBezTo>
                      <a:pt x="678" y="44"/>
                      <a:pt x="678" y="45"/>
                      <a:pt x="677" y="43"/>
                    </a:cubicBezTo>
                    <a:cubicBezTo>
                      <a:pt x="676" y="41"/>
                      <a:pt x="676" y="37"/>
                      <a:pt x="673" y="37"/>
                    </a:cubicBezTo>
                    <a:cubicBezTo>
                      <a:pt x="676" y="44"/>
                      <a:pt x="676" y="44"/>
                      <a:pt x="676" y="44"/>
                    </a:cubicBezTo>
                    <a:cubicBezTo>
                      <a:pt x="676" y="44"/>
                      <a:pt x="676" y="45"/>
                      <a:pt x="676" y="45"/>
                    </a:cubicBezTo>
                    <a:cubicBezTo>
                      <a:pt x="676" y="44"/>
                      <a:pt x="676" y="44"/>
                      <a:pt x="676" y="44"/>
                    </a:cubicBezTo>
                    <a:cubicBezTo>
                      <a:pt x="675" y="42"/>
                      <a:pt x="673" y="41"/>
                      <a:pt x="672" y="40"/>
                    </a:cubicBezTo>
                    <a:cubicBezTo>
                      <a:pt x="672" y="39"/>
                      <a:pt x="668" y="36"/>
                      <a:pt x="668" y="35"/>
                    </a:cubicBezTo>
                    <a:cubicBezTo>
                      <a:pt x="666" y="32"/>
                      <a:pt x="668" y="31"/>
                      <a:pt x="669" y="29"/>
                    </a:cubicBezTo>
                    <a:cubicBezTo>
                      <a:pt x="670" y="27"/>
                      <a:pt x="671" y="26"/>
                      <a:pt x="671" y="23"/>
                    </a:cubicBezTo>
                    <a:cubicBezTo>
                      <a:pt x="670" y="19"/>
                      <a:pt x="668" y="21"/>
                      <a:pt x="666" y="19"/>
                    </a:cubicBezTo>
                    <a:cubicBezTo>
                      <a:pt x="665" y="18"/>
                      <a:pt x="664" y="18"/>
                      <a:pt x="664" y="17"/>
                    </a:cubicBezTo>
                    <a:cubicBezTo>
                      <a:pt x="662" y="13"/>
                      <a:pt x="662" y="10"/>
                      <a:pt x="658" y="7"/>
                    </a:cubicBezTo>
                    <a:cubicBezTo>
                      <a:pt x="655" y="4"/>
                      <a:pt x="652" y="0"/>
                      <a:pt x="649" y="6"/>
                    </a:cubicBezTo>
                    <a:cubicBezTo>
                      <a:pt x="646" y="12"/>
                      <a:pt x="647" y="15"/>
                      <a:pt x="639" y="14"/>
                    </a:cubicBezTo>
                    <a:cubicBezTo>
                      <a:pt x="639" y="10"/>
                      <a:pt x="639" y="10"/>
                      <a:pt x="636" y="9"/>
                    </a:cubicBezTo>
                    <a:cubicBezTo>
                      <a:pt x="634" y="8"/>
                      <a:pt x="632" y="8"/>
                      <a:pt x="630" y="8"/>
                    </a:cubicBezTo>
                    <a:cubicBezTo>
                      <a:pt x="629" y="9"/>
                      <a:pt x="629" y="10"/>
                      <a:pt x="628" y="11"/>
                    </a:cubicBezTo>
                    <a:cubicBezTo>
                      <a:pt x="627" y="11"/>
                      <a:pt x="625" y="11"/>
                      <a:pt x="624" y="11"/>
                    </a:cubicBezTo>
                    <a:cubicBezTo>
                      <a:pt x="621" y="11"/>
                      <a:pt x="618" y="10"/>
                      <a:pt x="615" y="11"/>
                    </a:cubicBezTo>
                    <a:cubicBezTo>
                      <a:pt x="615" y="11"/>
                      <a:pt x="612" y="14"/>
                      <a:pt x="612" y="14"/>
                    </a:cubicBezTo>
                    <a:cubicBezTo>
                      <a:pt x="612" y="14"/>
                      <a:pt x="610" y="16"/>
                      <a:pt x="609" y="17"/>
                    </a:cubicBezTo>
                    <a:cubicBezTo>
                      <a:pt x="608" y="18"/>
                      <a:pt x="606" y="18"/>
                      <a:pt x="603" y="17"/>
                    </a:cubicBezTo>
                    <a:cubicBezTo>
                      <a:pt x="601" y="17"/>
                      <a:pt x="600" y="16"/>
                      <a:pt x="598" y="16"/>
                    </a:cubicBezTo>
                    <a:cubicBezTo>
                      <a:pt x="596" y="15"/>
                      <a:pt x="595" y="15"/>
                      <a:pt x="594" y="15"/>
                    </a:cubicBezTo>
                    <a:cubicBezTo>
                      <a:pt x="593" y="15"/>
                      <a:pt x="592" y="15"/>
                      <a:pt x="592" y="15"/>
                    </a:cubicBezTo>
                    <a:cubicBezTo>
                      <a:pt x="591" y="15"/>
                      <a:pt x="590" y="14"/>
                      <a:pt x="590" y="13"/>
                    </a:cubicBezTo>
                    <a:cubicBezTo>
                      <a:pt x="589" y="12"/>
                      <a:pt x="589" y="11"/>
                      <a:pt x="587" y="10"/>
                    </a:cubicBezTo>
                    <a:cubicBezTo>
                      <a:pt x="586" y="9"/>
                      <a:pt x="585" y="9"/>
                      <a:pt x="584" y="9"/>
                    </a:cubicBezTo>
                    <a:cubicBezTo>
                      <a:pt x="582" y="8"/>
                      <a:pt x="584" y="7"/>
                      <a:pt x="582" y="7"/>
                    </a:cubicBezTo>
                    <a:cubicBezTo>
                      <a:pt x="582" y="7"/>
                      <a:pt x="579" y="10"/>
                      <a:pt x="579" y="9"/>
                    </a:cubicBezTo>
                    <a:cubicBezTo>
                      <a:pt x="575" y="14"/>
                      <a:pt x="577" y="17"/>
                      <a:pt x="576" y="23"/>
                    </a:cubicBezTo>
                    <a:cubicBezTo>
                      <a:pt x="576" y="24"/>
                      <a:pt x="575" y="28"/>
                      <a:pt x="574" y="29"/>
                    </a:cubicBezTo>
                    <a:cubicBezTo>
                      <a:pt x="573" y="30"/>
                      <a:pt x="570" y="30"/>
                      <a:pt x="569" y="31"/>
                    </a:cubicBezTo>
                    <a:cubicBezTo>
                      <a:pt x="567" y="33"/>
                      <a:pt x="566" y="35"/>
                      <a:pt x="564" y="36"/>
                    </a:cubicBezTo>
                    <a:cubicBezTo>
                      <a:pt x="561" y="36"/>
                      <a:pt x="554" y="36"/>
                      <a:pt x="552" y="34"/>
                    </a:cubicBezTo>
                    <a:cubicBezTo>
                      <a:pt x="550" y="31"/>
                      <a:pt x="552" y="30"/>
                      <a:pt x="549" y="29"/>
                    </a:cubicBezTo>
                    <a:cubicBezTo>
                      <a:pt x="549" y="30"/>
                      <a:pt x="549" y="30"/>
                      <a:pt x="549" y="31"/>
                    </a:cubicBezTo>
                    <a:cubicBezTo>
                      <a:pt x="548" y="33"/>
                      <a:pt x="545" y="31"/>
                      <a:pt x="543" y="30"/>
                    </a:cubicBezTo>
                    <a:cubicBezTo>
                      <a:pt x="537" y="29"/>
                      <a:pt x="530" y="27"/>
                      <a:pt x="523" y="27"/>
                    </a:cubicBezTo>
                    <a:cubicBezTo>
                      <a:pt x="521" y="27"/>
                      <a:pt x="521" y="27"/>
                      <a:pt x="520" y="29"/>
                    </a:cubicBezTo>
                    <a:cubicBezTo>
                      <a:pt x="519" y="31"/>
                      <a:pt x="517" y="34"/>
                      <a:pt x="516" y="35"/>
                    </a:cubicBezTo>
                    <a:cubicBezTo>
                      <a:pt x="514" y="35"/>
                      <a:pt x="510" y="36"/>
                      <a:pt x="508" y="35"/>
                    </a:cubicBezTo>
                    <a:cubicBezTo>
                      <a:pt x="506" y="34"/>
                      <a:pt x="507" y="34"/>
                      <a:pt x="506" y="33"/>
                    </a:cubicBezTo>
                    <a:cubicBezTo>
                      <a:pt x="505" y="32"/>
                      <a:pt x="504" y="29"/>
                      <a:pt x="502" y="31"/>
                    </a:cubicBezTo>
                    <a:cubicBezTo>
                      <a:pt x="501" y="32"/>
                      <a:pt x="502" y="35"/>
                      <a:pt x="502" y="36"/>
                    </a:cubicBezTo>
                    <a:cubicBezTo>
                      <a:pt x="502" y="38"/>
                      <a:pt x="501" y="40"/>
                      <a:pt x="500" y="42"/>
                    </a:cubicBezTo>
                    <a:cubicBezTo>
                      <a:pt x="499" y="42"/>
                      <a:pt x="499" y="42"/>
                      <a:pt x="498" y="43"/>
                    </a:cubicBezTo>
                    <a:cubicBezTo>
                      <a:pt x="497" y="44"/>
                      <a:pt x="497" y="45"/>
                      <a:pt x="496" y="46"/>
                    </a:cubicBezTo>
                    <a:cubicBezTo>
                      <a:pt x="495" y="48"/>
                      <a:pt x="493" y="51"/>
                      <a:pt x="492" y="52"/>
                    </a:cubicBezTo>
                    <a:cubicBezTo>
                      <a:pt x="491" y="53"/>
                      <a:pt x="490" y="53"/>
                      <a:pt x="490" y="54"/>
                    </a:cubicBezTo>
                    <a:cubicBezTo>
                      <a:pt x="488" y="55"/>
                      <a:pt x="488" y="56"/>
                      <a:pt x="487" y="58"/>
                    </a:cubicBezTo>
                    <a:cubicBezTo>
                      <a:pt x="485" y="61"/>
                      <a:pt x="483" y="64"/>
                      <a:pt x="481" y="67"/>
                    </a:cubicBezTo>
                    <a:cubicBezTo>
                      <a:pt x="476" y="75"/>
                      <a:pt x="478" y="84"/>
                      <a:pt x="480" y="92"/>
                    </a:cubicBezTo>
                    <a:cubicBezTo>
                      <a:pt x="481" y="95"/>
                      <a:pt x="483" y="98"/>
                      <a:pt x="482" y="101"/>
                    </a:cubicBezTo>
                    <a:cubicBezTo>
                      <a:pt x="481" y="103"/>
                      <a:pt x="479" y="106"/>
                      <a:pt x="476" y="105"/>
                    </a:cubicBezTo>
                    <a:cubicBezTo>
                      <a:pt x="474" y="105"/>
                      <a:pt x="473" y="104"/>
                      <a:pt x="472" y="103"/>
                    </a:cubicBezTo>
                    <a:cubicBezTo>
                      <a:pt x="470" y="101"/>
                      <a:pt x="468" y="99"/>
                      <a:pt x="466" y="97"/>
                    </a:cubicBezTo>
                    <a:cubicBezTo>
                      <a:pt x="464" y="94"/>
                      <a:pt x="461" y="94"/>
                      <a:pt x="459" y="92"/>
                    </a:cubicBezTo>
                    <a:cubicBezTo>
                      <a:pt x="457" y="91"/>
                      <a:pt x="456" y="86"/>
                      <a:pt x="453" y="85"/>
                    </a:cubicBezTo>
                    <a:cubicBezTo>
                      <a:pt x="450" y="83"/>
                      <a:pt x="446" y="87"/>
                      <a:pt x="442" y="88"/>
                    </a:cubicBezTo>
                    <a:cubicBezTo>
                      <a:pt x="439" y="88"/>
                      <a:pt x="435" y="88"/>
                      <a:pt x="432" y="88"/>
                    </a:cubicBezTo>
                    <a:cubicBezTo>
                      <a:pt x="432" y="85"/>
                      <a:pt x="431" y="82"/>
                      <a:pt x="428" y="81"/>
                    </a:cubicBezTo>
                    <a:cubicBezTo>
                      <a:pt x="424" y="79"/>
                      <a:pt x="419" y="82"/>
                      <a:pt x="418" y="87"/>
                    </a:cubicBezTo>
                    <a:cubicBezTo>
                      <a:pt x="418" y="89"/>
                      <a:pt x="418" y="90"/>
                      <a:pt x="417" y="92"/>
                    </a:cubicBezTo>
                    <a:cubicBezTo>
                      <a:pt x="416" y="93"/>
                      <a:pt x="416" y="94"/>
                      <a:pt x="414" y="95"/>
                    </a:cubicBezTo>
                    <a:cubicBezTo>
                      <a:pt x="412" y="95"/>
                      <a:pt x="409" y="94"/>
                      <a:pt x="408" y="93"/>
                    </a:cubicBezTo>
                    <a:cubicBezTo>
                      <a:pt x="405" y="90"/>
                      <a:pt x="403" y="83"/>
                      <a:pt x="403" y="79"/>
                    </a:cubicBezTo>
                    <a:cubicBezTo>
                      <a:pt x="402" y="76"/>
                      <a:pt x="400" y="71"/>
                      <a:pt x="395" y="73"/>
                    </a:cubicBezTo>
                    <a:cubicBezTo>
                      <a:pt x="393" y="74"/>
                      <a:pt x="393" y="76"/>
                      <a:pt x="392" y="77"/>
                    </a:cubicBezTo>
                    <a:cubicBezTo>
                      <a:pt x="391" y="79"/>
                      <a:pt x="389" y="80"/>
                      <a:pt x="387" y="80"/>
                    </a:cubicBezTo>
                    <a:cubicBezTo>
                      <a:pt x="385" y="81"/>
                      <a:pt x="384" y="81"/>
                      <a:pt x="382" y="82"/>
                    </a:cubicBezTo>
                    <a:cubicBezTo>
                      <a:pt x="379" y="83"/>
                      <a:pt x="379" y="82"/>
                      <a:pt x="378" y="84"/>
                    </a:cubicBezTo>
                    <a:cubicBezTo>
                      <a:pt x="378" y="86"/>
                      <a:pt x="380" y="91"/>
                      <a:pt x="378" y="92"/>
                    </a:cubicBezTo>
                    <a:cubicBezTo>
                      <a:pt x="377" y="93"/>
                      <a:pt x="374" y="93"/>
                      <a:pt x="372" y="93"/>
                    </a:cubicBezTo>
                    <a:cubicBezTo>
                      <a:pt x="372" y="88"/>
                      <a:pt x="374" y="79"/>
                      <a:pt x="368" y="77"/>
                    </a:cubicBezTo>
                    <a:cubicBezTo>
                      <a:pt x="367" y="77"/>
                      <a:pt x="364" y="77"/>
                      <a:pt x="363" y="77"/>
                    </a:cubicBezTo>
                    <a:cubicBezTo>
                      <a:pt x="361" y="78"/>
                      <a:pt x="360" y="80"/>
                      <a:pt x="359" y="81"/>
                    </a:cubicBezTo>
                    <a:cubicBezTo>
                      <a:pt x="357" y="82"/>
                      <a:pt x="356" y="81"/>
                      <a:pt x="354" y="78"/>
                    </a:cubicBezTo>
                    <a:cubicBezTo>
                      <a:pt x="353" y="75"/>
                      <a:pt x="351" y="66"/>
                      <a:pt x="347" y="66"/>
                    </a:cubicBezTo>
                    <a:cubicBezTo>
                      <a:pt x="344" y="65"/>
                      <a:pt x="343" y="70"/>
                      <a:pt x="343" y="72"/>
                    </a:cubicBezTo>
                    <a:cubicBezTo>
                      <a:pt x="342" y="74"/>
                      <a:pt x="341" y="75"/>
                      <a:pt x="338" y="75"/>
                    </a:cubicBezTo>
                    <a:cubicBezTo>
                      <a:pt x="336" y="75"/>
                      <a:pt x="333" y="72"/>
                      <a:pt x="332" y="73"/>
                    </a:cubicBezTo>
                    <a:cubicBezTo>
                      <a:pt x="330" y="74"/>
                      <a:pt x="331" y="77"/>
                      <a:pt x="331" y="79"/>
                    </a:cubicBezTo>
                    <a:cubicBezTo>
                      <a:pt x="330" y="81"/>
                      <a:pt x="329" y="82"/>
                      <a:pt x="327" y="84"/>
                    </a:cubicBezTo>
                    <a:cubicBezTo>
                      <a:pt x="324" y="86"/>
                      <a:pt x="323" y="86"/>
                      <a:pt x="321" y="83"/>
                    </a:cubicBezTo>
                    <a:cubicBezTo>
                      <a:pt x="320" y="81"/>
                      <a:pt x="319" y="78"/>
                      <a:pt x="318" y="75"/>
                    </a:cubicBezTo>
                    <a:cubicBezTo>
                      <a:pt x="317" y="72"/>
                      <a:pt x="314" y="72"/>
                      <a:pt x="311" y="72"/>
                    </a:cubicBezTo>
                    <a:cubicBezTo>
                      <a:pt x="308" y="72"/>
                      <a:pt x="305" y="75"/>
                      <a:pt x="303" y="74"/>
                    </a:cubicBezTo>
                    <a:cubicBezTo>
                      <a:pt x="302" y="73"/>
                      <a:pt x="302" y="72"/>
                      <a:pt x="302" y="71"/>
                    </a:cubicBezTo>
                    <a:cubicBezTo>
                      <a:pt x="301" y="70"/>
                      <a:pt x="301" y="70"/>
                      <a:pt x="300" y="68"/>
                    </a:cubicBezTo>
                    <a:cubicBezTo>
                      <a:pt x="300" y="67"/>
                      <a:pt x="300" y="67"/>
                      <a:pt x="299" y="66"/>
                    </a:cubicBezTo>
                    <a:cubicBezTo>
                      <a:pt x="299" y="65"/>
                      <a:pt x="298" y="64"/>
                      <a:pt x="298" y="64"/>
                    </a:cubicBezTo>
                    <a:cubicBezTo>
                      <a:pt x="297" y="62"/>
                      <a:pt x="297" y="60"/>
                      <a:pt x="296" y="59"/>
                    </a:cubicBezTo>
                    <a:cubicBezTo>
                      <a:pt x="291" y="53"/>
                      <a:pt x="284" y="62"/>
                      <a:pt x="279" y="61"/>
                    </a:cubicBezTo>
                    <a:cubicBezTo>
                      <a:pt x="276" y="60"/>
                      <a:pt x="274" y="58"/>
                      <a:pt x="272" y="57"/>
                    </a:cubicBezTo>
                    <a:cubicBezTo>
                      <a:pt x="270" y="56"/>
                      <a:pt x="267" y="55"/>
                      <a:pt x="265" y="54"/>
                    </a:cubicBezTo>
                    <a:cubicBezTo>
                      <a:pt x="262" y="54"/>
                      <a:pt x="259" y="54"/>
                      <a:pt x="255" y="54"/>
                    </a:cubicBezTo>
                    <a:cubicBezTo>
                      <a:pt x="253" y="55"/>
                      <a:pt x="250" y="56"/>
                      <a:pt x="248" y="55"/>
                    </a:cubicBezTo>
                    <a:cubicBezTo>
                      <a:pt x="246" y="54"/>
                      <a:pt x="247" y="51"/>
                      <a:pt x="244" y="50"/>
                    </a:cubicBezTo>
                    <a:cubicBezTo>
                      <a:pt x="243" y="49"/>
                      <a:pt x="240" y="50"/>
                      <a:pt x="239" y="50"/>
                    </a:cubicBezTo>
                    <a:cubicBezTo>
                      <a:pt x="237" y="50"/>
                      <a:pt x="235" y="49"/>
                      <a:pt x="234" y="49"/>
                    </a:cubicBezTo>
                    <a:cubicBezTo>
                      <a:pt x="231" y="48"/>
                      <a:pt x="229" y="48"/>
                      <a:pt x="227" y="48"/>
                    </a:cubicBezTo>
                    <a:cubicBezTo>
                      <a:pt x="226" y="48"/>
                      <a:pt x="224" y="48"/>
                      <a:pt x="223" y="47"/>
                    </a:cubicBezTo>
                    <a:cubicBezTo>
                      <a:pt x="222" y="47"/>
                      <a:pt x="221" y="46"/>
                      <a:pt x="220" y="46"/>
                    </a:cubicBezTo>
                    <a:cubicBezTo>
                      <a:pt x="219" y="45"/>
                      <a:pt x="216" y="46"/>
                      <a:pt x="214" y="46"/>
                    </a:cubicBezTo>
                    <a:cubicBezTo>
                      <a:pt x="210" y="46"/>
                      <a:pt x="206" y="45"/>
                      <a:pt x="202" y="45"/>
                    </a:cubicBezTo>
                    <a:cubicBezTo>
                      <a:pt x="198" y="45"/>
                      <a:pt x="194" y="44"/>
                      <a:pt x="190" y="44"/>
                    </a:cubicBezTo>
                    <a:cubicBezTo>
                      <a:pt x="188" y="44"/>
                      <a:pt x="187" y="44"/>
                      <a:pt x="185" y="44"/>
                    </a:cubicBezTo>
                    <a:cubicBezTo>
                      <a:pt x="182" y="43"/>
                      <a:pt x="179" y="46"/>
                      <a:pt x="176" y="46"/>
                    </a:cubicBezTo>
                    <a:cubicBezTo>
                      <a:pt x="174" y="47"/>
                      <a:pt x="172" y="47"/>
                      <a:pt x="171" y="47"/>
                    </a:cubicBezTo>
                    <a:cubicBezTo>
                      <a:pt x="169" y="47"/>
                      <a:pt x="167" y="45"/>
                      <a:pt x="165" y="45"/>
                    </a:cubicBezTo>
                    <a:cubicBezTo>
                      <a:pt x="163" y="44"/>
                      <a:pt x="161" y="44"/>
                      <a:pt x="159" y="44"/>
                    </a:cubicBezTo>
                    <a:cubicBezTo>
                      <a:pt x="156" y="43"/>
                      <a:pt x="153" y="44"/>
                      <a:pt x="151" y="46"/>
                    </a:cubicBezTo>
                    <a:cubicBezTo>
                      <a:pt x="151" y="46"/>
                      <a:pt x="149" y="48"/>
                      <a:pt x="149" y="48"/>
                    </a:cubicBezTo>
                    <a:cubicBezTo>
                      <a:pt x="148" y="48"/>
                      <a:pt x="147" y="48"/>
                      <a:pt x="146" y="48"/>
                    </a:cubicBezTo>
                    <a:cubicBezTo>
                      <a:pt x="145" y="48"/>
                      <a:pt x="143" y="49"/>
                      <a:pt x="142" y="51"/>
                    </a:cubicBezTo>
                    <a:cubicBezTo>
                      <a:pt x="139" y="54"/>
                      <a:pt x="141" y="57"/>
                      <a:pt x="139" y="60"/>
                    </a:cubicBezTo>
                    <a:cubicBezTo>
                      <a:pt x="138" y="64"/>
                      <a:pt x="133" y="64"/>
                      <a:pt x="131" y="66"/>
                    </a:cubicBezTo>
                    <a:cubicBezTo>
                      <a:pt x="128" y="68"/>
                      <a:pt x="127" y="68"/>
                      <a:pt x="124" y="68"/>
                    </a:cubicBezTo>
                    <a:cubicBezTo>
                      <a:pt x="121" y="69"/>
                      <a:pt x="118" y="70"/>
                      <a:pt x="115" y="70"/>
                    </a:cubicBezTo>
                    <a:cubicBezTo>
                      <a:pt x="115" y="70"/>
                      <a:pt x="115" y="70"/>
                      <a:pt x="115" y="70"/>
                    </a:cubicBezTo>
                    <a:cubicBezTo>
                      <a:pt x="116" y="71"/>
                      <a:pt x="116" y="74"/>
                      <a:pt x="117" y="76"/>
                    </a:cubicBezTo>
                    <a:cubicBezTo>
                      <a:pt x="117" y="78"/>
                      <a:pt x="117" y="79"/>
                      <a:pt x="117" y="81"/>
                    </a:cubicBezTo>
                    <a:cubicBezTo>
                      <a:pt x="117" y="84"/>
                      <a:pt x="118" y="87"/>
                      <a:pt x="119" y="90"/>
                    </a:cubicBezTo>
                    <a:cubicBezTo>
                      <a:pt x="120" y="94"/>
                      <a:pt x="122" y="97"/>
                      <a:pt x="124" y="101"/>
                    </a:cubicBezTo>
                    <a:cubicBezTo>
                      <a:pt x="124" y="103"/>
                      <a:pt x="125" y="104"/>
                      <a:pt x="126" y="106"/>
                    </a:cubicBezTo>
                    <a:cubicBezTo>
                      <a:pt x="126" y="107"/>
                      <a:pt x="126" y="107"/>
                      <a:pt x="127" y="108"/>
                    </a:cubicBezTo>
                    <a:cubicBezTo>
                      <a:pt x="127" y="108"/>
                      <a:pt x="127" y="109"/>
                      <a:pt x="127" y="109"/>
                    </a:cubicBezTo>
                    <a:cubicBezTo>
                      <a:pt x="127" y="110"/>
                      <a:pt x="127" y="111"/>
                      <a:pt x="128" y="111"/>
                    </a:cubicBezTo>
                    <a:cubicBezTo>
                      <a:pt x="129" y="111"/>
                      <a:pt x="130" y="111"/>
                      <a:pt x="130" y="111"/>
                    </a:cubicBezTo>
                    <a:cubicBezTo>
                      <a:pt x="131" y="112"/>
                      <a:pt x="132" y="115"/>
                      <a:pt x="132" y="116"/>
                    </a:cubicBezTo>
                    <a:cubicBezTo>
                      <a:pt x="134" y="119"/>
                      <a:pt x="136" y="122"/>
                      <a:pt x="138" y="124"/>
                    </a:cubicBezTo>
                    <a:cubicBezTo>
                      <a:pt x="138" y="126"/>
                      <a:pt x="138" y="128"/>
                      <a:pt x="139" y="130"/>
                    </a:cubicBezTo>
                    <a:cubicBezTo>
                      <a:pt x="140" y="131"/>
                      <a:pt x="140" y="130"/>
                      <a:pt x="141" y="132"/>
                    </a:cubicBezTo>
                    <a:cubicBezTo>
                      <a:pt x="141" y="133"/>
                      <a:pt x="141" y="134"/>
                      <a:pt x="140" y="135"/>
                    </a:cubicBezTo>
                    <a:cubicBezTo>
                      <a:pt x="140" y="135"/>
                      <a:pt x="125" y="134"/>
                      <a:pt x="129" y="139"/>
                    </a:cubicBezTo>
                    <a:cubicBezTo>
                      <a:pt x="129" y="139"/>
                      <a:pt x="131" y="140"/>
                      <a:pt x="132" y="140"/>
                    </a:cubicBezTo>
                    <a:cubicBezTo>
                      <a:pt x="132" y="140"/>
                      <a:pt x="134" y="141"/>
                      <a:pt x="135" y="142"/>
                    </a:cubicBezTo>
                    <a:cubicBezTo>
                      <a:pt x="136" y="144"/>
                      <a:pt x="136" y="145"/>
                      <a:pt x="136" y="147"/>
                    </a:cubicBezTo>
                    <a:cubicBezTo>
                      <a:pt x="136" y="152"/>
                      <a:pt x="136" y="157"/>
                      <a:pt x="136" y="162"/>
                    </a:cubicBezTo>
                    <a:cubicBezTo>
                      <a:pt x="136" y="162"/>
                      <a:pt x="135" y="163"/>
                      <a:pt x="135" y="164"/>
                    </a:cubicBezTo>
                    <a:cubicBezTo>
                      <a:pt x="136" y="163"/>
                      <a:pt x="136" y="163"/>
                      <a:pt x="136" y="162"/>
                    </a:cubicBezTo>
                    <a:cubicBezTo>
                      <a:pt x="136" y="162"/>
                      <a:pt x="136" y="161"/>
                      <a:pt x="136" y="161"/>
                    </a:cubicBezTo>
                    <a:cubicBezTo>
                      <a:pt x="136" y="161"/>
                      <a:pt x="136" y="162"/>
                      <a:pt x="136" y="162"/>
                    </a:cubicBezTo>
                    <a:cubicBezTo>
                      <a:pt x="136" y="165"/>
                      <a:pt x="137" y="169"/>
                      <a:pt x="135" y="170"/>
                    </a:cubicBezTo>
                    <a:cubicBezTo>
                      <a:pt x="134" y="171"/>
                      <a:pt x="128" y="170"/>
                      <a:pt x="126" y="170"/>
                    </a:cubicBezTo>
                    <a:cubicBezTo>
                      <a:pt x="120" y="170"/>
                      <a:pt x="114" y="172"/>
                      <a:pt x="109" y="176"/>
                    </a:cubicBezTo>
                    <a:cubicBezTo>
                      <a:pt x="105" y="178"/>
                      <a:pt x="101" y="183"/>
                      <a:pt x="98" y="186"/>
                    </a:cubicBezTo>
                    <a:cubicBezTo>
                      <a:pt x="96" y="190"/>
                      <a:pt x="92" y="192"/>
                      <a:pt x="90" y="196"/>
                    </a:cubicBezTo>
                    <a:cubicBezTo>
                      <a:pt x="89" y="197"/>
                      <a:pt x="87" y="197"/>
                      <a:pt x="86" y="199"/>
                    </a:cubicBezTo>
                    <a:cubicBezTo>
                      <a:pt x="85" y="199"/>
                      <a:pt x="85" y="201"/>
                      <a:pt x="85" y="203"/>
                    </a:cubicBezTo>
                    <a:cubicBezTo>
                      <a:pt x="84" y="203"/>
                      <a:pt x="84" y="204"/>
                      <a:pt x="84" y="204"/>
                    </a:cubicBezTo>
                    <a:cubicBezTo>
                      <a:pt x="84" y="205"/>
                      <a:pt x="84" y="206"/>
                      <a:pt x="84" y="206"/>
                    </a:cubicBezTo>
                    <a:cubicBezTo>
                      <a:pt x="83" y="207"/>
                      <a:pt x="82" y="209"/>
                      <a:pt x="81" y="211"/>
                    </a:cubicBezTo>
                    <a:cubicBezTo>
                      <a:pt x="78" y="216"/>
                      <a:pt x="75" y="220"/>
                      <a:pt x="72" y="225"/>
                    </a:cubicBezTo>
                    <a:cubicBezTo>
                      <a:pt x="71" y="228"/>
                      <a:pt x="69" y="231"/>
                      <a:pt x="68" y="233"/>
                    </a:cubicBezTo>
                    <a:cubicBezTo>
                      <a:pt x="68" y="234"/>
                      <a:pt x="67" y="235"/>
                      <a:pt x="66" y="235"/>
                    </a:cubicBezTo>
                    <a:cubicBezTo>
                      <a:pt x="65" y="237"/>
                      <a:pt x="64" y="237"/>
                      <a:pt x="62" y="238"/>
                    </a:cubicBezTo>
                    <a:cubicBezTo>
                      <a:pt x="61" y="239"/>
                      <a:pt x="60" y="241"/>
                      <a:pt x="58" y="242"/>
                    </a:cubicBezTo>
                    <a:cubicBezTo>
                      <a:pt x="57" y="244"/>
                      <a:pt x="57" y="242"/>
                      <a:pt x="57" y="244"/>
                    </a:cubicBezTo>
                    <a:cubicBezTo>
                      <a:pt x="57" y="244"/>
                      <a:pt x="57" y="245"/>
                      <a:pt x="57" y="246"/>
                    </a:cubicBezTo>
                    <a:cubicBezTo>
                      <a:pt x="57" y="247"/>
                      <a:pt x="57" y="247"/>
                      <a:pt x="57" y="248"/>
                    </a:cubicBezTo>
                    <a:cubicBezTo>
                      <a:pt x="58" y="251"/>
                      <a:pt x="59" y="252"/>
                      <a:pt x="59" y="254"/>
                    </a:cubicBezTo>
                    <a:cubicBezTo>
                      <a:pt x="59" y="255"/>
                      <a:pt x="59" y="257"/>
                      <a:pt x="59" y="258"/>
                    </a:cubicBezTo>
                    <a:cubicBezTo>
                      <a:pt x="60" y="258"/>
                      <a:pt x="60" y="259"/>
                      <a:pt x="61" y="259"/>
                    </a:cubicBezTo>
                    <a:cubicBezTo>
                      <a:pt x="62" y="261"/>
                      <a:pt x="61" y="264"/>
                      <a:pt x="61" y="266"/>
                    </a:cubicBezTo>
                    <a:cubicBezTo>
                      <a:pt x="61" y="269"/>
                      <a:pt x="60" y="274"/>
                      <a:pt x="64" y="275"/>
                    </a:cubicBezTo>
                    <a:cubicBezTo>
                      <a:pt x="65" y="275"/>
                      <a:pt x="66" y="275"/>
                      <a:pt x="66" y="275"/>
                    </a:cubicBezTo>
                    <a:cubicBezTo>
                      <a:pt x="67" y="275"/>
                      <a:pt x="67" y="276"/>
                      <a:pt x="67" y="276"/>
                    </a:cubicBezTo>
                    <a:cubicBezTo>
                      <a:pt x="68" y="277"/>
                      <a:pt x="68" y="277"/>
                      <a:pt x="69" y="277"/>
                    </a:cubicBezTo>
                    <a:cubicBezTo>
                      <a:pt x="69" y="280"/>
                      <a:pt x="72" y="282"/>
                      <a:pt x="71" y="285"/>
                    </a:cubicBezTo>
                    <a:cubicBezTo>
                      <a:pt x="69" y="285"/>
                      <a:pt x="65" y="285"/>
                      <a:pt x="63" y="285"/>
                    </a:cubicBezTo>
                    <a:cubicBezTo>
                      <a:pt x="62" y="284"/>
                      <a:pt x="62" y="283"/>
                      <a:pt x="61" y="283"/>
                    </a:cubicBezTo>
                    <a:cubicBezTo>
                      <a:pt x="60" y="283"/>
                      <a:pt x="59" y="283"/>
                      <a:pt x="58" y="283"/>
                    </a:cubicBezTo>
                    <a:cubicBezTo>
                      <a:pt x="55" y="283"/>
                      <a:pt x="54" y="282"/>
                      <a:pt x="52" y="280"/>
                    </a:cubicBezTo>
                    <a:cubicBezTo>
                      <a:pt x="52" y="281"/>
                      <a:pt x="52" y="281"/>
                      <a:pt x="51" y="281"/>
                    </a:cubicBezTo>
                    <a:cubicBezTo>
                      <a:pt x="51" y="283"/>
                      <a:pt x="50" y="284"/>
                      <a:pt x="50" y="285"/>
                    </a:cubicBezTo>
                    <a:cubicBezTo>
                      <a:pt x="47" y="289"/>
                      <a:pt x="44" y="290"/>
                      <a:pt x="40" y="291"/>
                    </a:cubicBezTo>
                    <a:cubicBezTo>
                      <a:pt x="39" y="291"/>
                      <a:pt x="37" y="291"/>
                      <a:pt x="35" y="291"/>
                    </a:cubicBezTo>
                    <a:cubicBezTo>
                      <a:pt x="33" y="291"/>
                      <a:pt x="31" y="290"/>
                      <a:pt x="29" y="290"/>
                    </a:cubicBezTo>
                    <a:cubicBezTo>
                      <a:pt x="28" y="290"/>
                      <a:pt x="27" y="291"/>
                      <a:pt x="25" y="291"/>
                    </a:cubicBezTo>
                    <a:cubicBezTo>
                      <a:pt x="24" y="292"/>
                      <a:pt x="21" y="291"/>
                      <a:pt x="20" y="292"/>
                    </a:cubicBezTo>
                    <a:cubicBezTo>
                      <a:pt x="19" y="292"/>
                      <a:pt x="18" y="293"/>
                      <a:pt x="18" y="293"/>
                    </a:cubicBezTo>
                    <a:cubicBezTo>
                      <a:pt x="17" y="294"/>
                      <a:pt x="18" y="294"/>
                      <a:pt x="17" y="295"/>
                    </a:cubicBezTo>
                    <a:cubicBezTo>
                      <a:pt x="17" y="297"/>
                      <a:pt x="15" y="299"/>
                      <a:pt x="14" y="300"/>
                    </a:cubicBezTo>
                    <a:cubicBezTo>
                      <a:pt x="13" y="302"/>
                      <a:pt x="12" y="303"/>
                      <a:pt x="12" y="305"/>
                    </a:cubicBezTo>
                    <a:cubicBezTo>
                      <a:pt x="11" y="307"/>
                      <a:pt x="11" y="308"/>
                      <a:pt x="11" y="310"/>
                    </a:cubicBezTo>
                    <a:cubicBezTo>
                      <a:pt x="11" y="311"/>
                      <a:pt x="9" y="313"/>
                      <a:pt x="9" y="314"/>
                    </a:cubicBezTo>
                    <a:cubicBezTo>
                      <a:pt x="8" y="315"/>
                      <a:pt x="7" y="317"/>
                      <a:pt x="7" y="318"/>
                    </a:cubicBezTo>
                    <a:cubicBezTo>
                      <a:pt x="6" y="320"/>
                      <a:pt x="6" y="321"/>
                      <a:pt x="5" y="322"/>
                    </a:cubicBezTo>
                    <a:cubicBezTo>
                      <a:pt x="5" y="324"/>
                      <a:pt x="4" y="324"/>
                      <a:pt x="4" y="326"/>
                    </a:cubicBezTo>
                    <a:cubicBezTo>
                      <a:pt x="4" y="328"/>
                      <a:pt x="4" y="327"/>
                      <a:pt x="3" y="328"/>
                    </a:cubicBezTo>
                    <a:cubicBezTo>
                      <a:pt x="2" y="329"/>
                      <a:pt x="1" y="330"/>
                      <a:pt x="0" y="331"/>
                    </a:cubicBezTo>
                    <a:cubicBezTo>
                      <a:pt x="20" y="353"/>
                      <a:pt x="20" y="353"/>
                      <a:pt x="20" y="353"/>
                    </a:cubicBezTo>
                    <a:cubicBezTo>
                      <a:pt x="22" y="353"/>
                      <a:pt x="22" y="353"/>
                      <a:pt x="23" y="354"/>
                    </a:cubicBezTo>
                    <a:cubicBezTo>
                      <a:pt x="23" y="355"/>
                      <a:pt x="23" y="356"/>
                      <a:pt x="23" y="357"/>
                    </a:cubicBezTo>
                    <a:cubicBezTo>
                      <a:pt x="23" y="359"/>
                      <a:pt x="22" y="362"/>
                      <a:pt x="24" y="362"/>
                    </a:cubicBezTo>
                    <a:cubicBezTo>
                      <a:pt x="25" y="360"/>
                      <a:pt x="28" y="362"/>
                      <a:pt x="31" y="362"/>
                    </a:cubicBezTo>
                    <a:cubicBezTo>
                      <a:pt x="32" y="362"/>
                      <a:pt x="33" y="362"/>
                      <a:pt x="34" y="362"/>
                    </a:cubicBezTo>
                    <a:cubicBezTo>
                      <a:pt x="35" y="363"/>
                      <a:pt x="36" y="363"/>
                      <a:pt x="37" y="363"/>
                    </a:cubicBezTo>
                    <a:cubicBezTo>
                      <a:pt x="37" y="364"/>
                      <a:pt x="38" y="364"/>
                      <a:pt x="39" y="365"/>
                    </a:cubicBezTo>
                    <a:cubicBezTo>
                      <a:pt x="39" y="366"/>
                      <a:pt x="39" y="368"/>
                      <a:pt x="39" y="369"/>
                    </a:cubicBezTo>
                    <a:cubicBezTo>
                      <a:pt x="39" y="370"/>
                      <a:pt x="39" y="371"/>
                      <a:pt x="39" y="372"/>
                    </a:cubicBezTo>
                    <a:cubicBezTo>
                      <a:pt x="42" y="371"/>
                      <a:pt x="46" y="373"/>
                      <a:pt x="49" y="372"/>
                    </a:cubicBezTo>
                    <a:cubicBezTo>
                      <a:pt x="50" y="371"/>
                      <a:pt x="51" y="370"/>
                      <a:pt x="52" y="369"/>
                    </a:cubicBezTo>
                    <a:cubicBezTo>
                      <a:pt x="53" y="368"/>
                      <a:pt x="54" y="367"/>
                      <a:pt x="56" y="366"/>
                    </a:cubicBezTo>
                    <a:cubicBezTo>
                      <a:pt x="59" y="364"/>
                      <a:pt x="62" y="365"/>
                      <a:pt x="64" y="367"/>
                    </a:cubicBezTo>
                    <a:cubicBezTo>
                      <a:pt x="66" y="370"/>
                      <a:pt x="65" y="372"/>
                      <a:pt x="69" y="373"/>
                    </a:cubicBezTo>
                    <a:cubicBezTo>
                      <a:pt x="73" y="373"/>
                      <a:pt x="76" y="372"/>
                      <a:pt x="80" y="372"/>
                    </a:cubicBezTo>
                    <a:cubicBezTo>
                      <a:pt x="81" y="372"/>
                      <a:pt x="83" y="371"/>
                      <a:pt x="85" y="373"/>
                    </a:cubicBezTo>
                    <a:cubicBezTo>
                      <a:pt x="86" y="373"/>
                      <a:pt x="88" y="377"/>
                      <a:pt x="88" y="378"/>
                    </a:cubicBezTo>
                    <a:cubicBezTo>
                      <a:pt x="89" y="376"/>
                      <a:pt x="89" y="375"/>
                      <a:pt x="91" y="375"/>
                    </a:cubicBezTo>
                    <a:cubicBezTo>
                      <a:pt x="93" y="375"/>
                      <a:pt x="95" y="375"/>
                      <a:pt x="97" y="375"/>
                    </a:cubicBezTo>
                    <a:cubicBezTo>
                      <a:pt x="99" y="375"/>
                      <a:pt x="104" y="375"/>
                      <a:pt x="106" y="376"/>
                    </a:cubicBezTo>
                    <a:cubicBezTo>
                      <a:pt x="107" y="377"/>
                      <a:pt x="107" y="378"/>
                      <a:pt x="108" y="378"/>
                    </a:cubicBezTo>
                    <a:cubicBezTo>
                      <a:pt x="108" y="378"/>
                      <a:pt x="109" y="378"/>
                      <a:pt x="110" y="378"/>
                    </a:cubicBezTo>
                    <a:cubicBezTo>
                      <a:pt x="114" y="380"/>
                      <a:pt x="117" y="380"/>
                      <a:pt x="122" y="378"/>
                    </a:cubicBezTo>
                    <a:cubicBezTo>
                      <a:pt x="123" y="378"/>
                      <a:pt x="133" y="374"/>
                      <a:pt x="132" y="378"/>
                    </a:cubicBezTo>
                    <a:cubicBezTo>
                      <a:pt x="135" y="378"/>
                      <a:pt x="134" y="379"/>
                      <a:pt x="135" y="380"/>
                    </a:cubicBezTo>
                    <a:cubicBezTo>
                      <a:pt x="136" y="381"/>
                      <a:pt x="138" y="382"/>
                      <a:pt x="139" y="383"/>
                    </a:cubicBezTo>
                    <a:cubicBezTo>
                      <a:pt x="140" y="384"/>
                      <a:pt x="141" y="386"/>
                      <a:pt x="143" y="388"/>
                    </a:cubicBezTo>
                    <a:cubicBezTo>
                      <a:pt x="147" y="391"/>
                      <a:pt x="153" y="393"/>
                      <a:pt x="158" y="391"/>
                    </a:cubicBezTo>
                    <a:cubicBezTo>
                      <a:pt x="161" y="390"/>
                      <a:pt x="162" y="386"/>
                      <a:pt x="163" y="384"/>
                    </a:cubicBezTo>
                    <a:cubicBezTo>
                      <a:pt x="165" y="381"/>
                      <a:pt x="166" y="379"/>
                      <a:pt x="170" y="379"/>
                    </a:cubicBezTo>
                    <a:cubicBezTo>
                      <a:pt x="175" y="379"/>
                      <a:pt x="181" y="379"/>
                      <a:pt x="187" y="379"/>
                    </a:cubicBezTo>
                    <a:cubicBezTo>
                      <a:pt x="187" y="379"/>
                      <a:pt x="189" y="379"/>
                      <a:pt x="189" y="379"/>
                    </a:cubicBezTo>
                    <a:cubicBezTo>
                      <a:pt x="190" y="379"/>
                      <a:pt x="190" y="378"/>
                      <a:pt x="190" y="378"/>
                    </a:cubicBezTo>
                    <a:cubicBezTo>
                      <a:pt x="192" y="377"/>
                      <a:pt x="195" y="376"/>
                      <a:pt x="197" y="376"/>
                    </a:cubicBezTo>
                    <a:cubicBezTo>
                      <a:pt x="202" y="376"/>
                      <a:pt x="207" y="374"/>
                      <a:pt x="211" y="374"/>
                    </a:cubicBezTo>
                    <a:cubicBezTo>
                      <a:pt x="215" y="374"/>
                      <a:pt x="216" y="375"/>
                      <a:pt x="218" y="372"/>
                    </a:cubicBezTo>
                    <a:cubicBezTo>
                      <a:pt x="220" y="370"/>
                      <a:pt x="220" y="367"/>
                      <a:pt x="222" y="365"/>
                    </a:cubicBezTo>
                    <a:cubicBezTo>
                      <a:pt x="223" y="362"/>
                      <a:pt x="227" y="360"/>
                      <a:pt x="230" y="359"/>
                    </a:cubicBezTo>
                    <a:cubicBezTo>
                      <a:pt x="233" y="357"/>
                      <a:pt x="235" y="356"/>
                      <a:pt x="238" y="355"/>
                    </a:cubicBezTo>
                    <a:cubicBezTo>
                      <a:pt x="238" y="355"/>
                      <a:pt x="238" y="355"/>
                      <a:pt x="238" y="355"/>
                    </a:cubicBezTo>
                    <a:cubicBezTo>
                      <a:pt x="241" y="354"/>
                      <a:pt x="244" y="351"/>
                      <a:pt x="248" y="351"/>
                    </a:cubicBezTo>
                    <a:cubicBezTo>
                      <a:pt x="248" y="350"/>
                      <a:pt x="248" y="350"/>
                      <a:pt x="248" y="350"/>
                    </a:cubicBezTo>
                    <a:cubicBezTo>
                      <a:pt x="249" y="349"/>
                      <a:pt x="249" y="349"/>
                      <a:pt x="250" y="348"/>
                    </a:cubicBezTo>
                    <a:cubicBezTo>
                      <a:pt x="250" y="347"/>
                      <a:pt x="250" y="346"/>
                      <a:pt x="250" y="345"/>
                    </a:cubicBezTo>
                    <a:cubicBezTo>
                      <a:pt x="250" y="344"/>
                      <a:pt x="249" y="344"/>
                      <a:pt x="249" y="343"/>
                    </a:cubicBezTo>
                    <a:cubicBezTo>
                      <a:pt x="249" y="342"/>
                      <a:pt x="249" y="341"/>
                      <a:pt x="249" y="340"/>
                    </a:cubicBezTo>
                    <a:cubicBezTo>
                      <a:pt x="249" y="338"/>
                      <a:pt x="250" y="338"/>
                      <a:pt x="252" y="337"/>
                    </a:cubicBezTo>
                    <a:cubicBezTo>
                      <a:pt x="252" y="337"/>
                      <a:pt x="253" y="337"/>
                      <a:pt x="254" y="337"/>
                    </a:cubicBezTo>
                    <a:cubicBezTo>
                      <a:pt x="255" y="337"/>
                      <a:pt x="254" y="340"/>
                      <a:pt x="256" y="340"/>
                    </a:cubicBezTo>
                    <a:cubicBezTo>
                      <a:pt x="257" y="341"/>
                      <a:pt x="258" y="340"/>
                      <a:pt x="259" y="341"/>
                    </a:cubicBezTo>
                    <a:cubicBezTo>
                      <a:pt x="260" y="341"/>
                      <a:pt x="260" y="342"/>
                      <a:pt x="260" y="343"/>
                    </a:cubicBezTo>
                    <a:cubicBezTo>
                      <a:pt x="261" y="344"/>
                      <a:pt x="262" y="344"/>
                      <a:pt x="263" y="343"/>
                    </a:cubicBezTo>
                    <a:cubicBezTo>
                      <a:pt x="266" y="342"/>
                      <a:pt x="266" y="341"/>
                      <a:pt x="267" y="339"/>
                    </a:cubicBezTo>
                    <a:cubicBezTo>
                      <a:pt x="267" y="337"/>
                      <a:pt x="267" y="337"/>
                      <a:pt x="269" y="338"/>
                    </a:cubicBezTo>
                    <a:cubicBezTo>
                      <a:pt x="271" y="338"/>
                      <a:pt x="272" y="339"/>
                      <a:pt x="273" y="341"/>
                    </a:cubicBezTo>
                    <a:cubicBezTo>
                      <a:pt x="273" y="342"/>
                      <a:pt x="273" y="342"/>
                      <a:pt x="274" y="342"/>
                    </a:cubicBezTo>
                    <a:cubicBezTo>
                      <a:pt x="276" y="342"/>
                      <a:pt x="279" y="341"/>
                      <a:pt x="280" y="340"/>
                    </a:cubicBezTo>
                    <a:cubicBezTo>
                      <a:pt x="281" y="339"/>
                      <a:pt x="282" y="339"/>
                      <a:pt x="283" y="338"/>
                    </a:cubicBezTo>
                    <a:cubicBezTo>
                      <a:pt x="283" y="337"/>
                      <a:pt x="283" y="336"/>
                      <a:pt x="284" y="336"/>
                    </a:cubicBezTo>
                    <a:cubicBezTo>
                      <a:pt x="284" y="335"/>
                      <a:pt x="285" y="336"/>
                      <a:pt x="285" y="337"/>
                    </a:cubicBezTo>
                    <a:cubicBezTo>
                      <a:pt x="286" y="337"/>
                      <a:pt x="286" y="338"/>
                      <a:pt x="287" y="339"/>
                    </a:cubicBezTo>
                    <a:cubicBezTo>
                      <a:pt x="288" y="340"/>
                      <a:pt x="289" y="340"/>
                      <a:pt x="290" y="340"/>
                    </a:cubicBezTo>
                    <a:cubicBezTo>
                      <a:pt x="293" y="339"/>
                      <a:pt x="296" y="337"/>
                      <a:pt x="296" y="334"/>
                    </a:cubicBezTo>
                    <a:cubicBezTo>
                      <a:pt x="296" y="334"/>
                      <a:pt x="296" y="332"/>
                      <a:pt x="297" y="332"/>
                    </a:cubicBezTo>
                    <a:cubicBezTo>
                      <a:pt x="299" y="330"/>
                      <a:pt x="301" y="335"/>
                      <a:pt x="302" y="335"/>
                    </a:cubicBezTo>
                    <a:cubicBezTo>
                      <a:pt x="302" y="336"/>
                      <a:pt x="304" y="336"/>
                      <a:pt x="305" y="336"/>
                    </a:cubicBezTo>
                    <a:cubicBezTo>
                      <a:pt x="307" y="336"/>
                      <a:pt x="306" y="336"/>
                      <a:pt x="308" y="337"/>
                    </a:cubicBezTo>
                    <a:cubicBezTo>
                      <a:pt x="308" y="338"/>
                      <a:pt x="309" y="338"/>
                      <a:pt x="309" y="338"/>
                    </a:cubicBezTo>
                    <a:cubicBezTo>
                      <a:pt x="310" y="339"/>
                      <a:pt x="311" y="340"/>
                      <a:pt x="312" y="341"/>
                    </a:cubicBezTo>
                    <a:cubicBezTo>
                      <a:pt x="314" y="342"/>
                      <a:pt x="316" y="342"/>
                      <a:pt x="317" y="343"/>
                    </a:cubicBezTo>
                    <a:cubicBezTo>
                      <a:pt x="319" y="344"/>
                      <a:pt x="321" y="347"/>
                      <a:pt x="323" y="348"/>
                    </a:cubicBezTo>
                    <a:cubicBezTo>
                      <a:pt x="324" y="348"/>
                      <a:pt x="325" y="348"/>
                      <a:pt x="325" y="349"/>
                    </a:cubicBezTo>
                    <a:cubicBezTo>
                      <a:pt x="325" y="349"/>
                      <a:pt x="325" y="350"/>
                      <a:pt x="325" y="350"/>
                    </a:cubicBezTo>
                    <a:cubicBezTo>
                      <a:pt x="325" y="352"/>
                      <a:pt x="325" y="351"/>
                      <a:pt x="327" y="351"/>
                    </a:cubicBezTo>
                    <a:cubicBezTo>
                      <a:pt x="328" y="352"/>
                      <a:pt x="327" y="352"/>
                      <a:pt x="328" y="353"/>
                    </a:cubicBezTo>
                    <a:cubicBezTo>
                      <a:pt x="328" y="354"/>
                      <a:pt x="330" y="355"/>
                      <a:pt x="331" y="355"/>
                    </a:cubicBezTo>
                    <a:cubicBezTo>
                      <a:pt x="331" y="354"/>
                      <a:pt x="332" y="354"/>
                      <a:pt x="332" y="353"/>
                    </a:cubicBezTo>
                    <a:cubicBezTo>
                      <a:pt x="334" y="353"/>
                      <a:pt x="335" y="354"/>
                      <a:pt x="336" y="353"/>
                    </a:cubicBezTo>
                    <a:cubicBezTo>
                      <a:pt x="338" y="353"/>
                      <a:pt x="339" y="352"/>
                      <a:pt x="340" y="354"/>
                    </a:cubicBezTo>
                    <a:cubicBezTo>
                      <a:pt x="341" y="356"/>
                      <a:pt x="340" y="358"/>
                      <a:pt x="339" y="359"/>
                    </a:cubicBezTo>
                    <a:cubicBezTo>
                      <a:pt x="338" y="360"/>
                      <a:pt x="337" y="360"/>
                      <a:pt x="337" y="361"/>
                    </a:cubicBezTo>
                    <a:cubicBezTo>
                      <a:pt x="338" y="362"/>
                      <a:pt x="339" y="361"/>
                      <a:pt x="340" y="361"/>
                    </a:cubicBezTo>
                    <a:cubicBezTo>
                      <a:pt x="341" y="361"/>
                      <a:pt x="342" y="359"/>
                      <a:pt x="343" y="359"/>
                    </a:cubicBezTo>
                    <a:cubicBezTo>
                      <a:pt x="343" y="360"/>
                      <a:pt x="343" y="362"/>
                      <a:pt x="343" y="362"/>
                    </a:cubicBezTo>
                    <a:cubicBezTo>
                      <a:pt x="343" y="363"/>
                      <a:pt x="343" y="365"/>
                      <a:pt x="343" y="365"/>
                    </a:cubicBezTo>
                    <a:cubicBezTo>
                      <a:pt x="344" y="365"/>
                      <a:pt x="344" y="365"/>
                      <a:pt x="345" y="365"/>
                    </a:cubicBezTo>
                    <a:cubicBezTo>
                      <a:pt x="345" y="366"/>
                      <a:pt x="345" y="367"/>
                      <a:pt x="345" y="367"/>
                    </a:cubicBezTo>
                    <a:cubicBezTo>
                      <a:pt x="346" y="367"/>
                      <a:pt x="347" y="365"/>
                      <a:pt x="347" y="364"/>
                    </a:cubicBezTo>
                    <a:cubicBezTo>
                      <a:pt x="347" y="364"/>
                      <a:pt x="347" y="361"/>
                      <a:pt x="347" y="360"/>
                    </a:cubicBezTo>
                    <a:cubicBezTo>
                      <a:pt x="348" y="359"/>
                      <a:pt x="351" y="360"/>
                      <a:pt x="352" y="360"/>
                    </a:cubicBezTo>
                    <a:cubicBezTo>
                      <a:pt x="353" y="360"/>
                      <a:pt x="354" y="360"/>
                      <a:pt x="355" y="361"/>
                    </a:cubicBezTo>
                    <a:cubicBezTo>
                      <a:pt x="356" y="361"/>
                      <a:pt x="357" y="362"/>
                      <a:pt x="357" y="362"/>
                    </a:cubicBezTo>
                    <a:cubicBezTo>
                      <a:pt x="358" y="362"/>
                      <a:pt x="359" y="362"/>
                      <a:pt x="359" y="362"/>
                    </a:cubicBezTo>
                    <a:cubicBezTo>
                      <a:pt x="361" y="362"/>
                      <a:pt x="360" y="362"/>
                      <a:pt x="361" y="363"/>
                    </a:cubicBezTo>
                    <a:cubicBezTo>
                      <a:pt x="362" y="363"/>
                      <a:pt x="362" y="364"/>
                      <a:pt x="363" y="365"/>
                    </a:cubicBezTo>
                    <a:cubicBezTo>
                      <a:pt x="364" y="365"/>
                      <a:pt x="364" y="364"/>
                      <a:pt x="365" y="365"/>
                    </a:cubicBezTo>
                    <a:cubicBezTo>
                      <a:pt x="366" y="365"/>
                      <a:pt x="365" y="367"/>
                      <a:pt x="365" y="368"/>
                    </a:cubicBezTo>
                    <a:cubicBezTo>
                      <a:pt x="365" y="370"/>
                      <a:pt x="365" y="370"/>
                      <a:pt x="367" y="372"/>
                    </a:cubicBezTo>
                    <a:cubicBezTo>
                      <a:pt x="368" y="373"/>
                      <a:pt x="368" y="375"/>
                      <a:pt x="369" y="375"/>
                    </a:cubicBezTo>
                    <a:cubicBezTo>
                      <a:pt x="371" y="375"/>
                      <a:pt x="371" y="375"/>
                      <a:pt x="372" y="376"/>
                    </a:cubicBezTo>
                    <a:cubicBezTo>
                      <a:pt x="373" y="377"/>
                      <a:pt x="372" y="377"/>
                      <a:pt x="373" y="378"/>
                    </a:cubicBezTo>
                    <a:cubicBezTo>
                      <a:pt x="374" y="378"/>
                      <a:pt x="376" y="378"/>
                      <a:pt x="377" y="378"/>
                    </a:cubicBezTo>
                    <a:cubicBezTo>
                      <a:pt x="377" y="378"/>
                      <a:pt x="378" y="378"/>
                      <a:pt x="378" y="378"/>
                    </a:cubicBezTo>
                    <a:cubicBezTo>
                      <a:pt x="379" y="378"/>
                      <a:pt x="379" y="377"/>
                      <a:pt x="380" y="376"/>
                    </a:cubicBezTo>
                    <a:cubicBezTo>
                      <a:pt x="381" y="375"/>
                      <a:pt x="383" y="376"/>
                      <a:pt x="384" y="376"/>
                    </a:cubicBezTo>
                    <a:cubicBezTo>
                      <a:pt x="385" y="377"/>
                      <a:pt x="386" y="377"/>
                      <a:pt x="387" y="378"/>
                    </a:cubicBezTo>
                    <a:cubicBezTo>
                      <a:pt x="388" y="378"/>
                      <a:pt x="389" y="378"/>
                      <a:pt x="389" y="378"/>
                    </a:cubicBezTo>
                    <a:cubicBezTo>
                      <a:pt x="391" y="379"/>
                      <a:pt x="391" y="381"/>
                      <a:pt x="390" y="382"/>
                    </a:cubicBezTo>
                    <a:cubicBezTo>
                      <a:pt x="390" y="383"/>
                      <a:pt x="390" y="383"/>
                      <a:pt x="390" y="383"/>
                    </a:cubicBezTo>
                    <a:cubicBezTo>
                      <a:pt x="389" y="384"/>
                      <a:pt x="389" y="384"/>
                      <a:pt x="389" y="385"/>
                    </a:cubicBezTo>
                    <a:cubicBezTo>
                      <a:pt x="389" y="385"/>
                      <a:pt x="389" y="386"/>
                      <a:pt x="389" y="386"/>
                    </a:cubicBezTo>
                    <a:cubicBezTo>
                      <a:pt x="389" y="388"/>
                      <a:pt x="389" y="388"/>
                      <a:pt x="388" y="389"/>
                    </a:cubicBezTo>
                    <a:cubicBezTo>
                      <a:pt x="388" y="389"/>
                      <a:pt x="388" y="390"/>
                      <a:pt x="388" y="390"/>
                    </a:cubicBezTo>
                    <a:cubicBezTo>
                      <a:pt x="388" y="391"/>
                      <a:pt x="389" y="391"/>
                      <a:pt x="390" y="392"/>
                    </a:cubicBezTo>
                    <a:cubicBezTo>
                      <a:pt x="391" y="393"/>
                      <a:pt x="390" y="393"/>
                      <a:pt x="389" y="393"/>
                    </a:cubicBezTo>
                    <a:cubicBezTo>
                      <a:pt x="389" y="394"/>
                      <a:pt x="388" y="395"/>
                      <a:pt x="388" y="396"/>
                    </a:cubicBezTo>
                    <a:cubicBezTo>
                      <a:pt x="388" y="397"/>
                      <a:pt x="388" y="398"/>
                      <a:pt x="387" y="400"/>
                    </a:cubicBezTo>
                    <a:cubicBezTo>
                      <a:pt x="387" y="400"/>
                      <a:pt x="387" y="401"/>
                      <a:pt x="387" y="402"/>
                    </a:cubicBezTo>
                    <a:cubicBezTo>
                      <a:pt x="387" y="403"/>
                      <a:pt x="387" y="404"/>
                      <a:pt x="387" y="404"/>
                    </a:cubicBezTo>
                    <a:cubicBezTo>
                      <a:pt x="387" y="406"/>
                      <a:pt x="384" y="406"/>
                      <a:pt x="383" y="408"/>
                    </a:cubicBezTo>
                    <a:cubicBezTo>
                      <a:pt x="382" y="409"/>
                      <a:pt x="382" y="410"/>
                      <a:pt x="383" y="411"/>
                    </a:cubicBezTo>
                    <a:cubicBezTo>
                      <a:pt x="383" y="412"/>
                      <a:pt x="383" y="413"/>
                      <a:pt x="383" y="414"/>
                    </a:cubicBezTo>
                    <a:cubicBezTo>
                      <a:pt x="383" y="414"/>
                      <a:pt x="383" y="414"/>
                      <a:pt x="384" y="415"/>
                    </a:cubicBezTo>
                    <a:cubicBezTo>
                      <a:pt x="385" y="416"/>
                      <a:pt x="385" y="418"/>
                      <a:pt x="386" y="419"/>
                    </a:cubicBezTo>
                    <a:cubicBezTo>
                      <a:pt x="387" y="419"/>
                      <a:pt x="387" y="420"/>
                      <a:pt x="388" y="421"/>
                    </a:cubicBezTo>
                    <a:cubicBezTo>
                      <a:pt x="389" y="422"/>
                      <a:pt x="389" y="423"/>
                      <a:pt x="389" y="424"/>
                    </a:cubicBezTo>
                    <a:cubicBezTo>
                      <a:pt x="389" y="425"/>
                      <a:pt x="391" y="426"/>
                      <a:pt x="392" y="426"/>
                    </a:cubicBezTo>
                    <a:cubicBezTo>
                      <a:pt x="392" y="426"/>
                      <a:pt x="393" y="425"/>
                      <a:pt x="393" y="424"/>
                    </a:cubicBezTo>
                    <a:cubicBezTo>
                      <a:pt x="393" y="425"/>
                      <a:pt x="394" y="426"/>
                      <a:pt x="394" y="426"/>
                    </a:cubicBezTo>
                    <a:cubicBezTo>
                      <a:pt x="394" y="427"/>
                      <a:pt x="394" y="429"/>
                      <a:pt x="395" y="430"/>
                    </a:cubicBezTo>
                    <a:cubicBezTo>
                      <a:pt x="396" y="430"/>
                      <a:pt x="397" y="431"/>
                      <a:pt x="398" y="431"/>
                    </a:cubicBezTo>
                    <a:cubicBezTo>
                      <a:pt x="401" y="433"/>
                      <a:pt x="402" y="430"/>
                      <a:pt x="404" y="428"/>
                    </a:cubicBezTo>
                    <a:cubicBezTo>
                      <a:pt x="404" y="428"/>
                      <a:pt x="405" y="428"/>
                      <a:pt x="405" y="428"/>
                    </a:cubicBezTo>
                    <a:cubicBezTo>
                      <a:pt x="406" y="427"/>
                      <a:pt x="407" y="427"/>
                      <a:pt x="408" y="427"/>
                    </a:cubicBezTo>
                    <a:cubicBezTo>
                      <a:pt x="408" y="428"/>
                      <a:pt x="408" y="430"/>
                      <a:pt x="408" y="431"/>
                    </a:cubicBezTo>
                    <a:cubicBezTo>
                      <a:pt x="408" y="433"/>
                      <a:pt x="410" y="435"/>
                      <a:pt x="409" y="437"/>
                    </a:cubicBezTo>
                    <a:cubicBezTo>
                      <a:pt x="408" y="439"/>
                      <a:pt x="406" y="439"/>
                      <a:pt x="407" y="442"/>
                    </a:cubicBezTo>
                    <a:cubicBezTo>
                      <a:pt x="407" y="442"/>
                      <a:pt x="407" y="443"/>
                      <a:pt x="407" y="443"/>
                    </a:cubicBezTo>
                    <a:cubicBezTo>
                      <a:pt x="407" y="444"/>
                      <a:pt x="407" y="444"/>
                      <a:pt x="407" y="445"/>
                    </a:cubicBezTo>
                    <a:cubicBezTo>
                      <a:pt x="406" y="446"/>
                      <a:pt x="406" y="445"/>
                      <a:pt x="405" y="447"/>
                    </a:cubicBezTo>
                    <a:cubicBezTo>
                      <a:pt x="405" y="448"/>
                      <a:pt x="405" y="449"/>
                      <a:pt x="406" y="450"/>
                    </a:cubicBezTo>
                    <a:cubicBezTo>
                      <a:pt x="404" y="449"/>
                      <a:pt x="403" y="448"/>
                      <a:pt x="402" y="450"/>
                    </a:cubicBezTo>
                    <a:cubicBezTo>
                      <a:pt x="400" y="452"/>
                      <a:pt x="404" y="453"/>
                      <a:pt x="406" y="453"/>
                    </a:cubicBezTo>
                    <a:cubicBezTo>
                      <a:pt x="407" y="453"/>
                      <a:pt x="410" y="453"/>
                      <a:pt x="411" y="453"/>
                    </a:cubicBezTo>
                    <a:cubicBezTo>
                      <a:pt x="412" y="454"/>
                      <a:pt x="412" y="456"/>
                      <a:pt x="412" y="456"/>
                    </a:cubicBezTo>
                    <a:cubicBezTo>
                      <a:pt x="412" y="457"/>
                      <a:pt x="412" y="458"/>
                      <a:pt x="412" y="458"/>
                    </a:cubicBezTo>
                    <a:cubicBezTo>
                      <a:pt x="411" y="460"/>
                      <a:pt x="411" y="462"/>
                      <a:pt x="411" y="463"/>
                    </a:cubicBezTo>
                    <a:cubicBezTo>
                      <a:pt x="411" y="463"/>
                      <a:pt x="412" y="464"/>
                      <a:pt x="412" y="464"/>
                    </a:cubicBezTo>
                    <a:cubicBezTo>
                      <a:pt x="413" y="465"/>
                      <a:pt x="413" y="465"/>
                      <a:pt x="413" y="466"/>
                    </a:cubicBezTo>
                    <a:cubicBezTo>
                      <a:pt x="413" y="468"/>
                      <a:pt x="415" y="471"/>
                      <a:pt x="415" y="473"/>
                    </a:cubicBezTo>
                    <a:cubicBezTo>
                      <a:pt x="416" y="474"/>
                      <a:pt x="416" y="474"/>
                      <a:pt x="417" y="474"/>
                    </a:cubicBezTo>
                    <a:cubicBezTo>
                      <a:pt x="418" y="473"/>
                      <a:pt x="419" y="473"/>
                      <a:pt x="421" y="472"/>
                    </a:cubicBezTo>
                    <a:cubicBezTo>
                      <a:pt x="422" y="471"/>
                      <a:pt x="423" y="472"/>
                      <a:pt x="424" y="473"/>
                    </a:cubicBezTo>
                    <a:cubicBezTo>
                      <a:pt x="426" y="474"/>
                      <a:pt x="428" y="474"/>
                      <a:pt x="428" y="477"/>
                    </a:cubicBezTo>
                    <a:cubicBezTo>
                      <a:pt x="428" y="481"/>
                      <a:pt x="428" y="486"/>
                      <a:pt x="427" y="490"/>
                    </a:cubicBezTo>
                    <a:cubicBezTo>
                      <a:pt x="427" y="491"/>
                      <a:pt x="426" y="493"/>
                      <a:pt x="426" y="495"/>
                    </a:cubicBezTo>
                    <a:cubicBezTo>
                      <a:pt x="426" y="496"/>
                      <a:pt x="427" y="497"/>
                      <a:pt x="426" y="498"/>
                    </a:cubicBezTo>
                    <a:cubicBezTo>
                      <a:pt x="424" y="499"/>
                      <a:pt x="423" y="497"/>
                      <a:pt x="421" y="498"/>
                    </a:cubicBezTo>
                    <a:cubicBezTo>
                      <a:pt x="421" y="499"/>
                      <a:pt x="421" y="500"/>
                      <a:pt x="421" y="500"/>
                    </a:cubicBezTo>
                    <a:cubicBezTo>
                      <a:pt x="420" y="501"/>
                      <a:pt x="420" y="501"/>
                      <a:pt x="419" y="502"/>
                    </a:cubicBezTo>
                    <a:cubicBezTo>
                      <a:pt x="418" y="503"/>
                      <a:pt x="419" y="504"/>
                      <a:pt x="418" y="505"/>
                    </a:cubicBezTo>
                    <a:cubicBezTo>
                      <a:pt x="418" y="506"/>
                      <a:pt x="417" y="507"/>
                      <a:pt x="416" y="508"/>
                    </a:cubicBezTo>
                    <a:cubicBezTo>
                      <a:pt x="414" y="510"/>
                      <a:pt x="414" y="512"/>
                      <a:pt x="414" y="515"/>
                    </a:cubicBezTo>
                    <a:cubicBezTo>
                      <a:pt x="413" y="515"/>
                      <a:pt x="411" y="515"/>
                      <a:pt x="411" y="515"/>
                    </a:cubicBezTo>
                    <a:cubicBezTo>
                      <a:pt x="410" y="514"/>
                      <a:pt x="409" y="513"/>
                      <a:pt x="408" y="512"/>
                    </a:cubicBezTo>
                    <a:cubicBezTo>
                      <a:pt x="408" y="511"/>
                      <a:pt x="407" y="510"/>
                      <a:pt x="407" y="510"/>
                    </a:cubicBezTo>
                    <a:cubicBezTo>
                      <a:pt x="407" y="509"/>
                      <a:pt x="406" y="508"/>
                      <a:pt x="406" y="507"/>
                    </a:cubicBezTo>
                    <a:cubicBezTo>
                      <a:pt x="405" y="507"/>
                      <a:pt x="404" y="506"/>
                      <a:pt x="403" y="506"/>
                    </a:cubicBezTo>
                    <a:cubicBezTo>
                      <a:pt x="403" y="505"/>
                      <a:pt x="403" y="505"/>
                      <a:pt x="403" y="504"/>
                    </a:cubicBezTo>
                    <a:cubicBezTo>
                      <a:pt x="403" y="503"/>
                      <a:pt x="403" y="502"/>
                      <a:pt x="402" y="502"/>
                    </a:cubicBezTo>
                    <a:cubicBezTo>
                      <a:pt x="399" y="501"/>
                      <a:pt x="397" y="506"/>
                      <a:pt x="396" y="507"/>
                    </a:cubicBezTo>
                    <a:cubicBezTo>
                      <a:pt x="395" y="506"/>
                      <a:pt x="394" y="502"/>
                      <a:pt x="394" y="501"/>
                    </a:cubicBezTo>
                    <a:cubicBezTo>
                      <a:pt x="394" y="500"/>
                      <a:pt x="395" y="499"/>
                      <a:pt x="394" y="498"/>
                    </a:cubicBezTo>
                    <a:cubicBezTo>
                      <a:pt x="393" y="499"/>
                      <a:pt x="392" y="502"/>
                      <a:pt x="392" y="505"/>
                    </a:cubicBezTo>
                    <a:cubicBezTo>
                      <a:pt x="392" y="506"/>
                      <a:pt x="392" y="507"/>
                      <a:pt x="391" y="508"/>
                    </a:cubicBezTo>
                    <a:cubicBezTo>
                      <a:pt x="391" y="509"/>
                      <a:pt x="390" y="509"/>
                      <a:pt x="390" y="510"/>
                    </a:cubicBezTo>
                    <a:cubicBezTo>
                      <a:pt x="390" y="510"/>
                      <a:pt x="390" y="511"/>
                      <a:pt x="389" y="512"/>
                    </a:cubicBezTo>
                    <a:cubicBezTo>
                      <a:pt x="388" y="513"/>
                      <a:pt x="388" y="510"/>
                      <a:pt x="387" y="509"/>
                    </a:cubicBezTo>
                    <a:cubicBezTo>
                      <a:pt x="387" y="507"/>
                      <a:pt x="387" y="506"/>
                      <a:pt x="389" y="504"/>
                    </a:cubicBezTo>
                    <a:cubicBezTo>
                      <a:pt x="390" y="502"/>
                      <a:pt x="391" y="501"/>
                      <a:pt x="391" y="499"/>
                    </a:cubicBezTo>
                    <a:cubicBezTo>
                      <a:pt x="391" y="494"/>
                      <a:pt x="385" y="496"/>
                      <a:pt x="383" y="498"/>
                    </a:cubicBezTo>
                    <a:cubicBezTo>
                      <a:pt x="382" y="499"/>
                      <a:pt x="383" y="499"/>
                      <a:pt x="382" y="499"/>
                    </a:cubicBezTo>
                    <a:cubicBezTo>
                      <a:pt x="381" y="500"/>
                      <a:pt x="380" y="500"/>
                      <a:pt x="379" y="500"/>
                    </a:cubicBezTo>
                    <a:cubicBezTo>
                      <a:pt x="378" y="500"/>
                      <a:pt x="377" y="501"/>
                      <a:pt x="375" y="502"/>
                    </a:cubicBezTo>
                    <a:cubicBezTo>
                      <a:pt x="374" y="502"/>
                      <a:pt x="374" y="502"/>
                      <a:pt x="373" y="504"/>
                    </a:cubicBezTo>
                    <a:cubicBezTo>
                      <a:pt x="373" y="504"/>
                      <a:pt x="372" y="506"/>
                      <a:pt x="372" y="507"/>
                    </a:cubicBezTo>
                    <a:cubicBezTo>
                      <a:pt x="373" y="508"/>
                      <a:pt x="374" y="507"/>
                      <a:pt x="375" y="509"/>
                    </a:cubicBezTo>
                    <a:cubicBezTo>
                      <a:pt x="375" y="510"/>
                      <a:pt x="374" y="511"/>
                      <a:pt x="374" y="512"/>
                    </a:cubicBezTo>
                    <a:cubicBezTo>
                      <a:pt x="374" y="514"/>
                      <a:pt x="374" y="516"/>
                      <a:pt x="373" y="518"/>
                    </a:cubicBezTo>
                    <a:cubicBezTo>
                      <a:pt x="373" y="519"/>
                      <a:pt x="371" y="522"/>
                      <a:pt x="372" y="523"/>
                    </a:cubicBezTo>
                    <a:cubicBezTo>
                      <a:pt x="372" y="524"/>
                      <a:pt x="374" y="523"/>
                      <a:pt x="375" y="523"/>
                    </a:cubicBezTo>
                    <a:cubicBezTo>
                      <a:pt x="376" y="524"/>
                      <a:pt x="376" y="524"/>
                      <a:pt x="376" y="525"/>
                    </a:cubicBezTo>
                    <a:cubicBezTo>
                      <a:pt x="377" y="527"/>
                      <a:pt x="377" y="528"/>
                      <a:pt x="376" y="530"/>
                    </a:cubicBezTo>
                    <a:cubicBezTo>
                      <a:pt x="375" y="532"/>
                      <a:pt x="373" y="534"/>
                      <a:pt x="374" y="536"/>
                    </a:cubicBezTo>
                    <a:cubicBezTo>
                      <a:pt x="375" y="537"/>
                      <a:pt x="376" y="538"/>
                      <a:pt x="376" y="539"/>
                    </a:cubicBezTo>
                    <a:cubicBezTo>
                      <a:pt x="376" y="540"/>
                      <a:pt x="375" y="540"/>
                      <a:pt x="374" y="541"/>
                    </a:cubicBezTo>
                    <a:cubicBezTo>
                      <a:pt x="370" y="543"/>
                      <a:pt x="366" y="544"/>
                      <a:pt x="363" y="546"/>
                    </a:cubicBezTo>
                    <a:cubicBezTo>
                      <a:pt x="361" y="547"/>
                      <a:pt x="358" y="549"/>
                      <a:pt x="359" y="551"/>
                    </a:cubicBezTo>
                    <a:cubicBezTo>
                      <a:pt x="360" y="553"/>
                      <a:pt x="361" y="555"/>
                      <a:pt x="359" y="557"/>
                    </a:cubicBezTo>
                    <a:cubicBezTo>
                      <a:pt x="358" y="557"/>
                      <a:pt x="357" y="558"/>
                      <a:pt x="356" y="558"/>
                    </a:cubicBezTo>
                    <a:cubicBezTo>
                      <a:pt x="355" y="558"/>
                      <a:pt x="355" y="558"/>
                      <a:pt x="354" y="558"/>
                    </a:cubicBezTo>
                    <a:cubicBezTo>
                      <a:pt x="353" y="559"/>
                      <a:pt x="352" y="559"/>
                      <a:pt x="352" y="560"/>
                    </a:cubicBezTo>
                    <a:cubicBezTo>
                      <a:pt x="351" y="560"/>
                      <a:pt x="350" y="561"/>
                      <a:pt x="350" y="562"/>
                    </a:cubicBezTo>
                    <a:cubicBezTo>
                      <a:pt x="350" y="563"/>
                      <a:pt x="350" y="563"/>
                      <a:pt x="349" y="564"/>
                    </a:cubicBezTo>
                    <a:cubicBezTo>
                      <a:pt x="348" y="564"/>
                      <a:pt x="347" y="564"/>
                      <a:pt x="347" y="565"/>
                    </a:cubicBezTo>
                    <a:cubicBezTo>
                      <a:pt x="347" y="566"/>
                      <a:pt x="347" y="567"/>
                      <a:pt x="347" y="568"/>
                    </a:cubicBezTo>
                    <a:cubicBezTo>
                      <a:pt x="347" y="570"/>
                      <a:pt x="349" y="571"/>
                      <a:pt x="348" y="573"/>
                    </a:cubicBezTo>
                    <a:cubicBezTo>
                      <a:pt x="348" y="573"/>
                      <a:pt x="347" y="574"/>
                      <a:pt x="347" y="574"/>
                    </a:cubicBezTo>
                    <a:cubicBezTo>
                      <a:pt x="347" y="574"/>
                      <a:pt x="347" y="575"/>
                      <a:pt x="347" y="575"/>
                    </a:cubicBezTo>
                    <a:cubicBezTo>
                      <a:pt x="347" y="576"/>
                      <a:pt x="347" y="577"/>
                      <a:pt x="347" y="578"/>
                    </a:cubicBezTo>
                    <a:cubicBezTo>
                      <a:pt x="346" y="579"/>
                      <a:pt x="346" y="580"/>
                      <a:pt x="346" y="580"/>
                    </a:cubicBezTo>
                    <a:cubicBezTo>
                      <a:pt x="346" y="581"/>
                      <a:pt x="346" y="582"/>
                      <a:pt x="346" y="583"/>
                    </a:cubicBezTo>
                    <a:cubicBezTo>
                      <a:pt x="346" y="583"/>
                      <a:pt x="345" y="583"/>
                      <a:pt x="345" y="584"/>
                    </a:cubicBezTo>
                    <a:cubicBezTo>
                      <a:pt x="344" y="584"/>
                      <a:pt x="344" y="585"/>
                      <a:pt x="344" y="585"/>
                    </a:cubicBezTo>
                    <a:cubicBezTo>
                      <a:pt x="343" y="586"/>
                      <a:pt x="343" y="586"/>
                      <a:pt x="342" y="586"/>
                    </a:cubicBezTo>
                    <a:cubicBezTo>
                      <a:pt x="339" y="586"/>
                      <a:pt x="339" y="579"/>
                      <a:pt x="336" y="582"/>
                    </a:cubicBezTo>
                    <a:cubicBezTo>
                      <a:pt x="335" y="582"/>
                      <a:pt x="334" y="583"/>
                      <a:pt x="333" y="584"/>
                    </a:cubicBezTo>
                    <a:cubicBezTo>
                      <a:pt x="332" y="585"/>
                      <a:pt x="331" y="586"/>
                      <a:pt x="330" y="586"/>
                    </a:cubicBezTo>
                    <a:cubicBezTo>
                      <a:pt x="330" y="587"/>
                      <a:pt x="331" y="587"/>
                      <a:pt x="331" y="588"/>
                    </a:cubicBezTo>
                    <a:cubicBezTo>
                      <a:pt x="332" y="588"/>
                      <a:pt x="337" y="596"/>
                      <a:pt x="337" y="597"/>
                    </a:cubicBezTo>
                    <a:cubicBezTo>
                      <a:pt x="339" y="598"/>
                      <a:pt x="345" y="601"/>
                      <a:pt x="347" y="601"/>
                    </a:cubicBezTo>
                    <a:cubicBezTo>
                      <a:pt x="349" y="602"/>
                      <a:pt x="351" y="603"/>
                      <a:pt x="353" y="605"/>
                    </a:cubicBezTo>
                    <a:cubicBezTo>
                      <a:pt x="356" y="606"/>
                      <a:pt x="357" y="608"/>
                      <a:pt x="360" y="605"/>
                    </a:cubicBezTo>
                    <a:cubicBezTo>
                      <a:pt x="361" y="604"/>
                      <a:pt x="361" y="601"/>
                      <a:pt x="362" y="601"/>
                    </a:cubicBezTo>
                    <a:cubicBezTo>
                      <a:pt x="364" y="600"/>
                      <a:pt x="366" y="601"/>
                      <a:pt x="368" y="601"/>
                    </a:cubicBezTo>
                    <a:cubicBezTo>
                      <a:pt x="370" y="601"/>
                      <a:pt x="372" y="601"/>
                      <a:pt x="377" y="599"/>
                    </a:cubicBezTo>
                    <a:cubicBezTo>
                      <a:pt x="381" y="598"/>
                      <a:pt x="384" y="596"/>
                      <a:pt x="385" y="595"/>
                    </a:cubicBezTo>
                    <a:cubicBezTo>
                      <a:pt x="387" y="593"/>
                      <a:pt x="387" y="592"/>
                      <a:pt x="390" y="592"/>
                    </a:cubicBezTo>
                    <a:cubicBezTo>
                      <a:pt x="397" y="590"/>
                      <a:pt x="401" y="593"/>
                      <a:pt x="406" y="596"/>
                    </a:cubicBezTo>
                    <a:cubicBezTo>
                      <a:pt x="408" y="597"/>
                      <a:pt x="413" y="599"/>
                      <a:pt x="416" y="600"/>
                    </a:cubicBezTo>
                    <a:cubicBezTo>
                      <a:pt x="417" y="597"/>
                      <a:pt x="414" y="596"/>
                      <a:pt x="412" y="592"/>
                    </a:cubicBezTo>
                    <a:cubicBezTo>
                      <a:pt x="409" y="588"/>
                      <a:pt x="406" y="582"/>
                      <a:pt x="406" y="578"/>
                    </a:cubicBezTo>
                    <a:cubicBezTo>
                      <a:pt x="405" y="574"/>
                      <a:pt x="410" y="572"/>
                      <a:pt x="409" y="569"/>
                    </a:cubicBezTo>
                    <a:cubicBezTo>
                      <a:pt x="409" y="573"/>
                      <a:pt x="414" y="575"/>
                      <a:pt x="415" y="580"/>
                    </a:cubicBezTo>
                    <a:cubicBezTo>
                      <a:pt x="417" y="580"/>
                      <a:pt x="423" y="578"/>
                      <a:pt x="424" y="576"/>
                    </a:cubicBezTo>
                    <a:cubicBezTo>
                      <a:pt x="425" y="573"/>
                      <a:pt x="422" y="570"/>
                      <a:pt x="423" y="568"/>
                    </a:cubicBezTo>
                    <a:cubicBezTo>
                      <a:pt x="428" y="567"/>
                      <a:pt x="435" y="568"/>
                      <a:pt x="434" y="561"/>
                    </a:cubicBezTo>
                    <a:cubicBezTo>
                      <a:pt x="439" y="560"/>
                      <a:pt x="438" y="564"/>
                      <a:pt x="442" y="561"/>
                    </a:cubicBezTo>
                    <a:cubicBezTo>
                      <a:pt x="443" y="560"/>
                      <a:pt x="444" y="558"/>
                      <a:pt x="445" y="557"/>
                    </a:cubicBezTo>
                    <a:cubicBezTo>
                      <a:pt x="447" y="556"/>
                      <a:pt x="450" y="556"/>
                      <a:pt x="452" y="553"/>
                    </a:cubicBezTo>
                    <a:cubicBezTo>
                      <a:pt x="453" y="550"/>
                      <a:pt x="452" y="546"/>
                      <a:pt x="452" y="543"/>
                    </a:cubicBezTo>
                    <a:cubicBezTo>
                      <a:pt x="453" y="542"/>
                      <a:pt x="454" y="541"/>
                      <a:pt x="453" y="539"/>
                    </a:cubicBezTo>
                    <a:cubicBezTo>
                      <a:pt x="452" y="538"/>
                      <a:pt x="447" y="537"/>
                      <a:pt x="446" y="536"/>
                    </a:cubicBezTo>
                    <a:cubicBezTo>
                      <a:pt x="444" y="535"/>
                      <a:pt x="432" y="528"/>
                      <a:pt x="434" y="523"/>
                    </a:cubicBezTo>
                    <a:cubicBezTo>
                      <a:pt x="436" y="519"/>
                      <a:pt x="446" y="521"/>
                      <a:pt x="448" y="523"/>
                    </a:cubicBezTo>
                    <a:cubicBezTo>
                      <a:pt x="450" y="526"/>
                      <a:pt x="452" y="529"/>
                      <a:pt x="454" y="532"/>
                    </a:cubicBezTo>
                    <a:cubicBezTo>
                      <a:pt x="455" y="534"/>
                      <a:pt x="459" y="535"/>
                      <a:pt x="460" y="538"/>
                    </a:cubicBezTo>
                    <a:cubicBezTo>
                      <a:pt x="459" y="532"/>
                      <a:pt x="464" y="532"/>
                      <a:pt x="467" y="528"/>
                    </a:cubicBezTo>
                    <a:cubicBezTo>
                      <a:pt x="469" y="527"/>
                      <a:pt x="469" y="525"/>
                      <a:pt x="470" y="523"/>
                    </a:cubicBezTo>
                    <a:cubicBezTo>
                      <a:pt x="472" y="522"/>
                      <a:pt x="474" y="520"/>
                      <a:pt x="474" y="517"/>
                    </a:cubicBezTo>
                    <a:cubicBezTo>
                      <a:pt x="473" y="513"/>
                      <a:pt x="466" y="511"/>
                      <a:pt x="474" y="508"/>
                    </a:cubicBezTo>
                    <a:cubicBezTo>
                      <a:pt x="476" y="507"/>
                      <a:pt x="479" y="507"/>
                      <a:pt x="482" y="507"/>
                    </a:cubicBezTo>
                    <a:cubicBezTo>
                      <a:pt x="484" y="507"/>
                      <a:pt x="487" y="508"/>
                      <a:pt x="489" y="507"/>
                    </a:cubicBezTo>
                    <a:cubicBezTo>
                      <a:pt x="491" y="506"/>
                      <a:pt x="491" y="505"/>
                      <a:pt x="492" y="503"/>
                    </a:cubicBezTo>
                    <a:cubicBezTo>
                      <a:pt x="495" y="499"/>
                      <a:pt x="501" y="496"/>
                      <a:pt x="506" y="496"/>
                    </a:cubicBezTo>
                    <a:cubicBezTo>
                      <a:pt x="508" y="495"/>
                      <a:pt x="510" y="496"/>
                      <a:pt x="513" y="495"/>
                    </a:cubicBezTo>
                    <a:cubicBezTo>
                      <a:pt x="515" y="495"/>
                      <a:pt x="517" y="493"/>
                      <a:pt x="519" y="493"/>
                    </a:cubicBezTo>
                    <a:cubicBezTo>
                      <a:pt x="520" y="493"/>
                      <a:pt x="522" y="494"/>
                      <a:pt x="523" y="495"/>
                    </a:cubicBezTo>
                    <a:cubicBezTo>
                      <a:pt x="524" y="495"/>
                      <a:pt x="528" y="495"/>
                      <a:pt x="529" y="495"/>
                    </a:cubicBezTo>
                    <a:cubicBezTo>
                      <a:pt x="533" y="496"/>
                      <a:pt x="533" y="495"/>
                      <a:pt x="535" y="492"/>
                    </a:cubicBezTo>
                    <a:cubicBezTo>
                      <a:pt x="537" y="489"/>
                      <a:pt x="538" y="489"/>
                      <a:pt x="538" y="486"/>
                    </a:cubicBezTo>
                    <a:cubicBezTo>
                      <a:pt x="538" y="485"/>
                      <a:pt x="537" y="483"/>
                      <a:pt x="539" y="481"/>
                    </a:cubicBezTo>
                    <a:cubicBezTo>
                      <a:pt x="543" y="484"/>
                      <a:pt x="541" y="491"/>
                      <a:pt x="542" y="495"/>
                    </a:cubicBezTo>
                    <a:cubicBezTo>
                      <a:pt x="545" y="495"/>
                      <a:pt x="548" y="494"/>
                      <a:pt x="550" y="496"/>
                    </a:cubicBezTo>
                    <a:cubicBezTo>
                      <a:pt x="553" y="497"/>
                      <a:pt x="558" y="502"/>
                      <a:pt x="557" y="505"/>
                    </a:cubicBezTo>
                    <a:cubicBezTo>
                      <a:pt x="552" y="506"/>
                      <a:pt x="547" y="503"/>
                      <a:pt x="543" y="502"/>
                    </a:cubicBezTo>
                    <a:cubicBezTo>
                      <a:pt x="540" y="502"/>
                      <a:pt x="537" y="501"/>
                      <a:pt x="534" y="501"/>
                    </a:cubicBezTo>
                    <a:cubicBezTo>
                      <a:pt x="532" y="501"/>
                      <a:pt x="521" y="502"/>
                      <a:pt x="521" y="506"/>
                    </a:cubicBezTo>
                    <a:cubicBezTo>
                      <a:pt x="526" y="507"/>
                      <a:pt x="529" y="510"/>
                      <a:pt x="533" y="512"/>
                    </a:cubicBezTo>
                    <a:cubicBezTo>
                      <a:pt x="535" y="514"/>
                      <a:pt x="539" y="516"/>
                      <a:pt x="537" y="519"/>
                    </a:cubicBezTo>
                    <a:cubicBezTo>
                      <a:pt x="536" y="521"/>
                      <a:pt x="532" y="519"/>
                      <a:pt x="531" y="521"/>
                    </a:cubicBezTo>
                    <a:cubicBezTo>
                      <a:pt x="528" y="525"/>
                      <a:pt x="533" y="524"/>
                      <a:pt x="534" y="525"/>
                    </a:cubicBezTo>
                    <a:cubicBezTo>
                      <a:pt x="537" y="526"/>
                      <a:pt x="538" y="528"/>
                      <a:pt x="540" y="530"/>
                    </a:cubicBezTo>
                    <a:cubicBezTo>
                      <a:pt x="542" y="532"/>
                      <a:pt x="545" y="533"/>
                      <a:pt x="548" y="534"/>
                    </a:cubicBezTo>
                    <a:cubicBezTo>
                      <a:pt x="550" y="535"/>
                      <a:pt x="552" y="536"/>
                      <a:pt x="555" y="536"/>
                    </a:cubicBezTo>
                    <a:cubicBezTo>
                      <a:pt x="557" y="537"/>
                      <a:pt x="558" y="536"/>
                      <a:pt x="560" y="536"/>
                    </a:cubicBezTo>
                    <a:cubicBezTo>
                      <a:pt x="563" y="537"/>
                      <a:pt x="563" y="540"/>
                      <a:pt x="566" y="542"/>
                    </a:cubicBezTo>
                    <a:cubicBezTo>
                      <a:pt x="569" y="543"/>
                      <a:pt x="569" y="540"/>
                      <a:pt x="571" y="538"/>
                    </a:cubicBezTo>
                    <a:cubicBezTo>
                      <a:pt x="574" y="537"/>
                      <a:pt x="578" y="539"/>
                      <a:pt x="581" y="539"/>
                    </a:cubicBezTo>
                    <a:cubicBezTo>
                      <a:pt x="584" y="539"/>
                      <a:pt x="586" y="540"/>
                      <a:pt x="589" y="540"/>
                    </a:cubicBezTo>
                    <a:cubicBezTo>
                      <a:pt x="591" y="540"/>
                      <a:pt x="595" y="540"/>
                      <a:pt x="597" y="540"/>
                    </a:cubicBezTo>
                    <a:cubicBezTo>
                      <a:pt x="599" y="540"/>
                      <a:pt x="603" y="540"/>
                      <a:pt x="604" y="539"/>
                    </a:cubicBezTo>
                    <a:cubicBezTo>
                      <a:pt x="606" y="538"/>
                      <a:pt x="608" y="535"/>
                      <a:pt x="610" y="535"/>
                    </a:cubicBezTo>
                    <a:cubicBezTo>
                      <a:pt x="612" y="534"/>
                      <a:pt x="616" y="534"/>
                      <a:pt x="618" y="534"/>
                    </a:cubicBezTo>
                    <a:cubicBezTo>
                      <a:pt x="618" y="537"/>
                      <a:pt x="621" y="537"/>
                      <a:pt x="622" y="538"/>
                    </a:cubicBezTo>
                    <a:cubicBezTo>
                      <a:pt x="624" y="540"/>
                      <a:pt x="623" y="542"/>
                      <a:pt x="627" y="542"/>
                    </a:cubicBezTo>
                    <a:cubicBezTo>
                      <a:pt x="632" y="541"/>
                      <a:pt x="633" y="533"/>
                      <a:pt x="637" y="532"/>
                    </a:cubicBezTo>
                    <a:cubicBezTo>
                      <a:pt x="637" y="532"/>
                      <a:pt x="637" y="532"/>
                      <a:pt x="637" y="531"/>
                    </a:cubicBezTo>
                    <a:cubicBezTo>
                      <a:pt x="634" y="526"/>
                      <a:pt x="640" y="526"/>
                      <a:pt x="642" y="526"/>
                    </a:cubicBezTo>
                    <a:cubicBezTo>
                      <a:pt x="646" y="526"/>
                      <a:pt x="647" y="524"/>
                      <a:pt x="650" y="526"/>
                    </a:cubicBezTo>
                    <a:cubicBezTo>
                      <a:pt x="653" y="528"/>
                      <a:pt x="654" y="534"/>
                      <a:pt x="658" y="536"/>
                    </a:cubicBezTo>
                    <a:cubicBezTo>
                      <a:pt x="661" y="537"/>
                      <a:pt x="663" y="535"/>
                      <a:pt x="666" y="535"/>
                    </a:cubicBezTo>
                    <a:cubicBezTo>
                      <a:pt x="668" y="535"/>
                      <a:pt x="669" y="536"/>
                      <a:pt x="671" y="536"/>
                    </a:cubicBezTo>
                    <a:cubicBezTo>
                      <a:pt x="676" y="536"/>
                      <a:pt x="678" y="531"/>
                      <a:pt x="675" y="527"/>
                    </a:cubicBezTo>
                    <a:cubicBezTo>
                      <a:pt x="678" y="527"/>
                      <a:pt x="681" y="528"/>
                      <a:pt x="683" y="529"/>
                    </a:cubicBezTo>
                    <a:cubicBezTo>
                      <a:pt x="686" y="530"/>
                      <a:pt x="690" y="533"/>
                      <a:pt x="692" y="533"/>
                    </a:cubicBezTo>
                    <a:cubicBezTo>
                      <a:pt x="693" y="533"/>
                      <a:pt x="694" y="533"/>
                      <a:pt x="695" y="533"/>
                    </a:cubicBezTo>
                    <a:cubicBezTo>
                      <a:pt x="695" y="533"/>
                      <a:pt x="695" y="532"/>
                      <a:pt x="696" y="532"/>
                    </a:cubicBezTo>
                    <a:cubicBezTo>
                      <a:pt x="696" y="533"/>
                      <a:pt x="695" y="533"/>
                      <a:pt x="695" y="533"/>
                    </a:cubicBezTo>
                    <a:cubicBezTo>
                      <a:pt x="693" y="535"/>
                      <a:pt x="691" y="537"/>
                      <a:pt x="690" y="539"/>
                    </a:cubicBezTo>
                    <a:cubicBezTo>
                      <a:pt x="688" y="541"/>
                      <a:pt x="687" y="542"/>
                      <a:pt x="688" y="545"/>
                    </a:cubicBezTo>
                    <a:cubicBezTo>
                      <a:pt x="692" y="545"/>
                      <a:pt x="696" y="544"/>
                      <a:pt x="698" y="540"/>
                    </a:cubicBezTo>
                    <a:cubicBezTo>
                      <a:pt x="698" y="538"/>
                      <a:pt x="698" y="535"/>
                      <a:pt x="698" y="533"/>
                    </a:cubicBezTo>
                    <a:cubicBezTo>
                      <a:pt x="700" y="533"/>
                      <a:pt x="701" y="532"/>
                      <a:pt x="702" y="532"/>
                    </a:cubicBezTo>
                    <a:cubicBezTo>
                      <a:pt x="705" y="531"/>
                      <a:pt x="707" y="530"/>
                      <a:pt x="709" y="530"/>
                    </a:cubicBezTo>
                    <a:cubicBezTo>
                      <a:pt x="712" y="529"/>
                      <a:pt x="719" y="527"/>
                      <a:pt x="721" y="525"/>
                    </a:cubicBezTo>
                    <a:cubicBezTo>
                      <a:pt x="723" y="522"/>
                      <a:pt x="722" y="518"/>
                      <a:pt x="722" y="515"/>
                    </a:cubicBezTo>
                    <a:cubicBezTo>
                      <a:pt x="723" y="513"/>
                      <a:pt x="723" y="510"/>
                      <a:pt x="724" y="509"/>
                    </a:cubicBezTo>
                    <a:cubicBezTo>
                      <a:pt x="725" y="508"/>
                      <a:pt x="728" y="505"/>
                      <a:pt x="730" y="506"/>
                    </a:cubicBezTo>
                    <a:cubicBezTo>
                      <a:pt x="734" y="508"/>
                      <a:pt x="729" y="514"/>
                      <a:pt x="736" y="512"/>
                    </a:cubicBezTo>
                    <a:cubicBezTo>
                      <a:pt x="737" y="510"/>
                      <a:pt x="737" y="507"/>
                      <a:pt x="737" y="506"/>
                    </a:cubicBezTo>
                    <a:cubicBezTo>
                      <a:pt x="736" y="504"/>
                      <a:pt x="734" y="503"/>
                      <a:pt x="734" y="501"/>
                    </a:cubicBezTo>
                    <a:cubicBezTo>
                      <a:pt x="733" y="499"/>
                      <a:pt x="733" y="493"/>
                      <a:pt x="734" y="490"/>
                    </a:cubicBezTo>
                    <a:cubicBezTo>
                      <a:pt x="737" y="489"/>
                      <a:pt x="740" y="501"/>
                      <a:pt x="742" y="502"/>
                    </a:cubicBezTo>
                    <a:cubicBezTo>
                      <a:pt x="746" y="506"/>
                      <a:pt x="752" y="500"/>
                      <a:pt x="754" y="497"/>
                    </a:cubicBezTo>
                    <a:cubicBezTo>
                      <a:pt x="758" y="491"/>
                      <a:pt x="761" y="484"/>
                      <a:pt x="769" y="482"/>
                    </a:cubicBezTo>
                    <a:cubicBezTo>
                      <a:pt x="772" y="482"/>
                      <a:pt x="775" y="482"/>
                      <a:pt x="778" y="482"/>
                    </a:cubicBezTo>
                    <a:cubicBezTo>
                      <a:pt x="781" y="482"/>
                      <a:pt x="784" y="483"/>
                      <a:pt x="786" y="483"/>
                    </a:cubicBezTo>
                    <a:cubicBezTo>
                      <a:pt x="792" y="485"/>
                      <a:pt x="791" y="482"/>
                      <a:pt x="796" y="479"/>
                    </a:cubicBezTo>
                    <a:cubicBezTo>
                      <a:pt x="797" y="478"/>
                      <a:pt x="800" y="478"/>
                      <a:pt x="801" y="478"/>
                    </a:cubicBezTo>
                    <a:cubicBezTo>
                      <a:pt x="805" y="477"/>
                      <a:pt x="809" y="477"/>
                      <a:pt x="813" y="477"/>
                    </a:cubicBezTo>
                    <a:cubicBezTo>
                      <a:pt x="816" y="476"/>
                      <a:pt x="821" y="475"/>
                      <a:pt x="823" y="477"/>
                    </a:cubicBezTo>
                    <a:cubicBezTo>
                      <a:pt x="824" y="473"/>
                      <a:pt x="832" y="470"/>
                      <a:pt x="836" y="469"/>
                    </a:cubicBezTo>
                    <a:cubicBezTo>
                      <a:pt x="839" y="468"/>
                      <a:pt x="846" y="470"/>
                      <a:pt x="848" y="467"/>
                    </a:cubicBezTo>
                    <a:cubicBezTo>
                      <a:pt x="851" y="470"/>
                      <a:pt x="856" y="461"/>
                      <a:pt x="857" y="459"/>
                    </a:cubicBezTo>
                    <a:cubicBezTo>
                      <a:pt x="860" y="456"/>
                      <a:pt x="861" y="454"/>
                      <a:pt x="865" y="453"/>
                    </a:cubicBezTo>
                    <a:cubicBezTo>
                      <a:pt x="867" y="453"/>
                      <a:pt x="870" y="453"/>
                      <a:pt x="872" y="453"/>
                    </a:cubicBezTo>
                    <a:cubicBezTo>
                      <a:pt x="876" y="452"/>
                      <a:pt x="879" y="449"/>
                      <a:pt x="883" y="448"/>
                    </a:cubicBezTo>
                    <a:cubicBezTo>
                      <a:pt x="886" y="448"/>
                      <a:pt x="889" y="449"/>
                      <a:pt x="892" y="448"/>
                    </a:cubicBezTo>
                    <a:cubicBezTo>
                      <a:pt x="895" y="448"/>
                      <a:pt x="898" y="448"/>
                      <a:pt x="901" y="447"/>
                    </a:cubicBezTo>
                    <a:cubicBezTo>
                      <a:pt x="905" y="447"/>
                      <a:pt x="907" y="446"/>
                      <a:pt x="910" y="443"/>
                    </a:cubicBezTo>
                    <a:cubicBezTo>
                      <a:pt x="912" y="442"/>
                      <a:pt x="914" y="441"/>
                      <a:pt x="916" y="441"/>
                    </a:cubicBezTo>
                    <a:cubicBezTo>
                      <a:pt x="919" y="440"/>
                      <a:pt x="920" y="444"/>
                      <a:pt x="923" y="444"/>
                    </a:cubicBezTo>
                    <a:cubicBezTo>
                      <a:pt x="924" y="444"/>
                      <a:pt x="926" y="443"/>
                      <a:pt x="927" y="442"/>
                    </a:cubicBezTo>
                    <a:cubicBezTo>
                      <a:pt x="922" y="441"/>
                      <a:pt x="918" y="438"/>
                      <a:pt x="912" y="437"/>
                    </a:cubicBezTo>
                    <a:cubicBezTo>
                      <a:pt x="907" y="437"/>
                      <a:pt x="906" y="438"/>
                      <a:pt x="906" y="432"/>
                    </a:cubicBezTo>
                    <a:cubicBezTo>
                      <a:pt x="905" y="427"/>
                      <a:pt x="904" y="422"/>
                      <a:pt x="905" y="417"/>
                    </a:cubicBezTo>
                    <a:cubicBezTo>
                      <a:pt x="906" y="414"/>
                      <a:pt x="908" y="410"/>
                      <a:pt x="911" y="408"/>
                    </a:cubicBezTo>
                    <a:cubicBezTo>
                      <a:pt x="914" y="407"/>
                      <a:pt x="915" y="407"/>
                      <a:pt x="917" y="405"/>
                    </a:cubicBezTo>
                    <a:cubicBezTo>
                      <a:pt x="919" y="403"/>
                      <a:pt x="920" y="402"/>
                      <a:pt x="923" y="401"/>
                    </a:cubicBezTo>
                    <a:cubicBezTo>
                      <a:pt x="926" y="400"/>
                      <a:pt x="931" y="403"/>
                      <a:pt x="934" y="401"/>
                    </a:cubicBezTo>
                    <a:cubicBezTo>
                      <a:pt x="938" y="399"/>
                      <a:pt x="935" y="394"/>
                      <a:pt x="937" y="391"/>
                    </a:cubicBezTo>
                    <a:cubicBezTo>
                      <a:pt x="939" y="389"/>
                      <a:pt x="943" y="390"/>
                      <a:pt x="946" y="390"/>
                    </a:cubicBezTo>
                    <a:cubicBezTo>
                      <a:pt x="947" y="390"/>
                      <a:pt x="949" y="389"/>
                      <a:pt x="949" y="389"/>
                    </a:cubicBezTo>
                    <a:cubicBezTo>
                      <a:pt x="951" y="389"/>
                      <a:pt x="952" y="391"/>
                      <a:pt x="954" y="391"/>
                    </a:cubicBezTo>
                    <a:cubicBezTo>
                      <a:pt x="955" y="391"/>
                      <a:pt x="957" y="389"/>
                      <a:pt x="958" y="389"/>
                    </a:cubicBezTo>
                    <a:cubicBezTo>
                      <a:pt x="961" y="387"/>
                      <a:pt x="964" y="387"/>
                      <a:pt x="967" y="387"/>
                    </a:cubicBezTo>
                    <a:cubicBezTo>
                      <a:pt x="972" y="387"/>
                      <a:pt x="976" y="387"/>
                      <a:pt x="979" y="388"/>
                    </a:cubicBezTo>
                    <a:cubicBezTo>
                      <a:pt x="984" y="390"/>
                      <a:pt x="987" y="391"/>
                      <a:pt x="992" y="387"/>
                    </a:cubicBezTo>
                    <a:cubicBezTo>
                      <a:pt x="993" y="386"/>
                      <a:pt x="994" y="384"/>
                      <a:pt x="995" y="383"/>
                    </a:cubicBezTo>
                    <a:cubicBezTo>
                      <a:pt x="997" y="382"/>
                      <a:pt x="998" y="382"/>
                      <a:pt x="999" y="381"/>
                    </a:cubicBezTo>
                    <a:cubicBezTo>
                      <a:pt x="1001" y="379"/>
                      <a:pt x="1000" y="379"/>
                      <a:pt x="1001" y="377"/>
                    </a:cubicBezTo>
                    <a:cubicBezTo>
                      <a:pt x="1002" y="371"/>
                      <a:pt x="1000" y="365"/>
                      <a:pt x="1002" y="359"/>
                    </a:cubicBezTo>
                    <a:cubicBezTo>
                      <a:pt x="1003" y="357"/>
                      <a:pt x="1005" y="355"/>
                      <a:pt x="1006" y="353"/>
                    </a:cubicBezTo>
                    <a:cubicBezTo>
                      <a:pt x="1007" y="352"/>
                      <a:pt x="1010" y="352"/>
                      <a:pt x="1009" y="349"/>
                    </a:cubicBezTo>
                    <a:cubicBezTo>
                      <a:pt x="1005" y="349"/>
                      <a:pt x="1004" y="349"/>
                      <a:pt x="1002" y="346"/>
                    </a:cubicBezTo>
                    <a:cubicBezTo>
                      <a:pt x="1002" y="347"/>
                      <a:pt x="1001" y="347"/>
                      <a:pt x="1001" y="347"/>
                    </a:cubicBezTo>
                    <a:cubicBezTo>
                      <a:pt x="998" y="342"/>
                      <a:pt x="998" y="336"/>
                      <a:pt x="997" y="331"/>
                    </a:cubicBezTo>
                    <a:cubicBezTo>
                      <a:pt x="995" y="331"/>
                      <a:pt x="994" y="331"/>
                      <a:pt x="992" y="331"/>
                    </a:cubicBezTo>
                    <a:cubicBezTo>
                      <a:pt x="991" y="326"/>
                      <a:pt x="992" y="319"/>
                      <a:pt x="992" y="314"/>
                    </a:cubicBezTo>
                    <a:cubicBezTo>
                      <a:pt x="992" y="313"/>
                      <a:pt x="991" y="308"/>
                      <a:pt x="992" y="306"/>
                    </a:cubicBezTo>
                    <a:cubicBezTo>
                      <a:pt x="994" y="302"/>
                      <a:pt x="1014" y="306"/>
                      <a:pt x="1011" y="300"/>
                    </a:cubicBezTo>
                    <a:cubicBezTo>
                      <a:pt x="1010" y="297"/>
                      <a:pt x="1003" y="298"/>
                      <a:pt x="1001" y="298"/>
                    </a:cubicBezTo>
                    <a:cubicBezTo>
                      <a:pt x="995" y="298"/>
                      <a:pt x="993" y="295"/>
                      <a:pt x="988" y="291"/>
                    </a:cubicBezTo>
                    <a:cubicBezTo>
                      <a:pt x="983" y="287"/>
                      <a:pt x="982" y="283"/>
                      <a:pt x="990" y="282"/>
                    </a:cubicBezTo>
                    <a:cubicBezTo>
                      <a:pt x="996" y="282"/>
                      <a:pt x="1002" y="283"/>
                      <a:pt x="1008" y="282"/>
                    </a:cubicBezTo>
                    <a:cubicBezTo>
                      <a:pt x="1008" y="280"/>
                      <a:pt x="1008" y="278"/>
                      <a:pt x="1009" y="276"/>
                    </a:cubicBezTo>
                    <a:cubicBezTo>
                      <a:pt x="1012" y="269"/>
                      <a:pt x="1018" y="273"/>
                      <a:pt x="1024" y="269"/>
                    </a:cubicBezTo>
                    <a:cubicBezTo>
                      <a:pt x="1026" y="267"/>
                      <a:pt x="1026" y="266"/>
                      <a:pt x="1024" y="264"/>
                    </a:cubicBezTo>
                    <a:moveTo>
                      <a:pt x="134" y="165"/>
                    </a:moveTo>
                    <a:cubicBezTo>
                      <a:pt x="134" y="165"/>
                      <a:pt x="134" y="165"/>
                      <a:pt x="134" y="165"/>
                    </a:cubicBezTo>
                    <a:cubicBezTo>
                      <a:pt x="134" y="165"/>
                      <a:pt x="134" y="165"/>
                      <a:pt x="133" y="165"/>
                    </a:cubicBezTo>
                    <a:lnTo>
                      <a:pt x="134" y="16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8" name="Freeform 6">
                <a:extLst>
                  <a:ext uri="{FF2B5EF4-FFF2-40B4-BE49-F238E27FC236}">
                    <a16:creationId xmlns:a16="http://schemas.microsoft.com/office/drawing/2014/main" id="{01442DB6-7CA7-4878-BBAE-31BC1E1774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5363" y="5638800"/>
                <a:ext cx="84138" cy="50800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15" y="1"/>
                  </a:cxn>
                  <a:cxn ang="0">
                    <a:pos x="13" y="0"/>
                  </a:cxn>
                  <a:cxn ang="0">
                    <a:pos x="10" y="4"/>
                  </a:cxn>
                  <a:cxn ang="0">
                    <a:pos x="9" y="5"/>
                  </a:cxn>
                  <a:cxn ang="0">
                    <a:pos x="8" y="6"/>
                  </a:cxn>
                  <a:cxn ang="0">
                    <a:pos x="7" y="6"/>
                  </a:cxn>
                  <a:cxn ang="0">
                    <a:pos x="7" y="7"/>
                  </a:cxn>
                  <a:cxn ang="0">
                    <a:pos x="1" y="10"/>
                  </a:cxn>
                  <a:cxn ang="0">
                    <a:pos x="1" y="14"/>
                  </a:cxn>
                  <a:cxn ang="0">
                    <a:pos x="5" y="19"/>
                  </a:cxn>
                  <a:cxn ang="0">
                    <a:pos x="9" y="22"/>
                  </a:cxn>
                  <a:cxn ang="0">
                    <a:pos x="15" y="22"/>
                  </a:cxn>
                  <a:cxn ang="0">
                    <a:pos x="18" y="22"/>
                  </a:cxn>
                  <a:cxn ang="0">
                    <a:pos x="20" y="21"/>
                  </a:cxn>
                  <a:cxn ang="0">
                    <a:pos x="22" y="21"/>
                  </a:cxn>
                  <a:cxn ang="0">
                    <a:pos x="25" y="21"/>
                  </a:cxn>
                  <a:cxn ang="0">
                    <a:pos x="29" y="22"/>
                  </a:cxn>
                  <a:cxn ang="0">
                    <a:pos x="32" y="24"/>
                  </a:cxn>
                  <a:cxn ang="0">
                    <a:pos x="39" y="26"/>
                  </a:cxn>
                  <a:cxn ang="0">
                    <a:pos x="44" y="25"/>
                  </a:cxn>
                  <a:cxn ang="0">
                    <a:pos x="44" y="19"/>
                  </a:cxn>
                  <a:cxn ang="0">
                    <a:pos x="43" y="16"/>
                  </a:cxn>
                  <a:cxn ang="0">
                    <a:pos x="42" y="13"/>
                  </a:cxn>
                  <a:cxn ang="0">
                    <a:pos x="38" y="10"/>
                  </a:cxn>
                  <a:cxn ang="0">
                    <a:pos x="35" y="9"/>
                  </a:cxn>
                  <a:cxn ang="0">
                    <a:pos x="33" y="9"/>
                  </a:cxn>
                  <a:cxn ang="0">
                    <a:pos x="27" y="5"/>
                  </a:cxn>
                  <a:cxn ang="0">
                    <a:pos x="23" y="4"/>
                  </a:cxn>
                  <a:cxn ang="0">
                    <a:pos x="20" y="3"/>
                  </a:cxn>
                  <a:cxn ang="0">
                    <a:pos x="17" y="3"/>
                  </a:cxn>
                </a:cxnLst>
                <a:rect l="0" t="0" r="r" b="b"/>
                <a:pathLst>
                  <a:path w="45" h="27">
                    <a:moveTo>
                      <a:pt x="17" y="3"/>
                    </a:moveTo>
                    <a:cubicBezTo>
                      <a:pt x="17" y="2"/>
                      <a:pt x="16" y="2"/>
                      <a:pt x="15" y="1"/>
                    </a:cubicBezTo>
                    <a:cubicBezTo>
                      <a:pt x="14" y="1"/>
                      <a:pt x="13" y="0"/>
                      <a:pt x="13" y="0"/>
                    </a:cubicBezTo>
                    <a:cubicBezTo>
                      <a:pt x="11" y="1"/>
                      <a:pt x="11" y="2"/>
                      <a:pt x="10" y="4"/>
                    </a:cubicBezTo>
                    <a:cubicBezTo>
                      <a:pt x="10" y="4"/>
                      <a:pt x="10" y="5"/>
                      <a:pt x="9" y="5"/>
                    </a:cubicBezTo>
                    <a:cubicBezTo>
                      <a:pt x="9" y="5"/>
                      <a:pt x="9" y="6"/>
                      <a:pt x="8" y="6"/>
                    </a:cubicBezTo>
                    <a:cubicBezTo>
                      <a:pt x="8" y="6"/>
                      <a:pt x="8" y="6"/>
                      <a:pt x="7" y="6"/>
                    </a:cubicBezTo>
                    <a:cubicBezTo>
                      <a:pt x="7" y="6"/>
                      <a:pt x="7" y="6"/>
                      <a:pt x="7" y="7"/>
                    </a:cubicBezTo>
                    <a:cubicBezTo>
                      <a:pt x="5" y="8"/>
                      <a:pt x="2" y="8"/>
                      <a:pt x="1" y="10"/>
                    </a:cubicBezTo>
                    <a:cubicBezTo>
                      <a:pt x="0" y="11"/>
                      <a:pt x="0" y="13"/>
                      <a:pt x="1" y="14"/>
                    </a:cubicBezTo>
                    <a:cubicBezTo>
                      <a:pt x="1" y="16"/>
                      <a:pt x="3" y="17"/>
                      <a:pt x="5" y="19"/>
                    </a:cubicBezTo>
                    <a:cubicBezTo>
                      <a:pt x="6" y="20"/>
                      <a:pt x="7" y="21"/>
                      <a:pt x="9" y="22"/>
                    </a:cubicBezTo>
                    <a:cubicBezTo>
                      <a:pt x="11" y="22"/>
                      <a:pt x="13" y="22"/>
                      <a:pt x="15" y="22"/>
                    </a:cubicBezTo>
                    <a:cubicBezTo>
                      <a:pt x="16" y="23"/>
                      <a:pt x="17" y="23"/>
                      <a:pt x="18" y="22"/>
                    </a:cubicBezTo>
                    <a:cubicBezTo>
                      <a:pt x="19" y="22"/>
                      <a:pt x="19" y="22"/>
                      <a:pt x="20" y="21"/>
                    </a:cubicBezTo>
                    <a:cubicBezTo>
                      <a:pt x="20" y="21"/>
                      <a:pt x="21" y="21"/>
                      <a:pt x="22" y="21"/>
                    </a:cubicBezTo>
                    <a:cubicBezTo>
                      <a:pt x="23" y="21"/>
                      <a:pt x="24" y="21"/>
                      <a:pt x="25" y="21"/>
                    </a:cubicBezTo>
                    <a:cubicBezTo>
                      <a:pt x="27" y="21"/>
                      <a:pt x="28" y="22"/>
                      <a:pt x="29" y="22"/>
                    </a:cubicBezTo>
                    <a:cubicBezTo>
                      <a:pt x="30" y="22"/>
                      <a:pt x="31" y="23"/>
                      <a:pt x="32" y="24"/>
                    </a:cubicBezTo>
                    <a:cubicBezTo>
                      <a:pt x="34" y="25"/>
                      <a:pt x="36" y="26"/>
                      <a:pt x="39" y="26"/>
                    </a:cubicBezTo>
                    <a:cubicBezTo>
                      <a:pt x="40" y="27"/>
                      <a:pt x="43" y="27"/>
                      <a:pt x="44" y="25"/>
                    </a:cubicBezTo>
                    <a:cubicBezTo>
                      <a:pt x="45" y="23"/>
                      <a:pt x="44" y="21"/>
                      <a:pt x="44" y="19"/>
                    </a:cubicBezTo>
                    <a:cubicBezTo>
                      <a:pt x="43" y="18"/>
                      <a:pt x="43" y="17"/>
                      <a:pt x="43" y="16"/>
                    </a:cubicBezTo>
                    <a:cubicBezTo>
                      <a:pt x="43" y="15"/>
                      <a:pt x="43" y="14"/>
                      <a:pt x="42" y="13"/>
                    </a:cubicBezTo>
                    <a:cubicBezTo>
                      <a:pt x="41" y="11"/>
                      <a:pt x="39" y="11"/>
                      <a:pt x="38" y="10"/>
                    </a:cubicBezTo>
                    <a:cubicBezTo>
                      <a:pt x="37" y="10"/>
                      <a:pt x="36" y="9"/>
                      <a:pt x="35" y="9"/>
                    </a:cubicBezTo>
                    <a:cubicBezTo>
                      <a:pt x="34" y="9"/>
                      <a:pt x="34" y="9"/>
                      <a:pt x="33" y="9"/>
                    </a:cubicBezTo>
                    <a:cubicBezTo>
                      <a:pt x="31" y="8"/>
                      <a:pt x="29" y="6"/>
                      <a:pt x="27" y="5"/>
                    </a:cubicBezTo>
                    <a:cubicBezTo>
                      <a:pt x="26" y="5"/>
                      <a:pt x="24" y="5"/>
                      <a:pt x="23" y="4"/>
                    </a:cubicBezTo>
                    <a:cubicBezTo>
                      <a:pt x="22" y="4"/>
                      <a:pt x="21" y="4"/>
                      <a:pt x="20" y="3"/>
                    </a:cubicBezTo>
                    <a:cubicBezTo>
                      <a:pt x="20" y="3"/>
                      <a:pt x="19" y="4"/>
                      <a:pt x="17" y="3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9" name="Freeform 7">
                <a:extLst>
                  <a:ext uri="{FF2B5EF4-FFF2-40B4-BE49-F238E27FC236}">
                    <a16:creationId xmlns:a16="http://schemas.microsoft.com/office/drawing/2014/main" id="{A6B9FF62-9D35-405E-8C3C-1B63450160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55850" y="3716338"/>
                <a:ext cx="463550" cy="674688"/>
              </a:xfrm>
              <a:custGeom>
                <a:avLst/>
                <a:gdLst/>
                <a:ahLst/>
                <a:cxnLst>
                  <a:cxn ang="0">
                    <a:pos x="182" y="8"/>
                  </a:cxn>
                  <a:cxn ang="0">
                    <a:pos x="163" y="8"/>
                  </a:cxn>
                  <a:cxn ang="0">
                    <a:pos x="124" y="24"/>
                  </a:cxn>
                  <a:cxn ang="0">
                    <a:pos x="114" y="53"/>
                  </a:cxn>
                  <a:cxn ang="0">
                    <a:pos x="94" y="68"/>
                  </a:cxn>
                  <a:cxn ang="0">
                    <a:pos x="127" y="72"/>
                  </a:cxn>
                  <a:cxn ang="0">
                    <a:pos x="110" y="90"/>
                  </a:cxn>
                  <a:cxn ang="0">
                    <a:pos x="100" y="105"/>
                  </a:cxn>
                  <a:cxn ang="0">
                    <a:pos x="75" y="113"/>
                  </a:cxn>
                  <a:cxn ang="0">
                    <a:pos x="33" y="106"/>
                  </a:cxn>
                  <a:cxn ang="0">
                    <a:pos x="31" y="131"/>
                  </a:cxn>
                  <a:cxn ang="0">
                    <a:pos x="14" y="139"/>
                  </a:cxn>
                  <a:cxn ang="0">
                    <a:pos x="40" y="142"/>
                  </a:cxn>
                  <a:cxn ang="0">
                    <a:pos x="35" y="153"/>
                  </a:cxn>
                  <a:cxn ang="0">
                    <a:pos x="24" y="179"/>
                  </a:cxn>
                  <a:cxn ang="0">
                    <a:pos x="37" y="189"/>
                  </a:cxn>
                  <a:cxn ang="0">
                    <a:pos x="45" y="197"/>
                  </a:cxn>
                  <a:cxn ang="0">
                    <a:pos x="74" y="214"/>
                  </a:cxn>
                  <a:cxn ang="0">
                    <a:pos x="55" y="240"/>
                  </a:cxn>
                  <a:cxn ang="0">
                    <a:pos x="39" y="257"/>
                  </a:cxn>
                  <a:cxn ang="0">
                    <a:pos x="70" y="260"/>
                  </a:cxn>
                  <a:cxn ang="0">
                    <a:pos x="40" y="289"/>
                  </a:cxn>
                  <a:cxn ang="0">
                    <a:pos x="4" y="292"/>
                  </a:cxn>
                  <a:cxn ang="0">
                    <a:pos x="24" y="304"/>
                  </a:cxn>
                  <a:cxn ang="0">
                    <a:pos x="23" y="310"/>
                  </a:cxn>
                  <a:cxn ang="0">
                    <a:pos x="10" y="331"/>
                  </a:cxn>
                  <a:cxn ang="0">
                    <a:pos x="51" y="325"/>
                  </a:cxn>
                  <a:cxn ang="0">
                    <a:pos x="19" y="346"/>
                  </a:cxn>
                  <a:cxn ang="0">
                    <a:pos x="56" y="341"/>
                  </a:cxn>
                  <a:cxn ang="0">
                    <a:pos x="60" y="357"/>
                  </a:cxn>
                  <a:cxn ang="0">
                    <a:pos x="104" y="344"/>
                  </a:cxn>
                  <a:cxn ang="0">
                    <a:pos x="134" y="322"/>
                  </a:cxn>
                  <a:cxn ang="0">
                    <a:pos x="173" y="302"/>
                  </a:cxn>
                  <a:cxn ang="0">
                    <a:pos x="208" y="294"/>
                  </a:cxn>
                  <a:cxn ang="0">
                    <a:pos x="219" y="277"/>
                  </a:cxn>
                  <a:cxn ang="0">
                    <a:pos x="238" y="240"/>
                  </a:cxn>
                  <a:cxn ang="0">
                    <a:pos x="230" y="195"/>
                  </a:cxn>
                  <a:cxn ang="0">
                    <a:pos x="245" y="187"/>
                  </a:cxn>
                  <a:cxn ang="0">
                    <a:pos x="225" y="161"/>
                  </a:cxn>
                  <a:cxn ang="0">
                    <a:pos x="231" y="134"/>
                  </a:cxn>
                  <a:cxn ang="0">
                    <a:pos x="234" y="126"/>
                  </a:cxn>
                  <a:cxn ang="0">
                    <a:pos x="218" y="123"/>
                  </a:cxn>
                  <a:cxn ang="0">
                    <a:pos x="201" y="112"/>
                  </a:cxn>
                  <a:cxn ang="0">
                    <a:pos x="184" y="95"/>
                  </a:cxn>
                  <a:cxn ang="0">
                    <a:pos x="172" y="114"/>
                  </a:cxn>
                  <a:cxn ang="0">
                    <a:pos x="153" y="114"/>
                  </a:cxn>
                  <a:cxn ang="0">
                    <a:pos x="137" y="104"/>
                  </a:cxn>
                  <a:cxn ang="0">
                    <a:pos x="130" y="90"/>
                  </a:cxn>
                  <a:cxn ang="0">
                    <a:pos x="149" y="73"/>
                  </a:cxn>
                  <a:cxn ang="0">
                    <a:pos x="147" y="63"/>
                  </a:cxn>
                  <a:cxn ang="0">
                    <a:pos x="165" y="46"/>
                  </a:cxn>
                  <a:cxn ang="0">
                    <a:pos x="184" y="28"/>
                  </a:cxn>
                  <a:cxn ang="0">
                    <a:pos x="191" y="16"/>
                  </a:cxn>
                  <a:cxn ang="0">
                    <a:pos x="240" y="128"/>
                  </a:cxn>
                  <a:cxn ang="0">
                    <a:pos x="216" y="17"/>
                  </a:cxn>
                  <a:cxn ang="0">
                    <a:pos x="214" y="18"/>
                  </a:cxn>
                </a:cxnLst>
                <a:rect l="0" t="0" r="r" b="b"/>
                <a:pathLst>
                  <a:path w="248" h="361">
                    <a:moveTo>
                      <a:pt x="203" y="10"/>
                    </a:moveTo>
                    <a:cubicBezTo>
                      <a:pt x="201" y="10"/>
                      <a:pt x="199" y="10"/>
                      <a:pt x="198" y="10"/>
                    </a:cubicBezTo>
                    <a:cubicBezTo>
                      <a:pt x="197" y="10"/>
                      <a:pt x="195" y="11"/>
                      <a:pt x="194" y="10"/>
                    </a:cubicBezTo>
                    <a:cubicBezTo>
                      <a:pt x="191" y="10"/>
                      <a:pt x="189" y="8"/>
                      <a:pt x="187" y="8"/>
                    </a:cubicBezTo>
                    <a:cubicBezTo>
                      <a:pt x="185" y="8"/>
                      <a:pt x="183" y="9"/>
                      <a:pt x="182" y="8"/>
                    </a:cubicBezTo>
                    <a:cubicBezTo>
                      <a:pt x="180" y="7"/>
                      <a:pt x="181" y="6"/>
                      <a:pt x="179" y="5"/>
                    </a:cubicBezTo>
                    <a:cubicBezTo>
                      <a:pt x="178" y="4"/>
                      <a:pt x="176" y="4"/>
                      <a:pt x="175" y="4"/>
                    </a:cubicBezTo>
                    <a:cubicBezTo>
                      <a:pt x="172" y="4"/>
                      <a:pt x="172" y="4"/>
                      <a:pt x="170" y="3"/>
                    </a:cubicBezTo>
                    <a:cubicBezTo>
                      <a:pt x="168" y="2"/>
                      <a:pt x="167" y="0"/>
                      <a:pt x="165" y="3"/>
                    </a:cubicBezTo>
                    <a:cubicBezTo>
                      <a:pt x="163" y="4"/>
                      <a:pt x="165" y="7"/>
                      <a:pt x="163" y="8"/>
                    </a:cubicBezTo>
                    <a:cubicBezTo>
                      <a:pt x="162" y="9"/>
                      <a:pt x="160" y="8"/>
                      <a:pt x="159" y="8"/>
                    </a:cubicBezTo>
                    <a:cubicBezTo>
                      <a:pt x="154" y="8"/>
                      <a:pt x="137" y="8"/>
                      <a:pt x="138" y="16"/>
                    </a:cubicBezTo>
                    <a:cubicBezTo>
                      <a:pt x="135" y="17"/>
                      <a:pt x="133" y="13"/>
                      <a:pt x="131" y="11"/>
                    </a:cubicBezTo>
                    <a:cubicBezTo>
                      <a:pt x="128" y="14"/>
                      <a:pt x="133" y="21"/>
                      <a:pt x="128" y="24"/>
                    </a:cubicBezTo>
                    <a:cubicBezTo>
                      <a:pt x="127" y="24"/>
                      <a:pt x="125" y="24"/>
                      <a:pt x="124" y="24"/>
                    </a:cubicBezTo>
                    <a:cubicBezTo>
                      <a:pt x="123" y="24"/>
                      <a:pt x="122" y="25"/>
                      <a:pt x="121" y="26"/>
                    </a:cubicBezTo>
                    <a:cubicBezTo>
                      <a:pt x="120" y="26"/>
                      <a:pt x="117" y="25"/>
                      <a:pt x="116" y="26"/>
                    </a:cubicBezTo>
                    <a:cubicBezTo>
                      <a:pt x="112" y="29"/>
                      <a:pt x="116" y="34"/>
                      <a:pt x="112" y="37"/>
                    </a:cubicBezTo>
                    <a:cubicBezTo>
                      <a:pt x="110" y="39"/>
                      <a:pt x="104" y="40"/>
                      <a:pt x="105" y="46"/>
                    </a:cubicBezTo>
                    <a:cubicBezTo>
                      <a:pt x="109" y="46"/>
                      <a:pt x="115" y="48"/>
                      <a:pt x="114" y="53"/>
                    </a:cubicBezTo>
                    <a:cubicBezTo>
                      <a:pt x="112" y="58"/>
                      <a:pt x="109" y="54"/>
                      <a:pt x="106" y="55"/>
                    </a:cubicBezTo>
                    <a:cubicBezTo>
                      <a:pt x="103" y="55"/>
                      <a:pt x="104" y="55"/>
                      <a:pt x="103" y="57"/>
                    </a:cubicBezTo>
                    <a:cubicBezTo>
                      <a:pt x="103" y="58"/>
                      <a:pt x="103" y="58"/>
                      <a:pt x="103" y="59"/>
                    </a:cubicBezTo>
                    <a:cubicBezTo>
                      <a:pt x="102" y="60"/>
                      <a:pt x="102" y="59"/>
                      <a:pt x="101" y="60"/>
                    </a:cubicBezTo>
                    <a:cubicBezTo>
                      <a:pt x="98" y="62"/>
                      <a:pt x="96" y="65"/>
                      <a:pt x="94" y="68"/>
                    </a:cubicBezTo>
                    <a:cubicBezTo>
                      <a:pt x="91" y="71"/>
                      <a:pt x="88" y="75"/>
                      <a:pt x="94" y="76"/>
                    </a:cubicBezTo>
                    <a:cubicBezTo>
                      <a:pt x="96" y="77"/>
                      <a:pt x="98" y="76"/>
                      <a:pt x="100" y="76"/>
                    </a:cubicBezTo>
                    <a:cubicBezTo>
                      <a:pt x="102" y="76"/>
                      <a:pt x="103" y="78"/>
                      <a:pt x="105" y="78"/>
                    </a:cubicBezTo>
                    <a:cubicBezTo>
                      <a:pt x="110" y="80"/>
                      <a:pt x="112" y="77"/>
                      <a:pt x="117" y="76"/>
                    </a:cubicBezTo>
                    <a:cubicBezTo>
                      <a:pt x="120" y="75"/>
                      <a:pt x="123" y="74"/>
                      <a:pt x="127" y="72"/>
                    </a:cubicBezTo>
                    <a:cubicBezTo>
                      <a:pt x="127" y="75"/>
                      <a:pt x="127" y="76"/>
                      <a:pt x="126" y="77"/>
                    </a:cubicBezTo>
                    <a:cubicBezTo>
                      <a:pt x="124" y="80"/>
                      <a:pt x="123" y="80"/>
                      <a:pt x="122" y="83"/>
                    </a:cubicBezTo>
                    <a:cubicBezTo>
                      <a:pt x="121" y="85"/>
                      <a:pt x="122" y="85"/>
                      <a:pt x="120" y="86"/>
                    </a:cubicBezTo>
                    <a:cubicBezTo>
                      <a:pt x="119" y="87"/>
                      <a:pt x="117" y="87"/>
                      <a:pt x="115" y="88"/>
                    </a:cubicBezTo>
                    <a:cubicBezTo>
                      <a:pt x="113" y="88"/>
                      <a:pt x="112" y="90"/>
                      <a:pt x="110" y="90"/>
                    </a:cubicBezTo>
                    <a:cubicBezTo>
                      <a:pt x="109" y="91"/>
                      <a:pt x="108" y="90"/>
                      <a:pt x="107" y="90"/>
                    </a:cubicBezTo>
                    <a:cubicBezTo>
                      <a:pt x="106" y="91"/>
                      <a:pt x="106" y="92"/>
                      <a:pt x="105" y="93"/>
                    </a:cubicBezTo>
                    <a:cubicBezTo>
                      <a:pt x="103" y="95"/>
                      <a:pt x="98" y="97"/>
                      <a:pt x="99" y="100"/>
                    </a:cubicBezTo>
                    <a:cubicBezTo>
                      <a:pt x="100" y="100"/>
                      <a:pt x="101" y="100"/>
                      <a:pt x="102" y="100"/>
                    </a:cubicBezTo>
                    <a:cubicBezTo>
                      <a:pt x="103" y="103"/>
                      <a:pt x="103" y="104"/>
                      <a:pt x="100" y="105"/>
                    </a:cubicBezTo>
                    <a:cubicBezTo>
                      <a:pt x="99" y="106"/>
                      <a:pt x="97" y="105"/>
                      <a:pt x="96" y="105"/>
                    </a:cubicBezTo>
                    <a:cubicBezTo>
                      <a:pt x="94" y="106"/>
                      <a:pt x="94" y="106"/>
                      <a:pt x="93" y="106"/>
                    </a:cubicBezTo>
                    <a:cubicBezTo>
                      <a:pt x="90" y="107"/>
                      <a:pt x="90" y="105"/>
                      <a:pt x="87" y="104"/>
                    </a:cubicBezTo>
                    <a:cubicBezTo>
                      <a:pt x="85" y="104"/>
                      <a:pt x="82" y="104"/>
                      <a:pt x="80" y="105"/>
                    </a:cubicBezTo>
                    <a:cubicBezTo>
                      <a:pt x="79" y="108"/>
                      <a:pt x="80" y="114"/>
                      <a:pt x="75" y="113"/>
                    </a:cubicBezTo>
                    <a:cubicBezTo>
                      <a:pt x="69" y="112"/>
                      <a:pt x="72" y="105"/>
                      <a:pt x="66" y="103"/>
                    </a:cubicBezTo>
                    <a:cubicBezTo>
                      <a:pt x="61" y="103"/>
                      <a:pt x="57" y="103"/>
                      <a:pt x="52" y="102"/>
                    </a:cubicBezTo>
                    <a:cubicBezTo>
                      <a:pt x="49" y="102"/>
                      <a:pt x="46" y="101"/>
                      <a:pt x="43" y="101"/>
                    </a:cubicBezTo>
                    <a:cubicBezTo>
                      <a:pt x="40" y="101"/>
                      <a:pt x="37" y="102"/>
                      <a:pt x="33" y="102"/>
                    </a:cubicBezTo>
                    <a:cubicBezTo>
                      <a:pt x="33" y="103"/>
                      <a:pt x="33" y="105"/>
                      <a:pt x="33" y="106"/>
                    </a:cubicBezTo>
                    <a:cubicBezTo>
                      <a:pt x="29" y="107"/>
                      <a:pt x="25" y="107"/>
                      <a:pt x="22" y="111"/>
                    </a:cubicBezTo>
                    <a:cubicBezTo>
                      <a:pt x="20" y="115"/>
                      <a:pt x="17" y="123"/>
                      <a:pt x="20" y="126"/>
                    </a:cubicBezTo>
                    <a:cubicBezTo>
                      <a:pt x="21" y="125"/>
                      <a:pt x="22" y="123"/>
                      <a:pt x="23" y="122"/>
                    </a:cubicBezTo>
                    <a:cubicBezTo>
                      <a:pt x="24" y="120"/>
                      <a:pt x="27" y="117"/>
                      <a:pt x="29" y="117"/>
                    </a:cubicBezTo>
                    <a:cubicBezTo>
                      <a:pt x="33" y="117"/>
                      <a:pt x="32" y="128"/>
                      <a:pt x="31" y="131"/>
                    </a:cubicBezTo>
                    <a:cubicBezTo>
                      <a:pt x="35" y="133"/>
                      <a:pt x="39" y="132"/>
                      <a:pt x="42" y="134"/>
                    </a:cubicBezTo>
                    <a:cubicBezTo>
                      <a:pt x="40" y="137"/>
                      <a:pt x="32" y="136"/>
                      <a:pt x="30" y="134"/>
                    </a:cubicBezTo>
                    <a:cubicBezTo>
                      <a:pt x="27" y="133"/>
                      <a:pt x="28" y="132"/>
                      <a:pt x="24" y="131"/>
                    </a:cubicBezTo>
                    <a:cubicBezTo>
                      <a:pt x="21" y="131"/>
                      <a:pt x="18" y="131"/>
                      <a:pt x="16" y="132"/>
                    </a:cubicBezTo>
                    <a:cubicBezTo>
                      <a:pt x="14" y="133"/>
                      <a:pt x="12" y="136"/>
                      <a:pt x="14" y="139"/>
                    </a:cubicBezTo>
                    <a:cubicBezTo>
                      <a:pt x="16" y="141"/>
                      <a:pt x="19" y="138"/>
                      <a:pt x="21" y="139"/>
                    </a:cubicBezTo>
                    <a:cubicBezTo>
                      <a:pt x="22" y="140"/>
                      <a:pt x="23" y="141"/>
                      <a:pt x="24" y="142"/>
                    </a:cubicBezTo>
                    <a:cubicBezTo>
                      <a:pt x="25" y="144"/>
                      <a:pt x="25" y="143"/>
                      <a:pt x="27" y="144"/>
                    </a:cubicBezTo>
                    <a:cubicBezTo>
                      <a:pt x="31" y="146"/>
                      <a:pt x="34" y="147"/>
                      <a:pt x="38" y="146"/>
                    </a:cubicBezTo>
                    <a:cubicBezTo>
                      <a:pt x="38" y="145"/>
                      <a:pt x="39" y="143"/>
                      <a:pt x="40" y="142"/>
                    </a:cubicBezTo>
                    <a:cubicBezTo>
                      <a:pt x="42" y="141"/>
                      <a:pt x="45" y="142"/>
                      <a:pt x="45" y="145"/>
                    </a:cubicBezTo>
                    <a:cubicBezTo>
                      <a:pt x="45" y="145"/>
                      <a:pt x="46" y="145"/>
                      <a:pt x="47" y="145"/>
                    </a:cubicBezTo>
                    <a:cubicBezTo>
                      <a:pt x="47" y="147"/>
                      <a:pt x="46" y="150"/>
                      <a:pt x="44" y="151"/>
                    </a:cubicBezTo>
                    <a:cubicBezTo>
                      <a:pt x="42" y="151"/>
                      <a:pt x="41" y="150"/>
                      <a:pt x="39" y="151"/>
                    </a:cubicBezTo>
                    <a:cubicBezTo>
                      <a:pt x="38" y="151"/>
                      <a:pt x="36" y="153"/>
                      <a:pt x="35" y="153"/>
                    </a:cubicBezTo>
                    <a:cubicBezTo>
                      <a:pt x="32" y="155"/>
                      <a:pt x="32" y="155"/>
                      <a:pt x="32" y="159"/>
                    </a:cubicBezTo>
                    <a:cubicBezTo>
                      <a:pt x="31" y="162"/>
                      <a:pt x="32" y="165"/>
                      <a:pt x="31" y="169"/>
                    </a:cubicBezTo>
                    <a:cubicBezTo>
                      <a:pt x="29" y="169"/>
                      <a:pt x="26" y="168"/>
                      <a:pt x="24" y="169"/>
                    </a:cubicBezTo>
                    <a:cubicBezTo>
                      <a:pt x="21" y="169"/>
                      <a:pt x="18" y="173"/>
                      <a:pt x="19" y="176"/>
                    </a:cubicBezTo>
                    <a:cubicBezTo>
                      <a:pt x="21" y="176"/>
                      <a:pt x="25" y="176"/>
                      <a:pt x="24" y="179"/>
                    </a:cubicBezTo>
                    <a:cubicBezTo>
                      <a:pt x="21" y="179"/>
                      <a:pt x="21" y="182"/>
                      <a:pt x="18" y="182"/>
                    </a:cubicBezTo>
                    <a:cubicBezTo>
                      <a:pt x="17" y="185"/>
                      <a:pt x="18" y="185"/>
                      <a:pt x="20" y="187"/>
                    </a:cubicBezTo>
                    <a:cubicBezTo>
                      <a:pt x="21" y="188"/>
                      <a:pt x="25" y="190"/>
                      <a:pt x="26" y="190"/>
                    </a:cubicBezTo>
                    <a:cubicBezTo>
                      <a:pt x="28" y="191"/>
                      <a:pt x="30" y="191"/>
                      <a:pt x="31" y="191"/>
                    </a:cubicBezTo>
                    <a:cubicBezTo>
                      <a:pt x="33" y="190"/>
                      <a:pt x="34" y="188"/>
                      <a:pt x="37" y="189"/>
                    </a:cubicBezTo>
                    <a:cubicBezTo>
                      <a:pt x="37" y="190"/>
                      <a:pt x="37" y="191"/>
                      <a:pt x="37" y="192"/>
                    </a:cubicBezTo>
                    <a:cubicBezTo>
                      <a:pt x="36" y="191"/>
                      <a:pt x="35" y="192"/>
                      <a:pt x="34" y="192"/>
                    </a:cubicBezTo>
                    <a:cubicBezTo>
                      <a:pt x="34" y="194"/>
                      <a:pt x="35" y="197"/>
                      <a:pt x="38" y="196"/>
                    </a:cubicBezTo>
                    <a:cubicBezTo>
                      <a:pt x="39" y="195"/>
                      <a:pt x="41" y="191"/>
                      <a:pt x="43" y="191"/>
                    </a:cubicBezTo>
                    <a:cubicBezTo>
                      <a:pt x="45" y="191"/>
                      <a:pt x="44" y="196"/>
                      <a:pt x="45" y="197"/>
                    </a:cubicBezTo>
                    <a:cubicBezTo>
                      <a:pt x="46" y="199"/>
                      <a:pt x="51" y="201"/>
                      <a:pt x="53" y="202"/>
                    </a:cubicBezTo>
                    <a:cubicBezTo>
                      <a:pt x="60" y="203"/>
                      <a:pt x="67" y="200"/>
                      <a:pt x="74" y="200"/>
                    </a:cubicBezTo>
                    <a:cubicBezTo>
                      <a:pt x="78" y="200"/>
                      <a:pt x="82" y="202"/>
                      <a:pt x="81" y="207"/>
                    </a:cubicBezTo>
                    <a:cubicBezTo>
                      <a:pt x="78" y="207"/>
                      <a:pt x="77" y="206"/>
                      <a:pt x="75" y="210"/>
                    </a:cubicBezTo>
                    <a:cubicBezTo>
                      <a:pt x="75" y="212"/>
                      <a:pt x="76" y="213"/>
                      <a:pt x="74" y="214"/>
                    </a:cubicBezTo>
                    <a:cubicBezTo>
                      <a:pt x="72" y="215"/>
                      <a:pt x="69" y="213"/>
                      <a:pt x="69" y="210"/>
                    </a:cubicBezTo>
                    <a:cubicBezTo>
                      <a:pt x="65" y="209"/>
                      <a:pt x="63" y="215"/>
                      <a:pt x="61" y="218"/>
                    </a:cubicBezTo>
                    <a:cubicBezTo>
                      <a:pt x="60" y="221"/>
                      <a:pt x="51" y="228"/>
                      <a:pt x="52" y="232"/>
                    </a:cubicBezTo>
                    <a:cubicBezTo>
                      <a:pt x="55" y="232"/>
                      <a:pt x="57" y="233"/>
                      <a:pt x="59" y="230"/>
                    </a:cubicBezTo>
                    <a:cubicBezTo>
                      <a:pt x="59" y="235"/>
                      <a:pt x="56" y="235"/>
                      <a:pt x="55" y="240"/>
                    </a:cubicBezTo>
                    <a:cubicBezTo>
                      <a:pt x="54" y="243"/>
                      <a:pt x="54" y="243"/>
                      <a:pt x="51" y="245"/>
                    </a:cubicBezTo>
                    <a:cubicBezTo>
                      <a:pt x="50" y="247"/>
                      <a:pt x="49" y="248"/>
                      <a:pt x="48" y="249"/>
                    </a:cubicBezTo>
                    <a:cubicBezTo>
                      <a:pt x="47" y="250"/>
                      <a:pt x="46" y="250"/>
                      <a:pt x="45" y="251"/>
                    </a:cubicBezTo>
                    <a:cubicBezTo>
                      <a:pt x="45" y="251"/>
                      <a:pt x="45" y="252"/>
                      <a:pt x="45" y="253"/>
                    </a:cubicBezTo>
                    <a:cubicBezTo>
                      <a:pt x="44" y="255"/>
                      <a:pt x="41" y="256"/>
                      <a:pt x="39" y="257"/>
                    </a:cubicBezTo>
                    <a:cubicBezTo>
                      <a:pt x="36" y="258"/>
                      <a:pt x="31" y="260"/>
                      <a:pt x="32" y="264"/>
                    </a:cubicBezTo>
                    <a:cubicBezTo>
                      <a:pt x="37" y="265"/>
                      <a:pt x="43" y="264"/>
                      <a:pt x="48" y="261"/>
                    </a:cubicBezTo>
                    <a:cubicBezTo>
                      <a:pt x="51" y="258"/>
                      <a:pt x="51" y="258"/>
                      <a:pt x="55" y="258"/>
                    </a:cubicBezTo>
                    <a:cubicBezTo>
                      <a:pt x="57" y="258"/>
                      <a:pt x="59" y="259"/>
                      <a:pt x="62" y="259"/>
                    </a:cubicBezTo>
                    <a:cubicBezTo>
                      <a:pt x="64" y="260"/>
                      <a:pt x="67" y="259"/>
                      <a:pt x="70" y="260"/>
                    </a:cubicBezTo>
                    <a:cubicBezTo>
                      <a:pt x="72" y="267"/>
                      <a:pt x="52" y="263"/>
                      <a:pt x="48" y="264"/>
                    </a:cubicBezTo>
                    <a:cubicBezTo>
                      <a:pt x="46" y="270"/>
                      <a:pt x="39" y="271"/>
                      <a:pt x="35" y="273"/>
                    </a:cubicBezTo>
                    <a:cubicBezTo>
                      <a:pt x="31" y="275"/>
                      <a:pt x="32" y="275"/>
                      <a:pt x="33" y="279"/>
                    </a:cubicBezTo>
                    <a:cubicBezTo>
                      <a:pt x="33" y="282"/>
                      <a:pt x="33" y="284"/>
                      <a:pt x="33" y="287"/>
                    </a:cubicBezTo>
                    <a:cubicBezTo>
                      <a:pt x="35" y="287"/>
                      <a:pt x="39" y="288"/>
                      <a:pt x="40" y="289"/>
                    </a:cubicBezTo>
                    <a:cubicBezTo>
                      <a:pt x="39" y="292"/>
                      <a:pt x="33" y="291"/>
                      <a:pt x="30" y="290"/>
                    </a:cubicBezTo>
                    <a:cubicBezTo>
                      <a:pt x="30" y="284"/>
                      <a:pt x="26" y="283"/>
                      <a:pt x="21" y="286"/>
                    </a:cubicBezTo>
                    <a:cubicBezTo>
                      <a:pt x="20" y="286"/>
                      <a:pt x="19" y="287"/>
                      <a:pt x="18" y="288"/>
                    </a:cubicBezTo>
                    <a:cubicBezTo>
                      <a:pt x="17" y="288"/>
                      <a:pt x="15" y="288"/>
                      <a:pt x="14" y="288"/>
                    </a:cubicBezTo>
                    <a:cubicBezTo>
                      <a:pt x="11" y="289"/>
                      <a:pt x="7" y="291"/>
                      <a:pt x="4" y="292"/>
                    </a:cubicBezTo>
                    <a:cubicBezTo>
                      <a:pt x="4" y="293"/>
                      <a:pt x="4" y="295"/>
                      <a:pt x="4" y="296"/>
                    </a:cubicBezTo>
                    <a:cubicBezTo>
                      <a:pt x="3" y="296"/>
                      <a:pt x="3" y="297"/>
                      <a:pt x="2" y="297"/>
                    </a:cubicBezTo>
                    <a:cubicBezTo>
                      <a:pt x="2" y="298"/>
                      <a:pt x="2" y="299"/>
                      <a:pt x="2" y="300"/>
                    </a:cubicBezTo>
                    <a:cubicBezTo>
                      <a:pt x="0" y="308"/>
                      <a:pt x="8" y="306"/>
                      <a:pt x="15" y="306"/>
                    </a:cubicBezTo>
                    <a:cubicBezTo>
                      <a:pt x="18" y="305"/>
                      <a:pt x="21" y="304"/>
                      <a:pt x="24" y="304"/>
                    </a:cubicBezTo>
                    <a:cubicBezTo>
                      <a:pt x="26" y="304"/>
                      <a:pt x="29" y="304"/>
                      <a:pt x="31" y="304"/>
                    </a:cubicBezTo>
                    <a:cubicBezTo>
                      <a:pt x="32" y="303"/>
                      <a:pt x="35" y="303"/>
                      <a:pt x="36" y="303"/>
                    </a:cubicBezTo>
                    <a:cubicBezTo>
                      <a:pt x="37" y="302"/>
                      <a:pt x="37" y="300"/>
                      <a:pt x="40" y="301"/>
                    </a:cubicBezTo>
                    <a:cubicBezTo>
                      <a:pt x="41" y="309"/>
                      <a:pt x="35" y="305"/>
                      <a:pt x="30" y="307"/>
                    </a:cubicBezTo>
                    <a:cubicBezTo>
                      <a:pt x="28" y="307"/>
                      <a:pt x="26" y="309"/>
                      <a:pt x="23" y="310"/>
                    </a:cubicBezTo>
                    <a:cubicBezTo>
                      <a:pt x="20" y="311"/>
                      <a:pt x="16" y="312"/>
                      <a:pt x="14" y="313"/>
                    </a:cubicBezTo>
                    <a:cubicBezTo>
                      <a:pt x="12" y="314"/>
                      <a:pt x="12" y="315"/>
                      <a:pt x="11" y="316"/>
                    </a:cubicBezTo>
                    <a:cubicBezTo>
                      <a:pt x="10" y="316"/>
                      <a:pt x="9" y="318"/>
                      <a:pt x="8" y="319"/>
                    </a:cubicBezTo>
                    <a:cubicBezTo>
                      <a:pt x="7" y="321"/>
                      <a:pt x="8" y="322"/>
                      <a:pt x="9" y="325"/>
                    </a:cubicBezTo>
                    <a:cubicBezTo>
                      <a:pt x="9" y="328"/>
                      <a:pt x="8" y="329"/>
                      <a:pt x="10" y="331"/>
                    </a:cubicBezTo>
                    <a:cubicBezTo>
                      <a:pt x="13" y="333"/>
                      <a:pt x="15" y="330"/>
                      <a:pt x="18" y="330"/>
                    </a:cubicBezTo>
                    <a:cubicBezTo>
                      <a:pt x="20" y="334"/>
                      <a:pt x="24" y="337"/>
                      <a:pt x="29" y="337"/>
                    </a:cubicBezTo>
                    <a:cubicBezTo>
                      <a:pt x="34" y="336"/>
                      <a:pt x="31" y="333"/>
                      <a:pt x="34" y="330"/>
                    </a:cubicBezTo>
                    <a:cubicBezTo>
                      <a:pt x="36" y="328"/>
                      <a:pt x="39" y="328"/>
                      <a:pt x="41" y="327"/>
                    </a:cubicBezTo>
                    <a:cubicBezTo>
                      <a:pt x="45" y="326"/>
                      <a:pt x="48" y="324"/>
                      <a:pt x="51" y="325"/>
                    </a:cubicBezTo>
                    <a:cubicBezTo>
                      <a:pt x="52" y="328"/>
                      <a:pt x="48" y="330"/>
                      <a:pt x="46" y="332"/>
                    </a:cubicBezTo>
                    <a:cubicBezTo>
                      <a:pt x="43" y="333"/>
                      <a:pt x="41" y="335"/>
                      <a:pt x="38" y="337"/>
                    </a:cubicBezTo>
                    <a:cubicBezTo>
                      <a:pt x="37" y="338"/>
                      <a:pt x="35" y="339"/>
                      <a:pt x="33" y="340"/>
                    </a:cubicBezTo>
                    <a:cubicBezTo>
                      <a:pt x="31" y="340"/>
                      <a:pt x="30" y="339"/>
                      <a:pt x="28" y="340"/>
                    </a:cubicBezTo>
                    <a:cubicBezTo>
                      <a:pt x="26" y="341"/>
                      <a:pt x="19" y="344"/>
                      <a:pt x="19" y="346"/>
                    </a:cubicBezTo>
                    <a:cubicBezTo>
                      <a:pt x="17" y="350"/>
                      <a:pt x="25" y="351"/>
                      <a:pt x="27" y="350"/>
                    </a:cubicBezTo>
                    <a:cubicBezTo>
                      <a:pt x="30" y="350"/>
                      <a:pt x="30" y="349"/>
                      <a:pt x="31" y="348"/>
                    </a:cubicBezTo>
                    <a:cubicBezTo>
                      <a:pt x="34" y="347"/>
                      <a:pt x="37" y="348"/>
                      <a:pt x="40" y="347"/>
                    </a:cubicBezTo>
                    <a:cubicBezTo>
                      <a:pt x="42" y="346"/>
                      <a:pt x="45" y="345"/>
                      <a:pt x="47" y="343"/>
                    </a:cubicBezTo>
                    <a:cubicBezTo>
                      <a:pt x="50" y="342"/>
                      <a:pt x="53" y="340"/>
                      <a:pt x="56" y="341"/>
                    </a:cubicBezTo>
                    <a:cubicBezTo>
                      <a:pt x="58" y="347"/>
                      <a:pt x="40" y="352"/>
                      <a:pt x="36" y="356"/>
                    </a:cubicBezTo>
                    <a:cubicBezTo>
                      <a:pt x="32" y="361"/>
                      <a:pt x="43" y="361"/>
                      <a:pt x="46" y="361"/>
                    </a:cubicBezTo>
                    <a:cubicBezTo>
                      <a:pt x="49" y="360"/>
                      <a:pt x="52" y="360"/>
                      <a:pt x="56" y="358"/>
                    </a:cubicBezTo>
                    <a:cubicBezTo>
                      <a:pt x="57" y="358"/>
                      <a:pt x="56" y="357"/>
                      <a:pt x="58" y="357"/>
                    </a:cubicBezTo>
                    <a:cubicBezTo>
                      <a:pt x="58" y="356"/>
                      <a:pt x="60" y="357"/>
                      <a:pt x="60" y="357"/>
                    </a:cubicBezTo>
                    <a:cubicBezTo>
                      <a:pt x="65" y="357"/>
                      <a:pt x="69" y="357"/>
                      <a:pt x="74" y="355"/>
                    </a:cubicBezTo>
                    <a:cubicBezTo>
                      <a:pt x="77" y="354"/>
                      <a:pt x="81" y="354"/>
                      <a:pt x="84" y="353"/>
                    </a:cubicBezTo>
                    <a:cubicBezTo>
                      <a:pt x="86" y="353"/>
                      <a:pt x="88" y="352"/>
                      <a:pt x="89" y="351"/>
                    </a:cubicBezTo>
                    <a:cubicBezTo>
                      <a:pt x="94" y="350"/>
                      <a:pt x="96" y="351"/>
                      <a:pt x="100" y="348"/>
                    </a:cubicBezTo>
                    <a:cubicBezTo>
                      <a:pt x="101" y="347"/>
                      <a:pt x="103" y="345"/>
                      <a:pt x="104" y="344"/>
                    </a:cubicBezTo>
                    <a:cubicBezTo>
                      <a:pt x="107" y="342"/>
                      <a:pt x="107" y="343"/>
                      <a:pt x="109" y="341"/>
                    </a:cubicBezTo>
                    <a:cubicBezTo>
                      <a:pt x="112" y="338"/>
                      <a:pt x="115" y="338"/>
                      <a:pt x="117" y="335"/>
                    </a:cubicBezTo>
                    <a:cubicBezTo>
                      <a:pt x="119" y="331"/>
                      <a:pt x="120" y="330"/>
                      <a:pt x="124" y="329"/>
                    </a:cubicBezTo>
                    <a:cubicBezTo>
                      <a:pt x="126" y="328"/>
                      <a:pt x="128" y="328"/>
                      <a:pt x="130" y="327"/>
                    </a:cubicBezTo>
                    <a:cubicBezTo>
                      <a:pt x="131" y="325"/>
                      <a:pt x="132" y="324"/>
                      <a:pt x="134" y="322"/>
                    </a:cubicBezTo>
                    <a:cubicBezTo>
                      <a:pt x="136" y="322"/>
                      <a:pt x="138" y="320"/>
                      <a:pt x="140" y="319"/>
                    </a:cubicBezTo>
                    <a:cubicBezTo>
                      <a:pt x="142" y="318"/>
                      <a:pt x="143" y="319"/>
                      <a:pt x="145" y="317"/>
                    </a:cubicBezTo>
                    <a:cubicBezTo>
                      <a:pt x="148" y="315"/>
                      <a:pt x="152" y="312"/>
                      <a:pt x="154" y="310"/>
                    </a:cubicBezTo>
                    <a:cubicBezTo>
                      <a:pt x="157" y="308"/>
                      <a:pt x="158" y="305"/>
                      <a:pt x="161" y="304"/>
                    </a:cubicBezTo>
                    <a:cubicBezTo>
                      <a:pt x="164" y="302"/>
                      <a:pt x="169" y="303"/>
                      <a:pt x="173" y="302"/>
                    </a:cubicBezTo>
                    <a:cubicBezTo>
                      <a:pt x="176" y="301"/>
                      <a:pt x="175" y="301"/>
                      <a:pt x="177" y="299"/>
                    </a:cubicBezTo>
                    <a:cubicBezTo>
                      <a:pt x="181" y="296"/>
                      <a:pt x="189" y="300"/>
                      <a:pt x="192" y="295"/>
                    </a:cubicBezTo>
                    <a:cubicBezTo>
                      <a:pt x="193" y="297"/>
                      <a:pt x="192" y="299"/>
                      <a:pt x="193" y="301"/>
                    </a:cubicBezTo>
                    <a:cubicBezTo>
                      <a:pt x="195" y="301"/>
                      <a:pt x="197" y="301"/>
                      <a:pt x="199" y="300"/>
                    </a:cubicBezTo>
                    <a:cubicBezTo>
                      <a:pt x="202" y="298"/>
                      <a:pt x="206" y="295"/>
                      <a:pt x="208" y="294"/>
                    </a:cubicBezTo>
                    <a:cubicBezTo>
                      <a:pt x="211" y="294"/>
                      <a:pt x="214" y="294"/>
                      <a:pt x="217" y="294"/>
                    </a:cubicBezTo>
                    <a:cubicBezTo>
                      <a:pt x="218" y="294"/>
                      <a:pt x="218" y="295"/>
                      <a:pt x="220" y="295"/>
                    </a:cubicBezTo>
                    <a:cubicBezTo>
                      <a:pt x="221" y="294"/>
                      <a:pt x="222" y="293"/>
                      <a:pt x="223" y="292"/>
                    </a:cubicBezTo>
                    <a:cubicBezTo>
                      <a:pt x="225" y="292"/>
                      <a:pt x="228" y="293"/>
                      <a:pt x="227" y="289"/>
                    </a:cubicBezTo>
                    <a:cubicBezTo>
                      <a:pt x="223" y="288"/>
                      <a:pt x="217" y="281"/>
                      <a:pt x="219" y="277"/>
                    </a:cubicBezTo>
                    <a:cubicBezTo>
                      <a:pt x="223" y="277"/>
                      <a:pt x="223" y="273"/>
                      <a:pt x="225" y="270"/>
                    </a:cubicBezTo>
                    <a:cubicBezTo>
                      <a:pt x="226" y="267"/>
                      <a:pt x="229" y="266"/>
                      <a:pt x="230" y="264"/>
                    </a:cubicBezTo>
                    <a:cubicBezTo>
                      <a:pt x="230" y="262"/>
                      <a:pt x="230" y="259"/>
                      <a:pt x="230" y="257"/>
                    </a:cubicBezTo>
                    <a:cubicBezTo>
                      <a:pt x="230" y="253"/>
                      <a:pt x="230" y="249"/>
                      <a:pt x="233" y="245"/>
                    </a:cubicBezTo>
                    <a:cubicBezTo>
                      <a:pt x="235" y="243"/>
                      <a:pt x="237" y="243"/>
                      <a:pt x="238" y="240"/>
                    </a:cubicBezTo>
                    <a:cubicBezTo>
                      <a:pt x="239" y="238"/>
                      <a:pt x="238" y="238"/>
                      <a:pt x="238" y="236"/>
                    </a:cubicBezTo>
                    <a:cubicBezTo>
                      <a:pt x="238" y="231"/>
                      <a:pt x="238" y="226"/>
                      <a:pt x="238" y="221"/>
                    </a:cubicBezTo>
                    <a:cubicBezTo>
                      <a:pt x="238" y="217"/>
                      <a:pt x="239" y="212"/>
                      <a:pt x="237" y="209"/>
                    </a:cubicBezTo>
                    <a:cubicBezTo>
                      <a:pt x="235" y="206"/>
                      <a:pt x="233" y="204"/>
                      <a:pt x="233" y="200"/>
                    </a:cubicBezTo>
                    <a:cubicBezTo>
                      <a:pt x="232" y="197"/>
                      <a:pt x="232" y="197"/>
                      <a:pt x="230" y="195"/>
                    </a:cubicBezTo>
                    <a:cubicBezTo>
                      <a:pt x="229" y="194"/>
                      <a:pt x="229" y="193"/>
                      <a:pt x="228" y="192"/>
                    </a:cubicBezTo>
                    <a:cubicBezTo>
                      <a:pt x="227" y="192"/>
                      <a:pt x="225" y="193"/>
                      <a:pt x="224" y="192"/>
                    </a:cubicBezTo>
                    <a:cubicBezTo>
                      <a:pt x="226" y="191"/>
                      <a:pt x="229" y="190"/>
                      <a:pt x="232" y="189"/>
                    </a:cubicBezTo>
                    <a:cubicBezTo>
                      <a:pt x="235" y="189"/>
                      <a:pt x="239" y="192"/>
                      <a:pt x="242" y="191"/>
                    </a:cubicBezTo>
                    <a:cubicBezTo>
                      <a:pt x="242" y="189"/>
                      <a:pt x="244" y="188"/>
                      <a:pt x="245" y="187"/>
                    </a:cubicBezTo>
                    <a:cubicBezTo>
                      <a:pt x="247" y="184"/>
                      <a:pt x="248" y="179"/>
                      <a:pt x="248" y="175"/>
                    </a:cubicBezTo>
                    <a:cubicBezTo>
                      <a:pt x="244" y="175"/>
                      <a:pt x="242" y="175"/>
                      <a:pt x="239" y="173"/>
                    </a:cubicBezTo>
                    <a:cubicBezTo>
                      <a:pt x="236" y="172"/>
                      <a:pt x="235" y="170"/>
                      <a:pt x="232" y="168"/>
                    </a:cubicBezTo>
                    <a:cubicBezTo>
                      <a:pt x="231" y="168"/>
                      <a:pt x="226" y="166"/>
                      <a:pt x="225" y="165"/>
                    </a:cubicBezTo>
                    <a:cubicBezTo>
                      <a:pt x="225" y="164"/>
                      <a:pt x="225" y="162"/>
                      <a:pt x="225" y="161"/>
                    </a:cubicBezTo>
                    <a:cubicBezTo>
                      <a:pt x="226" y="159"/>
                      <a:pt x="228" y="159"/>
                      <a:pt x="228" y="156"/>
                    </a:cubicBezTo>
                    <a:cubicBezTo>
                      <a:pt x="228" y="154"/>
                      <a:pt x="228" y="150"/>
                      <a:pt x="228" y="148"/>
                    </a:cubicBezTo>
                    <a:cubicBezTo>
                      <a:pt x="227" y="146"/>
                      <a:pt x="225" y="144"/>
                      <a:pt x="224" y="142"/>
                    </a:cubicBezTo>
                    <a:cubicBezTo>
                      <a:pt x="223" y="139"/>
                      <a:pt x="224" y="137"/>
                      <a:pt x="226" y="135"/>
                    </a:cubicBezTo>
                    <a:cubicBezTo>
                      <a:pt x="228" y="134"/>
                      <a:pt x="229" y="134"/>
                      <a:pt x="231" y="134"/>
                    </a:cubicBezTo>
                    <a:cubicBezTo>
                      <a:pt x="231" y="134"/>
                      <a:pt x="232" y="134"/>
                      <a:pt x="233" y="134"/>
                    </a:cubicBezTo>
                    <a:cubicBezTo>
                      <a:pt x="234" y="133"/>
                      <a:pt x="233" y="132"/>
                      <a:pt x="234" y="131"/>
                    </a:cubicBezTo>
                    <a:cubicBezTo>
                      <a:pt x="235" y="131"/>
                      <a:pt x="237" y="131"/>
                      <a:pt x="238" y="131"/>
                    </a:cubicBezTo>
                    <a:cubicBezTo>
                      <a:pt x="238" y="130"/>
                      <a:pt x="239" y="129"/>
                      <a:pt x="239" y="129"/>
                    </a:cubicBezTo>
                    <a:cubicBezTo>
                      <a:pt x="238" y="128"/>
                      <a:pt x="236" y="127"/>
                      <a:pt x="234" y="126"/>
                    </a:cubicBezTo>
                    <a:cubicBezTo>
                      <a:pt x="232" y="125"/>
                      <a:pt x="232" y="125"/>
                      <a:pt x="230" y="125"/>
                    </a:cubicBezTo>
                    <a:cubicBezTo>
                      <a:pt x="228" y="125"/>
                      <a:pt x="227" y="123"/>
                      <a:pt x="225" y="122"/>
                    </a:cubicBezTo>
                    <a:cubicBezTo>
                      <a:pt x="223" y="121"/>
                      <a:pt x="222" y="121"/>
                      <a:pt x="220" y="120"/>
                    </a:cubicBezTo>
                    <a:cubicBezTo>
                      <a:pt x="219" y="121"/>
                      <a:pt x="219" y="122"/>
                      <a:pt x="219" y="123"/>
                    </a:cubicBezTo>
                    <a:cubicBezTo>
                      <a:pt x="218" y="123"/>
                      <a:pt x="218" y="123"/>
                      <a:pt x="218" y="123"/>
                    </a:cubicBezTo>
                    <a:cubicBezTo>
                      <a:pt x="217" y="125"/>
                      <a:pt x="216" y="125"/>
                      <a:pt x="215" y="126"/>
                    </a:cubicBezTo>
                    <a:cubicBezTo>
                      <a:pt x="213" y="127"/>
                      <a:pt x="211" y="127"/>
                      <a:pt x="209" y="127"/>
                    </a:cubicBezTo>
                    <a:cubicBezTo>
                      <a:pt x="206" y="127"/>
                      <a:pt x="206" y="125"/>
                      <a:pt x="206" y="123"/>
                    </a:cubicBezTo>
                    <a:cubicBezTo>
                      <a:pt x="206" y="120"/>
                      <a:pt x="205" y="118"/>
                      <a:pt x="204" y="115"/>
                    </a:cubicBezTo>
                    <a:cubicBezTo>
                      <a:pt x="204" y="114"/>
                      <a:pt x="203" y="113"/>
                      <a:pt x="201" y="112"/>
                    </a:cubicBezTo>
                    <a:cubicBezTo>
                      <a:pt x="199" y="112"/>
                      <a:pt x="196" y="112"/>
                      <a:pt x="196" y="110"/>
                    </a:cubicBezTo>
                    <a:cubicBezTo>
                      <a:pt x="196" y="108"/>
                      <a:pt x="197" y="107"/>
                      <a:pt x="196" y="105"/>
                    </a:cubicBezTo>
                    <a:cubicBezTo>
                      <a:pt x="195" y="103"/>
                      <a:pt x="194" y="102"/>
                      <a:pt x="192" y="100"/>
                    </a:cubicBezTo>
                    <a:cubicBezTo>
                      <a:pt x="191" y="98"/>
                      <a:pt x="190" y="96"/>
                      <a:pt x="188" y="94"/>
                    </a:cubicBezTo>
                    <a:cubicBezTo>
                      <a:pt x="187" y="95"/>
                      <a:pt x="185" y="94"/>
                      <a:pt x="184" y="95"/>
                    </a:cubicBezTo>
                    <a:cubicBezTo>
                      <a:pt x="182" y="95"/>
                      <a:pt x="181" y="98"/>
                      <a:pt x="180" y="99"/>
                    </a:cubicBezTo>
                    <a:cubicBezTo>
                      <a:pt x="179" y="101"/>
                      <a:pt x="178" y="102"/>
                      <a:pt x="178" y="104"/>
                    </a:cubicBezTo>
                    <a:cubicBezTo>
                      <a:pt x="178" y="105"/>
                      <a:pt x="178" y="106"/>
                      <a:pt x="179" y="107"/>
                    </a:cubicBezTo>
                    <a:cubicBezTo>
                      <a:pt x="180" y="109"/>
                      <a:pt x="180" y="112"/>
                      <a:pt x="178" y="113"/>
                    </a:cubicBezTo>
                    <a:cubicBezTo>
                      <a:pt x="177" y="114"/>
                      <a:pt x="173" y="112"/>
                      <a:pt x="172" y="114"/>
                    </a:cubicBezTo>
                    <a:cubicBezTo>
                      <a:pt x="171" y="116"/>
                      <a:pt x="173" y="119"/>
                      <a:pt x="171" y="120"/>
                    </a:cubicBezTo>
                    <a:cubicBezTo>
                      <a:pt x="169" y="120"/>
                      <a:pt x="166" y="119"/>
                      <a:pt x="165" y="119"/>
                    </a:cubicBezTo>
                    <a:cubicBezTo>
                      <a:pt x="163" y="118"/>
                      <a:pt x="160" y="119"/>
                      <a:pt x="158" y="118"/>
                    </a:cubicBezTo>
                    <a:cubicBezTo>
                      <a:pt x="157" y="117"/>
                      <a:pt x="156" y="116"/>
                      <a:pt x="155" y="116"/>
                    </a:cubicBezTo>
                    <a:cubicBezTo>
                      <a:pt x="154" y="115"/>
                      <a:pt x="154" y="115"/>
                      <a:pt x="153" y="114"/>
                    </a:cubicBezTo>
                    <a:cubicBezTo>
                      <a:pt x="152" y="114"/>
                      <a:pt x="153" y="114"/>
                      <a:pt x="152" y="113"/>
                    </a:cubicBezTo>
                    <a:cubicBezTo>
                      <a:pt x="151" y="112"/>
                      <a:pt x="148" y="112"/>
                      <a:pt x="147" y="112"/>
                    </a:cubicBezTo>
                    <a:cubicBezTo>
                      <a:pt x="145" y="112"/>
                      <a:pt x="142" y="111"/>
                      <a:pt x="141" y="110"/>
                    </a:cubicBezTo>
                    <a:cubicBezTo>
                      <a:pt x="140" y="109"/>
                      <a:pt x="140" y="108"/>
                      <a:pt x="140" y="107"/>
                    </a:cubicBezTo>
                    <a:cubicBezTo>
                      <a:pt x="139" y="105"/>
                      <a:pt x="138" y="105"/>
                      <a:pt x="137" y="104"/>
                    </a:cubicBezTo>
                    <a:cubicBezTo>
                      <a:pt x="137" y="103"/>
                      <a:pt x="137" y="102"/>
                      <a:pt x="136" y="102"/>
                    </a:cubicBezTo>
                    <a:cubicBezTo>
                      <a:pt x="136" y="101"/>
                      <a:pt x="137" y="101"/>
                      <a:pt x="136" y="100"/>
                    </a:cubicBezTo>
                    <a:cubicBezTo>
                      <a:pt x="136" y="100"/>
                      <a:pt x="135" y="99"/>
                      <a:pt x="135" y="99"/>
                    </a:cubicBezTo>
                    <a:cubicBezTo>
                      <a:pt x="133" y="98"/>
                      <a:pt x="132" y="97"/>
                      <a:pt x="131" y="96"/>
                    </a:cubicBezTo>
                    <a:cubicBezTo>
                      <a:pt x="130" y="94"/>
                      <a:pt x="130" y="92"/>
                      <a:pt x="130" y="90"/>
                    </a:cubicBezTo>
                    <a:cubicBezTo>
                      <a:pt x="130" y="88"/>
                      <a:pt x="132" y="88"/>
                      <a:pt x="133" y="86"/>
                    </a:cubicBezTo>
                    <a:cubicBezTo>
                      <a:pt x="135" y="84"/>
                      <a:pt x="136" y="83"/>
                      <a:pt x="138" y="82"/>
                    </a:cubicBezTo>
                    <a:cubicBezTo>
                      <a:pt x="140" y="81"/>
                      <a:pt x="143" y="79"/>
                      <a:pt x="144" y="78"/>
                    </a:cubicBezTo>
                    <a:cubicBezTo>
                      <a:pt x="145" y="77"/>
                      <a:pt x="146" y="76"/>
                      <a:pt x="146" y="75"/>
                    </a:cubicBezTo>
                    <a:cubicBezTo>
                      <a:pt x="147" y="74"/>
                      <a:pt x="148" y="73"/>
                      <a:pt x="149" y="73"/>
                    </a:cubicBezTo>
                    <a:cubicBezTo>
                      <a:pt x="148" y="73"/>
                      <a:pt x="147" y="72"/>
                      <a:pt x="146" y="72"/>
                    </a:cubicBezTo>
                    <a:cubicBezTo>
                      <a:pt x="144" y="72"/>
                      <a:pt x="143" y="72"/>
                      <a:pt x="141" y="71"/>
                    </a:cubicBezTo>
                    <a:cubicBezTo>
                      <a:pt x="140" y="70"/>
                      <a:pt x="140" y="70"/>
                      <a:pt x="140" y="69"/>
                    </a:cubicBezTo>
                    <a:cubicBezTo>
                      <a:pt x="140" y="68"/>
                      <a:pt x="141" y="66"/>
                      <a:pt x="141" y="65"/>
                    </a:cubicBezTo>
                    <a:cubicBezTo>
                      <a:pt x="142" y="63"/>
                      <a:pt x="145" y="63"/>
                      <a:pt x="147" y="63"/>
                    </a:cubicBezTo>
                    <a:cubicBezTo>
                      <a:pt x="150" y="63"/>
                      <a:pt x="152" y="63"/>
                      <a:pt x="154" y="63"/>
                    </a:cubicBezTo>
                    <a:cubicBezTo>
                      <a:pt x="157" y="63"/>
                      <a:pt x="157" y="63"/>
                      <a:pt x="158" y="61"/>
                    </a:cubicBezTo>
                    <a:cubicBezTo>
                      <a:pt x="158" y="59"/>
                      <a:pt x="159" y="56"/>
                      <a:pt x="161" y="54"/>
                    </a:cubicBezTo>
                    <a:cubicBezTo>
                      <a:pt x="162" y="53"/>
                      <a:pt x="163" y="53"/>
                      <a:pt x="163" y="51"/>
                    </a:cubicBezTo>
                    <a:cubicBezTo>
                      <a:pt x="164" y="50"/>
                      <a:pt x="164" y="48"/>
                      <a:pt x="165" y="46"/>
                    </a:cubicBezTo>
                    <a:cubicBezTo>
                      <a:pt x="166" y="44"/>
                      <a:pt x="167" y="43"/>
                      <a:pt x="168" y="41"/>
                    </a:cubicBezTo>
                    <a:cubicBezTo>
                      <a:pt x="170" y="39"/>
                      <a:pt x="171" y="39"/>
                      <a:pt x="171" y="36"/>
                    </a:cubicBezTo>
                    <a:cubicBezTo>
                      <a:pt x="172" y="32"/>
                      <a:pt x="173" y="34"/>
                      <a:pt x="176" y="33"/>
                    </a:cubicBezTo>
                    <a:cubicBezTo>
                      <a:pt x="178" y="33"/>
                      <a:pt x="178" y="32"/>
                      <a:pt x="180" y="31"/>
                    </a:cubicBezTo>
                    <a:cubicBezTo>
                      <a:pt x="181" y="30"/>
                      <a:pt x="183" y="29"/>
                      <a:pt x="184" y="28"/>
                    </a:cubicBezTo>
                    <a:cubicBezTo>
                      <a:pt x="184" y="28"/>
                      <a:pt x="185" y="26"/>
                      <a:pt x="185" y="26"/>
                    </a:cubicBezTo>
                    <a:cubicBezTo>
                      <a:pt x="186" y="25"/>
                      <a:pt x="186" y="24"/>
                      <a:pt x="186" y="23"/>
                    </a:cubicBezTo>
                    <a:cubicBezTo>
                      <a:pt x="187" y="23"/>
                      <a:pt x="187" y="23"/>
                      <a:pt x="188" y="23"/>
                    </a:cubicBezTo>
                    <a:cubicBezTo>
                      <a:pt x="188" y="22"/>
                      <a:pt x="188" y="21"/>
                      <a:pt x="188" y="20"/>
                    </a:cubicBezTo>
                    <a:cubicBezTo>
                      <a:pt x="188" y="19"/>
                      <a:pt x="190" y="17"/>
                      <a:pt x="191" y="16"/>
                    </a:cubicBezTo>
                    <a:cubicBezTo>
                      <a:pt x="193" y="15"/>
                      <a:pt x="194" y="13"/>
                      <a:pt x="196" y="13"/>
                    </a:cubicBezTo>
                    <a:cubicBezTo>
                      <a:pt x="198" y="12"/>
                      <a:pt x="201" y="12"/>
                      <a:pt x="203" y="10"/>
                    </a:cubicBezTo>
                    <a:cubicBezTo>
                      <a:pt x="203" y="10"/>
                      <a:pt x="203" y="10"/>
                      <a:pt x="203" y="10"/>
                    </a:cubicBezTo>
                    <a:moveTo>
                      <a:pt x="240" y="128"/>
                    </a:moveTo>
                    <a:cubicBezTo>
                      <a:pt x="240" y="128"/>
                      <a:pt x="240" y="128"/>
                      <a:pt x="240" y="128"/>
                    </a:cubicBezTo>
                    <a:cubicBezTo>
                      <a:pt x="240" y="128"/>
                      <a:pt x="240" y="128"/>
                      <a:pt x="240" y="128"/>
                    </a:cubicBezTo>
                    <a:moveTo>
                      <a:pt x="203" y="10"/>
                    </a:moveTo>
                    <a:cubicBezTo>
                      <a:pt x="204" y="10"/>
                      <a:pt x="205" y="10"/>
                      <a:pt x="205" y="10"/>
                    </a:cubicBezTo>
                    <a:cubicBezTo>
                      <a:pt x="205" y="10"/>
                      <a:pt x="204" y="10"/>
                      <a:pt x="203" y="10"/>
                    </a:cubicBezTo>
                    <a:moveTo>
                      <a:pt x="216" y="17"/>
                    </a:moveTo>
                    <a:cubicBezTo>
                      <a:pt x="216" y="17"/>
                      <a:pt x="217" y="16"/>
                      <a:pt x="218" y="16"/>
                    </a:cubicBezTo>
                    <a:cubicBezTo>
                      <a:pt x="217" y="16"/>
                      <a:pt x="216" y="17"/>
                      <a:pt x="216" y="17"/>
                    </a:cubicBezTo>
                    <a:moveTo>
                      <a:pt x="214" y="18"/>
                    </a:moveTo>
                    <a:cubicBezTo>
                      <a:pt x="215" y="18"/>
                      <a:pt x="215" y="17"/>
                      <a:pt x="216" y="17"/>
                    </a:cubicBezTo>
                    <a:cubicBezTo>
                      <a:pt x="215" y="17"/>
                      <a:pt x="215" y="18"/>
                      <a:pt x="214" y="18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5836BDDC-04BA-415D-A0FD-84BE56265E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22688" y="4314825"/>
                <a:ext cx="388938" cy="311150"/>
              </a:xfrm>
              <a:custGeom>
                <a:avLst/>
                <a:gdLst/>
                <a:ahLst/>
                <a:cxnLst>
                  <a:cxn ang="0">
                    <a:pos x="207" y="85"/>
                  </a:cxn>
                  <a:cxn ang="0">
                    <a:pos x="198" y="80"/>
                  </a:cxn>
                  <a:cxn ang="0">
                    <a:pos x="191" y="69"/>
                  </a:cxn>
                  <a:cxn ang="0">
                    <a:pos x="189" y="63"/>
                  </a:cxn>
                  <a:cxn ang="0">
                    <a:pos x="188" y="61"/>
                  </a:cxn>
                  <a:cxn ang="0">
                    <a:pos x="169" y="57"/>
                  </a:cxn>
                  <a:cxn ang="0">
                    <a:pos x="170" y="46"/>
                  </a:cxn>
                  <a:cxn ang="0">
                    <a:pos x="175" y="34"/>
                  </a:cxn>
                  <a:cxn ang="0">
                    <a:pos x="178" y="28"/>
                  </a:cxn>
                  <a:cxn ang="0">
                    <a:pos x="175" y="22"/>
                  </a:cxn>
                  <a:cxn ang="0">
                    <a:pos x="168" y="18"/>
                  </a:cxn>
                  <a:cxn ang="0">
                    <a:pos x="156" y="17"/>
                  </a:cxn>
                  <a:cxn ang="0">
                    <a:pos x="150" y="15"/>
                  </a:cxn>
                  <a:cxn ang="0">
                    <a:pos x="140" y="10"/>
                  </a:cxn>
                  <a:cxn ang="0">
                    <a:pos x="143" y="0"/>
                  </a:cxn>
                  <a:cxn ang="0">
                    <a:pos x="135" y="2"/>
                  </a:cxn>
                  <a:cxn ang="0">
                    <a:pos x="119" y="0"/>
                  </a:cxn>
                  <a:cxn ang="0">
                    <a:pos x="104" y="1"/>
                  </a:cxn>
                  <a:cxn ang="0">
                    <a:pos x="97" y="6"/>
                  </a:cxn>
                  <a:cxn ang="0">
                    <a:pos x="92" y="11"/>
                  </a:cxn>
                  <a:cxn ang="0">
                    <a:pos x="87" y="14"/>
                  </a:cxn>
                  <a:cxn ang="0">
                    <a:pos x="81" y="21"/>
                  </a:cxn>
                  <a:cxn ang="0">
                    <a:pos x="61" y="12"/>
                  </a:cxn>
                  <a:cxn ang="0">
                    <a:pos x="49" y="15"/>
                  </a:cxn>
                  <a:cxn ang="0">
                    <a:pos x="43" y="8"/>
                  </a:cxn>
                  <a:cxn ang="0">
                    <a:pos x="31" y="8"/>
                  </a:cxn>
                  <a:cxn ang="0">
                    <a:pos x="24" y="15"/>
                  </a:cxn>
                  <a:cxn ang="0">
                    <a:pos x="16" y="19"/>
                  </a:cxn>
                  <a:cxn ang="0">
                    <a:pos x="5" y="23"/>
                  </a:cxn>
                  <a:cxn ang="0">
                    <a:pos x="3" y="32"/>
                  </a:cxn>
                  <a:cxn ang="0">
                    <a:pos x="3" y="45"/>
                  </a:cxn>
                  <a:cxn ang="0">
                    <a:pos x="31" y="56"/>
                  </a:cxn>
                  <a:cxn ang="0">
                    <a:pos x="39" y="71"/>
                  </a:cxn>
                  <a:cxn ang="0">
                    <a:pos x="61" y="89"/>
                  </a:cxn>
                  <a:cxn ang="0">
                    <a:pos x="79" y="95"/>
                  </a:cxn>
                  <a:cxn ang="0">
                    <a:pos x="83" y="110"/>
                  </a:cxn>
                  <a:cxn ang="0">
                    <a:pos x="95" y="127"/>
                  </a:cxn>
                  <a:cxn ang="0">
                    <a:pos x="114" y="123"/>
                  </a:cxn>
                  <a:cxn ang="0">
                    <a:pos x="124" y="114"/>
                  </a:cxn>
                  <a:cxn ang="0">
                    <a:pos x="125" y="141"/>
                  </a:cxn>
                  <a:cxn ang="0">
                    <a:pos x="153" y="157"/>
                  </a:cxn>
                  <a:cxn ang="0">
                    <a:pos x="171" y="161"/>
                  </a:cxn>
                  <a:cxn ang="0">
                    <a:pos x="179" y="152"/>
                  </a:cxn>
                  <a:cxn ang="0">
                    <a:pos x="171" y="141"/>
                  </a:cxn>
                  <a:cxn ang="0">
                    <a:pos x="171" y="133"/>
                  </a:cxn>
                  <a:cxn ang="0">
                    <a:pos x="177" y="127"/>
                  </a:cxn>
                  <a:cxn ang="0">
                    <a:pos x="185" y="114"/>
                  </a:cxn>
                  <a:cxn ang="0">
                    <a:pos x="193" y="111"/>
                  </a:cxn>
                  <a:cxn ang="0">
                    <a:pos x="198" y="106"/>
                  </a:cxn>
                  <a:cxn ang="0">
                    <a:pos x="201" y="100"/>
                  </a:cxn>
                  <a:cxn ang="0">
                    <a:pos x="207" y="91"/>
                  </a:cxn>
                </a:cxnLst>
                <a:rect l="0" t="0" r="r" b="b"/>
                <a:pathLst>
                  <a:path w="208" h="167">
                    <a:moveTo>
                      <a:pt x="196" y="13"/>
                    </a:moveTo>
                    <a:cubicBezTo>
                      <a:pt x="196" y="13"/>
                      <a:pt x="196" y="13"/>
                      <a:pt x="196" y="13"/>
                    </a:cubicBezTo>
                    <a:moveTo>
                      <a:pt x="207" y="85"/>
                    </a:moveTo>
                    <a:cubicBezTo>
                      <a:pt x="206" y="83"/>
                      <a:pt x="205" y="83"/>
                      <a:pt x="203" y="83"/>
                    </a:cubicBezTo>
                    <a:cubicBezTo>
                      <a:pt x="203" y="83"/>
                      <a:pt x="202" y="82"/>
                      <a:pt x="202" y="82"/>
                    </a:cubicBezTo>
                    <a:cubicBezTo>
                      <a:pt x="200" y="81"/>
                      <a:pt x="199" y="81"/>
                      <a:pt x="198" y="80"/>
                    </a:cubicBezTo>
                    <a:cubicBezTo>
                      <a:pt x="197" y="79"/>
                      <a:pt x="197" y="79"/>
                      <a:pt x="196" y="79"/>
                    </a:cubicBezTo>
                    <a:cubicBezTo>
                      <a:pt x="194" y="78"/>
                      <a:pt x="193" y="77"/>
                      <a:pt x="191" y="76"/>
                    </a:cubicBezTo>
                    <a:cubicBezTo>
                      <a:pt x="190" y="74"/>
                      <a:pt x="190" y="71"/>
                      <a:pt x="191" y="69"/>
                    </a:cubicBezTo>
                    <a:cubicBezTo>
                      <a:pt x="191" y="68"/>
                      <a:pt x="191" y="67"/>
                      <a:pt x="191" y="66"/>
                    </a:cubicBezTo>
                    <a:cubicBezTo>
                      <a:pt x="191" y="66"/>
                      <a:pt x="191" y="65"/>
                      <a:pt x="191" y="65"/>
                    </a:cubicBezTo>
                    <a:cubicBezTo>
                      <a:pt x="191" y="64"/>
                      <a:pt x="190" y="63"/>
                      <a:pt x="189" y="63"/>
                    </a:cubicBezTo>
                    <a:cubicBezTo>
                      <a:pt x="189" y="63"/>
                      <a:pt x="188" y="62"/>
                      <a:pt x="188" y="62"/>
                    </a:cubicBezTo>
                    <a:cubicBezTo>
                      <a:pt x="188" y="61"/>
                      <a:pt x="188" y="61"/>
                      <a:pt x="188" y="61"/>
                    </a:cubicBezTo>
                    <a:cubicBezTo>
                      <a:pt x="188" y="61"/>
                      <a:pt x="188" y="61"/>
                      <a:pt x="188" y="61"/>
                    </a:cubicBezTo>
                    <a:cubicBezTo>
                      <a:pt x="185" y="61"/>
                      <a:pt x="182" y="61"/>
                      <a:pt x="180" y="59"/>
                    </a:cubicBezTo>
                    <a:cubicBezTo>
                      <a:pt x="178" y="59"/>
                      <a:pt x="177" y="58"/>
                      <a:pt x="176" y="58"/>
                    </a:cubicBezTo>
                    <a:cubicBezTo>
                      <a:pt x="174" y="58"/>
                      <a:pt x="170" y="59"/>
                      <a:pt x="169" y="57"/>
                    </a:cubicBezTo>
                    <a:cubicBezTo>
                      <a:pt x="168" y="56"/>
                      <a:pt x="169" y="52"/>
                      <a:pt x="169" y="51"/>
                    </a:cubicBezTo>
                    <a:cubicBezTo>
                      <a:pt x="169" y="50"/>
                      <a:pt x="169" y="49"/>
                      <a:pt x="169" y="49"/>
                    </a:cubicBezTo>
                    <a:cubicBezTo>
                      <a:pt x="169" y="47"/>
                      <a:pt x="169" y="47"/>
                      <a:pt x="170" y="46"/>
                    </a:cubicBezTo>
                    <a:cubicBezTo>
                      <a:pt x="171" y="45"/>
                      <a:pt x="171" y="44"/>
                      <a:pt x="171" y="42"/>
                    </a:cubicBezTo>
                    <a:cubicBezTo>
                      <a:pt x="172" y="41"/>
                      <a:pt x="172" y="40"/>
                      <a:pt x="172" y="39"/>
                    </a:cubicBezTo>
                    <a:cubicBezTo>
                      <a:pt x="173" y="37"/>
                      <a:pt x="174" y="36"/>
                      <a:pt x="175" y="34"/>
                    </a:cubicBezTo>
                    <a:cubicBezTo>
                      <a:pt x="175" y="33"/>
                      <a:pt x="175" y="33"/>
                      <a:pt x="175" y="32"/>
                    </a:cubicBezTo>
                    <a:cubicBezTo>
                      <a:pt x="176" y="32"/>
                      <a:pt x="176" y="32"/>
                      <a:pt x="177" y="31"/>
                    </a:cubicBezTo>
                    <a:cubicBezTo>
                      <a:pt x="177" y="30"/>
                      <a:pt x="178" y="29"/>
                      <a:pt x="178" y="28"/>
                    </a:cubicBezTo>
                    <a:cubicBezTo>
                      <a:pt x="179" y="27"/>
                      <a:pt x="179" y="27"/>
                      <a:pt x="180" y="26"/>
                    </a:cubicBezTo>
                    <a:cubicBezTo>
                      <a:pt x="180" y="25"/>
                      <a:pt x="179" y="24"/>
                      <a:pt x="179" y="23"/>
                    </a:cubicBezTo>
                    <a:cubicBezTo>
                      <a:pt x="178" y="23"/>
                      <a:pt x="176" y="23"/>
                      <a:pt x="175" y="22"/>
                    </a:cubicBezTo>
                    <a:cubicBezTo>
                      <a:pt x="174" y="22"/>
                      <a:pt x="173" y="22"/>
                      <a:pt x="172" y="21"/>
                    </a:cubicBezTo>
                    <a:cubicBezTo>
                      <a:pt x="171" y="21"/>
                      <a:pt x="170" y="20"/>
                      <a:pt x="170" y="20"/>
                    </a:cubicBezTo>
                    <a:cubicBezTo>
                      <a:pt x="169" y="19"/>
                      <a:pt x="169" y="19"/>
                      <a:pt x="168" y="18"/>
                    </a:cubicBezTo>
                    <a:cubicBezTo>
                      <a:pt x="168" y="18"/>
                      <a:pt x="167" y="17"/>
                      <a:pt x="167" y="17"/>
                    </a:cubicBezTo>
                    <a:cubicBezTo>
                      <a:pt x="166" y="15"/>
                      <a:pt x="166" y="15"/>
                      <a:pt x="164" y="15"/>
                    </a:cubicBezTo>
                    <a:cubicBezTo>
                      <a:pt x="161" y="15"/>
                      <a:pt x="159" y="16"/>
                      <a:pt x="156" y="17"/>
                    </a:cubicBezTo>
                    <a:cubicBezTo>
                      <a:pt x="155" y="18"/>
                      <a:pt x="154" y="18"/>
                      <a:pt x="152" y="17"/>
                    </a:cubicBezTo>
                    <a:cubicBezTo>
                      <a:pt x="152" y="17"/>
                      <a:pt x="152" y="16"/>
                      <a:pt x="151" y="16"/>
                    </a:cubicBezTo>
                    <a:cubicBezTo>
                      <a:pt x="151" y="16"/>
                      <a:pt x="150" y="15"/>
                      <a:pt x="150" y="15"/>
                    </a:cubicBezTo>
                    <a:cubicBezTo>
                      <a:pt x="149" y="14"/>
                      <a:pt x="149" y="14"/>
                      <a:pt x="147" y="13"/>
                    </a:cubicBezTo>
                    <a:cubicBezTo>
                      <a:pt x="145" y="12"/>
                      <a:pt x="144" y="12"/>
                      <a:pt x="142" y="11"/>
                    </a:cubicBezTo>
                    <a:cubicBezTo>
                      <a:pt x="141" y="11"/>
                      <a:pt x="140" y="11"/>
                      <a:pt x="140" y="10"/>
                    </a:cubicBezTo>
                    <a:cubicBezTo>
                      <a:pt x="140" y="9"/>
                      <a:pt x="141" y="9"/>
                      <a:pt x="141" y="9"/>
                    </a:cubicBezTo>
                    <a:cubicBezTo>
                      <a:pt x="143" y="8"/>
                      <a:pt x="146" y="6"/>
                      <a:pt x="146" y="5"/>
                    </a:cubicBezTo>
                    <a:cubicBezTo>
                      <a:pt x="147" y="3"/>
                      <a:pt x="146" y="0"/>
                      <a:pt x="143" y="0"/>
                    </a:cubicBezTo>
                    <a:cubicBezTo>
                      <a:pt x="143" y="0"/>
                      <a:pt x="142" y="0"/>
                      <a:pt x="141" y="0"/>
                    </a:cubicBezTo>
                    <a:cubicBezTo>
                      <a:pt x="140" y="0"/>
                      <a:pt x="139" y="0"/>
                      <a:pt x="139" y="0"/>
                    </a:cubicBezTo>
                    <a:cubicBezTo>
                      <a:pt x="137" y="1"/>
                      <a:pt x="136" y="2"/>
                      <a:pt x="135" y="2"/>
                    </a:cubicBezTo>
                    <a:cubicBezTo>
                      <a:pt x="134" y="2"/>
                      <a:pt x="132" y="2"/>
                      <a:pt x="131" y="2"/>
                    </a:cubicBezTo>
                    <a:cubicBezTo>
                      <a:pt x="129" y="2"/>
                      <a:pt x="127" y="3"/>
                      <a:pt x="125" y="2"/>
                    </a:cubicBezTo>
                    <a:cubicBezTo>
                      <a:pt x="123" y="2"/>
                      <a:pt x="122" y="0"/>
                      <a:pt x="119" y="0"/>
                    </a:cubicBezTo>
                    <a:cubicBezTo>
                      <a:pt x="116" y="0"/>
                      <a:pt x="113" y="0"/>
                      <a:pt x="110" y="0"/>
                    </a:cubicBezTo>
                    <a:cubicBezTo>
                      <a:pt x="109" y="0"/>
                      <a:pt x="108" y="1"/>
                      <a:pt x="107" y="1"/>
                    </a:cubicBezTo>
                    <a:cubicBezTo>
                      <a:pt x="106" y="1"/>
                      <a:pt x="105" y="1"/>
                      <a:pt x="104" y="1"/>
                    </a:cubicBezTo>
                    <a:cubicBezTo>
                      <a:pt x="103" y="2"/>
                      <a:pt x="103" y="3"/>
                      <a:pt x="102" y="3"/>
                    </a:cubicBezTo>
                    <a:cubicBezTo>
                      <a:pt x="101" y="4"/>
                      <a:pt x="100" y="4"/>
                      <a:pt x="99" y="5"/>
                    </a:cubicBezTo>
                    <a:cubicBezTo>
                      <a:pt x="98" y="5"/>
                      <a:pt x="98" y="5"/>
                      <a:pt x="97" y="6"/>
                    </a:cubicBezTo>
                    <a:cubicBezTo>
                      <a:pt x="96" y="6"/>
                      <a:pt x="95" y="7"/>
                      <a:pt x="94" y="8"/>
                    </a:cubicBezTo>
                    <a:cubicBezTo>
                      <a:pt x="94" y="9"/>
                      <a:pt x="94" y="9"/>
                      <a:pt x="93" y="10"/>
                    </a:cubicBezTo>
                    <a:cubicBezTo>
                      <a:pt x="92" y="10"/>
                      <a:pt x="92" y="10"/>
                      <a:pt x="92" y="11"/>
                    </a:cubicBezTo>
                    <a:cubicBezTo>
                      <a:pt x="92" y="11"/>
                      <a:pt x="92" y="11"/>
                      <a:pt x="92" y="11"/>
                    </a:cubicBezTo>
                    <a:cubicBezTo>
                      <a:pt x="91" y="12"/>
                      <a:pt x="90" y="12"/>
                      <a:pt x="89" y="12"/>
                    </a:cubicBezTo>
                    <a:cubicBezTo>
                      <a:pt x="87" y="13"/>
                      <a:pt x="87" y="13"/>
                      <a:pt x="87" y="14"/>
                    </a:cubicBezTo>
                    <a:cubicBezTo>
                      <a:pt x="86" y="15"/>
                      <a:pt x="85" y="16"/>
                      <a:pt x="85" y="17"/>
                    </a:cubicBezTo>
                    <a:cubicBezTo>
                      <a:pt x="85" y="17"/>
                      <a:pt x="84" y="18"/>
                      <a:pt x="84" y="19"/>
                    </a:cubicBezTo>
                    <a:cubicBezTo>
                      <a:pt x="83" y="20"/>
                      <a:pt x="82" y="21"/>
                      <a:pt x="81" y="21"/>
                    </a:cubicBezTo>
                    <a:cubicBezTo>
                      <a:pt x="79" y="22"/>
                      <a:pt x="78" y="21"/>
                      <a:pt x="76" y="20"/>
                    </a:cubicBezTo>
                    <a:cubicBezTo>
                      <a:pt x="73" y="19"/>
                      <a:pt x="68" y="18"/>
                      <a:pt x="66" y="16"/>
                    </a:cubicBezTo>
                    <a:cubicBezTo>
                      <a:pt x="65" y="14"/>
                      <a:pt x="64" y="12"/>
                      <a:pt x="61" y="12"/>
                    </a:cubicBezTo>
                    <a:cubicBezTo>
                      <a:pt x="60" y="12"/>
                      <a:pt x="56" y="13"/>
                      <a:pt x="55" y="14"/>
                    </a:cubicBezTo>
                    <a:cubicBezTo>
                      <a:pt x="55" y="14"/>
                      <a:pt x="55" y="15"/>
                      <a:pt x="54" y="16"/>
                    </a:cubicBezTo>
                    <a:cubicBezTo>
                      <a:pt x="52" y="17"/>
                      <a:pt x="50" y="16"/>
                      <a:pt x="49" y="15"/>
                    </a:cubicBezTo>
                    <a:cubicBezTo>
                      <a:pt x="48" y="15"/>
                      <a:pt x="47" y="15"/>
                      <a:pt x="46" y="14"/>
                    </a:cubicBezTo>
                    <a:cubicBezTo>
                      <a:pt x="45" y="13"/>
                      <a:pt x="45" y="12"/>
                      <a:pt x="44" y="11"/>
                    </a:cubicBezTo>
                    <a:cubicBezTo>
                      <a:pt x="44" y="10"/>
                      <a:pt x="43" y="10"/>
                      <a:pt x="43" y="8"/>
                    </a:cubicBezTo>
                    <a:cubicBezTo>
                      <a:pt x="44" y="7"/>
                      <a:pt x="44" y="6"/>
                      <a:pt x="44" y="5"/>
                    </a:cubicBezTo>
                    <a:cubicBezTo>
                      <a:pt x="42" y="5"/>
                      <a:pt x="40" y="5"/>
                      <a:pt x="38" y="5"/>
                    </a:cubicBezTo>
                    <a:cubicBezTo>
                      <a:pt x="35" y="6"/>
                      <a:pt x="34" y="7"/>
                      <a:pt x="31" y="8"/>
                    </a:cubicBezTo>
                    <a:cubicBezTo>
                      <a:pt x="29" y="9"/>
                      <a:pt x="28" y="10"/>
                      <a:pt x="27" y="13"/>
                    </a:cubicBezTo>
                    <a:cubicBezTo>
                      <a:pt x="27" y="13"/>
                      <a:pt x="26" y="14"/>
                      <a:pt x="26" y="14"/>
                    </a:cubicBezTo>
                    <a:cubicBezTo>
                      <a:pt x="25" y="14"/>
                      <a:pt x="25" y="15"/>
                      <a:pt x="24" y="15"/>
                    </a:cubicBezTo>
                    <a:cubicBezTo>
                      <a:pt x="23" y="16"/>
                      <a:pt x="23" y="16"/>
                      <a:pt x="22" y="16"/>
                    </a:cubicBezTo>
                    <a:cubicBezTo>
                      <a:pt x="21" y="17"/>
                      <a:pt x="20" y="16"/>
                      <a:pt x="19" y="17"/>
                    </a:cubicBezTo>
                    <a:cubicBezTo>
                      <a:pt x="18" y="17"/>
                      <a:pt x="17" y="18"/>
                      <a:pt x="16" y="19"/>
                    </a:cubicBezTo>
                    <a:cubicBezTo>
                      <a:pt x="15" y="20"/>
                      <a:pt x="13" y="21"/>
                      <a:pt x="11" y="22"/>
                    </a:cubicBezTo>
                    <a:cubicBezTo>
                      <a:pt x="10" y="22"/>
                      <a:pt x="8" y="22"/>
                      <a:pt x="7" y="22"/>
                    </a:cubicBezTo>
                    <a:cubicBezTo>
                      <a:pt x="5" y="22"/>
                      <a:pt x="6" y="23"/>
                      <a:pt x="5" y="23"/>
                    </a:cubicBezTo>
                    <a:cubicBezTo>
                      <a:pt x="3" y="25"/>
                      <a:pt x="1" y="26"/>
                      <a:pt x="0" y="28"/>
                    </a:cubicBezTo>
                    <a:cubicBezTo>
                      <a:pt x="1" y="28"/>
                      <a:pt x="1" y="29"/>
                      <a:pt x="2" y="29"/>
                    </a:cubicBezTo>
                    <a:cubicBezTo>
                      <a:pt x="2" y="29"/>
                      <a:pt x="3" y="32"/>
                      <a:pt x="3" y="32"/>
                    </a:cubicBezTo>
                    <a:cubicBezTo>
                      <a:pt x="4" y="33"/>
                      <a:pt x="4" y="32"/>
                      <a:pt x="4" y="33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3" y="38"/>
                      <a:pt x="3" y="42"/>
                      <a:pt x="3" y="45"/>
                    </a:cubicBezTo>
                    <a:cubicBezTo>
                      <a:pt x="4" y="49"/>
                      <a:pt x="5" y="51"/>
                      <a:pt x="8" y="54"/>
                    </a:cubicBezTo>
                    <a:cubicBezTo>
                      <a:pt x="12" y="57"/>
                      <a:pt x="14" y="61"/>
                      <a:pt x="19" y="60"/>
                    </a:cubicBezTo>
                    <a:cubicBezTo>
                      <a:pt x="23" y="60"/>
                      <a:pt x="27" y="56"/>
                      <a:pt x="31" y="56"/>
                    </a:cubicBezTo>
                    <a:cubicBezTo>
                      <a:pt x="36" y="55"/>
                      <a:pt x="40" y="59"/>
                      <a:pt x="42" y="63"/>
                    </a:cubicBezTo>
                    <a:cubicBezTo>
                      <a:pt x="42" y="64"/>
                      <a:pt x="43" y="65"/>
                      <a:pt x="43" y="66"/>
                    </a:cubicBezTo>
                    <a:cubicBezTo>
                      <a:pt x="43" y="68"/>
                      <a:pt x="40" y="69"/>
                      <a:pt x="39" y="71"/>
                    </a:cubicBezTo>
                    <a:cubicBezTo>
                      <a:pt x="39" y="75"/>
                      <a:pt x="46" y="81"/>
                      <a:pt x="50" y="81"/>
                    </a:cubicBezTo>
                    <a:cubicBezTo>
                      <a:pt x="53" y="82"/>
                      <a:pt x="58" y="80"/>
                      <a:pt x="60" y="84"/>
                    </a:cubicBezTo>
                    <a:cubicBezTo>
                      <a:pt x="61" y="85"/>
                      <a:pt x="60" y="87"/>
                      <a:pt x="61" y="89"/>
                    </a:cubicBezTo>
                    <a:cubicBezTo>
                      <a:pt x="61" y="92"/>
                      <a:pt x="64" y="94"/>
                      <a:pt x="68" y="94"/>
                    </a:cubicBezTo>
                    <a:cubicBezTo>
                      <a:pt x="70" y="94"/>
                      <a:pt x="72" y="92"/>
                      <a:pt x="75" y="92"/>
                    </a:cubicBezTo>
                    <a:cubicBezTo>
                      <a:pt x="76" y="93"/>
                      <a:pt x="78" y="94"/>
                      <a:pt x="79" y="95"/>
                    </a:cubicBezTo>
                    <a:cubicBezTo>
                      <a:pt x="82" y="96"/>
                      <a:pt x="88" y="97"/>
                      <a:pt x="87" y="101"/>
                    </a:cubicBezTo>
                    <a:cubicBezTo>
                      <a:pt x="87" y="105"/>
                      <a:pt x="84" y="102"/>
                      <a:pt x="83" y="105"/>
                    </a:cubicBezTo>
                    <a:cubicBezTo>
                      <a:pt x="82" y="105"/>
                      <a:pt x="82" y="110"/>
                      <a:pt x="83" y="110"/>
                    </a:cubicBezTo>
                    <a:cubicBezTo>
                      <a:pt x="84" y="112"/>
                      <a:pt x="86" y="110"/>
                      <a:pt x="88" y="111"/>
                    </a:cubicBezTo>
                    <a:cubicBezTo>
                      <a:pt x="90" y="113"/>
                      <a:pt x="90" y="120"/>
                      <a:pt x="91" y="122"/>
                    </a:cubicBezTo>
                    <a:cubicBezTo>
                      <a:pt x="92" y="126"/>
                      <a:pt x="92" y="125"/>
                      <a:pt x="95" y="127"/>
                    </a:cubicBezTo>
                    <a:cubicBezTo>
                      <a:pt x="97" y="129"/>
                      <a:pt x="96" y="129"/>
                      <a:pt x="99" y="130"/>
                    </a:cubicBezTo>
                    <a:cubicBezTo>
                      <a:pt x="102" y="131"/>
                      <a:pt x="106" y="128"/>
                      <a:pt x="109" y="126"/>
                    </a:cubicBezTo>
                    <a:cubicBezTo>
                      <a:pt x="110" y="125"/>
                      <a:pt x="113" y="124"/>
                      <a:pt x="114" y="123"/>
                    </a:cubicBezTo>
                    <a:cubicBezTo>
                      <a:pt x="115" y="121"/>
                      <a:pt x="114" y="118"/>
                      <a:pt x="114" y="116"/>
                    </a:cubicBezTo>
                    <a:cubicBezTo>
                      <a:pt x="115" y="115"/>
                      <a:pt x="117" y="113"/>
                      <a:pt x="119" y="112"/>
                    </a:cubicBezTo>
                    <a:cubicBezTo>
                      <a:pt x="121" y="112"/>
                      <a:pt x="122" y="113"/>
                      <a:pt x="124" y="114"/>
                    </a:cubicBezTo>
                    <a:cubicBezTo>
                      <a:pt x="127" y="117"/>
                      <a:pt x="124" y="119"/>
                      <a:pt x="123" y="122"/>
                    </a:cubicBezTo>
                    <a:cubicBezTo>
                      <a:pt x="122" y="124"/>
                      <a:pt x="123" y="126"/>
                      <a:pt x="123" y="127"/>
                    </a:cubicBezTo>
                    <a:cubicBezTo>
                      <a:pt x="123" y="132"/>
                      <a:pt x="124" y="136"/>
                      <a:pt x="125" y="141"/>
                    </a:cubicBezTo>
                    <a:cubicBezTo>
                      <a:pt x="134" y="141"/>
                      <a:pt x="139" y="148"/>
                      <a:pt x="147" y="151"/>
                    </a:cubicBezTo>
                    <a:cubicBezTo>
                      <a:pt x="149" y="152"/>
                      <a:pt x="151" y="151"/>
                      <a:pt x="152" y="153"/>
                    </a:cubicBezTo>
                    <a:cubicBezTo>
                      <a:pt x="153" y="154"/>
                      <a:pt x="153" y="156"/>
                      <a:pt x="153" y="157"/>
                    </a:cubicBezTo>
                    <a:cubicBezTo>
                      <a:pt x="154" y="159"/>
                      <a:pt x="159" y="167"/>
                      <a:pt x="163" y="165"/>
                    </a:cubicBezTo>
                    <a:cubicBezTo>
                      <a:pt x="164" y="164"/>
                      <a:pt x="165" y="162"/>
                      <a:pt x="167" y="162"/>
                    </a:cubicBezTo>
                    <a:cubicBezTo>
                      <a:pt x="168" y="161"/>
                      <a:pt x="170" y="161"/>
                      <a:pt x="171" y="161"/>
                    </a:cubicBezTo>
                    <a:cubicBezTo>
                      <a:pt x="174" y="161"/>
                      <a:pt x="176" y="162"/>
                      <a:pt x="177" y="162"/>
                    </a:cubicBezTo>
                    <a:cubicBezTo>
                      <a:pt x="178" y="161"/>
                      <a:pt x="178" y="159"/>
                      <a:pt x="179" y="158"/>
                    </a:cubicBezTo>
                    <a:cubicBezTo>
                      <a:pt x="179" y="156"/>
                      <a:pt x="180" y="154"/>
                      <a:pt x="179" y="152"/>
                    </a:cubicBezTo>
                    <a:cubicBezTo>
                      <a:pt x="178" y="151"/>
                      <a:pt x="178" y="151"/>
                      <a:pt x="176" y="151"/>
                    </a:cubicBezTo>
                    <a:cubicBezTo>
                      <a:pt x="174" y="151"/>
                      <a:pt x="173" y="151"/>
                      <a:pt x="171" y="149"/>
                    </a:cubicBezTo>
                    <a:cubicBezTo>
                      <a:pt x="168" y="146"/>
                      <a:pt x="171" y="144"/>
                      <a:pt x="171" y="141"/>
                    </a:cubicBezTo>
                    <a:cubicBezTo>
                      <a:pt x="172" y="140"/>
                      <a:pt x="171" y="139"/>
                      <a:pt x="171" y="139"/>
                    </a:cubicBezTo>
                    <a:cubicBezTo>
                      <a:pt x="171" y="138"/>
                      <a:pt x="171" y="137"/>
                      <a:pt x="171" y="136"/>
                    </a:cubicBezTo>
                    <a:cubicBezTo>
                      <a:pt x="171" y="135"/>
                      <a:pt x="170" y="134"/>
                      <a:pt x="171" y="133"/>
                    </a:cubicBezTo>
                    <a:cubicBezTo>
                      <a:pt x="171" y="133"/>
                      <a:pt x="172" y="132"/>
                      <a:pt x="172" y="131"/>
                    </a:cubicBezTo>
                    <a:cubicBezTo>
                      <a:pt x="173" y="129"/>
                      <a:pt x="172" y="129"/>
                      <a:pt x="174" y="128"/>
                    </a:cubicBezTo>
                    <a:cubicBezTo>
                      <a:pt x="175" y="128"/>
                      <a:pt x="176" y="128"/>
                      <a:pt x="177" y="127"/>
                    </a:cubicBezTo>
                    <a:cubicBezTo>
                      <a:pt x="180" y="125"/>
                      <a:pt x="178" y="122"/>
                      <a:pt x="179" y="119"/>
                    </a:cubicBezTo>
                    <a:cubicBezTo>
                      <a:pt x="180" y="118"/>
                      <a:pt x="181" y="118"/>
                      <a:pt x="182" y="117"/>
                    </a:cubicBezTo>
                    <a:cubicBezTo>
                      <a:pt x="183" y="116"/>
                      <a:pt x="184" y="115"/>
                      <a:pt x="185" y="114"/>
                    </a:cubicBezTo>
                    <a:cubicBezTo>
                      <a:pt x="185" y="114"/>
                      <a:pt x="186" y="111"/>
                      <a:pt x="187" y="110"/>
                    </a:cubicBezTo>
                    <a:cubicBezTo>
                      <a:pt x="187" y="110"/>
                      <a:pt x="189" y="110"/>
                      <a:pt x="189" y="110"/>
                    </a:cubicBezTo>
                    <a:cubicBezTo>
                      <a:pt x="191" y="110"/>
                      <a:pt x="192" y="111"/>
                      <a:pt x="193" y="111"/>
                    </a:cubicBezTo>
                    <a:cubicBezTo>
                      <a:pt x="194" y="111"/>
                      <a:pt x="195" y="111"/>
                      <a:pt x="196" y="111"/>
                    </a:cubicBezTo>
                    <a:cubicBezTo>
                      <a:pt x="196" y="111"/>
                      <a:pt x="196" y="110"/>
                      <a:pt x="196" y="110"/>
                    </a:cubicBezTo>
                    <a:cubicBezTo>
                      <a:pt x="197" y="109"/>
                      <a:pt x="198" y="108"/>
                      <a:pt x="198" y="106"/>
                    </a:cubicBezTo>
                    <a:cubicBezTo>
                      <a:pt x="198" y="106"/>
                      <a:pt x="198" y="106"/>
                      <a:pt x="198" y="105"/>
                    </a:cubicBezTo>
                    <a:cubicBezTo>
                      <a:pt x="198" y="103"/>
                      <a:pt x="200" y="102"/>
                      <a:pt x="201" y="100"/>
                    </a:cubicBezTo>
                    <a:cubicBezTo>
                      <a:pt x="201" y="100"/>
                      <a:pt x="201" y="100"/>
                      <a:pt x="201" y="100"/>
                    </a:cubicBezTo>
                    <a:cubicBezTo>
                      <a:pt x="201" y="100"/>
                      <a:pt x="201" y="100"/>
                      <a:pt x="201" y="100"/>
                    </a:cubicBezTo>
                    <a:cubicBezTo>
                      <a:pt x="202" y="98"/>
                      <a:pt x="204" y="97"/>
                      <a:pt x="205" y="95"/>
                    </a:cubicBezTo>
                    <a:cubicBezTo>
                      <a:pt x="206" y="93"/>
                      <a:pt x="206" y="92"/>
                      <a:pt x="207" y="91"/>
                    </a:cubicBezTo>
                    <a:cubicBezTo>
                      <a:pt x="207" y="89"/>
                      <a:pt x="208" y="87"/>
                      <a:pt x="207" y="8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AF756F6A-D3F3-4334-83E4-B6CF172E2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7013" y="4519613"/>
                <a:ext cx="95250" cy="112713"/>
              </a:xfrm>
              <a:custGeom>
                <a:avLst/>
                <a:gdLst/>
                <a:ahLst/>
                <a:cxnLst>
                  <a:cxn ang="0">
                    <a:pos x="29" y="15"/>
                  </a:cxn>
                  <a:cxn ang="0">
                    <a:pos x="28" y="11"/>
                  </a:cxn>
                  <a:cxn ang="0">
                    <a:pos x="27" y="6"/>
                  </a:cxn>
                  <a:cxn ang="0">
                    <a:pos x="28" y="0"/>
                  </a:cxn>
                  <a:cxn ang="0">
                    <a:pos x="28" y="1"/>
                  </a:cxn>
                  <a:cxn ang="0">
                    <a:pos x="25" y="1"/>
                  </a:cxn>
                  <a:cxn ang="0">
                    <a:pos x="21" y="0"/>
                  </a:cxn>
                  <a:cxn ang="0">
                    <a:pos x="19" y="0"/>
                  </a:cxn>
                  <a:cxn ang="0">
                    <a:pos x="17" y="4"/>
                  </a:cxn>
                  <a:cxn ang="0">
                    <a:pos x="14" y="7"/>
                  </a:cxn>
                  <a:cxn ang="0">
                    <a:pos x="11" y="9"/>
                  </a:cxn>
                  <a:cxn ang="0">
                    <a:pos x="9" y="17"/>
                  </a:cxn>
                  <a:cxn ang="0">
                    <a:pos x="6" y="18"/>
                  </a:cxn>
                  <a:cxn ang="0">
                    <a:pos x="4" y="21"/>
                  </a:cxn>
                  <a:cxn ang="0">
                    <a:pos x="3" y="23"/>
                  </a:cxn>
                  <a:cxn ang="0">
                    <a:pos x="3" y="26"/>
                  </a:cxn>
                  <a:cxn ang="0">
                    <a:pos x="3" y="29"/>
                  </a:cxn>
                  <a:cxn ang="0">
                    <a:pos x="3" y="31"/>
                  </a:cxn>
                  <a:cxn ang="0">
                    <a:pos x="3" y="39"/>
                  </a:cxn>
                  <a:cxn ang="0">
                    <a:pos x="8" y="41"/>
                  </a:cxn>
                  <a:cxn ang="0">
                    <a:pos x="11" y="42"/>
                  </a:cxn>
                  <a:cxn ang="0">
                    <a:pos x="11" y="48"/>
                  </a:cxn>
                  <a:cxn ang="0">
                    <a:pos x="9" y="52"/>
                  </a:cxn>
                  <a:cxn ang="0">
                    <a:pos x="14" y="54"/>
                  </a:cxn>
                  <a:cxn ang="0">
                    <a:pos x="26" y="57"/>
                  </a:cxn>
                  <a:cxn ang="0">
                    <a:pos x="35" y="58"/>
                  </a:cxn>
                  <a:cxn ang="0">
                    <a:pos x="35" y="58"/>
                  </a:cxn>
                  <a:cxn ang="0">
                    <a:pos x="35" y="58"/>
                  </a:cxn>
                  <a:cxn ang="0">
                    <a:pos x="39" y="46"/>
                  </a:cxn>
                  <a:cxn ang="0">
                    <a:pos x="42" y="42"/>
                  </a:cxn>
                  <a:cxn ang="0">
                    <a:pos x="44" y="38"/>
                  </a:cxn>
                  <a:cxn ang="0">
                    <a:pos x="51" y="35"/>
                  </a:cxn>
                  <a:cxn ang="0">
                    <a:pos x="48" y="33"/>
                  </a:cxn>
                  <a:cxn ang="0">
                    <a:pos x="43" y="32"/>
                  </a:cxn>
                  <a:cxn ang="0">
                    <a:pos x="39" y="28"/>
                  </a:cxn>
                  <a:cxn ang="0">
                    <a:pos x="37" y="25"/>
                  </a:cxn>
                  <a:cxn ang="0">
                    <a:pos x="34" y="24"/>
                  </a:cxn>
                  <a:cxn ang="0">
                    <a:pos x="32" y="20"/>
                  </a:cxn>
                  <a:cxn ang="0">
                    <a:pos x="29" y="15"/>
                  </a:cxn>
                </a:cxnLst>
                <a:rect l="0" t="0" r="r" b="b"/>
                <a:pathLst>
                  <a:path w="51" h="60">
                    <a:moveTo>
                      <a:pt x="29" y="15"/>
                    </a:moveTo>
                    <a:cubicBezTo>
                      <a:pt x="28" y="14"/>
                      <a:pt x="29" y="12"/>
                      <a:pt x="28" y="11"/>
                    </a:cubicBezTo>
                    <a:cubicBezTo>
                      <a:pt x="28" y="9"/>
                      <a:pt x="27" y="8"/>
                      <a:pt x="27" y="6"/>
                    </a:cubicBezTo>
                    <a:cubicBezTo>
                      <a:pt x="27" y="4"/>
                      <a:pt x="27" y="2"/>
                      <a:pt x="28" y="0"/>
                    </a:cubicBezTo>
                    <a:cubicBezTo>
                      <a:pt x="28" y="0"/>
                      <a:pt x="28" y="1"/>
                      <a:pt x="28" y="1"/>
                    </a:cubicBezTo>
                    <a:cubicBezTo>
                      <a:pt x="27" y="1"/>
                      <a:pt x="26" y="1"/>
                      <a:pt x="25" y="1"/>
                    </a:cubicBezTo>
                    <a:cubicBezTo>
                      <a:pt x="24" y="1"/>
                      <a:pt x="23" y="0"/>
                      <a:pt x="21" y="0"/>
                    </a:cubicBezTo>
                    <a:cubicBezTo>
                      <a:pt x="21" y="0"/>
                      <a:pt x="19" y="0"/>
                      <a:pt x="19" y="0"/>
                    </a:cubicBezTo>
                    <a:cubicBezTo>
                      <a:pt x="18" y="1"/>
                      <a:pt x="17" y="4"/>
                      <a:pt x="17" y="4"/>
                    </a:cubicBezTo>
                    <a:cubicBezTo>
                      <a:pt x="16" y="5"/>
                      <a:pt x="15" y="6"/>
                      <a:pt x="14" y="7"/>
                    </a:cubicBezTo>
                    <a:cubicBezTo>
                      <a:pt x="13" y="8"/>
                      <a:pt x="12" y="8"/>
                      <a:pt x="11" y="9"/>
                    </a:cubicBezTo>
                    <a:cubicBezTo>
                      <a:pt x="10" y="12"/>
                      <a:pt x="12" y="15"/>
                      <a:pt x="9" y="17"/>
                    </a:cubicBezTo>
                    <a:cubicBezTo>
                      <a:pt x="8" y="18"/>
                      <a:pt x="7" y="18"/>
                      <a:pt x="6" y="18"/>
                    </a:cubicBezTo>
                    <a:cubicBezTo>
                      <a:pt x="4" y="19"/>
                      <a:pt x="5" y="19"/>
                      <a:pt x="4" y="21"/>
                    </a:cubicBezTo>
                    <a:cubicBezTo>
                      <a:pt x="4" y="22"/>
                      <a:pt x="3" y="23"/>
                      <a:pt x="3" y="23"/>
                    </a:cubicBezTo>
                    <a:cubicBezTo>
                      <a:pt x="2" y="24"/>
                      <a:pt x="3" y="25"/>
                      <a:pt x="3" y="26"/>
                    </a:cubicBezTo>
                    <a:cubicBezTo>
                      <a:pt x="3" y="27"/>
                      <a:pt x="3" y="28"/>
                      <a:pt x="3" y="29"/>
                    </a:cubicBezTo>
                    <a:cubicBezTo>
                      <a:pt x="3" y="29"/>
                      <a:pt x="4" y="30"/>
                      <a:pt x="3" y="31"/>
                    </a:cubicBezTo>
                    <a:cubicBezTo>
                      <a:pt x="3" y="34"/>
                      <a:pt x="0" y="36"/>
                      <a:pt x="3" y="39"/>
                    </a:cubicBezTo>
                    <a:cubicBezTo>
                      <a:pt x="5" y="41"/>
                      <a:pt x="6" y="41"/>
                      <a:pt x="8" y="41"/>
                    </a:cubicBezTo>
                    <a:cubicBezTo>
                      <a:pt x="10" y="41"/>
                      <a:pt x="10" y="41"/>
                      <a:pt x="11" y="42"/>
                    </a:cubicBezTo>
                    <a:cubicBezTo>
                      <a:pt x="12" y="44"/>
                      <a:pt x="11" y="46"/>
                      <a:pt x="11" y="48"/>
                    </a:cubicBezTo>
                    <a:cubicBezTo>
                      <a:pt x="10" y="49"/>
                      <a:pt x="10" y="51"/>
                      <a:pt x="9" y="52"/>
                    </a:cubicBezTo>
                    <a:cubicBezTo>
                      <a:pt x="11" y="52"/>
                      <a:pt x="12" y="53"/>
                      <a:pt x="14" y="54"/>
                    </a:cubicBezTo>
                    <a:cubicBezTo>
                      <a:pt x="19" y="57"/>
                      <a:pt x="20" y="60"/>
                      <a:pt x="26" y="57"/>
                    </a:cubicBezTo>
                    <a:cubicBezTo>
                      <a:pt x="30" y="54"/>
                      <a:pt x="31" y="56"/>
                      <a:pt x="35" y="58"/>
                    </a:cubicBezTo>
                    <a:cubicBezTo>
                      <a:pt x="35" y="58"/>
                      <a:pt x="35" y="58"/>
                      <a:pt x="35" y="58"/>
                    </a:cubicBezTo>
                    <a:cubicBezTo>
                      <a:pt x="35" y="58"/>
                      <a:pt x="35" y="58"/>
                      <a:pt x="35" y="58"/>
                    </a:cubicBezTo>
                    <a:cubicBezTo>
                      <a:pt x="36" y="53"/>
                      <a:pt x="37" y="49"/>
                      <a:pt x="39" y="46"/>
                    </a:cubicBezTo>
                    <a:cubicBezTo>
                      <a:pt x="40" y="44"/>
                      <a:pt x="41" y="43"/>
                      <a:pt x="42" y="42"/>
                    </a:cubicBezTo>
                    <a:cubicBezTo>
                      <a:pt x="42" y="40"/>
                      <a:pt x="43" y="39"/>
                      <a:pt x="44" y="38"/>
                    </a:cubicBezTo>
                    <a:cubicBezTo>
                      <a:pt x="46" y="37"/>
                      <a:pt x="49" y="35"/>
                      <a:pt x="51" y="35"/>
                    </a:cubicBezTo>
                    <a:cubicBezTo>
                      <a:pt x="51" y="33"/>
                      <a:pt x="49" y="33"/>
                      <a:pt x="48" y="33"/>
                    </a:cubicBezTo>
                    <a:cubicBezTo>
                      <a:pt x="46" y="33"/>
                      <a:pt x="45" y="33"/>
                      <a:pt x="43" y="32"/>
                    </a:cubicBezTo>
                    <a:cubicBezTo>
                      <a:pt x="42" y="31"/>
                      <a:pt x="40" y="30"/>
                      <a:pt x="39" y="28"/>
                    </a:cubicBezTo>
                    <a:cubicBezTo>
                      <a:pt x="38" y="27"/>
                      <a:pt x="37" y="26"/>
                      <a:pt x="37" y="25"/>
                    </a:cubicBezTo>
                    <a:cubicBezTo>
                      <a:pt x="36" y="24"/>
                      <a:pt x="35" y="24"/>
                      <a:pt x="34" y="24"/>
                    </a:cubicBezTo>
                    <a:cubicBezTo>
                      <a:pt x="32" y="23"/>
                      <a:pt x="32" y="21"/>
                      <a:pt x="32" y="20"/>
                    </a:cubicBezTo>
                    <a:cubicBezTo>
                      <a:pt x="31" y="18"/>
                      <a:pt x="30" y="17"/>
                      <a:pt x="29" y="1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32FBEA-C17F-4589-9173-CF0029CAD1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000" y="4889500"/>
                <a:ext cx="452438" cy="293688"/>
              </a:xfrm>
              <a:custGeom>
                <a:avLst/>
                <a:gdLst/>
                <a:ahLst/>
                <a:cxnLst>
                  <a:cxn ang="0">
                    <a:pos x="231" y="65"/>
                  </a:cxn>
                  <a:cxn ang="0">
                    <a:pos x="214" y="71"/>
                  </a:cxn>
                  <a:cxn ang="0">
                    <a:pos x="204" y="60"/>
                  </a:cxn>
                  <a:cxn ang="0">
                    <a:pos x="194" y="60"/>
                  </a:cxn>
                  <a:cxn ang="0">
                    <a:pos x="186" y="51"/>
                  </a:cxn>
                  <a:cxn ang="0">
                    <a:pos x="183" y="47"/>
                  </a:cxn>
                  <a:cxn ang="0">
                    <a:pos x="186" y="39"/>
                  </a:cxn>
                  <a:cxn ang="0">
                    <a:pos x="192" y="36"/>
                  </a:cxn>
                  <a:cxn ang="0">
                    <a:pos x="195" y="30"/>
                  </a:cxn>
                  <a:cxn ang="0">
                    <a:pos x="197" y="18"/>
                  </a:cxn>
                  <a:cxn ang="0">
                    <a:pos x="188" y="17"/>
                  </a:cxn>
                  <a:cxn ang="0">
                    <a:pos x="174" y="10"/>
                  </a:cxn>
                  <a:cxn ang="0">
                    <a:pos x="161" y="9"/>
                  </a:cxn>
                  <a:cxn ang="0">
                    <a:pos x="145" y="1"/>
                  </a:cxn>
                  <a:cxn ang="0">
                    <a:pos x="133" y="1"/>
                  </a:cxn>
                  <a:cxn ang="0">
                    <a:pos x="121" y="8"/>
                  </a:cxn>
                  <a:cxn ang="0">
                    <a:pos x="110" y="18"/>
                  </a:cxn>
                  <a:cxn ang="0">
                    <a:pos x="94" y="17"/>
                  </a:cxn>
                  <a:cxn ang="0">
                    <a:pos x="90" y="21"/>
                  </a:cxn>
                  <a:cxn ang="0">
                    <a:pos x="51" y="27"/>
                  </a:cxn>
                  <a:cxn ang="0">
                    <a:pos x="39" y="56"/>
                  </a:cxn>
                  <a:cxn ang="0">
                    <a:pos x="8" y="90"/>
                  </a:cxn>
                  <a:cxn ang="0">
                    <a:pos x="5" y="118"/>
                  </a:cxn>
                  <a:cxn ang="0">
                    <a:pos x="41" y="118"/>
                  </a:cxn>
                  <a:cxn ang="0">
                    <a:pos x="46" y="130"/>
                  </a:cxn>
                  <a:cxn ang="0">
                    <a:pos x="52" y="144"/>
                  </a:cxn>
                  <a:cxn ang="0">
                    <a:pos x="57" y="153"/>
                  </a:cxn>
                  <a:cxn ang="0">
                    <a:pos x="68" y="151"/>
                  </a:cxn>
                  <a:cxn ang="0">
                    <a:pos x="88" y="145"/>
                  </a:cxn>
                  <a:cxn ang="0">
                    <a:pos x="108" y="135"/>
                  </a:cxn>
                  <a:cxn ang="0">
                    <a:pos x="113" y="129"/>
                  </a:cxn>
                  <a:cxn ang="0">
                    <a:pos x="119" y="114"/>
                  </a:cxn>
                  <a:cxn ang="0">
                    <a:pos x="127" y="120"/>
                  </a:cxn>
                  <a:cxn ang="0">
                    <a:pos x="138" y="133"/>
                  </a:cxn>
                  <a:cxn ang="0">
                    <a:pos x="148" y="137"/>
                  </a:cxn>
                  <a:cxn ang="0">
                    <a:pos x="147" y="143"/>
                  </a:cxn>
                  <a:cxn ang="0">
                    <a:pos x="158" y="156"/>
                  </a:cxn>
                  <a:cxn ang="0">
                    <a:pos x="157" y="147"/>
                  </a:cxn>
                  <a:cxn ang="0">
                    <a:pos x="163" y="134"/>
                  </a:cxn>
                  <a:cxn ang="0">
                    <a:pos x="174" y="121"/>
                  </a:cxn>
                  <a:cxn ang="0">
                    <a:pos x="173" y="106"/>
                  </a:cxn>
                  <a:cxn ang="0">
                    <a:pos x="185" y="111"/>
                  </a:cxn>
                  <a:cxn ang="0">
                    <a:pos x="196" y="118"/>
                  </a:cxn>
                  <a:cxn ang="0">
                    <a:pos x="209" y="115"/>
                  </a:cxn>
                  <a:cxn ang="0">
                    <a:pos x="223" y="123"/>
                  </a:cxn>
                  <a:cxn ang="0">
                    <a:pos x="222" y="109"/>
                  </a:cxn>
                  <a:cxn ang="0">
                    <a:pos x="220" y="97"/>
                  </a:cxn>
                  <a:cxn ang="0">
                    <a:pos x="236" y="98"/>
                  </a:cxn>
                  <a:cxn ang="0">
                    <a:pos x="238" y="91"/>
                  </a:cxn>
                  <a:cxn ang="0">
                    <a:pos x="240" y="71"/>
                  </a:cxn>
                </a:cxnLst>
                <a:rect l="0" t="0" r="r" b="b"/>
                <a:pathLst>
                  <a:path w="242" h="157">
                    <a:moveTo>
                      <a:pt x="240" y="71"/>
                    </a:moveTo>
                    <a:cubicBezTo>
                      <a:pt x="240" y="69"/>
                      <a:pt x="240" y="67"/>
                      <a:pt x="238" y="65"/>
                    </a:cubicBezTo>
                    <a:cubicBezTo>
                      <a:pt x="237" y="64"/>
                      <a:pt x="234" y="62"/>
                      <a:pt x="233" y="62"/>
                    </a:cubicBezTo>
                    <a:cubicBezTo>
                      <a:pt x="232" y="63"/>
                      <a:pt x="232" y="64"/>
                      <a:pt x="231" y="65"/>
                    </a:cubicBezTo>
                    <a:cubicBezTo>
                      <a:pt x="230" y="65"/>
                      <a:pt x="229" y="65"/>
                      <a:pt x="228" y="66"/>
                    </a:cubicBezTo>
                    <a:cubicBezTo>
                      <a:pt x="226" y="67"/>
                      <a:pt x="227" y="69"/>
                      <a:pt x="226" y="70"/>
                    </a:cubicBezTo>
                    <a:cubicBezTo>
                      <a:pt x="225" y="72"/>
                      <a:pt x="225" y="73"/>
                      <a:pt x="222" y="73"/>
                    </a:cubicBezTo>
                    <a:cubicBezTo>
                      <a:pt x="219" y="73"/>
                      <a:pt x="217" y="72"/>
                      <a:pt x="214" y="71"/>
                    </a:cubicBezTo>
                    <a:cubicBezTo>
                      <a:pt x="213" y="71"/>
                      <a:pt x="212" y="70"/>
                      <a:pt x="212" y="69"/>
                    </a:cubicBezTo>
                    <a:cubicBezTo>
                      <a:pt x="211" y="69"/>
                      <a:pt x="210" y="69"/>
                      <a:pt x="210" y="68"/>
                    </a:cubicBezTo>
                    <a:cubicBezTo>
                      <a:pt x="208" y="67"/>
                      <a:pt x="208" y="66"/>
                      <a:pt x="208" y="64"/>
                    </a:cubicBezTo>
                    <a:cubicBezTo>
                      <a:pt x="208" y="61"/>
                      <a:pt x="206" y="61"/>
                      <a:pt x="204" y="60"/>
                    </a:cubicBezTo>
                    <a:cubicBezTo>
                      <a:pt x="204" y="60"/>
                      <a:pt x="204" y="60"/>
                      <a:pt x="203" y="59"/>
                    </a:cubicBezTo>
                    <a:cubicBezTo>
                      <a:pt x="203" y="59"/>
                      <a:pt x="202" y="59"/>
                      <a:pt x="201" y="59"/>
                    </a:cubicBezTo>
                    <a:cubicBezTo>
                      <a:pt x="200" y="60"/>
                      <a:pt x="200" y="60"/>
                      <a:pt x="198" y="60"/>
                    </a:cubicBezTo>
                    <a:cubicBezTo>
                      <a:pt x="197" y="60"/>
                      <a:pt x="195" y="60"/>
                      <a:pt x="194" y="60"/>
                    </a:cubicBezTo>
                    <a:cubicBezTo>
                      <a:pt x="193" y="60"/>
                      <a:pt x="192" y="60"/>
                      <a:pt x="191" y="60"/>
                    </a:cubicBezTo>
                    <a:cubicBezTo>
                      <a:pt x="190" y="60"/>
                      <a:pt x="189" y="60"/>
                      <a:pt x="188" y="60"/>
                    </a:cubicBezTo>
                    <a:cubicBezTo>
                      <a:pt x="185" y="59"/>
                      <a:pt x="183" y="60"/>
                      <a:pt x="183" y="57"/>
                    </a:cubicBezTo>
                    <a:cubicBezTo>
                      <a:pt x="182" y="53"/>
                      <a:pt x="184" y="53"/>
                      <a:pt x="186" y="51"/>
                    </a:cubicBezTo>
                    <a:cubicBezTo>
                      <a:pt x="186" y="51"/>
                      <a:pt x="187" y="51"/>
                      <a:pt x="187" y="50"/>
                    </a:cubicBezTo>
                    <a:cubicBezTo>
                      <a:pt x="187" y="50"/>
                      <a:pt x="186" y="50"/>
                      <a:pt x="186" y="50"/>
                    </a:cubicBezTo>
                    <a:cubicBezTo>
                      <a:pt x="185" y="50"/>
                      <a:pt x="185" y="50"/>
                      <a:pt x="184" y="49"/>
                    </a:cubicBezTo>
                    <a:cubicBezTo>
                      <a:pt x="183" y="49"/>
                      <a:pt x="183" y="48"/>
                      <a:pt x="183" y="47"/>
                    </a:cubicBezTo>
                    <a:cubicBezTo>
                      <a:pt x="183" y="47"/>
                      <a:pt x="183" y="46"/>
                      <a:pt x="183" y="45"/>
                    </a:cubicBezTo>
                    <a:cubicBezTo>
                      <a:pt x="183" y="44"/>
                      <a:pt x="184" y="44"/>
                      <a:pt x="184" y="43"/>
                    </a:cubicBezTo>
                    <a:cubicBezTo>
                      <a:pt x="184" y="42"/>
                      <a:pt x="185" y="42"/>
                      <a:pt x="185" y="41"/>
                    </a:cubicBezTo>
                    <a:cubicBezTo>
                      <a:pt x="186" y="40"/>
                      <a:pt x="186" y="40"/>
                      <a:pt x="186" y="39"/>
                    </a:cubicBezTo>
                    <a:cubicBezTo>
                      <a:pt x="187" y="38"/>
                      <a:pt x="187" y="38"/>
                      <a:pt x="188" y="38"/>
                    </a:cubicBezTo>
                    <a:cubicBezTo>
                      <a:pt x="188" y="37"/>
                      <a:pt x="189" y="37"/>
                      <a:pt x="189" y="36"/>
                    </a:cubicBezTo>
                    <a:cubicBezTo>
                      <a:pt x="189" y="36"/>
                      <a:pt x="192" y="35"/>
                      <a:pt x="192" y="35"/>
                    </a:cubicBezTo>
                    <a:cubicBezTo>
                      <a:pt x="192" y="36"/>
                      <a:pt x="192" y="36"/>
                      <a:pt x="192" y="36"/>
                    </a:cubicBezTo>
                    <a:cubicBezTo>
                      <a:pt x="192" y="37"/>
                      <a:pt x="192" y="37"/>
                      <a:pt x="192" y="37"/>
                    </a:cubicBezTo>
                    <a:cubicBezTo>
                      <a:pt x="194" y="36"/>
                      <a:pt x="196" y="36"/>
                      <a:pt x="196" y="35"/>
                    </a:cubicBezTo>
                    <a:cubicBezTo>
                      <a:pt x="197" y="34"/>
                      <a:pt x="196" y="33"/>
                      <a:pt x="196" y="33"/>
                    </a:cubicBezTo>
                    <a:cubicBezTo>
                      <a:pt x="195" y="32"/>
                      <a:pt x="195" y="31"/>
                      <a:pt x="195" y="30"/>
                    </a:cubicBezTo>
                    <a:cubicBezTo>
                      <a:pt x="195" y="28"/>
                      <a:pt x="195" y="26"/>
                      <a:pt x="195" y="24"/>
                    </a:cubicBezTo>
                    <a:cubicBezTo>
                      <a:pt x="195" y="23"/>
                      <a:pt x="196" y="22"/>
                      <a:pt x="196" y="20"/>
                    </a:cubicBezTo>
                    <a:cubicBezTo>
                      <a:pt x="197" y="19"/>
                      <a:pt x="198" y="19"/>
                      <a:pt x="198" y="18"/>
                    </a:cubicBezTo>
                    <a:cubicBezTo>
                      <a:pt x="198" y="18"/>
                      <a:pt x="197" y="18"/>
                      <a:pt x="197" y="18"/>
                    </a:cubicBezTo>
                    <a:cubicBezTo>
                      <a:pt x="196" y="18"/>
                      <a:pt x="195" y="18"/>
                      <a:pt x="195" y="18"/>
                    </a:cubicBezTo>
                    <a:cubicBezTo>
                      <a:pt x="195" y="18"/>
                      <a:pt x="195" y="17"/>
                      <a:pt x="194" y="17"/>
                    </a:cubicBezTo>
                    <a:cubicBezTo>
                      <a:pt x="193" y="17"/>
                      <a:pt x="191" y="17"/>
                      <a:pt x="190" y="17"/>
                    </a:cubicBezTo>
                    <a:cubicBezTo>
                      <a:pt x="189" y="17"/>
                      <a:pt x="189" y="17"/>
                      <a:pt x="188" y="17"/>
                    </a:cubicBezTo>
                    <a:cubicBezTo>
                      <a:pt x="186" y="16"/>
                      <a:pt x="184" y="16"/>
                      <a:pt x="182" y="15"/>
                    </a:cubicBezTo>
                    <a:cubicBezTo>
                      <a:pt x="181" y="15"/>
                      <a:pt x="180" y="15"/>
                      <a:pt x="179" y="13"/>
                    </a:cubicBezTo>
                    <a:cubicBezTo>
                      <a:pt x="178" y="13"/>
                      <a:pt x="178" y="13"/>
                      <a:pt x="178" y="12"/>
                    </a:cubicBezTo>
                    <a:cubicBezTo>
                      <a:pt x="177" y="12"/>
                      <a:pt x="175" y="11"/>
                      <a:pt x="174" y="10"/>
                    </a:cubicBezTo>
                    <a:cubicBezTo>
                      <a:pt x="173" y="10"/>
                      <a:pt x="172" y="9"/>
                      <a:pt x="171" y="8"/>
                    </a:cubicBezTo>
                    <a:cubicBezTo>
                      <a:pt x="170" y="7"/>
                      <a:pt x="171" y="7"/>
                      <a:pt x="169" y="7"/>
                    </a:cubicBezTo>
                    <a:cubicBezTo>
                      <a:pt x="168" y="7"/>
                      <a:pt x="167" y="7"/>
                      <a:pt x="166" y="8"/>
                    </a:cubicBezTo>
                    <a:cubicBezTo>
                      <a:pt x="164" y="8"/>
                      <a:pt x="163" y="9"/>
                      <a:pt x="161" y="9"/>
                    </a:cubicBezTo>
                    <a:cubicBezTo>
                      <a:pt x="159" y="9"/>
                      <a:pt x="157" y="8"/>
                      <a:pt x="155" y="7"/>
                    </a:cubicBezTo>
                    <a:cubicBezTo>
                      <a:pt x="154" y="6"/>
                      <a:pt x="154" y="5"/>
                      <a:pt x="153" y="5"/>
                    </a:cubicBezTo>
                    <a:cubicBezTo>
                      <a:pt x="152" y="4"/>
                      <a:pt x="149" y="3"/>
                      <a:pt x="147" y="2"/>
                    </a:cubicBezTo>
                    <a:cubicBezTo>
                      <a:pt x="147" y="1"/>
                      <a:pt x="146" y="1"/>
                      <a:pt x="145" y="1"/>
                    </a:cubicBezTo>
                    <a:cubicBezTo>
                      <a:pt x="145" y="1"/>
                      <a:pt x="144" y="1"/>
                      <a:pt x="143" y="1"/>
                    </a:cubicBezTo>
                    <a:cubicBezTo>
                      <a:pt x="143" y="1"/>
                      <a:pt x="142" y="0"/>
                      <a:pt x="141" y="0"/>
                    </a:cubicBezTo>
                    <a:cubicBezTo>
                      <a:pt x="141" y="0"/>
                      <a:pt x="140" y="0"/>
                      <a:pt x="139" y="0"/>
                    </a:cubicBezTo>
                    <a:cubicBezTo>
                      <a:pt x="137" y="0"/>
                      <a:pt x="134" y="0"/>
                      <a:pt x="133" y="1"/>
                    </a:cubicBezTo>
                    <a:cubicBezTo>
                      <a:pt x="131" y="3"/>
                      <a:pt x="129" y="6"/>
                      <a:pt x="129" y="8"/>
                    </a:cubicBezTo>
                    <a:cubicBezTo>
                      <a:pt x="129" y="11"/>
                      <a:pt x="129" y="14"/>
                      <a:pt x="126" y="14"/>
                    </a:cubicBezTo>
                    <a:cubicBezTo>
                      <a:pt x="124" y="14"/>
                      <a:pt x="124" y="13"/>
                      <a:pt x="123" y="12"/>
                    </a:cubicBezTo>
                    <a:cubicBezTo>
                      <a:pt x="122" y="11"/>
                      <a:pt x="123" y="9"/>
                      <a:pt x="121" y="8"/>
                    </a:cubicBezTo>
                    <a:cubicBezTo>
                      <a:pt x="120" y="8"/>
                      <a:pt x="119" y="10"/>
                      <a:pt x="118" y="11"/>
                    </a:cubicBezTo>
                    <a:cubicBezTo>
                      <a:pt x="118" y="12"/>
                      <a:pt x="118" y="12"/>
                      <a:pt x="118" y="13"/>
                    </a:cubicBezTo>
                    <a:cubicBezTo>
                      <a:pt x="118" y="15"/>
                      <a:pt x="117" y="15"/>
                      <a:pt x="116" y="15"/>
                    </a:cubicBezTo>
                    <a:cubicBezTo>
                      <a:pt x="114" y="16"/>
                      <a:pt x="113" y="18"/>
                      <a:pt x="110" y="18"/>
                    </a:cubicBezTo>
                    <a:cubicBezTo>
                      <a:pt x="110" y="18"/>
                      <a:pt x="109" y="17"/>
                      <a:pt x="108" y="17"/>
                    </a:cubicBezTo>
                    <a:cubicBezTo>
                      <a:pt x="107" y="17"/>
                      <a:pt x="105" y="17"/>
                      <a:pt x="104" y="18"/>
                    </a:cubicBezTo>
                    <a:cubicBezTo>
                      <a:pt x="102" y="19"/>
                      <a:pt x="100" y="19"/>
                      <a:pt x="97" y="18"/>
                    </a:cubicBezTo>
                    <a:cubicBezTo>
                      <a:pt x="96" y="18"/>
                      <a:pt x="95" y="18"/>
                      <a:pt x="94" y="17"/>
                    </a:cubicBezTo>
                    <a:cubicBezTo>
                      <a:pt x="94" y="17"/>
                      <a:pt x="94" y="17"/>
                      <a:pt x="93" y="17"/>
                    </a:cubicBezTo>
                    <a:cubicBezTo>
                      <a:pt x="93" y="16"/>
                      <a:pt x="93" y="16"/>
                      <a:pt x="92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2" y="17"/>
                      <a:pt x="93" y="19"/>
                      <a:pt x="90" y="21"/>
                    </a:cubicBezTo>
                    <a:cubicBezTo>
                      <a:pt x="87" y="23"/>
                      <a:pt x="83" y="25"/>
                      <a:pt x="80" y="26"/>
                    </a:cubicBezTo>
                    <a:cubicBezTo>
                      <a:pt x="78" y="27"/>
                      <a:pt x="77" y="27"/>
                      <a:pt x="75" y="27"/>
                    </a:cubicBezTo>
                    <a:cubicBezTo>
                      <a:pt x="69" y="27"/>
                      <a:pt x="64" y="30"/>
                      <a:pt x="58" y="29"/>
                    </a:cubicBezTo>
                    <a:cubicBezTo>
                      <a:pt x="56" y="28"/>
                      <a:pt x="54" y="27"/>
                      <a:pt x="51" y="27"/>
                    </a:cubicBezTo>
                    <a:cubicBezTo>
                      <a:pt x="40" y="28"/>
                      <a:pt x="58" y="37"/>
                      <a:pt x="52" y="42"/>
                    </a:cubicBezTo>
                    <a:cubicBezTo>
                      <a:pt x="50" y="44"/>
                      <a:pt x="49" y="43"/>
                      <a:pt x="47" y="44"/>
                    </a:cubicBezTo>
                    <a:cubicBezTo>
                      <a:pt x="47" y="45"/>
                      <a:pt x="46" y="47"/>
                      <a:pt x="46" y="47"/>
                    </a:cubicBezTo>
                    <a:cubicBezTo>
                      <a:pt x="44" y="51"/>
                      <a:pt x="42" y="53"/>
                      <a:pt x="39" y="56"/>
                    </a:cubicBezTo>
                    <a:cubicBezTo>
                      <a:pt x="34" y="62"/>
                      <a:pt x="30" y="69"/>
                      <a:pt x="23" y="74"/>
                    </a:cubicBezTo>
                    <a:cubicBezTo>
                      <a:pt x="22" y="75"/>
                      <a:pt x="20" y="76"/>
                      <a:pt x="19" y="78"/>
                    </a:cubicBezTo>
                    <a:cubicBezTo>
                      <a:pt x="17" y="80"/>
                      <a:pt x="17" y="82"/>
                      <a:pt x="15" y="83"/>
                    </a:cubicBezTo>
                    <a:cubicBezTo>
                      <a:pt x="13" y="86"/>
                      <a:pt x="11" y="88"/>
                      <a:pt x="8" y="90"/>
                    </a:cubicBezTo>
                    <a:cubicBezTo>
                      <a:pt x="6" y="93"/>
                      <a:pt x="6" y="95"/>
                      <a:pt x="6" y="98"/>
                    </a:cubicBezTo>
                    <a:cubicBezTo>
                      <a:pt x="6" y="100"/>
                      <a:pt x="7" y="104"/>
                      <a:pt x="6" y="105"/>
                    </a:cubicBezTo>
                    <a:cubicBezTo>
                      <a:pt x="5" y="107"/>
                      <a:pt x="3" y="106"/>
                      <a:pt x="2" y="108"/>
                    </a:cubicBezTo>
                    <a:cubicBezTo>
                      <a:pt x="0" y="111"/>
                      <a:pt x="3" y="117"/>
                      <a:pt x="5" y="118"/>
                    </a:cubicBezTo>
                    <a:cubicBezTo>
                      <a:pt x="8" y="119"/>
                      <a:pt x="11" y="118"/>
                      <a:pt x="13" y="117"/>
                    </a:cubicBezTo>
                    <a:cubicBezTo>
                      <a:pt x="18" y="115"/>
                      <a:pt x="22" y="112"/>
                      <a:pt x="27" y="112"/>
                    </a:cubicBezTo>
                    <a:cubicBezTo>
                      <a:pt x="31" y="112"/>
                      <a:pt x="35" y="115"/>
                      <a:pt x="38" y="117"/>
                    </a:cubicBezTo>
                    <a:cubicBezTo>
                      <a:pt x="38" y="117"/>
                      <a:pt x="40" y="118"/>
                      <a:pt x="41" y="118"/>
                    </a:cubicBezTo>
                    <a:cubicBezTo>
                      <a:pt x="42" y="118"/>
                      <a:pt x="43" y="119"/>
                      <a:pt x="44" y="119"/>
                    </a:cubicBezTo>
                    <a:cubicBezTo>
                      <a:pt x="45" y="121"/>
                      <a:pt x="44" y="123"/>
                      <a:pt x="45" y="125"/>
                    </a:cubicBezTo>
                    <a:cubicBezTo>
                      <a:pt x="45" y="125"/>
                      <a:pt x="46" y="126"/>
                      <a:pt x="46" y="126"/>
                    </a:cubicBezTo>
                    <a:cubicBezTo>
                      <a:pt x="46" y="127"/>
                      <a:pt x="46" y="129"/>
                      <a:pt x="46" y="130"/>
                    </a:cubicBezTo>
                    <a:cubicBezTo>
                      <a:pt x="46" y="132"/>
                      <a:pt x="46" y="134"/>
                      <a:pt x="47" y="136"/>
                    </a:cubicBezTo>
                    <a:cubicBezTo>
                      <a:pt x="47" y="137"/>
                      <a:pt x="48" y="138"/>
                      <a:pt x="49" y="139"/>
                    </a:cubicBezTo>
                    <a:cubicBezTo>
                      <a:pt x="49" y="140"/>
                      <a:pt x="50" y="141"/>
                      <a:pt x="50" y="141"/>
                    </a:cubicBezTo>
                    <a:cubicBezTo>
                      <a:pt x="51" y="143"/>
                      <a:pt x="51" y="143"/>
                      <a:pt x="52" y="144"/>
                    </a:cubicBezTo>
                    <a:cubicBezTo>
                      <a:pt x="52" y="145"/>
                      <a:pt x="53" y="145"/>
                      <a:pt x="53" y="147"/>
                    </a:cubicBezTo>
                    <a:cubicBezTo>
                      <a:pt x="53" y="147"/>
                      <a:pt x="53" y="149"/>
                      <a:pt x="53" y="150"/>
                    </a:cubicBezTo>
                    <a:cubicBezTo>
                      <a:pt x="53" y="151"/>
                      <a:pt x="51" y="152"/>
                      <a:pt x="51" y="153"/>
                    </a:cubicBezTo>
                    <a:cubicBezTo>
                      <a:pt x="53" y="154"/>
                      <a:pt x="55" y="153"/>
                      <a:pt x="57" y="153"/>
                    </a:cubicBezTo>
                    <a:cubicBezTo>
                      <a:pt x="58" y="153"/>
                      <a:pt x="59" y="154"/>
                      <a:pt x="60" y="154"/>
                    </a:cubicBezTo>
                    <a:cubicBezTo>
                      <a:pt x="61" y="154"/>
                      <a:pt x="62" y="154"/>
                      <a:pt x="63" y="153"/>
                    </a:cubicBezTo>
                    <a:cubicBezTo>
                      <a:pt x="63" y="153"/>
                      <a:pt x="65" y="153"/>
                      <a:pt x="66" y="153"/>
                    </a:cubicBezTo>
                    <a:cubicBezTo>
                      <a:pt x="67" y="152"/>
                      <a:pt x="67" y="151"/>
                      <a:pt x="68" y="151"/>
                    </a:cubicBezTo>
                    <a:cubicBezTo>
                      <a:pt x="71" y="150"/>
                      <a:pt x="74" y="150"/>
                      <a:pt x="77" y="149"/>
                    </a:cubicBezTo>
                    <a:cubicBezTo>
                      <a:pt x="79" y="149"/>
                      <a:pt x="80" y="148"/>
                      <a:pt x="81" y="147"/>
                    </a:cubicBezTo>
                    <a:cubicBezTo>
                      <a:pt x="82" y="145"/>
                      <a:pt x="82" y="144"/>
                      <a:pt x="84" y="143"/>
                    </a:cubicBezTo>
                    <a:cubicBezTo>
                      <a:pt x="85" y="143"/>
                      <a:pt x="86" y="144"/>
                      <a:pt x="88" y="145"/>
                    </a:cubicBezTo>
                    <a:cubicBezTo>
                      <a:pt x="91" y="146"/>
                      <a:pt x="95" y="149"/>
                      <a:pt x="99" y="147"/>
                    </a:cubicBezTo>
                    <a:cubicBezTo>
                      <a:pt x="100" y="146"/>
                      <a:pt x="100" y="145"/>
                      <a:pt x="102" y="144"/>
                    </a:cubicBezTo>
                    <a:cubicBezTo>
                      <a:pt x="103" y="143"/>
                      <a:pt x="105" y="142"/>
                      <a:pt x="105" y="140"/>
                    </a:cubicBezTo>
                    <a:cubicBezTo>
                      <a:pt x="106" y="139"/>
                      <a:pt x="106" y="136"/>
                      <a:pt x="108" y="135"/>
                    </a:cubicBezTo>
                    <a:cubicBezTo>
                      <a:pt x="109" y="135"/>
                      <a:pt x="110" y="135"/>
                      <a:pt x="110" y="135"/>
                    </a:cubicBezTo>
                    <a:cubicBezTo>
                      <a:pt x="110" y="135"/>
                      <a:pt x="111" y="134"/>
                      <a:pt x="111" y="134"/>
                    </a:cubicBezTo>
                    <a:cubicBezTo>
                      <a:pt x="113" y="133"/>
                      <a:pt x="113" y="133"/>
                      <a:pt x="113" y="132"/>
                    </a:cubicBezTo>
                    <a:cubicBezTo>
                      <a:pt x="113" y="131"/>
                      <a:pt x="113" y="130"/>
                      <a:pt x="113" y="129"/>
                    </a:cubicBezTo>
                    <a:cubicBezTo>
                      <a:pt x="112" y="127"/>
                      <a:pt x="111" y="128"/>
                      <a:pt x="110" y="127"/>
                    </a:cubicBezTo>
                    <a:cubicBezTo>
                      <a:pt x="109" y="125"/>
                      <a:pt x="109" y="123"/>
                      <a:pt x="111" y="122"/>
                    </a:cubicBezTo>
                    <a:cubicBezTo>
                      <a:pt x="113" y="120"/>
                      <a:pt x="115" y="120"/>
                      <a:pt x="117" y="119"/>
                    </a:cubicBezTo>
                    <a:cubicBezTo>
                      <a:pt x="118" y="118"/>
                      <a:pt x="119" y="116"/>
                      <a:pt x="119" y="114"/>
                    </a:cubicBezTo>
                    <a:cubicBezTo>
                      <a:pt x="120" y="112"/>
                      <a:pt x="120" y="109"/>
                      <a:pt x="123" y="110"/>
                    </a:cubicBezTo>
                    <a:cubicBezTo>
                      <a:pt x="125" y="111"/>
                      <a:pt x="127" y="113"/>
                      <a:pt x="127" y="115"/>
                    </a:cubicBezTo>
                    <a:cubicBezTo>
                      <a:pt x="127" y="116"/>
                      <a:pt x="127" y="117"/>
                      <a:pt x="127" y="118"/>
                    </a:cubicBezTo>
                    <a:cubicBezTo>
                      <a:pt x="127" y="118"/>
                      <a:pt x="127" y="120"/>
                      <a:pt x="127" y="120"/>
                    </a:cubicBezTo>
                    <a:cubicBezTo>
                      <a:pt x="127" y="121"/>
                      <a:pt x="128" y="121"/>
                      <a:pt x="128" y="122"/>
                    </a:cubicBezTo>
                    <a:cubicBezTo>
                      <a:pt x="129" y="123"/>
                      <a:pt x="130" y="124"/>
                      <a:pt x="131" y="125"/>
                    </a:cubicBezTo>
                    <a:cubicBezTo>
                      <a:pt x="132" y="126"/>
                      <a:pt x="133" y="128"/>
                      <a:pt x="134" y="130"/>
                    </a:cubicBezTo>
                    <a:cubicBezTo>
                      <a:pt x="135" y="132"/>
                      <a:pt x="136" y="133"/>
                      <a:pt x="138" y="133"/>
                    </a:cubicBezTo>
                    <a:cubicBezTo>
                      <a:pt x="139" y="134"/>
                      <a:pt x="140" y="134"/>
                      <a:pt x="141" y="134"/>
                    </a:cubicBezTo>
                    <a:cubicBezTo>
                      <a:pt x="142" y="134"/>
                      <a:pt x="142" y="135"/>
                      <a:pt x="142" y="135"/>
                    </a:cubicBezTo>
                    <a:cubicBezTo>
                      <a:pt x="143" y="135"/>
                      <a:pt x="144" y="135"/>
                      <a:pt x="144" y="135"/>
                    </a:cubicBezTo>
                    <a:cubicBezTo>
                      <a:pt x="146" y="135"/>
                      <a:pt x="147" y="136"/>
                      <a:pt x="148" y="137"/>
                    </a:cubicBezTo>
                    <a:cubicBezTo>
                      <a:pt x="149" y="137"/>
                      <a:pt x="149" y="137"/>
                      <a:pt x="150" y="138"/>
                    </a:cubicBezTo>
                    <a:cubicBezTo>
                      <a:pt x="150" y="139"/>
                      <a:pt x="148" y="140"/>
                      <a:pt x="148" y="141"/>
                    </a:cubicBezTo>
                    <a:cubicBezTo>
                      <a:pt x="148" y="141"/>
                      <a:pt x="148" y="142"/>
                      <a:pt x="148" y="142"/>
                    </a:cubicBezTo>
                    <a:cubicBezTo>
                      <a:pt x="148" y="142"/>
                      <a:pt x="147" y="143"/>
                      <a:pt x="147" y="143"/>
                    </a:cubicBezTo>
                    <a:cubicBezTo>
                      <a:pt x="147" y="143"/>
                      <a:pt x="147" y="144"/>
                      <a:pt x="147" y="145"/>
                    </a:cubicBezTo>
                    <a:cubicBezTo>
                      <a:pt x="149" y="145"/>
                      <a:pt x="151" y="145"/>
                      <a:pt x="152" y="147"/>
                    </a:cubicBezTo>
                    <a:cubicBezTo>
                      <a:pt x="153" y="149"/>
                      <a:pt x="153" y="152"/>
                      <a:pt x="153" y="154"/>
                    </a:cubicBezTo>
                    <a:cubicBezTo>
                      <a:pt x="154" y="156"/>
                      <a:pt x="157" y="156"/>
                      <a:pt x="158" y="156"/>
                    </a:cubicBezTo>
                    <a:cubicBezTo>
                      <a:pt x="161" y="157"/>
                      <a:pt x="162" y="156"/>
                      <a:pt x="163" y="153"/>
                    </a:cubicBezTo>
                    <a:cubicBezTo>
                      <a:pt x="163" y="152"/>
                      <a:pt x="164" y="151"/>
                      <a:pt x="162" y="150"/>
                    </a:cubicBezTo>
                    <a:cubicBezTo>
                      <a:pt x="162" y="149"/>
                      <a:pt x="161" y="149"/>
                      <a:pt x="160" y="148"/>
                    </a:cubicBezTo>
                    <a:cubicBezTo>
                      <a:pt x="160" y="148"/>
                      <a:pt x="158" y="148"/>
                      <a:pt x="157" y="147"/>
                    </a:cubicBezTo>
                    <a:cubicBezTo>
                      <a:pt x="157" y="147"/>
                      <a:pt x="157" y="144"/>
                      <a:pt x="157" y="143"/>
                    </a:cubicBezTo>
                    <a:cubicBezTo>
                      <a:pt x="158" y="143"/>
                      <a:pt x="159" y="142"/>
                      <a:pt x="159" y="141"/>
                    </a:cubicBezTo>
                    <a:cubicBezTo>
                      <a:pt x="160" y="140"/>
                      <a:pt x="160" y="140"/>
                      <a:pt x="160" y="139"/>
                    </a:cubicBezTo>
                    <a:cubicBezTo>
                      <a:pt x="161" y="137"/>
                      <a:pt x="163" y="136"/>
                      <a:pt x="163" y="134"/>
                    </a:cubicBezTo>
                    <a:cubicBezTo>
                      <a:pt x="164" y="132"/>
                      <a:pt x="164" y="130"/>
                      <a:pt x="166" y="129"/>
                    </a:cubicBezTo>
                    <a:cubicBezTo>
                      <a:pt x="168" y="128"/>
                      <a:pt x="169" y="127"/>
                      <a:pt x="171" y="126"/>
                    </a:cubicBezTo>
                    <a:cubicBezTo>
                      <a:pt x="171" y="125"/>
                      <a:pt x="171" y="125"/>
                      <a:pt x="172" y="124"/>
                    </a:cubicBezTo>
                    <a:cubicBezTo>
                      <a:pt x="173" y="123"/>
                      <a:pt x="174" y="122"/>
                      <a:pt x="174" y="121"/>
                    </a:cubicBezTo>
                    <a:cubicBezTo>
                      <a:pt x="175" y="120"/>
                      <a:pt x="175" y="118"/>
                      <a:pt x="175" y="117"/>
                    </a:cubicBezTo>
                    <a:cubicBezTo>
                      <a:pt x="174" y="116"/>
                      <a:pt x="174" y="115"/>
                      <a:pt x="173" y="114"/>
                    </a:cubicBezTo>
                    <a:cubicBezTo>
                      <a:pt x="172" y="113"/>
                      <a:pt x="171" y="110"/>
                      <a:pt x="172" y="108"/>
                    </a:cubicBezTo>
                    <a:cubicBezTo>
                      <a:pt x="172" y="108"/>
                      <a:pt x="173" y="107"/>
                      <a:pt x="173" y="106"/>
                    </a:cubicBezTo>
                    <a:cubicBezTo>
                      <a:pt x="174" y="106"/>
                      <a:pt x="175" y="105"/>
                      <a:pt x="175" y="105"/>
                    </a:cubicBezTo>
                    <a:cubicBezTo>
                      <a:pt x="176" y="104"/>
                      <a:pt x="180" y="104"/>
                      <a:pt x="181" y="105"/>
                    </a:cubicBezTo>
                    <a:cubicBezTo>
                      <a:pt x="181" y="105"/>
                      <a:pt x="183" y="107"/>
                      <a:pt x="183" y="107"/>
                    </a:cubicBezTo>
                    <a:cubicBezTo>
                      <a:pt x="184" y="109"/>
                      <a:pt x="184" y="110"/>
                      <a:pt x="185" y="111"/>
                    </a:cubicBezTo>
                    <a:cubicBezTo>
                      <a:pt x="185" y="112"/>
                      <a:pt x="185" y="114"/>
                      <a:pt x="185" y="115"/>
                    </a:cubicBezTo>
                    <a:cubicBezTo>
                      <a:pt x="186" y="117"/>
                      <a:pt x="187" y="117"/>
                      <a:pt x="189" y="117"/>
                    </a:cubicBezTo>
                    <a:cubicBezTo>
                      <a:pt x="190" y="118"/>
                      <a:pt x="192" y="119"/>
                      <a:pt x="194" y="119"/>
                    </a:cubicBezTo>
                    <a:cubicBezTo>
                      <a:pt x="195" y="118"/>
                      <a:pt x="195" y="118"/>
                      <a:pt x="196" y="118"/>
                    </a:cubicBezTo>
                    <a:cubicBezTo>
                      <a:pt x="197" y="118"/>
                      <a:pt x="198" y="118"/>
                      <a:pt x="198" y="118"/>
                    </a:cubicBezTo>
                    <a:cubicBezTo>
                      <a:pt x="199" y="117"/>
                      <a:pt x="199" y="116"/>
                      <a:pt x="200" y="116"/>
                    </a:cubicBezTo>
                    <a:cubicBezTo>
                      <a:pt x="201" y="115"/>
                      <a:pt x="202" y="115"/>
                      <a:pt x="203" y="115"/>
                    </a:cubicBezTo>
                    <a:cubicBezTo>
                      <a:pt x="205" y="115"/>
                      <a:pt x="207" y="115"/>
                      <a:pt x="209" y="115"/>
                    </a:cubicBezTo>
                    <a:cubicBezTo>
                      <a:pt x="210" y="115"/>
                      <a:pt x="212" y="114"/>
                      <a:pt x="213" y="115"/>
                    </a:cubicBezTo>
                    <a:cubicBezTo>
                      <a:pt x="214" y="115"/>
                      <a:pt x="214" y="118"/>
                      <a:pt x="214" y="118"/>
                    </a:cubicBezTo>
                    <a:cubicBezTo>
                      <a:pt x="215" y="119"/>
                      <a:pt x="215" y="120"/>
                      <a:pt x="216" y="121"/>
                    </a:cubicBezTo>
                    <a:cubicBezTo>
                      <a:pt x="218" y="122"/>
                      <a:pt x="220" y="123"/>
                      <a:pt x="223" y="123"/>
                    </a:cubicBezTo>
                    <a:cubicBezTo>
                      <a:pt x="223" y="121"/>
                      <a:pt x="222" y="120"/>
                      <a:pt x="221" y="118"/>
                    </a:cubicBezTo>
                    <a:cubicBezTo>
                      <a:pt x="221" y="117"/>
                      <a:pt x="220" y="117"/>
                      <a:pt x="220" y="116"/>
                    </a:cubicBezTo>
                    <a:cubicBezTo>
                      <a:pt x="221" y="115"/>
                      <a:pt x="221" y="115"/>
                      <a:pt x="222" y="114"/>
                    </a:cubicBezTo>
                    <a:cubicBezTo>
                      <a:pt x="222" y="113"/>
                      <a:pt x="224" y="110"/>
                      <a:pt x="222" y="109"/>
                    </a:cubicBezTo>
                    <a:cubicBezTo>
                      <a:pt x="221" y="108"/>
                      <a:pt x="219" y="109"/>
                      <a:pt x="217" y="109"/>
                    </a:cubicBezTo>
                    <a:cubicBezTo>
                      <a:pt x="217" y="107"/>
                      <a:pt x="217" y="105"/>
                      <a:pt x="217" y="104"/>
                    </a:cubicBezTo>
                    <a:cubicBezTo>
                      <a:pt x="217" y="102"/>
                      <a:pt x="217" y="101"/>
                      <a:pt x="218" y="99"/>
                    </a:cubicBezTo>
                    <a:cubicBezTo>
                      <a:pt x="218" y="98"/>
                      <a:pt x="219" y="97"/>
                      <a:pt x="220" y="97"/>
                    </a:cubicBezTo>
                    <a:cubicBezTo>
                      <a:pt x="222" y="96"/>
                      <a:pt x="223" y="96"/>
                      <a:pt x="224" y="95"/>
                    </a:cubicBezTo>
                    <a:cubicBezTo>
                      <a:pt x="225" y="95"/>
                      <a:pt x="225" y="94"/>
                      <a:pt x="226" y="94"/>
                    </a:cubicBezTo>
                    <a:cubicBezTo>
                      <a:pt x="229" y="94"/>
                      <a:pt x="229" y="97"/>
                      <a:pt x="231" y="98"/>
                    </a:cubicBezTo>
                    <a:cubicBezTo>
                      <a:pt x="232" y="99"/>
                      <a:pt x="234" y="99"/>
                      <a:pt x="236" y="98"/>
                    </a:cubicBezTo>
                    <a:cubicBezTo>
                      <a:pt x="237" y="98"/>
                      <a:pt x="239" y="97"/>
                      <a:pt x="240" y="97"/>
                    </a:cubicBezTo>
                    <a:cubicBezTo>
                      <a:pt x="240" y="96"/>
                      <a:pt x="241" y="93"/>
                      <a:pt x="241" y="93"/>
                    </a:cubicBezTo>
                    <a:cubicBezTo>
                      <a:pt x="240" y="92"/>
                      <a:pt x="239" y="92"/>
                      <a:pt x="239" y="92"/>
                    </a:cubicBezTo>
                    <a:cubicBezTo>
                      <a:pt x="238" y="92"/>
                      <a:pt x="238" y="91"/>
                      <a:pt x="238" y="91"/>
                    </a:cubicBezTo>
                    <a:cubicBezTo>
                      <a:pt x="237" y="90"/>
                      <a:pt x="236" y="90"/>
                      <a:pt x="236" y="89"/>
                    </a:cubicBezTo>
                    <a:cubicBezTo>
                      <a:pt x="235" y="85"/>
                      <a:pt x="237" y="84"/>
                      <a:pt x="239" y="82"/>
                    </a:cubicBezTo>
                    <a:cubicBezTo>
                      <a:pt x="240" y="80"/>
                      <a:pt x="240" y="78"/>
                      <a:pt x="241" y="77"/>
                    </a:cubicBezTo>
                    <a:cubicBezTo>
                      <a:pt x="242" y="74"/>
                      <a:pt x="241" y="73"/>
                      <a:pt x="240" y="7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3" name="Line 12">
                <a:extLst>
                  <a:ext uri="{FF2B5EF4-FFF2-40B4-BE49-F238E27FC236}">
                    <a16:creationId xmlns:a16="http://schemas.microsoft.com/office/drawing/2014/main" id="{7AB19FA1-C037-4021-B244-2C588BC327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22738" y="4822825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4" name="Line 13">
                <a:extLst>
                  <a:ext uri="{FF2B5EF4-FFF2-40B4-BE49-F238E27FC236}">
                    <a16:creationId xmlns:a16="http://schemas.microsoft.com/office/drawing/2014/main" id="{0BFF594E-D206-44B8-9CB2-2F59F7C68F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22738" y="4822825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2F3E7CFA-470D-4953-8F06-B88B3B1C6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3725" y="4695825"/>
                <a:ext cx="779463" cy="398463"/>
              </a:xfrm>
              <a:custGeom>
                <a:avLst/>
                <a:gdLst/>
                <a:ahLst/>
                <a:cxnLst>
                  <a:cxn ang="0">
                    <a:pos x="412" y="70"/>
                  </a:cxn>
                  <a:cxn ang="0">
                    <a:pos x="405" y="46"/>
                  </a:cxn>
                  <a:cxn ang="0">
                    <a:pos x="411" y="26"/>
                  </a:cxn>
                  <a:cxn ang="0">
                    <a:pos x="395" y="20"/>
                  </a:cxn>
                  <a:cxn ang="0">
                    <a:pos x="370" y="21"/>
                  </a:cxn>
                  <a:cxn ang="0">
                    <a:pos x="347" y="12"/>
                  </a:cxn>
                  <a:cxn ang="0">
                    <a:pos x="321" y="1"/>
                  </a:cxn>
                  <a:cxn ang="0">
                    <a:pos x="305" y="8"/>
                  </a:cxn>
                  <a:cxn ang="0">
                    <a:pos x="294" y="24"/>
                  </a:cxn>
                  <a:cxn ang="0">
                    <a:pos x="282" y="33"/>
                  </a:cxn>
                  <a:cxn ang="0">
                    <a:pos x="266" y="35"/>
                  </a:cxn>
                  <a:cxn ang="0">
                    <a:pos x="254" y="26"/>
                  </a:cxn>
                  <a:cxn ang="0">
                    <a:pos x="245" y="21"/>
                  </a:cxn>
                  <a:cxn ang="0">
                    <a:pos x="241" y="37"/>
                  </a:cxn>
                  <a:cxn ang="0">
                    <a:pos x="224" y="43"/>
                  </a:cxn>
                  <a:cxn ang="0">
                    <a:pos x="222" y="53"/>
                  </a:cxn>
                  <a:cxn ang="0">
                    <a:pos x="191" y="65"/>
                  </a:cxn>
                  <a:cxn ang="0">
                    <a:pos x="187" y="83"/>
                  </a:cxn>
                  <a:cxn ang="0">
                    <a:pos x="196" y="93"/>
                  </a:cxn>
                  <a:cxn ang="0">
                    <a:pos x="193" y="108"/>
                  </a:cxn>
                  <a:cxn ang="0">
                    <a:pos x="192" y="124"/>
                  </a:cxn>
                  <a:cxn ang="0">
                    <a:pos x="179" y="112"/>
                  </a:cxn>
                  <a:cxn ang="0">
                    <a:pos x="151" y="111"/>
                  </a:cxn>
                  <a:cxn ang="0">
                    <a:pos x="129" y="118"/>
                  </a:cxn>
                  <a:cxn ang="0">
                    <a:pos x="108" y="132"/>
                  </a:cxn>
                  <a:cxn ang="0">
                    <a:pos x="79" y="128"/>
                  </a:cxn>
                  <a:cxn ang="0">
                    <a:pos x="56" y="138"/>
                  </a:cxn>
                  <a:cxn ang="0">
                    <a:pos x="38" y="130"/>
                  </a:cxn>
                  <a:cxn ang="0">
                    <a:pos x="14" y="124"/>
                  </a:cxn>
                  <a:cxn ang="0">
                    <a:pos x="12" y="141"/>
                  </a:cxn>
                  <a:cxn ang="0">
                    <a:pos x="5" y="154"/>
                  </a:cxn>
                  <a:cxn ang="0">
                    <a:pos x="16" y="164"/>
                  </a:cxn>
                  <a:cxn ang="0">
                    <a:pos x="30" y="173"/>
                  </a:cxn>
                  <a:cxn ang="0">
                    <a:pos x="51" y="166"/>
                  </a:cxn>
                  <a:cxn ang="0">
                    <a:pos x="70" y="178"/>
                  </a:cxn>
                  <a:cxn ang="0">
                    <a:pos x="82" y="185"/>
                  </a:cxn>
                  <a:cxn ang="0">
                    <a:pos x="95" y="168"/>
                  </a:cxn>
                  <a:cxn ang="0">
                    <a:pos x="127" y="167"/>
                  </a:cxn>
                  <a:cxn ang="0">
                    <a:pos x="147" y="165"/>
                  </a:cxn>
                  <a:cxn ang="0">
                    <a:pos x="160" y="186"/>
                  </a:cxn>
                  <a:cxn ang="0">
                    <a:pos x="197" y="198"/>
                  </a:cxn>
                  <a:cxn ang="0">
                    <a:pos x="236" y="203"/>
                  </a:cxn>
                  <a:cxn ang="0">
                    <a:pos x="254" y="208"/>
                  </a:cxn>
                  <a:cxn ang="0">
                    <a:pos x="276" y="213"/>
                  </a:cxn>
                  <a:cxn ang="0">
                    <a:pos x="289" y="200"/>
                  </a:cxn>
                  <a:cxn ang="0">
                    <a:pos x="312" y="193"/>
                  </a:cxn>
                  <a:cxn ang="0">
                    <a:pos x="330" y="187"/>
                  </a:cxn>
                  <a:cxn ang="0">
                    <a:pos x="352" y="187"/>
                  </a:cxn>
                  <a:cxn ang="0">
                    <a:pos x="368" y="166"/>
                  </a:cxn>
                  <a:cxn ang="0">
                    <a:pos x="380" y="154"/>
                  </a:cxn>
                  <a:cxn ang="0">
                    <a:pos x="381" y="141"/>
                  </a:cxn>
                  <a:cxn ang="0">
                    <a:pos x="388" y="124"/>
                  </a:cxn>
                  <a:cxn ang="0">
                    <a:pos x="383" y="112"/>
                  </a:cxn>
                  <a:cxn ang="0">
                    <a:pos x="395" y="108"/>
                  </a:cxn>
                  <a:cxn ang="0">
                    <a:pos x="410" y="96"/>
                  </a:cxn>
                </a:cxnLst>
                <a:rect l="0" t="0" r="r" b="b"/>
                <a:pathLst>
                  <a:path w="417" h="213">
                    <a:moveTo>
                      <a:pt x="416" y="79"/>
                    </a:moveTo>
                    <a:cubicBezTo>
                      <a:pt x="415" y="77"/>
                      <a:pt x="415" y="76"/>
                      <a:pt x="415" y="75"/>
                    </a:cubicBezTo>
                    <a:cubicBezTo>
                      <a:pt x="415" y="75"/>
                      <a:pt x="414" y="75"/>
                      <a:pt x="414" y="74"/>
                    </a:cubicBezTo>
                    <a:cubicBezTo>
                      <a:pt x="414" y="74"/>
                      <a:pt x="414" y="74"/>
                      <a:pt x="414" y="73"/>
                    </a:cubicBezTo>
                    <a:cubicBezTo>
                      <a:pt x="414" y="73"/>
                      <a:pt x="414" y="72"/>
                      <a:pt x="413" y="71"/>
                    </a:cubicBezTo>
                    <a:cubicBezTo>
                      <a:pt x="413" y="71"/>
                      <a:pt x="412" y="71"/>
                      <a:pt x="412" y="70"/>
                    </a:cubicBezTo>
                    <a:cubicBezTo>
                      <a:pt x="411" y="69"/>
                      <a:pt x="410" y="67"/>
                      <a:pt x="410" y="66"/>
                    </a:cubicBezTo>
                    <a:cubicBezTo>
                      <a:pt x="409" y="63"/>
                      <a:pt x="410" y="60"/>
                      <a:pt x="409" y="57"/>
                    </a:cubicBezTo>
                    <a:cubicBezTo>
                      <a:pt x="409" y="56"/>
                      <a:pt x="409" y="55"/>
                      <a:pt x="408" y="54"/>
                    </a:cubicBezTo>
                    <a:cubicBezTo>
                      <a:pt x="408" y="54"/>
                      <a:pt x="407" y="53"/>
                      <a:pt x="406" y="53"/>
                    </a:cubicBezTo>
                    <a:cubicBezTo>
                      <a:pt x="406" y="52"/>
                      <a:pt x="405" y="50"/>
                      <a:pt x="405" y="49"/>
                    </a:cubicBezTo>
                    <a:cubicBezTo>
                      <a:pt x="404" y="48"/>
                      <a:pt x="405" y="47"/>
                      <a:pt x="405" y="46"/>
                    </a:cubicBezTo>
                    <a:cubicBezTo>
                      <a:pt x="406" y="44"/>
                      <a:pt x="407" y="42"/>
                      <a:pt x="408" y="41"/>
                    </a:cubicBezTo>
                    <a:cubicBezTo>
                      <a:pt x="409" y="40"/>
                      <a:pt x="410" y="39"/>
                      <a:pt x="410" y="38"/>
                    </a:cubicBezTo>
                    <a:cubicBezTo>
                      <a:pt x="411" y="37"/>
                      <a:pt x="412" y="35"/>
                      <a:pt x="412" y="33"/>
                    </a:cubicBezTo>
                    <a:cubicBezTo>
                      <a:pt x="412" y="32"/>
                      <a:pt x="412" y="30"/>
                      <a:pt x="412" y="29"/>
                    </a:cubicBezTo>
                    <a:cubicBezTo>
                      <a:pt x="412" y="28"/>
                      <a:pt x="411" y="27"/>
                      <a:pt x="411" y="26"/>
                    </a:cubicBezTo>
                    <a:cubicBezTo>
                      <a:pt x="411" y="26"/>
                      <a:pt x="411" y="26"/>
                      <a:pt x="411" y="26"/>
                    </a:cubicBezTo>
                    <a:cubicBezTo>
                      <a:pt x="411" y="26"/>
                      <a:pt x="411" y="26"/>
                      <a:pt x="410" y="26"/>
                    </a:cubicBezTo>
                    <a:cubicBezTo>
                      <a:pt x="410" y="26"/>
                      <a:pt x="410" y="25"/>
                      <a:pt x="409" y="25"/>
                    </a:cubicBezTo>
                    <a:cubicBezTo>
                      <a:pt x="409" y="25"/>
                      <a:pt x="409" y="24"/>
                      <a:pt x="408" y="24"/>
                    </a:cubicBezTo>
                    <a:cubicBezTo>
                      <a:pt x="407" y="23"/>
                      <a:pt x="405" y="23"/>
                      <a:pt x="404" y="23"/>
                    </a:cubicBezTo>
                    <a:cubicBezTo>
                      <a:pt x="402" y="23"/>
                      <a:pt x="396" y="25"/>
                      <a:pt x="395" y="22"/>
                    </a:cubicBezTo>
                    <a:cubicBezTo>
                      <a:pt x="395" y="22"/>
                      <a:pt x="395" y="21"/>
                      <a:pt x="395" y="20"/>
                    </a:cubicBezTo>
                    <a:cubicBezTo>
                      <a:pt x="394" y="19"/>
                      <a:pt x="394" y="19"/>
                      <a:pt x="393" y="18"/>
                    </a:cubicBezTo>
                    <a:cubicBezTo>
                      <a:pt x="392" y="17"/>
                      <a:pt x="390" y="18"/>
                      <a:pt x="389" y="16"/>
                    </a:cubicBezTo>
                    <a:cubicBezTo>
                      <a:pt x="388" y="15"/>
                      <a:pt x="387" y="14"/>
                      <a:pt x="385" y="15"/>
                    </a:cubicBezTo>
                    <a:cubicBezTo>
                      <a:pt x="383" y="15"/>
                      <a:pt x="384" y="17"/>
                      <a:pt x="383" y="19"/>
                    </a:cubicBezTo>
                    <a:cubicBezTo>
                      <a:pt x="382" y="20"/>
                      <a:pt x="380" y="21"/>
                      <a:pt x="379" y="21"/>
                    </a:cubicBezTo>
                    <a:cubicBezTo>
                      <a:pt x="376" y="22"/>
                      <a:pt x="373" y="21"/>
                      <a:pt x="370" y="21"/>
                    </a:cubicBezTo>
                    <a:cubicBezTo>
                      <a:pt x="368" y="21"/>
                      <a:pt x="367" y="21"/>
                      <a:pt x="365" y="20"/>
                    </a:cubicBezTo>
                    <a:cubicBezTo>
                      <a:pt x="362" y="19"/>
                      <a:pt x="359" y="18"/>
                      <a:pt x="357" y="17"/>
                    </a:cubicBezTo>
                    <a:cubicBezTo>
                      <a:pt x="355" y="16"/>
                      <a:pt x="356" y="14"/>
                      <a:pt x="355" y="13"/>
                    </a:cubicBezTo>
                    <a:cubicBezTo>
                      <a:pt x="354" y="11"/>
                      <a:pt x="353" y="10"/>
                      <a:pt x="351" y="11"/>
                    </a:cubicBezTo>
                    <a:cubicBezTo>
                      <a:pt x="350" y="11"/>
                      <a:pt x="350" y="11"/>
                      <a:pt x="349" y="12"/>
                    </a:cubicBezTo>
                    <a:cubicBezTo>
                      <a:pt x="348" y="12"/>
                      <a:pt x="347" y="12"/>
                      <a:pt x="347" y="12"/>
                    </a:cubicBezTo>
                    <a:cubicBezTo>
                      <a:pt x="345" y="12"/>
                      <a:pt x="343" y="12"/>
                      <a:pt x="342" y="12"/>
                    </a:cubicBezTo>
                    <a:cubicBezTo>
                      <a:pt x="341" y="11"/>
                      <a:pt x="341" y="10"/>
                      <a:pt x="340" y="9"/>
                    </a:cubicBezTo>
                    <a:cubicBezTo>
                      <a:pt x="338" y="7"/>
                      <a:pt x="334" y="6"/>
                      <a:pt x="332" y="5"/>
                    </a:cubicBezTo>
                    <a:cubicBezTo>
                      <a:pt x="330" y="4"/>
                      <a:pt x="329" y="4"/>
                      <a:pt x="327" y="3"/>
                    </a:cubicBezTo>
                    <a:cubicBezTo>
                      <a:pt x="327" y="3"/>
                      <a:pt x="326" y="2"/>
                      <a:pt x="326" y="2"/>
                    </a:cubicBezTo>
                    <a:cubicBezTo>
                      <a:pt x="326" y="0"/>
                      <a:pt x="322" y="0"/>
                      <a:pt x="321" y="1"/>
                    </a:cubicBezTo>
                    <a:cubicBezTo>
                      <a:pt x="321" y="2"/>
                      <a:pt x="322" y="4"/>
                      <a:pt x="320" y="4"/>
                    </a:cubicBezTo>
                    <a:cubicBezTo>
                      <a:pt x="318" y="5"/>
                      <a:pt x="316" y="5"/>
                      <a:pt x="314" y="3"/>
                    </a:cubicBezTo>
                    <a:cubicBezTo>
                      <a:pt x="313" y="2"/>
                      <a:pt x="314" y="0"/>
                      <a:pt x="312" y="0"/>
                    </a:cubicBezTo>
                    <a:cubicBezTo>
                      <a:pt x="311" y="0"/>
                      <a:pt x="310" y="0"/>
                      <a:pt x="309" y="0"/>
                    </a:cubicBezTo>
                    <a:cubicBezTo>
                      <a:pt x="308" y="0"/>
                      <a:pt x="308" y="0"/>
                      <a:pt x="308" y="1"/>
                    </a:cubicBezTo>
                    <a:cubicBezTo>
                      <a:pt x="307" y="3"/>
                      <a:pt x="305" y="5"/>
                      <a:pt x="305" y="8"/>
                    </a:cubicBezTo>
                    <a:cubicBezTo>
                      <a:pt x="305" y="9"/>
                      <a:pt x="304" y="11"/>
                      <a:pt x="305" y="13"/>
                    </a:cubicBezTo>
                    <a:cubicBezTo>
                      <a:pt x="305" y="15"/>
                      <a:pt x="306" y="16"/>
                      <a:pt x="306" y="17"/>
                    </a:cubicBezTo>
                    <a:cubicBezTo>
                      <a:pt x="305" y="19"/>
                      <a:pt x="303" y="19"/>
                      <a:pt x="302" y="18"/>
                    </a:cubicBezTo>
                    <a:cubicBezTo>
                      <a:pt x="300" y="17"/>
                      <a:pt x="298" y="17"/>
                      <a:pt x="297" y="18"/>
                    </a:cubicBezTo>
                    <a:cubicBezTo>
                      <a:pt x="297" y="18"/>
                      <a:pt x="297" y="20"/>
                      <a:pt x="296" y="20"/>
                    </a:cubicBezTo>
                    <a:cubicBezTo>
                      <a:pt x="296" y="22"/>
                      <a:pt x="294" y="22"/>
                      <a:pt x="294" y="24"/>
                    </a:cubicBezTo>
                    <a:cubicBezTo>
                      <a:pt x="293" y="27"/>
                      <a:pt x="293" y="30"/>
                      <a:pt x="291" y="32"/>
                    </a:cubicBezTo>
                    <a:cubicBezTo>
                      <a:pt x="290" y="33"/>
                      <a:pt x="289" y="34"/>
                      <a:pt x="288" y="34"/>
                    </a:cubicBezTo>
                    <a:cubicBezTo>
                      <a:pt x="287" y="34"/>
                      <a:pt x="286" y="34"/>
                      <a:pt x="286" y="34"/>
                    </a:cubicBezTo>
                    <a:cubicBezTo>
                      <a:pt x="285" y="34"/>
                      <a:pt x="284" y="35"/>
                      <a:pt x="284" y="34"/>
                    </a:cubicBezTo>
                    <a:cubicBezTo>
                      <a:pt x="283" y="34"/>
                      <a:pt x="283" y="34"/>
                      <a:pt x="283" y="34"/>
                    </a:cubicBezTo>
                    <a:cubicBezTo>
                      <a:pt x="283" y="33"/>
                      <a:pt x="282" y="33"/>
                      <a:pt x="282" y="33"/>
                    </a:cubicBezTo>
                    <a:cubicBezTo>
                      <a:pt x="281" y="32"/>
                      <a:pt x="281" y="32"/>
                      <a:pt x="281" y="31"/>
                    </a:cubicBezTo>
                    <a:cubicBezTo>
                      <a:pt x="280" y="30"/>
                      <a:pt x="279" y="29"/>
                      <a:pt x="278" y="29"/>
                    </a:cubicBezTo>
                    <a:cubicBezTo>
                      <a:pt x="275" y="29"/>
                      <a:pt x="275" y="33"/>
                      <a:pt x="274" y="34"/>
                    </a:cubicBezTo>
                    <a:cubicBezTo>
                      <a:pt x="274" y="34"/>
                      <a:pt x="273" y="34"/>
                      <a:pt x="272" y="34"/>
                    </a:cubicBezTo>
                    <a:cubicBezTo>
                      <a:pt x="271" y="34"/>
                      <a:pt x="270" y="35"/>
                      <a:pt x="269" y="35"/>
                    </a:cubicBezTo>
                    <a:cubicBezTo>
                      <a:pt x="268" y="35"/>
                      <a:pt x="267" y="35"/>
                      <a:pt x="266" y="35"/>
                    </a:cubicBezTo>
                    <a:cubicBezTo>
                      <a:pt x="265" y="35"/>
                      <a:pt x="264" y="35"/>
                      <a:pt x="263" y="35"/>
                    </a:cubicBezTo>
                    <a:cubicBezTo>
                      <a:pt x="263" y="35"/>
                      <a:pt x="263" y="35"/>
                      <a:pt x="262" y="35"/>
                    </a:cubicBezTo>
                    <a:cubicBezTo>
                      <a:pt x="261" y="34"/>
                      <a:pt x="260" y="35"/>
                      <a:pt x="259" y="34"/>
                    </a:cubicBezTo>
                    <a:cubicBezTo>
                      <a:pt x="259" y="34"/>
                      <a:pt x="257" y="33"/>
                      <a:pt x="257" y="32"/>
                    </a:cubicBezTo>
                    <a:cubicBezTo>
                      <a:pt x="256" y="31"/>
                      <a:pt x="256" y="30"/>
                      <a:pt x="256" y="29"/>
                    </a:cubicBezTo>
                    <a:cubicBezTo>
                      <a:pt x="256" y="28"/>
                      <a:pt x="256" y="26"/>
                      <a:pt x="254" y="26"/>
                    </a:cubicBezTo>
                    <a:cubicBezTo>
                      <a:pt x="254" y="25"/>
                      <a:pt x="253" y="24"/>
                      <a:pt x="252" y="23"/>
                    </a:cubicBezTo>
                    <a:cubicBezTo>
                      <a:pt x="252" y="23"/>
                      <a:pt x="251" y="22"/>
                      <a:pt x="250" y="21"/>
                    </a:cubicBezTo>
                    <a:cubicBezTo>
                      <a:pt x="249" y="20"/>
                      <a:pt x="247" y="20"/>
                      <a:pt x="246" y="19"/>
                    </a:cubicBezTo>
                    <a:cubicBezTo>
                      <a:pt x="245" y="19"/>
                      <a:pt x="245" y="18"/>
                      <a:pt x="244" y="18"/>
                    </a:cubicBezTo>
                    <a:cubicBezTo>
                      <a:pt x="244" y="19"/>
                      <a:pt x="244" y="19"/>
                      <a:pt x="244" y="19"/>
                    </a:cubicBezTo>
                    <a:cubicBezTo>
                      <a:pt x="244" y="20"/>
                      <a:pt x="245" y="21"/>
                      <a:pt x="245" y="21"/>
                    </a:cubicBezTo>
                    <a:cubicBezTo>
                      <a:pt x="245" y="21"/>
                      <a:pt x="244" y="21"/>
                      <a:pt x="244" y="22"/>
                    </a:cubicBezTo>
                    <a:cubicBezTo>
                      <a:pt x="244" y="22"/>
                      <a:pt x="244" y="23"/>
                      <a:pt x="244" y="24"/>
                    </a:cubicBezTo>
                    <a:cubicBezTo>
                      <a:pt x="244" y="25"/>
                      <a:pt x="243" y="25"/>
                      <a:pt x="243" y="26"/>
                    </a:cubicBezTo>
                    <a:cubicBezTo>
                      <a:pt x="243" y="27"/>
                      <a:pt x="243" y="29"/>
                      <a:pt x="243" y="30"/>
                    </a:cubicBezTo>
                    <a:cubicBezTo>
                      <a:pt x="243" y="32"/>
                      <a:pt x="242" y="33"/>
                      <a:pt x="242" y="34"/>
                    </a:cubicBezTo>
                    <a:cubicBezTo>
                      <a:pt x="242" y="35"/>
                      <a:pt x="242" y="36"/>
                      <a:pt x="241" y="37"/>
                    </a:cubicBezTo>
                    <a:cubicBezTo>
                      <a:pt x="241" y="38"/>
                      <a:pt x="240" y="40"/>
                      <a:pt x="239" y="41"/>
                    </a:cubicBezTo>
                    <a:cubicBezTo>
                      <a:pt x="238" y="42"/>
                      <a:pt x="232" y="41"/>
                      <a:pt x="231" y="40"/>
                    </a:cubicBezTo>
                    <a:cubicBezTo>
                      <a:pt x="230" y="39"/>
                      <a:pt x="230" y="38"/>
                      <a:pt x="229" y="38"/>
                    </a:cubicBezTo>
                    <a:cubicBezTo>
                      <a:pt x="228" y="38"/>
                      <a:pt x="227" y="38"/>
                      <a:pt x="226" y="38"/>
                    </a:cubicBezTo>
                    <a:cubicBezTo>
                      <a:pt x="226" y="38"/>
                      <a:pt x="225" y="40"/>
                      <a:pt x="225" y="41"/>
                    </a:cubicBezTo>
                    <a:cubicBezTo>
                      <a:pt x="224" y="41"/>
                      <a:pt x="224" y="42"/>
                      <a:pt x="224" y="43"/>
                    </a:cubicBezTo>
                    <a:cubicBezTo>
                      <a:pt x="223" y="44"/>
                      <a:pt x="224" y="45"/>
                      <a:pt x="224" y="46"/>
                    </a:cubicBezTo>
                    <a:cubicBezTo>
                      <a:pt x="223" y="46"/>
                      <a:pt x="223" y="47"/>
                      <a:pt x="223" y="48"/>
                    </a:cubicBezTo>
                    <a:cubicBezTo>
                      <a:pt x="223" y="48"/>
                      <a:pt x="223" y="48"/>
                      <a:pt x="223" y="47"/>
                    </a:cubicBezTo>
                    <a:cubicBezTo>
                      <a:pt x="223" y="48"/>
                      <a:pt x="223" y="49"/>
                      <a:pt x="223" y="50"/>
                    </a:cubicBezTo>
                    <a:cubicBezTo>
                      <a:pt x="222" y="50"/>
                      <a:pt x="222" y="51"/>
                      <a:pt x="222" y="52"/>
                    </a:cubicBezTo>
                    <a:cubicBezTo>
                      <a:pt x="222" y="52"/>
                      <a:pt x="222" y="53"/>
                      <a:pt x="222" y="53"/>
                    </a:cubicBezTo>
                    <a:cubicBezTo>
                      <a:pt x="222" y="54"/>
                      <a:pt x="222" y="54"/>
                      <a:pt x="221" y="55"/>
                    </a:cubicBezTo>
                    <a:cubicBezTo>
                      <a:pt x="221" y="56"/>
                      <a:pt x="220" y="56"/>
                      <a:pt x="219" y="57"/>
                    </a:cubicBezTo>
                    <a:cubicBezTo>
                      <a:pt x="216" y="59"/>
                      <a:pt x="212" y="59"/>
                      <a:pt x="208" y="59"/>
                    </a:cubicBezTo>
                    <a:cubicBezTo>
                      <a:pt x="206" y="59"/>
                      <a:pt x="204" y="60"/>
                      <a:pt x="202" y="61"/>
                    </a:cubicBezTo>
                    <a:cubicBezTo>
                      <a:pt x="200" y="62"/>
                      <a:pt x="198" y="63"/>
                      <a:pt x="196" y="63"/>
                    </a:cubicBezTo>
                    <a:cubicBezTo>
                      <a:pt x="194" y="63"/>
                      <a:pt x="192" y="64"/>
                      <a:pt x="191" y="65"/>
                    </a:cubicBezTo>
                    <a:cubicBezTo>
                      <a:pt x="190" y="66"/>
                      <a:pt x="189" y="67"/>
                      <a:pt x="189" y="67"/>
                    </a:cubicBezTo>
                    <a:cubicBezTo>
                      <a:pt x="188" y="68"/>
                      <a:pt x="187" y="68"/>
                      <a:pt x="186" y="68"/>
                    </a:cubicBezTo>
                    <a:cubicBezTo>
                      <a:pt x="185" y="69"/>
                      <a:pt x="186" y="70"/>
                      <a:pt x="186" y="71"/>
                    </a:cubicBezTo>
                    <a:cubicBezTo>
                      <a:pt x="186" y="72"/>
                      <a:pt x="186" y="73"/>
                      <a:pt x="186" y="74"/>
                    </a:cubicBezTo>
                    <a:cubicBezTo>
                      <a:pt x="186" y="74"/>
                      <a:pt x="186" y="74"/>
                      <a:pt x="187" y="75"/>
                    </a:cubicBezTo>
                    <a:cubicBezTo>
                      <a:pt x="187" y="77"/>
                      <a:pt x="187" y="80"/>
                      <a:pt x="187" y="83"/>
                    </a:cubicBezTo>
                    <a:cubicBezTo>
                      <a:pt x="187" y="84"/>
                      <a:pt x="188" y="85"/>
                      <a:pt x="188" y="85"/>
                    </a:cubicBezTo>
                    <a:cubicBezTo>
                      <a:pt x="189" y="86"/>
                      <a:pt x="189" y="86"/>
                      <a:pt x="189" y="86"/>
                    </a:cubicBezTo>
                    <a:cubicBezTo>
                      <a:pt x="190" y="87"/>
                      <a:pt x="190" y="88"/>
                      <a:pt x="190" y="88"/>
                    </a:cubicBezTo>
                    <a:cubicBezTo>
                      <a:pt x="190" y="88"/>
                      <a:pt x="191" y="88"/>
                      <a:pt x="192" y="89"/>
                    </a:cubicBezTo>
                    <a:cubicBezTo>
                      <a:pt x="192" y="89"/>
                      <a:pt x="193" y="90"/>
                      <a:pt x="193" y="90"/>
                    </a:cubicBezTo>
                    <a:cubicBezTo>
                      <a:pt x="194" y="91"/>
                      <a:pt x="195" y="92"/>
                      <a:pt x="196" y="93"/>
                    </a:cubicBezTo>
                    <a:cubicBezTo>
                      <a:pt x="197" y="94"/>
                      <a:pt x="196" y="96"/>
                      <a:pt x="196" y="98"/>
                    </a:cubicBezTo>
                    <a:cubicBezTo>
                      <a:pt x="195" y="99"/>
                      <a:pt x="195" y="100"/>
                      <a:pt x="194" y="100"/>
                    </a:cubicBezTo>
                    <a:cubicBezTo>
                      <a:pt x="193" y="101"/>
                      <a:pt x="192" y="101"/>
                      <a:pt x="192" y="102"/>
                    </a:cubicBezTo>
                    <a:cubicBezTo>
                      <a:pt x="192" y="103"/>
                      <a:pt x="191" y="104"/>
                      <a:pt x="191" y="105"/>
                    </a:cubicBezTo>
                    <a:cubicBezTo>
                      <a:pt x="191" y="105"/>
                      <a:pt x="192" y="105"/>
                      <a:pt x="192" y="106"/>
                    </a:cubicBezTo>
                    <a:cubicBezTo>
                      <a:pt x="192" y="107"/>
                      <a:pt x="192" y="107"/>
                      <a:pt x="193" y="108"/>
                    </a:cubicBezTo>
                    <a:cubicBezTo>
                      <a:pt x="195" y="110"/>
                      <a:pt x="197" y="110"/>
                      <a:pt x="199" y="111"/>
                    </a:cubicBezTo>
                    <a:cubicBezTo>
                      <a:pt x="202" y="112"/>
                      <a:pt x="200" y="115"/>
                      <a:pt x="199" y="116"/>
                    </a:cubicBezTo>
                    <a:cubicBezTo>
                      <a:pt x="199" y="117"/>
                      <a:pt x="199" y="118"/>
                      <a:pt x="199" y="119"/>
                    </a:cubicBezTo>
                    <a:cubicBezTo>
                      <a:pt x="199" y="120"/>
                      <a:pt x="199" y="121"/>
                      <a:pt x="198" y="122"/>
                    </a:cubicBezTo>
                    <a:cubicBezTo>
                      <a:pt x="197" y="123"/>
                      <a:pt x="197" y="123"/>
                      <a:pt x="196" y="124"/>
                    </a:cubicBezTo>
                    <a:cubicBezTo>
                      <a:pt x="195" y="124"/>
                      <a:pt x="193" y="124"/>
                      <a:pt x="192" y="124"/>
                    </a:cubicBezTo>
                    <a:cubicBezTo>
                      <a:pt x="191" y="124"/>
                      <a:pt x="191" y="123"/>
                      <a:pt x="190" y="123"/>
                    </a:cubicBezTo>
                    <a:cubicBezTo>
                      <a:pt x="189" y="123"/>
                      <a:pt x="187" y="124"/>
                      <a:pt x="186" y="122"/>
                    </a:cubicBezTo>
                    <a:cubicBezTo>
                      <a:pt x="186" y="122"/>
                      <a:pt x="186" y="121"/>
                      <a:pt x="186" y="121"/>
                    </a:cubicBezTo>
                    <a:cubicBezTo>
                      <a:pt x="186" y="120"/>
                      <a:pt x="185" y="118"/>
                      <a:pt x="184" y="117"/>
                    </a:cubicBezTo>
                    <a:cubicBezTo>
                      <a:pt x="183" y="116"/>
                      <a:pt x="182" y="114"/>
                      <a:pt x="181" y="113"/>
                    </a:cubicBezTo>
                    <a:cubicBezTo>
                      <a:pt x="180" y="113"/>
                      <a:pt x="181" y="113"/>
                      <a:pt x="179" y="112"/>
                    </a:cubicBezTo>
                    <a:cubicBezTo>
                      <a:pt x="177" y="112"/>
                      <a:pt x="175" y="114"/>
                      <a:pt x="172" y="114"/>
                    </a:cubicBezTo>
                    <a:cubicBezTo>
                      <a:pt x="171" y="114"/>
                      <a:pt x="168" y="115"/>
                      <a:pt x="167" y="114"/>
                    </a:cubicBezTo>
                    <a:cubicBezTo>
                      <a:pt x="166" y="113"/>
                      <a:pt x="166" y="112"/>
                      <a:pt x="165" y="111"/>
                    </a:cubicBezTo>
                    <a:cubicBezTo>
                      <a:pt x="164" y="111"/>
                      <a:pt x="161" y="110"/>
                      <a:pt x="160" y="110"/>
                    </a:cubicBezTo>
                    <a:cubicBezTo>
                      <a:pt x="158" y="110"/>
                      <a:pt x="156" y="110"/>
                      <a:pt x="154" y="110"/>
                    </a:cubicBezTo>
                    <a:cubicBezTo>
                      <a:pt x="153" y="110"/>
                      <a:pt x="151" y="110"/>
                      <a:pt x="151" y="111"/>
                    </a:cubicBezTo>
                    <a:cubicBezTo>
                      <a:pt x="150" y="114"/>
                      <a:pt x="156" y="116"/>
                      <a:pt x="153" y="118"/>
                    </a:cubicBezTo>
                    <a:cubicBezTo>
                      <a:pt x="152" y="118"/>
                      <a:pt x="152" y="118"/>
                      <a:pt x="151" y="118"/>
                    </a:cubicBezTo>
                    <a:cubicBezTo>
                      <a:pt x="150" y="118"/>
                      <a:pt x="149" y="118"/>
                      <a:pt x="149" y="119"/>
                    </a:cubicBezTo>
                    <a:cubicBezTo>
                      <a:pt x="148" y="119"/>
                      <a:pt x="148" y="119"/>
                      <a:pt x="147" y="119"/>
                    </a:cubicBezTo>
                    <a:cubicBezTo>
                      <a:pt x="144" y="119"/>
                      <a:pt x="142" y="119"/>
                      <a:pt x="140" y="119"/>
                    </a:cubicBezTo>
                    <a:cubicBezTo>
                      <a:pt x="136" y="118"/>
                      <a:pt x="132" y="118"/>
                      <a:pt x="129" y="118"/>
                    </a:cubicBezTo>
                    <a:cubicBezTo>
                      <a:pt x="127" y="118"/>
                      <a:pt x="126" y="118"/>
                      <a:pt x="126" y="119"/>
                    </a:cubicBezTo>
                    <a:cubicBezTo>
                      <a:pt x="125" y="121"/>
                      <a:pt x="126" y="122"/>
                      <a:pt x="126" y="123"/>
                    </a:cubicBezTo>
                    <a:cubicBezTo>
                      <a:pt x="125" y="125"/>
                      <a:pt x="123" y="124"/>
                      <a:pt x="122" y="124"/>
                    </a:cubicBezTo>
                    <a:cubicBezTo>
                      <a:pt x="119" y="124"/>
                      <a:pt x="115" y="123"/>
                      <a:pt x="113" y="125"/>
                    </a:cubicBezTo>
                    <a:cubicBezTo>
                      <a:pt x="112" y="126"/>
                      <a:pt x="112" y="127"/>
                      <a:pt x="111" y="128"/>
                    </a:cubicBezTo>
                    <a:cubicBezTo>
                      <a:pt x="110" y="129"/>
                      <a:pt x="109" y="131"/>
                      <a:pt x="108" y="132"/>
                    </a:cubicBezTo>
                    <a:cubicBezTo>
                      <a:pt x="106" y="132"/>
                      <a:pt x="105" y="130"/>
                      <a:pt x="103" y="131"/>
                    </a:cubicBezTo>
                    <a:cubicBezTo>
                      <a:pt x="102" y="131"/>
                      <a:pt x="101" y="132"/>
                      <a:pt x="99" y="133"/>
                    </a:cubicBezTo>
                    <a:cubicBezTo>
                      <a:pt x="97" y="133"/>
                      <a:pt x="94" y="133"/>
                      <a:pt x="91" y="133"/>
                    </a:cubicBezTo>
                    <a:cubicBezTo>
                      <a:pt x="92" y="133"/>
                      <a:pt x="88" y="133"/>
                      <a:pt x="87" y="132"/>
                    </a:cubicBezTo>
                    <a:cubicBezTo>
                      <a:pt x="87" y="130"/>
                      <a:pt x="81" y="128"/>
                      <a:pt x="79" y="128"/>
                    </a:cubicBezTo>
                    <a:cubicBezTo>
                      <a:pt x="79" y="128"/>
                      <a:pt x="79" y="128"/>
                      <a:pt x="79" y="128"/>
                    </a:cubicBezTo>
                    <a:cubicBezTo>
                      <a:pt x="77" y="128"/>
                      <a:pt x="77" y="126"/>
                      <a:pt x="76" y="125"/>
                    </a:cubicBezTo>
                    <a:cubicBezTo>
                      <a:pt x="74" y="122"/>
                      <a:pt x="71" y="123"/>
                      <a:pt x="68" y="123"/>
                    </a:cubicBezTo>
                    <a:cubicBezTo>
                      <a:pt x="64" y="124"/>
                      <a:pt x="60" y="122"/>
                      <a:pt x="56" y="123"/>
                    </a:cubicBezTo>
                    <a:cubicBezTo>
                      <a:pt x="53" y="124"/>
                      <a:pt x="53" y="125"/>
                      <a:pt x="53" y="128"/>
                    </a:cubicBezTo>
                    <a:cubicBezTo>
                      <a:pt x="54" y="131"/>
                      <a:pt x="58" y="133"/>
                      <a:pt x="57" y="137"/>
                    </a:cubicBezTo>
                    <a:cubicBezTo>
                      <a:pt x="57" y="137"/>
                      <a:pt x="57" y="138"/>
                      <a:pt x="56" y="138"/>
                    </a:cubicBezTo>
                    <a:cubicBezTo>
                      <a:pt x="56" y="139"/>
                      <a:pt x="55" y="141"/>
                      <a:pt x="54" y="141"/>
                    </a:cubicBezTo>
                    <a:cubicBezTo>
                      <a:pt x="50" y="143"/>
                      <a:pt x="49" y="141"/>
                      <a:pt x="46" y="139"/>
                    </a:cubicBezTo>
                    <a:cubicBezTo>
                      <a:pt x="44" y="138"/>
                      <a:pt x="41" y="137"/>
                      <a:pt x="40" y="135"/>
                    </a:cubicBezTo>
                    <a:cubicBezTo>
                      <a:pt x="39" y="134"/>
                      <a:pt x="39" y="135"/>
                      <a:pt x="39" y="134"/>
                    </a:cubicBezTo>
                    <a:cubicBezTo>
                      <a:pt x="39" y="133"/>
                      <a:pt x="39" y="132"/>
                      <a:pt x="39" y="131"/>
                    </a:cubicBezTo>
                    <a:cubicBezTo>
                      <a:pt x="38" y="131"/>
                      <a:pt x="38" y="131"/>
                      <a:pt x="38" y="130"/>
                    </a:cubicBezTo>
                    <a:cubicBezTo>
                      <a:pt x="37" y="129"/>
                      <a:pt x="35" y="130"/>
                      <a:pt x="34" y="130"/>
                    </a:cubicBezTo>
                    <a:cubicBezTo>
                      <a:pt x="32" y="129"/>
                      <a:pt x="32" y="129"/>
                      <a:pt x="31" y="128"/>
                    </a:cubicBezTo>
                    <a:cubicBezTo>
                      <a:pt x="30" y="126"/>
                      <a:pt x="30" y="124"/>
                      <a:pt x="28" y="122"/>
                    </a:cubicBezTo>
                    <a:cubicBezTo>
                      <a:pt x="27" y="121"/>
                      <a:pt x="25" y="122"/>
                      <a:pt x="24" y="122"/>
                    </a:cubicBezTo>
                    <a:cubicBezTo>
                      <a:pt x="21" y="122"/>
                      <a:pt x="19" y="122"/>
                      <a:pt x="16" y="122"/>
                    </a:cubicBezTo>
                    <a:cubicBezTo>
                      <a:pt x="16" y="123"/>
                      <a:pt x="15" y="123"/>
                      <a:pt x="14" y="124"/>
                    </a:cubicBezTo>
                    <a:cubicBezTo>
                      <a:pt x="14" y="126"/>
                      <a:pt x="13" y="127"/>
                      <a:pt x="13" y="128"/>
                    </a:cubicBezTo>
                    <a:cubicBezTo>
                      <a:pt x="13" y="130"/>
                      <a:pt x="13" y="132"/>
                      <a:pt x="13" y="134"/>
                    </a:cubicBezTo>
                    <a:cubicBezTo>
                      <a:pt x="13" y="135"/>
                      <a:pt x="13" y="136"/>
                      <a:pt x="14" y="137"/>
                    </a:cubicBezTo>
                    <a:cubicBezTo>
                      <a:pt x="14" y="137"/>
                      <a:pt x="15" y="138"/>
                      <a:pt x="14" y="139"/>
                    </a:cubicBezTo>
                    <a:cubicBezTo>
                      <a:pt x="14" y="140"/>
                      <a:pt x="12" y="140"/>
                      <a:pt x="10" y="141"/>
                    </a:cubicBezTo>
                    <a:cubicBezTo>
                      <a:pt x="12" y="141"/>
                      <a:pt x="12" y="141"/>
                      <a:pt x="12" y="141"/>
                    </a:cubicBezTo>
                    <a:cubicBezTo>
                      <a:pt x="12" y="142"/>
                      <a:pt x="12" y="143"/>
                      <a:pt x="13" y="143"/>
                    </a:cubicBezTo>
                    <a:cubicBezTo>
                      <a:pt x="13" y="144"/>
                      <a:pt x="13" y="144"/>
                      <a:pt x="13" y="145"/>
                    </a:cubicBezTo>
                    <a:cubicBezTo>
                      <a:pt x="14" y="146"/>
                      <a:pt x="13" y="148"/>
                      <a:pt x="13" y="150"/>
                    </a:cubicBezTo>
                    <a:cubicBezTo>
                      <a:pt x="12" y="151"/>
                      <a:pt x="12" y="153"/>
                      <a:pt x="10" y="154"/>
                    </a:cubicBezTo>
                    <a:cubicBezTo>
                      <a:pt x="10" y="155"/>
                      <a:pt x="9" y="155"/>
                      <a:pt x="8" y="155"/>
                    </a:cubicBezTo>
                    <a:cubicBezTo>
                      <a:pt x="7" y="155"/>
                      <a:pt x="6" y="155"/>
                      <a:pt x="5" y="154"/>
                    </a:cubicBezTo>
                    <a:cubicBezTo>
                      <a:pt x="5" y="155"/>
                      <a:pt x="4" y="155"/>
                      <a:pt x="4" y="155"/>
                    </a:cubicBezTo>
                    <a:cubicBezTo>
                      <a:pt x="2" y="157"/>
                      <a:pt x="0" y="157"/>
                      <a:pt x="1" y="161"/>
                    </a:cubicBezTo>
                    <a:cubicBezTo>
                      <a:pt x="1" y="164"/>
                      <a:pt x="3" y="163"/>
                      <a:pt x="6" y="164"/>
                    </a:cubicBezTo>
                    <a:cubicBezTo>
                      <a:pt x="7" y="164"/>
                      <a:pt x="8" y="164"/>
                      <a:pt x="9" y="164"/>
                    </a:cubicBezTo>
                    <a:cubicBezTo>
                      <a:pt x="10" y="164"/>
                      <a:pt x="11" y="164"/>
                      <a:pt x="12" y="164"/>
                    </a:cubicBezTo>
                    <a:cubicBezTo>
                      <a:pt x="13" y="164"/>
                      <a:pt x="15" y="164"/>
                      <a:pt x="16" y="164"/>
                    </a:cubicBezTo>
                    <a:cubicBezTo>
                      <a:pt x="18" y="164"/>
                      <a:pt x="18" y="164"/>
                      <a:pt x="19" y="163"/>
                    </a:cubicBezTo>
                    <a:cubicBezTo>
                      <a:pt x="20" y="163"/>
                      <a:pt x="21" y="163"/>
                      <a:pt x="21" y="163"/>
                    </a:cubicBezTo>
                    <a:cubicBezTo>
                      <a:pt x="22" y="164"/>
                      <a:pt x="22" y="164"/>
                      <a:pt x="22" y="164"/>
                    </a:cubicBezTo>
                    <a:cubicBezTo>
                      <a:pt x="24" y="165"/>
                      <a:pt x="26" y="165"/>
                      <a:pt x="26" y="168"/>
                    </a:cubicBezTo>
                    <a:cubicBezTo>
                      <a:pt x="26" y="170"/>
                      <a:pt x="26" y="171"/>
                      <a:pt x="28" y="172"/>
                    </a:cubicBezTo>
                    <a:cubicBezTo>
                      <a:pt x="28" y="173"/>
                      <a:pt x="29" y="173"/>
                      <a:pt x="30" y="173"/>
                    </a:cubicBezTo>
                    <a:cubicBezTo>
                      <a:pt x="30" y="174"/>
                      <a:pt x="31" y="175"/>
                      <a:pt x="32" y="175"/>
                    </a:cubicBezTo>
                    <a:cubicBezTo>
                      <a:pt x="35" y="176"/>
                      <a:pt x="37" y="177"/>
                      <a:pt x="40" y="177"/>
                    </a:cubicBezTo>
                    <a:cubicBezTo>
                      <a:pt x="43" y="177"/>
                      <a:pt x="43" y="176"/>
                      <a:pt x="44" y="174"/>
                    </a:cubicBezTo>
                    <a:cubicBezTo>
                      <a:pt x="45" y="173"/>
                      <a:pt x="44" y="171"/>
                      <a:pt x="46" y="170"/>
                    </a:cubicBezTo>
                    <a:cubicBezTo>
                      <a:pt x="47" y="169"/>
                      <a:pt x="48" y="169"/>
                      <a:pt x="49" y="169"/>
                    </a:cubicBezTo>
                    <a:cubicBezTo>
                      <a:pt x="50" y="168"/>
                      <a:pt x="50" y="167"/>
                      <a:pt x="51" y="166"/>
                    </a:cubicBezTo>
                    <a:cubicBezTo>
                      <a:pt x="52" y="166"/>
                      <a:pt x="55" y="168"/>
                      <a:pt x="56" y="169"/>
                    </a:cubicBezTo>
                    <a:cubicBezTo>
                      <a:pt x="58" y="171"/>
                      <a:pt x="58" y="173"/>
                      <a:pt x="58" y="175"/>
                    </a:cubicBezTo>
                    <a:cubicBezTo>
                      <a:pt x="59" y="176"/>
                      <a:pt x="59" y="176"/>
                      <a:pt x="59" y="177"/>
                    </a:cubicBezTo>
                    <a:cubicBezTo>
                      <a:pt x="61" y="177"/>
                      <a:pt x="62" y="177"/>
                      <a:pt x="63" y="177"/>
                    </a:cubicBezTo>
                    <a:cubicBezTo>
                      <a:pt x="64" y="177"/>
                      <a:pt x="65" y="177"/>
                      <a:pt x="66" y="177"/>
                    </a:cubicBezTo>
                    <a:cubicBezTo>
                      <a:pt x="67" y="177"/>
                      <a:pt x="69" y="178"/>
                      <a:pt x="70" y="178"/>
                    </a:cubicBezTo>
                    <a:cubicBezTo>
                      <a:pt x="71" y="178"/>
                      <a:pt x="72" y="178"/>
                      <a:pt x="72" y="179"/>
                    </a:cubicBezTo>
                    <a:cubicBezTo>
                      <a:pt x="73" y="180"/>
                      <a:pt x="72" y="181"/>
                      <a:pt x="73" y="182"/>
                    </a:cubicBezTo>
                    <a:cubicBezTo>
                      <a:pt x="73" y="183"/>
                      <a:pt x="75" y="183"/>
                      <a:pt x="76" y="183"/>
                    </a:cubicBezTo>
                    <a:cubicBezTo>
                      <a:pt x="76" y="183"/>
                      <a:pt x="78" y="183"/>
                      <a:pt x="78" y="183"/>
                    </a:cubicBezTo>
                    <a:cubicBezTo>
                      <a:pt x="79" y="184"/>
                      <a:pt x="79" y="184"/>
                      <a:pt x="80" y="184"/>
                    </a:cubicBezTo>
                    <a:cubicBezTo>
                      <a:pt x="80" y="185"/>
                      <a:pt x="81" y="185"/>
                      <a:pt x="82" y="185"/>
                    </a:cubicBezTo>
                    <a:cubicBezTo>
                      <a:pt x="83" y="185"/>
                      <a:pt x="85" y="185"/>
                      <a:pt x="87" y="185"/>
                    </a:cubicBezTo>
                    <a:cubicBezTo>
                      <a:pt x="89" y="184"/>
                      <a:pt x="89" y="182"/>
                      <a:pt x="89" y="180"/>
                    </a:cubicBezTo>
                    <a:cubicBezTo>
                      <a:pt x="90" y="179"/>
                      <a:pt x="91" y="178"/>
                      <a:pt x="92" y="176"/>
                    </a:cubicBezTo>
                    <a:cubicBezTo>
                      <a:pt x="92" y="175"/>
                      <a:pt x="92" y="174"/>
                      <a:pt x="92" y="173"/>
                    </a:cubicBezTo>
                    <a:cubicBezTo>
                      <a:pt x="92" y="171"/>
                      <a:pt x="92" y="171"/>
                      <a:pt x="93" y="170"/>
                    </a:cubicBezTo>
                    <a:cubicBezTo>
                      <a:pt x="93" y="169"/>
                      <a:pt x="93" y="169"/>
                      <a:pt x="95" y="168"/>
                    </a:cubicBezTo>
                    <a:cubicBezTo>
                      <a:pt x="96" y="168"/>
                      <a:pt x="97" y="167"/>
                      <a:pt x="99" y="167"/>
                    </a:cubicBezTo>
                    <a:cubicBezTo>
                      <a:pt x="100" y="167"/>
                      <a:pt x="101" y="167"/>
                      <a:pt x="102" y="167"/>
                    </a:cubicBezTo>
                    <a:cubicBezTo>
                      <a:pt x="107" y="167"/>
                      <a:pt x="112" y="168"/>
                      <a:pt x="117" y="168"/>
                    </a:cubicBezTo>
                    <a:cubicBezTo>
                      <a:pt x="118" y="168"/>
                      <a:pt x="119" y="168"/>
                      <a:pt x="120" y="168"/>
                    </a:cubicBezTo>
                    <a:cubicBezTo>
                      <a:pt x="121" y="167"/>
                      <a:pt x="122" y="166"/>
                      <a:pt x="123" y="166"/>
                    </a:cubicBezTo>
                    <a:cubicBezTo>
                      <a:pt x="125" y="165"/>
                      <a:pt x="126" y="166"/>
                      <a:pt x="127" y="167"/>
                    </a:cubicBezTo>
                    <a:cubicBezTo>
                      <a:pt x="129" y="169"/>
                      <a:pt x="132" y="166"/>
                      <a:pt x="134" y="165"/>
                    </a:cubicBezTo>
                    <a:cubicBezTo>
                      <a:pt x="136" y="163"/>
                      <a:pt x="139" y="162"/>
                      <a:pt x="142" y="161"/>
                    </a:cubicBezTo>
                    <a:cubicBezTo>
                      <a:pt x="143" y="160"/>
                      <a:pt x="145" y="159"/>
                      <a:pt x="147" y="159"/>
                    </a:cubicBezTo>
                    <a:cubicBezTo>
                      <a:pt x="149" y="159"/>
                      <a:pt x="152" y="159"/>
                      <a:pt x="152" y="162"/>
                    </a:cubicBezTo>
                    <a:cubicBezTo>
                      <a:pt x="152" y="163"/>
                      <a:pt x="150" y="164"/>
                      <a:pt x="149" y="165"/>
                    </a:cubicBezTo>
                    <a:cubicBezTo>
                      <a:pt x="149" y="165"/>
                      <a:pt x="147" y="165"/>
                      <a:pt x="147" y="165"/>
                    </a:cubicBezTo>
                    <a:cubicBezTo>
                      <a:pt x="146" y="166"/>
                      <a:pt x="146" y="167"/>
                      <a:pt x="146" y="168"/>
                    </a:cubicBezTo>
                    <a:cubicBezTo>
                      <a:pt x="146" y="169"/>
                      <a:pt x="145" y="169"/>
                      <a:pt x="147" y="171"/>
                    </a:cubicBezTo>
                    <a:cubicBezTo>
                      <a:pt x="147" y="171"/>
                      <a:pt x="148" y="172"/>
                      <a:pt x="149" y="173"/>
                    </a:cubicBezTo>
                    <a:cubicBezTo>
                      <a:pt x="150" y="174"/>
                      <a:pt x="151" y="175"/>
                      <a:pt x="152" y="176"/>
                    </a:cubicBezTo>
                    <a:cubicBezTo>
                      <a:pt x="154" y="177"/>
                      <a:pt x="154" y="179"/>
                      <a:pt x="155" y="181"/>
                    </a:cubicBezTo>
                    <a:cubicBezTo>
                      <a:pt x="156" y="183"/>
                      <a:pt x="158" y="185"/>
                      <a:pt x="160" y="186"/>
                    </a:cubicBezTo>
                    <a:cubicBezTo>
                      <a:pt x="163" y="189"/>
                      <a:pt x="168" y="192"/>
                      <a:pt x="172" y="194"/>
                    </a:cubicBezTo>
                    <a:cubicBezTo>
                      <a:pt x="173" y="194"/>
                      <a:pt x="174" y="194"/>
                      <a:pt x="175" y="194"/>
                    </a:cubicBezTo>
                    <a:cubicBezTo>
                      <a:pt x="178" y="194"/>
                      <a:pt x="180" y="194"/>
                      <a:pt x="183" y="195"/>
                    </a:cubicBezTo>
                    <a:cubicBezTo>
                      <a:pt x="185" y="195"/>
                      <a:pt x="187" y="195"/>
                      <a:pt x="189" y="196"/>
                    </a:cubicBezTo>
                    <a:cubicBezTo>
                      <a:pt x="190" y="196"/>
                      <a:pt x="192" y="196"/>
                      <a:pt x="193" y="196"/>
                    </a:cubicBezTo>
                    <a:cubicBezTo>
                      <a:pt x="195" y="197"/>
                      <a:pt x="196" y="198"/>
                      <a:pt x="197" y="198"/>
                    </a:cubicBezTo>
                    <a:cubicBezTo>
                      <a:pt x="201" y="200"/>
                      <a:pt x="205" y="200"/>
                      <a:pt x="209" y="201"/>
                    </a:cubicBezTo>
                    <a:cubicBezTo>
                      <a:pt x="212" y="201"/>
                      <a:pt x="214" y="201"/>
                      <a:pt x="217" y="201"/>
                    </a:cubicBezTo>
                    <a:cubicBezTo>
                      <a:pt x="220" y="201"/>
                      <a:pt x="224" y="201"/>
                      <a:pt x="227" y="201"/>
                    </a:cubicBezTo>
                    <a:cubicBezTo>
                      <a:pt x="229" y="201"/>
                      <a:pt x="230" y="202"/>
                      <a:pt x="232" y="202"/>
                    </a:cubicBezTo>
                    <a:cubicBezTo>
                      <a:pt x="233" y="202"/>
                      <a:pt x="234" y="202"/>
                      <a:pt x="235" y="203"/>
                    </a:cubicBezTo>
                    <a:cubicBezTo>
                      <a:pt x="235" y="203"/>
                      <a:pt x="236" y="202"/>
                      <a:pt x="236" y="203"/>
                    </a:cubicBezTo>
                    <a:cubicBezTo>
                      <a:pt x="238" y="203"/>
                      <a:pt x="239" y="204"/>
                      <a:pt x="240" y="204"/>
                    </a:cubicBezTo>
                    <a:cubicBezTo>
                      <a:pt x="245" y="206"/>
                      <a:pt x="250" y="205"/>
                      <a:pt x="255" y="206"/>
                    </a:cubicBezTo>
                    <a:cubicBezTo>
                      <a:pt x="255" y="206"/>
                      <a:pt x="255" y="206"/>
                      <a:pt x="255" y="206"/>
                    </a:cubicBezTo>
                    <a:cubicBezTo>
                      <a:pt x="256" y="207"/>
                      <a:pt x="256" y="207"/>
                      <a:pt x="256" y="207"/>
                    </a:cubicBezTo>
                    <a:cubicBezTo>
                      <a:pt x="256" y="207"/>
                      <a:pt x="256" y="207"/>
                      <a:pt x="256" y="207"/>
                    </a:cubicBezTo>
                    <a:cubicBezTo>
                      <a:pt x="255" y="207"/>
                      <a:pt x="255" y="208"/>
                      <a:pt x="254" y="208"/>
                    </a:cubicBezTo>
                    <a:cubicBezTo>
                      <a:pt x="255" y="208"/>
                      <a:pt x="256" y="208"/>
                      <a:pt x="257" y="208"/>
                    </a:cubicBezTo>
                    <a:cubicBezTo>
                      <a:pt x="259" y="209"/>
                      <a:pt x="262" y="209"/>
                      <a:pt x="264" y="209"/>
                    </a:cubicBezTo>
                    <a:cubicBezTo>
                      <a:pt x="264" y="210"/>
                      <a:pt x="266" y="209"/>
                      <a:pt x="267" y="210"/>
                    </a:cubicBezTo>
                    <a:cubicBezTo>
                      <a:pt x="267" y="210"/>
                      <a:pt x="267" y="210"/>
                      <a:pt x="267" y="210"/>
                    </a:cubicBezTo>
                    <a:cubicBezTo>
                      <a:pt x="268" y="211"/>
                      <a:pt x="269" y="211"/>
                      <a:pt x="270" y="211"/>
                    </a:cubicBezTo>
                    <a:cubicBezTo>
                      <a:pt x="272" y="212"/>
                      <a:pt x="274" y="213"/>
                      <a:pt x="276" y="213"/>
                    </a:cubicBezTo>
                    <a:cubicBezTo>
                      <a:pt x="279" y="212"/>
                      <a:pt x="278" y="209"/>
                      <a:pt x="279" y="207"/>
                    </a:cubicBezTo>
                    <a:cubicBezTo>
                      <a:pt x="280" y="207"/>
                      <a:pt x="280" y="206"/>
                      <a:pt x="281" y="205"/>
                    </a:cubicBezTo>
                    <a:cubicBezTo>
                      <a:pt x="281" y="205"/>
                      <a:pt x="282" y="204"/>
                      <a:pt x="283" y="204"/>
                    </a:cubicBezTo>
                    <a:cubicBezTo>
                      <a:pt x="283" y="203"/>
                      <a:pt x="284" y="204"/>
                      <a:pt x="285" y="204"/>
                    </a:cubicBezTo>
                    <a:cubicBezTo>
                      <a:pt x="286" y="204"/>
                      <a:pt x="287" y="203"/>
                      <a:pt x="288" y="202"/>
                    </a:cubicBezTo>
                    <a:cubicBezTo>
                      <a:pt x="288" y="201"/>
                      <a:pt x="288" y="201"/>
                      <a:pt x="289" y="200"/>
                    </a:cubicBezTo>
                    <a:cubicBezTo>
                      <a:pt x="289" y="200"/>
                      <a:pt x="290" y="200"/>
                      <a:pt x="290" y="199"/>
                    </a:cubicBezTo>
                    <a:cubicBezTo>
                      <a:pt x="290" y="199"/>
                      <a:pt x="291" y="198"/>
                      <a:pt x="291" y="197"/>
                    </a:cubicBezTo>
                    <a:cubicBezTo>
                      <a:pt x="292" y="195"/>
                      <a:pt x="295" y="195"/>
                      <a:pt x="297" y="195"/>
                    </a:cubicBezTo>
                    <a:cubicBezTo>
                      <a:pt x="300" y="194"/>
                      <a:pt x="302" y="194"/>
                      <a:pt x="304" y="193"/>
                    </a:cubicBezTo>
                    <a:cubicBezTo>
                      <a:pt x="306" y="192"/>
                      <a:pt x="307" y="191"/>
                      <a:pt x="309" y="192"/>
                    </a:cubicBezTo>
                    <a:cubicBezTo>
                      <a:pt x="310" y="192"/>
                      <a:pt x="311" y="193"/>
                      <a:pt x="312" y="193"/>
                    </a:cubicBezTo>
                    <a:cubicBezTo>
                      <a:pt x="314" y="193"/>
                      <a:pt x="316" y="193"/>
                      <a:pt x="318" y="193"/>
                    </a:cubicBezTo>
                    <a:cubicBezTo>
                      <a:pt x="318" y="194"/>
                      <a:pt x="318" y="194"/>
                      <a:pt x="319" y="194"/>
                    </a:cubicBezTo>
                    <a:cubicBezTo>
                      <a:pt x="320" y="194"/>
                      <a:pt x="322" y="193"/>
                      <a:pt x="323" y="194"/>
                    </a:cubicBezTo>
                    <a:cubicBezTo>
                      <a:pt x="325" y="194"/>
                      <a:pt x="325" y="195"/>
                      <a:pt x="326" y="195"/>
                    </a:cubicBezTo>
                    <a:cubicBezTo>
                      <a:pt x="326" y="192"/>
                      <a:pt x="328" y="190"/>
                      <a:pt x="329" y="188"/>
                    </a:cubicBezTo>
                    <a:cubicBezTo>
                      <a:pt x="329" y="187"/>
                      <a:pt x="329" y="187"/>
                      <a:pt x="330" y="187"/>
                    </a:cubicBezTo>
                    <a:cubicBezTo>
                      <a:pt x="330" y="187"/>
                      <a:pt x="331" y="187"/>
                      <a:pt x="331" y="187"/>
                    </a:cubicBezTo>
                    <a:cubicBezTo>
                      <a:pt x="332" y="186"/>
                      <a:pt x="331" y="187"/>
                      <a:pt x="332" y="186"/>
                    </a:cubicBezTo>
                    <a:cubicBezTo>
                      <a:pt x="333" y="185"/>
                      <a:pt x="335" y="182"/>
                      <a:pt x="336" y="183"/>
                    </a:cubicBezTo>
                    <a:cubicBezTo>
                      <a:pt x="338" y="184"/>
                      <a:pt x="336" y="187"/>
                      <a:pt x="338" y="189"/>
                    </a:cubicBezTo>
                    <a:cubicBezTo>
                      <a:pt x="340" y="190"/>
                      <a:pt x="343" y="189"/>
                      <a:pt x="345" y="190"/>
                    </a:cubicBezTo>
                    <a:cubicBezTo>
                      <a:pt x="348" y="190"/>
                      <a:pt x="351" y="190"/>
                      <a:pt x="352" y="187"/>
                    </a:cubicBezTo>
                    <a:cubicBezTo>
                      <a:pt x="353" y="185"/>
                      <a:pt x="353" y="183"/>
                      <a:pt x="353" y="181"/>
                    </a:cubicBezTo>
                    <a:cubicBezTo>
                      <a:pt x="353" y="178"/>
                      <a:pt x="354" y="176"/>
                      <a:pt x="356" y="175"/>
                    </a:cubicBezTo>
                    <a:cubicBezTo>
                      <a:pt x="357" y="174"/>
                      <a:pt x="359" y="175"/>
                      <a:pt x="360" y="173"/>
                    </a:cubicBezTo>
                    <a:cubicBezTo>
                      <a:pt x="361" y="173"/>
                      <a:pt x="361" y="172"/>
                      <a:pt x="362" y="172"/>
                    </a:cubicBezTo>
                    <a:cubicBezTo>
                      <a:pt x="363" y="171"/>
                      <a:pt x="363" y="171"/>
                      <a:pt x="364" y="170"/>
                    </a:cubicBezTo>
                    <a:cubicBezTo>
                      <a:pt x="365" y="167"/>
                      <a:pt x="366" y="167"/>
                      <a:pt x="368" y="166"/>
                    </a:cubicBezTo>
                    <a:cubicBezTo>
                      <a:pt x="370" y="165"/>
                      <a:pt x="370" y="164"/>
                      <a:pt x="372" y="164"/>
                    </a:cubicBezTo>
                    <a:cubicBezTo>
                      <a:pt x="374" y="164"/>
                      <a:pt x="375" y="163"/>
                      <a:pt x="376" y="163"/>
                    </a:cubicBezTo>
                    <a:cubicBezTo>
                      <a:pt x="378" y="163"/>
                      <a:pt x="379" y="163"/>
                      <a:pt x="379" y="161"/>
                    </a:cubicBezTo>
                    <a:cubicBezTo>
                      <a:pt x="379" y="160"/>
                      <a:pt x="379" y="160"/>
                      <a:pt x="379" y="159"/>
                    </a:cubicBezTo>
                    <a:cubicBezTo>
                      <a:pt x="379" y="158"/>
                      <a:pt x="380" y="157"/>
                      <a:pt x="380" y="156"/>
                    </a:cubicBezTo>
                    <a:cubicBezTo>
                      <a:pt x="380" y="156"/>
                      <a:pt x="380" y="155"/>
                      <a:pt x="380" y="154"/>
                    </a:cubicBezTo>
                    <a:cubicBezTo>
                      <a:pt x="380" y="152"/>
                      <a:pt x="380" y="152"/>
                      <a:pt x="379" y="152"/>
                    </a:cubicBezTo>
                    <a:cubicBezTo>
                      <a:pt x="377" y="151"/>
                      <a:pt x="377" y="151"/>
                      <a:pt x="376" y="149"/>
                    </a:cubicBezTo>
                    <a:cubicBezTo>
                      <a:pt x="376" y="149"/>
                      <a:pt x="376" y="148"/>
                      <a:pt x="376" y="147"/>
                    </a:cubicBezTo>
                    <a:cubicBezTo>
                      <a:pt x="376" y="147"/>
                      <a:pt x="375" y="146"/>
                      <a:pt x="376" y="145"/>
                    </a:cubicBezTo>
                    <a:cubicBezTo>
                      <a:pt x="376" y="144"/>
                      <a:pt x="378" y="142"/>
                      <a:pt x="379" y="142"/>
                    </a:cubicBezTo>
                    <a:cubicBezTo>
                      <a:pt x="379" y="142"/>
                      <a:pt x="381" y="141"/>
                      <a:pt x="381" y="141"/>
                    </a:cubicBezTo>
                    <a:cubicBezTo>
                      <a:pt x="382" y="138"/>
                      <a:pt x="378" y="139"/>
                      <a:pt x="378" y="138"/>
                    </a:cubicBezTo>
                    <a:cubicBezTo>
                      <a:pt x="376" y="136"/>
                      <a:pt x="377" y="131"/>
                      <a:pt x="379" y="130"/>
                    </a:cubicBezTo>
                    <a:cubicBezTo>
                      <a:pt x="379" y="130"/>
                      <a:pt x="380" y="129"/>
                      <a:pt x="381" y="129"/>
                    </a:cubicBezTo>
                    <a:cubicBezTo>
                      <a:pt x="382" y="129"/>
                      <a:pt x="383" y="130"/>
                      <a:pt x="384" y="130"/>
                    </a:cubicBezTo>
                    <a:cubicBezTo>
                      <a:pt x="385" y="129"/>
                      <a:pt x="385" y="129"/>
                      <a:pt x="386" y="128"/>
                    </a:cubicBezTo>
                    <a:cubicBezTo>
                      <a:pt x="386" y="127"/>
                      <a:pt x="387" y="125"/>
                      <a:pt x="388" y="124"/>
                    </a:cubicBezTo>
                    <a:cubicBezTo>
                      <a:pt x="389" y="123"/>
                      <a:pt x="390" y="122"/>
                      <a:pt x="390" y="121"/>
                    </a:cubicBezTo>
                    <a:cubicBezTo>
                      <a:pt x="390" y="121"/>
                      <a:pt x="390" y="119"/>
                      <a:pt x="390" y="118"/>
                    </a:cubicBezTo>
                    <a:cubicBezTo>
                      <a:pt x="390" y="117"/>
                      <a:pt x="390" y="117"/>
                      <a:pt x="389" y="116"/>
                    </a:cubicBezTo>
                    <a:cubicBezTo>
                      <a:pt x="389" y="115"/>
                      <a:pt x="389" y="115"/>
                      <a:pt x="389" y="114"/>
                    </a:cubicBezTo>
                    <a:cubicBezTo>
                      <a:pt x="388" y="114"/>
                      <a:pt x="388" y="113"/>
                      <a:pt x="388" y="113"/>
                    </a:cubicBezTo>
                    <a:cubicBezTo>
                      <a:pt x="386" y="112"/>
                      <a:pt x="384" y="113"/>
                      <a:pt x="383" y="112"/>
                    </a:cubicBezTo>
                    <a:cubicBezTo>
                      <a:pt x="381" y="111"/>
                      <a:pt x="380" y="110"/>
                      <a:pt x="379" y="109"/>
                    </a:cubicBezTo>
                    <a:cubicBezTo>
                      <a:pt x="379" y="109"/>
                      <a:pt x="378" y="108"/>
                      <a:pt x="379" y="107"/>
                    </a:cubicBezTo>
                    <a:cubicBezTo>
                      <a:pt x="379" y="106"/>
                      <a:pt x="382" y="107"/>
                      <a:pt x="383" y="107"/>
                    </a:cubicBezTo>
                    <a:cubicBezTo>
                      <a:pt x="386" y="107"/>
                      <a:pt x="385" y="105"/>
                      <a:pt x="387" y="103"/>
                    </a:cubicBezTo>
                    <a:cubicBezTo>
                      <a:pt x="388" y="102"/>
                      <a:pt x="392" y="103"/>
                      <a:pt x="393" y="105"/>
                    </a:cubicBezTo>
                    <a:cubicBezTo>
                      <a:pt x="394" y="106"/>
                      <a:pt x="394" y="108"/>
                      <a:pt x="395" y="108"/>
                    </a:cubicBezTo>
                    <a:cubicBezTo>
                      <a:pt x="396" y="109"/>
                      <a:pt x="397" y="108"/>
                      <a:pt x="398" y="108"/>
                    </a:cubicBezTo>
                    <a:cubicBezTo>
                      <a:pt x="400" y="108"/>
                      <a:pt x="401" y="106"/>
                      <a:pt x="404" y="106"/>
                    </a:cubicBezTo>
                    <a:cubicBezTo>
                      <a:pt x="405" y="106"/>
                      <a:pt x="405" y="106"/>
                      <a:pt x="406" y="105"/>
                    </a:cubicBezTo>
                    <a:cubicBezTo>
                      <a:pt x="407" y="105"/>
                      <a:pt x="408" y="105"/>
                      <a:pt x="409" y="104"/>
                    </a:cubicBezTo>
                    <a:cubicBezTo>
                      <a:pt x="410" y="103"/>
                      <a:pt x="413" y="102"/>
                      <a:pt x="414" y="100"/>
                    </a:cubicBezTo>
                    <a:cubicBezTo>
                      <a:pt x="415" y="97"/>
                      <a:pt x="412" y="98"/>
                      <a:pt x="410" y="96"/>
                    </a:cubicBezTo>
                    <a:cubicBezTo>
                      <a:pt x="408" y="94"/>
                      <a:pt x="411" y="91"/>
                      <a:pt x="413" y="88"/>
                    </a:cubicBezTo>
                    <a:cubicBezTo>
                      <a:pt x="414" y="87"/>
                      <a:pt x="415" y="86"/>
                      <a:pt x="416" y="85"/>
                    </a:cubicBezTo>
                    <a:cubicBezTo>
                      <a:pt x="416" y="85"/>
                      <a:pt x="416" y="85"/>
                      <a:pt x="416" y="84"/>
                    </a:cubicBezTo>
                    <a:cubicBezTo>
                      <a:pt x="416" y="84"/>
                      <a:pt x="417" y="83"/>
                      <a:pt x="417" y="83"/>
                    </a:cubicBezTo>
                    <a:cubicBezTo>
                      <a:pt x="417" y="82"/>
                      <a:pt x="417" y="80"/>
                      <a:pt x="416" y="79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854140C4-F236-4046-B82E-E006651D98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5313" y="4954588"/>
                <a:ext cx="25400" cy="30163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9" y="1"/>
                  </a:cxn>
                  <a:cxn ang="0">
                    <a:pos x="9" y="0"/>
                  </a:cxn>
                  <a:cxn ang="0">
                    <a:pos x="6" y="1"/>
                  </a:cxn>
                  <a:cxn ang="0">
                    <a:pos x="5" y="3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1" y="8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1" y="14"/>
                  </a:cxn>
                  <a:cxn ang="0">
                    <a:pos x="3" y="15"/>
                  </a:cxn>
                  <a:cxn ang="0">
                    <a:pos x="7" y="16"/>
                  </a:cxn>
                  <a:cxn ang="0">
                    <a:pos x="9" y="15"/>
                  </a:cxn>
                  <a:cxn ang="0">
                    <a:pos x="12" y="11"/>
                  </a:cxn>
                  <a:cxn ang="0">
                    <a:pos x="12" y="6"/>
                  </a:cxn>
                  <a:cxn ang="0">
                    <a:pos x="12" y="4"/>
                  </a:cxn>
                  <a:cxn ang="0">
                    <a:pos x="11" y="2"/>
                  </a:cxn>
                </a:cxnLst>
                <a:rect l="0" t="0" r="r" b="b"/>
                <a:pathLst>
                  <a:path w="13" h="16">
                    <a:moveTo>
                      <a:pt x="11" y="2"/>
                    </a:move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0"/>
                    </a:cubicBezTo>
                    <a:cubicBezTo>
                      <a:pt x="9" y="0"/>
                      <a:pt x="6" y="1"/>
                      <a:pt x="6" y="1"/>
                    </a:cubicBezTo>
                    <a:cubicBezTo>
                      <a:pt x="6" y="2"/>
                      <a:pt x="5" y="2"/>
                      <a:pt x="5" y="3"/>
                    </a:cubicBezTo>
                    <a:cubicBezTo>
                      <a:pt x="4" y="3"/>
                      <a:pt x="4" y="3"/>
                      <a:pt x="3" y="4"/>
                    </a:cubicBezTo>
                    <a:cubicBezTo>
                      <a:pt x="3" y="5"/>
                      <a:pt x="3" y="5"/>
                      <a:pt x="2" y="6"/>
                    </a:cubicBezTo>
                    <a:cubicBezTo>
                      <a:pt x="2" y="7"/>
                      <a:pt x="1" y="7"/>
                      <a:pt x="1" y="8"/>
                    </a:cubicBezTo>
                    <a:cubicBezTo>
                      <a:pt x="1" y="9"/>
                      <a:pt x="0" y="9"/>
                      <a:pt x="0" y="10"/>
                    </a:cubicBezTo>
                    <a:cubicBezTo>
                      <a:pt x="0" y="11"/>
                      <a:pt x="0" y="12"/>
                      <a:pt x="0" y="12"/>
                    </a:cubicBezTo>
                    <a:cubicBezTo>
                      <a:pt x="0" y="13"/>
                      <a:pt x="0" y="14"/>
                      <a:pt x="1" y="14"/>
                    </a:cubicBezTo>
                    <a:cubicBezTo>
                      <a:pt x="2" y="15"/>
                      <a:pt x="2" y="15"/>
                      <a:pt x="3" y="15"/>
                    </a:cubicBezTo>
                    <a:cubicBezTo>
                      <a:pt x="5" y="15"/>
                      <a:pt x="6" y="16"/>
                      <a:pt x="7" y="16"/>
                    </a:cubicBezTo>
                    <a:cubicBezTo>
                      <a:pt x="8" y="16"/>
                      <a:pt x="9" y="16"/>
                      <a:pt x="9" y="15"/>
                    </a:cubicBezTo>
                    <a:cubicBezTo>
                      <a:pt x="11" y="14"/>
                      <a:pt x="11" y="12"/>
                      <a:pt x="12" y="11"/>
                    </a:cubicBezTo>
                    <a:cubicBezTo>
                      <a:pt x="12" y="9"/>
                      <a:pt x="13" y="7"/>
                      <a:pt x="12" y="6"/>
                    </a:cubicBezTo>
                    <a:cubicBezTo>
                      <a:pt x="12" y="5"/>
                      <a:pt x="12" y="5"/>
                      <a:pt x="12" y="4"/>
                    </a:cubicBezTo>
                    <a:cubicBezTo>
                      <a:pt x="11" y="4"/>
                      <a:pt x="11" y="3"/>
                      <a:pt x="11" y="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1455B4BE-FE0D-49DB-BBF7-A957299109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19413" y="4360863"/>
                <a:ext cx="1379538" cy="1341438"/>
              </a:xfrm>
              <a:custGeom>
                <a:avLst/>
                <a:gdLst/>
                <a:ahLst/>
                <a:cxnLst>
                  <a:cxn ang="0">
                    <a:pos x="737" y="191"/>
                  </a:cxn>
                  <a:cxn ang="0">
                    <a:pos x="702" y="174"/>
                  </a:cxn>
                  <a:cxn ang="0">
                    <a:pos x="633" y="143"/>
                  </a:cxn>
                  <a:cxn ang="0">
                    <a:pos x="577" y="126"/>
                  </a:cxn>
                  <a:cxn ang="0">
                    <a:pos x="539" y="101"/>
                  </a:cxn>
                  <a:cxn ang="0">
                    <a:pos x="509" y="70"/>
                  </a:cxn>
                  <a:cxn ang="0">
                    <a:pos x="472" y="38"/>
                  </a:cxn>
                  <a:cxn ang="0">
                    <a:pos x="432" y="4"/>
                  </a:cxn>
                  <a:cxn ang="0">
                    <a:pos x="374" y="39"/>
                  </a:cxn>
                  <a:cxn ang="0">
                    <a:pos x="323" y="113"/>
                  </a:cxn>
                  <a:cxn ang="0">
                    <a:pos x="290" y="145"/>
                  </a:cxn>
                  <a:cxn ang="0">
                    <a:pos x="210" y="138"/>
                  </a:cxn>
                  <a:cxn ang="0">
                    <a:pos x="190" y="179"/>
                  </a:cxn>
                  <a:cxn ang="0">
                    <a:pos x="171" y="211"/>
                  </a:cxn>
                  <a:cxn ang="0">
                    <a:pos x="129" y="219"/>
                  </a:cxn>
                  <a:cxn ang="0">
                    <a:pos x="81" y="208"/>
                  </a:cxn>
                  <a:cxn ang="0">
                    <a:pos x="38" y="213"/>
                  </a:cxn>
                  <a:cxn ang="0">
                    <a:pos x="10" y="238"/>
                  </a:cxn>
                  <a:cxn ang="0">
                    <a:pos x="32" y="250"/>
                  </a:cxn>
                  <a:cxn ang="0">
                    <a:pos x="17" y="266"/>
                  </a:cxn>
                  <a:cxn ang="0">
                    <a:pos x="52" y="283"/>
                  </a:cxn>
                  <a:cxn ang="0">
                    <a:pos x="90" y="299"/>
                  </a:cxn>
                  <a:cxn ang="0">
                    <a:pos x="133" y="320"/>
                  </a:cxn>
                  <a:cxn ang="0">
                    <a:pos x="153" y="355"/>
                  </a:cxn>
                  <a:cxn ang="0">
                    <a:pos x="172" y="389"/>
                  </a:cxn>
                  <a:cxn ang="0">
                    <a:pos x="214" y="405"/>
                  </a:cxn>
                  <a:cxn ang="0">
                    <a:pos x="211" y="434"/>
                  </a:cxn>
                  <a:cxn ang="0">
                    <a:pos x="198" y="438"/>
                  </a:cxn>
                  <a:cxn ang="0">
                    <a:pos x="233" y="507"/>
                  </a:cxn>
                  <a:cxn ang="0">
                    <a:pos x="203" y="491"/>
                  </a:cxn>
                  <a:cxn ang="0">
                    <a:pos x="189" y="565"/>
                  </a:cxn>
                  <a:cxn ang="0">
                    <a:pos x="166" y="637"/>
                  </a:cxn>
                  <a:cxn ang="0">
                    <a:pos x="197" y="661"/>
                  </a:cxn>
                  <a:cxn ang="0">
                    <a:pos x="265" y="684"/>
                  </a:cxn>
                  <a:cxn ang="0">
                    <a:pos x="324" y="681"/>
                  </a:cxn>
                  <a:cxn ang="0">
                    <a:pos x="346" y="687"/>
                  </a:cxn>
                  <a:cxn ang="0">
                    <a:pos x="372" y="700"/>
                  </a:cxn>
                  <a:cxn ang="0">
                    <a:pos x="382" y="707"/>
                  </a:cxn>
                  <a:cxn ang="0">
                    <a:pos x="431" y="685"/>
                  </a:cxn>
                  <a:cxn ang="0">
                    <a:pos x="464" y="634"/>
                  </a:cxn>
                  <a:cxn ang="0">
                    <a:pos x="511" y="626"/>
                  </a:cxn>
                  <a:cxn ang="0">
                    <a:pos x="536" y="632"/>
                  </a:cxn>
                  <a:cxn ang="0">
                    <a:pos x="566" y="642"/>
                  </a:cxn>
                  <a:cxn ang="0">
                    <a:pos x="621" y="658"/>
                  </a:cxn>
                  <a:cxn ang="0">
                    <a:pos x="650" y="627"/>
                  </a:cxn>
                  <a:cxn ang="0">
                    <a:pos x="687" y="597"/>
                  </a:cxn>
                  <a:cxn ang="0">
                    <a:pos x="660" y="562"/>
                  </a:cxn>
                  <a:cxn ang="0">
                    <a:pos x="652" y="515"/>
                  </a:cxn>
                  <a:cxn ang="0">
                    <a:pos x="667" y="480"/>
                  </a:cxn>
                  <a:cxn ang="0">
                    <a:pos x="663" y="436"/>
                  </a:cxn>
                  <a:cxn ang="0">
                    <a:pos x="658" y="409"/>
                  </a:cxn>
                  <a:cxn ang="0">
                    <a:pos x="614" y="391"/>
                  </a:cxn>
                  <a:cxn ang="0">
                    <a:pos x="658" y="330"/>
                  </a:cxn>
                  <a:cxn ang="0">
                    <a:pos x="703" y="303"/>
                  </a:cxn>
                  <a:cxn ang="0">
                    <a:pos x="704" y="300"/>
                  </a:cxn>
                  <a:cxn ang="0">
                    <a:pos x="716" y="221"/>
                  </a:cxn>
                </a:cxnLst>
                <a:rect l="0" t="0" r="r" b="b"/>
                <a:pathLst>
                  <a:path w="738" h="718">
                    <a:moveTo>
                      <a:pt x="437" y="718"/>
                    </a:moveTo>
                    <a:cubicBezTo>
                      <a:pt x="439" y="716"/>
                      <a:pt x="441" y="714"/>
                      <a:pt x="442" y="710"/>
                    </a:cubicBezTo>
                    <a:cubicBezTo>
                      <a:pt x="442" y="710"/>
                      <a:pt x="442" y="710"/>
                      <a:pt x="442" y="710"/>
                    </a:cubicBezTo>
                    <a:cubicBezTo>
                      <a:pt x="440" y="711"/>
                      <a:pt x="438" y="715"/>
                      <a:pt x="437" y="718"/>
                    </a:cubicBezTo>
                    <a:moveTo>
                      <a:pt x="350" y="705"/>
                    </a:moveTo>
                    <a:cubicBezTo>
                      <a:pt x="350" y="705"/>
                      <a:pt x="349" y="705"/>
                      <a:pt x="349" y="705"/>
                    </a:cubicBezTo>
                    <a:cubicBezTo>
                      <a:pt x="349" y="705"/>
                      <a:pt x="350" y="705"/>
                      <a:pt x="350" y="705"/>
                    </a:cubicBezTo>
                    <a:moveTo>
                      <a:pt x="737" y="191"/>
                    </a:moveTo>
                    <a:cubicBezTo>
                      <a:pt x="738" y="189"/>
                      <a:pt x="738" y="186"/>
                      <a:pt x="737" y="184"/>
                    </a:cubicBezTo>
                    <a:cubicBezTo>
                      <a:pt x="735" y="181"/>
                      <a:pt x="733" y="182"/>
                      <a:pt x="731" y="181"/>
                    </a:cubicBezTo>
                    <a:cubicBezTo>
                      <a:pt x="730" y="181"/>
                      <a:pt x="729" y="180"/>
                      <a:pt x="728" y="179"/>
                    </a:cubicBezTo>
                    <a:cubicBezTo>
                      <a:pt x="729" y="179"/>
                      <a:pt x="725" y="177"/>
                      <a:pt x="726" y="177"/>
                    </a:cubicBezTo>
                    <a:cubicBezTo>
                      <a:pt x="723" y="176"/>
                      <a:pt x="720" y="176"/>
                      <a:pt x="717" y="176"/>
                    </a:cubicBezTo>
                    <a:cubicBezTo>
                      <a:pt x="714" y="176"/>
                      <a:pt x="708" y="177"/>
                      <a:pt x="705" y="176"/>
                    </a:cubicBezTo>
                    <a:cubicBezTo>
                      <a:pt x="704" y="176"/>
                      <a:pt x="705" y="175"/>
                      <a:pt x="704" y="175"/>
                    </a:cubicBezTo>
                    <a:cubicBezTo>
                      <a:pt x="703" y="174"/>
                      <a:pt x="702" y="174"/>
                      <a:pt x="702" y="174"/>
                    </a:cubicBezTo>
                    <a:cubicBezTo>
                      <a:pt x="699" y="171"/>
                      <a:pt x="699" y="168"/>
                      <a:pt x="697" y="166"/>
                    </a:cubicBezTo>
                    <a:cubicBezTo>
                      <a:pt x="691" y="162"/>
                      <a:pt x="685" y="162"/>
                      <a:pt x="678" y="162"/>
                    </a:cubicBezTo>
                    <a:cubicBezTo>
                      <a:pt x="674" y="162"/>
                      <a:pt x="671" y="162"/>
                      <a:pt x="668" y="163"/>
                    </a:cubicBezTo>
                    <a:cubicBezTo>
                      <a:pt x="664" y="164"/>
                      <a:pt x="662" y="167"/>
                      <a:pt x="658" y="167"/>
                    </a:cubicBezTo>
                    <a:cubicBezTo>
                      <a:pt x="654" y="166"/>
                      <a:pt x="654" y="164"/>
                      <a:pt x="652" y="161"/>
                    </a:cubicBezTo>
                    <a:cubicBezTo>
                      <a:pt x="652" y="159"/>
                      <a:pt x="652" y="159"/>
                      <a:pt x="651" y="157"/>
                    </a:cubicBezTo>
                    <a:cubicBezTo>
                      <a:pt x="651" y="156"/>
                      <a:pt x="649" y="155"/>
                      <a:pt x="648" y="154"/>
                    </a:cubicBezTo>
                    <a:cubicBezTo>
                      <a:pt x="643" y="148"/>
                      <a:pt x="639" y="146"/>
                      <a:pt x="633" y="143"/>
                    </a:cubicBezTo>
                    <a:cubicBezTo>
                      <a:pt x="629" y="141"/>
                      <a:pt x="628" y="139"/>
                      <a:pt x="624" y="142"/>
                    </a:cubicBezTo>
                    <a:cubicBezTo>
                      <a:pt x="618" y="145"/>
                      <a:pt x="617" y="142"/>
                      <a:pt x="612" y="139"/>
                    </a:cubicBezTo>
                    <a:cubicBezTo>
                      <a:pt x="609" y="137"/>
                      <a:pt x="606" y="136"/>
                      <a:pt x="601" y="136"/>
                    </a:cubicBezTo>
                    <a:cubicBezTo>
                      <a:pt x="600" y="136"/>
                      <a:pt x="598" y="136"/>
                      <a:pt x="597" y="137"/>
                    </a:cubicBezTo>
                    <a:cubicBezTo>
                      <a:pt x="595" y="137"/>
                      <a:pt x="594" y="139"/>
                      <a:pt x="593" y="140"/>
                    </a:cubicBezTo>
                    <a:cubicBezTo>
                      <a:pt x="589" y="142"/>
                      <a:pt x="584" y="134"/>
                      <a:pt x="583" y="132"/>
                    </a:cubicBezTo>
                    <a:cubicBezTo>
                      <a:pt x="583" y="131"/>
                      <a:pt x="583" y="129"/>
                      <a:pt x="582" y="128"/>
                    </a:cubicBezTo>
                    <a:cubicBezTo>
                      <a:pt x="581" y="126"/>
                      <a:pt x="579" y="127"/>
                      <a:pt x="577" y="126"/>
                    </a:cubicBezTo>
                    <a:cubicBezTo>
                      <a:pt x="569" y="123"/>
                      <a:pt x="564" y="116"/>
                      <a:pt x="555" y="116"/>
                    </a:cubicBezTo>
                    <a:cubicBezTo>
                      <a:pt x="554" y="111"/>
                      <a:pt x="553" y="107"/>
                      <a:pt x="553" y="102"/>
                    </a:cubicBezTo>
                    <a:cubicBezTo>
                      <a:pt x="553" y="101"/>
                      <a:pt x="552" y="99"/>
                      <a:pt x="553" y="97"/>
                    </a:cubicBezTo>
                    <a:cubicBezTo>
                      <a:pt x="554" y="94"/>
                      <a:pt x="557" y="92"/>
                      <a:pt x="554" y="89"/>
                    </a:cubicBezTo>
                    <a:cubicBezTo>
                      <a:pt x="552" y="88"/>
                      <a:pt x="551" y="87"/>
                      <a:pt x="549" y="87"/>
                    </a:cubicBezTo>
                    <a:cubicBezTo>
                      <a:pt x="547" y="88"/>
                      <a:pt x="545" y="90"/>
                      <a:pt x="544" y="91"/>
                    </a:cubicBezTo>
                    <a:cubicBezTo>
                      <a:pt x="544" y="93"/>
                      <a:pt x="545" y="96"/>
                      <a:pt x="544" y="98"/>
                    </a:cubicBezTo>
                    <a:cubicBezTo>
                      <a:pt x="543" y="99"/>
                      <a:pt x="540" y="100"/>
                      <a:pt x="539" y="101"/>
                    </a:cubicBezTo>
                    <a:cubicBezTo>
                      <a:pt x="536" y="103"/>
                      <a:pt x="532" y="106"/>
                      <a:pt x="529" y="105"/>
                    </a:cubicBezTo>
                    <a:cubicBezTo>
                      <a:pt x="526" y="104"/>
                      <a:pt x="527" y="104"/>
                      <a:pt x="525" y="102"/>
                    </a:cubicBezTo>
                    <a:cubicBezTo>
                      <a:pt x="522" y="100"/>
                      <a:pt x="522" y="101"/>
                      <a:pt x="521" y="97"/>
                    </a:cubicBezTo>
                    <a:cubicBezTo>
                      <a:pt x="520" y="95"/>
                      <a:pt x="520" y="88"/>
                      <a:pt x="518" y="86"/>
                    </a:cubicBezTo>
                    <a:cubicBezTo>
                      <a:pt x="516" y="85"/>
                      <a:pt x="514" y="87"/>
                      <a:pt x="513" y="85"/>
                    </a:cubicBezTo>
                    <a:cubicBezTo>
                      <a:pt x="512" y="85"/>
                      <a:pt x="512" y="80"/>
                      <a:pt x="513" y="80"/>
                    </a:cubicBezTo>
                    <a:cubicBezTo>
                      <a:pt x="514" y="77"/>
                      <a:pt x="517" y="80"/>
                      <a:pt x="517" y="76"/>
                    </a:cubicBezTo>
                    <a:cubicBezTo>
                      <a:pt x="518" y="72"/>
                      <a:pt x="512" y="71"/>
                      <a:pt x="509" y="70"/>
                    </a:cubicBezTo>
                    <a:cubicBezTo>
                      <a:pt x="508" y="69"/>
                      <a:pt x="506" y="68"/>
                      <a:pt x="505" y="67"/>
                    </a:cubicBezTo>
                    <a:cubicBezTo>
                      <a:pt x="502" y="67"/>
                      <a:pt x="500" y="69"/>
                      <a:pt x="498" y="69"/>
                    </a:cubicBezTo>
                    <a:cubicBezTo>
                      <a:pt x="494" y="69"/>
                      <a:pt x="491" y="67"/>
                      <a:pt x="491" y="64"/>
                    </a:cubicBezTo>
                    <a:cubicBezTo>
                      <a:pt x="490" y="62"/>
                      <a:pt x="491" y="60"/>
                      <a:pt x="490" y="59"/>
                    </a:cubicBezTo>
                    <a:cubicBezTo>
                      <a:pt x="488" y="55"/>
                      <a:pt x="483" y="57"/>
                      <a:pt x="480" y="56"/>
                    </a:cubicBezTo>
                    <a:cubicBezTo>
                      <a:pt x="476" y="56"/>
                      <a:pt x="469" y="50"/>
                      <a:pt x="469" y="46"/>
                    </a:cubicBezTo>
                    <a:cubicBezTo>
                      <a:pt x="470" y="44"/>
                      <a:pt x="473" y="43"/>
                      <a:pt x="473" y="41"/>
                    </a:cubicBezTo>
                    <a:cubicBezTo>
                      <a:pt x="473" y="40"/>
                      <a:pt x="472" y="39"/>
                      <a:pt x="472" y="38"/>
                    </a:cubicBezTo>
                    <a:cubicBezTo>
                      <a:pt x="470" y="34"/>
                      <a:pt x="466" y="30"/>
                      <a:pt x="461" y="31"/>
                    </a:cubicBezTo>
                    <a:cubicBezTo>
                      <a:pt x="457" y="31"/>
                      <a:pt x="453" y="35"/>
                      <a:pt x="449" y="35"/>
                    </a:cubicBezTo>
                    <a:cubicBezTo>
                      <a:pt x="444" y="36"/>
                      <a:pt x="442" y="32"/>
                      <a:pt x="438" y="29"/>
                    </a:cubicBezTo>
                    <a:cubicBezTo>
                      <a:pt x="435" y="26"/>
                      <a:pt x="434" y="24"/>
                      <a:pt x="433" y="20"/>
                    </a:cubicBezTo>
                    <a:cubicBezTo>
                      <a:pt x="433" y="17"/>
                      <a:pt x="433" y="13"/>
                      <a:pt x="433" y="10"/>
                    </a:cubicBezTo>
                    <a:cubicBezTo>
                      <a:pt x="434" y="8"/>
                      <a:pt x="434" y="8"/>
                      <a:pt x="434" y="8"/>
                    </a:cubicBezTo>
                    <a:cubicBezTo>
                      <a:pt x="434" y="7"/>
                      <a:pt x="434" y="8"/>
                      <a:pt x="433" y="7"/>
                    </a:cubicBezTo>
                    <a:cubicBezTo>
                      <a:pt x="433" y="7"/>
                      <a:pt x="432" y="4"/>
                      <a:pt x="432" y="4"/>
                    </a:cubicBezTo>
                    <a:cubicBezTo>
                      <a:pt x="431" y="3"/>
                      <a:pt x="429" y="2"/>
                      <a:pt x="427" y="1"/>
                    </a:cubicBezTo>
                    <a:cubicBezTo>
                      <a:pt x="422" y="0"/>
                      <a:pt x="418" y="1"/>
                      <a:pt x="416" y="5"/>
                    </a:cubicBezTo>
                    <a:cubicBezTo>
                      <a:pt x="415" y="6"/>
                      <a:pt x="415" y="7"/>
                      <a:pt x="415" y="8"/>
                    </a:cubicBezTo>
                    <a:cubicBezTo>
                      <a:pt x="414" y="8"/>
                      <a:pt x="412" y="9"/>
                      <a:pt x="411" y="10"/>
                    </a:cubicBezTo>
                    <a:cubicBezTo>
                      <a:pt x="410" y="11"/>
                      <a:pt x="410" y="14"/>
                      <a:pt x="408" y="15"/>
                    </a:cubicBezTo>
                    <a:cubicBezTo>
                      <a:pt x="406" y="18"/>
                      <a:pt x="403" y="20"/>
                      <a:pt x="401" y="23"/>
                    </a:cubicBezTo>
                    <a:cubicBezTo>
                      <a:pt x="396" y="31"/>
                      <a:pt x="387" y="29"/>
                      <a:pt x="380" y="33"/>
                    </a:cubicBezTo>
                    <a:cubicBezTo>
                      <a:pt x="378" y="35"/>
                      <a:pt x="375" y="37"/>
                      <a:pt x="374" y="39"/>
                    </a:cubicBezTo>
                    <a:cubicBezTo>
                      <a:pt x="372" y="41"/>
                      <a:pt x="373" y="43"/>
                      <a:pt x="373" y="45"/>
                    </a:cubicBezTo>
                    <a:cubicBezTo>
                      <a:pt x="372" y="51"/>
                      <a:pt x="370" y="55"/>
                      <a:pt x="368" y="61"/>
                    </a:cubicBezTo>
                    <a:cubicBezTo>
                      <a:pt x="367" y="65"/>
                      <a:pt x="369" y="70"/>
                      <a:pt x="368" y="74"/>
                    </a:cubicBezTo>
                    <a:cubicBezTo>
                      <a:pt x="367" y="79"/>
                      <a:pt x="365" y="86"/>
                      <a:pt x="361" y="90"/>
                    </a:cubicBezTo>
                    <a:cubicBezTo>
                      <a:pt x="358" y="94"/>
                      <a:pt x="352" y="95"/>
                      <a:pt x="348" y="97"/>
                    </a:cubicBezTo>
                    <a:cubicBezTo>
                      <a:pt x="345" y="99"/>
                      <a:pt x="341" y="102"/>
                      <a:pt x="338" y="105"/>
                    </a:cubicBezTo>
                    <a:cubicBezTo>
                      <a:pt x="335" y="106"/>
                      <a:pt x="334" y="107"/>
                      <a:pt x="331" y="108"/>
                    </a:cubicBezTo>
                    <a:cubicBezTo>
                      <a:pt x="328" y="109"/>
                      <a:pt x="326" y="112"/>
                      <a:pt x="323" y="113"/>
                    </a:cubicBezTo>
                    <a:cubicBezTo>
                      <a:pt x="321" y="115"/>
                      <a:pt x="317" y="114"/>
                      <a:pt x="314" y="115"/>
                    </a:cubicBezTo>
                    <a:cubicBezTo>
                      <a:pt x="311" y="116"/>
                      <a:pt x="310" y="118"/>
                      <a:pt x="307" y="119"/>
                    </a:cubicBezTo>
                    <a:cubicBezTo>
                      <a:pt x="304" y="122"/>
                      <a:pt x="298" y="120"/>
                      <a:pt x="295" y="122"/>
                    </a:cubicBezTo>
                    <a:cubicBezTo>
                      <a:pt x="293" y="123"/>
                      <a:pt x="293" y="125"/>
                      <a:pt x="292" y="126"/>
                    </a:cubicBezTo>
                    <a:cubicBezTo>
                      <a:pt x="290" y="128"/>
                      <a:pt x="287" y="128"/>
                      <a:pt x="284" y="128"/>
                    </a:cubicBezTo>
                    <a:cubicBezTo>
                      <a:pt x="282" y="128"/>
                      <a:pt x="280" y="127"/>
                      <a:pt x="279" y="129"/>
                    </a:cubicBezTo>
                    <a:cubicBezTo>
                      <a:pt x="278" y="131"/>
                      <a:pt x="280" y="134"/>
                      <a:pt x="280" y="136"/>
                    </a:cubicBezTo>
                    <a:cubicBezTo>
                      <a:pt x="282" y="141"/>
                      <a:pt x="285" y="144"/>
                      <a:pt x="290" y="145"/>
                    </a:cubicBezTo>
                    <a:cubicBezTo>
                      <a:pt x="292" y="151"/>
                      <a:pt x="286" y="152"/>
                      <a:pt x="282" y="154"/>
                    </a:cubicBezTo>
                    <a:cubicBezTo>
                      <a:pt x="278" y="156"/>
                      <a:pt x="275" y="158"/>
                      <a:pt x="271" y="157"/>
                    </a:cubicBezTo>
                    <a:cubicBezTo>
                      <a:pt x="269" y="156"/>
                      <a:pt x="268" y="155"/>
                      <a:pt x="266" y="155"/>
                    </a:cubicBezTo>
                    <a:cubicBezTo>
                      <a:pt x="263" y="155"/>
                      <a:pt x="262" y="156"/>
                      <a:pt x="259" y="157"/>
                    </a:cubicBezTo>
                    <a:cubicBezTo>
                      <a:pt x="255" y="159"/>
                      <a:pt x="249" y="159"/>
                      <a:pt x="245" y="157"/>
                    </a:cubicBezTo>
                    <a:cubicBezTo>
                      <a:pt x="237" y="152"/>
                      <a:pt x="224" y="155"/>
                      <a:pt x="219" y="148"/>
                    </a:cubicBezTo>
                    <a:cubicBezTo>
                      <a:pt x="218" y="147"/>
                      <a:pt x="217" y="145"/>
                      <a:pt x="216" y="143"/>
                    </a:cubicBezTo>
                    <a:cubicBezTo>
                      <a:pt x="214" y="142"/>
                      <a:pt x="211" y="141"/>
                      <a:pt x="210" y="138"/>
                    </a:cubicBezTo>
                    <a:cubicBezTo>
                      <a:pt x="210" y="136"/>
                      <a:pt x="210" y="133"/>
                      <a:pt x="210" y="131"/>
                    </a:cubicBezTo>
                    <a:cubicBezTo>
                      <a:pt x="210" y="129"/>
                      <a:pt x="209" y="127"/>
                      <a:pt x="209" y="124"/>
                    </a:cubicBezTo>
                    <a:cubicBezTo>
                      <a:pt x="205" y="122"/>
                      <a:pt x="192" y="122"/>
                      <a:pt x="188" y="126"/>
                    </a:cubicBezTo>
                    <a:cubicBezTo>
                      <a:pt x="185" y="128"/>
                      <a:pt x="182" y="130"/>
                      <a:pt x="179" y="132"/>
                    </a:cubicBezTo>
                    <a:cubicBezTo>
                      <a:pt x="177" y="136"/>
                      <a:pt x="177" y="142"/>
                      <a:pt x="179" y="146"/>
                    </a:cubicBezTo>
                    <a:cubicBezTo>
                      <a:pt x="181" y="150"/>
                      <a:pt x="180" y="154"/>
                      <a:pt x="182" y="158"/>
                    </a:cubicBezTo>
                    <a:cubicBezTo>
                      <a:pt x="183" y="160"/>
                      <a:pt x="184" y="161"/>
                      <a:pt x="185" y="163"/>
                    </a:cubicBezTo>
                    <a:cubicBezTo>
                      <a:pt x="188" y="168"/>
                      <a:pt x="190" y="174"/>
                      <a:pt x="190" y="179"/>
                    </a:cubicBezTo>
                    <a:cubicBezTo>
                      <a:pt x="191" y="186"/>
                      <a:pt x="192" y="194"/>
                      <a:pt x="193" y="202"/>
                    </a:cubicBezTo>
                    <a:cubicBezTo>
                      <a:pt x="193" y="205"/>
                      <a:pt x="193" y="207"/>
                      <a:pt x="192" y="208"/>
                    </a:cubicBezTo>
                    <a:cubicBezTo>
                      <a:pt x="192" y="207"/>
                      <a:pt x="188" y="210"/>
                      <a:pt x="189" y="210"/>
                    </a:cubicBezTo>
                    <a:cubicBezTo>
                      <a:pt x="188" y="210"/>
                      <a:pt x="187" y="211"/>
                      <a:pt x="186" y="211"/>
                    </a:cubicBezTo>
                    <a:cubicBezTo>
                      <a:pt x="184" y="211"/>
                      <a:pt x="183" y="211"/>
                      <a:pt x="182" y="211"/>
                    </a:cubicBezTo>
                    <a:cubicBezTo>
                      <a:pt x="182" y="211"/>
                      <a:pt x="179" y="213"/>
                      <a:pt x="180" y="213"/>
                    </a:cubicBezTo>
                    <a:cubicBezTo>
                      <a:pt x="177" y="213"/>
                      <a:pt x="179" y="212"/>
                      <a:pt x="176" y="211"/>
                    </a:cubicBezTo>
                    <a:cubicBezTo>
                      <a:pt x="175" y="211"/>
                      <a:pt x="171" y="211"/>
                      <a:pt x="171" y="211"/>
                    </a:cubicBezTo>
                    <a:cubicBezTo>
                      <a:pt x="169" y="211"/>
                      <a:pt x="169" y="213"/>
                      <a:pt x="168" y="213"/>
                    </a:cubicBezTo>
                    <a:cubicBezTo>
                      <a:pt x="167" y="214"/>
                      <a:pt x="166" y="213"/>
                      <a:pt x="165" y="214"/>
                    </a:cubicBezTo>
                    <a:cubicBezTo>
                      <a:pt x="164" y="214"/>
                      <a:pt x="164" y="215"/>
                      <a:pt x="164" y="215"/>
                    </a:cubicBezTo>
                    <a:cubicBezTo>
                      <a:pt x="162" y="216"/>
                      <a:pt x="161" y="216"/>
                      <a:pt x="160" y="216"/>
                    </a:cubicBezTo>
                    <a:cubicBezTo>
                      <a:pt x="158" y="216"/>
                      <a:pt x="155" y="216"/>
                      <a:pt x="153" y="216"/>
                    </a:cubicBezTo>
                    <a:cubicBezTo>
                      <a:pt x="149" y="215"/>
                      <a:pt x="144" y="210"/>
                      <a:pt x="141" y="214"/>
                    </a:cubicBezTo>
                    <a:cubicBezTo>
                      <a:pt x="138" y="217"/>
                      <a:pt x="140" y="218"/>
                      <a:pt x="137" y="219"/>
                    </a:cubicBezTo>
                    <a:cubicBezTo>
                      <a:pt x="135" y="220"/>
                      <a:pt x="131" y="219"/>
                      <a:pt x="129" y="219"/>
                    </a:cubicBezTo>
                    <a:cubicBezTo>
                      <a:pt x="122" y="219"/>
                      <a:pt x="120" y="217"/>
                      <a:pt x="118" y="210"/>
                    </a:cubicBezTo>
                    <a:cubicBezTo>
                      <a:pt x="117" y="205"/>
                      <a:pt x="115" y="203"/>
                      <a:pt x="110" y="201"/>
                    </a:cubicBezTo>
                    <a:cubicBezTo>
                      <a:pt x="107" y="199"/>
                      <a:pt x="101" y="201"/>
                      <a:pt x="100" y="198"/>
                    </a:cubicBezTo>
                    <a:cubicBezTo>
                      <a:pt x="98" y="200"/>
                      <a:pt x="98" y="202"/>
                      <a:pt x="95" y="203"/>
                    </a:cubicBezTo>
                    <a:cubicBezTo>
                      <a:pt x="94" y="203"/>
                      <a:pt x="92" y="202"/>
                      <a:pt x="91" y="203"/>
                    </a:cubicBezTo>
                    <a:cubicBezTo>
                      <a:pt x="89" y="203"/>
                      <a:pt x="88" y="205"/>
                      <a:pt x="86" y="206"/>
                    </a:cubicBezTo>
                    <a:cubicBezTo>
                      <a:pt x="85" y="206"/>
                      <a:pt x="84" y="206"/>
                      <a:pt x="83" y="206"/>
                    </a:cubicBezTo>
                    <a:cubicBezTo>
                      <a:pt x="82" y="206"/>
                      <a:pt x="82" y="207"/>
                      <a:pt x="81" y="208"/>
                    </a:cubicBezTo>
                    <a:cubicBezTo>
                      <a:pt x="80" y="209"/>
                      <a:pt x="80" y="210"/>
                      <a:pt x="78" y="210"/>
                    </a:cubicBezTo>
                    <a:cubicBezTo>
                      <a:pt x="76" y="212"/>
                      <a:pt x="74" y="211"/>
                      <a:pt x="71" y="210"/>
                    </a:cubicBezTo>
                    <a:cubicBezTo>
                      <a:pt x="69" y="210"/>
                      <a:pt x="64" y="209"/>
                      <a:pt x="62" y="210"/>
                    </a:cubicBezTo>
                    <a:cubicBezTo>
                      <a:pt x="59" y="211"/>
                      <a:pt x="60" y="215"/>
                      <a:pt x="56" y="213"/>
                    </a:cubicBezTo>
                    <a:cubicBezTo>
                      <a:pt x="53" y="212"/>
                      <a:pt x="54" y="209"/>
                      <a:pt x="50" y="208"/>
                    </a:cubicBezTo>
                    <a:cubicBezTo>
                      <a:pt x="46" y="208"/>
                      <a:pt x="44" y="209"/>
                      <a:pt x="41" y="211"/>
                    </a:cubicBezTo>
                    <a:cubicBezTo>
                      <a:pt x="41" y="211"/>
                      <a:pt x="40" y="211"/>
                      <a:pt x="39" y="211"/>
                    </a:cubicBezTo>
                    <a:cubicBezTo>
                      <a:pt x="39" y="211"/>
                      <a:pt x="38" y="212"/>
                      <a:pt x="38" y="213"/>
                    </a:cubicBezTo>
                    <a:cubicBezTo>
                      <a:pt x="36" y="213"/>
                      <a:pt x="35" y="213"/>
                      <a:pt x="33" y="213"/>
                    </a:cubicBezTo>
                    <a:cubicBezTo>
                      <a:pt x="31" y="213"/>
                      <a:pt x="27" y="213"/>
                      <a:pt x="26" y="214"/>
                    </a:cubicBezTo>
                    <a:cubicBezTo>
                      <a:pt x="23" y="215"/>
                      <a:pt x="21" y="218"/>
                      <a:pt x="20" y="220"/>
                    </a:cubicBezTo>
                    <a:cubicBezTo>
                      <a:pt x="20" y="221"/>
                      <a:pt x="19" y="221"/>
                      <a:pt x="18" y="222"/>
                    </a:cubicBezTo>
                    <a:cubicBezTo>
                      <a:pt x="18" y="222"/>
                      <a:pt x="17" y="222"/>
                      <a:pt x="17" y="222"/>
                    </a:cubicBezTo>
                    <a:cubicBezTo>
                      <a:pt x="16" y="223"/>
                      <a:pt x="14" y="224"/>
                      <a:pt x="13" y="224"/>
                    </a:cubicBezTo>
                    <a:cubicBezTo>
                      <a:pt x="11" y="225"/>
                      <a:pt x="9" y="232"/>
                      <a:pt x="8" y="234"/>
                    </a:cubicBezTo>
                    <a:cubicBezTo>
                      <a:pt x="8" y="237"/>
                      <a:pt x="8" y="237"/>
                      <a:pt x="10" y="238"/>
                    </a:cubicBezTo>
                    <a:cubicBezTo>
                      <a:pt x="10" y="238"/>
                      <a:pt x="11" y="237"/>
                      <a:pt x="12" y="237"/>
                    </a:cubicBezTo>
                    <a:cubicBezTo>
                      <a:pt x="14" y="238"/>
                      <a:pt x="14" y="240"/>
                      <a:pt x="16" y="240"/>
                    </a:cubicBezTo>
                    <a:cubicBezTo>
                      <a:pt x="17" y="240"/>
                      <a:pt x="18" y="240"/>
                      <a:pt x="19" y="240"/>
                    </a:cubicBezTo>
                    <a:cubicBezTo>
                      <a:pt x="21" y="241"/>
                      <a:pt x="23" y="241"/>
                      <a:pt x="24" y="242"/>
                    </a:cubicBezTo>
                    <a:cubicBezTo>
                      <a:pt x="28" y="243"/>
                      <a:pt x="27" y="241"/>
                      <a:pt x="31" y="240"/>
                    </a:cubicBezTo>
                    <a:cubicBezTo>
                      <a:pt x="34" y="239"/>
                      <a:pt x="38" y="242"/>
                      <a:pt x="36" y="246"/>
                    </a:cubicBezTo>
                    <a:cubicBezTo>
                      <a:pt x="32" y="247"/>
                      <a:pt x="28" y="244"/>
                      <a:pt x="23" y="245"/>
                    </a:cubicBezTo>
                    <a:cubicBezTo>
                      <a:pt x="21" y="249"/>
                      <a:pt x="30" y="249"/>
                      <a:pt x="32" y="250"/>
                    </a:cubicBezTo>
                    <a:cubicBezTo>
                      <a:pt x="34" y="251"/>
                      <a:pt x="35" y="252"/>
                      <a:pt x="35" y="254"/>
                    </a:cubicBezTo>
                    <a:cubicBezTo>
                      <a:pt x="34" y="256"/>
                      <a:pt x="33" y="255"/>
                      <a:pt x="31" y="255"/>
                    </a:cubicBezTo>
                    <a:cubicBezTo>
                      <a:pt x="28" y="256"/>
                      <a:pt x="26" y="255"/>
                      <a:pt x="23" y="255"/>
                    </a:cubicBezTo>
                    <a:cubicBezTo>
                      <a:pt x="19" y="256"/>
                      <a:pt x="16" y="254"/>
                      <a:pt x="11" y="254"/>
                    </a:cubicBezTo>
                    <a:cubicBezTo>
                      <a:pt x="9" y="254"/>
                      <a:pt x="4" y="253"/>
                      <a:pt x="2" y="254"/>
                    </a:cubicBezTo>
                    <a:cubicBezTo>
                      <a:pt x="1" y="254"/>
                      <a:pt x="0" y="254"/>
                      <a:pt x="0" y="257"/>
                    </a:cubicBezTo>
                    <a:cubicBezTo>
                      <a:pt x="1" y="260"/>
                      <a:pt x="7" y="260"/>
                      <a:pt x="10" y="262"/>
                    </a:cubicBezTo>
                    <a:cubicBezTo>
                      <a:pt x="12" y="264"/>
                      <a:pt x="14" y="266"/>
                      <a:pt x="17" y="266"/>
                    </a:cubicBezTo>
                    <a:cubicBezTo>
                      <a:pt x="22" y="268"/>
                      <a:pt x="27" y="271"/>
                      <a:pt x="33" y="272"/>
                    </a:cubicBezTo>
                    <a:cubicBezTo>
                      <a:pt x="33" y="273"/>
                      <a:pt x="33" y="276"/>
                      <a:pt x="33" y="277"/>
                    </a:cubicBezTo>
                    <a:cubicBezTo>
                      <a:pt x="32" y="279"/>
                      <a:pt x="31" y="279"/>
                      <a:pt x="30" y="281"/>
                    </a:cubicBezTo>
                    <a:cubicBezTo>
                      <a:pt x="28" y="286"/>
                      <a:pt x="33" y="287"/>
                      <a:pt x="36" y="288"/>
                    </a:cubicBezTo>
                    <a:cubicBezTo>
                      <a:pt x="37" y="288"/>
                      <a:pt x="39" y="288"/>
                      <a:pt x="40" y="288"/>
                    </a:cubicBezTo>
                    <a:cubicBezTo>
                      <a:pt x="43" y="287"/>
                      <a:pt x="41" y="285"/>
                      <a:pt x="43" y="283"/>
                    </a:cubicBezTo>
                    <a:cubicBezTo>
                      <a:pt x="45" y="281"/>
                      <a:pt x="47" y="283"/>
                      <a:pt x="49" y="285"/>
                    </a:cubicBezTo>
                    <a:cubicBezTo>
                      <a:pt x="49" y="284"/>
                      <a:pt x="51" y="283"/>
                      <a:pt x="52" y="283"/>
                    </a:cubicBezTo>
                    <a:cubicBezTo>
                      <a:pt x="52" y="280"/>
                      <a:pt x="57" y="279"/>
                      <a:pt x="58" y="281"/>
                    </a:cubicBezTo>
                    <a:cubicBezTo>
                      <a:pt x="60" y="282"/>
                      <a:pt x="58" y="284"/>
                      <a:pt x="60" y="286"/>
                    </a:cubicBezTo>
                    <a:cubicBezTo>
                      <a:pt x="62" y="286"/>
                      <a:pt x="63" y="286"/>
                      <a:pt x="65" y="286"/>
                    </a:cubicBezTo>
                    <a:cubicBezTo>
                      <a:pt x="67" y="287"/>
                      <a:pt x="68" y="288"/>
                      <a:pt x="71" y="289"/>
                    </a:cubicBezTo>
                    <a:cubicBezTo>
                      <a:pt x="73" y="289"/>
                      <a:pt x="75" y="289"/>
                      <a:pt x="77" y="289"/>
                    </a:cubicBezTo>
                    <a:cubicBezTo>
                      <a:pt x="83" y="288"/>
                      <a:pt x="81" y="290"/>
                      <a:pt x="84" y="294"/>
                    </a:cubicBezTo>
                    <a:cubicBezTo>
                      <a:pt x="85" y="297"/>
                      <a:pt x="84" y="295"/>
                      <a:pt x="87" y="296"/>
                    </a:cubicBezTo>
                    <a:cubicBezTo>
                      <a:pt x="89" y="297"/>
                      <a:pt x="88" y="297"/>
                      <a:pt x="90" y="299"/>
                    </a:cubicBezTo>
                    <a:cubicBezTo>
                      <a:pt x="93" y="301"/>
                      <a:pt x="93" y="301"/>
                      <a:pt x="96" y="302"/>
                    </a:cubicBezTo>
                    <a:cubicBezTo>
                      <a:pt x="100" y="302"/>
                      <a:pt x="98" y="302"/>
                      <a:pt x="101" y="305"/>
                    </a:cubicBezTo>
                    <a:cubicBezTo>
                      <a:pt x="104" y="308"/>
                      <a:pt x="108" y="306"/>
                      <a:pt x="112" y="305"/>
                    </a:cubicBezTo>
                    <a:cubicBezTo>
                      <a:pt x="114" y="303"/>
                      <a:pt x="118" y="303"/>
                      <a:pt x="120" y="304"/>
                    </a:cubicBezTo>
                    <a:cubicBezTo>
                      <a:pt x="123" y="309"/>
                      <a:pt x="113" y="305"/>
                      <a:pt x="114" y="310"/>
                    </a:cubicBezTo>
                    <a:cubicBezTo>
                      <a:pt x="114" y="313"/>
                      <a:pt x="126" y="312"/>
                      <a:pt x="129" y="312"/>
                    </a:cubicBezTo>
                    <a:cubicBezTo>
                      <a:pt x="132" y="312"/>
                      <a:pt x="136" y="311"/>
                      <a:pt x="136" y="315"/>
                    </a:cubicBezTo>
                    <a:cubicBezTo>
                      <a:pt x="136" y="317"/>
                      <a:pt x="134" y="319"/>
                      <a:pt x="133" y="320"/>
                    </a:cubicBezTo>
                    <a:cubicBezTo>
                      <a:pt x="132" y="321"/>
                      <a:pt x="131" y="325"/>
                      <a:pt x="132" y="326"/>
                    </a:cubicBezTo>
                    <a:cubicBezTo>
                      <a:pt x="132" y="331"/>
                      <a:pt x="139" y="327"/>
                      <a:pt x="142" y="328"/>
                    </a:cubicBezTo>
                    <a:cubicBezTo>
                      <a:pt x="145" y="329"/>
                      <a:pt x="147" y="333"/>
                      <a:pt x="148" y="335"/>
                    </a:cubicBezTo>
                    <a:cubicBezTo>
                      <a:pt x="148" y="337"/>
                      <a:pt x="147" y="340"/>
                      <a:pt x="147" y="341"/>
                    </a:cubicBezTo>
                    <a:cubicBezTo>
                      <a:pt x="148" y="343"/>
                      <a:pt x="151" y="343"/>
                      <a:pt x="153" y="344"/>
                    </a:cubicBezTo>
                    <a:cubicBezTo>
                      <a:pt x="155" y="346"/>
                      <a:pt x="155" y="346"/>
                      <a:pt x="156" y="349"/>
                    </a:cubicBezTo>
                    <a:cubicBezTo>
                      <a:pt x="157" y="350"/>
                      <a:pt x="158" y="354"/>
                      <a:pt x="157" y="355"/>
                    </a:cubicBezTo>
                    <a:cubicBezTo>
                      <a:pt x="156" y="355"/>
                      <a:pt x="154" y="356"/>
                      <a:pt x="153" y="355"/>
                    </a:cubicBezTo>
                    <a:cubicBezTo>
                      <a:pt x="152" y="355"/>
                      <a:pt x="150" y="351"/>
                      <a:pt x="149" y="350"/>
                    </a:cubicBezTo>
                    <a:cubicBezTo>
                      <a:pt x="148" y="349"/>
                      <a:pt x="148" y="347"/>
                      <a:pt x="145" y="347"/>
                    </a:cubicBezTo>
                    <a:cubicBezTo>
                      <a:pt x="142" y="347"/>
                      <a:pt x="141" y="351"/>
                      <a:pt x="142" y="353"/>
                    </a:cubicBezTo>
                    <a:cubicBezTo>
                      <a:pt x="143" y="355"/>
                      <a:pt x="146" y="356"/>
                      <a:pt x="147" y="358"/>
                    </a:cubicBezTo>
                    <a:cubicBezTo>
                      <a:pt x="149" y="360"/>
                      <a:pt x="150" y="362"/>
                      <a:pt x="152" y="364"/>
                    </a:cubicBezTo>
                    <a:cubicBezTo>
                      <a:pt x="156" y="368"/>
                      <a:pt x="161" y="373"/>
                      <a:pt x="161" y="379"/>
                    </a:cubicBezTo>
                    <a:cubicBezTo>
                      <a:pt x="165" y="379"/>
                      <a:pt x="165" y="385"/>
                      <a:pt x="167" y="387"/>
                    </a:cubicBezTo>
                    <a:cubicBezTo>
                      <a:pt x="169" y="388"/>
                      <a:pt x="171" y="388"/>
                      <a:pt x="172" y="389"/>
                    </a:cubicBezTo>
                    <a:cubicBezTo>
                      <a:pt x="174" y="390"/>
                      <a:pt x="174" y="393"/>
                      <a:pt x="175" y="395"/>
                    </a:cubicBezTo>
                    <a:cubicBezTo>
                      <a:pt x="176" y="396"/>
                      <a:pt x="179" y="400"/>
                      <a:pt x="180" y="400"/>
                    </a:cubicBezTo>
                    <a:cubicBezTo>
                      <a:pt x="182" y="401"/>
                      <a:pt x="184" y="401"/>
                      <a:pt x="187" y="401"/>
                    </a:cubicBezTo>
                    <a:cubicBezTo>
                      <a:pt x="191" y="401"/>
                      <a:pt x="192" y="403"/>
                      <a:pt x="196" y="403"/>
                    </a:cubicBezTo>
                    <a:cubicBezTo>
                      <a:pt x="199" y="403"/>
                      <a:pt x="199" y="403"/>
                      <a:pt x="201" y="404"/>
                    </a:cubicBezTo>
                    <a:cubicBezTo>
                      <a:pt x="202" y="405"/>
                      <a:pt x="203" y="407"/>
                      <a:pt x="205" y="408"/>
                    </a:cubicBezTo>
                    <a:cubicBezTo>
                      <a:pt x="207" y="408"/>
                      <a:pt x="207" y="407"/>
                      <a:pt x="208" y="406"/>
                    </a:cubicBezTo>
                    <a:cubicBezTo>
                      <a:pt x="210" y="406"/>
                      <a:pt x="212" y="405"/>
                      <a:pt x="214" y="405"/>
                    </a:cubicBezTo>
                    <a:cubicBezTo>
                      <a:pt x="218" y="405"/>
                      <a:pt x="222" y="405"/>
                      <a:pt x="226" y="405"/>
                    </a:cubicBezTo>
                    <a:cubicBezTo>
                      <a:pt x="228" y="405"/>
                      <a:pt x="231" y="404"/>
                      <a:pt x="231" y="406"/>
                    </a:cubicBezTo>
                    <a:cubicBezTo>
                      <a:pt x="232" y="409"/>
                      <a:pt x="226" y="409"/>
                      <a:pt x="224" y="409"/>
                    </a:cubicBezTo>
                    <a:cubicBezTo>
                      <a:pt x="221" y="409"/>
                      <a:pt x="218" y="409"/>
                      <a:pt x="215" y="409"/>
                    </a:cubicBezTo>
                    <a:cubicBezTo>
                      <a:pt x="211" y="409"/>
                      <a:pt x="208" y="407"/>
                      <a:pt x="208" y="412"/>
                    </a:cubicBezTo>
                    <a:cubicBezTo>
                      <a:pt x="208" y="414"/>
                      <a:pt x="208" y="417"/>
                      <a:pt x="209" y="419"/>
                    </a:cubicBezTo>
                    <a:cubicBezTo>
                      <a:pt x="210" y="420"/>
                      <a:pt x="211" y="421"/>
                      <a:pt x="212" y="422"/>
                    </a:cubicBezTo>
                    <a:cubicBezTo>
                      <a:pt x="214" y="426"/>
                      <a:pt x="212" y="431"/>
                      <a:pt x="211" y="434"/>
                    </a:cubicBezTo>
                    <a:cubicBezTo>
                      <a:pt x="211" y="436"/>
                      <a:pt x="211" y="443"/>
                      <a:pt x="208" y="443"/>
                    </a:cubicBezTo>
                    <a:cubicBezTo>
                      <a:pt x="208" y="442"/>
                      <a:pt x="204" y="438"/>
                      <a:pt x="204" y="438"/>
                    </a:cubicBezTo>
                    <a:cubicBezTo>
                      <a:pt x="203" y="437"/>
                      <a:pt x="202" y="436"/>
                      <a:pt x="202" y="434"/>
                    </a:cubicBezTo>
                    <a:cubicBezTo>
                      <a:pt x="199" y="430"/>
                      <a:pt x="198" y="432"/>
                      <a:pt x="194" y="430"/>
                    </a:cubicBezTo>
                    <a:cubicBezTo>
                      <a:pt x="189" y="428"/>
                      <a:pt x="193" y="424"/>
                      <a:pt x="189" y="422"/>
                    </a:cubicBezTo>
                    <a:cubicBezTo>
                      <a:pt x="186" y="424"/>
                      <a:pt x="190" y="429"/>
                      <a:pt x="192" y="431"/>
                    </a:cubicBezTo>
                    <a:cubicBezTo>
                      <a:pt x="193" y="433"/>
                      <a:pt x="193" y="434"/>
                      <a:pt x="194" y="435"/>
                    </a:cubicBezTo>
                    <a:cubicBezTo>
                      <a:pt x="196" y="437"/>
                      <a:pt x="196" y="437"/>
                      <a:pt x="198" y="438"/>
                    </a:cubicBezTo>
                    <a:cubicBezTo>
                      <a:pt x="202" y="441"/>
                      <a:pt x="201" y="446"/>
                      <a:pt x="203" y="450"/>
                    </a:cubicBezTo>
                    <a:cubicBezTo>
                      <a:pt x="205" y="454"/>
                      <a:pt x="206" y="458"/>
                      <a:pt x="210" y="460"/>
                    </a:cubicBezTo>
                    <a:cubicBezTo>
                      <a:pt x="212" y="461"/>
                      <a:pt x="214" y="463"/>
                      <a:pt x="216" y="464"/>
                    </a:cubicBezTo>
                    <a:cubicBezTo>
                      <a:pt x="217" y="465"/>
                      <a:pt x="220" y="467"/>
                      <a:pt x="221" y="468"/>
                    </a:cubicBezTo>
                    <a:cubicBezTo>
                      <a:pt x="223" y="470"/>
                      <a:pt x="222" y="473"/>
                      <a:pt x="223" y="475"/>
                    </a:cubicBezTo>
                    <a:cubicBezTo>
                      <a:pt x="225" y="480"/>
                      <a:pt x="227" y="485"/>
                      <a:pt x="229" y="490"/>
                    </a:cubicBezTo>
                    <a:cubicBezTo>
                      <a:pt x="231" y="494"/>
                      <a:pt x="230" y="499"/>
                      <a:pt x="231" y="503"/>
                    </a:cubicBezTo>
                    <a:cubicBezTo>
                      <a:pt x="232" y="505"/>
                      <a:pt x="233" y="506"/>
                      <a:pt x="233" y="507"/>
                    </a:cubicBezTo>
                    <a:cubicBezTo>
                      <a:pt x="234" y="509"/>
                      <a:pt x="234" y="511"/>
                      <a:pt x="234" y="514"/>
                    </a:cubicBezTo>
                    <a:cubicBezTo>
                      <a:pt x="234" y="510"/>
                      <a:pt x="232" y="505"/>
                      <a:pt x="229" y="502"/>
                    </a:cubicBezTo>
                    <a:cubicBezTo>
                      <a:pt x="227" y="498"/>
                      <a:pt x="225" y="494"/>
                      <a:pt x="223" y="491"/>
                    </a:cubicBezTo>
                    <a:cubicBezTo>
                      <a:pt x="221" y="487"/>
                      <a:pt x="221" y="482"/>
                      <a:pt x="219" y="479"/>
                    </a:cubicBezTo>
                    <a:cubicBezTo>
                      <a:pt x="216" y="476"/>
                      <a:pt x="213" y="472"/>
                      <a:pt x="210" y="470"/>
                    </a:cubicBezTo>
                    <a:cubicBezTo>
                      <a:pt x="210" y="470"/>
                      <a:pt x="206" y="467"/>
                      <a:pt x="206" y="467"/>
                    </a:cubicBezTo>
                    <a:cubicBezTo>
                      <a:pt x="204" y="467"/>
                      <a:pt x="203" y="472"/>
                      <a:pt x="203" y="474"/>
                    </a:cubicBezTo>
                    <a:cubicBezTo>
                      <a:pt x="202" y="479"/>
                      <a:pt x="203" y="485"/>
                      <a:pt x="203" y="491"/>
                    </a:cubicBezTo>
                    <a:cubicBezTo>
                      <a:pt x="203" y="494"/>
                      <a:pt x="203" y="497"/>
                      <a:pt x="203" y="500"/>
                    </a:cubicBezTo>
                    <a:cubicBezTo>
                      <a:pt x="202" y="502"/>
                      <a:pt x="201" y="503"/>
                      <a:pt x="200" y="505"/>
                    </a:cubicBezTo>
                    <a:cubicBezTo>
                      <a:pt x="199" y="508"/>
                      <a:pt x="200" y="512"/>
                      <a:pt x="199" y="516"/>
                    </a:cubicBezTo>
                    <a:cubicBezTo>
                      <a:pt x="198" y="519"/>
                      <a:pt x="197" y="521"/>
                      <a:pt x="196" y="524"/>
                    </a:cubicBezTo>
                    <a:cubicBezTo>
                      <a:pt x="196" y="528"/>
                      <a:pt x="195" y="532"/>
                      <a:pt x="194" y="535"/>
                    </a:cubicBezTo>
                    <a:cubicBezTo>
                      <a:pt x="194" y="538"/>
                      <a:pt x="194" y="541"/>
                      <a:pt x="194" y="543"/>
                    </a:cubicBezTo>
                    <a:cubicBezTo>
                      <a:pt x="193" y="546"/>
                      <a:pt x="192" y="548"/>
                      <a:pt x="191" y="551"/>
                    </a:cubicBezTo>
                    <a:cubicBezTo>
                      <a:pt x="191" y="556"/>
                      <a:pt x="190" y="560"/>
                      <a:pt x="189" y="565"/>
                    </a:cubicBezTo>
                    <a:cubicBezTo>
                      <a:pt x="189" y="567"/>
                      <a:pt x="188" y="570"/>
                      <a:pt x="188" y="573"/>
                    </a:cubicBezTo>
                    <a:cubicBezTo>
                      <a:pt x="187" y="577"/>
                      <a:pt x="186" y="576"/>
                      <a:pt x="184" y="579"/>
                    </a:cubicBezTo>
                    <a:cubicBezTo>
                      <a:pt x="181" y="583"/>
                      <a:pt x="182" y="589"/>
                      <a:pt x="182" y="594"/>
                    </a:cubicBezTo>
                    <a:cubicBezTo>
                      <a:pt x="182" y="600"/>
                      <a:pt x="182" y="606"/>
                      <a:pt x="181" y="610"/>
                    </a:cubicBezTo>
                    <a:cubicBezTo>
                      <a:pt x="179" y="617"/>
                      <a:pt x="176" y="619"/>
                      <a:pt x="170" y="623"/>
                    </a:cubicBezTo>
                    <a:cubicBezTo>
                      <a:pt x="168" y="624"/>
                      <a:pt x="166" y="626"/>
                      <a:pt x="165" y="627"/>
                    </a:cubicBezTo>
                    <a:cubicBezTo>
                      <a:pt x="164" y="629"/>
                      <a:pt x="164" y="633"/>
                      <a:pt x="164" y="635"/>
                    </a:cubicBezTo>
                    <a:cubicBezTo>
                      <a:pt x="165" y="636"/>
                      <a:pt x="166" y="637"/>
                      <a:pt x="166" y="637"/>
                    </a:cubicBezTo>
                    <a:cubicBezTo>
                      <a:pt x="168" y="637"/>
                      <a:pt x="169" y="638"/>
                      <a:pt x="169" y="638"/>
                    </a:cubicBezTo>
                    <a:cubicBezTo>
                      <a:pt x="170" y="639"/>
                      <a:pt x="171" y="639"/>
                      <a:pt x="172" y="640"/>
                    </a:cubicBezTo>
                    <a:cubicBezTo>
                      <a:pt x="173" y="640"/>
                      <a:pt x="174" y="640"/>
                      <a:pt x="175" y="640"/>
                    </a:cubicBezTo>
                    <a:cubicBezTo>
                      <a:pt x="176" y="641"/>
                      <a:pt x="178" y="640"/>
                      <a:pt x="179" y="642"/>
                    </a:cubicBezTo>
                    <a:cubicBezTo>
                      <a:pt x="182" y="646"/>
                      <a:pt x="176" y="649"/>
                      <a:pt x="177" y="653"/>
                    </a:cubicBezTo>
                    <a:cubicBezTo>
                      <a:pt x="178" y="657"/>
                      <a:pt x="180" y="658"/>
                      <a:pt x="182" y="656"/>
                    </a:cubicBezTo>
                    <a:cubicBezTo>
                      <a:pt x="184" y="655"/>
                      <a:pt x="185" y="652"/>
                      <a:pt x="188" y="653"/>
                    </a:cubicBezTo>
                    <a:cubicBezTo>
                      <a:pt x="188" y="657"/>
                      <a:pt x="194" y="659"/>
                      <a:pt x="197" y="661"/>
                    </a:cubicBezTo>
                    <a:cubicBezTo>
                      <a:pt x="199" y="663"/>
                      <a:pt x="201" y="664"/>
                      <a:pt x="203" y="665"/>
                    </a:cubicBezTo>
                    <a:cubicBezTo>
                      <a:pt x="210" y="668"/>
                      <a:pt x="217" y="665"/>
                      <a:pt x="219" y="674"/>
                    </a:cubicBezTo>
                    <a:cubicBezTo>
                      <a:pt x="225" y="675"/>
                      <a:pt x="230" y="677"/>
                      <a:pt x="235" y="677"/>
                    </a:cubicBezTo>
                    <a:cubicBezTo>
                      <a:pt x="238" y="678"/>
                      <a:pt x="242" y="676"/>
                      <a:pt x="244" y="677"/>
                    </a:cubicBezTo>
                    <a:cubicBezTo>
                      <a:pt x="245" y="677"/>
                      <a:pt x="247" y="679"/>
                      <a:pt x="247" y="680"/>
                    </a:cubicBezTo>
                    <a:cubicBezTo>
                      <a:pt x="249" y="681"/>
                      <a:pt x="251" y="682"/>
                      <a:pt x="253" y="683"/>
                    </a:cubicBezTo>
                    <a:cubicBezTo>
                      <a:pt x="254" y="684"/>
                      <a:pt x="256" y="685"/>
                      <a:pt x="258" y="685"/>
                    </a:cubicBezTo>
                    <a:cubicBezTo>
                      <a:pt x="260" y="685"/>
                      <a:pt x="262" y="684"/>
                      <a:pt x="265" y="684"/>
                    </a:cubicBezTo>
                    <a:cubicBezTo>
                      <a:pt x="273" y="684"/>
                      <a:pt x="282" y="685"/>
                      <a:pt x="290" y="684"/>
                    </a:cubicBezTo>
                    <a:cubicBezTo>
                      <a:pt x="292" y="684"/>
                      <a:pt x="293" y="685"/>
                      <a:pt x="294" y="683"/>
                    </a:cubicBezTo>
                    <a:cubicBezTo>
                      <a:pt x="295" y="682"/>
                      <a:pt x="294" y="681"/>
                      <a:pt x="295" y="680"/>
                    </a:cubicBezTo>
                    <a:cubicBezTo>
                      <a:pt x="295" y="678"/>
                      <a:pt x="296" y="678"/>
                      <a:pt x="296" y="677"/>
                    </a:cubicBezTo>
                    <a:cubicBezTo>
                      <a:pt x="297" y="676"/>
                      <a:pt x="297" y="674"/>
                      <a:pt x="297" y="672"/>
                    </a:cubicBezTo>
                    <a:cubicBezTo>
                      <a:pt x="300" y="673"/>
                      <a:pt x="302" y="675"/>
                      <a:pt x="305" y="675"/>
                    </a:cubicBezTo>
                    <a:cubicBezTo>
                      <a:pt x="309" y="676"/>
                      <a:pt x="313" y="679"/>
                      <a:pt x="318" y="680"/>
                    </a:cubicBezTo>
                    <a:cubicBezTo>
                      <a:pt x="320" y="680"/>
                      <a:pt x="322" y="680"/>
                      <a:pt x="324" y="681"/>
                    </a:cubicBezTo>
                    <a:cubicBezTo>
                      <a:pt x="327" y="682"/>
                      <a:pt x="328" y="683"/>
                      <a:pt x="330" y="684"/>
                    </a:cubicBezTo>
                    <a:cubicBezTo>
                      <a:pt x="333" y="685"/>
                      <a:pt x="336" y="687"/>
                      <a:pt x="337" y="690"/>
                    </a:cubicBezTo>
                    <a:cubicBezTo>
                      <a:pt x="337" y="690"/>
                      <a:pt x="337" y="690"/>
                      <a:pt x="337" y="690"/>
                    </a:cubicBezTo>
                    <a:cubicBezTo>
                      <a:pt x="338" y="690"/>
                      <a:pt x="338" y="689"/>
                      <a:pt x="338" y="689"/>
                    </a:cubicBezTo>
                    <a:cubicBezTo>
                      <a:pt x="339" y="689"/>
                      <a:pt x="339" y="688"/>
                      <a:pt x="339" y="688"/>
                    </a:cubicBezTo>
                    <a:cubicBezTo>
                      <a:pt x="340" y="686"/>
                      <a:pt x="340" y="685"/>
                      <a:pt x="342" y="684"/>
                    </a:cubicBezTo>
                    <a:cubicBezTo>
                      <a:pt x="342" y="684"/>
                      <a:pt x="343" y="685"/>
                      <a:pt x="344" y="685"/>
                    </a:cubicBezTo>
                    <a:cubicBezTo>
                      <a:pt x="345" y="686"/>
                      <a:pt x="346" y="686"/>
                      <a:pt x="346" y="687"/>
                    </a:cubicBezTo>
                    <a:cubicBezTo>
                      <a:pt x="348" y="688"/>
                      <a:pt x="349" y="687"/>
                      <a:pt x="349" y="687"/>
                    </a:cubicBezTo>
                    <a:cubicBezTo>
                      <a:pt x="350" y="688"/>
                      <a:pt x="351" y="688"/>
                      <a:pt x="352" y="688"/>
                    </a:cubicBezTo>
                    <a:cubicBezTo>
                      <a:pt x="353" y="689"/>
                      <a:pt x="355" y="689"/>
                      <a:pt x="356" y="689"/>
                    </a:cubicBezTo>
                    <a:cubicBezTo>
                      <a:pt x="358" y="690"/>
                      <a:pt x="360" y="692"/>
                      <a:pt x="362" y="693"/>
                    </a:cubicBezTo>
                    <a:cubicBezTo>
                      <a:pt x="363" y="693"/>
                      <a:pt x="363" y="693"/>
                      <a:pt x="364" y="693"/>
                    </a:cubicBezTo>
                    <a:cubicBezTo>
                      <a:pt x="365" y="693"/>
                      <a:pt x="366" y="694"/>
                      <a:pt x="367" y="694"/>
                    </a:cubicBezTo>
                    <a:cubicBezTo>
                      <a:pt x="368" y="695"/>
                      <a:pt x="370" y="695"/>
                      <a:pt x="371" y="697"/>
                    </a:cubicBezTo>
                    <a:cubicBezTo>
                      <a:pt x="372" y="698"/>
                      <a:pt x="372" y="699"/>
                      <a:pt x="372" y="700"/>
                    </a:cubicBezTo>
                    <a:cubicBezTo>
                      <a:pt x="372" y="701"/>
                      <a:pt x="372" y="702"/>
                      <a:pt x="373" y="703"/>
                    </a:cubicBezTo>
                    <a:cubicBezTo>
                      <a:pt x="373" y="705"/>
                      <a:pt x="374" y="707"/>
                      <a:pt x="373" y="709"/>
                    </a:cubicBezTo>
                    <a:cubicBezTo>
                      <a:pt x="373" y="710"/>
                      <a:pt x="373" y="710"/>
                      <a:pt x="372" y="710"/>
                    </a:cubicBezTo>
                    <a:cubicBezTo>
                      <a:pt x="372" y="710"/>
                      <a:pt x="372" y="710"/>
                      <a:pt x="372" y="710"/>
                    </a:cubicBezTo>
                    <a:cubicBezTo>
                      <a:pt x="374" y="711"/>
                      <a:pt x="374" y="712"/>
                      <a:pt x="376" y="711"/>
                    </a:cubicBezTo>
                    <a:cubicBezTo>
                      <a:pt x="378" y="711"/>
                      <a:pt x="378" y="710"/>
                      <a:pt x="380" y="709"/>
                    </a:cubicBezTo>
                    <a:cubicBezTo>
                      <a:pt x="380" y="709"/>
                      <a:pt x="381" y="709"/>
                      <a:pt x="381" y="709"/>
                    </a:cubicBezTo>
                    <a:cubicBezTo>
                      <a:pt x="382" y="708"/>
                      <a:pt x="382" y="708"/>
                      <a:pt x="382" y="707"/>
                    </a:cubicBezTo>
                    <a:cubicBezTo>
                      <a:pt x="383" y="707"/>
                      <a:pt x="384" y="706"/>
                      <a:pt x="385" y="706"/>
                    </a:cubicBezTo>
                    <a:cubicBezTo>
                      <a:pt x="390" y="705"/>
                      <a:pt x="397" y="708"/>
                      <a:pt x="402" y="709"/>
                    </a:cubicBezTo>
                    <a:cubicBezTo>
                      <a:pt x="407" y="710"/>
                      <a:pt x="408" y="707"/>
                      <a:pt x="412" y="705"/>
                    </a:cubicBezTo>
                    <a:cubicBezTo>
                      <a:pt x="416" y="704"/>
                      <a:pt x="418" y="703"/>
                      <a:pt x="422" y="703"/>
                    </a:cubicBezTo>
                    <a:cubicBezTo>
                      <a:pt x="427" y="703"/>
                      <a:pt x="432" y="703"/>
                      <a:pt x="437" y="704"/>
                    </a:cubicBezTo>
                    <a:cubicBezTo>
                      <a:pt x="439" y="704"/>
                      <a:pt x="440" y="705"/>
                      <a:pt x="442" y="706"/>
                    </a:cubicBezTo>
                    <a:cubicBezTo>
                      <a:pt x="441" y="703"/>
                      <a:pt x="439" y="702"/>
                      <a:pt x="436" y="699"/>
                    </a:cubicBezTo>
                    <a:cubicBezTo>
                      <a:pt x="431" y="695"/>
                      <a:pt x="431" y="690"/>
                      <a:pt x="431" y="685"/>
                    </a:cubicBezTo>
                    <a:cubicBezTo>
                      <a:pt x="431" y="682"/>
                      <a:pt x="431" y="679"/>
                      <a:pt x="432" y="677"/>
                    </a:cubicBezTo>
                    <a:cubicBezTo>
                      <a:pt x="432" y="675"/>
                      <a:pt x="432" y="675"/>
                      <a:pt x="433" y="674"/>
                    </a:cubicBezTo>
                    <a:cubicBezTo>
                      <a:pt x="434" y="672"/>
                      <a:pt x="434" y="672"/>
                      <a:pt x="435" y="671"/>
                    </a:cubicBezTo>
                    <a:cubicBezTo>
                      <a:pt x="438" y="667"/>
                      <a:pt x="438" y="664"/>
                      <a:pt x="440" y="659"/>
                    </a:cubicBezTo>
                    <a:cubicBezTo>
                      <a:pt x="442" y="655"/>
                      <a:pt x="445" y="654"/>
                      <a:pt x="448" y="651"/>
                    </a:cubicBezTo>
                    <a:cubicBezTo>
                      <a:pt x="450" y="649"/>
                      <a:pt x="451" y="648"/>
                      <a:pt x="452" y="646"/>
                    </a:cubicBezTo>
                    <a:cubicBezTo>
                      <a:pt x="453" y="644"/>
                      <a:pt x="453" y="641"/>
                      <a:pt x="455" y="639"/>
                    </a:cubicBezTo>
                    <a:cubicBezTo>
                      <a:pt x="458" y="636"/>
                      <a:pt x="460" y="635"/>
                      <a:pt x="464" y="634"/>
                    </a:cubicBezTo>
                    <a:cubicBezTo>
                      <a:pt x="469" y="634"/>
                      <a:pt x="471" y="630"/>
                      <a:pt x="474" y="627"/>
                    </a:cubicBezTo>
                    <a:cubicBezTo>
                      <a:pt x="478" y="623"/>
                      <a:pt x="481" y="621"/>
                      <a:pt x="487" y="621"/>
                    </a:cubicBezTo>
                    <a:cubicBezTo>
                      <a:pt x="489" y="621"/>
                      <a:pt x="489" y="622"/>
                      <a:pt x="491" y="622"/>
                    </a:cubicBezTo>
                    <a:cubicBezTo>
                      <a:pt x="492" y="623"/>
                      <a:pt x="493" y="624"/>
                      <a:pt x="494" y="624"/>
                    </a:cubicBezTo>
                    <a:cubicBezTo>
                      <a:pt x="495" y="624"/>
                      <a:pt x="496" y="624"/>
                      <a:pt x="497" y="624"/>
                    </a:cubicBezTo>
                    <a:cubicBezTo>
                      <a:pt x="500" y="624"/>
                      <a:pt x="503" y="624"/>
                      <a:pt x="505" y="624"/>
                    </a:cubicBezTo>
                    <a:cubicBezTo>
                      <a:pt x="506" y="625"/>
                      <a:pt x="506" y="626"/>
                      <a:pt x="507" y="626"/>
                    </a:cubicBezTo>
                    <a:cubicBezTo>
                      <a:pt x="508" y="626"/>
                      <a:pt x="510" y="626"/>
                      <a:pt x="511" y="626"/>
                    </a:cubicBezTo>
                    <a:cubicBezTo>
                      <a:pt x="513" y="626"/>
                      <a:pt x="515" y="626"/>
                      <a:pt x="517" y="626"/>
                    </a:cubicBezTo>
                    <a:cubicBezTo>
                      <a:pt x="518" y="626"/>
                      <a:pt x="519" y="626"/>
                      <a:pt x="520" y="626"/>
                    </a:cubicBezTo>
                    <a:cubicBezTo>
                      <a:pt x="521" y="626"/>
                      <a:pt x="522" y="625"/>
                      <a:pt x="523" y="625"/>
                    </a:cubicBezTo>
                    <a:cubicBezTo>
                      <a:pt x="524" y="625"/>
                      <a:pt x="524" y="624"/>
                      <a:pt x="526" y="624"/>
                    </a:cubicBezTo>
                    <a:cubicBezTo>
                      <a:pt x="526" y="626"/>
                      <a:pt x="525" y="631"/>
                      <a:pt x="526" y="633"/>
                    </a:cubicBezTo>
                    <a:cubicBezTo>
                      <a:pt x="527" y="635"/>
                      <a:pt x="529" y="634"/>
                      <a:pt x="532" y="634"/>
                    </a:cubicBezTo>
                    <a:cubicBezTo>
                      <a:pt x="532" y="634"/>
                      <a:pt x="534" y="635"/>
                      <a:pt x="534" y="634"/>
                    </a:cubicBezTo>
                    <a:cubicBezTo>
                      <a:pt x="536" y="634"/>
                      <a:pt x="535" y="634"/>
                      <a:pt x="536" y="632"/>
                    </a:cubicBezTo>
                    <a:cubicBezTo>
                      <a:pt x="537" y="631"/>
                      <a:pt x="537" y="630"/>
                      <a:pt x="538" y="629"/>
                    </a:cubicBezTo>
                    <a:cubicBezTo>
                      <a:pt x="539" y="628"/>
                      <a:pt x="541" y="630"/>
                      <a:pt x="541" y="627"/>
                    </a:cubicBezTo>
                    <a:cubicBezTo>
                      <a:pt x="546" y="630"/>
                      <a:pt x="542" y="632"/>
                      <a:pt x="543" y="635"/>
                    </a:cubicBezTo>
                    <a:cubicBezTo>
                      <a:pt x="545" y="635"/>
                      <a:pt x="545" y="637"/>
                      <a:pt x="547" y="637"/>
                    </a:cubicBezTo>
                    <a:cubicBezTo>
                      <a:pt x="549" y="638"/>
                      <a:pt x="549" y="636"/>
                      <a:pt x="551" y="635"/>
                    </a:cubicBezTo>
                    <a:cubicBezTo>
                      <a:pt x="552" y="635"/>
                      <a:pt x="557" y="635"/>
                      <a:pt x="558" y="635"/>
                    </a:cubicBezTo>
                    <a:cubicBezTo>
                      <a:pt x="560" y="636"/>
                      <a:pt x="560" y="636"/>
                      <a:pt x="560" y="639"/>
                    </a:cubicBezTo>
                    <a:cubicBezTo>
                      <a:pt x="562" y="640"/>
                      <a:pt x="565" y="640"/>
                      <a:pt x="566" y="642"/>
                    </a:cubicBezTo>
                    <a:cubicBezTo>
                      <a:pt x="567" y="644"/>
                      <a:pt x="566" y="647"/>
                      <a:pt x="568" y="648"/>
                    </a:cubicBezTo>
                    <a:cubicBezTo>
                      <a:pt x="569" y="650"/>
                      <a:pt x="572" y="651"/>
                      <a:pt x="574" y="652"/>
                    </a:cubicBezTo>
                    <a:cubicBezTo>
                      <a:pt x="576" y="653"/>
                      <a:pt x="577" y="653"/>
                      <a:pt x="580" y="653"/>
                    </a:cubicBezTo>
                    <a:cubicBezTo>
                      <a:pt x="582" y="653"/>
                      <a:pt x="584" y="654"/>
                      <a:pt x="585" y="654"/>
                    </a:cubicBezTo>
                    <a:cubicBezTo>
                      <a:pt x="588" y="654"/>
                      <a:pt x="592" y="653"/>
                      <a:pt x="594" y="654"/>
                    </a:cubicBezTo>
                    <a:cubicBezTo>
                      <a:pt x="596" y="656"/>
                      <a:pt x="596" y="657"/>
                      <a:pt x="599" y="658"/>
                    </a:cubicBezTo>
                    <a:cubicBezTo>
                      <a:pt x="602" y="659"/>
                      <a:pt x="605" y="658"/>
                      <a:pt x="608" y="658"/>
                    </a:cubicBezTo>
                    <a:cubicBezTo>
                      <a:pt x="612" y="658"/>
                      <a:pt x="616" y="658"/>
                      <a:pt x="621" y="658"/>
                    </a:cubicBezTo>
                    <a:cubicBezTo>
                      <a:pt x="628" y="658"/>
                      <a:pt x="634" y="656"/>
                      <a:pt x="639" y="650"/>
                    </a:cubicBezTo>
                    <a:cubicBezTo>
                      <a:pt x="640" y="651"/>
                      <a:pt x="641" y="651"/>
                      <a:pt x="641" y="650"/>
                    </a:cubicBezTo>
                    <a:cubicBezTo>
                      <a:pt x="642" y="649"/>
                      <a:pt x="641" y="646"/>
                      <a:pt x="641" y="645"/>
                    </a:cubicBezTo>
                    <a:cubicBezTo>
                      <a:pt x="640" y="643"/>
                      <a:pt x="636" y="641"/>
                      <a:pt x="638" y="638"/>
                    </a:cubicBezTo>
                    <a:cubicBezTo>
                      <a:pt x="639" y="638"/>
                      <a:pt x="643" y="637"/>
                      <a:pt x="644" y="637"/>
                    </a:cubicBezTo>
                    <a:cubicBezTo>
                      <a:pt x="645" y="637"/>
                      <a:pt x="646" y="637"/>
                      <a:pt x="647" y="637"/>
                    </a:cubicBezTo>
                    <a:cubicBezTo>
                      <a:pt x="648" y="636"/>
                      <a:pt x="648" y="635"/>
                      <a:pt x="650" y="635"/>
                    </a:cubicBezTo>
                    <a:cubicBezTo>
                      <a:pt x="650" y="633"/>
                      <a:pt x="649" y="630"/>
                      <a:pt x="650" y="627"/>
                    </a:cubicBezTo>
                    <a:cubicBezTo>
                      <a:pt x="651" y="624"/>
                      <a:pt x="654" y="624"/>
                      <a:pt x="657" y="622"/>
                    </a:cubicBezTo>
                    <a:cubicBezTo>
                      <a:pt x="658" y="620"/>
                      <a:pt x="659" y="618"/>
                      <a:pt x="659" y="616"/>
                    </a:cubicBezTo>
                    <a:cubicBezTo>
                      <a:pt x="661" y="612"/>
                      <a:pt x="659" y="613"/>
                      <a:pt x="664" y="612"/>
                    </a:cubicBezTo>
                    <a:cubicBezTo>
                      <a:pt x="667" y="612"/>
                      <a:pt x="670" y="611"/>
                      <a:pt x="673" y="610"/>
                    </a:cubicBezTo>
                    <a:cubicBezTo>
                      <a:pt x="676" y="610"/>
                      <a:pt x="678" y="610"/>
                      <a:pt x="681" y="608"/>
                    </a:cubicBezTo>
                    <a:cubicBezTo>
                      <a:pt x="683" y="606"/>
                      <a:pt x="684" y="605"/>
                      <a:pt x="685" y="602"/>
                    </a:cubicBezTo>
                    <a:cubicBezTo>
                      <a:pt x="685" y="602"/>
                      <a:pt x="686" y="602"/>
                      <a:pt x="687" y="601"/>
                    </a:cubicBezTo>
                    <a:cubicBezTo>
                      <a:pt x="687" y="600"/>
                      <a:pt x="687" y="598"/>
                      <a:pt x="687" y="597"/>
                    </a:cubicBezTo>
                    <a:cubicBezTo>
                      <a:pt x="687" y="595"/>
                      <a:pt x="687" y="592"/>
                      <a:pt x="688" y="589"/>
                    </a:cubicBezTo>
                    <a:cubicBezTo>
                      <a:pt x="690" y="589"/>
                      <a:pt x="691" y="585"/>
                      <a:pt x="693" y="583"/>
                    </a:cubicBezTo>
                    <a:cubicBezTo>
                      <a:pt x="694" y="582"/>
                      <a:pt x="697" y="581"/>
                      <a:pt x="698" y="578"/>
                    </a:cubicBezTo>
                    <a:cubicBezTo>
                      <a:pt x="699" y="577"/>
                      <a:pt x="699" y="568"/>
                      <a:pt x="697" y="567"/>
                    </a:cubicBezTo>
                    <a:cubicBezTo>
                      <a:pt x="695" y="566"/>
                      <a:pt x="690" y="568"/>
                      <a:pt x="688" y="569"/>
                    </a:cubicBezTo>
                    <a:cubicBezTo>
                      <a:pt x="685" y="570"/>
                      <a:pt x="679" y="573"/>
                      <a:pt x="675" y="571"/>
                    </a:cubicBezTo>
                    <a:cubicBezTo>
                      <a:pt x="673" y="570"/>
                      <a:pt x="673" y="567"/>
                      <a:pt x="671" y="566"/>
                    </a:cubicBezTo>
                    <a:cubicBezTo>
                      <a:pt x="668" y="563"/>
                      <a:pt x="663" y="564"/>
                      <a:pt x="660" y="562"/>
                    </a:cubicBezTo>
                    <a:cubicBezTo>
                      <a:pt x="658" y="561"/>
                      <a:pt x="651" y="554"/>
                      <a:pt x="652" y="552"/>
                    </a:cubicBezTo>
                    <a:cubicBezTo>
                      <a:pt x="653" y="550"/>
                      <a:pt x="655" y="553"/>
                      <a:pt x="656" y="550"/>
                    </a:cubicBezTo>
                    <a:cubicBezTo>
                      <a:pt x="657" y="548"/>
                      <a:pt x="653" y="545"/>
                      <a:pt x="652" y="543"/>
                    </a:cubicBezTo>
                    <a:cubicBezTo>
                      <a:pt x="649" y="538"/>
                      <a:pt x="653" y="536"/>
                      <a:pt x="658" y="534"/>
                    </a:cubicBezTo>
                    <a:cubicBezTo>
                      <a:pt x="663" y="532"/>
                      <a:pt x="663" y="527"/>
                      <a:pt x="662" y="522"/>
                    </a:cubicBezTo>
                    <a:cubicBezTo>
                      <a:pt x="659" y="522"/>
                      <a:pt x="659" y="519"/>
                      <a:pt x="658" y="517"/>
                    </a:cubicBezTo>
                    <a:cubicBezTo>
                      <a:pt x="658" y="517"/>
                      <a:pt x="655" y="516"/>
                      <a:pt x="655" y="516"/>
                    </a:cubicBezTo>
                    <a:cubicBezTo>
                      <a:pt x="654" y="515"/>
                      <a:pt x="652" y="515"/>
                      <a:pt x="652" y="515"/>
                    </a:cubicBezTo>
                    <a:cubicBezTo>
                      <a:pt x="647" y="511"/>
                      <a:pt x="648" y="504"/>
                      <a:pt x="641" y="502"/>
                    </a:cubicBezTo>
                    <a:cubicBezTo>
                      <a:pt x="640" y="499"/>
                      <a:pt x="642" y="500"/>
                      <a:pt x="644" y="499"/>
                    </a:cubicBezTo>
                    <a:cubicBezTo>
                      <a:pt x="645" y="499"/>
                      <a:pt x="647" y="500"/>
                      <a:pt x="649" y="499"/>
                    </a:cubicBezTo>
                    <a:cubicBezTo>
                      <a:pt x="651" y="498"/>
                      <a:pt x="649" y="499"/>
                      <a:pt x="651" y="497"/>
                    </a:cubicBezTo>
                    <a:cubicBezTo>
                      <a:pt x="654" y="495"/>
                      <a:pt x="657" y="494"/>
                      <a:pt x="660" y="491"/>
                    </a:cubicBezTo>
                    <a:cubicBezTo>
                      <a:pt x="660" y="491"/>
                      <a:pt x="661" y="490"/>
                      <a:pt x="662" y="490"/>
                    </a:cubicBezTo>
                    <a:cubicBezTo>
                      <a:pt x="663" y="489"/>
                      <a:pt x="665" y="489"/>
                      <a:pt x="666" y="488"/>
                    </a:cubicBezTo>
                    <a:cubicBezTo>
                      <a:pt x="668" y="486"/>
                      <a:pt x="666" y="482"/>
                      <a:pt x="667" y="480"/>
                    </a:cubicBezTo>
                    <a:cubicBezTo>
                      <a:pt x="668" y="477"/>
                      <a:pt x="671" y="476"/>
                      <a:pt x="669" y="473"/>
                    </a:cubicBezTo>
                    <a:cubicBezTo>
                      <a:pt x="668" y="471"/>
                      <a:pt x="666" y="471"/>
                      <a:pt x="665" y="470"/>
                    </a:cubicBezTo>
                    <a:cubicBezTo>
                      <a:pt x="663" y="468"/>
                      <a:pt x="662" y="465"/>
                      <a:pt x="662" y="463"/>
                    </a:cubicBezTo>
                    <a:cubicBezTo>
                      <a:pt x="661" y="461"/>
                      <a:pt x="661" y="459"/>
                      <a:pt x="661" y="457"/>
                    </a:cubicBezTo>
                    <a:cubicBezTo>
                      <a:pt x="660" y="455"/>
                      <a:pt x="657" y="454"/>
                      <a:pt x="656" y="453"/>
                    </a:cubicBezTo>
                    <a:cubicBezTo>
                      <a:pt x="653" y="450"/>
                      <a:pt x="657" y="450"/>
                      <a:pt x="655" y="446"/>
                    </a:cubicBezTo>
                    <a:cubicBezTo>
                      <a:pt x="654" y="444"/>
                      <a:pt x="657" y="443"/>
                      <a:pt x="659" y="438"/>
                    </a:cubicBezTo>
                    <a:cubicBezTo>
                      <a:pt x="661" y="437"/>
                      <a:pt x="662" y="436"/>
                      <a:pt x="663" y="436"/>
                    </a:cubicBezTo>
                    <a:cubicBezTo>
                      <a:pt x="663" y="435"/>
                      <a:pt x="665" y="434"/>
                      <a:pt x="665" y="433"/>
                    </a:cubicBezTo>
                    <a:cubicBezTo>
                      <a:pt x="665" y="432"/>
                      <a:pt x="665" y="430"/>
                      <a:pt x="665" y="430"/>
                    </a:cubicBezTo>
                    <a:cubicBezTo>
                      <a:pt x="665" y="428"/>
                      <a:pt x="664" y="428"/>
                      <a:pt x="664" y="427"/>
                    </a:cubicBezTo>
                    <a:cubicBezTo>
                      <a:pt x="663" y="426"/>
                      <a:pt x="663" y="426"/>
                      <a:pt x="662" y="424"/>
                    </a:cubicBezTo>
                    <a:cubicBezTo>
                      <a:pt x="662" y="424"/>
                      <a:pt x="661" y="423"/>
                      <a:pt x="661" y="422"/>
                    </a:cubicBezTo>
                    <a:cubicBezTo>
                      <a:pt x="660" y="421"/>
                      <a:pt x="659" y="420"/>
                      <a:pt x="659" y="419"/>
                    </a:cubicBezTo>
                    <a:cubicBezTo>
                      <a:pt x="658" y="417"/>
                      <a:pt x="658" y="415"/>
                      <a:pt x="658" y="413"/>
                    </a:cubicBezTo>
                    <a:cubicBezTo>
                      <a:pt x="658" y="412"/>
                      <a:pt x="658" y="410"/>
                      <a:pt x="658" y="409"/>
                    </a:cubicBezTo>
                    <a:cubicBezTo>
                      <a:pt x="658" y="409"/>
                      <a:pt x="657" y="408"/>
                      <a:pt x="657" y="408"/>
                    </a:cubicBezTo>
                    <a:cubicBezTo>
                      <a:pt x="656" y="406"/>
                      <a:pt x="657" y="404"/>
                      <a:pt x="656" y="402"/>
                    </a:cubicBezTo>
                    <a:cubicBezTo>
                      <a:pt x="655" y="402"/>
                      <a:pt x="654" y="401"/>
                      <a:pt x="653" y="401"/>
                    </a:cubicBezTo>
                    <a:cubicBezTo>
                      <a:pt x="652" y="401"/>
                      <a:pt x="650" y="400"/>
                      <a:pt x="650" y="400"/>
                    </a:cubicBezTo>
                    <a:cubicBezTo>
                      <a:pt x="647" y="398"/>
                      <a:pt x="643" y="395"/>
                      <a:pt x="639" y="395"/>
                    </a:cubicBezTo>
                    <a:cubicBezTo>
                      <a:pt x="634" y="395"/>
                      <a:pt x="630" y="398"/>
                      <a:pt x="625" y="400"/>
                    </a:cubicBezTo>
                    <a:cubicBezTo>
                      <a:pt x="623" y="401"/>
                      <a:pt x="620" y="402"/>
                      <a:pt x="617" y="401"/>
                    </a:cubicBezTo>
                    <a:cubicBezTo>
                      <a:pt x="615" y="400"/>
                      <a:pt x="612" y="394"/>
                      <a:pt x="614" y="391"/>
                    </a:cubicBezTo>
                    <a:cubicBezTo>
                      <a:pt x="615" y="389"/>
                      <a:pt x="617" y="390"/>
                      <a:pt x="618" y="388"/>
                    </a:cubicBezTo>
                    <a:cubicBezTo>
                      <a:pt x="619" y="387"/>
                      <a:pt x="618" y="383"/>
                      <a:pt x="618" y="381"/>
                    </a:cubicBezTo>
                    <a:cubicBezTo>
                      <a:pt x="618" y="378"/>
                      <a:pt x="618" y="376"/>
                      <a:pt x="620" y="373"/>
                    </a:cubicBezTo>
                    <a:cubicBezTo>
                      <a:pt x="623" y="371"/>
                      <a:pt x="625" y="369"/>
                      <a:pt x="627" y="366"/>
                    </a:cubicBezTo>
                    <a:cubicBezTo>
                      <a:pt x="629" y="365"/>
                      <a:pt x="629" y="363"/>
                      <a:pt x="631" y="361"/>
                    </a:cubicBezTo>
                    <a:cubicBezTo>
                      <a:pt x="632" y="359"/>
                      <a:pt x="634" y="358"/>
                      <a:pt x="635" y="357"/>
                    </a:cubicBezTo>
                    <a:cubicBezTo>
                      <a:pt x="642" y="352"/>
                      <a:pt x="646" y="345"/>
                      <a:pt x="651" y="339"/>
                    </a:cubicBezTo>
                    <a:cubicBezTo>
                      <a:pt x="654" y="336"/>
                      <a:pt x="656" y="334"/>
                      <a:pt x="658" y="330"/>
                    </a:cubicBezTo>
                    <a:cubicBezTo>
                      <a:pt x="658" y="330"/>
                      <a:pt x="659" y="328"/>
                      <a:pt x="659" y="327"/>
                    </a:cubicBezTo>
                    <a:cubicBezTo>
                      <a:pt x="661" y="326"/>
                      <a:pt x="662" y="327"/>
                      <a:pt x="664" y="325"/>
                    </a:cubicBezTo>
                    <a:cubicBezTo>
                      <a:pt x="670" y="320"/>
                      <a:pt x="652" y="311"/>
                      <a:pt x="663" y="310"/>
                    </a:cubicBezTo>
                    <a:cubicBezTo>
                      <a:pt x="666" y="310"/>
                      <a:pt x="668" y="311"/>
                      <a:pt x="670" y="312"/>
                    </a:cubicBezTo>
                    <a:cubicBezTo>
                      <a:pt x="676" y="313"/>
                      <a:pt x="681" y="310"/>
                      <a:pt x="687" y="310"/>
                    </a:cubicBezTo>
                    <a:cubicBezTo>
                      <a:pt x="689" y="310"/>
                      <a:pt x="690" y="310"/>
                      <a:pt x="692" y="309"/>
                    </a:cubicBezTo>
                    <a:cubicBezTo>
                      <a:pt x="695" y="308"/>
                      <a:pt x="699" y="306"/>
                      <a:pt x="702" y="304"/>
                    </a:cubicBezTo>
                    <a:cubicBezTo>
                      <a:pt x="702" y="304"/>
                      <a:pt x="703" y="303"/>
                      <a:pt x="703" y="303"/>
                    </a:cubicBezTo>
                    <a:cubicBezTo>
                      <a:pt x="703" y="303"/>
                      <a:pt x="703" y="303"/>
                      <a:pt x="703" y="303"/>
                    </a:cubicBezTo>
                    <a:cubicBezTo>
                      <a:pt x="703" y="303"/>
                      <a:pt x="703" y="303"/>
                      <a:pt x="703" y="303"/>
                    </a:cubicBezTo>
                    <a:cubicBezTo>
                      <a:pt x="703" y="302"/>
                      <a:pt x="704" y="302"/>
                      <a:pt x="704" y="302"/>
                    </a:cubicBezTo>
                    <a:cubicBezTo>
                      <a:pt x="704" y="302"/>
                      <a:pt x="704" y="302"/>
                      <a:pt x="704" y="302"/>
                    </a:cubicBezTo>
                    <a:cubicBezTo>
                      <a:pt x="704" y="302"/>
                      <a:pt x="704" y="302"/>
                      <a:pt x="704" y="302"/>
                    </a:cubicBezTo>
                    <a:cubicBezTo>
                      <a:pt x="704" y="301"/>
                      <a:pt x="704" y="301"/>
                      <a:pt x="704" y="301"/>
                    </a:cubicBezTo>
                    <a:cubicBezTo>
                      <a:pt x="704" y="301"/>
                      <a:pt x="704" y="301"/>
                      <a:pt x="704" y="301"/>
                    </a:cubicBezTo>
                    <a:cubicBezTo>
                      <a:pt x="704" y="301"/>
                      <a:pt x="704" y="301"/>
                      <a:pt x="704" y="300"/>
                    </a:cubicBezTo>
                    <a:cubicBezTo>
                      <a:pt x="704" y="300"/>
                      <a:pt x="704" y="300"/>
                      <a:pt x="704" y="300"/>
                    </a:cubicBezTo>
                    <a:cubicBezTo>
                      <a:pt x="704" y="300"/>
                      <a:pt x="704" y="299"/>
                      <a:pt x="704" y="298"/>
                    </a:cubicBezTo>
                    <a:cubicBezTo>
                      <a:pt x="703" y="297"/>
                      <a:pt x="702" y="295"/>
                      <a:pt x="702" y="293"/>
                    </a:cubicBezTo>
                    <a:cubicBezTo>
                      <a:pt x="702" y="285"/>
                      <a:pt x="702" y="278"/>
                      <a:pt x="702" y="270"/>
                    </a:cubicBezTo>
                    <a:cubicBezTo>
                      <a:pt x="702" y="264"/>
                      <a:pt x="701" y="259"/>
                      <a:pt x="705" y="254"/>
                    </a:cubicBezTo>
                    <a:cubicBezTo>
                      <a:pt x="710" y="249"/>
                      <a:pt x="708" y="244"/>
                      <a:pt x="710" y="238"/>
                    </a:cubicBezTo>
                    <a:cubicBezTo>
                      <a:pt x="711" y="233"/>
                      <a:pt x="710" y="228"/>
                      <a:pt x="713" y="224"/>
                    </a:cubicBezTo>
                    <a:cubicBezTo>
                      <a:pt x="714" y="222"/>
                      <a:pt x="715" y="222"/>
                      <a:pt x="716" y="221"/>
                    </a:cubicBezTo>
                    <a:cubicBezTo>
                      <a:pt x="719" y="219"/>
                      <a:pt x="719" y="218"/>
                      <a:pt x="720" y="216"/>
                    </a:cubicBezTo>
                    <a:cubicBezTo>
                      <a:pt x="722" y="210"/>
                      <a:pt x="724" y="207"/>
                      <a:pt x="729" y="203"/>
                    </a:cubicBezTo>
                    <a:cubicBezTo>
                      <a:pt x="733" y="200"/>
                      <a:pt x="736" y="196"/>
                      <a:pt x="737" y="19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8" name="Freeform 17">
                <a:extLst>
                  <a:ext uri="{FF2B5EF4-FFF2-40B4-BE49-F238E27FC236}">
                    <a16:creationId xmlns:a16="http://schemas.microsoft.com/office/drawing/2014/main" id="{4F5DD5EA-5C83-45F3-8044-C1B0762F79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75" y="5575300"/>
                <a:ext cx="120650" cy="241300"/>
              </a:xfrm>
              <a:custGeom>
                <a:avLst/>
                <a:gdLst/>
                <a:ahLst/>
                <a:cxnLst>
                  <a:cxn ang="0">
                    <a:pos x="61" y="5"/>
                  </a:cxn>
                  <a:cxn ang="0">
                    <a:pos x="60" y="2"/>
                  </a:cxn>
                  <a:cxn ang="0">
                    <a:pos x="53" y="3"/>
                  </a:cxn>
                  <a:cxn ang="0">
                    <a:pos x="51" y="18"/>
                  </a:cxn>
                  <a:cxn ang="0">
                    <a:pos x="51" y="23"/>
                  </a:cxn>
                  <a:cxn ang="0">
                    <a:pos x="49" y="27"/>
                  </a:cxn>
                  <a:cxn ang="0">
                    <a:pos x="41" y="25"/>
                  </a:cxn>
                  <a:cxn ang="0">
                    <a:pos x="35" y="30"/>
                  </a:cxn>
                  <a:cxn ang="0">
                    <a:pos x="29" y="32"/>
                  </a:cxn>
                  <a:cxn ang="0">
                    <a:pos x="22" y="34"/>
                  </a:cxn>
                  <a:cxn ang="0">
                    <a:pos x="15" y="39"/>
                  </a:cxn>
                  <a:cxn ang="0">
                    <a:pos x="13" y="47"/>
                  </a:cxn>
                  <a:cxn ang="0">
                    <a:pos x="12" y="51"/>
                  </a:cxn>
                  <a:cxn ang="0">
                    <a:pos x="17" y="58"/>
                  </a:cxn>
                  <a:cxn ang="0">
                    <a:pos x="10" y="62"/>
                  </a:cxn>
                  <a:cxn ang="0">
                    <a:pos x="5" y="64"/>
                  </a:cxn>
                  <a:cxn ang="0">
                    <a:pos x="0" y="74"/>
                  </a:cxn>
                  <a:cxn ang="0">
                    <a:pos x="4" y="77"/>
                  </a:cxn>
                  <a:cxn ang="0">
                    <a:pos x="8" y="80"/>
                  </a:cxn>
                  <a:cxn ang="0">
                    <a:pos x="13" y="82"/>
                  </a:cxn>
                  <a:cxn ang="0">
                    <a:pos x="17" y="83"/>
                  </a:cxn>
                  <a:cxn ang="0">
                    <a:pos x="16" y="95"/>
                  </a:cxn>
                  <a:cxn ang="0">
                    <a:pos x="14" y="100"/>
                  </a:cxn>
                  <a:cxn ang="0">
                    <a:pos x="18" y="101"/>
                  </a:cxn>
                  <a:cxn ang="0">
                    <a:pos x="21" y="102"/>
                  </a:cxn>
                  <a:cxn ang="0">
                    <a:pos x="22" y="106"/>
                  </a:cxn>
                  <a:cxn ang="0">
                    <a:pos x="19" y="108"/>
                  </a:cxn>
                  <a:cxn ang="0">
                    <a:pos x="21" y="115"/>
                  </a:cxn>
                  <a:cxn ang="0">
                    <a:pos x="29" y="122"/>
                  </a:cxn>
                  <a:cxn ang="0">
                    <a:pos x="33" y="126"/>
                  </a:cxn>
                  <a:cxn ang="0">
                    <a:pos x="39" y="129"/>
                  </a:cxn>
                  <a:cxn ang="0">
                    <a:pos x="41" y="121"/>
                  </a:cxn>
                  <a:cxn ang="0">
                    <a:pos x="44" y="116"/>
                  </a:cxn>
                  <a:cxn ang="0">
                    <a:pos x="45" y="113"/>
                  </a:cxn>
                  <a:cxn ang="0">
                    <a:pos x="49" y="109"/>
                  </a:cxn>
                  <a:cxn ang="0">
                    <a:pos x="52" y="99"/>
                  </a:cxn>
                  <a:cxn ang="0">
                    <a:pos x="53" y="87"/>
                  </a:cxn>
                  <a:cxn ang="0">
                    <a:pos x="54" y="82"/>
                  </a:cxn>
                  <a:cxn ang="0">
                    <a:pos x="59" y="76"/>
                  </a:cxn>
                  <a:cxn ang="0">
                    <a:pos x="60" y="74"/>
                  </a:cxn>
                  <a:cxn ang="0">
                    <a:pos x="63" y="52"/>
                  </a:cxn>
                  <a:cxn ang="0">
                    <a:pos x="63" y="40"/>
                  </a:cxn>
                  <a:cxn ang="0">
                    <a:pos x="60" y="32"/>
                  </a:cxn>
                  <a:cxn ang="0">
                    <a:pos x="59" y="23"/>
                  </a:cxn>
                  <a:cxn ang="0">
                    <a:pos x="60" y="22"/>
                  </a:cxn>
                  <a:cxn ang="0">
                    <a:pos x="63" y="18"/>
                  </a:cxn>
                  <a:cxn ang="0">
                    <a:pos x="63" y="13"/>
                  </a:cxn>
                  <a:cxn ang="0">
                    <a:pos x="61" y="20"/>
                  </a:cxn>
                </a:cxnLst>
                <a:rect l="0" t="0" r="r" b="b"/>
                <a:pathLst>
                  <a:path w="64" h="129">
                    <a:moveTo>
                      <a:pt x="61" y="20"/>
                    </a:moveTo>
                    <a:cubicBezTo>
                      <a:pt x="61" y="15"/>
                      <a:pt x="61" y="10"/>
                      <a:pt x="61" y="5"/>
                    </a:cubicBezTo>
                    <a:cubicBezTo>
                      <a:pt x="61" y="4"/>
                      <a:pt x="62" y="3"/>
                      <a:pt x="61" y="2"/>
                    </a:cubicBezTo>
                    <a:cubicBezTo>
                      <a:pt x="61" y="2"/>
                      <a:pt x="60" y="2"/>
                      <a:pt x="60" y="2"/>
                    </a:cubicBezTo>
                    <a:cubicBezTo>
                      <a:pt x="60" y="2"/>
                      <a:pt x="59" y="1"/>
                      <a:pt x="59" y="1"/>
                    </a:cubicBezTo>
                    <a:cubicBezTo>
                      <a:pt x="57" y="0"/>
                      <a:pt x="54" y="1"/>
                      <a:pt x="53" y="3"/>
                    </a:cubicBezTo>
                    <a:cubicBezTo>
                      <a:pt x="51" y="6"/>
                      <a:pt x="52" y="10"/>
                      <a:pt x="51" y="13"/>
                    </a:cubicBezTo>
                    <a:cubicBezTo>
                      <a:pt x="51" y="15"/>
                      <a:pt x="51" y="16"/>
                      <a:pt x="51" y="18"/>
                    </a:cubicBezTo>
                    <a:cubicBezTo>
                      <a:pt x="51" y="19"/>
                      <a:pt x="51" y="20"/>
                      <a:pt x="51" y="20"/>
                    </a:cubicBezTo>
                    <a:cubicBezTo>
                      <a:pt x="51" y="21"/>
                      <a:pt x="51" y="22"/>
                      <a:pt x="51" y="23"/>
                    </a:cubicBezTo>
                    <a:cubicBezTo>
                      <a:pt x="52" y="25"/>
                      <a:pt x="52" y="26"/>
                      <a:pt x="51" y="27"/>
                    </a:cubicBezTo>
                    <a:cubicBezTo>
                      <a:pt x="50" y="28"/>
                      <a:pt x="50" y="28"/>
                      <a:pt x="49" y="27"/>
                    </a:cubicBezTo>
                    <a:cubicBezTo>
                      <a:pt x="47" y="26"/>
                      <a:pt x="47" y="25"/>
                      <a:pt x="46" y="25"/>
                    </a:cubicBezTo>
                    <a:cubicBezTo>
                      <a:pt x="45" y="24"/>
                      <a:pt x="42" y="24"/>
                      <a:pt x="41" y="25"/>
                    </a:cubicBezTo>
                    <a:cubicBezTo>
                      <a:pt x="40" y="25"/>
                      <a:pt x="39" y="27"/>
                      <a:pt x="38" y="28"/>
                    </a:cubicBezTo>
                    <a:cubicBezTo>
                      <a:pt x="37" y="29"/>
                      <a:pt x="36" y="30"/>
                      <a:pt x="35" y="30"/>
                    </a:cubicBezTo>
                    <a:cubicBezTo>
                      <a:pt x="34" y="31"/>
                      <a:pt x="32" y="30"/>
                      <a:pt x="31" y="30"/>
                    </a:cubicBezTo>
                    <a:cubicBezTo>
                      <a:pt x="30" y="31"/>
                      <a:pt x="30" y="31"/>
                      <a:pt x="29" y="32"/>
                    </a:cubicBezTo>
                    <a:cubicBezTo>
                      <a:pt x="28" y="32"/>
                      <a:pt x="27" y="33"/>
                      <a:pt x="26" y="33"/>
                    </a:cubicBezTo>
                    <a:cubicBezTo>
                      <a:pt x="24" y="34"/>
                      <a:pt x="23" y="33"/>
                      <a:pt x="22" y="34"/>
                    </a:cubicBezTo>
                    <a:cubicBezTo>
                      <a:pt x="20" y="35"/>
                      <a:pt x="20" y="36"/>
                      <a:pt x="19" y="37"/>
                    </a:cubicBezTo>
                    <a:cubicBezTo>
                      <a:pt x="18" y="38"/>
                      <a:pt x="17" y="39"/>
                      <a:pt x="15" y="39"/>
                    </a:cubicBezTo>
                    <a:cubicBezTo>
                      <a:pt x="12" y="41"/>
                      <a:pt x="16" y="41"/>
                      <a:pt x="16" y="43"/>
                    </a:cubicBezTo>
                    <a:cubicBezTo>
                      <a:pt x="13" y="43"/>
                      <a:pt x="13" y="45"/>
                      <a:pt x="13" y="47"/>
                    </a:cubicBezTo>
                    <a:cubicBezTo>
                      <a:pt x="13" y="47"/>
                      <a:pt x="13" y="48"/>
                      <a:pt x="13" y="49"/>
                    </a:cubicBezTo>
                    <a:cubicBezTo>
                      <a:pt x="13" y="49"/>
                      <a:pt x="12" y="49"/>
                      <a:pt x="12" y="51"/>
                    </a:cubicBezTo>
                    <a:cubicBezTo>
                      <a:pt x="12" y="52"/>
                      <a:pt x="13" y="54"/>
                      <a:pt x="14" y="54"/>
                    </a:cubicBezTo>
                    <a:cubicBezTo>
                      <a:pt x="15" y="55"/>
                      <a:pt x="17" y="57"/>
                      <a:pt x="17" y="58"/>
                    </a:cubicBezTo>
                    <a:cubicBezTo>
                      <a:pt x="15" y="59"/>
                      <a:pt x="13" y="58"/>
                      <a:pt x="11" y="58"/>
                    </a:cubicBezTo>
                    <a:cubicBezTo>
                      <a:pt x="10" y="59"/>
                      <a:pt x="10" y="61"/>
                      <a:pt x="10" y="62"/>
                    </a:cubicBezTo>
                    <a:cubicBezTo>
                      <a:pt x="10" y="64"/>
                      <a:pt x="10" y="64"/>
                      <a:pt x="8" y="65"/>
                    </a:cubicBezTo>
                    <a:cubicBezTo>
                      <a:pt x="7" y="65"/>
                      <a:pt x="6" y="64"/>
                      <a:pt x="5" y="64"/>
                    </a:cubicBezTo>
                    <a:cubicBezTo>
                      <a:pt x="4" y="65"/>
                      <a:pt x="4" y="67"/>
                      <a:pt x="3" y="68"/>
                    </a:cubicBezTo>
                    <a:cubicBezTo>
                      <a:pt x="3" y="69"/>
                      <a:pt x="0" y="73"/>
                      <a:pt x="0" y="74"/>
                    </a:cubicBezTo>
                    <a:cubicBezTo>
                      <a:pt x="1" y="75"/>
                      <a:pt x="2" y="74"/>
                      <a:pt x="3" y="75"/>
                    </a:cubicBezTo>
                    <a:cubicBezTo>
                      <a:pt x="3" y="76"/>
                      <a:pt x="3" y="76"/>
                      <a:pt x="4" y="77"/>
                    </a:cubicBezTo>
                    <a:cubicBezTo>
                      <a:pt x="4" y="77"/>
                      <a:pt x="5" y="76"/>
                      <a:pt x="6" y="77"/>
                    </a:cubicBezTo>
                    <a:cubicBezTo>
                      <a:pt x="7" y="77"/>
                      <a:pt x="7" y="79"/>
                      <a:pt x="8" y="80"/>
                    </a:cubicBezTo>
                    <a:cubicBezTo>
                      <a:pt x="9" y="80"/>
                      <a:pt x="10" y="81"/>
                      <a:pt x="10" y="81"/>
                    </a:cubicBezTo>
                    <a:cubicBezTo>
                      <a:pt x="11" y="81"/>
                      <a:pt x="12" y="82"/>
                      <a:pt x="13" y="82"/>
                    </a:cubicBezTo>
                    <a:cubicBezTo>
                      <a:pt x="13" y="82"/>
                      <a:pt x="13" y="82"/>
                      <a:pt x="13" y="83"/>
                    </a:cubicBezTo>
                    <a:cubicBezTo>
                      <a:pt x="14" y="83"/>
                      <a:pt x="16" y="83"/>
                      <a:pt x="17" y="83"/>
                    </a:cubicBezTo>
                    <a:cubicBezTo>
                      <a:pt x="18" y="84"/>
                      <a:pt x="17" y="87"/>
                      <a:pt x="17" y="88"/>
                    </a:cubicBezTo>
                    <a:cubicBezTo>
                      <a:pt x="17" y="90"/>
                      <a:pt x="18" y="93"/>
                      <a:pt x="16" y="95"/>
                    </a:cubicBezTo>
                    <a:cubicBezTo>
                      <a:pt x="15" y="95"/>
                      <a:pt x="15" y="95"/>
                      <a:pt x="14" y="97"/>
                    </a:cubicBezTo>
                    <a:cubicBezTo>
                      <a:pt x="14" y="98"/>
                      <a:pt x="14" y="99"/>
                      <a:pt x="14" y="100"/>
                    </a:cubicBezTo>
                    <a:cubicBezTo>
                      <a:pt x="14" y="100"/>
                      <a:pt x="15" y="101"/>
                      <a:pt x="15" y="101"/>
                    </a:cubicBezTo>
                    <a:cubicBezTo>
                      <a:pt x="16" y="101"/>
                      <a:pt x="17" y="101"/>
                      <a:pt x="18" y="101"/>
                    </a:cubicBezTo>
                    <a:cubicBezTo>
                      <a:pt x="18" y="101"/>
                      <a:pt x="18" y="102"/>
                      <a:pt x="19" y="102"/>
                    </a:cubicBezTo>
                    <a:cubicBezTo>
                      <a:pt x="20" y="102"/>
                      <a:pt x="21" y="102"/>
                      <a:pt x="21" y="102"/>
                    </a:cubicBezTo>
                    <a:cubicBezTo>
                      <a:pt x="22" y="102"/>
                      <a:pt x="23" y="102"/>
                      <a:pt x="24" y="102"/>
                    </a:cubicBezTo>
                    <a:cubicBezTo>
                      <a:pt x="25" y="104"/>
                      <a:pt x="23" y="105"/>
                      <a:pt x="22" y="106"/>
                    </a:cubicBezTo>
                    <a:cubicBezTo>
                      <a:pt x="22" y="107"/>
                      <a:pt x="21" y="107"/>
                      <a:pt x="21" y="107"/>
                    </a:cubicBezTo>
                    <a:cubicBezTo>
                      <a:pt x="20" y="107"/>
                      <a:pt x="20" y="107"/>
                      <a:pt x="19" y="108"/>
                    </a:cubicBezTo>
                    <a:cubicBezTo>
                      <a:pt x="19" y="108"/>
                      <a:pt x="19" y="109"/>
                      <a:pt x="19" y="110"/>
                    </a:cubicBezTo>
                    <a:cubicBezTo>
                      <a:pt x="18" y="113"/>
                      <a:pt x="19" y="113"/>
                      <a:pt x="21" y="115"/>
                    </a:cubicBezTo>
                    <a:cubicBezTo>
                      <a:pt x="22" y="116"/>
                      <a:pt x="22" y="118"/>
                      <a:pt x="24" y="120"/>
                    </a:cubicBezTo>
                    <a:cubicBezTo>
                      <a:pt x="25" y="121"/>
                      <a:pt x="27" y="122"/>
                      <a:pt x="29" y="122"/>
                    </a:cubicBezTo>
                    <a:cubicBezTo>
                      <a:pt x="30" y="122"/>
                      <a:pt x="34" y="121"/>
                      <a:pt x="34" y="123"/>
                    </a:cubicBezTo>
                    <a:cubicBezTo>
                      <a:pt x="34" y="124"/>
                      <a:pt x="33" y="125"/>
                      <a:pt x="33" y="126"/>
                    </a:cubicBezTo>
                    <a:cubicBezTo>
                      <a:pt x="33" y="127"/>
                      <a:pt x="35" y="128"/>
                      <a:pt x="36" y="128"/>
                    </a:cubicBezTo>
                    <a:cubicBezTo>
                      <a:pt x="37" y="129"/>
                      <a:pt x="38" y="129"/>
                      <a:pt x="39" y="129"/>
                    </a:cubicBezTo>
                    <a:cubicBezTo>
                      <a:pt x="40" y="129"/>
                      <a:pt x="41" y="129"/>
                      <a:pt x="41" y="127"/>
                    </a:cubicBezTo>
                    <a:cubicBezTo>
                      <a:pt x="41" y="125"/>
                      <a:pt x="40" y="122"/>
                      <a:pt x="41" y="121"/>
                    </a:cubicBezTo>
                    <a:cubicBezTo>
                      <a:pt x="42" y="120"/>
                      <a:pt x="42" y="120"/>
                      <a:pt x="43" y="119"/>
                    </a:cubicBezTo>
                    <a:cubicBezTo>
                      <a:pt x="43" y="118"/>
                      <a:pt x="43" y="117"/>
                      <a:pt x="44" y="116"/>
                    </a:cubicBezTo>
                    <a:cubicBezTo>
                      <a:pt x="44" y="115"/>
                      <a:pt x="44" y="114"/>
                      <a:pt x="45" y="114"/>
                    </a:cubicBezTo>
                    <a:cubicBezTo>
                      <a:pt x="45" y="113"/>
                      <a:pt x="45" y="113"/>
                      <a:pt x="45" y="113"/>
                    </a:cubicBezTo>
                    <a:cubicBezTo>
                      <a:pt x="45" y="112"/>
                      <a:pt x="46" y="112"/>
                      <a:pt x="47" y="112"/>
                    </a:cubicBezTo>
                    <a:cubicBezTo>
                      <a:pt x="49" y="111"/>
                      <a:pt x="48" y="110"/>
                      <a:pt x="49" y="109"/>
                    </a:cubicBezTo>
                    <a:cubicBezTo>
                      <a:pt x="49" y="107"/>
                      <a:pt x="50" y="106"/>
                      <a:pt x="51" y="104"/>
                    </a:cubicBezTo>
                    <a:cubicBezTo>
                      <a:pt x="51" y="102"/>
                      <a:pt x="52" y="101"/>
                      <a:pt x="52" y="99"/>
                    </a:cubicBezTo>
                    <a:cubicBezTo>
                      <a:pt x="52" y="98"/>
                      <a:pt x="52" y="97"/>
                      <a:pt x="52" y="96"/>
                    </a:cubicBezTo>
                    <a:cubicBezTo>
                      <a:pt x="52" y="93"/>
                      <a:pt x="53" y="90"/>
                      <a:pt x="53" y="87"/>
                    </a:cubicBezTo>
                    <a:cubicBezTo>
                      <a:pt x="53" y="86"/>
                      <a:pt x="52" y="85"/>
                      <a:pt x="53" y="84"/>
                    </a:cubicBezTo>
                    <a:cubicBezTo>
                      <a:pt x="53" y="83"/>
                      <a:pt x="54" y="83"/>
                      <a:pt x="54" y="82"/>
                    </a:cubicBezTo>
                    <a:cubicBezTo>
                      <a:pt x="54" y="82"/>
                      <a:pt x="54" y="81"/>
                      <a:pt x="54" y="81"/>
                    </a:cubicBezTo>
                    <a:cubicBezTo>
                      <a:pt x="54" y="78"/>
                      <a:pt x="58" y="78"/>
                      <a:pt x="59" y="76"/>
                    </a:cubicBezTo>
                    <a:cubicBezTo>
                      <a:pt x="59" y="76"/>
                      <a:pt x="59" y="75"/>
                      <a:pt x="59" y="75"/>
                    </a:cubicBezTo>
                    <a:cubicBezTo>
                      <a:pt x="60" y="74"/>
                      <a:pt x="60" y="74"/>
                      <a:pt x="60" y="74"/>
                    </a:cubicBezTo>
                    <a:cubicBezTo>
                      <a:pt x="61" y="73"/>
                      <a:pt x="61" y="72"/>
                      <a:pt x="61" y="71"/>
                    </a:cubicBezTo>
                    <a:cubicBezTo>
                      <a:pt x="61" y="64"/>
                      <a:pt x="63" y="58"/>
                      <a:pt x="63" y="52"/>
                    </a:cubicBezTo>
                    <a:cubicBezTo>
                      <a:pt x="63" y="49"/>
                      <a:pt x="63" y="47"/>
                      <a:pt x="63" y="44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3" y="39"/>
                      <a:pt x="64" y="37"/>
                      <a:pt x="63" y="36"/>
                    </a:cubicBezTo>
                    <a:cubicBezTo>
                      <a:pt x="62" y="34"/>
                      <a:pt x="60" y="34"/>
                      <a:pt x="60" y="32"/>
                    </a:cubicBezTo>
                    <a:cubicBezTo>
                      <a:pt x="59" y="30"/>
                      <a:pt x="59" y="29"/>
                      <a:pt x="59" y="27"/>
                    </a:cubicBezTo>
                    <a:cubicBezTo>
                      <a:pt x="59" y="26"/>
                      <a:pt x="59" y="24"/>
                      <a:pt x="59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22"/>
                      <a:pt x="60" y="22"/>
                      <a:pt x="60" y="22"/>
                    </a:cubicBezTo>
                    <a:cubicBezTo>
                      <a:pt x="60" y="21"/>
                      <a:pt x="61" y="20"/>
                      <a:pt x="61" y="20"/>
                    </a:cubicBezTo>
                    <a:cubicBezTo>
                      <a:pt x="62" y="19"/>
                      <a:pt x="63" y="19"/>
                      <a:pt x="63" y="18"/>
                    </a:cubicBezTo>
                    <a:cubicBezTo>
                      <a:pt x="63" y="17"/>
                      <a:pt x="63" y="16"/>
                      <a:pt x="63" y="15"/>
                    </a:cubicBezTo>
                    <a:cubicBezTo>
                      <a:pt x="63" y="14"/>
                      <a:pt x="62" y="14"/>
                      <a:pt x="63" y="13"/>
                    </a:cubicBezTo>
                    <a:cubicBezTo>
                      <a:pt x="61" y="12"/>
                      <a:pt x="61" y="11"/>
                      <a:pt x="61" y="9"/>
                    </a:cubicBezTo>
                    <a:lnTo>
                      <a:pt x="61" y="2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9" name="Freeform 18">
                <a:extLst>
                  <a:ext uri="{FF2B5EF4-FFF2-40B4-BE49-F238E27FC236}">
                    <a16:creationId xmlns:a16="http://schemas.microsoft.com/office/drawing/2014/main" id="{93653EE4-E253-4ADD-BB10-B5812989C3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6388" y="4992688"/>
                <a:ext cx="1143000" cy="1347788"/>
              </a:xfrm>
              <a:custGeom>
                <a:avLst/>
                <a:gdLst/>
                <a:ahLst/>
                <a:cxnLst>
                  <a:cxn ang="0">
                    <a:pos x="600" y="532"/>
                  </a:cxn>
                  <a:cxn ang="0">
                    <a:pos x="571" y="505"/>
                  </a:cxn>
                  <a:cxn ang="0">
                    <a:pos x="530" y="474"/>
                  </a:cxn>
                  <a:cxn ang="0">
                    <a:pos x="479" y="433"/>
                  </a:cxn>
                  <a:cxn ang="0">
                    <a:pos x="489" y="411"/>
                  </a:cxn>
                  <a:cxn ang="0">
                    <a:pos x="432" y="405"/>
                  </a:cxn>
                  <a:cxn ang="0">
                    <a:pos x="398" y="374"/>
                  </a:cxn>
                  <a:cxn ang="0">
                    <a:pos x="378" y="341"/>
                  </a:cxn>
                  <a:cxn ang="0">
                    <a:pos x="358" y="280"/>
                  </a:cxn>
                  <a:cxn ang="0">
                    <a:pos x="319" y="243"/>
                  </a:cxn>
                  <a:cxn ang="0">
                    <a:pos x="296" y="196"/>
                  </a:cxn>
                  <a:cxn ang="0">
                    <a:pos x="314" y="171"/>
                  </a:cxn>
                  <a:cxn ang="0">
                    <a:pos x="320" y="143"/>
                  </a:cxn>
                  <a:cxn ang="0">
                    <a:pos x="329" y="129"/>
                  </a:cxn>
                  <a:cxn ang="0">
                    <a:pos x="354" y="109"/>
                  </a:cxn>
                  <a:cxn ang="0">
                    <a:pos x="375" y="120"/>
                  </a:cxn>
                  <a:cxn ang="0">
                    <a:pos x="373" y="95"/>
                  </a:cxn>
                  <a:cxn ang="0">
                    <a:pos x="361" y="68"/>
                  </a:cxn>
                  <a:cxn ang="0">
                    <a:pos x="347" y="37"/>
                  </a:cxn>
                  <a:cxn ang="0">
                    <a:pos x="303" y="6"/>
                  </a:cxn>
                  <a:cxn ang="0">
                    <a:pos x="247" y="11"/>
                  </a:cxn>
                  <a:cxn ang="0">
                    <a:pos x="220" y="18"/>
                  </a:cxn>
                  <a:cxn ang="0">
                    <a:pos x="198" y="39"/>
                  </a:cxn>
                  <a:cxn ang="0">
                    <a:pos x="186" y="63"/>
                  </a:cxn>
                  <a:cxn ang="0">
                    <a:pos x="153" y="50"/>
                  </a:cxn>
                  <a:cxn ang="0">
                    <a:pos x="131" y="86"/>
                  </a:cxn>
                  <a:cxn ang="0">
                    <a:pos x="120" y="86"/>
                  </a:cxn>
                  <a:cxn ang="0">
                    <a:pos x="99" y="60"/>
                  </a:cxn>
                  <a:cxn ang="0">
                    <a:pos x="74" y="89"/>
                  </a:cxn>
                  <a:cxn ang="0">
                    <a:pos x="23" y="98"/>
                  </a:cxn>
                  <a:cxn ang="0">
                    <a:pos x="11" y="159"/>
                  </a:cxn>
                  <a:cxn ang="0">
                    <a:pos x="20" y="224"/>
                  </a:cxn>
                  <a:cxn ang="0">
                    <a:pos x="55" y="262"/>
                  </a:cxn>
                  <a:cxn ang="0">
                    <a:pos x="85" y="238"/>
                  </a:cxn>
                  <a:cxn ang="0">
                    <a:pos x="140" y="218"/>
                  </a:cxn>
                  <a:cxn ang="0">
                    <a:pos x="168" y="236"/>
                  </a:cxn>
                  <a:cxn ang="0">
                    <a:pos x="190" y="257"/>
                  </a:cxn>
                  <a:cxn ang="0">
                    <a:pos x="199" y="303"/>
                  </a:cxn>
                  <a:cxn ang="0">
                    <a:pos x="213" y="336"/>
                  </a:cxn>
                  <a:cxn ang="0">
                    <a:pos x="237" y="363"/>
                  </a:cxn>
                  <a:cxn ang="0">
                    <a:pos x="264" y="398"/>
                  </a:cxn>
                  <a:cxn ang="0">
                    <a:pos x="292" y="428"/>
                  </a:cxn>
                  <a:cxn ang="0">
                    <a:pos x="319" y="461"/>
                  </a:cxn>
                  <a:cxn ang="0">
                    <a:pos x="365" y="477"/>
                  </a:cxn>
                  <a:cxn ang="0">
                    <a:pos x="391" y="505"/>
                  </a:cxn>
                  <a:cxn ang="0">
                    <a:pos x="408" y="513"/>
                  </a:cxn>
                  <a:cxn ang="0">
                    <a:pos x="427" y="547"/>
                  </a:cxn>
                  <a:cxn ang="0">
                    <a:pos x="462" y="570"/>
                  </a:cxn>
                  <a:cxn ang="0">
                    <a:pos x="475" y="628"/>
                  </a:cxn>
                  <a:cxn ang="0">
                    <a:pos x="458" y="691"/>
                  </a:cxn>
                  <a:cxn ang="0">
                    <a:pos x="445" y="719"/>
                  </a:cxn>
                  <a:cxn ang="0">
                    <a:pos x="478" y="708"/>
                  </a:cxn>
                  <a:cxn ang="0">
                    <a:pos x="510" y="649"/>
                  </a:cxn>
                  <a:cxn ang="0">
                    <a:pos x="533" y="631"/>
                  </a:cxn>
                  <a:cxn ang="0">
                    <a:pos x="511" y="590"/>
                  </a:cxn>
                  <a:cxn ang="0">
                    <a:pos x="518" y="543"/>
                  </a:cxn>
                  <a:cxn ang="0">
                    <a:pos x="548" y="534"/>
                  </a:cxn>
                  <a:cxn ang="0">
                    <a:pos x="581" y="549"/>
                  </a:cxn>
                  <a:cxn ang="0">
                    <a:pos x="612" y="557"/>
                  </a:cxn>
                </a:cxnLst>
                <a:rect l="0" t="0" r="r" b="b"/>
                <a:pathLst>
                  <a:path w="612" h="721">
                    <a:moveTo>
                      <a:pt x="532" y="476"/>
                    </a:moveTo>
                    <a:cubicBezTo>
                      <a:pt x="533" y="475"/>
                      <a:pt x="533" y="475"/>
                      <a:pt x="533" y="475"/>
                    </a:cubicBezTo>
                    <a:cubicBezTo>
                      <a:pt x="533" y="475"/>
                      <a:pt x="532" y="475"/>
                      <a:pt x="532" y="476"/>
                    </a:cubicBezTo>
                    <a:moveTo>
                      <a:pt x="612" y="551"/>
                    </a:moveTo>
                    <a:cubicBezTo>
                      <a:pt x="612" y="550"/>
                      <a:pt x="611" y="550"/>
                      <a:pt x="611" y="550"/>
                    </a:cubicBezTo>
                    <a:cubicBezTo>
                      <a:pt x="611" y="549"/>
                      <a:pt x="611" y="548"/>
                      <a:pt x="611" y="548"/>
                    </a:cubicBezTo>
                    <a:cubicBezTo>
                      <a:pt x="610" y="547"/>
                      <a:pt x="610" y="547"/>
                      <a:pt x="609" y="546"/>
                    </a:cubicBezTo>
                    <a:cubicBezTo>
                      <a:pt x="609" y="545"/>
                      <a:pt x="609" y="544"/>
                      <a:pt x="609" y="543"/>
                    </a:cubicBezTo>
                    <a:cubicBezTo>
                      <a:pt x="608" y="542"/>
                      <a:pt x="608" y="542"/>
                      <a:pt x="607" y="541"/>
                    </a:cubicBezTo>
                    <a:cubicBezTo>
                      <a:pt x="606" y="540"/>
                      <a:pt x="606" y="538"/>
                      <a:pt x="605" y="537"/>
                    </a:cubicBezTo>
                    <a:cubicBezTo>
                      <a:pt x="604" y="536"/>
                      <a:pt x="603" y="535"/>
                      <a:pt x="602" y="534"/>
                    </a:cubicBezTo>
                    <a:cubicBezTo>
                      <a:pt x="601" y="533"/>
                      <a:pt x="601" y="533"/>
                      <a:pt x="600" y="532"/>
                    </a:cubicBezTo>
                    <a:cubicBezTo>
                      <a:pt x="600" y="532"/>
                      <a:pt x="599" y="531"/>
                      <a:pt x="599" y="531"/>
                    </a:cubicBezTo>
                    <a:cubicBezTo>
                      <a:pt x="598" y="530"/>
                      <a:pt x="598" y="529"/>
                      <a:pt x="597" y="528"/>
                    </a:cubicBezTo>
                    <a:cubicBezTo>
                      <a:pt x="596" y="527"/>
                      <a:pt x="596" y="527"/>
                      <a:pt x="595" y="526"/>
                    </a:cubicBezTo>
                    <a:cubicBezTo>
                      <a:pt x="594" y="525"/>
                      <a:pt x="594" y="524"/>
                      <a:pt x="593" y="523"/>
                    </a:cubicBezTo>
                    <a:cubicBezTo>
                      <a:pt x="592" y="522"/>
                      <a:pt x="591" y="522"/>
                      <a:pt x="591" y="522"/>
                    </a:cubicBezTo>
                    <a:cubicBezTo>
                      <a:pt x="589" y="520"/>
                      <a:pt x="588" y="518"/>
                      <a:pt x="587" y="517"/>
                    </a:cubicBezTo>
                    <a:cubicBezTo>
                      <a:pt x="587" y="516"/>
                      <a:pt x="585" y="515"/>
                      <a:pt x="584" y="514"/>
                    </a:cubicBezTo>
                    <a:cubicBezTo>
                      <a:pt x="582" y="512"/>
                      <a:pt x="580" y="510"/>
                      <a:pt x="578" y="509"/>
                    </a:cubicBezTo>
                    <a:cubicBezTo>
                      <a:pt x="577" y="509"/>
                      <a:pt x="576" y="508"/>
                      <a:pt x="575" y="507"/>
                    </a:cubicBezTo>
                    <a:cubicBezTo>
                      <a:pt x="575" y="507"/>
                      <a:pt x="575" y="507"/>
                      <a:pt x="575" y="507"/>
                    </a:cubicBezTo>
                    <a:cubicBezTo>
                      <a:pt x="575" y="507"/>
                      <a:pt x="574" y="507"/>
                      <a:pt x="574" y="507"/>
                    </a:cubicBezTo>
                    <a:cubicBezTo>
                      <a:pt x="573" y="506"/>
                      <a:pt x="572" y="505"/>
                      <a:pt x="571" y="505"/>
                    </a:cubicBezTo>
                    <a:cubicBezTo>
                      <a:pt x="570" y="504"/>
                      <a:pt x="569" y="504"/>
                      <a:pt x="568" y="503"/>
                    </a:cubicBezTo>
                    <a:cubicBezTo>
                      <a:pt x="566" y="502"/>
                      <a:pt x="565" y="501"/>
                      <a:pt x="563" y="500"/>
                    </a:cubicBezTo>
                    <a:cubicBezTo>
                      <a:pt x="562" y="499"/>
                      <a:pt x="560" y="499"/>
                      <a:pt x="559" y="498"/>
                    </a:cubicBezTo>
                    <a:cubicBezTo>
                      <a:pt x="558" y="497"/>
                      <a:pt x="557" y="497"/>
                      <a:pt x="556" y="496"/>
                    </a:cubicBezTo>
                    <a:cubicBezTo>
                      <a:pt x="555" y="495"/>
                      <a:pt x="554" y="494"/>
                      <a:pt x="552" y="494"/>
                    </a:cubicBezTo>
                    <a:cubicBezTo>
                      <a:pt x="552" y="493"/>
                      <a:pt x="551" y="493"/>
                      <a:pt x="550" y="492"/>
                    </a:cubicBezTo>
                    <a:cubicBezTo>
                      <a:pt x="549" y="491"/>
                      <a:pt x="548" y="490"/>
                      <a:pt x="547" y="489"/>
                    </a:cubicBezTo>
                    <a:cubicBezTo>
                      <a:pt x="546" y="488"/>
                      <a:pt x="545" y="487"/>
                      <a:pt x="544" y="486"/>
                    </a:cubicBezTo>
                    <a:cubicBezTo>
                      <a:pt x="544" y="485"/>
                      <a:pt x="543" y="484"/>
                      <a:pt x="543" y="483"/>
                    </a:cubicBezTo>
                    <a:cubicBezTo>
                      <a:pt x="542" y="481"/>
                      <a:pt x="540" y="481"/>
                      <a:pt x="538" y="479"/>
                    </a:cubicBezTo>
                    <a:cubicBezTo>
                      <a:pt x="537" y="479"/>
                      <a:pt x="532" y="477"/>
                      <a:pt x="532" y="476"/>
                    </a:cubicBezTo>
                    <a:cubicBezTo>
                      <a:pt x="532" y="476"/>
                      <a:pt x="530" y="475"/>
                      <a:pt x="530" y="474"/>
                    </a:cubicBezTo>
                    <a:cubicBezTo>
                      <a:pt x="528" y="473"/>
                      <a:pt x="526" y="471"/>
                      <a:pt x="523" y="471"/>
                    </a:cubicBezTo>
                    <a:cubicBezTo>
                      <a:pt x="521" y="470"/>
                      <a:pt x="519" y="470"/>
                      <a:pt x="517" y="469"/>
                    </a:cubicBezTo>
                    <a:cubicBezTo>
                      <a:pt x="512" y="469"/>
                      <a:pt x="509" y="466"/>
                      <a:pt x="506" y="463"/>
                    </a:cubicBezTo>
                    <a:cubicBezTo>
                      <a:pt x="504" y="462"/>
                      <a:pt x="503" y="460"/>
                      <a:pt x="501" y="460"/>
                    </a:cubicBezTo>
                    <a:cubicBezTo>
                      <a:pt x="499" y="459"/>
                      <a:pt x="497" y="459"/>
                      <a:pt x="495" y="459"/>
                    </a:cubicBezTo>
                    <a:cubicBezTo>
                      <a:pt x="493" y="458"/>
                      <a:pt x="491" y="457"/>
                      <a:pt x="490" y="457"/>
                    </a:cubicBezTo>
                    <a:cubicBezTo>
                      <a:pt x="489" y="455"/>
                      <a:pt x="488" y="454"/>
                      <a:pt x="487" y="452"/>
                    </a:cubicBezTo>
                    <a:cubicBezTo>
                      <a:pt x="486" y="450"/>
                      <a:pt x="485" y="449"/>
                      <a:pt x="483" y="448"/>
                    </a:cubicBezTo>
                    <a:cubicBezTo>
                      <a:pt x="482" y="447"/>
                      <a:pt x="481" y="447"/>
                      <a:pt x="480" y="446"/>
                    </a:cubicBezTo>
                    <a:cubicBezTo>
                      <a:pt x="478" y="445"/>
                      <a:pt x="477" y="444"/>
                      <a:pt x="477" y="443"/>
                    </a:cubicBezTo>
                    <a:cubicBezTo>
                      <a:pt x="476" y="442"/>
                      <a:pt x="477" y="440"/>
                      <a:pt x="477" y="439"/>
                    </a:cubicBezTo>
                    <a:cubicBezTo>
                      <a:pt x="477" y="437"/>
                      <a:pt x="478" y="435"/>
                      <a:pt x="479" y="433"/>
                    </a:cubicBezTo>
                    <a:cubicBezTo>
                      <a:pt x="480" y="432"/>
                      <a:pt x="481" y="431"/>
                      <a:pt x="482" y="430"/>
                    </a:cubicBezTo>
                    <a:cubicBezTo>
                      <a:pt x="482" y="429"/>
                      <a:pt x="483" y="428"/>
                      <a:pt x="484" y="427"/>
                    </a:cubicBezTo>
                    <a:cubicBezTo>
                      <a:pt x="485" y="427"/>
                      <a:pt x="486" y="426"/>
                      <a:pt x="486" y="426"/>
                    </a:cubicBezTo>
                    <a:cubicBezTo>
                      <a:pt x="487" y="426"/>
                      <a:pt x="487" y="426"/>
                      <a:pt x="488" y="426"/>
                    </a:cubicBezTo>
                    <a:cubicBezTo>
                      <a:pt x="488" y="426"/>
                      <a:pt x="488" y="425"/>
                      <a:pt x="489" y="425"/>
                    </a:cubicBezTo>
                    <a:cubicBezTo>
                      <a:pt x="489" y="424"/>
                      <a:pt x="490" y="425"/>
                      <a:pt x="490" y="424"/>
                    </a:cubicBezTo>
                    <a:cubicBezTo>
                      <a:pt x="491" y="424"/>
                      <a:pt x="491" y="424"/>
                      <a:pt x="491" y="423"/>
                    </a:cubicBezTo>
                    <a:cubicBezTo>
                      <a:pt x="492" y="422"/>
                      <a:pt x="493" y="422"/>
                      <a:pt x="494" y="421"/>
                    </a:cubicBezTo>
                    <a:cubicBezTo>
                      <a:pt x="495" y="420"/>
                      <a:pt x="495" y="418"/>
                      <a:pt x="495" y="417"/>
                    </a:cubicBezTo>
                    <a:cubicBezTo>
                      <a:pt x="495" y="417"/>
                      <a:pt x="494" y="416"/>
                      <a:pt x="494" y="416"/>
                    </a:cubicBezTo>
                    <a:cubicBezTo>
                      <a:pt x="494" y="415"/>
                      <a:pt x="493" y="415"/>
                      <a:pt x="493" y="414"/>
                    </a:cubicBezTo>
                    <a:cubicBezTo>
                      <a:pt x="492" y="412"/>
                      <a:pt x="490" y="412"/>
                      <a:pt x="489" y="411"/>
                    </a:cubicBezTo>
                    <a:cubicBezTo>
                      <a:pt x="487" y="409"/>
                      <a:pt x="486" y="408"/>
                      <a:pt x="483" y="408"/>
                    </a:cubicBezTo>
                    <a:cubicBezTo>
                      <a:pt x="482" y="408"/>
                      <a:pt x="481" y="409"/>
                      <a:pt x="479" y="409"/>
                    </a:cubicBezTo>
                    <a:cubicBezTo>
                      <a:pt x="477" y="410"/>
                      <a:pt x="474" y="410"/>
                      <a:pt x="473" y="409"/>
                    </a:cubicBezTo>
                    <a:cubicBezTo>
                      <a:pt x="471" y="408"/>
                      <a:pt x="470" y="408"/>
                      <a:pt x="467" y="409"/>
                    </a:cubicBezTo>
                    <a:cubicBezTo>
                      <a:pt x="466" y="409"/>
                      <a:pt x="464" y="409"/>
                      <a:pt x="463" y="409"/>
                    </a:cubicBezTo>
                    <a:cubicBezTo>
                      <a:pt x="462" y="409"/>
                      <a:pt x="461" y="410"/>
                      <a:pt x="460" y="410"/>
                    </a:cubicBezTo>
                    <a:cubicBezTo>
                      <a:pt x="459" y="410"/>
                      <a:pt x="458" y="410"/>
                      <a:pt x="458" y="410"/>
                    </a:cubicBezTo>
                    <a:cubicBezTo>
                      <a:pt x="456" y="410"/>
                      <a:pt x="454" y="411"/>
                      <a:pt x="452" y="411"/>
                    </a:cubicBezTo>
                    <a:cubicBezTo>
                      <a:pt x="451" y="411"/>
                      <a:pt x="449" y="411"/>
                      <a:pt x="448" y="411"/>
                    </a:cubicBezTo>
                    <a:cubicBezTo>
                      <a:pt x="444" y="411"/>
                      <a:pt x="439" y="411"/>
                      <a:pt x="436" y="408"/>
                    </a:cubicBezTo>
                    <a:cubicBezTo>
                      <a:pt x="435" y="407"/>
                      <a:pt x="435" y="406"/>
                      <a:pt x="434" y="406"/>
                    </a:cubicBezTo>
                    <a:cubicBezTo>
                      <a:pt x="433" y="405"/>
                      <a:pt x="433" y="405"/>
                      <a:pt x="432" y="405"/>
                    </a:cubicBezTo>
                    <a:cubicBezTo>
                      <a:pt x="431" y="403"/>
                      <a:pt x="430" y="403"/>
                      <a:pt x="428" y="402"/>
                    </a:cubicBezTo>
                    <a:cubicBezTo>
                      <a:pt x="427" y="401"/>
                      <a:pt x="426" y="401"/>
                      <a:pt x="425" y="400"/>
                    </a:cubicBezTo>
                    <a:cubicBezTo>
                      <a:pt x="424" y="399"/>
                      <a:pt x="424" y="398"/>
                      <a:pt x="423" y="398"/>
                    </a:cubicBezTo>
                    <a:cubicBezTo>
                      <a:pt x="422" y="397"/>
                      <a:pt x="420" y="398"/>
                      <a:pt x="419" y="398"/>
                    </a:cubicBezTo>
                    <a:cubicBezTo>
                      <a:pt x="418" y="397"/>
                      <a:pt x="418" y="396"/>
                      <a:pt x="416" y="396"/>
                    </a:cubicBezTo>
                    <a:cubicBezTo>
                      <a:pt x="416" y="395"/>
                      <a:pt x="415" y="393"/>
                      <a:pt x="414" y="391"/>
                    </a:cubicBezTo>
                    <a:cubicBezTo>
                      <a:pt x="414" y="390"/>
                      <a:pt x="414" y="388"/>
                      <a:pt x="413" y="387"/>
                    </a:cubicBezTo>
                    <a:cubicBezTo>
                      <a:pt x="413" y="386"/>
                      <a:pt x="412" y="386"/>
                      <a:pt x="411" y="385"/>
                    </a:cubicBezTo>
                    <a:cubicBezTo>
                      <a:pt x="410" y="385"/>
                      <a:pt x="411" y="385"/>
                      <a:pt x="410" y="384"/>
                    </a:cubicBezTo>
                    <a:cubicBezTo>
                      <a:pt x="408" y="383"/>
                      <a:pt x="407" y="382"/>
                      <a:pt x="405" y="381"/>
                    </a:cubicBezTo>
                    <a:cubicBezTo>
                      <a:pt x="403" y="379"/>
                      <a:pt x="401" y="378"/>
                      <a:pt x="399" y="375"/>
                    </a:cubicBezTo>
                    <a:cubicBezTo>
                      <a:pt x="399" y="375"/>
                      <a:pt x="398" y="374"/>
                      <a:pt x="398" y="374"/>
                    </a:cubicBezTo>
                    <a:cubicBezTo>
                      <a:pt x="397" y="372"/>
                      <a:pt x="397" y="371"/>
                      <a:pt x="395" y="370"/>
                    </a:cubicBezTo>
                    <a:cubicBezTo>
                      <a:pt x="395" y="370"/>
                      <a:pt x="391" y="367"/>
                      <a:pt x="391" y="366"/>
                    </a:cubicBezTo>
                    <a:cubicBezTo>
                      <a:pt x="391" y="366"/>
                      <a:pt x="391" y="366"/>
                      <a:pt x="391" y="366"/>
                    </a:cubicBezTo>
                    <a:cubicBezTo>
                      <a:pt x="391" y="366"/>
                      <a:pt x="390" y="366"/>
                      <a:pt x="390" y="366"/>
                    </a:cubicBezTo>
                    <a:cubicBezTo>
                      <a:pt x="390" y="366"/>
                      <a:pt x="390" y="365"/>
                      <a:pt x="390" y="365"/>
                    </a:cubicBezTo>
                    <a:cubicBezTo>
                      <a:pt x="389" y="365"/>
                      <a:pt x="389" y="364"/>
                      <a:pt x="389" y="364"/>
                    </a:cubicBezTo>
                    <a:cubicBezTo>
                      <a:pt x="388" y="363"/>
                      <a:pt x="388" y="363"/>
                      <a:pt x="387" y="363"/>
                    </a:cubicBezTo>
                    <a:cubicBezTo>
                      <a:pt x="387" y="362"/>
                      <a:pt x="387" y="361"/>
                      <a:pt x="386" y="361"/>
                    </a:cubicBezTo>
                    <a:cubicBezTo>
                      <a:pt x="386" y="360"/>
                      <a:pt x="385" y="359"/>
                      <a:pt x="385" y="358"/>
                    </a:cubicBezTo>
                    <a:cubicBezTo>
                      <a:pt x="384" y="357"/>
                      <a:pt x="383" y="356"/>
                      <a:pt x="383" y="355"/>
                    </a:cubicBezTo>
                    <a:cubicBezTo>
                      <a:pt x="382" y="354"/>
                      <a:pt x="382" y="352"/>
                      <a:pt x="381" y="352"/>
                    </a:cubicBezTo>
                    <a:cubicBezTo>
                      <a:pt x="381" y="348"/>
                      <a:pt x="379" y="345"/>
                      <a:pt x="378" y="341"/>
                    </a:cubicBezTo>
                    <a:cubicBezTo>
                      <a:pt x="377" y="338"/>
                      <a:pt x="376" y="335"/>
                      <a:pt x="376" y="332"/>
                    </a:cubicBezTo>
                    <a:cubicBezTo>
                      <a:pt x="375" y="329"/>
                      <a:pt x="375" y="325"/>
                      <a:pt x="374" y="323"/>
                    </a:cubicBezTo>
                    <a:cubicBezTo>
                      <a:pt x="373" y="321"/>
                      <a:pt x="373" y="320"/>
                      <a:pt x="372" y="319"/>
                    </a:cubicBezTo>
                    <a:cubicBezTo>
                      <a:pt x="372" y="318"/>
                      <a:pt x="372" y="317"/>
                      <a:pt x="372" y="316"/>
                    </a:cubicBezTo>
                    <a:cubicBezTo>
                      <a:pt x="372" y="316"/>
                      <a:pt x="371" y="315"/>
                      <a:pt x="371" y="315"/>
                    </a:cubicBezTo>
                    <a:cubicBezTo>
                      <a:pt x="370" y="311"/>
                      <a:pt x="370" y="307"/>
                      <a:pt x="369" y="303"/>
                    </a:cubicBezTo>
                    <a:cubicBezTo>
                      <a:pt x="368" y="301"/>
                      <a:pt x="366" y="299"/>
                      <a:pt x="365" y="297"/>
                    </a:cubicBezTo>
                    <a:cubicBezTo>
                      <a:pt x="364" y="296"/>
                      <a:pt x="364" y="295"/>
                      <a:pt x="364" y="294"/>
                    </a:cubicBezTo>
                    <a:cubicBezTo>
                      <a:pt x="364" y="293"/>
                      <a:pt x="363" y="291"/>
                      <a:pt x="362" y="290"/>
                    </a:cubicBezTo>
                    <a:cubicBezTo>
                      <a:pt x="361" y="288"/>
                      <a:pt x="360" y="287"/>
                      <a:pt x="360" y="285"/>
                    </a:cubicBezTo>
                    <a:cubicBezTo>
                      <a:pt x="360" y="285"/>
                      <a:pt x="359" y="284"/>
                      <a:pt x="359" y="283"/>
                    </a:cubicBezTo>
                    <a:cubicBezTo>
                      <a:pt x="358" y="282"/>
                      <a:pt x="358" y="282"/>
                      <a:pt x="358" y="280"/>
                    </a:cubicBezTo>
                    <a:cubicBezTo>
                      <a:pt x="358" y="279"/>
                      <a:pt x="358" y="279"/>
                      <a:pt x="357" y="279"/>
                    </a:cubicBezTo>
                    <a:cubicBezTo>
                      <a:pt x="355" y="278"/>
                      <a:pt x="354" y="280"/>
                      <a:pt x="352" y="277"/>
                    </a:cubicBezTo>
                    <a:cubicBezTo>
                      <a:pt x="350" y="275"/>
                      <a:pt x="351" y="271"/>
                      <a:pt x="349" y="269"/>
                    </a:cubicBezTo>
                    <a:cubicBezTo>
                      <a:pt x="347" y="268"/>
                      <a:pt x="346" y="267"/>
                      <a:pt x="345" y="266"/>
                    </a:cubicBezTo>
                    <a:cubicBezTo>
                      <a:pt x="344" y="265"/>
                      <a:pt x="343" y="265"/>
                      <a:pt x="342" y="265"/>
                    </a:cubicBezTo>
                    <a:cubicBezTo>
                      <a:pt x="342" y="264"/>
                      <a:pt x="342" y="264"/>
                      <a:pt x="341" y="264"/>
                    </a:cubicBezTo>
                    <a:cubicBezTo>
                      <a:pt x="341" y="264"/>
                      <a:pt x="340" y="263"/>
                      <a:pt x="340" y="263"/>
                    </a:cubicBezTo>
                    <a:cubicBezTo>
                      <a:pt x="338" y="262"/>
                      <a:pt x="337" y="260"/>
                      <a:pt x="336" y="259"/>
                    </a:cubicBezTo>
                    <a:cubicBezTo>
                      <a:pt x="335" y="257"/>
                      <a:pt x="333" y="256"/>
                      <a:pt x="331" y="254"/>
                    </a:cubicBezTo>
                    <a:cubicBezTo>
                      <a:pt x="330" y="253"/>
                      <a:pt x="328" y="251"/>
                      <a:pt x="327" y="250"/>
                    </a:cubicBezTo>
                    <a:cubicBezTo>
                      <a:pt x="326" y="248"/>
                      <a:pt x="324" y="248"/>
                      <a:pt x="323" y="247"/>
                    </a:cubicBezTo>
                    <a:cubicBezTo>
                      <a:pt x="321" y="246"/>
                      <a:pt x="320" y="244"/>
                      <a:pt x="319" y="243"/>
                    </a:cubicBezTo>
                    <a:cubicBezTo>
                      <a:pt x="318" y="242"/>
                      <a:pt x="317" y="241"/>
                      <a:pt x="316" y="241"/>
                    </a:cubicBezTo>
                    <a:cubicBezTo>
                      <a:pt x="315" y="241"/>
                      <a:pt x="315" y="241"/>
                      <a:pt x="314" y="241"/>
                    </a:cubicBezTo>
                    <a:cubicBezTo>
                      <a:pt x="314" y="240"/>
                      <a:pt x="314" y="240"/>
                      <a:pt x="313" y="240"/>
                    </a:cubicBezTo>
                    <a:cubicBezTo>
                      <a:pt x="313" y="239"/>
                      <a:pt x="312" y="239"/>
                      <a:pt x="311" y="238"/>
                    </a:cubicBezTo>
                    <a:cubicBezTo>
                      <a:pt x="309" y="237"/>
                      <a:pt x="308" y="236"/>
                      <a:pt x="307" y="234"/>
                    </a:cubicBezTo>
                    <a:cubicBezTo>
                      <a:pt x="305" y="231"/>
                      <a:pt x="304" y="228"/>
                      <a:pt x="302" y="225"/>
                    </a:cubicBezTo>
                    <a:cubicBezTo>
                      <a:pt x="302" y="224"/>
                      <a:pt x="302" y="224"/>
                      <a:pt x="302" y="224"/>
                    </a:cubicBezTo>
                    <a:cubicBezTo>
                      <a:pt x="302" y="223"/>
                      <a:pt x="301" y="223"/>
                      <a:pt x="301" y="223"/>
                    </a:cubicBezTo>
                    <a:cubicBezTo>
                      <a:pt x="300" y="221"/>
                      <a:pt x="299" y="219"/>
                      <a:pt x="299" y="218"/>
                    </a:cubicBezTo>
                    <a:cubicBezTo>
                      <a:pt x="299" y="214"/>
                      <a:pt x="300" y="210"/>
                      <a:pt x="299" y="206"/>
                    </a:cubicBezTo>
                    <a:cubicBezTo>
                      <a:pt x="298" y="203"/>
                      <a:pt x="296" y="201"/>
                      <a:pt x="296" y="198"/>
                    </a:cubicBezTo>
                    <a:cubicBezTo>
                      <a:pt x="296" y="198"/>
                      <a:pt x="296" y="197"/>
                      <a:pt x="296" y="196"/>
                    </a:cubicBezTo>
                    <a:cubicBezTo>
                      <a:pt x="296" y="196"/>
                      <a:pt x="297" y="196"/>
                      <a:pt x="297" y="195"/>
                    </a:cubicBezTo>
                    <a:cubicBezTo>
                      <a:pt x="297" y="194"/>
                      <a:pt x="297" y="192"/>
                      <a:pt x="297" y="191"/>
                    </a:cubicBezTo>
                    <a:cubicBezTo>
                      <a:pt x="297" y="190"/>
                      <a:pt x="296" y="190"/>
                      <a:pt x="296" y="189"/>
                    </a:cubicBezTo>
                    <a:cubicBezTo>
                      <a:pt x="296" y="189"/>
                      <a:pt x="296" y="188"/>
                      <a:pt x="296" y="187"/>
                    </a:cubicBezTo>
                    <a:cubicBezTo>
                      <a:pt x="296" y="186"/>
                      <a:pt x="296" y="186"/>
                      <a:pt x="297" y="185"/>
                    </a:cubicBezTo>
                    <a:cubicBezTo>
                      <a:pt x="297" y="184"/>
                      <a:pt x="297" y="183"/>
                      <a:pt x="298" y="182"/>
                    </a:cubicBezTo>
                    <a:cubicBezTo>
                      <a:pt x="298" y="181"/>
                      <a:pt x="298" y="181"/>
                      <a:pt x="299" y="181"/>
                    </a:cubicBezTo>
                    <a:cubicBezTo>
                      <a:pt x="299" y="181"/>
                      <a:pt x="299" y="181"/>
                      <a:pt x="300" y="181"/>
                    </a:cubicBezTo>
                    <a:cubicBezTo>
                      <a:pt x="300" y="180"/>
                      <a:pt x="301" y="180"/>
                      <a:pt x="302" y="180"/>
                    </a:cubicBezTo>
                    <a:cubicBezTo>
                      <a:pt x="305" y="179"/>
                      <a:pt x="305" y="176"/>
                      <a:pt x="306" y="173"/>
                    </a:cubicBezTo>
                    <a:cubicBezTo>
                      <a:pt x="307" y="172"/>
                      <a:pt x="307" y="172"/>
                      <a:pt x="308" y="171"/>
                    </a:cubicBezTo>
                    <a:cubicBezTo>
                      <a:pt x="310" y="171"/>
                      <a:pt x="312" y="171"/>
                      <a:pt x="314" y="171"/>
                    </a:cubicBezTo>
                    <a:cubicBezTo>
                      <a:pt x="316" y="171"/>
                      <a:pt x="318" y="170"/>
                      <a:pt x="321" y="171"/>
                    </a:cubicBezTo>
                    <a:cubicBezTo>
                      <a:pt x="321" y="171"/>
                      <a:pt x="322" y="171"/>
                      <a:pt x="323" y="170"/>
                    </a:cubicBezTo>
                    <a:cubicBezTo>
                      <a:pt x="324" y="170"/>
                      <a:pt x="324" y="169"/>
                      <a:pt x="324" y="168"/>
                    </a:cubicBezTo>
                    <a:cubicBezTo>
                      <a:pt x="324" y="166"/>
                      <a:pt x="322" y="165"/>
                      <a:pt x="320" y="164"/>
                    </a:cubicBezTo>
                    <a:cubicBezTo>
                      <a:pt x="318" y="163"/>
                      <a:pt x="317" y="163"/>
                      <a:pt x="316" y="161"/>
                    </a:cubicBezTo>
                    <a:cubicBezTo>
                      <a:pt x="316" y="159"/>
                      <a:pt x="315" y="158"/>
                      <a:pt x="315" y="156"/>
                    </a:cubicBezTo>
                    <a:cubicBezTo>
                      <a:pt x="315" y="154"/>
                      <a:pt x="315" y="155"/>
                      <a:pt x="317" y="154"/>
                    </a:cubicBezTo>
                    <a:cubicBezTo>
                      <a:pt x="318" y="154"/>
                      <a:pt x="319" y="153"/>
                      <a:pt x="319" y="152"/>
                    </a:cubicBezTo>
                    <a:cubicBezTo>
                      <a:pt x="321" y="151"/>
                      <a:pt x="322" y="149"/>
                      <a:pt x="323" y="148"/>
                    </a:cubicBezTo>
                    <a:cubicBezTo>
                      <a:pt x="324" y="147"/>
                      <a:pt x="326" y="147"/>
                      <a:pt x="327" y="146"/>
                    </a:cubicBezTo>
                    <a:cubicBezTo>
                      <a:pt x="328" y="145"/>
                      <a:pt x="328" y="145"/>
                      <a:pt x="328" y="144"/>
                    </a:cubicBezTo>
                    <a:cubicBezTo>
                      <a:pt x="325" y="143"/>
                      <a:pt x="323" y="144"/>
                      <a:pt x="320" y="143"/>
                    </a:cubicBezTo>
                    <a:cubicBezTo>
                      <a:pt x="317" y="141"/>
                      <a:pt x="312" y="142"/>
                      <a:pt x="308" y="142"/>
                    </a:cubicBezTo>
                    <a:cubicBezTo>
                      <a:pt x="308" y="140"/>
                      <a:pt x="310" y="138"/>
                      <a:pt x="310" y="137"/>
                    </a:cubicBezTo>
                    <a:cubicBezTo>
                      <a:pt x="311" y="136"/>
                      <a:pt x="311" y="136"/>
                      <a:pt x="311" y="135"/>
                    </a:cubicBezTo>
                    <a:cubicBezTo>
                      <a:pt x="312" y="135"/>
                      <a:pt x="312" y="135"/>
                      <a:pt x="313" y="134"/>
                    </a:cubicBezTo>
                    <a:cubicBezTo>
                      <a:pt x="315" y="133"/>
                      <a:pt x="314" y="132"/>
                      <a:pt x="314" y="130"/>
                    </a:cubicBezTo>
                    <a:cubicBezTo>
                      <a:pt x="315" y="128"/>
                      <a:pt x="316" y="128"/>
                      <a:pt x="317" y="130"/>
                    </a:cubicBezTo>
                    <a:cubicBezTo>
                      <a:pt x="318" y="131"/>
                      <a:pt x="316" y="133"/>
                      <a:pt x="318" y="134"/>
                    </a:cubicBezTo>
                    <a:cubicBezTo>
                      <a:pt x="319" y="134"/>
                      <a:pt x="320" y="134"/>
                      <a:pt x="321" y="134"/>
                    </a:cubicBezTo>
                    <a:cubicBezTo>
                      <a:pt x="321" y="134"/>
                      <a:pt x="321" y="134"/>
                      <a:pt x="322" y="134"/>
                    </a:cubicBezTo>
                    <a:cubicBezTo>
                      <a:pt x="322" y="134"/>
                      <a:pt x="322" y="134"/>
                      <a:pt x="322" y="133"/>
                    </a:cubicBezTo>
                    <a:cubicBezTo>
                      <a:pt x="324" y="133"/>
                      <a:pt x="325" y="132"/>
                      <a:pt x="326" y="131"/>
                    </a:cubicBezTo>
                    <a:cubicBezTo>
                      <a:pt x="327" y="130"/>
                      <a:pt x="329" y="130"/>
                      <a:pt x="329" y="129"/>
                    </a:cubicBezTo>
                    <a:cubicBezTo>
                      <a:pt x="330" y="128"/>
                      <a:pt x="330" y="128"/>
                      <a:pt x="331" y="127"/>
                    </a:cubicBezTo>
                    <a:cubicBezTo>
                      <a:pt x="331" y="127"/>
                      <a:pt x="332" y="127"/>
                      <a:pt x="333" y="127"/>
                    </a:cubicBezTo>
                    <a:cubicBezTo>
                      <a:pt x="334" y="126"/>
                      <a:pt x="336" y="127"/>
                      <a:pt x="338" y="126"/>
                    </a:cubicBezTo>
                    <a:cubicBezTo>
                      <a:pt x="339" y="126"/>
                      <a:pt x="340" y="124"/>
                      <a:pt x="341" y="124"/>
                    </a:cubicBezTo>
                    <a:cubicBezTo>
                      <a:pt x="342" y="123"/>
                      <a:pt x="343" y="123"/>
                      <a:pt x="345" y="123"/>
                    </a:cubicBezTo>
                    <a:cubicBezTo>
                      <a:pt x="346" y="122"/>
                      <a:pt x="347" y="121"/>
                      <a:pt x="347" y="120"/>
                    </a:cubicBezTo>
                    <a:cubicBezTo>
                      <a:pt x="348" y="119"/>
                      <a:pt x="348" y="118"/>
                      <a:pt x="349" y="118"/>
                    </a:cubicBezTo>
                    <a:cubicBezTo>
                      <a:pt x="350" y="118"/>
                      <a:pt x="351" y="118"/>
                      <a:pt x="351" y="118"/>
                    </a:cubicBezTo>
                    <a:cubicBezTo>
                      <a:pt x="352" y="118"/>
                      <a:pt x="355" y="118"/>
                      <a:pt x="355" y="117"/>
                    </a:cubicBezTo>
                    <a:cubicBezTo>
                      <a:pt x="357" y="115"/>
                      <a:pt x="354" y="114"/>
                      <a:pt x="354" y="112"/>
                    </a:cubicBezTo>
                    <a:cubicBezTo>
                      <a:pt x="353" y="112"/>
                      <a:pt x="353" y="112"/>
                      <a:pt x="353" y="112"/>
                    </a:cubicBezTo>
                    <a:cubicBezTo>
                      <a:pt x="352" y="110"/>
                      <a:pt x="353" y="111"/>
                      <a:pt x="354" y="109"/>
                    </a:cubicBezTo>
                    <a:cubicBezTo>
                      <a:pt x="354" y="108"/>
                      <a:pt x="354" y="107"/>
                      <a:pt x="355" y="106"/>
                    </a:cubicBezTo>
                    <a:cubicBezTo>
                      <a:pt x="355" y="105"/>
                      <a:pt x="356" y="104"/>
                      <a:pt x="358" y="104"/>
                    </a:cubicBezTo>
                    <a:cubicBezTo>
                      <a:pt x="359" y="105"/>
                      <a:pt x="359" y="106"/>
                      <a:pt x="359" y="107"/>
                    </a:cubicBezTo>
                    <a:cubicBezTo>
                      <a:pt x="360" y="108"/>
                      <a:pt x="361" y="108"/>
                      <a:pt x="362" y="109"/>
                    </a:cubicBezTo>
                    <a:cubicBezTo>
                      <a:pt x="363" y="109"/>
                      <a:pt x="364" y="109"/>
                      <a:pt x="365" y="109"/>
                    </a:cubicBezTo>
                    <a:cubicBezTo>
                      <a:pt x="366" y="108"/>
                      <a:pt x="366" y="108"/>
                      <a:pt x="367" y="108"/>
                    </a:cubicBezTo>
                    <a:cubicBezTo>
                      <a:pt x="368" y="107"/>
                      <a:pt x="370" y="104"/>
                      <a:pt x="371" y="105"/>
                    </a:cubicBezTo>
                    <a:cubicBezTo>
                      <a:pt x="372" y="105"/>
                      <a:pt x="372" y="107"/>
                      <a:pt x="372" y="108"/>
                    </a:cubicBezTo>
                    <a:cubicBezTo>
                      <a:pt x="373" y="108"/>
                      <a:pt x="373" y="110"/>
                      <a:pt x="373" y="110"/>
                    </a:cubicBezTo>
                    <a:cubicBezTo>
                      <a:pt x="375" y="111"/>
                      <a:pt x="378" y="111"/>
                      <a:pt x="377" y="114"/>
                    </a:cubicBezTo>
                    <a:cubicBezTo>
                      <a:pt x="376" y="115"/>
                      <a:pt x="375" y="115"/>
                      <a:pt x="375" y="116"/>
                    </a:cubicBezTo>
                    <a:cubicBezTo>
                      <a:pt x="374" y="117"/>
                      <a:pt x="374" y="119"/>
                      <a:pt x="375" y="120"/>
                    </a:cubicBezTo>
                    <a:cubicBezTo>
                      <a:pt x="375" y="120"/>
                      <a:pt x="380" y="120"/>
                      <a:pt x="381" y="120"/>
                    </a:cubicBezTo>
                    <a:cubicBezTo>
                      <a:pt x="383" y="119"/>
                      <a:pt x="384" y="118"/>
                      <a:pt x="385" y="117"/>
                    </a:cubicBezTo>
                    <a:cubicBezTo>
                      <a:pt x="386" y="116"/>
                      <a:pt x="386" y="116"/>
                      <a:pt x="387" y="115"/>
                    </a:cubicBezTo>
                    <a:cubicBezTo>
                      <a:pt x="387" y="115"/>
                      <a:pt x="387" y="115"/>
                      <a:pt x="388" y="114"/>
                    </a:cubicBezTo>
                    <a:cubicBezTo>
                      <a:pt x="389" y="112"/>
                      <a:pt x="389" y="111"/>
                      <a:pt x="389" y="108"/>
                    </a:cubicBezTo>
                    <a:cubicBezTo>
                      <a:pt x="389" y="107"/>
                      <a:pt x="389" y="107"/>
                      <a:pt x="389" y="105"/>
                    </a:cubicBezTo>
                    <a:cubicBezTo>
                      <a:pt x="388" y="105"/>
                      <a:pt x="389" y="105"/>
                      <a:pt x="388" y="104"/>
                    </a:cubicBezTo>
                    <a:cubicBezTo>
                      <a:pt x="388" y="103"/>
                      <a:pt x="386" y="103"/>
                      <a:pt x="385" y="102"/>
                    </a:cubicBezTo>
                    <a:cubicBezTo>
                      <a:pt x="384" y="101"/>
                      <a:pt x="384" y="100"/>
                      <a:pt x="383" y="100"/>
                    </a:cubicBezTo>
                    <a:cubicBezTo>
                      <a:pt x="382" y="100"/>
                      <a:pt x="381" y="100"/>
                      <a:pt x="380" y="100"/>
                    </a:cubicBezTo>
                    <a:cubicBezTo>
                      <a:pt x="379" y="100"/>
                      <a:pt x="377" y="100"/>
                      <a:pt x="376" y="99"/>
                    </a:cubicBezTo>
                    <a:cubicBezTo>
                      <a:pt x="374" y="98"/>
                      <a:pt x="374" y="97"/>
                      <a:pt x="373" y="95"/>
                    </a:cubicBezTo>
                    <a:cubicBezTo>
                      <a:pt x="372" y="94"/>
                      <a:pt x="371" y="92"/>
                      <a:pt x="370" y="91"/>
                    </a:cubicBezTo>
                    <a:cubicBezTo>
                      <a:pt x="370" y="91"/>
                      <a:pt x="370" y="91"/>
                      <a:pt x="370" y="90"/>
                    </a:cubicBezTo>
                    <a:cubicBezTo>
                      <a:pt x="370" y="89"/>
                      <a:pt x="371" y="89"/>
                      <a:pt x="371" y="89"/>
                    </a:cubicBezTo>
                    <a:cubicBezTo>
                      <a:pt x="372" y="88"/>
                      <a:pt x="372" y="89"/>
                      <a:pt x="372" y="87"/>
                    </a:cubicBezTo>
                    <a:cubicBezTo>
                      <a:pt x="372" y="87"/>
                      <a:pt x="372" y="86"/>
                      <a:pt x="372" y="86"/>
                    </a:cubicBezTo>
                    <a:cubicBezTo>
                      <a:pt x="369" y="85"/>
                      <a:pt x="364" y="86"/>
                      <a:pt x="367" y="82"/>
                    </a:cubicBezTo>
                    <a:cubicBezTo>
                      <a:pt x="368" y="81"/>
                      <a:pt x="368" y="80"/>
                      <a:pt x="370" y="79"/>
                    </a:cubicBezTo>
                    <a:cubicBezTo>
                      <a:pt x="371" y="78"/>
                      <a:pt x="372" y="76"/>
                      <a:pt x="374" y="75"/>
                    </a:cubicBezTo>
                    <a:cubicBezTo>
                      <a:pt x="375" y="75"/>
                      <a:pt x="378" y="75"/>
                      <a:pt x="377" y="73"/>
                    </a:cubicBezTo>
                    <a:cubicBezTo>
                      <a:pt x="376" y="72"/>
                      <a:pt x="373" y="71"/>
                      <a:pt x="372" y="70"/>
                    </a:cubicBezTo>
                    <a:cubicBezTo>
                      <a:pt x="370" y="70"/>
                      <a:pt x="369" y="69"/>
                      <a:pt x="368" y="69"/>
                    </a:cubicBezTo>
                    <a:cubicBezTo>
                      <a:pt x="365" y="69"/>
                      <a:pt x="363" y="68"/>
                      <a:pt x="361" y="68"/>
                    </a:cubicBezTo>
                    <a:cubicBezTo>
                      <a:pt x="361" y="67"/>
                      <a:pt x="361" y="66"/>
                      <a:pt x="362" y="65"/>
                    </a:cubicBezTo>
                    <a:cubicBezTo>
                      <a:pt x="362" y="64"/>
                      <a:pt x="363" y="64"/>
                      <a:pt x="364" y="63"/>
                    </a:cubicBezTo>
                    <a:cubicBezTo>
                      <a:pt x="366" y="62"/>
                      <a:pt x="366" y="62"/>
                      <a:pt x="366" y="61"/>
                    </a:cubicBezTo>
                    <a:cubicBezTo>
                      <a:pt x="366" y="59"/>
                      <a:pt x="366" y="58"/>
                      <a:pt x="367" y="57"/>
                    </a:cubicBezTo>
                    <a:cubicBezTo>
                      <a:pt x="369" y="55"/>
                      <a:pt x="371" y="54"/>
                      <a:pt x="374" y="54"/>
                    </a:cubicBezTo>
                    <a:cubicBezTo>
                      <a:pt x="376" y="54"/>
                      <a:pt x="378" y="54"/>
                      <a:pt x="380" y="53"/>
                    </a:cubicBezTo>
                    <a:cubicBezTo>
                      <a:pt x="382" y="42"/>
                      <a:pt x="382" y="42"/>
                      <a:pt x="382" y="42"/>
                    </a:cubicBezTo>
                    <a:cubicBezTo>
                      <a:pt x="382" y="42"/>
                      <a:pt x="382" y="42"/>
                      <a:pt x="381" y="42"/>
                    </a:cubicBezTo>
                    <a:cubicBezTo>
                      <a:pt x="378" y="42"/>
                      <a:pt x="374" y="42"/>
                      <a:pt x="371" y="42"/>
                    </a:cubicBezTo>
                    <a:cubicBezTo>
                      <a:pt x="368" y="42"/>
                      <a:pt x="366" y="42"/>
                      <a:pt x="363" y="42"/>
                    </a:cubicBezTo>
                    <a:cubicBezTo>
                      <a:pt x="359" y="41"/>
                      <a:pt x="355" y="41"/>
                      <a:pt x="351" y="39"/>
                    </a:cubicBezTo>
                    <a:cubicBezTo>
                      <a:pt x="350" y="39"/>
                      <a:pt x="349" y="38"/>
                      <a:pt x="347" y="37"/>
                    </a:cubicBezTo>
                    <a:cubicBezTo>
                      <a:pt x="346" y="37"/>
                      <a:pt x="344" y="37"/>
                      <a:pt x="343" y="37"/>
                    </a:cubicBezTo>
                    <a:cubicBezTo>
                      <a:pt x="341" y="36"/>
                      <a:pt x="339" y="36"/>
                      <a:pt x="337" y="36"/>
                    </a:cubicBezTo>
                    <a:cubicBezTo>
                      <a:pt x="334" y="35"/>
                      <a:pt x="332" y="35"/>
                      <a:pt x="329" y="35"/>
                    </a:cubicBezTo>
                    <a:cubicBezTo>
                      <a:pt x="328" y="35"/>
                      <a:pt x="327" y="35"/>
                      <a:pt x="326" y="35"/>
                    </a:cubicBezTo>
                    <a:cubicBezTo>
                      <a:pt x="322" y="33"/>
                      <a:pt x="317" y="30"/>
                      <a:pt x="314" y="27"/>
                    </a:cubicBezTo>
                    <a:cubicBezTo>
                      <a:pt x="312" y="26"/>
                      <a:pt x="310" y="24"/>
                      <a:pt x="309" y="22"/>
                    </a:cubicBezTo>
                    <a:cubicBezTo>
                      <a:pt x="308" y="20"/>
                      <a:pt x="308" y="18"/>
                      <a:pt x="306" y="17"/>
                    </a:cubicBezTo>
                    <a:cubicBezTo>
                      <a:pt x="305" y="16"/>
                      <a:pt x="304" y="15"/>
                      <a:pt x="303" y="14"/>
                    </a:cubicBezTo>
                    <a:cubicBezTo>
                      <a:pt x="302" y="13"/>
                      <a:pt x="301" y="12"/>
                      <a:pt x="301" y="12"/>
                    </a:cubicBezTo>
                    <a:cubicBezTo>
                      <a:pt x="299" y="10"/>
                      <a:pt x="300" y="10"/>
                      <a:pt x="300" y="9"/>
                    </a:cubicBezTo>
                    <a:cubicBezTo>
                      <a:pt x="300" y="8"/>
                      <a:pt x="300" y="7"/>
                      <a:pt x="301" y="6"/>
                    </a:cubicBezTo>
                    <a:cubicBezTo>
                      <a:pt x="301" y="6"/>
                      <a:pt x="303" y="6"/>
                      <a:pt x="303" y="6"/>
                    </a:cubicBezTo>
                    <a:cubicBezTo>
                      <a:pt x="304" y="5"/>
                      <a:pt x="306" y="4"/>
                      <a:pt x="306" y="3"/>
                    </a:cubicBezTo>
                    <a:cubicBezTo>
                      <a:pt x="306" y="0"/>
                      <a:pt x="303" y="0"/>
                      <a:pt x="301" y="0"/>
                    </a:cubicBezTo>
                    <a:cubicBezTo>
                      <a:pt x="299" y="0"/>
                      <a:pt x="297" y="1"/>
                      <a:pt x="296" y="2"/>
                    </a:cubicBezTo>
                    <a:cubicBezTo>
                      <a:pt x="293" y="3"/>
                      <a:pt x="290" y="4"/>
                      <a:pt x="288" y="6"/>
                    </a:cubicBezTo>
                    <a:cubicBezTo>
                      <a:pt x="286" y="7"/>
                      <a:pt x="283" y="10"/>
                      <a:pt x="281" y="8"/>
                    </a:cubicBezTo>
                    <a:cubicBezTo>
                      <a:pt x="280" y="7"/>
                      <a:pt x="279" y="6"/>
                      <a:pt x="277" y="7"/>
                    </a:cubicBezTo>
                    <a:cubicBezTo>
                      <a:pt x="276" y="7"/>
                      <a:pt x="275" y="8"/>
                      <a:pt x="274" y="9"/>
                    </a:cubicBezTo>
                    <a:cubicBezTo>
                      <a:pt x="273" y="9"/>
                      <a:pt x="272" y="9"/>
                      <a:pt x="271" y="9"/>
                    </a:cubicBezTo>
                    <a:cubicBezTo>
                      <a:pt x="266" y="9"/>
                      <a:pt x="261" y="8"/>
                      <a:pt x="256" y="8"/>
                    </a:cubicBezTo>
                    <a:cubicBezTo>
                      <a:pt x="255" y="8"/>
                      <a:pt x="254" y="8"/>
                      <a:pt x="253" y="8"/>
                    </a:cubicBezTo>
                    <a:cubicBezTo>
                      <a:pt x="251" y="8"/>
                      <a:pt x="250" y="9"/>
                      <a:pt x="249" y="9"/>
                    </a:cubicBezTo>
                    <a:cubicBezTo>
                      <a:pt x="247" y="10"/>
                      <a:pt x="247" y="10"/>
                      <a:pt x="247" y="11"/>
                    </a:cubicBezTo>
                    <a:cubicBezTo>
                      <a:pt x="246" y="12"/>
                      <a:pt x="246" y="12"/>
                      <a:pt x="246" y="14"/>
                    </a:cubicBezTo>
                    <a:cubicBezTo>
                      <a:pt x="246" y="15"/>
                      <a:pt x="246" y="16"/>
                      <a:pt x="246" y="17"/>
                    </a:cubicBezTo>
                    <a:cubicBezTo>
                      <a:pt x="245" y="19"/>
                      <a:pt x="244" y="20"/>
                      <a:pt x="243" y="21"/>
                    </a:cubicBezTo>
                    <a:cubicBezTo>
                      <a:pt x="243" y="23"/>
                      <a:pt x="243" y="25"/>
                      <a:pt x="241" y="26"/>
                    </a:cubicBezTo>
                    <a:cubicBezTo>
                      <a:pt x="239" y="26"/>
                      <a:pt x="237" y="26"/>
                      <a:pt x="236" y="26"/>
                    </a:cubicBezTo>
                    <a:cubicBezTo>
                      <a:pt x="235" y="26"/>
                      <a:pt x="234" y="26"/>
                      <a:pt x="234" y="25"/>
                    </a:cubicBezTo>
                    <a:cubicBezTo>
                      <a:pt x="233" y="25"/>
                      <a:pt x="233" y="25"/>
                      <a:pt x="232" y="24"/>
                    </a:cubicBezTo>
                    <a:cubicBezTo>
                      <a:pt x="232" y="24"/>
                      <a:pt x="230" y="24"/>
                      <a:pt x="230" y="24"/>
                    </a:cubicBezTo>
                    <a:cubicBezTo>
                      <a:pt x="229" y="24"/>
                      <a:pt x="227" y="24"/>
                      <a:pt x="227" y="23"/>
                    </a:cubicBezTo>
                    <a:cubicBezTo>
                      <a:pt x="226" y="22"/>
                      <a:pt x="227" y="21"/>
                      <a:pt x="226" y="20"/>
                    </a:cubicBezTo>
                    <a:cubicBezTo>
                      <a:pt x="226" y="19"/>
                      <a:pt x="225" y="19"/>
                      <a:pt x="224" y="19"/>
                    </a:cubicBezTo>
                    <a:cubicBezTo>
                      <a:pt x="223" y="19"/>
                      <a:pt x="221" y="18"/>
                      <a:pt x="220" y="18"/>
                    </a:cubicBezTo>
                    <a:cubicBezTo>
                      <a:pt x="219" y="18"/>
                      <a:pt x="218" y="18"/>
                      <a:pt x="217" y="18"/>
                    </a:cubicBezTo>
                    <a:cubicBezTo>
                      <a:pt x="216" y="18"/>
                      <a:pt x="215" y="18"/>
                      <a:pt x="213" y="18"/>
                    </a:cubicBezTo>
                    <a:cubicBezTo>
                      <a:pt x="213" y="19"/>
                      <a:pt x="213" y="20"/>
                      <a:pt x="213" y="22"/>
                    </a:cubicBezTo>
                    <a:cubicBezTo>
                      <a:pt x="212" y="23"/>
                      <a:pt x="212" y="25"/>
                      <a:pt x="211" y="27"/>
                    </a:cubicBezTo>
                    <a:cubicBezTo>
                      <a:pt x="209" y="29"/>
                      <a:pt x="207" y="30"/>
                      <a:pt x="208" y="34"/>
                    </a:cubicBezTo>
                    <a:cubicBezTo>
                      <a:pt x="208" y="35"/>
                      <a:pt x="209" y="35"/>
                      <a:pt x="210" y="36"/>
                    </a:cubicBezTo>
                    <a:cubicBezTo>
                      <a:pt x="210" y="36"/>
                      <a:pt x="210" y="37"/>
                      <a:pt x="211" y="37"/>
                    </a:cubicBezTo>
                    <a:cubicBezTo>
                      <a:pt x="211" y="37"/>
                      <a:pt x="212" y="37"/>
                      <a:pt x="213" y="38"/>
                    </a:cubicBezTo>
                    <a:cubicBezTo>
                      <a:pt x="213" y="38"/>
                      <a:pt x="212" y="41"/>
                      <a:pt x="212" y="42"/>
                    </a:cubicBezTo>
                    <a:cubicBezTo>
                      <a:pt x="211" y="42"/>
                      <a:pt x="209" y="43"/>
                      <a:pt x="208" y="43"/>
                    </a:cubicBezTo>
                    <a:cubicBezTo>
                      <a:pt x="206" y="44"/>
                      <a:pt x="204" y="44"/>
                      <a:pt x="203" y="43"/>
                    </a:cubicBezTo>
                    <a:cubicBezTo>
                      <a:pt x="201" y="42"/>
                      <a:pt x="201" y="39"/>
                      <a:pt x="198" y="39"/>
                    </a:cubicBezTo>
                    <a:cubicBezTo>
                      <a:pt x="197" y="39"/>
                      <a:pt x="197" y="40"/>
                      <a:pt x="196" y="40"/>
                    </a:cubicBezTo>
                    <a:cubicBezTo>
                      <a:pt x="195" y="41"/>
                      <a:pt x="194" y="41"/>
                      <a:pt x="192" y="42"/>
                    </a:cubicBezTo>
                    <a:cubicBezTo>
                      <a:pt x="191" y="42"/>
                      <a:pt x="190" y="43"/>
                      <a:pt x="190" y="44"/>
                    </a:cubicBezTo>
                    <a:cubicBezTo>
                      <a:pt x="189" y="46"/>
                      <a:pt x="189" y="47"/>
                      <a:pt x="189" y="49"/>
                    </a:cubicBezTo>
                    <a:cubicBezTo>
                      <a:pt x="189" y="50"/>
                      <a:pt x="189" y="52"/>
                      <a:pt x="189" y="54"/>
                    </a:cubicBezTo>
                    <a:cubicBezTo>
                      <a:pt x="191" y="54"/>
                      <a:pt x="193" y="53"/>
                      <a:pt x="194" y="54"/>
                    </a:cubicBezTo>
                    <a:cubicBezTo>
                      <a:pt x="196" y="55"/>
                      <a:pt x="194" y="58"/>
                      <a:pt x="194" y="59"/>
                    </a:cubicBezTo>
                    <a:cubicBezTo>
                      <a:pt x="193" y="60"/>
                      <a:pt x="193" y="60"/>
                      <a:pt x="192" y="61"/>
                    </a:cubicBezTo>
                    <a:cubicBezTo>
                      <a:pt x="192" y="62"/>
                      <a:pt x="193" y="62"/>
                      <a:pt x="193" y="63"/>
                    </a:cubicBezTo>
                    <a:cubicBezTo>
                      <a:pt x="194" y="65"/>
                      <a:pt x="195" y="66"/>
                      <a:pt x="195" y="68"/>
                    </a:cubicBezTo>
                    <a:cubicBezTo>
                      <a:pt x="192" y="68"/>
                      <a:pt x="190" y="67"/>
                      <a:pt x="188" y="66"/>
                    </a:cubicBezTo>
                    <a:cubicBezTo>
                      <a:pt x="187" y="65"/>
                      <a:pt x="187" y="64"/>
                      <a:pt x="186" y="63"/>
                    </a:cubicBezTo>
                    <a:cubicBezTo>
                      <a:pt x="186" y="63"/>
                      <a:pt x="186" y="60"/>
                      <a:pt x="185" y="60"/>
                    </a:cubicBezTo>
                    <a:cubicBezTo>
                      <a:pt x="184" y="59"/>
                      <a:pt x="182" y="60"/>
                      <a:pt x="181" y="60"/>
                    </a:cubicBezTo>
                    <a:cubicBezTo>
                      <a:pt x="179" y="60"/>
                      <a:pt x="177" y="60"/>
                      <a:pt x="175" y="60"/>
                    </a:cubicBezTo>
                    <a:cubicBezTo>
                      <a:pt x="174" y="60"/>
                      <a:pt x="173" y="60"/>
                      <a:pt x="172" y="61"/>
                    </a:cubicBezTo>
                    <a:cubicBezTo>
                      <a:pt x="171" y="61"/>
                      <a:pt x="171" y="62"/>
                      <a:pt x="170" y="63"/>
                    </a:cubicBezTo>
                    <a:cubicBezTo>
                      <a:pt x="170" y="63"/>
                      <a:pt x="169" y="63"/>
                      <a:pt x="168" y="63"/>
                    </a:cubicBezTo>
                    <a:cubicBezTo>
                      <a:pt x="167" y="63"/>
                      <a:pt x="167" y="63"/>
                      <a:pt x="166" y="64"/>
                    </a:cubicBezTo>
                    <a:cubicBezTo>
                      <a:pt x="164" y="64"/>
                      <a:pt x="162" y="63"/>
                      <a:pt x="161" y="62"/>
                    </a:cubicBezTo>
                    <a:cubicBezTo>
                      <a:pt x="159" y="62"/>
                      <a:pt x="158" y="62"/>
                      <a:pt x="157" y="60"/>
                    </a:cubicBezTo>
                    <a:cubicBezTo>
                      <a:pt x="157" y="59"/>
                      <a:pt x="157" y="57"/>
                      <a:pt x="157" y="56"/>
                    </a:cubicBezTo>
                    <a:cubicBezTo>
                      <a:pt x="156" y="55"/>
                      <a:pt x="156" y="54"/>
                      <a:pt x="155" y="52"/>
                    </a:cubicBezTo>
                    <a:cubicBezTo>
                      <a:pt x="155" y="52"/>
                      <a:pt x="153" y="50"/>
                      <a:pt x="153" y="50"/>
                    </a:cubicBezTo>
                    <a:cubicBezTo>
                      <a:pt x="152" y="49"/>
                      <a:pt x="148" y="49"/>
                      <a:pt x="147" y="50"/>
                    </a:cubicBezTo>
                    <a:cubicBezTo>
                      <a:pt x="147" y="50"/>
                      <a:pt x="146" y="51"/>
                      <a:pt x="145" y="51"/>
                    </a:cubicBezTo>
                    <a:cubicBezTo>
                      <a:pt x="145" y="52"/>
                      <a:pt x="144" y="53"/>
                      <a:pt x="144" y="53"/>
                    </a:cubicBezTo>
                    <a:cubicBezTo>
                      <a:pt x="143" y="55"/>
                      <a:pt x="144" y="58"/>
                      <a:pt x="145" y="59"/>
                    </a:cubicBezTo>
                    <a:cubicBezTo>
                      <a:pt x="146" y="60"/>
                      <a:pt x="146" y="61"/>
                      <a:pt x="147" y="62"/>
                    </a:cubicBezTo>
                    <a:cubicBezTo>
                      <a:pt x="147" y="63"/>
                      <a:pt x="147" y="65"/>
                      <a:pt x="146" y="66"/>
                    </a:cubicBezTo>
                    <a:cubicBezTo>
                      <a:pt x="146" y="67"/>
                      <a:pt x="145" y="68"/>
                      <a:pt x="144" y="69"/>
                    </a:cubicBezTo>
                    <a:cubicBezTo>
                      <a:pt x="143" y="70"/>
                      <a:pt x="143" y="70"/>
                      <a:pt x="143" y="71"/>
                    </a:cubicBezTo>
                    <a:cubicBezTo>
                      <a:pt x="141" y="72"/>
                      <a:pt x="140" y="73"/>
                      <a:pt x="138" y="74"/>
                    </a:cubicBezTo>
                    <a:cubicBezTo>
                      <a:pt x="136" y="75"/>
                      <a:pt x="136" y="77"/>
                      <a:pt x="135" y="79"/>
                    </a:cubicBezTo>
                    <a:cubicBezTo>
                      <a:pt x="135" y="81"/>
                      <a:pt x="133" y="82"/>
                      <a:pt x="132" y="84"/>
                    </a:cubicBezTo>
                    <a:cubicBezTo>
                      <a:pt x="132" y="85"/>
                      <a:pt x="132" y="85"/>
                      <a:pt x="131" y="86"/>
                    </a:cubicBezTo>
                    <a:cubicBezTo>
                      <a:pt x="131" y="87"/>
                      <a:pt x="130" y="88"/>
                      <a:pt x="129" y="88"/>
                    </a:cubicBezTo>
                    <a:cubicBezTo>
                      <a:pt x="129" y="89"/>
                      <a:pt x="129" y="92"/>
                      <a:pt x="129" y="92"/>
                    </a:cubicBezTo>
                    <a:cubicBezTo>
                      <a:pt x="130" y="93"/>
                      <a:pt x="132" y="93"/>
                      <a:pt x="132" y="93"/>
                    </a:cubicBezTo>
                    <a:cubicBezTo>
                      <a:pt x="133" y="94"/>
                      <a:pt x="134" y="94"/>
                      <a:pt x="134" y="95"/>
                    </a:cubicBezTo>
                    <a:cubicBezTo>
                      <a:pt x="136" y="96"/>
                      <a:pt x="135" y="97"/>
                      <a:pt x="135" y="98"/>
                    </a:cubicBezTo>
                    <a:cubicBezTo>
                      <a:pt x="134" y="101"/>
                      <a:pt x="133" y="102"/>
                      <a:pt x="130" y="101"/>
                    </a:cubicBezTo>
                    <a:cubicBezTo>
                      <a:pt x="129" y="101"/>
                      <a:pt x="126" y="101"/>
                      <a:pt x="125" y="99"/>
                    </a:cubicBezTo>
                    <a:cubicBezTo>
                      <a:pt x="124" y="97"/>
                      <a:pt x="125" y="94"/>
                      <a:pt x="124" y="92"/>
                    </a:cubicBezTo>
                    <a:cubicBezTo>
                      <a:pt x="123" y="90"/>
                      <a:pt x="121" y="90"/>
                      <a:pt x="119" y="90"/>
                    </a:cubicBezTo>
                    <a:cubicBezTo>
                      <a:pt x="119" y="89"/>
                      <a:pt x="119" y="88"/>
                      <a:pt x="119" y="88"/>
                    </a:cubicBezTo>
                    <a:cubicBezTo>
                      <a:pt x="119" y="88"/>
                      <a:pt x="120" y="87"/>
                      <a:pt x="120" y="87"/>
                    </a:cubicBezTo>
                    <a:cubicBezTo>
                      <a:pt x="120" y="87"/>
                      <a:pt x="120" y="86"/>
                      <a:pt x="120" y="86"/>
                    </a:cubicBezTo>
                    <a:cubicBezTo>
                      <a:pt x="120" y="85"/>
                      <a:pt x="122" y="84"/>
                      <a:pt x="122" y="83"/>
                    </a:cubicBezTo>
                    <a:cubicBezTo>
                      <a:pt x="121" y="82"/>
                      <a:pt x="121" y="82"/>
                      <a:pt x="120" y="82"/>
                    </a:cubicBezTo>
                    <a:cubicBezTo>
                      <a:pt x="119" y="81"/>
                      <a:pt x="118" y="80"/>
                      <a:pt x="116" y="80"/>
                    </a:cubicBezTo>
                    <a:cubicBezTo>
                      <a:pt x="116" y="80"/>
                      <a:pt x="115" y="80"/>
                      <a:pt x="114" y="80"/>
                    </a:cubicBezTo>
                    <a:cubicBezTo>
                      <a:pt x="114" y="80"/>
                      <a:pt x="114" y="79"/>
                      <a:pt x="113" y="79"/>
                    </a:cubicBezTo>
                    <a:cubicBezTo>
                      <a:pt x="112" y="79"/>
                      <a:pt x="111" y="79"/>
                      <a:pt x="110" y="78"/>
                    </a:cubicBezTo>
                    <a:cubicBezTo>
                      <a:pt x="108" y="78"/>
                      <a:pt x="107" y="77"/>
                      <a:pt x="106" y="75"/>
                    </a:cubicBezTo>
                    <a:cubicBezTo>
                      <a:pt x="105" y="73"/>
                      <a:pt x="104" y="71"/>
                      <a:pt x="103" y="70"/>
                    </a:cubicBezTo>
                    <a:cubicBezTo>
                      <a:pt x="102" y="69"/>
                      <a:pt x="101" y="68"/>
                      <a:pt x="100" y="67"/>
                    </a:cubicBezTo>
                    <a:cubicBezTo>
                      <a:pt x="100" y="66"/>
                      <a:pt x="99" y="66"/>
                      <a:pt x="99" y="65"/>
                    </a:cubicBezTo>
                    <a:cubicBezTo>
                      <a:pt x="99" y="65"/>
                      <a:pt x="99" y="63"/>
                      <a:pt x="99" y="63"/>
                    </a:cubicBezTo>
                    <a:cubicBezTo>
                      <a:pt x="99" y="62"/>
                      <a:pt x="99" y="61"/>
                      <a:pt x="99" y="60"/>
                    </a:cubicBezTo>
                    <a:cubicBezTo>
                      <a:pt x="99" y="58"/>
                      <a:pt x="97" y="56"/>
                      <a:pt x="95" y="55"/>
                    </a:cubicBezTo>
                    <a:cubicBezTo>
                      <a:pt x="92" y="54"/>
                      <a:pt x="92" y="57"/>
                      <a:pt x="91" y="59"/>
                    </a:cubicBezTo>
                    <a:cubicBezTo>
                      <a:pt x="91" y="61"/>
                      <a:pt x="90" y="63"/>
                      <a:pt x="89" y="64"/>
                    </a:cubicBezTo>
                    <a:cubicBezTo>
                      <a:pt x="87" y="65"/>
                      <a:pt x="85" y="65"/>
                      <a:pt x="83" y="67"/>
                    </a:cubicBezTo>
                    <a:cubicBezTo>
                      <a:pt x="81" y="68"/>
                      <a:pt x="81" y="70"/>
                      <a:pt x="82" y="72"/>
                    </a:cubicBezTo>
                    <a:cubicBezTo>
                      <a:pt x="83" y="73"/>
                      <a:pt x="84" y="72"/>
                      <a:pt x="85" y="74"/>
                    </a:cubicBezTo>
                    <a:cubicBezTo>
                      <a:pt x="85" y="75"/>
                      <a:pt x="85" y="76"/>
                      <a:pt x="85" y="77"/>
                    </a:cubicBezTo>
                    <a:cubicBezTo>
                      <a:pt x="85" y="78"/>
                      <a:pt x="85" y="78"/>
                      <a:pt x="83" y="79"/>
                    </a:cubicBezTo>
                    <a:cubicBezTo>
                      <a:pt x="83" y="79"/>
                      <a:pt x="82" y="80"/>
                      <a:pt x="82" y="80"/>
                    </a:cubicBezTo>
                    <a:cubicBezTo>
                      <a:pt x="82" y="80"/>
                      <a:pt x="81" y="80"/>
                      <a:pt x="80" y="80"/>
                    </a:cubicBezTo>
                    <a:cubicBezTo>
                      <a:pt x="78" y="81"/>
                      <a:pt x="78" y="84"/>
                      <a:pt x="77" y="85"/>
                    </a:cubicBezTo>
                    <a:cubicBezTo>
                      <a:pt x="77" y="87"/>
                      <a:pt x="75" y="88"/>
                      <a:pt x="74" y="89"/>
                    </a:cubicBezTo>
                    <a:cubicBezTo>
                      <a:pt x="72" y="90"/>
                      <a:pt x="72" y="91"/>
                      <a:pt x="71" y="92"/>
                    </a:cubicBezTo>
                    <a:cubicBezTo>
                      <a:pt x="67" y="94"/>
                      <a:pt x="63" y="91"/>
                      <a:pt x="60" y="90"/>
                    </a:cubicBezTo>
                    <a:cubicBezTo>
                      <a:pt x="58" y="89"/>
                      <a:pt x="57" y="88"/>
                      <a:pt x="56" y="88"/>
                    </a:cubicBezTo>
                    <a:cubicBezTo>
                      <a:pt x="54" y="89"/>
                      <a:pt x="54" y="90"/>
                      <a:pt x="53" y="92"/>
                    </a:cubicBezTo>
                    <a:cubicBezTo>
                      <a:pt x="52" y="93"/>
                      <a:pt x="51" y="94"/>
                      <a:pt x="49" y="94"/>
                    </a:cubicBezTo>
                    <a:cubicBezTo>
                      <a:pt x="46" y="95"/>
                      <a:pt x="43" y="95"/>
                      <a:pt x="40" y="96"/>
                    </a:cubicBezTo>
                    <a:cubicBezTo>
                      <a:pt x="39" y="96"/>
                      <a:pt x="39" y="97"/>
                      <a:pt x="38" y="98"/>
                    </a:cubicBezTo>
                    <a:cubicBezTo>
                      <a:pt x="37" y="98"/>
                      <a:pt x="35" y="98"/>
                      <a:pt x="35" y="98"/>
                    </a:cubicBezTo>
                    <a:cubicBezTo>
                      <a:pt x="34" y="99"/>
                      <a:pt x="33" y="99"/>
                      <a:pt x="32" y="99"/>
                    </a:cubicBezTo>
                    <a:cubicBezTo>
                      <a:pt x="31" y="99"/>
                      <a:pt x="30" y="98"/>
                      <a:pt x="29" y="98"/>
                    </a:cubicBezTo>
                    <a:cubicBezTo>
                      <a:pt x="27" y="98"/>
                      <a:pt x="25" y="99"/>
                      <a:pt x="23" y="98"/>
                    </a:cubicBezTo>
                    <a:cubicBezTo>
                      <a:pt x="23" y="98"/>
                      <a:pt x="23" y="98"/>
                      <a:pt x="23" y="98"/>
                    </a:cubicBezTo>
                    <a:cubicBezTo>
                      <a:pt x="22" y="98"/>
                      <a:pt x="21" y="99"/>
                      <a:pt x="19" y="100"/>
                    </a:cubicBezTo>
                    <a:cubicBezTo>
                      <a:pt x="17" y="105"/>
                      <a:pt x="14" y="106"/>
                      <a:pt x="15" y="108"/>
                    </a:cubicBezTo>
                    <a:cubicBezTo>
                      <a:pt x="17" y="112"/>
                      <a:pt x="13" y="112"/>
                      <a:pt x="16" y="115"/>
                    </a:cubicBezTo>
                    <a:cubicBezTo>
                      <a:pt x="17" y="116"/>
                      <a:pt x="20" y="117"/>
                      <a:pt x="21" y="119"/>
                    </a:cubicBezTo>
                    <a:cubicBezTo>
                      <a:pt x="21" y="121"/>
                      <a:pt x="21" y="123"/>
                      <a:pt x="22" y="125"/>
                    </a:cubicBezTo>
                    <a:cubicBezTo>
                      <a:pt x="22" y="127"/>
                      <a:pt x="23" y="130"/>
                      <a:pt x="25" y="132"/>
                    </a:cubicBezTo>
                    <a:cubicBezTo>
                      <a:pt x="26" y="133"/>
                      <a:pt x="28" y="133"/>
                      <a:pt x="29" y="135"/>
                    </a:cubicBezTo>
                    <a:cubicBezTo>
                      <a:pt x="31" y="138"/>
                      <a:pt x="28" y="139"/>
                      <a:pt x="27" y="142"/>
                    </a:cubicBezTo>
                    <a:cubicBezTo>
                      <a:pt x="26" y="144"/>
                      <a:pt x="28" y="148"/>
                      <a:pt x="26" y="150"/>
                    </a:cubicBezTo>
                    <a:cubicBezTo>
                      <a:pt x="25" y="151"/>
                      <a:pt x="23" y="151"/>
                      <a:pt x="22" y="152"/>
                    </a:cubicBezTo>
                    <a:cubicBezTo>
                      <a:pt x="21" y="152"/>
                      <a:pt x="20" y="153"/>
                      <a:pt x="20" y="153"/>
                    </a:cubicBezTo>
                    <a:cubicBezTo>
                      <a:pt x="17" y="156"/>
                      <a:pt x="14" y="157"/>
                      <a:pt x="11" y="159"/>
                    </a:cubicBezTo>
                    <a:cubicBezTo>
                      <a:pt x="9" y="161"/>
                      <a:pt x="11" y="160"/>
                      <a:pt x="9" y="161"/>
                    </a:cubicBezTo>
                    <a:cubicBezTo>
                      <a:pt x="7" y="162"/>
                      <a:pt x="5" y="161"/>
                      <a:pt x="4" y="161"/>
                    </a:cubicBezTo>
                    <a:cubicBezTo>
                      <a:pt x="2" y="162"/>
                      <a:pt x="0" y="161"/>
                      <a:pt x="1" y="164"/>
                    </a:cubicBezTo>
                    <a:cubicBezTo>
                      <a:pt x="8" y="166"/>
                      <a:pt x="7" y="173"/>
                      <a:pt x="12" y="177"/>
                    </a:cubicBezTo>
                    <a:cubicBezTo>
                      <a:pt x="12" y="177"/>
                      <a:pt x="14" y="177"/>
                      <a:pt x="15" y="178"/>
                    </a:cubicBezTo>
                    <a:cubicBezTo>
                      <a:pt x="15" y="178"/>
                      <a:pt x="18" y="179"/>
                      <a:pt x="18" y="179"/>
                    </a:cubicBezTo>
                    <a:cubicBezTo>
                      <a:pt x="19" y="181"/>
                      <a:pt x="19" y="184"/>
                      <a:pt x="22" y="184"/>
                    </a:cubicBezTo>
                    <a:cubicBezTo>
                      <a:pt x="23" y="189"/>
                      <a:pt x="23" y="194"/>
                      <a:pt x="18" y="196"/>
                    </a:cubicBezTo>
                    <a:cubicBezTo>
                      <a:pt x="13" y="198"/>
                      <a:pt x="9" y="200"/>
                      <a:pt x="12" y="205"/>
                    </a:cubicBezTo>
                    <a:cubicBezTo>
                      <a:pt x="13" y="207"/>
                      <a:pt x="17" y="210"/>
                      <a:pt x="16" y="212"/>
                    </a:cubicBezTo>
                    <a:cubicBezTo>
                      <a:pt x="15" y="215"/>
                      <a:pt x="13" y="212"/>
                      <a:pt x="12" y="214"/>
                    </a:cubicBezTo>
                    <a:cubicBezTo>
                      <a:pt x="11" y="216"/>
                      <a:pt x="18" y="223"/>
                      <a:pt x="20" y="224"/>
                    </a:cubicBezTo>
                    <a:cubicBezTo>
                      <a:pt x="23" y="226"/>
                      <a:pt x="28" y="225"/>
                      <a:pt x="31" y="228"/>
                    </a:cubicBezTo>
                    <a:cubicBezTo>
                      <a:pt x="33" y="229"/>
                      <a:pt x="33" y="232"/>
                      <a:pt x="35" y="233"/>
                    </a:cubicBezTo>
                    <a:cubicBezTo>
                      <a:pt x="39" y="235"/>
                      <a:pt x="45" y="232"/>
                      <a:pt x="48" y="231"/>
                    </a:cubicBezTo>
                    <a:cubicBezTo>
                      <a:pt x="50" y="230"/>
                      <a:pt x="55" y="228"/>
                      <a:pt x="57" y="229"/>
                    </a:cubicBezTo>
                    <a:cubicBezTo>
                      <a:pt x="59" y="230"/>
                      <a:pt x="59" y="239"/>
                      <a:pt x="58" y="240"/>
                    </a:cubicBezTo>
                    <a:cubicBezTo>
                      <a:pt x="57" y="243"/>
                      <a:pt x="54" y="244"/>
                      <a:pt x="53" y="245"/>
                    </a:cubicBezTo>
                    <a:cubicBezTo>
                      <a:pt x="51" y="247"/>
                      <a:pt x="50" y="251"/>
                      <a:pt x="48" y="251"/>
                    </a:cubicBezTo>
                    <a:cubicBezTo>
                      <a:pt x="47" y="254"/>
                      <a:pt x="47" y="257"/>
                      <a:pt x="47" y="259"/>
                    </a:cubicBezTo>
                    <a:cubicBezTo>
                      <a:pt x="47" y="260"/>
                      <a:pt x="47" y="262"/>
                      <a:pt x="47" y="263"/>
                    </a:cubicBezTo>
                    <a:cubicBezTo>
                      <a:pt x="47" y="263"/>
                      <a:pt x="47" y="263"/>
                      <a:pt x="46" y="263"/>
                    </a:cubicBezTo>
                    <a:cubicBezTo>
                      <a:pt x="48" y="263"/>
                      <a:pt x="50" y="263"/>
                      <a:pt x="52" y="263"/>
                    </a:cubicBezTo>
                    <a:cubicBezTo>
                      <a:pt x="54" y="263"/>
                      <a:pt x="54" y="262"/>
                      <a:pt x="55" y="262"/>
                    </a:cubicBezTo>
                    <a:cubicBezTo>
                      <a:pt x="56" y="261"/>
                      <a:pt x="56" y="261"/>
                      <a:pt x="57" y="260"/>
                    </a:cubicBezTo>
                    <a:cubicBezTo>
                      <a:pt x="58" y="259"/>
                      <a:pt x="57" y="259"/>
                      <a:pt x="59" y="259"/>
                    </a:cubicBezTo>
                    <a:cubicBezTo>
                      <a:pt x="62" y="258"/>
                      <a:pt x="65" y="259"/>
                      <a:pt x="68" y="259"/>
                    </a:cubicBezTo>
                    <a:cubicBezTo>
                      <a:pt x="69" y="258"/>
                      <a:pt x="71" y="258"/>
                      <a:pt x="72" y="257"/>
                    </a:cubicBezTo>
                    <a:cubicBezTo>
                      <a:pt x="74" y="257"/>
                      <a:pt x="74" y="256"/>
                      <a:pt x="75" y="255"/>
                    </a:cubicBezTo>
                    <a:cubicBezTo>
                      <a:pt x="76" y="254"/>
                      <a:pt x="78" y="254"/>
                      <a:pt x="79" y="253"/>
                    </a:cubicBezTo>
                    <a:cubicBezTo>
                      <a:pt x="79" y="253"/>
                      <a:pt x="79" y="252"/>
                      <a:pt x="80" y="252"/>
                    </a:cubicBezTo>
                    <a:cubicBezTo>
                      <a:pt x="80" y="251"/>
                      <a:pt x="81" y="251"/>
                      <a:pt x="81" y="251"/>
                    </a:cubicBezTo>
                    <a:cubicBezTo>
                      <a:pt x="82" y="250"/>
                      <a:pt x="83" y="248"/>
                      <a:pt x="84" y="246"/>
                    </a:cubicBezTo>
                    <a:cubicBezTo>
                      <a:pt x="84" y="245"/>
                      <a:pt x="84" y="244"/>
                      <a:pt x="84" y="243"/>
                    </a:cubicBezTo>
                    <a:cubicBezTo>
                      <a:pt x="84" y="243"/>
                      <a:pt x="85" y="242"/>
                      <a:pt x="85" y="242"/>
                    </a:cubicBezTo>
                    <a:cubicBezTo>
                      <a:pt x="85" y="240"/>
                      <a:pt x="85" y="239"/>
                      <a:pt x="85" y="238"/>
                    </a:cubicBezTo>
                    <a:cubicBezTo>
                      <a:pt x="86" y="237"/>
                      <a:pt x="86" y="237"/>
                      <a:pt x="87" y="236"/>
                    </a:cubicBezTo>
                    <a:cubicBezTo>
                      <a:pt x="88" y="235"/>
                      <a:pt x="89" y="233"/>
                      <a:pt x="91" y="232"/>
                    </a:cubicBezTo>
                    <a:cubicBezTo>
                      <a:pt x="92" y="231"/>
                      <a:pt x="94" y="231"/>
                      <a:pt x="95" y="230"/>
                    </a:cubicBezTo>
                    <a:cubicBezTo>
                      <a:pt x="97" y="229"/>
                      <a:pt x="97" y="226"/>
                      <a:pt x="97" y="225"/>
                    </a:cubicBezTo>
                    <a:cubicBezTo>
                      <a:pt x="98" y="223"/>
                      <a:pt x="97" y="222"/>
                      <a:pt x="99" y="221"/>
                    </a:cubicBezTo>
                    <a:cubicBezTo>
                      <a:pt x="100" y="219"/>
                      <a:pt x="103" y="218"/>
                      <a:pt x="105" y="217"/>
                    </a:cubicBezTo>
                    <a:cubicBezTo>
                      <a:pt x="106" y="216"/>
                      <a:pt x="108" y="214"/>
                      <a:pt x="109" y="213"/>
                    </a:cubicBezTo>
                    <a:cubicBezTo>
                      <a:pt x="110" y="212"/>
                      <a:pt x="111" y="212"/>
                      <a:pt x="112" y="212"/>
                    </a:cubicBezTo>
                    <a:cubicBezTo>
                      <a:pt x="113" y="212"/>
                      <a:pt x="113" y="212"/>
                      <a:pt x="114" y="211"/>
                    </a:cubicBezTo>
                    <a:cubicBezTo>
                      <a:pt x="116" y="210"/>
                      <a:pt x="117" y="210"/>
                      <a:pt x="119" y="209"/>
                    </a:cubicBezTo>
                    <a:cubicBezTo>
                      <a:pt x="119" y="206"/>
                      <a:pt x="126" y="209"/>
                      <a:pt x="128" y="210"/>
                    </a:cubicBezTo>
                    <a:cubicBezTo>
                      <a:pt x="132" y="213"/>
                      <a:pt x="136" y="215"/>
                      <a:pt x="140" y="218"/>
                    </a:cubicBezTo>
                    <a:cubicBezTo>
                      <a:pt x="141" y="218"/>
                      <a:pt x="143" y="218"/>
                      <a:pt x="142" y="220"/>
                    </a:cubicBezTo>
                    <a:cubicBezTo>
                      <a:pt x="143" y="220"/>
                      <a:pt x="143" y="221"/>
                      <a:pt x="143" y="221"/>
                    </a:cubicBezTo>
                    <a:cubicBezTo>
                      <a:pt x="145" y="221"/>
                      <a:pt x="146" y="221"/>
                      <a:pt x="148" y="222"/>
                    </a:cubicBezTo>
                    <a:cubicBezTo>
                      <a:pt x="148" y="222"/>
                      <a:pt x="149" y="222"/>
                      <a:pt x="149" y="223"/>
                    </a:cubicBezTo>
                    <a:cubicBezTo>
                      <a:pt x="150" y="223"/>
                      <a:pt x="151" y="222"/>
                      <a:pt x="152" y="223"/>
                    </a:cubicBezTo>
                    <a:cubicBezTo>
                      <a:pt x="152" y="223"/>
                      <a:pt x="153" y="224"/>
                      <a:pt x="154" y="224"/>
                    </a:cubicBezTo>
                    <a:cubicBezTo>
                      <a:pt x="154" y="225"/>
                      <a:pt x="154" y="225"/>
                      <a:pt x="156" y="225"/>
                    </a:cubicBezTo>
                    <a:cubicBezTo>
                      <a:pt x="157" y="226"/>
                      <a:pt x="158" y="226"/>
                      <a:pt x="159" y="227"/>
                    </a:cubicBezTo>
                    <a:cubicBezTo>
                      <a:pt x="160" y="228"/>
                      <a:pt x="160" y="228"/>
                      <a:pt x="161" y="229"/>
                    </a:cubicBezTo>
                    <a:cubicBezTo>
                      <a:pt x="161" y="229"/>
                      <a:pt x="161" y="229"/>
                      <a:pt x="162" y="229"/>
                    </a:cubicBezTo>
                    <a:cubicBezTo>
                      <a:pt x="162" y="229"/>
                      <a:pt x="163" y="230"/>
                      <a:pt x="163" y="230"/>
                    </a:cubicBezTo>
                    <a:cubicBezTo>
                      <a:pt x="165" y="231"/>
                      <a:pt x="166" y="234"/>
                      <a:pt x="168" y="236"/>
                    </a:cubicBezTo>
                    <a:cubicBezTo>
                      <a:pt x="168" y="236"/>
                      <a:pt x="168" y="236"/>
                      <a:pt x="168" y="236"/>
                    </a:cubicBezTo>
                    <a:cubicBezTo>
                      <a:pt x="169" y="237"/>
                      <a:pt x="169" y="237"/>
                      <a:pt x="169" y="237"/>
                    </a:cubicBezTo>
                    <a:cubicBezTo>
                      <a:pt x="170" y="238"/>
                      <a:pt x="171" y="238"/>
                      <a:pt x="171" y="238"/>
                    </a:cubicBezTo>
                    <a:cubicBezTo>
                      <a:pt x="172" y="239"/>
                      <a:pt x="172" y="239"/>
                      <a:pt x="173" y="240"/>
                    </a:cubicBezTo>
                    <a:cubicBezTo>
                      <a:pt x="174" y="240"/>
                      <a:pt x="175" y="240"/>
                      <a:pt x="176" y="240"/>
                    </a:cubicBezTo>
                    <a:cubicBezTo>
                      <a:pt x="177" y="240"/>
                      <a:pt x="178" y="240"/>
                      <a:pt x="179" y="240"/>
                    </a:cubicBezTo>
                    <a:cubicBezTo>
                      <a:pt x="180" y="240"/>
                      <a:pt x="181" y="240"/>
                      <a:pt x="181" y="240"/>
                    </a:cubicBezTo>
                    <a:cubicBezTo>
                      <a:pt x="183" y="241"/>
                      <a:pt x="184" y="242"/>
                      <a:pt x="185" y="243"/>
                    </a:cubicBezTo>
                    <a:cubicBezTo>
                      <a:pt x="186" y="243"/>
                      <a:pt x="187" y="244"/>
                      <a:pt x="188" y="245"/>
                    </a:cubicBezTo>
                    <a:cubicBezTo>
                      <a:pt x="188" y="245"/>
                      <a:pt x="188" y="247"/>
                      <a:pt x="188" y="248"/>
                    </a:cubicBezTo>
                    <a:cubicBezTo>
                      <a:pt x="188" y="250"/>
                      <a:pt x="188" y="251"/>
                      <a:pt x="189" y="253"/>
                    </a:cubicBezTo>
                    <a:cubicBezTo>
                      <a:pt x="189" y="254"/>
                      <a:pt x="189" y="256"/>
                      <a:pt x="190" y="257"/>
                    </a:cubicBezTo>
                    <a:cubicBezTo>
                      <a:pt x="190" y="258"/>
                      <a:pt x="191" y="258"/>
                      <a:pt x="191" y="259"/>
                    </a:cubicBezTo>
                    <a:cubicBezTo>
                      <a:pt x="191" y="260"/>
                      <a:pt x="191" y="262"/>
                      <a:pt x="191" y="263"/>
                    </a:cubicBezTo>
                    <a:cubicBezTo>
                      <a:pt x="191" y="263"/>
                      <a:pt x="191" y="264"/>
                      <a:pt x="191" y="265"/>
                    </a:cubicBezTo>
                    <a:cubicBezTo>
                      <a:pt x="191" y="265"/>
                      <a:pt x="190" y="266"/>
                      <a:pt x="190" y="266"/>
                    </a:cubicBezTo>
                    <a:cubicBezTo>
                      <a:pt x="190" y="268"/>
                      <a:pt x="190" y="270"/>
                      <a:pt x="190" y="272"/>
                    </a:cubicBezTo>
                    <a:cubicBezTo>
                      <a:pt x="190" y="274"/>
                      <a:pt x="190" y="277"/>
                      <a:pt x="191" y="278"/>
                    </a:cubicBezTo>
                    <a:cubicBezTo>
                      <a:pt x="192" y="280"/>
                      <a:pt x="193" y="281"/>
                      <a:pt x="193" y="282"/>
                    </a:cubicBezTo>
                    <a:cubicBezTo>
                      <a:pt x="194" y="283"/>
                      <a:pt x="194" y="284"/>
                      <a:pt x="194" y="285"/>
                    </a:cubicBezTo>
                    <a:cubicBezTo>
                      <a:pt x="195" y="287"/>
                      <a:pt x="195" y="289"/>
                      <a:pt x="197" y="290"/>
                    </a:cubicBezTo>
                    <a:cubicBezTo>
                      <a:pt x="197" y="292"/>
                      <a:pt x="199" y="293"/>
                      <a:pt x="199" y="294"/>
                    </a:cubicBezTo>
                    <a:cubicBezTo>
                      <a:pt x="200" y="295"/>
                      <a:pt x="200" y="296"/>
                      <a:pt x="200" y="298"/>
                    </a:cubicBezTo>
                    <a:cubicBezTo>
                      <a:pt x="200" y="299"/>
                      <a:pt x="199" y="301"/>
                      <a:pt x="199" y="303"/>
                    </a:cubicBezTo>
                    <a:cubicBezTo>
                      <a:pt x="199" y="304"/>
                      <a:pt x="199" y="304"/>
                      <a:pt x="199" y="305"/>
                    </a:cubicBezTo>
                    <a:cubicBezTo>
                      <a:pt x="199" y="308"/>
                      <a:pt x="199" y="312"/>
                      <a:pt x="199" y="314"/>
                    </a:cubicBezTo>
                    <a:cubicBezTo>
                      <a:pt x="198" y="315"/>
                      <a:pt x="198" y="316"/>
                      <a:pt x="197" y="316"/>
                    </a:cubicBezTo>
                    <a:cubicBezTo>
                      <a:pt x="196" y="317"/>
                      <a:pt x="196" y="317"/>
                      <a:pt x="196" y="319"/>
                    </a:cubicBezTo>
                    <a:cubicBezTo>
                      <a:pt x="196" y="320"/>
                      <a:pt x="197" y="322"/>
                      <a:pt x="197" y="323"/>
                    </a:cubicBezTo>
                    <a:cubicBezTo>
                      <a:pt x="198" y="326"/>
                      <a:pt x="199" y="324"/>
                      <a:pt x="200" y="323"/>
                    </a:cubicBezTo>
                    <a:cubicBezTo>
                      <a:pt x="201" y="322"/>
                      <a:pt x="203" y="322"/>
                      <a:pt x="205" y="323"/>
                    </a:cubicBezTo>
                    <a:cubicBezTo>
                      <a:pt x="207" y="323"/>
                      <a:pt x="209" y="322"/>
                      <a:pt x="209" y="324"/>
                    </a:cubicBezTo>
                    <a:cubicBezTo>
                      <a:pt x="210" y="325"/>
                      <a:pt x="209" y="325"/>
                      <a:pt x="210" y="326"/>
                    </a:cubicBezTo>
                    <a:cubicBezTo>
                      <a:pt x="210" y="327"/>
                      <a:pt x="211" y="327"/>
                      <a:pt x="211" y="327"/>
                    </a:cubicBezTo>
                    <a:cubicBezTo>
                      <a:pt x="212" y="328"/>
                      <a:pt x="211" y="330"/>
                      <a:pt x="211" y="331"/>
                    </a:cubicBezTo>
                    <a:cubicBezTo>
                      <a:pt x="211" y="333"/>
                      <a:pt x="211" y="335"/>
                      <a:pt x="213" y="336"/>
                    </a:cubicBezTo>
                    <a:cubicBezTo>
                      <a:pt x="215" y="337"/>
                      <a:pt x="220" y="336"/>
                      <a:pt x="221" y="338"/>
                    </a:cubicBezTo>
                    <a:cubicBezTo>
                      <a:pt x="221" y="338"/>
                      <a:pt x="222" y="340"/>
                      <a:pt x="222" y="341"/>
                    </a:cubicBezTo>
                    <a:cubicBezTo>
                      <a:pt x="222" y="342"/>
                      <a:pt x="221" y="343"/>
                      <a:pt x="221" y="344"/>
                    </a:cubicBezTo>
                    <a:cubicBezTo>
                      <a:pt x="222" y="346"/>
                      <a:pt x="223" y="345"/>
                      <a:pt x="224" y="346"/>
                    </a:cubicBezTo>
                    <a:cubicBezTo>
                      <a:pt x="226" y="346"/>
                      <a:pt x="227" y="346"/>
                      <a:pt x="228" y="347"/>
                    </a:cubicBezTo>
                    <a:cubicBezTo>
                      <a:pt x="228" y="348"/>
                      <a:pt x="229" y="349"/>
                      <a:pt x="229" y="350"/>
                    </a:cubicBezTo>
                    <a:cubicBezTo>
                      <a:pt x="230" y="351"/>
                      <a:pt x="229" y="353"/>
                      <a:pt x="230" y="354"/>
                    </a:cubicBezTo>
                    <a:cubicBezTo>
                      <a:pt x="230" y="354"/>
                      <a:pt x="231" y="354"/>
                      <a:pt x="231" y="355"/>
                    </a:cubicBezTo>
                    <a:cubicBezTo>
                      <a:pt x="231" y="355"/>
                      <a:pt x="231" y="356"/>
                      <a:pt x="232" y="356"/>
                    </a:cubicBezTo>
                    <a:cubicBezTo>
                      <a:pt x="232" y="357"/>
                      <a:pt x="233" y="357"/>
                      <a:pt x="233" y="358"/>
                    </a:cubicBezTo>
                    <a:cubicBezTo>
                      <a:pt x="233" y="360"/>
                      <a:pt x="233" y="360"/>
                      <a:pt x="234" y="361"/>
                    </a:cubicBezTo>
                    <a:cubicBezTo>
                      <a:pt x="235" y="362"/>
                      <a:pt x="236" y="363"/>
                      <a:pt x="237" y="363"/>
                    </a:cubicBezTo>
                    <a:cubicBezTo>
                      <a:pt x="239" y="364"/>
                      <a:pt x="240" y="367"/>
                      <a:pt x="243" y="367"/>
                    </a:cubicBezTo>
                    <a:cubicBezTo>
                      <a:pt x="244" y="367"/>
                      <a:pt x="246" y="367"/>
                      <a:pt x="247" y="368"/>
                    </a:cubicBezTo>
                    <a:cubicBezTo>
                      <a:pt x="247" y="369"/>
                      <a:pt x="247" y="370"/>
                      <a:pt x="248" y="371"/>
                    </a:cubicBezTo>
                    <a:cubicBezTo>
                      <a:pt x="249" y="371"/>
                      <a:pt x="250" y="372"/>
                      <a:pt x="251" y="372"/>
                    </a:cubicBezTo>
                    <a:cubicBezTo>
                      <a:pt x="251" y="373"/>
                      <a:pt x="251" y="373"/>
                      <a:pt x="252" y="373"/>
                    </a:cubicBezTo>
                    <a:cubicBezTo>
                      <a:pt x="252" y="373"/>
                      <a:pt x="252" y="373"/>
                      <a:pt x="252" y="373"/>
                    </a:cubicBezTo>
                    <a:cubicBezTo>
                      <a:pt x="252" y="374"/>
                      <a:pt x="252" y="374"/>
                      <a:pt x="253" y="375"/>
                    </a:cubicBezTo>
                    <a:cubicBezTo>
                      <a:pt x="253" y="375"/>
                      <a:pt x="253" y="375"/>
                      <a:pt x="253" y="376"/>
                    </a:cubicBezTo>
                    <a:cubicBezTo>
                      <a:pt x="254" y="378"/>
                      <a:pt x="255" y="381"/>
                      <a:pt x="255" y="384"/>
                    </a:cubicBezTo>
                    <a:cubicBezTo>
                      <a:pt x="255" y="386"/>
                      <a:pt x="256" y="386"/>
                      <a:pt x="257" y="387"/>
                    </a:cubicBezTo>
                    <a:cubicBezTo>
                      <a:pt x="258" y="389"/>
                      <a:pt x="260" y="392"/>
                      <a:pt x="260" y="394"/>
                    </a:cubicBezTo>
                    <a:cubicBezTo>
                      <a:pt x="262" y="395"/>
                      <a:pt x="263" y="397"/>
                      <a:pt x="264" y="398"/>
                    </a:cubicBezTo>
                    <a:cubicBezTo>
                      <a:pt x="265" y="398"/>
                      <a:pt x="267" y="398"/>
                      <a:pt x="268" y="399"/>
                    </a:cubicBezTo>
                    <a:cubicBezTo>
                      <a:pt x="269" y="400"/>
                      <a:pt x="270" y="401"/>
                      <a:pt x="271" y="402"/>
                    </a:cubicBezTo>
                    <a:cubicBezTo>
                      <a:pt x="272" y="403"/>
                      <a:pt x="274" y="404"/>
                      <a:pt x="276" y="405"/>
                    </a:cubicBezTo>
                    <a:cubicBezTo>
                      <a:pt x="276" y="406"/>
                      <a:pt x="277" y="407"/>
                      <a:pt x="277" y="408"/>
                    </a:cubicBezTo>
                    <a:cubicBezTo>
                      <a:pt x="278" y="408"/>
                      <a:pt x="279" y="409"/>
                      <a:pt x="280" y="410"/>
                    </a:cubicBezTo>
                    <a:cubicBezTo>
                      <a:pt x="281" y="413"/>
                      <a:pt x="280" y="416"/>
                      <a:pt x="281" y="419"/>
                    </a:cubicBezTo>
                    <a:cubicBezTo>
                      <a:pt x="282" y="419"/>
                      <a:pt x="282" y="419"/>
                      <a:pt x="283" y="420"/>
                    </a:cubicBezTo>
                    <a:cubicBezTo>
                      <a:pt x="283" y="420"/>
                      <a:pt x="284" y="420"/>
                      <a:pt x="284" y="420"/>
                    </a:cubicBezTo>
                    <a:cubicBezTo>
                      <a:pt x="285" y="421"/>
                      <a:pt x="286" y="422"/>
                      <a:pt x="287" y="423"/>
                    </a:cubicBezTo>
                    <a:cubicBezTo>
                      <a:pt x="287" y="424"/>
                      <a:pt x="287" y="424"/>
                      <a:pt x="288" y="424"/>
                    </a:cubicBezTo>
                    <a:cubicBezTo>
                      <a:pt x="288" y="425"/>
                      <a:pt x="289" y="426"/>
                      <a:pt x="289" y="426"/>
                    </a:cubicBezTo>
                    <a:cubicBezTo>
                      <a:pt x="290" y="427"/>
                      <a:pt x="291" y="427"/>
                      <a:pt x="292" y="428"/>
                    </a:cubicBezTo>
                    <a:cubicBezTo>
                      <a:pt x="293" y="430"/>
                      <a:pt x="294" y="432"/>
                      <a:pt x="295" y="433"/>
                    </a:cubicBezTo>
                    <a:cubicBezTo>
                      <a:pt x="296" y="434"/>
                      <a:pt x="297" y="434"/>
                      <a:pt x="297" y="435"/>
                    </a:cubicBezTo>
                    <a:cubicBezTo>
                      <a:pt x="297" y="436"/>
                      <a:pt x="297" y="437"/>
                      <a:pt x="297" y="438"/>
                    </a:cubicBezTo>
                    <a:cubicBezTo>
                      <a:pt x="298" y="440"/>
                      <a:pt x="298" y="439"/>
                      <a:pt x="301" y="440"/>
                    </a:cubicBezTo>
                    <a:cubicBezTo>
                      <a:pt x="302" y="440"/>
                      <a:pt x="303" y="441"/>
                      <a:pt x="304" y="442"/>
                    </a:cubicBezTo>
                    <a:cubicBezTo>
                      <a:pt x="304" y="442"/>
                      <a:pt x="305" y="445"/>
                      <a:pt x="306" y="443"/>
                    </a:cubicBezTo>
                    <a:cubicBezTo>
                      <a:pt x="306" y="443"/>
                      <a:pt x="306" y="444"/>
                      <a:pt x="306" y="444"/>
                    </a:cubicBezTo>
                    <a:cubicBezTo>
                      <a:pt x="308" y="444"/>
                      <a:pt x="310" y="444"/>
                      <a:pt x="311" y="444"/>
                    </a:cubicBezTo>
                    <a:cubicBezTo>
                      <a:pt x="313" y="445"/>
                      <a:pt x="312" y="447"/>
                      <a:pt x="313" y="448"/>
                    </a:cubicBezTo>
                    <a:cubicBezTo>
                      <a:pt x="313" y="449"/>
                      <a:pt x="314" y="450"/>
                      <a:pt x="315" y="450"/>
                    </a:cubicBezTo>
                    <a:cubicBezTo>
                      <a:pt x="316" y="451"/>
                      <a:pt x="317" y="451"/>
                      <a:pt x="318" y="452"/>
                    </a:cubicBezTo>
                    <a:cubicBezTo>
                      <a:pt x="319" y="454"/>
                      <a:pt x="317" y="460"/>
                      <a:pt x="319" y="461"/>
                    </a:cubicBezTo>
                    <a:cubicBezTo>
                      <a:pt x="322" y="457"/>
                      <a:pt x="327" y="457"/>
                      <a:pt x="332" y="457"/>
                    </a:cubicBezTo>
                    <a:cubicBezTo>
                      <a:pt x="333" y="457"/>
                      <a:pt x="334" y="456"/>
                      <a:pt x="336" y="456"/>
                    </a:cubicBezTo>
                    <a:cubicBezTo>
                      <a:pt x="337" y="456"/>
                      <a:pt x="338" y="456"/>
                      <a:pt x="339" y="456"/>
                    </a:cubicBezTo>
                    <a:cubicBezTo>
                      <a:pt x="341" y="456"/>
                      <a:pt x="343" y="458"/>
                      <a:pt x="345" y="460"/>
                    </a:cubicBezTo>
                    <a:cubicBezTo>
                      <a:pt x="347" y="462"/>
                      <a:pt x="348" y="463"/>
                      <a:pt x="350" y="462"/>
                    </a:cubicBezTo>
                    <a:cubicBezTo>
                      <a:pt x="351" y="462"/>
                      <a:pt x="352" y="462"/>
                      <a:pt x="353" y="462"/>
                    </a:cubicBezTo>
                    <a:cubicBezTo>
                      <a:pt x="353" y="461"/>
                      <a:pt x="354" y="460"/>
                      <a:pt x="354" y="460"/>
                    </a:cubicBezTo>
                    <a:cubicBezTo>
                      <a:pt x="355" y="460"/>
                      <a:pt x="357" y="460"/>
                      <a:pt x="358" y="460"/>
                    </a:cubicBezTo>
                    <a:cubicBezTo>
                      <a:pt x="359" y="461"/>
                      <a:pt x="359" y="463"/>
                      <a:pt x="360" y="464"/>
                    </a:cubicBezTo>
                    <a:cubicBezTo>
                      <a:pt x="360" y="465"/>
                      <a:pt x="361" y="466"/>
                      <a:pt x="361" y="467"/>
                    </a:cubicBezTo>
                    <a:cubicBezTo>
                      <a:pt x="362" y="469"/>
                      <a:pt x="363" y="470"/>
                      <a:pt x="363" y="473"/>
                    </a:cubicBezTo>
                    <a:cubicBezTo>
                      <a:pt x="364" y="474"/>
                      <a:pt x="364" y="475"/>
                      <a:pt x="365" y="477"/>
                    </a:cubicBezTo>
                    <a:cubicBezTo>
                      <a:pt x="365" y="477"/>
                      <a:pt x="366" y="478"/>
                      <a:pt x="366" y="479"/>
                    </a:cubicBezTo>
                    <a:cubicBezTo>
                      <a:pt x="366" y="480"/>
                      <a:pt x="365" y="481"/>
                      <a:pt x="365" y="482"/>
                    </a:cubicBezTo>
                    <a:cubicBezTo>
                      <a:pt x="365" y="483"/>
                      <a:pt x="365" y="484"/>
                      <a:pt x="365" y="484"/>
                    </a:cubicBezTo>
                    <a:cubicBezTo>
                      <a:pt x="367" y="485"/>
                      <a:pt x="368" y="485"/>
                      <a:pt x="370" y="486"/>
                    </a:cubicBezTo>
                    <a:cubicBezTo>
                      <a:pt x="370" y="486"/>
                      <a:pt x="371" y="486"/>
                      <a:pt x="371" y="487"/>
                    </a:cubicBezTo>
                    <a:cubicBezTo>
                      <a:pt x="373" y="489"/>
                      <a:pt x="372" y="491"/>
                      <a:pt x="373" y="493"/>
                    </a:cubicBezTo>
                    <a:cubicBezTo>
                      <a:pt x="374" y="494"/>
                      <a:pt x="375" y="495"/>
                      <a:pt x="377" y="494"/>
                    </a:cubicBezTo>
                    <a:cubicBezTo>
                      <a:pt x="378" y="494"/>
                      <a:pt x="378" y="493"/>
                      <a:pt x="379" y="492"/>
                    </a:cubicBezTo>
                    <a:cubicBezTo>
                      <a:pt x="380" y="491"/>
                      <a:pt x="382" y="492"/>
                      <a:pt x="384" y="492"/>
                    </a:cubicBezTo>
                    <a:cubicBezTo>
                      <a:pt x="385" y="493"/>
                      <a:pt x="386" y="492"/>
                      <a:pt x="387" y="492"/>
                    </a:cubicBezTo>
                    <a:cubicBezTo>
                      <a:pt x="393" y="490"/>
                      <a:pt x="394" y="495"/>
                      <a:pt x="394" y="499"/>
                    </a:cubicBezTo>
                    <a:cubicBezTo>
                      <a:pt x="394" y="502"/>
                      <a:pt x="394" y="504"/>
                      <a:pt x="391" y="505"/>
                    </a:cubicBezTo>
                    <a:cubicBezTo>
                      <a:pt x="391" y="505"/>
                      <a:pt x="391" y="505"/>
                      <a:pt x="390" y="505"/>
                    </a:cubicBezTo>
                    <a:cubicBezTo>
                      <a:pt x="389" y="505"/>
                      <a:pt x="389" y="506"/>
                      <a:pt x="388" y="507"/>
                    </a:cubicBezTo>
                    <a:cubicBezTo>
                      <a:pt x="388" y="507"/>
                      <a:pt x="386" y="508"/>
                      <a:pt x="386" y="509"/>
                    </a:cubicBezTo>
                    <a:cubicBezTo>
                      <a:pt x="386" y="509"/>
                      <a:pt x="387" y="509"/>
                      <a:pt x="388" y="509"/>
                    </a:cubicBezTo>
                    <a:cubicBezTo>
                      <a:pt x="388" y="510"/>
                      <a:pt x="388" y="510"/>
                      <a:pt x="388" y="510"/>
                    </a:cubicBezTo>
                    <a:cubicBezTo>
                      <a:pt x="389" y="510"/>
                      <a:pt x="389" y="512"/>
                      <a:pt x="389" y="512"/>
                    </a:cubicBezTo>
                    <a:cubicBezTo>
                      <a:pt x="390" y="513"/>
                      <a:pt x="392" y="513"/>
                      <a:pt x="393" y="514"/>
                    </a:cubicBezTo>
                    <a:cubicBezTo>
                      <a:pt x="394" y="514"/>
                      <a:pt x="396" y="515"/>
                      <a:pt x="398" y="515"/>
                    </a:cubicBezTo>
                    <a:cubicBezTo>
                      <a:pt x="399" y="515"/>
                      <a:pt x="400" y="512"/>
                      <a:pt x="401" y="512"/>
                    </a:cubicBezTo>
                    <a:cubicBezTo>
                      <a:pt x="402" y="511"/>
                      <a:pt x="402" y="511"/>
                      <a:pt x="403" y="511"/>
                    </a:cubicBezTo>
                    <a:cubicBezTo>
                      <a:pt x="404" y="511"/>
                      <a:pt x="406" y="511"/>
                      <a:pt x="407" y="512"/>
                    </a:cubicBezTo>
                    <a:cubicBezTo>
                      <a:pt x="408" y="512"/>
                      <a:pt x="408" y="512"/>
                      <a:pt x="408" y="513"/>
                    </a:cubicBezTo>
                    <a:cubicBezTo>
                      <a:pt x="409" y="513"/>
                      <a:pt x="409" y="513"/>
                      <a:pt x="409" y="513"/>
                    </a:cubicBezTo>
                    <a:cubicBezTo>
                      <a:pt x="410" y="513"/>
                      <a:pt x="411" y="514"/>
                      <a:pt x="412" y="514"/>
                    </a:cubicBezTo>
                    <a:cubicBezTo>
                      <a:pt x="414" y="514"/>
                      <a:pt x="415" y="514"/>
                      <a:pt x="417" y="516"/>
                    </a:cubicBezTo>
                    <a:cubicBezTo>
                      <a:pt x="418" y="517"/>
                      <a:pt x="418" y="518"/>
                      <a:pt x="418" y="520"/>
                    </a:cubicBezTo>
                    <a:cubicBezTo>
                      <a:pt x="418" y="521"/>
                      <a:pt x="418" y="522"/>
                      <a:pt x="419" y="522"/>
                    </a:cubicBezTo>
                    <a:cubicBezTo>
                      <a:pt x="419" y="523"/>
                      <a:pt x="419" y="524"/>
                      <a:pt x="420" y="525"/>
                    </a:cubicBezTo>
                    <a:cubicBezTo>
                      <a:pt x="420" y="525"/>
                      <a:pt x="421" y="525"/>
                      <a:pt x="422" y="526"/>
                    </a:cubicBezTo>
                    <a:cubicBezTo>
                      <a:pt x="423" y="526"/>
                      <a:pt x="422" y="528"/>
                      <a:pt x="422" y="529"/>
                    </a:cubicBezTo>
                    <a:cubicBezTo>
                      <a:pt x="422" y="531"/>
                      <a:pt x="422" y="532"/>
                      <a:pt x="422" y="534"/>
                    </a:cubicBezTo>
                    <a:cubicBezTo>
                      <a:pt x="421" y="537"/>
                      <a:pt x="419" y="538"/>
                      <a:pt x="416" y="538"/>
                    </a:cubicBezTo>
                    <a:cubicBezTo>
                      <a:pt x="416" y="540"/>
                      <a:pt x="418" y="541"/>
                      <a:pt x="419" y="542"/>
                    </a:cubicBezTo>
                    <a:cubicBezTo>
                      <a:pt x="422" y="543"/>
                      <a:pt x="425" y="545"/>
                      <a:pt x="427" y="547"/>
                    </a:cubicBezTo>
                    <a:cubicBezTo>
                      <a:pt x="428" y="547"/>
                      <a:pt x="429" y="547"/>
                      <a:pt x="430" y="548"/>
                    </a:cubicBezTo>
                    <a:cubicBezTo>
                      <a:pt x="431" y="548"/>
                      <a:pt x="432" y="549"/>
                      <a:pt x="432" y="550"/>
                    </a:cubicBezTo>
                    <a:cubicBezTo>
                      <a:pt x="433" y="550"/>
                      <a:pt x="434" y="551"/>
                      <a:pt x="435" y="551"/>
                    </a:cubicBezTo>
                    <a:cubicBezTo>
                      <a:pt x="436" y="552"/>
                      <a:pt x="436" y="554"/>
                      <a:pt x="437" y="555"/>
                    </a:cubicBezTo>
                    <a:cubicBezTo>
                      <a:pt x="438" y="556"/>
                      <a:pt x="439" y="557"/>
                      <a:pt x="441" y="557"/>
                    </a:cubicBezTo>
                    <a:cubicBezTo>
                      <a:pt x="441" y="557"/>
                      <a:pt x="444" y="557"/>
                      <a:pt x="444" y="556"/>
                    </a:cubicBezTo>
                    <a:cubicBezTo>
                      <a:pt x="445" y="556"/>
                      <a:pt x="445" y="556"/>
                      <a:pt x="445" y="555"/>
                    </a:cubicBezTo>
                    <a:cubicBezTo>
                      <a:pt x="446" y="555"/>
                      <a:pt x="446" y="554"/>
                      <a:pt x="447" y="553"/>
                    </a:cubicBezTo>
                    <a:cubicBezTo>
                      <a:pt x="447" y="553"/>
                      <a:pt x="447" y="552"/>
                      <a:pt x="447" y="551"/>
                    </a:cubicBezTo>
                    <a:cubicBezTo>
                      <a:pt x="447" y="550"/>
                      <a:pt x="448" y="548"/>
                      <a:pt x="449" y="548"/>
                    </a:cubicBezTo>
                    <a:cubicBezTo>
                      <a:pt x="453" y="553"/>
                      <a:pt x="457" y="558"/>
                      <a:pt x="460" y="564"/>
                    </a:cubicBezTo>
                    <a:cubicBezTo>
                      <a:pt x="461" y="566"/>
                      <a:pt x="462" y="568"/>
                      <a:pt x="462" y="570"/>
                    </a:cubicBezTo>
                    <a:cubicBezTo>
                      <a:pt x="462" y="573"/>
                      <a:pt x="463" y="577"/>
                      <a:pt x="464" y="580"/>
                    </a:cubicBezTo>
                    <a:cubicBezTo>
                      <a:pt x="464" y="583"/>
                      <a:pt x="464" y="587"/>
                      <a:pt x="466" y="589"/>
                    </a:cubicBezTo>
                    <a:cubicBezTo>
                      <a:pt x="467" y="590"/>
                      <a:pt x="468" y="591"/>
                      <a:pt x="469" y="593"/>
                    </a:cubicBezTo>
                    <a:cubicBezTo>
                      <a:pt x="469" y="594"/>
                      <a:pt x="469" y="595"/>
                      <a:pt x="469" y="596"/>
                    </a:cubicBezTo>
                    <a:cubicBezTo>
                      <a:pt x="470" y="597"/>
                      <a:pt x="470" y="599"/>
                      <a:pt x="471" y="600"/>
                    </a:cubicBezTo>
                    <a:cubicBezTo>
                      <a:pt x="471" y="602"/>
                      <a:pt x="471" y="603"/>
                      <a:pt x="472" y="605"/>
                    </a:cubicBezTo>
                    <a:cubicBezTo>
                      <a:pt x="472" y="606"/>
                      <a:pt x="473" y="607"/>
                      <a:pt x="473" y="608"/>
                    </a:cubicBezTo>
                    <a:cubicBezTo>
                      <a:pt x="473" y="611"/>
                      <a:pt x="473" y="614"/>
                      <a:pt x="474" y="616"/>
                    </a:cubicBezTo>
                    <a:cubicBezTo>
                      <a:pt x="474" y="617"/>
                      <a:pt x="474" y="617"/>
                      <a:pt x="474" y="617"/>
                    </a:cubicBezTo>
                    <a:cubicBezTo>
                      <a:pt x="474" y="618"/>
                      <a:pt x="474" y="619"/>
                      <a:pt x="474" y="619"/>
                    </a:cubicBezTo>
                    <a:cubicBezTo>
                      <a:pt x="474" y="620"/>
                      <a:pt x="474" y="621"/>
                      <a:pt x="474" y="622"/>
                    </a:cubicBezTo>
                    <a:cubicBezTo>
                      <a:pt x="475" y="624"/>
                      <a:pt x="475" y="625"/>
                      <a:pt x="475" y="628"/>
                    </a:cubicBezTo>
                    <a:cubicBezTo>
                      <a:pt x="475" y="630"/>
                      <a:pt x="475" y="634"/>
                      <a:pt x="475" y="637"/>
                    </a:cubicBezTo>
                    <a:cubicBezTo>
                      <a:pt x="476" y="641"/>
                      <a:pt x="481" y="643"/>
                      <a:pt x="482" y="647"/>
                    </a:cubicBezTo>
                    <a:cubicBezTo>
                      <a:pt x="482" y="648"/>
                      <a:pt x="482" y="650"/>
                      <a:pt x="481" y="652"/>
                    </a:cubicBezTo>
                    <a:cubicBezTo>
                      <a:pt x="481" y="653"/>
                      <a:pt x="481" y="655"/>
                      <a:pt x="480" y="657"/>
                    </a:cubicBezTo>
                    <a:cubicBezTo>
                      <a:pt x="479" y="658"/>
                      <a:pt x="479" y="659"/>
                      <a:pt x="477" y="659"/>
                    </a:cubicBezTo>
                    <a:cubicBezTo>
                      <a:pt x="474" y="659"/>
                      <a:pt x="472" y="659"/>
                      <a:pt x="470" y="660"/>
                    </a:cubicBezTo>
                    <a:cubicBezTo>
                      <a:pt x="468" y="660"/>
                      <a:pt x="466" y="661"/>
                      <a:pt x="464" y="662"/>
                    </a:cubicBezTo>
                    <a:cubicBezTo>
                      <a:pt x="462" y="662"/>
                      <a:pt x="461" y="663"/>
                      <a:pt x="460" y="663"/>
                    </a:cubicBezTo>
                    <a:cubicBezTo>
                      <a:pt x="459" y="668"/>
                      <a:pt x="464" y="670"/>
                      <a:pt x="464" y="675"/>
                    </a:cubicBezTo>
                    <a:cubicBezTo>
                      <a:pt x="465" y="677"/>
                      <a:pt x="463" y="678"/>
                      <a:pt x="463" y="680"/>
                    </a:cubicBezTo>
                    <a:cubicBezTo>
                      <a:pt x="461" y="682"/>
                      <a:pt x="461" y="685"/>
                      <a:pt x="460" y="688"/>
                    </a:cubicBezTo>
                    <a:cubicBezTo>
                      <a:pt x="459" y="689"/>
                      <a:pt x="459" y="690"/>
                      <a:pt x="458" y="691"/>
                    </a:cubicBezTo>
                    <a:cubicBezTo>
                      <a:pt x="456" y="692"/>
                      <a:pt x="455" y="692"/>
                      <a:pt x="454" y="693"/>
                    </a:cubicBezTo>
                    <a:cubicBezTo>
                      <a:pt x="454" y="693"/>
                      <a:pt x="453" y="693"/>
                      <a:pt x="453" y="694"/>
                    </a:cubicBezTo>
                    <a:cubicBezTo>
                      <a:pt x="452" y="694"/>
                      <a:pt x="452" y="694"/>
                      <a:pt x="452" y="694"/>
                    </a:cubicBezTo>
                    <a:cubicBezTo>
                      <a:pt x="451" y="694"/>
                      <a:pt x="451" y="695"/>
                      <a:pt x="451" y="695"/>
                    </a:cubicBezTo>
                    <a:cubicBezTo>
                      <a:pt x="450" y="696"/>
                      <a:pt x="449" y="697"/>
                      <a:pt x="447" y="698"/>
                    </a:cubicBezTo>
                    <a:cubicBezTo>
                      <a:pt x="446" y="699"/>
                      <a:pt x="446" y="699"/>
                      <a:pt x="445" y="700"/>
                    </a:cubicBezTo>
                    <a:cubicBezTo>
                      <a:pt x="445" y="701"/>
                      <a:pt x="445" y="702"/>
                      <a:pt x="445" y="703"/>
                    </a:cubicBezTo>
                    <a:cubicBezTo>
                      <a:pt x="445" y="704"/>
                      <a:pt x="446" y="707"/>
                      <a:pt x="445" y="708"/>
                    </a:cubicBezTo>
                    <a:cubicBezTo>
                      <a:pt x="444" y="709"/>
                      <a:pt x="443" y="709"/>
                      <a:pt x="443" y="710"/>
                    </a:cubicBezTo>
                    <a:cubicBezTo>
                      <a:pt x="442" y="711"/>
                      <a:pt x="441" y="713"/>
                      <a:pt x="441" y="714"/>
                    </a:cubicBezTo>
                    <a:cubicBezTo>
                      <a:pt x="442" y="716"/>
                      <a:pt x="443" y="717"/>
                      <a:pt x="444" y="718"/>
                    </a:cubicBezTo>
                    <a:cubicBezTo>
                      <a:pt x="445" y="718"/>
                      <a:pt x="444" y="718"/>
                      <a:pt x="445" y="719"/>
                    </a:cubicBezTo>
                    <a:cubicBezTo>
                      <a:pt x="446" y="719"/>
                      <a:pt x="447" y="720"/>
                      <a:pt x="447" y="720"/>
                    </a:cubicBezTo>
                    <a:cubicBezTo>
                      <a:pt x="448" y="720"/>
                      <a:pt x="448" y="721"/>
                      <a:pt x="449" y="721"/>
                    </a:cubicBezTo>
                    <a:cubicBezTo>
                      <a:pt x="451" y="721"/>
                      <a:pt x="453" y="721"/>
                      <a:pt x="455" y="721"/>
                    </a:cubicBezTo>
                    <a:cubicBezTo>
                      <a:pt x="458" y="721"/>
                      <a:pt x="460" y="720"/>
                      <a:pt x="463" y="720"/>
                    </a:cubicBezTo>
                    <a:cubicBezTo>
                      <a:pt x="464" y="720"/>
                      <a:pt x="465" y="720"/>
                      <a:pt x="466" y="720"/>
                    </a:cubicBezTo>
                    <a:cubicBezTo>
                      <a:pt x="468" y="720"/>
                      <a:pt x="469" y="719"/>
                      <a:pt x="470" y="719"/>
                    </a:cubicBezTo>
                    <a:cubicBezTo>
                      <a:pt x="471" y="719"/>
                      <a:pt x="471" y="719"/>
                      <a:pt x="472" y="719"/>
                    </a:cubicBezTo>
                    <a:cubicBezTo>
                      <a:pt x="473" y="718"/>
                      <a:pt x="474" y="717"/>
                      <a:pt x="474" y="717"/>
                    </a:cubicBezTo>
                    <a:cubicBezTo>
                      <a:pt x="475" y="716"/>
                      <a:pt x="475" y="715"/>
                      <a:pt x="475" y="714"/>
                    </a:cubicBezTo>
                    <a:cubicBezTo>
                      <a:pt x="476" y="714"/>
                      <a:pt x="476" y="713"/>
                      <a:pt x="477" y="712"/>
                    </a:cubicBezTo>
                    <a:cubicBezTo>
                      <a:pt x="477" y="712"/>
                      <a:pt x="477" y="711"/>
                      <a:pt x="477" y="710"/>
                    </a:cubicBezTo>
                    <a:cubicBezTo>
                      <a:pt x="478" y="709"/>
                      <a:pt x="478" y="709"/>
                      <a:pt x="478" y="708"/>
                    </a:cubicBezTo>
                    <a:cubicBezTo>
                      <a:pt x="479" y="705"/>
                      <a:pt x="478" y="704"/>
                      <a:pt x="480" y="702"/>
                    </a:cubicBezTo>
                    <a:cubicBezTo>
                      <a:pt x="481" y="700"/>
                      <a:pt x="483" y="698"/>
                      <a:pt x="485" y="697"/>
                    </a:cubicBezTo>
                    <a:cubicBezTo>
                      <a:pt x="485" y="695"/>
                      <a:pt x="489" y="692"/>
                      <a:pt x="491" y="691"/>
                    </a:cubicBezTo>
                    <a:cubicBezTo>
                      <a:pt x="493" y="690"/>
                      <a:pt x="495" y="688"/>
                      <a:pt x="498" y="686"/>
                    </a:cubicBezTo>
                    <a:cubicBezTo>
                      <a:pt x="502" y="683"/>
                      <a:pt x="500" y="678"/>
                      <a:pt x="500" y="674"/>
                    </a:cubicBezTo>
                    <a:cubicBezTo>
                      <a:pt x="501" y="671"/>
                      <a:pt x="500" y="668"/>
                      <a:pt x="500" y="665"/>
                    </a:cubicBezTo>
                    <a:cubicBezTo>
                      <a:pt x="500" y="663"/>
                      <a:pt x="500" y="661"/>
                      <a:pt x="500" y="660"/>
                    </a:cubicBezTo>
                    <a:cubicBezTo>
                      <a:pt x="500" y="659"/>
                      <a:pt x="500" y="657"/>
                      <a:pt x="501" y="656"/>
                    </a:cubicBezTo>
                    <a:cubicBezTo>
                      <a:pt x="501" y="656"/>
                      <a:pt x="502" y="655"/>
                      <a:pt x="503" y="655"/>
                    </a:cubicBezTo>
                    <a:cubicBezTo>
                      <a:pt x="503" y="654"/>
                      <a:pt x="504" y="653"/>
                      <a:pt x="505" y="652"/>
                    </a:cubicBezTo>
                    <a:cubicBezTo>
                      <a:pt x="505" y="651"/>
                      <a:pt x="505" y="651"/>
                      <a:pt x="506" y="651"/>
                    </a:cubicBezTo>
                    <a:cubicBezTo>
                      <a:pt x="507" y="650"/>
                      <a:pt x="508" y="649"/>
                      <a:pt x="510" y="649"/>
                    </a:cubicBezTo>
                    <a:cubicBezTo>
                      <a:pt x="512" y="648"/>
                      <a:pt x="515" y="648"/>
                      <a:pt x="517" y="647"/>
                    </a:cubicBezTo>
                    <a:cubicBezTo>
                      <a:pt x="517" y="647"/>
                      <a:pt x="517" y="646"/>
                      <a:pt x="517" y="646"/>
                    </a:cubicBezTo>
                    <a:cubicBezTo>
                      <a:pt x="517" y="646"/>
                      <a:pt x="519" y="646"/>
                      <a:pt x="518" y="646"/>
                    </a:cubicBezTo>
                    <a:cubicBezTo>
                      <a:pt x="520" y="646"/>
                      <a:pt x="520" y="646"/>
                      <a:pt x="521" y="646"/>
                    </a:cubicBezTo>
                    <a:cubicBezTo>
                      <a:pt x="523" y="646"/>
                      <a:pt x="525" y="646"/>
                      <a:pt x="526" y="645"/>
                    </a:cubicBezTo>
                    <a:cubicBezTo>
                      <a:pt x="527" y="645"/>
                      <a:pt x="528" y="644"/>
                      <a:pt x="529" y="644"/>
                    </a:cubicBezTo>
                    <a:cubicBezTo>
                      <a:pt x="530" y="644"/>
                      <a:pt x="530" y="644"/>
                      <a:pt x="531" y="643"/>
                    </a:cubicBezTo>
                    <a:cubicBezTo>
                      <a:pt x="531" y="643"/>
                      <a:pt x="532" y="643"/>
                      <a:pt x="532" y="642"/>
                    </a:cubicBezTo>
                    <a:cubicBezTo>
                      <a:pt x="532" y="641"/>
                      <a:pt x="532" y="640"/>
                      <a:pt x="532" y="639"/>
                    </a:cubicBezTo>
                    <a:cubicBezTo>
                      <a:pt x="532" y="638"/>
                      <a:pt x="531" y="636"/>
                      <a:pt x="531" y="635"/>
                    </a:cubicBezTo>
                    <a:cubicBezTo>
                      <a:pt x="531" y="634"/>
                      <a:pt x="531" y="633"/>
                      <a:pt x="532" y="632"/>
                    </a:cubicBezTo>
                    <a:cubicBezTo>
                      <a:pt x="532" y="632"/>
                      <a:pt x="533" y="631"/>
                      <a:pt x="533" y="631"/>
                    </a:cubicBezTo>
                    <a:cubicBezTo>
                      <a:pt x="534" y="629"/>
                      <a:pt x="534" y="626"/>
                      <a:pt x="534" y="624"/>
                    </a:cubicBezTo>
                    <a:cubicBezTo>
                      <a:pt x="534" y="622"/>
                      <a:pt x="534" y="620"/>
                      <a:pt x="534" y="617"/>
                    </a:cubicBezTo>
                    <a:cubicBezTo>
                      <a:pt x="534" y="616"/>
                      <a:pt x="534" y="614"/>
                      <a:pt x="534" y="613"/>
                    </a:cubicBezTo>
                    <a:cubicBezTo>
                      <a:pt x="534" y="611"/>
                      <a:pt x="533" y="609"/>
                      <a:pt x="533" y="607"/>
                    </a:cubicBezTo>
                    <a:cubicBezTo>
                      <a:pt x="532" y="605"/>
                      <a:pt x="531" y="604"/>
                      <a:pt x="529" y="604"/>
                    </a:cubicBezTo>
                    <a:cubicBezTo>
                      <a:pt x="529" y="603"/>
                      <a:pt x="528" y="601"/>
                      <a:pt x="527" y="600"/>
                    </a:cubicBezTo>
                    <a:cubicBezTo>
                      <a:pt x="526" y="598"/>
                      <a:pt x="526" y="597"/>
                      <a:pt x="524" y="597"/>
                    </a:cubicBezTo>
                    <a:cubicBezTo>
                      <a:pt x="523" y="597"/>
                      <a:pt x="522" y="597"/>
                      <a:pt x="521" y="597"/>
                    </a:cubicBezTo>
                    <a:cubicBezTo>
                      <a:pt x="520" y="596"/>
                      <a:pt x="520" y="596"/>
                      <a:pt x="520" y="595"/>
                    </a:cubicBezTo>
                    <a:cubicBezTo>
                      <a:pt x="519" y="594"/>
                      <a:pt x="518" y="594"/>
                      <a:pt x="517" y="593"/>
                    </a:cubicBezTo>
                    <a:cubicBezTo>
                      <a:pt x="516" y="592"/>
                      <a:pt x="516" y="591"/>
                      <a:pt x="515" y="590"/>
                    </a:cubicBezTo>
                    <a:cubicBezTo>
                      <a:pt x="514" y="590"/>
                      <a:pt x="512" y="591"/>
                      <a:pt x="511" y="590"/>
                    </a:cubicBezTo>
                    <a:cubicBezTo>
                      <a:pt x="510" y="590"/>
                      <a:pt x="509" y="590"/>
                      <a:pt x="508" y="590"/>
                    </a:cubicBezTo>
                    <a:cubicBezTo>
                      <a:pt x="506" y="590"/>
                      <a:pt x="506" y="589"/>
                      <a:pt x="504" y="589"/>
                    </a:cubicBezTo>
                    <a:cubicBezTo>
                      <a:pt x="503" y="585"/>
                      <a:pt x="503" y="581"/>
                      <a:pt x="503" y="577"/>
                    </a:cubicBezTo>
                    <a:cubicBezTo>
                      <a:pt x="503" y="575"/>
                      <a:pt x="503" y="574"/>
                      <a:pt x="503" y="572"/>
                    </a:cubicBezTo>
                    <a:cubicBezTo>
                      <a:pt x="504" y="571"/>
                      <a:pt x="504" y="568"/>
                      <a:pt x="505" y="567"/>
                    </a:cubicBezTo>
                    <a:cubicBezTo>
                      <a:pt x="506" y="566"/>
                      <a:pt x="507" y="566"/>
                      <a:pt x="508" y="565"/>
                    </a:cubicBezTo>
                    <a:cubicBezTo>
                      <a:pt x="509" y="564"/>
                      <a:pt x="509" y="562"/>
                      <a:pt x="509" y="561"/>
                    </a:cubicBezTo>
                    <a:cubicBezTo>
                      <a:pt x="509" y="558"/>
                      <a:pt x="510" y="555"/>
                      <a:pt x="511" y="553"/>
                    </a:cubicBezTo>
                    <a:cubicBezTo>
                      <a:pt x="512" y="552"/>
                      <a:pt x="513" y="551"/>
                      <a:pt x="514" y="550"/>
                    </a:cubicBezTo>
                    <a:cubicBezTo>
                      <a:pt x="515" y="550"/>
                      <a:pt x="515" y="550"/>
                      <a:pt x="515" y="549"/>
                    </a:cubicBezTo>
                    <a:cubicBezTo>
                      <a:pt x="516" y="549"/>
                      <a:pt x="516" y="548"/>
                      <a:pt x="516" y="548"/>
                    </a:cubicBezTo>
                    <a:cubicBezTo>
                      <a:pt x="517" y="546"/>
                      <a:pt x="518" y="544"/>
                      <a:pt x="518" y="543"/>
                    </a:cubicBezTo>
                    <a:cubicBezTo>
                      <a:pt x="519" y="541"/>
                      <a:pt x="519" y="540"/>
                      <a:pt x="520" y="538"/>
                    </a:cubicBezTo>
                    <a:cubicBezTo>
                      <a:pt x="521" y="537"/>
                      <a:pt x="521" y="536"/>
                      <a:pt x="522" y="535"/>
                    </a:cubicBezTo>
                    <a:cubicBezTo>
                      <a:pt x="523" y="534"/>
                      <a:pt x="523" y="534"/>
                      <a:pt x="523" y="533"/>
                    </a:cubicBezTo>
                    <a:cubicBezTo>
                      <a:pt x="524" y="532"/>
                      <a:pt x="524" y="532"/>
                      <a:pt x="525" y="531"/>
                    </a:cubicBezTo>
                    <a:cubicBezTo>
                      <a:pt x="526" y="530"/>
                      <a:pt x="526" y="529"/>
                      <a:pt x="527" y="528"/>
                    </a:cubicBezTo>
                    <a:cubicBezTo>
                      <a:pt x="528" y="527"/>
                      <a:pt x="530" y="526"/>
                      <a:pt x="531" y="525"/>
                    </a:cubicBezTo>
                    <a:cubicBezTo>
                      <a:pt x="533" y="524"/>
                      <a:pt x="535" y="521"/>
                      <a:pt x="537" y="522"/>
                    </a:cubicBezTo>
                    <a:cubicBezTo>
                      <a:pt x="538" y="523"/>
                      <a:pt x="539" y="524"/>
                      <a:pt x="539" y="525"/>
                    </a:cubicBezTo>
                    <a:cubicBezTo>
                      <a:pt x="540" y="525"/>
                      <a:pt x="540" y="526"/>
                      <a:pt x="541" y="527"/>
                    </a:cubicBezTo>
                    <a:cubicBezTo>
                      <a:pt x="542" y="528"/>
                      <a:pt x="542" y="528"/>
                      <a:pt x="543" y="530"/>
                    </a:cubicBezTo>
                    <a:cubicBezTo>
                      <a:pt x="543" y="531"/>
                      <a:pt x="545" y="533"/>
                      <a:pt x="546" y="534"/>
                    </a:cubicBezTo>
                    <a:cubicBezTo>
                      <a:pt x="547" y="534"/>
                      <a:pt x="547" y="534"/>
                      <a:pt x="548" y="534"/>
                    </a:cubicBezTo>
                    <a:cubicBezTo>
                      <a:pt x="548" y="535"/>
                      <a:pt x="548" y="536"/>
                      <a:pt x="549" y="536"/>
                    </a:cubicBezTo>
                    <a:cubicBezTo>
                      <a:pt x="551" y="537"/>
                      <a:pt x="552" y="538"/>
                      <a:pt x="554" y="539"/>
                    </a:cubicBezTo>
                    <a:cubicBezTo>
                      <a:pt x="555" y="540"/>
                      <a:pt x="557" y="540"/>
                      <a:pt x="558" y="540"/>
                    </a:cubicBezTo>
                    <a:cubicBezTo>
                      <a:pt x="559" y="541"/>
                      <a:pt x="559" y="541"/>
                      <a:pt x="561" y="542"/>
                    </a:cubicBezTo>
                    <a:cubicBezTo>
                      <a:pt x="561" y="542"/>
                      <a:pt x="562" y="542"/>
                      <a:pt x="562" y="542"/>
                    </a:cubicBezTo>
                    <a:cubicBezTo>
                      <a:pt x="563" y="543"/>
                      <a:pt x="564" y="542"/>
                      <a:pt x="565" y="542"/>
                    </a:cubicBezTo>
                    <a:cubicBezTo>
                      <a:pt x="567" y="542"/>
                      <a:pt x="568" y="542"/>
                      <a:pt x="570" y="542"/>
                    </a:cubicBezTo>
                    <a:cubicBezTo>
                      <a:pt x="571" y="542"/>
                      <a:pt x="571" y="542"/>
                      <a:pt x="572" y="542"/>
                    </a:cubicBezTo>
                    <a:cubicBezTo>
                      <a:pt x="572" y="542"/>
                      <a:pt x="572" y="541"/>
                      <a:pt x="573" y="541"/>
                    </a:cubicBezTo>
                    <a:cubicBezTo>
                      <a:pt x="574" y="541"/>
                      <a:pt x="575" y="543"/>
                      <a:pt x="575" y="544"/>
                    </a:cubicBezTo>
                    <a:cubicBezTo>
                      <a:pt x="576" y="545"/>
                      <a:pt x="576" y="546"/>
                      <a:pt x="578" y="547"/>
                    </a:cubicBezTo>
                    <a:cubicBezTo>
                      <a:pt x="579" y="547"/>
                      <a:pt x="580" y="548"/>
                      <a:pt x="581" y="549"/>
                    </a:cubicBezTo>
                    <a:cubicBezTo>
                      <a:pt x="581" y="551"/>
                      <a:pt x="582" y="553"/>
                      <a:pt x="582" y="555"/>
                    </a:cubicBezTo>
                    <a:cubicBezTo>
                      <a:pt x="582" y="559"/>
                      <a:pt x="583" y="562"/>
                      <a:pt x="583" y="566"/>
                    </a:cubicBezTo>
                    <a:cubicBezTo>
                      <a:pt x="583" y="568"/>
                      <a:pt x="582" y="572"/>
                      <a:pt x="584" y="574"/>
                    </a:cubicBezTo>
                    <a:cubicBezTo>
                      <a:pt x="585" y="575"/>
                      <a:pt x="588" y="576"/>
                      <a:pt x="589" y="577"/>
                    </a:cubicBezTo>
                    <a:cubicBezTo>
                      <a:pt x="591" y="578"/>
                      <a:pt x="593" y="579"/>
                      <a:pt x="595" y="580"/>
                    </a:cubicBezTo>
                    <a:cubicBezTo>
                      <a:pt x="597" y="580"/>
                      <a:pt x="598" y="581"/>
                      <a:pt x="600" y="582"/>
                    </a:cubicBezTo>
                    <a:cubicBezTo>
                      <a:pt x="601" y="582"/>
                      <a:pt x="604" y="582"/>
                      <a:pt x="605" y="582"/>
                    </a:cubicBezTo>
                    <a:cubicBezTo>
                      <a:pt x="606" y="581"/>
                      <a:pt x="605" y="579"/>
                      <a:pt x="605" y="578"/>
                    </a:cubicBezTo>
                    <a:cubicBezTo>
                      <a:pt x="605" y="577"/>
                      <a:pt x="606" y="576"/>
                      <a:pt x="606" y="574"/>
                    </a:cubicBezTo>
                    <a:cubicBezTo>
                      <a:pt x="606" y="572"/>
                      <a:pt x="606" y="570"/>
                      <a:pt x="606" y="568"/>
                    </a:cubicBezTo>
                    <a:cubicBezTo>
                      <a:pt x="607" y="565"/>
                      <a:pt x="608" y="562"/>
                      <a:pt x="610" y="560"/>
                    </a:cubicBezTo>
                    <a:cubicBezTo>
                      <a:pt x="611" y="559"/>
                      <a:pt x="612" y="559"/>
                      <a:pt x="612" y="557"/>
                    </a:cubicBezTo>
                    <a:cubicBezTo>
                      <a:pt x="612" y="556"/>
                      <a:pt x="612" y="555"/>
                      <a:pt x="612" y="555"/>
                    </a:cubicBezTo>
                    <a:cubicBezTo>
                      <a:pt x="612" y="554"/>
                      <a:pt x="612" y="552"/>
                      <a:pt x="612" y="55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70" name="Freeform 19">
                <a:extLst>
                  <a:ext uri="{FF2B5EF4-FFF2-40B4-BE49-F238E27FC236}">
                    <a16:creationId xmlns:a16="http://schemas.microsoft.com/office/drawing/2014/main" id="{71D83ABA-15EB-4101-AB1C-789B9472F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7563" y="6280150"/>
                <a:ext cx="320675" cy="239713"/>
              </a:xfrm>
              <a:custGeom>
                <a:avLst/>
                <a:gdLst/>
                <a:ahLst/>
                <a:cxnLst>
                  <a:cxn ang="0">
                    <a:pos x="135" y="7"/>
                  </a:cxn>
                  <a:cxn ang="0">
                    <a:pos x="121" y="12"/>
                  </a:cxn>
                  <a:cxn ang="0">
                    <a:pos x="110" y="16"/>
                  </a:cxn>
                  <a:cxn ang="0">
                    <a:pos x="103" y="19"/>
                  </a:cxn>
                  <a:cxn ang="0">
                    <a:pos x="86" y="19"/>
                  </a:cxn>
                  <a:cxn ang="0">
                    <a:pos x="77" y="17"/>
                  </a:cxn>
                  <a:cxn ang="0">
                    <a:pos x="67" y="19"/>
                  </a:cxn>
                  <a:cxn ang="0">
                    <a:pos x="58" y="14"/>
                  </a:cxn>
                  <a:cxn ang="0">
                    <a:pos x="53" y="6"/>
                  </a:cxn>
                  <a:cxn ang="0">
                    <a:pos x="37" y="1"/>
                  </a:cxn>
                  <a:cxn ang="0">
                    <a:pos x="32" y="14"/>
                  </a:cxn>
                  <a:cxn ang="0">
                    <a:pos x="22" y="9"/>
                  </a:cxn>
                  <a:cxn ang="0">
                    <a:pos x="15" y="3"/>
                  </a:cxn>
                  <a:cxn ang="0">
                    <a:pos x="6" y="14"/>
                  </a:cxn>
                  <a:cxn ang="0">
                    <a:pos x="7" y="28"/>
                  </a:cxn>
                  <a:cxn ang="0">
                    <a:pos x="1" y="34"/>
                  </a:cxn>
                  <a:cxn ang="0">
                    <a:pos x="6" y="47"/>
                  </a:cxn>
                  <a:cxn ang="0">
                    <a:pos x="13" y="51"/>
                  </a:cxn>
                  <a:cxn ang="0">
                    <a:pos x="35" y="57"/>
                  </a:cxn>
                  <a:cxn ang="0">
                    <a:pos x="52" y="69"/>
                  </a:cxn>
                  <a:cxn ang="0">
                    <a:pos x="69" y="88"/>
                  </a:cxn>
                  <a:cxn ang="0">
                    <a:pos x="77" y="88"/>
                  </a:cxn>
                  <a:cxn ang="0">
                    <a:pos x="83" y="90"/>
                  </a:cxn>
                  <a:cxn ang="0">
                    <a:pos x="92" y="94"/>
                  </a:cxn>
                  <a:cxn ang="0">
                    <a:pos x="103" y="109"/>
                  </a:cxn>
                  <a:cxn ang="0">
                    <a:pos x="109" y="125"/>
                  </a:cxn>
                  <a:cxn ang="0">
                    <a:pos x="122" y="126"/>
                  </a:cxn>
                  <a:cxn ang="0">
                    <a:pos x="144" y="121"/>
                  </a:cxn>
                  <a:cxn ang="0">
                    <a:pos x="142" y="106"/>
                  </a:cxn>
                  <a:cxn ang="0">
                    <a:pos x="150" y="98"/>
                  </a:cxn>
                  <a:cxn ang="0">
                    <a:pos x="147" y="87"/>
                  </a:cxn>
                  <a:cxn ang="0">
                    <a:pos x="148" y="79"/>
                  </a:cxn>
                  <a:cxn ang="0">
                    <a:pos x="141" y="61"/>
                  </a:cxn>
                  <a:cxn ang="0">
                    <a:pos x="156" y="52"/>
                  </a:cxn>
                  <a:cxn ang="0">
                    <a:pos x="163" y="45"/>
                  </a:cxn>
                  <a:cxn ang="0">
                    <a:pos x="154" y="42"/>
                  </a:cxn>
                  <a:cxn ang="0">
                    <a:pos x="159" y="31"/>
                  </a:cxn>
                  <a:cxn ang="0">
                    <a:pos x="164" y="19"/>
                  </a:cxn>
                  <a:cxn ang="0">
                    <a:pos x="167" y="10"/>
                  </a:cxn>
                  <a:cxn ang="0">
                    <a:pos x="168" y="1"/>
                  </a:cxn>
                  <a:cxn ang="0">
                    <a:pos x="144" y="12"/>
                  </a:cxn>
                </a:cxnLst>
                <a:rect l="0" t="0" r="r" b="b"/>
                <a:pathLst>
                  <a:path w="171" h="128">
                    <a:moveTo>
                      <a:pt x="144" y="12"/>
                    </a:moveTo>
                    <a:cubicBezTo>
                      <a:pt x="141" y="11"/>
                      <a:pt x="138" y="8"/>
                      <a:pt x="135" y="7"/>
                    </a:cubicBezTo>
                    <a:cubicBezTo>
                      <a:pt x="133" y="7"/>
                      <a:pt x="132" y="8"/>
                      <a:pt x="130" y="8"/>
                    </a:cubicBezTo>
                    <a:cubicBezTo>
                      <a:pt x="126" y="8"/>
                      <a:pt x="123" y="10"/>
                      <a:pt x="121" y="12"/>
                    </a:cubicBezTo>
                    <a:cubicBezTo>
                      <a:pt x="120" y="13"/>
                      <a:pt x="118" y="14"/>
                      <a:pt x="117" y="15"/>
                    </a:cubicBezTo>
                    <a:cubicBezTo>
                      <a:pt x="115" y="16"/>
                      <a:pt x="113" y="15"/>
                      <a:pt x="110" y="16"/>
                    </a:cubicBezTo>
                    <a:cubicBezTo>
                      <a:pt x="109" y="17"/>
                      <a:pt x="108" y="17"/>
                      <a:pt x="106" y="17"/>
                    </a:cubicBezTo>
                    <a:cubicBezTo>
                      <a:pt x="105" y="18"/>
                      <a:pt x="105" y="19"/>
                      <a:pt x="103" y="19"/>
                    </a:cubicBezTo>
                    <a:cubicBezTo>
                      <a:pt x="100" y="21"/>
                      <a:pt x="95" y="19"/>
                      <a:pt x="91" y="19"/>
                    </a:cubicBezTo>
                    <a:cubicBezTo>
                      <a:pt x="90" y="19"/>
                      <a:pt x="87" y="20"/>
                      <a:pt x="86" y="19"/>
                    </a:cubicBezTo>
                    <a:cubicBezTo>
                      <a:pt x="85" y="19"/>
                      <a:pt x="86" y="18"/>
                      <a:pt x="85" y="18"/>
                    </a:cubicBezTo>
                    <a:cubicBezTo>
                      <a:pt x="82" y="17"/>
                      <a:pt x="80" y="17"/>
                      <a:pt x="77" y="17"/>
                    </a:cubicBezTo>
                    <a:cubicBezTo>
                      <a:pt x="74" y="17"/>
                      <a:pt x="71" y="17"/>
                      <a:pt x="68" y="18"/>
                    </a:cubicBezTo>
                    <a:cubicBezTo>
                      <a:pt x="67" y="19"/>
                      <a:pt x="68" y="19"/>
                      <a:pt x="67" y="19"/>
                    </a:cubicBezTo>
                    <a:cubicBezTo>
                      <a:pt x="65" y="20"/>
                      <a:pt x="64" y="19"/>
                      <a:pt x="63" y="18"/>
                    </a:cubicBezTo>
                    <a:cubicBezTo>
                      <a:pt x="61" y="17"/>
                      <a:pt x="59" y="15"/>
                      <a:pt x="58" y="14"/>
                    </a:cubicBezTo>
                    <a:cubicBezTo>
                      <a:pt x="57" y="13"/>
                      <a:pt x="57" y="11"/>
                      <a:pt x="56" y="10"/>
                    </a:cubicBezTo>
                    <a:cubicBezTo>
                      <a:pt x="55" y="9"/>
                      <a:pt x="54" y="8"/>
                      <a:pt x="53" y="6"/>
                    </a:cubicBezTo>
                    <a:cubicBezTo>
                      <a:pt x="51" y="3"/>
                      <a:pt x="49" y="1"/>
                      <a:pt x="44" y="0"/>
                    </a:cubicBezTo>
                    <a:cubicBezTo>
                      <a:pt x="42" y="0"/>
                      <a:pt x="39" y="0"/>
                      <a:pt x="37" y="1"/>
                    </a:cubicBezTo>
                    <a:cubicBezTo>
                      <a:pt x="36" y="2"/>
                      <a:pt x="37" y="6"/>
                      <a:pt x="36" y="7"/>
                    </a:cubicBezTo>
                    <a:cubicBezTo>
                      <a:pt x="36" y="11"/>
                      <a:pt x="34" y="12"/>
                      <a:pt x="32" y="14"/>
                    </a:cubicBezTo>
                    <a:cubicBezTo>
                      <a:pt x="31" y="14"/>
                      <a:pt x="28" y="16"/>
                      <a:pt x="27" y="16"/>
                    </a:cubicBezTo>
                    <a:cubicBezTo>
                      <a:pt x="26" y="16"/>
                      <a:pt x="23" y="10"/>
                      <a:pt x="22" y="9"/>
                    </a:cubicBezTo>
                    <a:cubicBezTo>
                      <a:pt x="21" y="7"/>
                      <a:pt x="20" y="3"/>
                      <a:pt x="19" y="2"/>
                    </a:cubicBezTo>
                    <a:cubicBezTo>
                      <a:pt x="18" y="1"/>
                      <a:pt x="16" y="2"/>
                      <a:pt x="15" y="3"/>
                    </a:cubicBezTo>
                    <a:cubicBezTo>
                      <a:pt x="14" y="5"/>
                      <a:pt x="15" y="6"/>
                      <a:pt x="13" y="8"/>
                    </a:cubicBezTo>
                    <a:cubicBezTo>
                      <a:pt x="10" y="10"/>
                      <a:pt x="7" y="11"/>
                      <a:pt x="6" y="14"/>
                    </a:cubicBezTo>
                    <a:cubicBezTo>
                      <a:pt x="5" y="15"/>
                      <a:pt x="4" y="17"/>
                      <a:pt x="4" y="18"/>
                    </a:cubicBezTo>
                    <a:cubicBezTo>
                      <a:pt x="4" y="21"/>
                      <a:pt x="8" y="25"/>
                      <a:pt x="7" y="28"/>
                    </a:cubicBezTo>
                    <a:cubicBezTo>
                      <a:pt x="7" y="30"/>
                      <a:pt x="5" y="30"/>
                      <a:pt x="4" y="31"/>
                    </a:cubicBezTo>
                    <a:cubicBezTo>
                      <a:pt x="3" y="31"/>
                      <a:pt x="2" y="33"/>
                      <a:pt x="1" y="34"/>
                    </a:cubicBezTo>
                    <a:cubicBezTo>
                      <a:pt x="0" y="37"/>
                      <a:pt x="2" y="41"/>
                      <a:pt x="3" y="43"/>
                    </a:cubicBezTo>
                    <a:cubicBezTo>
                      <a:pt x="4" y="46"/>
                      <a:pt x="4" y="46"/>
                      <a:pt x="6" y="47"/>
                    </a:cubicBezTo>
                    <a:cubicBezTo>
                      <a:pt x="8" y="47"/>
                      <a:pt x="9" y="47"/>
                      <a:pt x="11" y="48"/>
                    </a:cubicBezTo>
                    <a:cubicBezTo>
                      <a:pt x="11" y="49"/>
                      <a:pt x="12" y="50"/>
                      <a:pt x="13" y="51"/>
                    </a:cubicBezTo>
                    <a:cubicBezTo>
                      <a:pt x="16" y="54"/>
                      <a:pt x="19" y="52"/>
                      <a:pt x="23" y="52"/>
                    </a:cubicBezTo>
                    <a:cubicBezTo>
                      <a:pt x="28" y="52"/>
                      <a:pt x="32" y="52"/>
                      <a:pt x="35" y="57"/>
                    </a:cubicBezTo>
                    <a:cubicBezTo>
                      <a:pt x="37" y="60"/>
                      <a:pt x="40" y="60"/>
                      <a:pt x="43" y="62"/>
                    </a:cubicBezTo>
                    <a:cubicBezTo>
                      <a:pt x="46" y="63"/>
                      <a:pt x="50" y="66"/>
                      <a:pt x="52" y="69"/>
                    </a:cubicBezTo>
                    <a:cubicBezTo>
                      <a:pt x="54" y="74"/>
                      <a:pt x="58" y="81"/>
                      <a:pt x="62" y="84"/>
                    </a:cubicBezTo>
                    <a:cubicBezTo>
                      <a:pt x="64" y="85"/>
                      <a:pt x="67" y="86"/>
                      <a:pt x="69" y="88"/>
                    </a:cubicBezTo>
                    <a:cubicBezTo>
                      <a:pt x="71" y="88"/>
                      <a:pt x="72" y="89"/>
                      <a:pt x="74" y="89"/>
                    </a:cubicBezTo>
                    <a:cubicBezTo>
                      <a:pt x="75" y="89"/>
                      <a:pt x="75" y="88"/>
                      <a:pt x="77" y="88"/>
                    </a:cubicBezTo>
                    <a:cubicBezTo>
                      <a:pt x="78" y="88"/>
                      <a:pt x="79" y="89"/>
                      <a:pt x="80" y="90"/>
                    </a:cubicBezTo>
                    <a:cubicBezTo>
                      <a:pt x="81" y="90"/>
                      <a:pt x="82" y="90"/>
                      <a:pt x="83" y="90"/>
                    </a:cubicBezTo>
                    <a:cubicBezTo>
                      <a:pt x="85" y="90"/>
                      <a:pt x="86" y="90"/>
                      <a:pt x="88" y="90"/>
                    </a:cubicBezTo>
                    <a:cubicBezTo>
                      <a:pt x="91" y="90"/>
                      <a:pt x="91" y="92"/>
                      <a:pt x="92" y="94"/>
                    </a:cubicBezTo>
                    <a:cubicBezTo>
                      <a:pt x="94" y="97"/>
                      <a:pt x="97" y="98"/>
                      <a:pt x="100" y="101"/>
                    </a:cubicBezTo>
                    <a:cubicBezTo>
                      <a:pt x="103" y="103"/>
                      <a:pt x="103" y="106"/>
                      <a:pt x="103" y="109"/>
                    </a:cubicBezTo>
                    <a:cubicBezTo>
                      <a:pt x="103" y="113"/>
                      <a:pt x="103" y="117"/>
                      <a:pt x="105" y="121"/>
                    </a:cubicBezTo>
                    <a:cubicBezTo>
                      <a:pt x="106" y="124"/>
                      <a:pt x="106" y="125"/>
                      <a:pt x="109" y="125"/>
                    </a:cubicBezTo>
                    <a:cubicBezTo>
                      <a:pt x="111" y="125"/>
                      <a:pt x="114" y="124"/>
                      <a:pt x="116" y="124"/>
                    </a:cubicBezTo>
                    <a:cubicBezTo>
                      <a:pt x="118" y="124"/>
                      <a:pt x="120" y="125"/>
                      <a:pt x="122" y="126"/>
                    </a:cubicBezTo>
                    <a:cubicBezTo>
                      <a:pt x="127" y="128"/>
                      <a:pt x="132" y="127"/>
                      <a:pt x="136" y="128"/>
                    </a:cubicBezTo>
                    <a:cubicBezTo>
                      <a:pt x="140" y="128"/>
                      <a:pt x="146" y="125"/>
                      <a:pt x="144" y="121"/>
                    </a:cubicBezTo>
                    <a:cubicBezTo>
                      <a:pt x="143" y="117"/>
                      <a:pt x="138" y="114"/>
                      <a:pt x="140" y="110"/>
                    </a:cubicBezTo>
                    <a:cubicBezTo>
                      <a:pt x="140" y="108"/>
                      <a:pt x="141" y="107"/>
                      <a:pt x="142" y="106"/>
                    </a:cubicBezTo>
                    <a:cubicBezTo>
                      <a:pt x="144" y="103"/>
                      <a:pt x="146" y="103"/>
                      <a:pt x="148" y="101"/>
                    </a:cubicBezTo>
                    <a:cubicBezTo>
                      <a:pt x="149" y="100"/>
                      <a:pt x="149" y="99"/>
                      <a:pt x="150" y="98"/>
                    </a:cubicBezTo>
                    <a:cubicBezTo>
                      <a:pt x="152" y="97"/>
                      <a:pt x="153" y="97"/>
                      <a:pt x="153" y="94"/>
                    </a:cubicBezTo>
                    <a:cubicBezTo>
                      <a:pt x="153" y="89"/>
                      <a:pt x="149" y="91"/>
                      <a:pt x="147" y="87"/>
                    </a:cubicBezTo>
                    <a:cubicBezTo>
                      <a:pt x="146" y="86"/>
                      <a:pt x="146" y="84"/>
                      <a:pt x="146" y="83"/>
                    </a:cubicBezTo>
                    <a:cubicBezTo>
                      <a:pt x="146" y="81"/>
                      <a:pt x="147" y="81"/>
                      <a:pt x="148" y="79"/>
                    </a:cubicBezTo>
                    <a:cubicBezTo>
                      <a:pt x="149" y="76"/>
                      <a:pt x="143" y="72"/>
                      <a:pt x="142" y="70"/>
                    </a:cubicBezTo>
                    <a:cubicBezTo>
                      <a:pt x="139" y="66"/>
                      <a:pt x="140" y="65"/>
                      <a:pt x="141" y="61"/>
                    </a:cubicBezTo>
                    <a:cubicBezTo>
                      <a:pt x="142" y="57"/>
                      <a:pt x="147" y="52"/>
                      <a:pt x="151" y="52"/>
                    </a:cubicBezTo>
                    <a:cubicBezTo>
                      <a:pt x="153" y="52"/>
                      <a:pt x="154" y="52"/>
                      <a:pt x="156" y="52"/>
                    </a:cubicBezTo>
                    <a:cubicBezTo>
                      <a:pt x="157" y="53"/>
                      <a:pt x="158" y="55"/>
                      <a:pt x="160" y="54"/>
                    </a:cubicBezTo>
                    <a:cubicBezTo>
                      <a:pt x="165" y="53"/>
                      <a:pt x="167" y="48"/>
                      <a:pt x="163" y="45"/>
                    </a:cubicBezTo>
                    <a:cubicBezTo>
                      <a:pt x="162" y="44"/>
                      <a:pt x="160" y="43"/>
                      <a:pt x="158" y="43"/>
                    </a:cubicBezTo>
                    <a:cubicBezTo>
                      <a:pt x="157" y="42"/>
                      <a:pt x="155" y="43"/>
                      <a:pt x="154" y="42"/>
                    </a:cubicBezTo>
                    <a:cubicBezTo>
                      <a:pt x="152" y="41"/>
                      <a:pt x="152" y="37"/>
                      <a:pt x="152" y="35"/>
                    </a:cubicBezTo>
                    <a:cubicBezTo>
                      <a:pt x="153" y="31"/>
                      <a:pt x="156" y="31"/>
                      <a:pt x="159" y="31"/>
                    </a:cubicBezTo>
                    <a:cubicBezTo>
                      <a:pt x="165" y="29"/>
                      <a:pt x="162" y="27"/>
                      <a:pt x="163" y="22"/>
                    </a:cubicBezTo>
                    <a:cubicBezTo>
                      <a:pt x="163" y="21"/>
                      <a:pt x="164" y="20"/>
                      <a:pt x="164" y="19"/>
                    </a:cubicBezTo>
                    <a:cubicBezTo>
                      <a:pt x="164" y="17"/>
                      <a:pt x="163" y="15"/>
                      <a:pt x="164" y="14"/>
                    </a:cubicBezTo>
                    <a:cubicBezTo>
                      <a:pt x="164" y="12"/>
                      <a:pt x="166" y="11"/>
                      <a:pt x="167" y="10"/>
                    </a:cubicBezTo>
                    <a:cubicBezTo>
                      <a:pt x="169" y="9"/>
                      <a:pt x="170" y="6"/>
                      <a:pt x="171" y="5"/>
                    </a:cubicBezTo>
                    <a:cubicBezTo>
                      <a:pt x="171" y="3"/>
                      <a:pt x="170" y="1"/>
                      <a:pt x="168" y="1"/>
                    </a:cubicBezTo>
                    <a:cubicBezTo>
                      <a:pt x="166" y="1"/>
                      <a:pt x="165" y="4"/>
                      <a:pt x="164" y="5"/>
                    </a:cubicBezTo>
                    <a:lnTo>
                      <a:pt x="144" y="1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71" name="Freeform 20">
                <a:extLst>
                  <a:ext uri="{FF2B5EF4-FFF2-40B4-BE49-F238E27FC236}">
                    <a16:creationId xmlns:a16="http://schemas.microsoft.com/office/drawing/2014/main" id="{0D47D619-22B2-4B4F-AB44-4FB6F1968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0688" y="5835650"/>
                <a:ext cx="161925" cy="334963"/>
              </a:xfrm>
              <a:custGeom>
                <a:avLst/>
                <a:gdLst/>
                <a:ahLst/>
                <a:cxnLst>
                  <a:cxn ang="0">
                    <a:pos x="69" y="8"/>
                  </a:cxn>
                  <a:cxn ang="0">
                    <a:pos x="74" y="14"/>
                  </a:cxn>
                  <a:cxn ang="0">
                    <a:pos x="77" y="21"/>
                  </a:cxn>
                  <a:cxn ang="0">
                    <a:pos x="77" y="28"/>
                  </a:cxn>
                  <a:cxn ang="0">
                    <a:pos x="85" y="34"/>
                  </a:cxn>
                  <a:cxn ang="0">
                    <a:pos x="87" y="46"/>
                  </a:cxn>
                  <a:cxn ang="0">
                    <a:pos x="86" y="56"/>
                  </a:cxn>
                  <a:cxn ang="0">
                    <a:pos x="85" y="65"/>
                  </a:cxn>
                  <a:cxn ang="0">
                    <a:pos x="83" y="72"/>
                  </a:cxn>
                  <a:cxn ang="0">
                    <a:pos x="77" y="76"/>
                  </a:cxn>
                  <a:cxn ang="0">
                    <a:pos x="75" y="80"/>
                  </a:cxn>
                  <a:cxn ang="0">
                    <a:pos x="79" y="90"/>
                  </a:cxn>
                  <a:cxn ang="0">
                    <a:pos x="76" y="114"/>
                  </a:cxn>
                  <a:cxn ang="0">
                    <a:pos x="75" y="126"/>
                  </a:cxn>
                  <a:cxn ang="0">
                    <a:pos x="74" y="132"/>
                  </a:cxn>
                  <a:cxn ang="0">
                    <a:pos x="73" y="138"/>
                  </a:cxn>
                  <a:cxn ang="0">
                    <a:pos x="72" y="145"/>
                  </a:cxn>
                  <a:cxn ang="0">
                    <a:pos x="70" y="152"/>
                  </a:cxn>
                  <a:cxn ang="0">
                    <a:pos x="69" y="153"/>
                  </a:cxn>
                  <a:cxn ang="0">
                    <a:pos x="68" y="162"/>
                  </a:cxn>
                  <a:cxn ang="0">
                    <a:pos x="64" y="162"/>
                  </a:cxn>
                  <a:cxn ang="0">
                    <a:pos x="57" y="156"/>
                  </a:cxn>
                  <a:cxn ang="0">
                    <a:pos x="53" y="155"/>
                  </a:cxn>
                  <a:cxn ang="0">
                    <a:pos x="40" y="150"/>
                  </a:cxn>
                  <a:cxn ang="0">
                    <a:pos x="41" y="157"/>
                  </a:cxn>
                  <a:cxn ang="0">
                    <a:pos x="34" y="175"/>
                  </a:cxn>
                  <a:cxn ang="0">
                    <a:pos x="21" y="178"/>
                  </a:cxn>
                  <a:cxn ang="0">
                    <a:pos x="17" y="179"/>
                  </a:cxn>
                  <a:cxn ang="0">
                    <a:pos x="14" y="165"/>
                  </a:cxn>
                  <a:cxn ang="0">
                    <a:pos x="8" y="155"/>
                  </a:cxn>
                  <a:cxn ang="0">
                    <a:pos x="6" y="151"/>
                  </a:cxn>
                  <a:cxn ang="0">
                    <a:pos x="9" y="138"/>
                  </a:cxn>
                  <a:cxn ang="0">
                    <a:pos x="14" y="131"/>
                  </a:cxn>
                  <a:cxn ang="0">
                    <a:pos x="12" y="120"/>
                  </a:cxn>
                  <a:cxn ang="0">
                    <a:pos x="17" y="116"/>
                  </a:cxn>
                  <a:cxn ang="0">
                    <a:pos x="19" y="110"/>
                  </a:cxn>
                  <a:cxn ang="0">
                    <a:pos x="18" y="104"/>
                  </a:cxn>
                  <a:cxn ang="0">
                    <a:pos x="13" y="102"/>
                  </a:cxn>
                  <a:cxn ang="0">
                    <a:pos x="10" y="105"/>
                  </a:cxn>
                  <a:cxn ang="0">
                    <a:pos x="11" y="98"/>
                  </a:cxn>
                  <a:cxn ang="0">
                    <a:pos x="13" y="88"/>
                  </a:cxn>
                  <a:cxn ang="0">
                    <a:pos x="17" y="85"/>
                  </a:cxn>
                  <a:cxn ang="0">
                    <a:pos x="17" y="68"/>
                  </a:cxn>
                  <a:cxn ang="0">
                    <a:pos x="12" y="58"/>
                  </a:cxn>
                  <a:cxn ang="0">
                    <a:pos x="11" y="52"/>
                  </a:cxn>
                  <a:cxn ang="0">
                    <a:pos x="8" y="48"/>
                  </a:cxn>
                  <a:cxn ang="0">
                    <a:pos x="3" y="43"/>
                  </a:cxn>
                  <a:cxn ang="0">
                    <a:pos x="6" y="32"/>
                  </a:cxn>
                  <a:cxn ang="0">
                    <a:pos x="7" y="24"/>
                  </a:cxn>
                  <a:cxn ang="0">
                    <a:pos x="9" y="16"/>
                  </a:cxn>
                  <a:cxn ang="0">
                    <a:pos x="13" y="12"/>
                  </a:cxn>
                  <a:cxn ang="0">
                    <a:pos x="10" y="19"/>
                  </a:cxn>
                  <a:cxn ang="0">
                    <a:pos x="17" y="22"/>
                  </a:cxn>
                  <a:cxn ang="0">
                    <a:pos x="27" y="23"/>
                  </a:cxn>
                  <a:cxn ang="0">
                    <a:pos x="32" y="25"/>
                  </a:cxn>
                  <a:cxn ang="0">
                    <a:pos x="38" y="22"/>
                  </a:cxn>
                  <a:cxn ang="0">
                    <a:pos x="47" y="14"/>
                  </a:cxn>
                  <a:cxn ang="0">
                    <a:pos x="52" y="10"/>
                  </a:cxn>
                  <a:cxn ang="0">
                    <a:pos x="56" y="2"/>
                  </a:cxn>
                </a:cxnLst>
                <a:rect l="0" t="0" r="r" b="b"/>
                <a:pathLst>
                  <a:path w="87" h="179">
                    <a:moveTo>
                      <a:pt x="67" y="5"/>
                    </a:moveTo>
                    <a:cubicBezTo>
                      <a:pt x="67" y="6"/>
                      <a:pt x="68" y="8"/>
                      <a:pt x="69" y="8"/>
                    </a:cubicBezTo>
                    <a:cubicBezTo>
                      <a:pt x="71" y="9"/>
                      <a:pt x="73" y="9"/>
                      <a:pt x="73" y="11"/>
                    </a:cubicBezTo>
                    <a:cubicBezTo>
                      <a:pt x="74" y="12"/>
                      <a:pt x="73" y="13"/>
                      <a:pt x="74" y="14"/>
                    </a:cubicBezTo>
                    <a:cubicBezTo>
                      <a:pt x="74" y="15"/>
                      <a:pt x="75" y="14"/>
                      <a:pt x="76" y="15"/>
                    </a:cubicBezTo>
                    <a:cubicBezTo>
                      <a:pt x="77" y="16"/>
                      <a:pt x="77" y="19"/>
                      <a:pt x="77" y="21"/>
                    </a:cubicBezTo>
                    <a:cubicBezTo>
                      <a:pt x="77" y="22"/>
                      <a:pt x="77" y="23"/>
                      <a:pt x="76" y="25"/>
                    </a:cubicBezTo>
                    <a:cubicBezTo>
                      <a:pt x="76" y="26"/>
                      <a:pt x="76" y="27"/>
                      <a:pt x="77" y="28"/>
                    </a:cubicBezTo>
                    <a:cubicBezTo>
                      <a:pt x="79" y="30"/>
                      <a:pt x="81" y="29"/>
                      <a:pt x="83" y="30"/>
                    </a:cubicBezTo>
                    <a:cubicBezTo>
                      <a:pt x="85" y="31"/>
                      <a:pt x="85" y="32"/>
                      <a:pt x="85" y="34"/>
                    </a:cubicBezTo>
                    <a:cubicBezTo>
                      <a:pt x="85" y="37"/>
                      <a:pt x="87" y="40"/>
                      <a:pt x="87" y="43"/>
                    </a:cubicBezTo>
                    <a:cubicBezTo>
                      <a:pt x="87" y="44"/>
                      <a:pt x="87" y="45"/>
                      <a:pt x="87" y="46"/>
                    </a:cubicBezTo>
                    <a:cubicBezTo>
                      <a:pt x="87" y="48"/>
                      <a:pt x="86" y="49"/>
                      <a:pt x="86" y="50"/>
                    </a:cubicBezTo>
                    <a:cubicBezTo>
                      <a:pt x="86" y="52"/>
                      <a:pt x="86" y="54"/>
                      <a:pt x="86" y="56"/>
                    </a:cubicBezTo>
                    <a:cubicBezTo>
                      <a:pt x="86" y="58"/>
                      <a:pt x="86" y="60"/>
                      <a:pt x="86" y="62"/>
                    </a:cubicBezTo>
                    <a:cubicBezTo>
                      <a:pt x="85" y="63"/>
                      <a:pt x="85" y="64"/>
                      <a:pt x="85" y="65"/>
                    </a:cubicBezTo>
                    <a:cubicBezTo>
                      <a:pt x="85" y="66"/>
                      <a:pt x="85" y="67"/>
                      <a:pt x="85" y="68"/>
                    </a:cubicBezTo>
                    <a:cubicBezTo>
                      <a:pt x="84" y="69"/>
                      <a:pt x="83" y="71"/>
                      <a:pt x="83" y="72"/>
                    </a:cubicBezTo>
                    <a:cubicBezTo>
                      <a:pt x="82" y="73"/>
                      <a:pt x="81" y="74"/>
                      <a:pt x="81" y="74"/>
                    </a:cubicBezTo>
                    <a:cubicBezTo>
                      <a:pt x="79" y="75"/>
                      <a:pt x="77" y="74"/>
                      <a:pt x="77" y="76"/>
                    </a:cubicBezTo>
                    <a:cubicBezTo>
                      <a:pt x="76" y="76"/>
                      <a:pt x="77" y="77"/>
                      <a:pt x="76" y="78"/>
                    </a:cubicBezTo>
                    <a:cubicBezTo>
                      <a:pt x="76" y="79"/>
                      <a:pt x="76" y="79"/>
                      <a:pt x="75" y="80"/>
                    </a:cubicBezTo>
                    <a:cubicBezTo>
                      <a:pt x="75" y="81"/>
                      <a:pt x="75" y="84"/>
                      <a:pt x="76" y="86"/>
                    </a:cubicBezTo>
                    <a:cubicBezTo>
                      <a:pt x="77" y="87"/>
                      <a:pt x="78" y="88"/>
                      <a:pt x="79" y="90"/>
                    </a:cubicBezTo>
                    <a:cubicBezTo>
                      <a:pt x="79" y="91"/>
                      <a:pt x="80" y="92"/>
                      <a:pt x="80" y="94"/>
                    </a:cubicBezTo>
                    <a:cubicBezTo>
                      <a:pt x="79" y="101"/>
                      <a:pt x="77" y="107"/>
                      <a:pt x="76" y="114"/>
                    </a:cubicBezTo>
                    <a:cubicBezTo>
                      <a:pt x="76" y="117"/>
                      <a:pt x="76" y="119"/>
                      <a:pt x="76" y="122"/>
                    </a:cubicBezTo>
                    <a:cubicBezTo>
                      <a:pt x="76" y="123"/>
                      <a:pt x="76" y="125"/>
                      <a:pt x="75" y="126"/>
                    </a:cubicBezTo>
                    <a:cubicBezTo>
                      <a:pt x="75" y="128"/>
                      <a:pt x="75" y="129"/>
                      <a:pt x="75" y="130"/>
                    </a:cubicBezTo>
                    <a:cubicBezTo>
                      <a:pt x="75" y="131"/>
                      <a:pt x="74" y="131"/>
                      <a:pt x="74" y="132"/>
                    </a:cubicBezTo>
                    <a:cubicBezTo>
                      <a:pt x="74" y="133"/>
                      <a:pt x="74" y="134"/>
                      <a:pt x="73" y="135"/>
                    </a:cubicBezTo>
                    <a:cubicBezTo>
                      <a:pt x="73" y="136"/>
                      <a:pt x="73" y="137"/>
                      <a:pt x="73" y="138"/>
                    </a:cubicBezTo>
                    <a:cubicBezTo>
                      <a:pt x="72" y="140"/>
                      <a:pt x="73" y="142"/>
                      <a:pt x="72" y="143"/>
                    </a:cubicBezTo>
                    <a:cubicBezTo>
                      <a:pt x="72" y="144"/>
                      <a:pt x="72" y="145"/>
                      <a:pt x="72" y="145"/>
                    </a:cubicBezTo>
                    <a:cubicBezTo>
                      <a:pt x="71" y="147"/>
                      <a:pt x="71" y="148"/>
                      <a:pt x="71" y="150"/>
                    </a:cubicBezTo>
                    <a:cubicBezTo>
                      <a:pt x="71" y="151"/>
                      <a:pt x="70" y="151"/>
                      <a:pt x="70" y="152"/>
                    </a:cubicBezTo>
                    <a:cubicBezTo>
                      <a:pt x="70" y="152"/>
                      <a:pt x="69" y="152"/>
                      <a:pt x="69" y="153"/>
                    </a:cubicBezTo>
                    <a:cubicBezTo>
                      <a:pt x="69" y="153"/>
                      <a:pt x="69" y="153"/>
                      <a:pt x="69" y="153"/>
                    </a:cubicBezTo>
                    <a:cubicBezTo>
                      <a:pt x="68" y="155"/>
                      <a:pt x="68" y="156"/>
                      <a:pt x="68" y="158"/>
                    </a:cubicBezTo>
                    <a:cubicBezTo>
                      <a:pt x="68" y="158"/>
                      <a:pt x="68" y="161"/>
                      <a:pt x="68" y="162"/>
                    </a:cubicBezTo>
                    <a:cubicBezTo>
                      <a:pt x="67" y="162"/>
                      <a:pt x="67" y="161"/>
                      <a:pt x="66" y="161"/>
                    </a:cubicBezTo>
                    <a:cubicBezTo>
                      <a:pt x="65" y="161"/>
                      <a:pt x="65" y="162"/>
                      <a:pt x="64" y="162"/>
                    </a:cubicBezTo>
                    <a:cubicBezTo>
                      <a:pt x="63" y="163"/>
                      <a:pt x="61" y="163"/>
                      <a:pt x="60" y="161"/>
                    </a:cubicBezTo>
                    <a:cubicBezTo>
                      <a:pt x="59" y="159"/>
                      <a:pt x="59" y="158"/>
                      <a:pt x="57" y="156"/>
                    </a:cubicBezTo>
                    <a:cubicBezTo>
                      <a:pt x="57" y="155"/>
                      <a:pt x="57" y="155"/>
                      <a:pt x="55" y="155"/>
                    </a:cubicBezTo>
                    <a:cubicBezTo>
                      <a:pt x="55" y="154"/>
                      <a:pt x="54" y="155"/>
                      <a:pt x="53" y="155"/>
                    </a:cubicBezTo>
                    <a:cubicBezTo>
                      <a:pt x="49" y="154"/>
                      <a:pt x="47" y="152"/>
                      <a:pt x="44" y="150"/>
                    </a:cubicBezTo>
                    <a:cubicBezTo>
                      <a:pt x="44" y="150"/>
                      <a:pt x="41" y="149"/>
                      <a:pt x="40" y="150"/>
                    </a:cubicBezTo>
                    <a:cubicBezTo>
                      <a:pt x="39" y="152"/>
                      <a:pt x="42" y="153"/>
                      <a:pt x="42" y="154"/>
                    </a:cubicBezTo>
                    <a:cubicBezTo>
                      <a:pt x="43" y="155"/>
                      <a:pt x="42" y="156"/>
                      <a:pt x="41" y="157"/>
                    </a:cubicBezTo>
                    <a:cubicBezTo>
                      <a:pt x="39" y="160"/>
                      <a:pt x="41" y="162"/>
                      <a:pt x="41" y="166"/>
                    </a:cubicBezTo>
                    <a:cubicBezTo>
                      <a:pt x="41" y="170"/>
                      <a:pt x="38" y="173"/>
                      <a:pt x="34" y="175"/>
                    </a:cubicBezTo>
                    <a:cubicBezTo>
                      <a:pt x="31" y="176"/>
                      <a:pt x="28" y="176"/>
                      <a:pt x="25" y="177"/>
                    </a:cubicBezTo>
                    <a:cubicBezTo>
                      <a:pt x="24" y="177"/>
                      <a:pt x="23" y="178"/>
                      <a:pt x="21" y="178"/>
                    </a:cubicBezTo>
                    <a:cubicBezTo>
                      <a:pt x="21" y="178"/>
                      <a:pt x="20" y="177"/>
                      <a:pt x="19" y="178"/>
                    </a:cubicBezTo>
                    <a:cubicBezTo>
                      <a:pt x="18" y="178"/>
                      <a:pt x="18" y="179"/>
                      <a:pt x="17" y="179"/>
                    </a:cubicBezTo>
                    <a:cubicBezTo>
                      <a:pt x="16" y="176"/>
                      <a:pt x="16" y="173"/>
                      <a:pt x="15" y="170"/>
                    </a:cubicBezTo>
                    <a:cubicBezTo>
                      <a:pt x="15" y="168"/>
                      <a:pt x="15" y="167"/>
                      <a:pt x="14" y="165"/>
                    </a:cubicBezTo>
                    <a:cubicBezTo>
                      <a:pt x="13" y="163"/>
                      <a:pt x="11" y="161"/>
                      <a:pt x="10" y="158"/>
                    </a:cubicBezTo>
                    <a:cubicBezTo>
                      <a:pt x="10" y="157"/>
                      <a:pt x="9" y="157"/>
                      <a:pt x="8" y="155"/>
                    </a:cubicBezTo>
                    <a:cubicBezTo>
                      <a:pt x="7" y="154"/>
                      <a:pt x="6" y="154"/>
                      <a:pt x="5" y="153"/>
                    </a:cubicBezTo>
                    <a:cubicBezTo>
                      <a:pt x="4" y="152"/>
                      <a:pt x="5" y="152"/>
                      <a:pt x="6" y="151"/>
                    </a:cubicBezTo>
                    <a:cubicBezTo>
                      <a:pt x="8" y="149"/>
                      <a:pt x="9" y="144"/>
                      <a:pt x="9" y="141"/>
                    </a:cubicBezTo>
                    <a:cubicBezTo>
                      <a:pt x="9" y="140"/>
                      <a:pt x="8" y="139"/>
                      <a:pt x="9" y="138"/>
                    </a:cubicBezTo>
                    <a:cubicBezTo>
                      <a:pt x="9" y="137"/>
                      <a:pt x="9" y="137"/>
                      <a:pt x="10" y="137"/>
                    </a:cubicBezTo>
                    <a:cubicBezTo>
                      <a:pt x="12" y="135"/>
                      <a:pt x="13" y="133"/>
                      <a:pt x="14" y="131"/>
                    </a:cubicBezTo>
                    <a:cubicBezTo>
                      <a:pt x="14" y="129"/>
                      <a:pt x="15" y="126"/>
                      <a:pt x="14" y="124"/>
                    </a:cubicBezTo>
                    <a:cubicBezTo>
                      <a:pt x="14" y="123"/>
                      <a:pt x="13" y="122"/>
                      <a:pt x="12" y="120"/>
                    </a:cubicBezTo>
                    <a:cubicBezTo>
                      <a:pt x="12" y="117"/>
                      <a:pt x="15" y="116"/>
                      <a:pt x="15" y="113"/>
                    </a:cubicBezTo>
                    <a:cubicBezTo>
                      <a:pt x="15" y="114"/>
                      <a:pt x="16" y="116"/>
                      <a:pt x="17" y="116"/>
                    </a:cubicBezTo>
                    <a:cubicBezTo>
                      <a:pt x="17" y="115"/>
                      <a:pt x="17" y="115"/>
                      <a:pt x="18" y="114"/>
                    </a:cubicBezTo>
                    <a:cubicBezTo>
                      <a:pt x="19" y="112"/>
                      <a:pt x="19" y="111"/>
                      <a:pt x="19" y="110"/>
                    </a:cubicBezTo>
                    <a:cubicBezTo>
                      <a:pt x="20" y="108"/>
                      <a:pt x="24" y="106"/>
                      <a:pt x="22" y="104"/>
                    </a:cubicBezTo>
                    <a:cubicBezTo>
                      <a:pt x="21" y="104"/>
                      <a:pt x="19" y="104"/>
                      <a:pt x="18" y="104"/>
                    </a:cubicBezTo>
                    <a:cubicBezTo>
                      <a:pt x="16" y="104"/>
                      <a:pt x="17" y="103"/>
                      <a:pt x="16" y="102"/>
                    </a:cubicBezTo>
                    <a:cubicBezTo>
                      <a:pt x="15" y="100"/>
                      <a:pt x="15" y="101"/>
                      <a:pt x="13" y="102"/>
                    </a:cubicBezTo>
                    <a:cubicBezTo>
                      <a:pt x="13" y="102"/>
                      <a:pt x="12" y="102"/>
                      <a:pt x="12" y="103"/>
                    </a:cubicBezTo>
                    <a:cubicBezTo>
                      <a:pt x="11" y="103"/>
                      <a:pt x="11" y="104"/>
                      <a:pt x="10" y="105"/>
                    </a:cubicBezTo>
                    <a:cubicBezTo>
                      <a:pt x="9" y="105"/>
                      <a:pt x="9" y="104"/>
                      <a:pt x="9" y="103"/>
                    </a:cubicBezTo>
                    <a:cubicBezTo>
                      <a:pt x="10" y="101"/>
                      <a:pt x="11" y="100"/>
                      <a:pt x="11" y="98"/>
                    </a:cubicBezTo>
                    <a:cubicBezTo>
                      <a:pt x="11" y="97"/>
                      <a:pt x="11" y="94"/>
                      <a:pt x="12" y="93"/>
                    </a:cubicBezTo>
                    <a:cubicBezTo>
                      <a:pt x="13" y="91"/>
                      <a:pt x="13" y="90"/>
                      <a:pt x="13" y="88"/>
                    </a:cubicBezTo>
                    <a:cubicBezTo>
                      <a:pt x="15" y="87"/>
                      <a:pt x="20" y="89"/>
                      <a:pt x="21" y="87"/>
                    </a:cubicBezTo>
                    <a:cubicBezTo>
                      <a:pt x="22" y="85"/>
                      <a:pt x="18" y="85"/>
                      <a:pt x="17" y="85"/>
                    </a:cubicBezTo>
                    <a:cubicBezTo>
                      <a:pt x="16" y="82"/>
                      <a:pt x="17" y="78"/>
                      <a:pt x="17" y="74"/>
                    </a:cubicBezTo>
                    <a:cubicBezTo>
                      <a:pt x="17" y="73"/>
                      <a:pt x="17" y="69"/>
                      <a:pt x="17" y="68"/>
                    </a:cubicBezTo>
                    <a:cubicBezTo>
                      <a:pt x="16" y="67"/>
                      <a:pt x="14" y="66"/>
                      <a:pt x="13" y="66"/>
                    </a:cubicBezTo>
                    <a:cubicBezTo>
                      <a:pt x="12" y="63"/>
                      <a:pt x="13" y="61"/>
                      <a:pt x="12" y="58"/>
                    </a:cubicBezTo>
                    <a:cubicBezTo>
                      <a:pt x="12" y="56"/>
                      <a:pt x="12" y="55"/>
                      <a:pt x="11" y="53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0" y="51"/>
                      <a:pt x="9" y="51"/>
                      <a:pt x="9" y="50"/>
                    </a:cubicBezTo>
                    <a:cubicBezTo>
                      <a:pt x="8" y="49"/>
                      <a:pt x="8" y="48"/>
                      <a:pt x="8" y="48"/>
                    </a:cubicBezTo>
                    <a:cubicBezTo>
                      <a:pt x="7" y="46"/>
                      <a:pt x="7" y="47"/>
                      <a:pt x="5" y="47"/>
                    </a:cubicBezTo>
                    <a:cubicBezTo>
                      <a:pt x="3" y="46"/>
                      <a:pt x="0" y="45"/>
                      <a:pt x="3" y="43"/>
                    </a:cubicBezTo>
                    <a:cubicBezTo>
                      <a:pt x="4" y="41"/>
                      <a:pt x="5" y="41"/>
                      <a:pt x="5" y="39"/>
                    </a:cubicBezTo>
                    <a:cubicBezTo>
                      <a:pt x="5" y="36"/>
                      <a:pt x="5" y="34"/>
                      <a:pt x="6" y="32"/>
                    </a:cubicBezTo>
                    <a:cubicBezTo>
                      <a:pt x="6" y="30"/>
                      <a:pt x="5" y="28"/>
                      <a:pt x="6" y="27"/>
                    </a:cubicBezTo>
                    <a:cubicBezTo>
                      <a:pt x="6" y="26"/>
                      <a:pt x="7" y="25"/>
                      <a:pt x="7" y="24"/>
                    </a:cubicBezTo>
                    <a:cubicBezTo>
                      <a:pt x="8" y="23"/>
                      <a:pt x="8" y="21"/>
                      <a:pt x="8" y="20"/>
                    </a:cubicBezTo>
                    <a:cubicBezTo>
                      <a:pt x="9" y="19"/>
                      <a:pt x="9" y="17"/>
                      <a:pt x="9" y="16"/>
                    </a:cubicBezTo>
                    <a:cubicBezTo>
                      <a:pt x="9" y="14"/>
                      <a:pt x="9" y="13"/>
                      <a:pt x="11" y="12"/>
                    </a:cubicBezTo>
                    <a:cubicBezTo>
                      <a:pt x="11" y="12"/>
                      <a:pt x="12" y="11"/>
                      <a:pt x="13" y="12"/>
                    </a:cubicBezTo>
                    <a:cubicBezTo>
                      <a:pt x="13" y="13"/>
                      <a:pt x="11" y="15"/>
                      <a:pt x="11" y="15"/>
                    </a:cubicBezTo>
                    <a:cubicBezTo>
                      <a:pt x="9" y="17"/>
                      <a:pt x="10" y="17"/>
                      <a:pt x="10" y="19"/>
                    </a:cubicBezTo>
                    <a:cubicBezTo>
                      <a:pt x="10" y="21"/>
                      <a:pt x="10" y="20"/>
                      <a:pt x="11" y="21"/>
                    </a:cubicBezTo>
                    <a:cubicBezTo>
                      <a:pt x="13" y="22"/>
                      <a:pt x="15" y="22"/>
                      <a:pt x="17" y="22"/>
                    </a:cubicBezTo>
                    <a:cubicBezTo>
                      <a:pt x="19" y="22"/>
                      <a:pt x="21" y="21"/>
                      <a:pt x="24" y="21"/>
                    </a:cubicBezTo>
                    <a:cubicBezTo>
                      <a:pt x="25" y="22"/>
                      <a:pt x="26" y="23"/>
                      <a:pt x="27" y="23"/>
                    </a:cubicBezTo>
                    <a:cubicBezTo>
                      <a:pt x="27" y="23"/>
                      <a:pt x="28" y="23"/>
                      <a:pt x="29" y="23"/>
                    </a:cubicBezTo>
                    <a:cubicBezTo>
                      <a:pt x="29" y="24"/>
                      <a:pt x="31" y="25"/>
                      <a:pt x="32" y="25"/>
                    </a:cubicBezTo>
                    <a:cubicBezTo>
                      <a:pt x="32" y="25"/>
                      <a:pt x="33" y="24"/>
                      <a:pt x="34" y="23"/>
                    </a:cubicBezTo>
                    <a:cubicBezTo>
                      <a:pt x="35" y="22"/>
                      <a:pt x="36" y="22"/>
                      <a:pt x="38" y="22"/>
                    </a:cubicBezTo>
                    <a:cubicBezTo>
                      <a:pt x="41" y="21"/>
                      <a:pt x="40" y="18"/>
                      <a:pt x="42" y="16"/>
                    </a:cubicBezTo>
                    <a:cubicBezTo>
                      <a:pt x="44" y="14"/>
                      <a:pt x="45" y="14"/>
                      <a:pt x="47" y="14"/>
                    </a:cubicBezTo>
                    <a:cubicBezTo>
                      <a:pt x="48" y="13"/>
                      <a:pt x="49" y="12"/>
                      <a:pt x="50" y="11"/>
                    </a:cubicBezTo>
                    <a:cubicBezTo>
                      <a:pt x="51" y="11"/>
                      <a:pt x="52" y="10"/>
                      <a:pt x="52" y="10"/>
                    </a:cubicBezTo>
                    <a:cubicBezTo>
                      <a:pt x="53" y="9"/>
                      <a:pt x="53" y="8"/>
                      <a:pt x="53" y="7"/>
                    </a:cubicBezTo>
                    <a:cubicBezTo>
                      <a:pt x="53" y="4"/>
                      <a:pt x="54" y="3"/>
                      <a:pt x="56" y="2"/>
                    </a:cubicBezTo>
                    <a:cubicBezTo>
                      <a:pt x="59" y="0"/>
                      <a:pt x="65" y="1"/>
                      <a:pt x="67" y="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72" name="Freeform 21">
                <a:extLst>
                  <a:ext uri="{FF2B5EF4-FFF2-40B4-BE49-F238E27FC236}">
                    <a16:creationId xmlns:a16="http://schemas.microsoft.com/office/drawing/2014/main" id="{E01A746C-202F-4A73-97B5-F0C126A66F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9500" y="3751263"/>
                <a:ext cx="1041400" cy="944563"/>
              </a:xfrm>
              <a:custGeom>
                <a:avLst/>
                <a:gdLst/>
                <a:ahLst/>
                <a:cxnLst>
                  <a:cxn ang="0">
                    <a:pos x="549" y="385"/>
                  </a:cxn>
                  <a:cxn ang="0">
                    <a:pos x="543" y="329"/>
                  </a:cxn>
                  <a:cxn ang="0">
                    <a:pos x="531" y="290"/>
                  </a:cxn>
                  <a:cxn ang="0">
                    <a:pos x="533" y="257"/>
                  </a:cxn>
                  <a:cxn ang="0">
                    <a:pos x="522" y="235"/>
                  </a:cxn>
                  <a:cxn ang="0">
                    <a:pos x="532" y="203"/>
                  </a:cxn>
                  <a:cxn ang="0">
                    <a:pos x="552" y="184"/>
                  </a:cxn>
                  <a:cxn ang="0">
                    <a:pos x="546" y="161"/>
                  </a:cxn>
                  <a:cxn ang="0">
                    <a:pos x="524" y="97"/>
                  </a:cxn>
                  <a:cxn ang="0">
                    <a:pos x="518" y="61"/>
                  </a:cxn>
                  <a:cxn ang="0">
                    <a:pos x="473" y="42"/>
                  </a:cxn>
                  <a:cxn ang="0">
                    <a:pos x="315" y="39"/>
                  </a:cxn>
                  <a:cxn ang="0">
                    <a:pos x="293" y="41"/>
                  </a:cxn>
                  <a:cxn ang="0">
                    <a:pos x="243" y="1"/>
                  </a:cxn>
                  <a:cxn ang="0">
                    <a:pos x="187" y="10"/>
                  </a:cxn>
                  <a:cxn ang="0">
                    <a:pos x="156" y="17"/>
                  </a:cxn>
                  <a:cxn ang="0">
                    <a:pos x="114" y="50"/>
                  </a:cxn>
                  <a:cxn ang="0">
                    <a:pos x="77" y="63"/>
                  </a:cxn>
                  <a:cxn ang="0">
                    <a:pos x="36" y="71"/>
                  </a:cxn>
                  <a:cxn ang="0">
                    <a:pos x="14" y="81"/>
                  </a:cxn>
                  <a:cxn ang="0">
                    <a:pos x="16" y="93"/>
                  </a:cxn>
                  <a:cxn ang="0">
                    <a:pos x="33" y="138"/>
                  </a:cxn>
                  <a:cxn ang="0">
                    <a:pos x="16" y="170"/>
                  </a:cxn>
                  <a:cxn ang="0">
                    <a:pos x="31" y="187"/>
                  </a:cxn>
                  <a:cxn ang="0">
                    <a:pos x="37" y="212"/>
                  </a:cxn>
                  <a:cxn ang="0">
                    <a:pos x="43" y="231"/>
                  </a:cxn>
                  <a:cxn ang="0">
                    <a:pos x="38" y="260"/>
                  </a:cxn>
                  <a:cxn ang="0">
                    <a:pos x="44" y="276"/>
                  </a:cxn>
                  <a:cxn ang="0">
                    <a:pos x="47" y="292"/>
                  </a:cxn>
                  <a:cxn ang="0">
                    <a:pos x="60" y="310"/>
                  </a:cxn>
                  <a:cxn ang="0">
                    <a:pos x="61" y="338"/>
                  </a:cxn>
                  <a:cxn ang="0">
                    <a:pos x="88" y="356"/>
                  </a:cxn>
                  <a:cxn ang="0">
                    <a:pos x="118" y="367"/>
                  </a:cxn>
                  <a:cxn ang="0">
                    <a:pos x="138" y="375"/>
                  </a:cxn>
                  <a:cxn ang="0">
                    <a:pos x="140" y="398"/>
                  </a:cxn>
                  <a:cxn ang="0">
                    <a:pos x="157" y="412"/>
                  </a:cxn>
                  <a:cxn ang="0">
                    <a:pos x="167" y="393"/>
                  </a:cxn>
                  <a:cxn ang="0">
                    <a:pos x="191" y="400"/>
                  </a:cxn>
                  <a:cxn ang="0">
                    <a:pos x="208" y="414"/>
                  </a:cxn>
                  <a:cxn ang="0">
                    <a:pos x="231" y="426"/>
                  </a:cxn>
                  <a:cxn ang="0">
                    <a:pos x="269" y="455"/>
                  </a:cxn>
                  <a:cxn ang="0">
                    <a:pos x="286" y="475"/>
                  </a:cxn>
                  <a:cxn ang="0">
                    <a:pos x="308" y="466"/>
                  </a:cxn>
                  <a:cxn ang="0">
                    <a:pos x="321" y="487"/>
                  </a:cxn>
                  <a:cxn ang="0">
                    <a:pos x="338" y="483"/>
                  </a:cxn>
                  <a:cxn ang="0">
                    <a:pos x="376" y="480"/>
                  </a:cxn>
                  <a:cxn ang="0">
                    <a:pos x="393" y="473"/>
                  </a:cxn>
                  <a:cxn ang="0">
                    <a:pos x="427" y="479"/>
                  </a:cxn>
                  <a:cxn ang="0">
                    <a:pos x="445" y="490"/>
                  </a:cxn>
                  <a:cxn ang="0">
                    <a:pos x="477" y="503"/>
                  </a:cxn>
                  <a:cxn ang="0">
                    <a:pos x="477" y="486"/>
                  </a:cxn>
                  <a:cxn ang="0">
                    <a:pos x="474" y="462"/>
                  </a:cxn>
                  <a:cxn ang="0">
                    <a:pos x="500" y="424"/>
                  </a:cxn>
                  <a:cxn ang="0">
                    <a:pos x="551" y="390"/>
                  </a:cxn>
                  <a:cxn ang="0">
                    <a:pos x="545" y="359"/>
                  </a:cxn>
                </a:cxnLst>
                <a:rect l="0" t="0" r="r" b="b"/>
                <a:pathLst>
                  <a:path w="557" h="505">
                    <a:moveTo>
                      <a:pt x="552" y="381"/>
                    </a:moveTo>
                    <a:cubicBezTo>
                      <a:pt x="552" y="381"/>
                      <a:pt x="552" y="382"/>
                      <a:pt x="552" y="382"/>
                    </a:cubicBezTo>
                    <a:cubicBezTo>
                      <a:pt x="552" y="382"/>
                      <a:pt x="552" y="381"/>
                      <a:pt x="552" y="381"/>
                    </a:cubicBezTo>
                    <a:moveTo>
                      <a:pt x="549" y="385"/>
                    </a:moveTo>
                    <a:cubicBezTo>
                      <a:pt x="550" y="385"/>
                      <a:pt x="550" y="385"/>
                      <a:pt x="550" y="385"/>
                    </a:cubicBezTo>
                    <a:cubicBezTo>
                      <a:pt x="550" y="385"/>
                      <a:pt x="550" y="385"/>
                      <a:pt x="550" y="385"/>
                    </a:cubicBezTo>
                    <a:lnTo>
                      <a:pt x="549" y="385"/>
                    </a:lnTo>
                    <a:close/>
                    <a:moveTo>
                      <a:pt x="557" y="352"/>
                    </a:moveTo>
                    <a:cubicBezTo>
                      <a:pt x="556" y="350"/>
                      <a:pt x="556" y="351"/>
                      <a:pt x="555" y="350"/>
                    </a:cubicBezTo>
                    <a:cubicBezTo>
                      <a:pt x="554" y="348"/>
                      <a:pt x="554" y="346"/>
                      <a:pt x="554" y="344"/>
                    </a:cubicBezTo>
                    <a:cubicBezTo>
                      <a:pt x="552" y="342"/>
                      <a:pt x="550" y="339"/>
                      <a:pt x="548" y="336"/>
                    </a:cubicBezTo>
                    <a:cubicBezTo>
                      <a:pt x="548" y="335"/>
                      <a:pt x="547" y="332"/>
                      <a:pt x="546" y="331"/>
                    </a:cubicBezTo>
                    <a:cubicBezTo>
                      <a:pt x="546" y="331"/>
                      <a:pt x="545" y="331"/>
                      <a:pt x="544" y="331"/>
                    </a:cubicBezTo>
                    <a:cubicBezTo>
                      <a:pt x="543" y="331"/>
                      <a:pt x="543" y="330"/>
                      <a:pt x="543" y="329"/>
                    </a:cubicBezTo>
                    <a:cubicBezTo>
                      <a:pt x="543" y="329"/>
                      <a:pt x="543" y="328"/>
                      <a:pt x="543" y="328"/>
                    </a:cubicBezTo>
                    <a:cubicBezTo>
                      <a:pt x="542" y="327"/>
                      <a:pt x="542" y="327"/>
                      <a:pt x="542" y="326"/>
                    </a:cubicBezTo>
                    <a:cubicBezTo>
                      <a:pt x="541" y="324"/>
                      <a:pt x="540" y="323"/>
                      <a:pt x="540" y="321"/>
                    </a:cubicBezTo>
                    <a:cubicBezTo>
                      <a:pt x="538" y="317"/>
                      <a:pt x="536" y="314"/>
                      <a:pt x="535" y="310"/>
                    </a:cubicBezTo>
                    <a:cubicBezTo>
                      <a:pt x="534" y="307"/>
                      <a:pt x="533" y="304"/>
                      <a:pt x="533" y="301"/>
                    </a:cubicBezTo>
                    <a:cubicBezTo>
                      <a:pt x="533" y="299"/>
                      <a:pt x="533" y="298"/>
                      <a:pt x="533" y="296"/>
                    </a:cubicBezTo>
                    <a:cubicBezTo>
                      <a:pt x="532" y="294"/>
                      <a:pt x="532" y="291"/>
                      <a:pt x="531" y="290"/>
                    </a:cubicBezTo>
                    <a:cubicBezTo>
                      <a:pt x="530" y="288"/>
                      <a:pt x="529" y="290"/>
                      <a:pt x="527" y="289"/>
                    </a:cubicBezTo>
                    <a:cubicBezTo>
                      <a:pt x="524" y="288"/>
                      <a:pt x="525" y="285"/>
                      <a:pt x="525" y="282"/>
                    </a:cubicBezTo>
                    <a:cubicBezTo>
                      <a:pt x="525" y="280"/>
                      <a:pt x="525" y="278"/>
                      <a:pt x="525" y="276"/>
                    </a:cubicBezTo>
                    <a:cubicBezTo>
                      <a:pt x="526" y="274"/>
                      <a:pt x="527" y="274"/>
                      <a:pt x="528" y="272"/>
                    </a:cubicBezTo>
                    <a:cubicBezTo>
                      <a:pt x="528" y="271"/>
                      <a:pt x="528" y="269"/>
                      <a:pt x="528" y="268"/>
                    </a:cubicBezTo>
                    <a:cubicBezTo>
                      <a:pt x="529" y="266"/>
                      <a:pt x="529" y="266"/>
                      <a:pt x="530" y="264"/>
                    </a:cubicBezTo>
                    <a:cubicBezTo>
                      <a:pt x="531" y="262"/>
                      <a:pt x="532" y="260"/>
                      <a:pt x="533" y="257"/>
                    </a:cubicBezTo>
                    <a:cubicBezTo>
                      <a:pt x="533" y="255"/>
                      <a:pt x="532" y="254"/>
                      <a:pt x="534" y="253"/>
                    </a:cubicBezTo>
                    <a:cubicBezTo>
                      <a:pt x="534" y="252"/>
                      <a:pt x="535" y="253"/>
                      <a:pt x="535" y="252"/>
                    </a:cubicBezTo>
                    <a:cubicBezTo>
                      <a:pt x="535" y="251"/>
                      <a:pt x="535" y="249"/>
                      <a:pt x="535" y="249"/>
                    </a:cubicBezTo>
                    <a:cubicBezTo>
                      <a:pt x="535" y="247"/>
                      <a:pt x="534" y="247"/>
                      <a:pt x="533" y="245"/>
                    </a:cubicBezTo>
                    <a:cubicBezTo>
                      <a:pt x="532" y="244"/>
                      <a:pt x="531" y="243"/>
                      <a:pt x="530" y="242"/>
                    </a:cubicBezTo>
                    <a:cubicBezTo>
                      <a:pt x="528" y="240"/>
                      <a:pt x="528" y="240"/>
                      <a:pt x="526" y="240"/>
                    </a:cubicBezTo>
                    <a:cubicBezTo>
                      <a:pt x="524" y="239"/>
                      <a:pt x="523" y="237"/>
                      <a:pt x="522" y="235"/>
                    </a:cubicBezTo>
                    <a:cubicBezTo>
                      <a:pt x="520" y="232"/>
                      <a:pt x="520" y="231"/>
                      <a:pt x="516" y="232"/>
                    </a:cubicBezTo>
                    <a:cubicBezTo>
                      <a:pt x="512" y="232"/>
                      <a:pt x="513" y="227"/>
                      <a:pt x="514" y="224"/>
                    </a:cubicBezTo>
                    <a:cubicBezTo>
                      <a:pt x="515" y="223"/>
                      <a:pt x="515" y="221"/>
                      <a:pt x="515" y="219"/>
                    </a:cubicBezTo>
                    <a:cubicBezTo>
                      <a:pt x="516" y="218"/>
                      <a:pt x="518" y="217"/>
                      <a:pt x="520" y="216"/>
                    </a:cubicBezTo>
                    <a:cubicBezTo>
                      <a:pt x="523" y="214"/>
                      <a:pt x="526" y="213"/>
                      <a:pt x="528" y="210"/>
                    </a:cubicBezTo>
                    <a:cubicBezTo>
                      <a:pt x="530" y="209"/>
                      <a:pt x="529" y="210"/>
                      <a:pt x="530" y="208"/>
                    </a:cubicBezTo>
                    <a:cubicBezTo>
                      <a:pt x="531" y="206"/>
                      <a:pt x="531" y="205"/>
                      <a:pt x="532" y="203"/>
                    </a:cubicBezTo>
                    <a:cubicBezTo>
                      <a:pt x="532" y="203"/>
                      <a:pt x="532" y="201"/>
                      <a:pt x="533" y="201"/>
                    </a:cubicBezTo>
                    <a:cubicBezTo>
                      <a:pt x="533" y="200"/>
                      <a:pt x="534" y="200"/>
                      <a:pt x="535" y="199"/>
                    </a:cubicBezTo>
                    <a:cubicBezTo>
                      <a:pt x="536" y="198"/>
                      <a:pt x="537" y="197"/>
                      <a:pt x="539" y="196"/>
                    </a:cubicBezTo>
                    <a:cubicBezTo>
                      <a:pt x="542" y="195"/>
                      <a:pt x="544" y="196"/>
                      <a:pt x="547" y="196"/>
                    </a:cubicBezTo>
                    <a:cubicBezTo>
                      <a:pt x="550" y="195"/>
                      <a:pt x="549" y="195"/>
                      <a:pt x="550" y="193"/>
                    </a:cubicBezTo>
                    <a:cubicBezTo>
                      <a:pt x="551" y="192"/>
                      <a:pt x="552" y="190"/>
                      <a:pt x="552" y="188"/>
                    </a:cubicBezTo>
                    <a:cubicBezTo>
                      <a:pt x="552" y="187"/>
                      <a:pt x="552" y="185"/>
                      <a:pt x="552" y="184"/>
                    </a:cubicBezTo>
                    <a:cubicBezTo>
                      <a:pt x="553" y="183"/>
                      <a:pt x="554" y="182"/>
                      <a:pt x="554" y="181"/>
                    </a:cubicBezTo>
                    <a:cubicBezTo>
                      <a:pt x="555" y="179"/>
                      <a:pt x="555" y="178"/>
                      <a:pt x="555" y="176"/>
                    </a:cubicBezTo>
                    <a:cubicBezTo>
                      <a:pt x="555" y="174"/>
                      <a:pt x="555" y="172"/>
                      <a:pt x="555" y="170"/>
                    </a:cubicBezTo>
                    <a:cubicBezTo>
                      <a:pt x="555" y="168"/>
                      <a:pt x="556" y="164"/>
                      <a:pt x="552" y="165"/>
                    </a:cubicBezTo>
                    <a:cubicBezTo>
                      <a:pt x="551" y="165"/>
                      <a:pt x="551" y="167"/>
                      <a:pt x="550" y="166"/>
                    </a:cubicBezTo>
                    <a:cubicBezTo>
                      <a:pt x="549" y="166"/>
                      <a:pt x="549" y="165"/>
                      <a:pt x="548" y="165"/>
                    </a:cubicBezTo>
                    <a:cubicBezTo>
                      <a:pt x="547" y="163"/>
                      <a:pt x="547" y="163"/>
                      <a:pt x="546" y="161"/>
                    </a:cubicBezTo>
                    <a:cubicBezTo>
                      <a:pt x="546" y="159"/>
                      <a:pt x="547" y="156"/>
                      <a:pt x="547" y="154"/>
                    </a:cubicBezTo>
                    <a:cubicBezTo>
                      <a:pt x="546" y="153"/>
                      <a:pt x="545" y="153"/>
                      <a:pt x="545" y="151"/>
                    </a:cubicBezTo>
                    <a:cubicBezTo>
                      <a:pt x="543" y="149"/>
                      <a:pt x="542" y="145"/>
                      <a:pt x="540" y="142"/>
                    </a:cubicBezTo>
                    <a:cubicBezTo>
                      <a:pt x="538" y="136"/>
                      <a:pt x="537" y="131"/>
                      <a:pt x="534" y="125"/>
                    </a:cubicBezTo>
                    <a:cubicBezTo>
                      <a:pt x="532" y="120"/>
                      <a:pt x="529" y="116"/>
                      <a:pt x="527" y="111"/>
                    </a:cubicBezTo>
                    <a:cubicBezTo>
                      <a:pt x="526" y="108"/>
                      <a:pt x="523" y="106"/>
                      <a:pt x="523" y="102"/>
                    </a:cubicBezTo>
                    <a:cubicBezTo>
                      <a:pt x="523" y="99"/>
                      <a:pt x="523" y="99"/>
                      <a:pt x="524" y="97"/>
                    </a:cubicBezTo>
                    <a:cubicBezTo>
                      <a:pt x="525" y="95"/>
                      <a:pt x="526" y="94"/>
                      <a:pt x="526" y="92"/>
                    </a:cubicBezTo>
                    <a:cubicBezTo>
                      <a:pt x="525" y="88"/>
                      <a:pt x="521" y="85"/>
                      <a:pt x="521" y="81"/>
                    </a:cubicBezTo>
                    <a:cubicBezTo>
                      <a:pt x="520" y="80"/>
                      <a:pt x="521" y="78"/>
                      <a:pt x="521" y="77"/>
                    </a:cubicBezTo>
                    <a:cubicBezTo>
                      <a:pt x="521" y="77"/>
                      <a:pt x="520" y="76"/>
                      <a:pt x="521" y="75"/>
                    </a:cubicBezTo>
                    <a:cubicBezTo>
                      <a:pt x="521" y="74"/>
                      <a:pt x="522" y="75"/>
                      <a:pt x="522" y="74"/>
                    </a:cubicBezTo>
                    <a:cubicBezTo>
                      <a:pt x="523" y="72"/>
                      <a:pt x="523" y="67"/>
                      <a:pt x="522" y="65"/>
                    </a:cubicBezTo>
                    <a:cubicBezTo>
                      <a:pt x="521" y="63"/>
                      <a:pt x="519" y="62"/>
                      <a:pt x="518" y="61"/>
                    </a:cubicBezTo>
                    <a:cubicBezTo>
                      <a:pt x="518" y="60"/>
                      <a:pt x="516" y="59"/>
                      <a:pt x="516" y="57"/>
                    </a:cubicBezTo>
                    <a:cubicBezTo>
                      <a:pt x="516" y="56"/>
                      <a:pt x="516" y="55"/>
                      <a:pt x="516" y="54"/>
                    </a:cubicBezTo>
                    <a:cubicBezTo>
                      <a:pt x="515" y="54"/>
                      <a:pt x="513" y="52"/>
                      <a:pt x="512" y="51"/>
                    </a:cubicBezTo>
                    <a:cubicBezTo>
                      <a:pt x="508" y="49"/>
                      <a:pt x="504" y="50"/>
                      <a:pt x="500" y="49"/>
                    </a:cubicBezTo>
                    <a:cubicBezTo>
                      <a:pt x="495" y="48"/>
                      <a:pt x="491" y="45"/>
                      <a:pt x="486" y="43"/>
                    </a:cubicBezTo>
                    <a:cubicBezTo>
                      <a:pt x="484" y="43"/>
                      <a:pt x="482" y="42"/>
                      <a:pt x="480" y="42"/>
                    </a:cubicBezTo>
                    <a:cubicBezTo>
                      <a:pt x="478" y="42"/>
                      <a:pt x="475" y="42"/>
                      <a:pt x="473" y="42"/>
                    </a:cubicBezTo>
                    <a:cubicBezTo>
                      <a:pt x="466" y="42"/>
                      <a:pt x="460" y="42"/>
                      <a:pt x="453" y="42"/>
                    </a:cubicBezTo>
                    <a:cubicBezTo>
                      <a:pt x="445" y="42"/>
                      <a:pt x="436" y="41"/>
                      <a:pt x="428" y="41"/>
                    </a:cubicBezTo>
                    <a:cubicBezTo>
                      <a:pt x="416" y="41"/>
                      <a:pt x="404" y="42"/>
                      <a:pt x="392" y="41"/>
                    </a:cubicBezTo>
                    <a:cubicBezTo>
                      <a:pt x="375" y="41"/>
                      <a:pt x="359" y="40"/>
                      <a:pt x="343" y="39"/>
                    </a:cubicBezTo>
                    <a:cubicBezTo>
                      <a:pt x="336" y="38"/>
                      <a:pt x="329" y="37"/>
                      <a:pt x="322" y="36"/>
                    </a:cubicBezTo>
                    <a:cubicBezTo>
                      <a:pt x="321" y="35"/>
                      <a:pt x="320" y="35"/>
                      <a:pt x="319" y="35"/>
                    </a:cubicBezTo>
                    <a:cubicBezTo>
                      <a:pt x="319" y="37"/>
                      <a:pt x="317" y="38"/>
                      <a:pt x="315" y="39"/>
                    </a:cubicBezTo>
                    <a:cubicBezTo>
                      <a:pt x="314" y="41"/>
                      <a:pt x="310" y="41"/>
                      <a:pt x="309" y="43"/>
                    </a:cubicBezTo>
                    <a:cubicBezTo>
                      <a:pt x="308" y="45"/>
                      <a:pt x="309" y="46"/>
                      <a:pt x="307" y="48"/>
                    </a:cubicBezTo>
                    <a:cubicBezTo>
                      <a:pt x="306" y="49"/>
                      <a:pt x="303" y="48"/>
                      <a:pt x="301" y="48"/>
                    </a:cubicBezTo>
                    <a:cubicBezTo>
                      <a:pt x="298" y="49"/>
                      <a:pt x="295" y="51"/>
                      <a:pt x="292" y="50"/>
                    </a:cubicBezTo>
                    <a:cubicBezTo>
                      <a:pt x="292" y="49"/>
                      <a:pt x="292" y="48"/>
                      <a:pt x="292" y="47"/>
                    </a:cubicBezTo>
                    <a:cubicBezTo>
                      <a:pt x="293" y="45"/>
                      <a:pt x="296" y="43"/>
                      <a:pt x="296" y="42"/>
                    </a:cubicBezTo>
                    <a:cubicBezTo>
                      <a:pt x="296" y="40"/>
                      <a:pt x="295" y="39"/>
                      <a:pt x="293" y="41"/>
                    </a:cubicBezTo>
                    <a:cubicBezTo>
                      <a:pt x="292" y="41"/>
                      <a:pt x="292" y="44"/>
                      <a:pt x="291" y="44"/>
                    </a:cubicBezTo>
                    <a:cubicBezTo>
                      <a:pt x="290" y="45"/>
                      <a:pt x="289" y="43"/>
                      <a:pt x="287" y="43"/>
                    </a:cubicBezTo>
                    <a:cubicBezTo>
                      <a:pt x="286" y="43"/>
                      <a:pt x="283" y="44"/>
                      <a:pt x="282" y="44"/>
                    </a:cubicBezTo>
                    <a:cubicBezTo>
                      <a:pt x="280" y="44"/>
                      <a:pt x="269" y="46"/>
                      <a:pt x="253" y="35"/>
                    </a:cubicBezTo>
                    <a:cubicBezTo>
                      <a:pt x="252" y="27"/>
                      <a:pt x="252" y="27"/>
                      <a:pt x="252" y="27"/>
                    </a:cubicBezTo>
                    <a:cubicBezTo>
                      <a:pt x="253" y="20"/>
                      <a:pt x="246" y="10"/>
                      <a:pt x="245" y="7"/>
                    </a:cubicBezTo>
                    <a:cubicBezTo>
                      <a:pt x="245" y="5"/>
                      <a:pt x="243" y="3"/>
                      <a:pt x="243" y="1"/>
                    </a:cubicBezTo>
                    <a:cubicBezTo>
                      <a:pt x="237" y="0"/>
                      <a:pt x="230" y="1"/>
                      <a:pt x="225" y="1"/>
                    </a:cubicBezTo>
                    <a:cubicBezTo>
                      <a:pt x="220" y="1"/>
                      <a:pt x="214" y="1"/>
                      <a:pt x="210" y="1"/>
                    </a:cubicBezTo>
                    <a:cubicBezTo>
                      <a:pt x="208" y="1"/>
                      <a:pt x="206" y="1"/>
                      <a:pt x="205" y="2"/>
                    </a:cubicBezTo>
                    <a:cubicBezTo>
                      <a:pt x="202" y="2"/>
                      <a:pt x="201" y="4"/>
                      <a:pt x="199" y="5"/>
                    </a:cubicBezTo>
                    <a:cubicBezTo>
                      <a:pt x="196" y="8"/>
                      <a:pt x="193" y="9"/>
                      <a:pt x="192" y="13"/>
                    </a:cubicBezTo>
                    <a:cubicBezTo>
                      <a:pt x="191" y="13"/>
                      <a:pt x="190" y="13"/>
                      <a:pt x="189" y="13"/>
                    </a:cubicBezTo>
                    <a:cubicBezTo>
                      <a:pt x="188" y="12"/>
                      <a:pt x="187" y="10"/>
                      <a:pt x="187" y="10"/>
                    </a:cubicBezTo>
                    <a:cubicBezTo>
                      <a:pt x="184" y="8"/>
                      <a:pt x="181" y="11"/>
                      <a:pt x="178" y="12"/>
                    </a:cubicBezTo>
                    <a:cubicBezTo>
                      <a:pt x="178" y="12"/>
                      <a:pt x="176" y="12"/>
                      <a:pt x="176" y="12"/>
                    </a:cubicBezTo>
                    <a:cubicBezTo>
                      <a:pt x="174" y="13"/>
                      <a:pt x="174" y="16"/>
                      <a:pt x="172" y="16"/>
                    </a:cubicBezTo>
                    <a:cubicBezTo>
                      <a:pt x="171" y="17"/>
                      <a:pt x="168" y="18"/>
                      <a:pt x="166" y="17"/>
                    </a:cubicBezTo>
                    <a:cubicBezTo>
                      <a:pt x="164" y="17"/>
                      <a:pt x="164" y="16"/>
                      <a:pt x="163" y="15"/>
                    </a:cubicBezTo>
                    <a:cubicBezTo>
                      <a:pt x="162" y="14"/>
                      <a:pt x="157" y="14"/>
                      <a:pt x="156" y="15"/>
                    </a:cubicBezTo>
                    <a:cubicBezTo>
                      <a:pt x="155" y="15"/>
                      <a:pt x="156" y="17"/>
                      <a:pt x="156" y="17"/>
                    </a:cubicBezTo>
                    <a:cubicBezTo>
                      <a:pt x="156" y="18"/>
                      <a:pt x="155" y="18"/>
                      <a:pt x="155" y="19"/>
                    </a:cubicBezTo>
                    <a:cubicBezTo>
                      <a:pt x="152" y="21"/>
                      <a:pt x="148" y="21"/>
                      <a:pt x="145" y="24"/>
                    </a:cubicBezTo>
                    <a:cubicBezTo>
                      <a:pt x="144" y="24"/>
                      <a:pt x="143" y="26"/>
                      <a:pt x="143" y="27"/>
                    </a:cubicBezTo>
                    <a:cubicBezTo>
                      <a:pt x="141" y="28"/>
                      <a:pt x="139" y="30"/>
                      <a:pt x="137" y="32"/>
                    </a:cubicBezTo>
                    <a:cubicBezTo>
                      <a:pt x="135" y="34"/>
                      <a:pt x="135" y="37"/>
                      <a:pt x="133" y="40"/>
                    </a:cubicBezTo>
                    <a:cubicBezTo>
                      <a:pt x="131" y="43"/>
                      <a:pt x="129" y="47"/>
                      <a:pt x="125" y="47"/>
                    </a:cubicBezTo>
                    <a:cubicBezTo>
                      <a:pt x="121" y="47"/>
                      <a:pt x="117" y="47"/>
                      <a:pt x="114" y="50"/>
                    </a:cubicBezTo>
                    <a:cubicBezTo>
                      <a:pt x="113" y="50"/>
                      <a:pt x="113" y="51"/>
                      <a:pt x="112" y="51"/>
                    </a:cubicBezTo>
                    <a:cubicBezTo>
                      <a:pt x="109" y="53"/>
                      <a:pt x="105" y="53"/>
                      <a:pt x="102" y="54"/>
                    </a:cubicBezTo>
                    <a:cubicBezTo>
                      <a:pt x="101" y="54"/>
                      <a:pt x="101" y="54"/>
                      <a:pt x="100" y="55"/>
                    </a:cubicBezTo>
                    <a:cubicBezTo>
                      <a:pt x="100" y="56"/>
                      <a:pt x="100" y="57"/>
                      <a:pt x="100" y="57"/>
                    </a:cubicBezTo>
                    <a:cubicBezTo>
                      <a:pt x="99" y="58"/>
                      <a:pt x="98" y="57"/>
                      <a:pt x="97" y="58"/>
                    </a:cubicBezTo>
                    <a:cubicBezTo>
                      <a:pt x="95" y="58"/>
                      <a:pt x="95" y="59"/>
                      <a:pt x="93" y="59"/>
                    </a:cubicBezTo>
                    <a:cubicBezTo>
                      <a:pt x="88" y="62"/>
                      <a:pt x="83" y="63"/>
                      <a:pt x="77" y="63"/>
                    </a:cubicBezTo>
                    <a:cubicBezTo>
                      <a:pt x="72" y="63"/>
                      <a:pt x="69" y="63"/>
                      <a:pt x="65" y="65"/>
                    </a:cubicBezTo>
                    <a:cubicBezTo>
                      <a:pt x="61" y="67"/>
                      <a:pt x="57" y="69"/>
                      <a:pt x="54" y="71"/>
                    </a:cubicBezTo>
                    <a:cubicBezTo>
                      <a:pt x="50" y="73"/>
                      <a:pt x="46" y="74"/>
                      <a:pt x="43" y="76"/>
                    </a:cubicBezTo>
                    <a:cubicBezTo>
                      <a:pt x="46" y="75"/>
                      <a:pt x="46" y="70"/>
                      <a:pt x="48" y="69"/>
                    </a:cubicBezTo>
                    <a:cubicBezTo>
                      <a:pt x="45" y="68"/>
                      <a:pt x="43" y="68"/>
                      <a:pt x="40" y="70"/>
                    </a:cubicBezTo>
                    <a:cubicBezTo>
                      <a:pt x="39" y="70"/>
                      <a:pt x="38" y="71"/>
                      <a:pt x="38" y="71"/>
                    </a:cubicBezTo>
                    <a:cubicBezTo>
                      <a:pt x="37" y="72"/>
                      <a:pt x="36" y="71"/>
                      <a:pt x="36" y="71"/>
                    </a:cubicBezTo>
                    <a:cubicBezTo>
                      <a:pt x="34" y="72"/>
                      <a:pt x="31" y="72"/>
                      <a:pt x="29" y="73"/>
                    </a:cubicBezTo>
                    <a:cubicBezTo>
                      <a:pt x="29" y="73"/>
                      <a:pt x="28" y="74"/>
                      <a:pt x="27" y="74"/>
                    </a:cubicBezTo>
                    <a:cubicBezTo>
                      <a:pt x="25" y="75"/>
                      <a:pt x="21" y="76"/>
                      <a:pt x="18" y="77"/>
                    </a:cubicBezTo>
                    <a:cubicBezTo>
                      <a:pt x="18" y="77"/>
                      <a:pt x="18" y="78"/>
                      <a:pt x="19" y="78"/>
                    </a:cubicBezTo>
                    <a:cubicBezTo>
                      <a:pt x="19" y="79"/>
                      <a:pt x="20" y="79"/>
                      <a:pt x="20" y="80"/>
                    </a:cubicBezTo>
                    <a:cubicBezTo>
                      <a:pt x="19" y="80"/>
                      <a:pt x="18" y="80"/>
                      <a:pt x="17" y="80"/>
                    </a:cubicBezTo>
                    <a:cubicBezTo>
                      <a:pt x="16" y="80"/>
                      <a:pt x="15" y="80"/>
                      <a:pt x="14" y="81"/>
                    </a:cubicBezTo>
                    <a:cubicBezTo>
                      <a:pt x="12" y="81"/>
                      <a:pt x="11" y="82"/>
                      <a:pt x="9" y="82"/>
                    </a:cubicBezTo>
                    <a:cubicBezTo>
                      <a:pt x="6" y="82"/>
                      <a:pt x="3" y="81"/>
                      <a:pt x="0" y="83"/>
                    </a:cubicBezTo>
                    <a:cubicBezTo>
                      <a:pt x="0" y="84"/>
                      <a:pt x="1" y="85"/>
                      <a:pt x="1" y="85"/>
                    </a:cubicBezTo>
                    <a:cubicBezTo>
                      <a:pt x="1" y="86"/>
                      <a:pt x="1" y="87"/>
                      <a:pt x="1" y="87"/>
                    </a:cubicBezTo>
                    <a:cubicBezTo>
                      <a:pt x="2" y="88"/>
                      <a:pt x="5" y="89"/>
                      <a:pt x="7" y="90"/>
                    </a:cubicBezTo>
                    <a:cubicBezTo>
                      <a:pt x="8" y="91"/>
                      <a:pt x="9" y="92"/>
                      <a:pt x="10" y="93"/>
                    </a:cubicBezTo>
                    <a:cubicBezTo>
                      <a:pt x="11" y="93"/>
                      <a:pt x="14" y="94"/>
                      <a:pt x="16" y="93"/>
                    </a:cubicBezTo>
                    <a:cubicBezTo>
                      <a:pt x="18" y="93"/>
                      <a:pt x="20" y="90"/>
                      <a:pt x="21" y="89"/>
                    </a:cubicBezTo>
                    <a:cubicBezTo>
                      <a:pt x="22" y="88"/>
                      <a:pt x="23" y="93"/>
                      <a:pt x="23" y="94"/>
                    </a:cubicBezTo>
                    <a:cubicBezTo>
                      <a:pt x="23" y="96"/>
                      <a:pt x="22" y="99"/>
                      <a:pt x="23" y="101"/>
                    </a:cubicBezTo>
                    <a:cubicBezTo>
                      <a:pt x="23" y="103"/>
                      <a:pt x="24" y="106"/>
                      <a:pt x="24" y="108"/>
                    </a:cubicBezTo>
                    <a:cubicBezTo>
                      <a:pt x="26" y="113"/>
                      <a:pt x="27" y="117"/>
                      <a:pt x="29" y="122"/>
                    </a:cubicBezTo>
                    <a:cubicBezTo>
                      <a:pt x="30" y="124"/>
                      <a:pt x="32" y="127"/>
                      <a:pt x="33" y="130"/>
                    </a:cubicBezTo>
                    <a:cubicBezTo>
                      <a:pt x="34" y="132"/>
                      <a:pt x="33" y="136"/>
                      <a:pt x="33" y="138"/>
                    </a:cubicBezTo>
                    <a:cubicBezTo>
                      <a:pt x="33" y="141"/>
                      <a:pt x="33" y="143"/>
                      <a:pt x="32" y="145"/>
                    </a:cubicBezTo>
                    <a:cubicBezTo>
                      <a:pt x="31" y="148"/>
                      <a:pt x="30" y="149"/>
                      <a:pt x="28" y="151"/>
                    </a:cubicBezTo>
                    <a:cubicBezTo>
                      <a:pt x="27" y="152"/>
                      <a:pt x="26" y="155"/>
                      <a:pt x="25" y="156"/>
                    </a:cubicBezTo>
                    <a:cubicBezTo>
                      <a:pt x="25" y="156"/>
                      <a:pt x="24" y="156"/>
                      <a:pt x="23" y="157"/>
                    </a:cubicBezTo>
                    <a:cubicBezTo>
                      <a:pt x="23" y="158"/>
                      <a:pt x="22" y="159"/>
                      <a:pt x="22" y="160"/>
                    </a:cubicBezTo>
                    <a:cubicBezTo>
                      <a:pt x="21" y="162"/>
                      <a:pt x="20" y="163"/>
                      <a:pt x="19" y="164"/>
                    </a:cubicBezTo>
                    <a:cubicBezTo>
                      <a:pt x="18" y="166"/>
                      <a:pt x="17" y="168"/>
                      <a:pt x="16" y="170"/>
                    </a:cubicBezTo>
                    <a:cubicBezTo>
                      <a:pt x="16" y="170"/>
                      <a:pt x="16" y="171"/>
                      <a:pt x="16" y="171"/>
                    </a:cubicBezTo>
                    <a:cubicBezTo>
                      <a:pt x="16" y="171"/>
                      <a:pt x="15" y="172"/>
                      <a:pt x="15" y="172"/>
                    </a:cubicBezTo>
                    <a:cubicBezTo>
                      <a:pt x="15" y="174"/>
                      <a:pt x="17" y="174"/>
                      <a:pt x="17" y="175"/>
                    </a:cubicBezTo>
                    <a:cubicBezTo>
                      <a:pt x="19" y="176"/>
                      <a:pt x="20" y="177"/>
                      <a:pt x="21" y="178"/>
                    </a:cubicBezTo>
                    <a:cubicBezTo>
                      <a:pt x="22" y="180"/>
                      <a:pt x="23" y="181"/>
                      <a:pt x="25" y="182"/>
                    </a:cubicBezTo>
                    <a:cubicBezTo>
                      <a:pt x="26" y="183"/>
                      <a:pt x="27" y="183"/>
                      <a:pt x="28" y="184"/>
                    </a:cubicBezTo>
                    <a:cubicBezTo>
                      <a:pt x="29" y="185"/>
                      <a:pt x="30" y="185"/>
                      <a:pt x="31" y="187"/>
                    </a:cubicBezTo>
                    <a:cubicBezTo>
                      <a:pt x="33" y="188"/>
                      <a:pt x="33" y="190"/>
                      <a:pt x="34" y="192"/>
                    </a:cubicBezTo>
                    <a:cubicBezTo>
                      <a:pt x="34" y="192"/>
                      <a:pt x="34" y="193"/>
                      <a:pt x="34" y="193"/>
                    </a:cubicBezTo>
                    <a:cubicBezTo>
                      <a:pt x="36" y="196"/>
                      <a:pt x="40" y="196"/>
                      <a:pt x="41" y="199"/>
                    </a:cubicBezTo>
                    <a:cubicBezTo>
                      <a:pt x="41" y="200"/>
                      <a:pt x="40" y="202"/>
                      <a:pt x="40" y="203"/>
                    </a:cubicBezTo>
                    <a:cubicBezTo>
                      <a:pt x="40" y="204"/>
                      <a:pt x="40" y="205"/>
                      <a:pt x="39" y="206"/>
                    </a:cubicBezTo>
                    <a:cubicBezTo>
                      <a:pt x="39" y="208"/>
                      <a:pt x="38" y="208"/>
                      <a:pt x="37" y="210"/>
                    </a:cubicBezTo>
                    <a:cubicBezTo>
                      <a:pt x="36" y="211"/>
                      <a:pt x="36" y="210"/>
                      <a:pt x="37" y="212"/>
                    </a:cubicBezTo>
                    <a:cubicBezTo>
                      <a:pt x="37" y="214"/>
                      <a:pt x="37" y="215"/>
                      <a:pt x="37" y="217"/>
                    </a:cubicBezTo>
                    <a:cubicBezTo>
                      <a:pt x="37" y="218"/>
                      <a:pt x="38" y="221"/>
                      <a:pt x="38" y="222"/>
                    </a:cubicBezTo>
                    <a:cubicBezTo>
                      <a:pt x="39" y="223"/>
                      <a:pt x="39" y="223"/>
                      <a:pt x="39" y="223"/>
                    </a:cubicBezTo>
                    <a:cubicBezTo>
                      <a:pt x="40" y="223"/>
                      <a:pt x="40" y="224"/>
                      <a:pt x="40" y="224"/>
                    </a:cubicBezTo>
                    <a:cubicBezTo>
                      <a:pt x="40" y="224"/>
                      <a:pt x="41" y="224"/>
                      <a:pt x="42" y="225"/>
                    </a:cubicBezTo>
                    <a:cubicBezTo>
                      <a:pt x="42" y="225"/>
                      <a:pt x="42" y="227"/>
                      <a:pt x="42" y="227"/>
                    </a:cubicBezTo>
                    <a:cubicBezTo>
                      <a:pt x="42" y="229"/>
                      <a:pt x="43" y="230"/>
                      <a:pt x="43" y="231"/>
                    </a:cubicBezTo>
                    <a:cubicBezTo>
                      <a:pt x="43" y="232"/>
                      <a:pt x="42" y="232"/>
                      <a:pt x="43" y="233"/>
                    </a:cubicBezTo>
                    <a:cubicBezTo>
                      <a:pt x="43" y="234"/>
                      <a:pt x="46" y="235"/>
                      <a:pt x="46" y="236"/>
                    </a:cubicBezTo>
                    <a:cubicBezTo>
                      <a:pt x="49" y="238"/>
                      <a:pt x="47" y="241"/>
                      <a:pt x="47" y="244"/>
                    </a:cubicBezTo>
                    <a:cubicBezTo>
                      <a:pt x="46" y="247"/>
                      <a:pt x="46" y="249"/>
                      <a:pt x="46" y="252"/>
                    </a:cubicBezTo>
                    <a:cubicBezTo>
                      <a:pt x="46" y="252"/>
                      <a:pt x="46" y="252"/>
                      <a:pt x="46" y="253"/>
                    </a:cubicBezTo>
                    <a:cubicBezTo>
                      <a:pt x="45" y="255"/>
                      <a:pt x="43" y="255"/>
                      <a:pt x="41" y="255"/>
                    </a:cubicBezTo>
                    <a:cubicBezTo>
                      <a:pt x="37" y="256"/>
                      <a:pt x="38" y="257"/>
                      <a:pt x="38" y="260"/>
                    </a:cubicBezTo>
                    <a:cubicBezTo>
                      <a:pt x="38" y="261"/>
                      <a:pt x="38" y="264"/>
                      <a:pt x="38" y="265"/>
                    </a:cubicBezTo>
                    <a:cubicBezTo>
                      <a:pt x="39" y="266"/>
                      <a:pt x="40" y="265"/>
                      <a:pt x="41" y="265"/>
                    </a:cubicBezTo>
                    <a:cubicBezTo>
                      <a:pt x="40" y="265"/>
                      <a:pt x="39" y="266"/>
                      <a:pt x="38" y="267"/>
                    </a:cubicBezTo>
                    <a:cubicBezTo>
                      <a:pt x="39" y="269"/>
                      <a:pt x="41" y="271"/>
                      <a:pt x="42" y="273"/>
                    </a:cubicBezTo>
                    <a:cubicBezTo>
                      <a:pt x="42" y="273"/>
                      <a:pt x="42" y="274"/>
                      <a:pt x="42" y="274"/>
                    </a:cubicBezTo>
                    <a:cubicBezTo>
                      <a:pt x="42" y="275"/>
                      <a:pt x="43" y="275"/>
                      <a:pt x="43" y="275"/>
                    </a:cubicBezTo>
                    <a:cubicBezTo>
                      <a:pt x="43" y="275"/>
                      <a:pt x="44" y="277"/>
                      <a:pt x="44" y="276"/>
                    </a:cubicBezTo>
                    <a:cubicBezTo>
                      <a:pt x="44" y="278"/>
                      <a:pt x="45" y="280"/>
                      <a:pt x="45" y="282"/>
                    </a:cubicBezTo>
                    <a:cubicBezTo>
                      <a:pt x="45" y="283"/>
                      <a:pt x="44" y="283"/>
                      <a:pt x="44" y="284"/>
                    </a:cubicBezTo>
                    <a:cubicBezTo>
                      <a:pt x="44" y="284"/>
                      <a:pt x="43" y="284"/>
                      <a:pt x="43" y="284"/>
                    </a:cubicBezTo>
                    <a:cubicBezTo>
                      <a:pt x="43" y="285"/>
                      <a:pt x="42" y="285"/>
                      <a:pt x="41" y="285"/>
                    </a:cubicBezTo>
                    <a:cubicBezTo>
                      <a:pt x="40" y="286"/>
                      <a:pt x="41" y="287"/>
                      <a:pt x="42" y="288"/>
                    </a:cubicBezTo>
                    <a:cubicBezTo>
                      <a:pt x="42" y="288"/>
                      <a:pt x="42" y="288"/>
                      <a:pt x="43" y="289"/>
                    </a:cubicBezTo>
                    <a:cubicBezTo>
                      <a:pt x="45" y="290"/>
                      <a:pt x="46" y="291"/>
                      <a:pt x="47" y="292"/>
                    </a:cubicBezTo>
                    <a:cubicBezTo>
                      <a:pt x="48" y="293"/>
                      <a:pt x="50" y="293"/>
                      <a:pt x="51" y="294"/>
                    </a:cubicBezTo>
                    <a:cubicBezTo>
                      <a:pt x="52" y="295"/>
                      <a:pt x="52" y="295"/>
                      <a:pt x="53" y="296"/>
                    </a:cubicBezTo>
                    <a:cubicBezTo>
                      <a:pt x="54" y="298"/>
                      <a:pt x="54" y="299"/>
                      <a:pt x="54" y="301"/>
                    </a:cubicBezTo>
                    <a:cubicBezTo>
                      <a:pt x="55" y="302"/>
                      <a:pt x="55" y="303"/>
                      <a:pt x="55" y="303"/>
                    </a:cubicBezTo>
                    <a:cubicBezTo>
                      <a:pt x="55" y="304"/>
                      <a:pt x="56" y="304"/>
                      <a:pt x="56" y="304"/>
                    </a:cubicBezTo>
                    <a:cubicBezTo>
                      <a:pt x="57" y="305"/>
                      <a:pt x="58" y="306"/>
                      <a:pt x="58" y="307"/>
                    </a:cubicBezTo>
                    <a:cubicBezTo>
                      <a:pt x="59" y="308"/>
                      <a:pt x="59" y="309"/>
                      <a:pt x="60" y="310"/>
                    </a:cubicBezTo>
                    <a:cubicBezTo>
                      <a:pt x="60" y="312"/>
                      <a:pt x="60" y="311"/>
                      <a:pt x="60" y="313"/>
                    </a:cubicBezTo>
                    <a:cubicBezTo>
                      <a:pt x="59" y="315"/>
                      <a:pt x="59" y="317"/>
                      <a:pt x="58" y="319"/>
                    </a:cubicBezTo>
                    <a:cubicBezTo>
                      <a:pt x="57" y="321"/>
                      <a:pt x="57" y="322"/>
                      <a:pt x="57" y="324"/>
                    </a:cubicBezTo>
                    <a:cubicBezTo>
                      <a:pt x="56" y="326"/>
                      <a:pt x="57" y="328"/>
                      <a:pt x="56" y="330"/>
                    </a:cubicBezTo>
                    <a:cubicBezTo>
                      <a:pt x="56" y="332"/>
                      <a:pt x="54" y="333"/>
                      <a:pt x="54" y="336"/>
                    </a:cubicBezTo>
                    <a:cubicBezTo>
                      <a:pt x="54" y="337"/>
                      <a:pt x="54" y="337"/>
                      <a:pt x="54" y="338"/>
                    </a:cubicBezTo>
                    <a:cubicBezTo>
                      <a:pt x="56" y="338"/>
                      <a:pt x="59" y="338"/>
                      <a:pt x="61" y="338"/>
                    </a:cubicBezTo>
                    <a:cubicBezTo>
                      <a:pt x="65" y="338"/>
                      <a:pt x="68" y="338"/>
                      <a:pt x="72" y="338"/>
                    </a:cubicBezTo>
                    <a:cubicBezTo>
                      <a:pt x="75" y="338"/>
                      <a:pt x="75" y="338"/>
                      <a:pt x="76" y="340"/>
                    </a:cubicBezTo>
                    <a:cubicBezTo>
                      <a:pt x="76" y="340"/>
                      <a:pt x="77" y="340"/>
                      <a:pt x="77" y="341"/>
                    </a:cubicBezTo>
                    <a:cubicBezTo>
                      <a:pt x="78" y="341"/>
                      <a:pt x="78" y="341"/>
                      <a:pt x="78" y="342"/>
                    </a:cubicBezTo>
                    <a:cubicBezTo>
                      <a:pt x="78" y="342"/>
                      <a:pt x="79" y="343"/>
                      <a:pt x="79" y="343"/>
                    </a:cubicBezTo>
                    <a:cubicBezTo>
                      <a:pt x="81" y="346"/>
                      <a:pt x="82" y="348"/>
                      <a:pt x="84" y="350"/>
                    </a:cubicBezTo>
                    <a:cubicBezTo>
                      <a:pt x="85" y="352"/>
                      <a:pt x="86" y="355"/>
                      <a:pt x="88" y="356"/>
                    </a:cubicBezTo>
                    <a:cubicBezTo>
                      <a:pt x="89" y="356"/>
                      <a:pt x="90" y="356"/>
                      <a:pt x="91" y="356"/>
                    </a:cubicBezTo>
                    <a:cubicBezTo>
                      <a:pt x="93" y="356"/>
                      <a:pt x="95" y="358"/>
                      <a:pt x="97" y="358"/>
                    </a:cubicBezTo>
                    <a:cubicBezTo>
                      <a:pt x="99" y="359"/>
                      <a:pt x="102" y="361"/>
                      <a:pt x="104" y="362"/>
                    </a:cubicBezTo>
                    <a:cubicBezTo>
                      <a:pt x="106" y="362"/>
                      <a:pt x="107" y="363"/>
                      <a:pt x="108" y="363"/>
                    </a:cubicBezTo>
                    <a:cubicBezTo>
                      <a:pt x="110" y="364"/>
                      <a:pt x="111" y="364"/>
                      <a:pt x="113" y="365"/>
                    </a:cubicBezTo>
                    <a:cubicBezTo>
                      <a:pt x="114" y="365"/>
                      <a:pt x="114" y="366"/>
                      <a:pt x="115" y="366"/>
                    </a:cubicBezTo>
                    <a:cubicBezTo>
                      <a:pt x="116" y="367"/>
                      <a:pt x="117" y="366"/>
                      <a:pt x="118" y="367"/>
                    </a:cubicBezTo>
                    <a:cubicBezTo>
                      <a:pt x="118" y="367"/>
                      <a:pt x="119" y="368"/>
                      <a:pt x="120" y="369"/>
                    </a:cubicBezTo>
                    <a:cubicBezTo>
                      <a:pt x="120" y="369"/>
                      <a:pt x="122" y="369"/>
                      <a:pt x="122" y="369"/>
                    </a:cubicBezTo>
                    <a:cubicBezTo>
                      <a:pt x="124" y="370"/>
                      <a:pt x="125" y="370"/>
                      <a:pt x="127" y="370"/>
                    </a:cubicBezTo>
                    <a:cubicBezTo>
                      <a:pt x="129" y="370"/>
                      <a:pt x="131" y="369"/>
                      <a:pt x="133" y="370"/>
                    </a:cubicBezTo>
                    <a:cubicBezTo>
                      <a:pt x="135" y="370"/>
                      <a:pt x="135" y="370"/>
                      <a:pt x="136" y="371"/>
                    </a:cubicBezTo>
                    <a:cubicBezTo>
                      <a:pt x="138" y="372"/>
                      <a:pt x="137" y="370"/>
                      <a:pt x="138" y="372"/>
                    </a:cubicBezTo>
                    <a:cubicBezTo>
                      <a:pt x="138" y="372"/>
                      <a:pt x="138" y="374"/>
                      <a:pt x="138" y="375"/>
                    </a:cubicBezTo>
                    <a:cubicBezTo>
                      <a:pt x="137" y="376"/>
                      <a:pt x="136" y="377"/>
                      <a:pt x="136" y="378"/>
                    </a:cubicBezTo>
                    <a:cubicBezTo>
                      <a:pt x="135" y="379"/>
                      <a:pt x="134" y="380"/>
                      <a:pt x="133" y="381"/>
                    </a:cubicBezTo>
                    <a:cubicBezTo>
                      <a:pt x="132" y="382"/>
                      <a:pt x="130" y="383"/>
                      <a:pt x="129" y="385"/>
                    </a:cubicBezTo>
                    <a:cubicBezTo>
                      <a:pt x="128" y="386"/>
                      <a:pt x="128" y="388"/>
                      <a:pt x="128" y="389"/>
                    </a:cubicBezTo>
                    <a:cubicBezTo>
                      <a:pt x="129" y="392"/>
                      <a:pt x="131" y="392"/>
                      <a:pt x="133" y="393"/>
                    </a:cubicBezTo>
                    <a:cubicBezTo>
                      <a:pt x="135" y="394"/>
                      <a:pt x="136" y="395"/>
                      <a:pt x="137" y="396"/>
                    </a:cubicBezTo>
                    <a:cubicBezTo>
                      <a:pt x="138" y="397"/>
                      <a:pt x="139" y="397"/>
                      <a:pt x="140" y="398"/>
                    </a:cubicBezTo>
                    <a:cubicBezTo>
                      <a:pt x="140" y="398"/>
                      <a:pt x="141" y="400"/>
                      <a:pt x="141" y="400"/>
                    </a:cubicBezTo>
                    <a:cubicBezTo>
                      <a:pt x="142" y="401"/>
                      <a:pt x="142" y="401"/>
                      <a:pt x="143" y="402"/>
                    </a:cubicBezTo>
                    <a:cubicBezTo>
                      <a:pt x="144" y="404"/>
                      <a:pt x="145" y="405"/>
                      <a:pt x="145" y="407"/>
                    </a:cubicBezTo>
                    <a:cubicBezTo>
                      <a:pt x="145" y="409"/>
                      <a:pt x="146" y="410"/>
                      <a:pt x="147" y="412"/>
                    </a:cubicBezTo>
                    <a:cubicBezTo>
                      <a:pt x="148" y="413"/>
                      <a:pt x="148" y="414"/>
                      <a:pt x="149" y="415"/>
                    </a:cubicBezTo>
                    <a:cubicBezTo>
                      <a:pt x="152" y="417"/>
                      <a:pt x="154" y="415"/>
                      <a:pt x="156" y="413"/>
                    </a:cubicBezTo>
                    <a:cubicBezTo>
                      <a:pt x="156" y="412"/>
                      <a:pt x="157" y="412"/>
                      <a:pt x="157" y="412"/>
                    </a:cubicBezTo>
                    <a:cubicBezTo>
                      <a:pt x="158" y="410"/>
                      <a:pt x="158" y="411"/>
                      <a:pt x="160" y="410"/>
                    </a:cubicBezTo>
                    <a:cubicBezTo>
                      <a:pt x="162" y="408"/>
                      <a:pt x="161" y="407"/>
                      <a:pt x="163" y="406"/>
                    </a:cubicBezTo>
                    <a:cubicBezTo>
                      <a:pt x="164" y="405"/>
                      <a:pt x="165" y="405"/>
                      <a:pt x="166" y="405"/>
                    </a:cubicBezTo>
                    <a:cubicBezTo>
                      <a:pt x="167" y="404"/>
                      <a:pt x="169" y="403"/>
                      <a:pt x="171" y="403"/>
                    </a:cubicBezTo>
                    <a:cubicBezTo>
                      <a:pt x="173" y="402"/>
                      <a:pt x="174" y="402"/>
                      <a:pt x="174" y="400"/>
                    </a:cubicBezTo>
                    <a:cubicBezTo>
                      <a:pt x="173" y="397"/>
                      <a:pt x="171" y="397"/>
                      <a:pt x="169" y="395"/>
                    </a:cubicBezTo>
                    <a:cubicBezTo>
                      <a:pt x="168" y="394"/>
                      <a:pt x="168" y="394"/>
                      <a:pt x="167" y="393"/>
                    </a:cubicBezTo>
                    <a:cubicBezTo>
                      <a:pt x="166" y="391"/>
                      <a:pt x="165" y="390"/>
                      <a:pt x="165" y="388"/>
                    </a:cubicBezTo>
                    <a:cubicBezTo>
                      <a:pt x="169" y="388"/>
                      <a:pt x="174" y="388"/>
                      <a:pt x="177" y="390"/>
                    </a:cubicBezTo>
                    <a:cubicBezTo>
                      <a:pt x="177" y="390"/>
                      <a:pt x="178" y="391"/>
                      <a:pt x="177" y="392"/>
                    </a:cubicBezTo>
                    <a:cubicBezTo>
                      <a:pt x="179" y="393"/>
                      <a:pt x="179" y="392"/>
                      <a:pt x="180" y="393"/>
                    </a:cubicBezTo>
                    <a:cubicBezTo>
                      <a:pt x="181" y="394"/>
                      <a:pt x="183" y="395"/>
                      <a:pt x="184" y="395"/>
                    </a:cubicBezTo>
                    <a:cubicBezTo>
                      <a:pt x="184" y="397"/>
                      <a:pt x="185" y="397"/>
                      <a:pt x="187" y="398"/>
                    </a:cubicBezTo>
                    <a:cubicBezTo>
                      <a:pt x="189" y="398"/>
                      <a:pt x="190" y="400"/>
                      <a:pt x="191" y="400"/>
                    </a:cubicBezTo>
                    <a:cubicBezTo>
                      <a:pt x="192" y="401"/>
                      <a:pt x="192" y="400"/>
                      <a:pt x="193" y="401"/>
                    </a:cubicBezTo>
                    <a:cubicBezTo>
                      <a:pt x="194" y="401"/>
                      <a:pt x="193" y="402"/>
                      <a:pt x="194" y="402"/>
                    </a:cubicBezTo>
                    <a:cubicBezTo>
                      <a:pt x="196" y="403"/>
                      <a:pt x="200" y="402"/>
                      <a:pt x="201" y="402"/>
                    </a:cubicBezTo>
                    <a:cubicBezTo>
                      <a:pt x="204" y="402"/>
                      <a:pt x="208" y="399"/>
                      <a:pt x="210" y="402"/>
                    </a:cubicBezTo>
                    <a:cubicBezTo>
                      <a:pt x="210" y="403"/>
                      <a:pt x="210" y="406"/>
                      <a:pt x="210" y="407"/>
                    </a:cubicBezTo>
                    <a:cubicBezTo>
                      <a:pt x="209" y="409"/>
                      <a:pt x="207" y="409"/>
                      <a:pt x="206" y="411"/>
                    </a:cubicBezTo>
                    <a:cubicBezTo>
                      <a:pt x="206" y="412"/>
                      <a:pt x="207" y="413"/>
                      <a:pt x="208" y="414"/>
                    </a:cubicBezTo>
                    <a:cubicBezTo>
                      <a:pt x="209" y="415"/>
                      <a:pt x="210" y="417"/>
                      <a:pt x="212" y="417"/>
                    </a:cubicBezTo>
                    <a:cubicBezTo>
                      <a:pt x="213" y="418"/>
                      <a:pt x="214" y="420"/>
                      <a:pt x="215" y="421"/>
                    </a:cubicBezTo>
                    <a:cubicBezTo>
                      <a:pt x="217" y="422"/>
                      <a:pt x="219" y="421"/>
                      <a:pt x="220" y="421"/>
                    </a:cubicBezTo>
                    <a:cubicBezTo>
                      <a:pt x="221" y="422"/>
                      <a:pt x="221" y="422"/>
                      <a:pt x="222" y="423"/>
                    </a:cubicBezTo>
                    <a:cubicBezTo>
                      <a:pt x="222" y="423"/>
                      <a:pt x="222" y="423"/>
                      <a:pt x="223" y="423"/>
                    </a:cubicBezTo>
                    <a:cubicBezTo>
                      <a:pt x="225" y="424"/>
                      <a:pt x="226" y="423"/>
                      <a:pt x="227" y="424"/>
                    </a:cubicBezTo>
                    <a:cubicBezTo>
                      <a:pt x="229" y="424"/>
                      <a:pt x="229" y="425"/>
                      <a:pt x="231" y="426"/>
                    </a:cubicBezTo>
                    <a:cubicBezTo>
                      <a:pt x="233" y="426"/>
                      <a:pt x="235" y="426"/>
                      <a:pt x="237" y="427"/>
                    </a:cubicBezTo>
                    <a:cubicBezTo>
                      <a:pt x="239" y="427"/>
                      <a:pt x="240" y="428"/>
                      <a:pt x="243" y="428"/>
                    </a:cubicBezTo>
                    <a:cubicBezTo>
                      <a:pt x="243" y="429"/>
                      <a:pt x="243" y="429"/>
                      <a:pt x="243" y="429"/>
                    </a:cubicBezTo>
                    <a:cubicBezTo>
                      <a:pt x="245" y="429"/>
                      <a:pt x="247" y="430"/>
                      <a:pt x="249" y="431"/>
                    </a:cubicBezTo>
                    <a:cubicBezTo>
                      <a:pt x="253" y="433"/>
                      <a:pt x="256" y="433"/>
                      <a:pt x="260" y="434"/>
                    </a:cubicBezTo>
                    <a:cubicBezTo>
                      <a:pt x="257" y="440"/>
                      <a:pt x="259" y="446"/>
                      <a:pt x="264" y="449"/>
                    </a:cubicBezTo>
                    <a:cubicBezTo>
                      <a:pt x="267" y="451"/>
                      <a:pt x="269" y="452"/>
                      <a:pt x="269" y="455"/>
                    </a:cubicBezTo>
                    <a:cubicBezTo>
                      <a:pt x="269" y="457"/>
                      <a:pt x="269" y="459"/>
                      <a:pt x="269" y="460"/>
                    </a:cubicBezTo>
                    <a:cubicBezTo>
                      <a:pt x="268" y="462"/>
                      <a:pt x="267" y="463"/>
                      <a:pt x="268" y="465"/>
                    </a:cubicBezTo>
                    <a:cubicBezTo>
                      <a:pt x="268" y="465"/>
                      <a:pt x="269" y="465"/>
                      <a:pt x="270" y="465"/>
                    </a:cubicBezTo>
                    <a:cubicBezTo>
                      <a:pt x="271" y="465"/>
                      <a:pt x="271" y="465"/>
                      <a:pt x="271" y="466"/>
                    </a:cubicBezTo>
                    <a:cubicBezTo>
                      <a:pt x="272" y="467"/>
                      <a:pt x="272" y="469"/>
                      <a:pt x="272" y="470"/>
                    </a:cubicBezTo>
                    <a:cubicBezTo>
                      <a:pt x="273" y="473"/>
                      <a:pt x="272" y="475"/>
                      <a:pt x="276" y="475"/>
                    </a:cubicBezTo>
                    <a:cubicBezTo>
                      <a:pt x="279" y="476"/>
                      <a:pt x="283" y="476"/>
                      <a:pt x="286" y="475"/>
                    </a:cubicBezTo>
                    <a:cubicBezTo>
                      <a:pt x="290" y="475"/>
                      <a:pt x="289" y="473"/>
                      <a:pt x="289" y="469"/>
                    </a:cubicBezTo>
                    <a:cubicBezTo>
                      <a:pt x="290" y="466"/>
                      <a:pt x="291" y="465"/>
                      <a:pt x="294" y="464"/>
                    </a:cubicBezTo>
                    <a:cubicBezTo>
                      <a:pt x="296" y="464"/>
                      <a:pt x="296" y="463"/>
                      <a:pt x="298" y="463"/>
                    </a:cubicBezTo>
                    <a:cubicBezTo>
                      <a:pt x="298" y="463"/>
                      <a:pt x="299" y="463"/>
                      <a:pt x="299" y="462"/>
                    </a:cubicBezTo>
                    <a:cubicBezTo>
                      <a:pt x="301" y="462"/>
                      <a:pt x="301" y="461"/>
                      <a:pt x="302" y="460"/>
                    </a:cubicBezTo>
                    <a:cubicBezTo>
                      <a:pt x="304" y="458"/>
                      <a:pt x="307" y="460"/>
                      <a:pt x="307" y="463"/>
                    </a:cubicBezTo>
                    <a:cubicBezTo>
                      <a:pt x="307" y="464"/>
                      <a:pt x="307" y="465"/>
                      <a:pt x="308" y="466"/>
                    </a:cubicBezTo>
                    <a:cubicBezTo>
                      <a:pt x="309" y="467"/>
                      <a:pt x="311" y="466"/>
                      <a:pt x="311" y="468"/>
                    </a:cubicBezTo>
                    <a:cubicBezTo>
                      <a:pt x="312" y="468"/>
                      <a:pt x="315" y="470"/>
                      <a:pt x="315" y="471"/>
                    </a:cubicBezTo>
                    <a:cubicBezTo>
                      <a:pt x="316" y="472"/>
                      <a:pt x="316" y="473"/>
                      <a:pt x="316" y="473"/>
                    </a:cubicBezTo>
                    <a:cubicBezTo>
                      <a:pt x="317" y="474"/>
                      <a:pt x="318" y="475"/>
                      <a:pt x="318" y="476"/>
                    </a:cubicBezTo>
                    <a:cubicBezTo>
                      <a:pt x="319" y="477"/>
                      <a:pt x="319" y="477"/>
                      <a:pt x="319" y="479"/>
                    </a:cubicBezTo>
                    <a:cubicBezTo>
                      <a:pt x="319" y="481"/>
                      <a:pt x="319" y="483"/>
                      <a:pt x="319" y="485"/>
                    </a:cubicBezTo>
                    <a:cubicBezTo>
                      <a:pt x="319" y="487"/>
                      <a:pt x="319" y="486"/>
                      <a:pt x="321" y="487"/>
                    </a:cubicBezTo>
                    <a:cubicBezTo>
                      <a:pt x="321" y="488"/>
                      <a:pt x="322" y="488"/>
                      <a:pt x="323" y="488"/>
                    </a:cubicBezTo>
                    <a:cubicBezTo>
                      <a:pt x="323" y="489"/>
                      <a:pt x="324" y="490"/>
                      <a:pt x="325" y="490"/>
                    </a:cubicBezTo>
                    <a:cubicBezTo>
                      <a:pt x="326" y="491"/>
                      <a:pt x="326" y="491"/>
                      <a:pt x="327" y="491"/>
                    </a:cubicBezTo>
                    <a:cubicBezTo>
                      <a:pt x="328" y="491"/>
                      <a:pt x="329" y="492"/>
                      <a:pt x="329" y="493"/>
                    </a:cubicBezTo>
                    <a:cubicBezTo>
                      <a:pt x="331" y="493"/>
                      <a:pt x="333" y="493"/>
                      <a:pt x="334" y="493"/>
                    </a:cubicBezTo>
                    <a:cubicBezTo>
                      <a:pt x="334" y="491"/>
                      <a:pt x="334" y="490"/>
                      <a:pt x="334" y="488"/>
                    </a:cubicBezTo>
                    <a:cubicBezTo>
                      <a:pt x="334" y="485"/>
                      <a:pt x="335" y="484"/>
                      <a:pt x="338" y="483"/>
                    </a:cubicBezTo>
                    <a:cubicBezTo>
                      <a:pt x="341" y="480"/>
                      <a:pt x="345" y="482"/>
                      <a:pt x="349" y="481"/>
                    </a:cubicBezTo>
                    <a:cubicBezTo>
                      <a:pt x="350" y="479"/>
                      <a:pt x="349" y="478"/>
                      <a:pt x="349" y="476"/>
                    </a:cubicBezTo>
                    <a:cubicBezTo>
                      <a:pt x="351" y="476"/>
                      <a:pt x="354" y="476"/>
                      <a:pt x="356" y="476"/>
                    </a:cubicBezTo>
                    <a:cubicBezTo>
                      <a:pt x="359" y="476"/>
                      <a:pt x="361" y="473"/>
                      <a:pt x="365" y="473"/>
                    </a:cubicBezTo>
                    <a:cubicBezTo>
                      <a:pt x="366" y="474"/>
                      <a:pt x="366" y="475"/>
                      <a:pt x="368" y="475"/>
                    </a:cubicBezTo>
                    <a:cubicBezTo>
                      <a:pt x="369" y="476"/>
                      <a:pt x="370" y="475"/>
                      <a:pt x="371" y="475"/>
                    </a:cubicBezTo>
                    <a:cubicBezTo>
                      <a:pt x="373" y="476"/>
                      <a:pt x="374" y="479"/>
                      <a:pt x="376" y="480"/>
                    </a:cubicBezTo>
                    <a:cubicBezTo>
                      <a:pt x="376" y="480"/>
                      <a:pt x="378" y="480"/>
                      <a:pt x="378" y="480"/>
                    </a:cubicBezTo>
                    <a:cubicBezTo>
                      <a:pt x="379" y="481"/>
                      <a:pt x="380" y="481"/>
                      <a:pt x="381" y="481"/>
                    </a:cubicBezTo>
                    <a:cubicBezTo>
                      <a:pt x="381" y="482"/>
                      <a:pt x="381" y="483"/>
                      <a:pt x="382" y="483"/>
                    </a:cubicBezTo>
                    <a:cubicBezTo>
                      <a:pt x="382" y="483"/>
                      <a:pt x="385" y="483"/>
                      <a:pt x="385" y="483"/>
                    </a:cubicBezTo>
                    <a:cubicBezTo>
                      <a:pt x="386" y="483"/>
                      <a:pt x="389" y="481"/>
                      <a:pt x="389" y="480"/>
                    </a:cubicBezTo>
                    <a:cubicBezTo>
                      <a:pt x="390" y="478"/>
                      <a:pt x="389" y="477"/>
                      <a:pt x="390" y="475"/>
                    </a:cubicBezTo>
                    <a:cubicBezTo>
                      <a:pt x="391" y="474"/>
                      <a:pt x="392" y="473"/>
                      <a:pt x="393" y="473"/>
                    </a:cubicBezTo>
                    <a:cubicBezTo>
                      <a:pt x="395" y="473"/>
                      <a:pt x="398" y="475"/>
                      <a:pt x="399" y="471"/>
                    </a:cubicBezTo>
                    <a:cubicBezTo>
                      <a:pt x="399" y="471"/>
                      <a:pt x="400" y="470"/>
                      <a:pt x="401" y="470"/>
                    </a:cubicBezTo>
                    <a:cubicBezTo>
                      <a:pt x="402" y="470"/>
                      <a:pt x="402" y="471"/>
                      <a:pt x="403" y="471"/>
                    </a:cubicBezTo>
                    <a:cubicBezTo>
                      <a:pt x="405" y="471"/>
                      <a:pt x="408" y="471"/>
                      <a:pt x="410" y="471"/>
                    </a:cubicBezTo>
                    <a:cubicBezTo>
                      <a:pt x="413" y="472"/>
                      <a:pt x="417" y="473"/>
                      <a:pt x="420" y="474"/>
                    </a:cubicBezTo>
                    <a:cubicBezTo>
                      <a:pt x="422" y="475"/>
                      <a:pt x="423" y="476"/>
                      <a:pt x="425" y="477"/>
                    </a:cubicBezTo>
                    <a:cubicBezTo>
                      <a:pt x="426" y="478"/>
                      <a:pt x="425" y="478"/>
                      <a:pt x="427" y="479"/>
                    </a:cubicBezTo>
                    <a:cubicBezTo>
                      <a:pt x="428" y="479"/>
                      <a:pt x="429" y="478"/>
                      <a:pt x="430" y="478"/>
                    </a:cubicBezTo>
                    <a:cubicBezTo>
                      <a:pt x="431" y="479"/>
                      <a:pt x="432" y="480"/>
                      <a:pt x="433" y="481"/>
                    </a:cubicBezTo>
                    <a:cubicBezTo>
                      <a:pt x="433" y="482"/>
                      <a:pt x="433" y="482"/>
                      <a:pt x="434" y="483"/>
                    </a:cubicBezTo>
                    <a:cubicBezTo>
                      <a:pt x="434" y="483"/>
                      <a:pt x="435" y="485"/>
                      <a:pt x="435" y="485"/>
                    </a:cubicBezTo>
                    <a:cubicBezTo>
                      <a:pt x="436" y="485"/>
                      <a:pt x="436" y="485"/>
                      <a:pt x="437" y="485"/>
                    </a:cubicBezTo>
                    <a:cubicBezTo>
                      <a:pt x="439" y="486"/>
                      <a:pt x="441" y="487"/>
                      <a:pt x="442" y="488"/>
                    </a:cubicBezTo>
                    <a:cubicBezTo>
                      <a:pt x="444" y="489"/>
                      <a:pt x="444" y="489"/>
                      <a:pt x="445" y="490"/>
                    </a:cubicBezTo>
                    <a:cubicBezTo>
                      <a:pt x="446" y="492"/>
                      <a:pt x="447" y="492"/>
                      <a:pt x="448" y="493"/>
                    </a:cubicBezTo>
                    <a:cubicBezTo>
                      <a:pt x="452" y="494"/>
                      <a:pt x="455" y="494"/>
                      <a:pt x="459" y="496"/>
                    </a:cubicBezTo>
                    <a:cubicBezTo>
                      <a:pt x="460" y="496"/>
                      <a:pt x="462" y="497"/>
                      <a:pt x="464" y="498"/>
                    </a:cubicBezTo>
                    <a:cubicBezTo>
                      <a:pt x="464" y="498"/>
                      <a:pt x="465" y="499"/>
                      <a:pt x="466" y="499"/>
                    </a:cubicBezTo>
                    <a:cubicBezTo>
                      <a:pt x="466" y="500"/>
                      <a:pt x="467" y="500"/>
                      <a:pt x="468" y="500"/>
                    </a:cubicBezTo>
                    <a:cubicBezTo>
                      <a:pt x="470" y="501"/>
                      <a:pt x="471" y="503"/>
                      <a:pt x="474" y="503"/>
                    </a:cubicBezTo>
                    <a:cubicBezTo>
                      <a:pt x="475" y="503"/>
                      <a:pt x="476" y="503"/>
                      <a:pt x="477" y="503"/>
                    </a:cubicBezTo>
                    <a:cubicBezTo>
                      <a:pt x="478" y="503"/>
                      <a:pt x="478" y="504"/>
                      <a:pt x="479" y="505"/>
                    </a:cubicBezTo>
                    <a:cubicBezTo>
                      <a:pt x="481" y="505"/>
                      <a:pt x="485" y="505"/>
                      <a:pt x="487" y="505"/>
                    </a:cubicBezTo>
                    <a:cubicBezTo>
                      <a:pt x="488" y="502"/>
                      <a:pt x="485" y="500"/>
                      <a:pt x="485" y="497"/>
                    </a:cubicBezTo>
                    <a:cubicBezTo>
                      <a:pt x="484" y="497"/>
                      <a:pt x="484" y="497"/>
                      <a:pt x="483" y="496"/>
                    </a:cubicBezTo>
                    <a:cubicBezTo>
                      <a:pt x="483" y="496"/>
                      <a:pt x="483" y="495"/>
                      <a:pt x="482" y="495"/>
                    </a:cubicBezTo>
                    <a:cubicBezTo>
                      <a:pt x="482" y="495"/>
                      <a:pt x="481" y="495"/>
                      <a:pt x="480" y="495"/>
                    </a:cubicBezTo>
                    <a:cubicBezTo>
                      <a:pt x="476" y="494"/>
                      <a:pt x="477" y="489"/>
                      <a:pt x="477" y="486"/>
                    </a:cubicBezTo>
                    <a:cubicBezTo>
                      <a:pt x="477" y="484"/>
                      <a:pt x="478" y="481"/>
                      <a:pt x="477" y="479"/>
                    </a:cubicBezTo>
                    <a:cubicBezTo>
                      <a:pt x="476" y="479"/>
                      <a:pt x="476" y="478"/>
                      <a:pt x="475" y="478"/>
                    </a:cubicBezTo>
                    <a:cubicBezTo>
                      <a:pt x="475" y="477"/>
                      <a:pt x="475" y="475"/>
                      <a:pt x="475" y="474"/>
                    </a:cubicBezTo>
                    <a:cubicBezTo>
                      <a:pt x="475" y="472"/>
                      <a:pt x="474" y="471"/>
                      <a:pt x="473" y="468"/>
                    </a:cubicBezTo>
                    <a:cubicBezTo>
                      <a:pt x="473" y="467"/>
                      <a:pt x="473" y="467"/>
                      <a:pt x="473" y="466"/>
                    </a:cubicBezTo>
                    <a:cubicBezTo>
                      <a:pt x="473" y="465"/>
                      <a:pt x="473" y="464"/>
                      <a:pt x="473" y="464"/>
                    </a:cubicBezTo>
                    <a:cubicBezTo>
                      <a:pt x="473" y="462"/>
                      <a:pt x="473" y="464"/>
                      <a:pt x="474" y="462"/>
                    </a:cubicBezTo>
                    <a:cubicBezTo>
                      <a:pt x="476" y="461"/>
                      <a:pt x="477" y="459"/>
                      <a:pt x="478" y="458"/>
                    </a:cubicBezTo>
                    <a:cubicBezTo>
                      <a:pt x="480" y="457"/>
                      <a:pt x="481" y="457"/>
                      <a:pt x="482" y="455"/>
                    </a:cubicBezTo>
                    <a:cubicBezTo>
                      <a:pt x="483" y="455"/>
                      <a:pt x="484" y="454"/>
                      <a:pt x="484" y="453"/>
                    </a:cubicBezTo>
                    <a:cubicBezTo>
                      <a:pt x="485" y="451"/>
                      <a:pt x="487" y="448"/>
                      <a:pt x="488" y="445"/>
                    </a:cubicBezTo>
                    <a:cubicBezTo>
                      <a:pt x="491" y="440"/>
                      <a:pt x="494" y="436"/>
                      <a:pt x="497" y="431"/>
                    </a:cubicBezTo>
                    <a:cubicBezTo>
                      <a:pt x="498" y="429"/>
                      <a:pt x="499" y="427"/>
                      <a:pt x="500" y="426"/>
                    </a:cubicBezTo>
                    <a:cubicBezTo>
                      <a:pt x="500" y="426"/>
                      <a:pt x="500" y="425"/>
                      <a:pt x="500" y="424"/>
                    </a:cubicBezTo>
                    <a:cubicBezTo>
                      <a:pt x="500" y="424"/>
                      <a:pt x="500" y="423"/>
                      <a:pt x="501" y="423"/>
                    </a:cubicBezTo>
                    <a:cubicBezTo>
                      <a:pt x="501" y="421"/>
                      <a:pt x="501" y="419"/>
                      <a:pt x="502" y="419"/>
                    </a:cubicBezTo>
                    <a:cubicBezTo>
                      <a:pt x="503" y="417"/>
                      <a:pt x="505" y="417"/>
                      <a:pt x="506" y="416"/>
                    </a:cubicBezTo>
                    <a:cubicBezTo>
                      <a:pt x="508" y="412"/>
                      <a:pt x="512" y="410"/>
                      <a:pt x="514" y="406"/>
                    </a:cubicBezTo>
                    <a:cubicBezTo>
                      <a:pt x="517" y="403"/>
                      <a:pt x="521" y="398"/>
                      <a:pt x="525" y="396"/>
                    </a:cubicBezTo>
                    <a:cubicBezTo>
                      <a:pt x="530" y="392"/>
                      <a:pt x="536" y="390"/>
                      <a:pt x="542" y="390"/>
                    </a:cubicBezTo>
                    <a:cubicBezTo>
                      <a:pt x="544" y="390"/>
                      <a:pt x="550" y="391"/>
                      <a:pt x="551" y="390"/>
                    </a:cubicBezTo>
                    <a:cubicBezTo>
                      <a:pt x="553" y="389"/>
                      <a:pt x="552" y="385"/>
                      <a:pt x="552" y="382"/>
                    </a:cubicBezTo>
                    <a:cubicBezTo>
                      <a:pt x="552" y="383"/>
                      <a:pt x="552" y="383"/>
                      <a:pt x="551" y="384"/>
                    </a:cubicBezTo>
                    <a:cubicBezTo>
                      <a:pt x="551" y="383"/>
                      <a:pt x="552" y="382"/>
                      <a:pt x="552" y="382"/>
                    </a:cubicBezTo>
                    <a:cubicBezTo>
                      <a:pt x="552" y="377"/>
                      <a:pt x="552" y="372"/>
                      <a:pt x="552" y="367"/>
                    </a:cubicBezTo>
                    <a:cubicBezTo>
                      <a:pt x="552" y="365"/>
                      <a:pt x="552" y="364"/>
                      <a:pt x="551" y="362"/>
                    </a:cubicBezTo>
                    <a:cubicBezTo>
                      <a:pt x="550" y="361"/>
                      <a:pt x="548" y="360"/>
                      <a:pt x="548" y="360"/>
                    </a:cubicBezTo>
                    <a:cubicBezTo>
                      <a:pt x="547" y="360"/>
                      <a:pt x="545" y="359"/>
                      <a:pt x="545" y="359"/>
                    </a:cubicBezTo>
                    <a:cubicBezTo>
                      <a:pt x="541" y="354"/>
                      <a:pt x="556" y="355"/>
                      <a:pt x="556" y="355"/>
                    </a:cubicBezTo>
                    <a:cubicBezTo>
                      <a:pt x="557" y="354"/>
                      <a:pt x="557" y="353"/>
                      <a:pt x="557" y="35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73" name="Freeform 22">
                <a:extLst>
                  <a:ext uri="{FF2B5EF4-FFF2-40B4-BE49-F238E27FC236}">
                    <a16:creationId xmlns:a16="http://schemas.microsoft.com/office/drawing/2014/main" id="{97159F96-8678-4CB7-9962-3897663017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4238" y="4368800"/>
                <a:ext cx="700088" cy="392113"/>
              </a:xfrm>
              <a:custGeom>
                <a:avLst/>
                <a:gdLst/>
                <a:ahLst/>
                <a:cxnLst>
                  <a:cxn ang="0">
                    <a:pos x="261" y="202"/>
                  </a:cxn>
                  <a:cxn ang="0">
                    <a:pos x="275" y="194"/>
                  </a:cxn>
                  <a:cxn ang="0">
                    <a:pos x="288" y="192"/>
                  </a:cxn>
                  <a:cxn ang="0">
                    <a:pos x="306" y="190"/>
                  </a:cxn>
                  <a:cxn ang="0">
                    <a:pos x="322" y="178"/>
                  </a:cxn>
                  <a:cxn ang="0">
                    <a:pos x="334" y="162"/>
                  </a:cxn>
                  <a:cxn ang="0">
                    <a:pos x="344" y="152"/>
                  </a:cxn>
                  <a:cxn ang="0">
                    <a:pos x="354" y="140"/>
                  </a:cxn>
                  <a:cxn ang="0">
                    <a:pos x="368" y="137"/>
                  </a:cxn>
                  <a:cxn ang="0">
                    <a:pos x="373" y="135"/>
                  </a:cxn>
                  <a:cxn ang="0">
                    <a:pos x="354" y="101"/>
                  </a:cxn>
                  <a:cxn ang="0">
                    <a:pos x="332" y="94"/>
                  </a:cxn>
                  <a:cxn ang="0">
                    <a:pos x="317" y="87"/>
                  </a:cxn>
                  <a:cxn ang="0">
                    <a:pos x="306" y="72"/>
                  </a:cxn>
                  <a:cxn ang="0">
                    <a:pos x="289" y="65"/>
                  </a:cxn>
                  <a:cxn ang="0">
                    <a:pos x="272" y="63"/>
                  </a:cxn>
                  <a:cxn ang="0">
                    <a:pos x="268" y="76"/>
                  </a:cxn>
                  <a:cxn ang="0">
                    <a:pos x="252" y="82"/>
                  </a:cxn>
                  <a:cxn ang="0">
                    <a:pos x="242" y="66"/>
                  </a:cxn>
                  <a:cxn ang="0">
                    <a:pos x="241" y="48"/>
                  </a:cxn>
                  <a:cxn ang="0">
                    <a:pos x="232" y="40"/>
                  </a:cxn>
                  <a:cxn ang="0">
                    <a:pos x="218" y="35"/>
                  </a:cxn>
                  <a:cxn ang="0">
                    <a:pos x="193" y="26"/>
                  </a:cxn>
                  <a:cxn ang="0">
                    <a:pos x="181" y="10"/>
                  </a:cxn>
                  <a:cxn ang="0">
                    <a:pos x="157" y="13"/>
                  </a:cxn>
                  <a:cxn ang="0">
                    <a:pos x="145" y="19"/>
                  </a:cxn>
                  <a:cxn ang="0">
                    <a:pos x="137" y="4"/>
                  </a:cxn>
                  <a:cxn ang="0">
                    <a:pos x="126" y="9"/>
                  </a:cxn>
                  <a:cxn ang="0">
                    <a:pos x="115" y="20"/>
                  </a:cxn>
                  <a:cxn ang="0">
                    <a:pos x="102" y="26"/>
                  </a:cxn>
                  <a:cxn ang="0">
                    <a:pos x="86" y="30"/>
                  </a:cxn>
                  <a:cxn ang="0">
                    <a:pos x="78" y="41"/>
                  </a:cxn>
                  <a:cxn ang="0">
                    <a:pos x="71" y="41"/>
                  </a:cxn>
                  <a:cxn ang="0">
                    <a:pos x="61" y="48"/>
                  </a:cxn>
                  <a:cxn ang="0">
                    <a:pos x="51" y="56"/>
                  </a:cxn>
                  <a:cxn ang="0">
                    <a:pos x="39" y="55"/>
                  </a:cxn>
                  <a:cxn ang="0">
                    <a:pos x="28" y="59"/>
                  </a:cxn>
                  <a:cxn ang="0">
                    <a:pos x="15" y="73"/>
                  </a:cxn>
                  <a:cxn ang="0">
                    <a:pos x="11" y="75"/>
                  </a:cxn>
                  <a:cxn ang="0">
                    <a:pos x="2" y="68"/>
                  </a:cxn>
                  <a:cxn ang="0">
                    <a:pos x="11" y="88"/>
                  </a:cxn>
                  <a:cxn ang="0">
                    <a:pos x="23" y="102"/>
                  </a:cxn>
                  <a:cxn ang="0">
                    <a:pos x="18" y="117"/>
                  </a:cxn>
                  <a:cxn ang="0">
                    <a:pos x="29" y="137"/>
                  </a:cxn>
                  <a:cxn ang="0">
                    <a:pos x="40" y="148"/>
                  </a:cxn>
                  <a:cxn ang="0">
                    <a:pos x="54" y="164"/>
                  </a:cxn>
                  <a:cxn ang="0">
                    <a:pos x="66" y="171"/>
                  </a:cxn>
                  <a:cxn ang="0">
                    <a:pos x="83" y="186"/>
                  </a:cxn>
                  <a:cxn ang="0">
                    <a:pos x="91" y="194"/>
                  </a:cxn>
                  <a:cxn ang="0">
                    <a:pos x="102" y="207"/>
                  </a:cxn>
                  <a:cxn ang="0">
                    <a:pos x="114" y="210"/>
                  </a:cxn>
                  <a:cxn ang="0">
                    <a:pos x="127" y="208"/>
                  </a:cxn>
                  <a:cxn ang="0">
                    <a:pos x="136" y="207"/>
                  </a:cxn>
                  <a:cxn ang="0">
                    <a:pos x="151" y="192"/>
                  </a:cxn>
                  <a:cxn ang="0">
                    <a:pos x="157" y="175"/>
                  </a:cxn>
                  <a:cxn ang="0">
                    <a:pos x="172" y="178"/>
                  </a:cxn>
                  <a:cxn ang="0">
                    <a:pos x="194" y="187"/>
                  </a:cxn>
                  <a:cxn ang="0">
                    <a:pos x="215" y="196"/>
                  </a:cxn>
                  <a:cxn ang="0">
                    <a:pos x="238" y="193"/>
                  </a:cxn>
                  <a:cxn ang="0">
                    <a:pos x="254" y="200"/>
                  </a:cxn>
                  <a:cxn ang="0">
                    <a:pos x="261" y="202"/>
                  </a:cxn>
                </a:cxnLst>
                <a:rect l="0" t="0" r="r" b="b"/>
                <a:pathLst>
                  <a:path w="375" h="210">
                    <a:moveTo>
                      <a:pt x="159" y="8"/>
                    </a:moveTo>
                    <a:cubicBezTo>
                      <a:pt x="159" y="8"/>
                      <a:pt x="159" y="8"/>
                      <a:pt x="159" y="8"/>
                    </a:cubicBezTo>
                    <a:cubicBezTo>
                      <a:pt x="159" y="8"/>
                      <a:pt x="159" y="7"/>
                      <a:pt x="159" y="7"/>
                    </a:cubicBezTo>
                    <a:cubicBezTo>
                      <a:pt x="159" y="7"/>
                      <a:pt x="159" y="8"/>
                      <a:pt x="159" y="8"/>
                    </a:cubicBezTo>
                    <a:moveTo>
                      <a:pt x="261" y="202"/>
                    </a:moveTo>
                    <a:cubicBezTo>
                      <a:pt x="262" y="202"/>
                      <a:pt x="263" y="203"/>
                      <a:pt x="264" y="202"/>
                    </a:cubicBezTo>
                    <a:cubicBezTo>
                      <a:pt x="267" y="202"/>
                      <a:pt x="268" y="201"/>
                      <a:pt x="270" y="200"/>
                    </a:cubicBezTo>
                    <a:cubicBezTo>
                      <a:pt x="271" y="199"/>
                      <a:pt x="271" y="198"/>
                      <a:pt x="272" y="197"/>
                    </a:cubicBezTo>
                    <a:cubicBezTo>
                      <a:pt x="272" y="196"/>
                      <a:pt x="273" y="196"/>
                      <a:pt x="273" y="196"/>
                    </a:cubicBezTo>
                    <a:cubicBezTo>
                      <a:pt x="274" y="195"/>
                      <a:pt x="274" y="194"/>
                      <a:pt x="275" y="194"/>
                    </a:cubicBezTo>
                    <a:cubicBezTo>
                      <a:pt x="276" y="193"/>
                      <a:pt x="277" y="192"/>
                      <a:pt x="278" y="191"/>
                    </a:cubicBezTo>
                    <a:cubicBezTo>
                      <a:pt x="279" y="191"/>
                      <a:pt x="279" y="189"/>
                      <a:pt x="280" y="188"/>
                    </a:cubicBezTo>
                    <a:cubicBezTo>
                      <a:pt x="282" y="188"/>
                      <a:pt x="282" y="189"/>
                      <a:pt x="282" y="190"/>
                    </a:cubicBezTo>
                    <a:cubicBezTo>
                      <a:pt x="283" y="190"/>
                      <a:pt x="284" y="190"/>
                      <a:pt x="285" y="191"/>
                    </a:cubicBezTo>
                    <a:cubicBezTo>
                      <a:pt x="286" y="191"/>
                      <a:pt x="287" y="192"/>
                      <a:pt x="288" y="192"/>
                    </a:cubicBezTo>
                    <a:cubicBezTo>
                      <a:pt x="292" y="194"/>
                      <a:pt x="296" y="193"/>
                      <a:pt x="300" y="192"/>
                    </a:cubicBezTo>
                    <a:cubicBezTo>
                      <a:pt x="301" y="192"/>
                      <a:pt x="302" y="193"/>
                      <a:pt x="303" y="192"/>
                    </a:cubicBezTo>
                    <a:cubicBezTo>
                      <a:pt x="303" y="192"/>
                      <a:pt x="303" y="192"/>
                      <a:pt x="303" y="191"/>
                    </a:cubicBezTo>
                    <a:cubicBezTo>
                      <a:pt x="303" y="191"/>
                      <a:pt x="304" y="191"/>
                      <a:pt x="304" y="191"/>
                    </a:cubicBezTo>
                    <a:cubicBezTo>
                      <a:pt x="305" y="190"/>
                      <a:pt x="305" y="190"/>
                      <a:pt x="306" y="190"/>
                    </a:cubicBezTo>
                    <a:cubicBezTo>
                      <a:pt x="308" y="189"/>
                      <a:pt x="310" y="188"/>
                      <a:pt x="311" y="187"/>
                    </a:cubicBezTo>
                    <a:cubicBezTo>
                      <a:pt x="312" y="186"/>
                      <a:pt x="314" y="185"/>
                      <a:pt x="315" y="184"/>
                    </a:cubicBezTo>
                    <a:cubicBezTo>
                      <a:pt x="316" y="184"/>
                      <a:pt x="317" y="183"/>
                      <a:pt x="318" y="182"/>
                    </a:cubicBezTo>
                    <a:cubicBezTo>
                      <a:pt x="319" y="181"/>
                      <a:pt x="319" y="181"/>
                      <a:pt x="319" y="180"/>
                    </a:cubicBezTo>
                    <a:cubicBezTo>
                      <a:pt x="320" y="179"/>
                      <a:pt x="320" y="179"/>
                      <a:pt x="322" y="178"/>
                    </a:cubicBezTo>
                    <a:cubicBezTo>
                      <a:pt x="323" y="178"/>
                      <a:pt x="323" y="178"/>
                      <a:pt x="324" y="178"/>
                    </a:cubicBezTo>
                    <a:cubicBezTo>
                      <a:pt x="325" y="177"/>
                      <a:pt x="326" y="178"/>
                      <a:pt x="326" y="178"/>
                    </a:cubicBezTo>
                    <a:cubicBezTo>
                      <a:pt x="327" y="177"/>
                      <a:pt x="327" y="176"/>
                      <a:pt x="327" y="175"/>
                    </a:cubicBezTo>
                    <a:cubicBezTo>
                      <a:pt x="329" y="173"/>
                      <a:pt x="331" y="171"/>
                      <a:pt x="331" y="168"/>
                    </a:cubicBezTo>
                    <a:cubicBezTo>
                      <a:pt x="331" y="165"/>
                      <a:pt x="333" y="164"/>
                      <a:pt x="334" y="162"/>
                    </a:cubicBezTo>
                    <a:cubicBezTo>
                      <a:pt x="334" y="161"/>
                      <a:pt x="334" y="159"/>
                      <a:pt x="334" y="159"/>
                    </a:cubicBezTo>
                    <a:cubicBezTo>
                      <a:pt x="335" y="158"/>
                      <a:pt x="335" y="157"/>
                      <a:pt x="336" y="156"/>
                    </a:cubicBezTo>
                    <a:cubicBezTo>
                      <a:pt x="336" y="155"/>
                      <a:pt x="336" y="153"/>
                      <a:pt x="337" y="153"/>
                    </a:cubicBezTo>
                    <a:cubicBezTo>
                      <a:pt x="338" y="153"/>
                      <a:pt x="340" y="153"/>
                      <a:pt x="341" y="153"/>
                    </a:cubicBezTo>
                    <a:cubicBezTo>
                      <a:pt x="342" y="153"/>
                      <a:pt x="343" y="152"/>
                      <a:pt x="344" y="152"/>
                    </a:cubicBezTo>
                    <a:cubicBezTo>
                      <a:pt x="344" y="151"/>
                      <a:pt x="345" y="150"/>
                      <a:pt x="345" y="150"/>
                    </a:cubicBezTo>
                    <a:cubicBezTo>
                      <a:pt x="345" y="149"/>
                      <a:pt x="345" y="149"/>
                      <a:pt x="346" y="149"/>
                    </a:cubicBezTo>
                    <a:cubicBezTo>
                      <a:pt x="347" y="147"/>
                      <a:pt x="347" y="145"/>
                      <a:pt x="350" y="143"/>
                    </a:cubicBezTo>
                    <a:cubicBezTo>
                      <a:pt x="351" y="143"/>
                      <a:pt x="352" y="143"/>
                      <a:pt x="352" y="142"/>
                    </a:cubicBezTo>
                    <a:cubicBezTo>
                      <a:pt x="353" y="141"/>
                      <a:pt x="353" y="141"/>
                      <a:pt x="354" y="140"/>
                    </a:cubicBezTo>
                    <a:cubicBezTo>
                      <a:pt x="355" y="140"/>
                      <a:pt x="356" y="139"/>
                      <a:pt x="357" y="138"/>
                    </a:cubicBezTo>
                    <a:cubicBezTo>
                      <a:pt x="358" y="137"/>
                      <a:pt x="357" y="136"/>
                      <a:pt x="359" y="136"/>
                    </a:cubicBezTo>
                    <a:cubicBezTo>
                      <a:pt x="360" y="136"/>
                      <a:pt x="361" y="137"/>
                      <a:pt x="363" y="138"/>
                    </a:cubicBezTo>
                    <a:cubicBezTo>
                      <a:pt x="364" y="138"/>
                      <a:pt x="365" y="138"/>
                      <a:pt x="366" y="137"/>
                    </a:cubicBezTo>
                    <a:cubicBezTo>
                      <a:pt x="368" y="137"/>
                      <a:pt x="367" y="137"/>
                      <a:pt x="368" y="137"/>
                    </a:cubicBezTo>
                    <a:cubicBezTo>
                      <a:pt x="369" y="136"/>
                      <a:pt x="369" y="136"/>
                      <a:pt x="370" y="136"/>
                    </a:cubicBezTo>
                    <a:cubicBezTo>
                      <a:pt x="371" y="135"/>
                      <a:pt x="373" y="135"/>
                      <a:pt x="375" y="135"/>
                    </a:cubicBezTo>
                    <a:cubicBezTo>
                      <a:pt x="375" y="135"/>
                      <a:pt x="375" y="135"/>
                      <a:pt x="375" y="135"/>
                    </a:cubicBezTo>
                    <a:cubicBezTo>
                      <a:pt x="375" y="135"/>
                      <a:pt x="375" y="135"/>
                      <a:pt x="375" y="135"/>
                    </a:cubicBezTo>
                    <a:cubicBezTo>
                      <a:pt x="374" y="135"/>
                      <a:pt x="373" y="135"/>
                      <a:pt x="373" y="135"/>
                    </a:cubicBezTo>
                    <a:cubicBezTo>
                      <a:pt x="372" y="133"/>
                      <a:pt x="373" y="132"/>
                      <a:pt x="374" y="130"/>
                    </a:cubicBezTo>
                    <a:cubicBezTo>
                      <a:pt x="374" y="129"/>
                      <a:pt x="374" y="127"/>
                      <a:pt x="374" y="125"/>
                    </a:cubicBezTo>
                    <a:cubicBezTo>
                      <a:pt x="374" y="122"/>
                      <a:pt x="372" y="121"/>
                      <a:pt x="369" y="119"/>
                    </a:cubicBezTo>
                    <a:cubicBezTo>
                      <a:pt x="364" y="116"/>
                      <a:pt x="362" y="110"/>
                      <a:pt x="365" y="104"/>
                    </a:cubicBezTo>
                    <a:cubicBezTo>
                      <a:pt x="361" y="103"/>
                      <a:pt x="358" y="103"/>
                      <a:pt x="354" y="101"/>
                    </a:cubicBezTo>
                    <a:cubicBezTo>
                      <a:pt x="352" y="100"/>
                      <a:pt x="350" y="99"/>
                      <a:pt x="348" y="99"/>
                    </a:cubicBezTo>
                    <a:cubicBezTo>
                      <a:pt x="348" y="99"/>
                      <a:pt x="348" y="99"/>
                      <a:pt x="348" y="98"/>
                    </a:cubicBezTo>
                    <a:cubicBezTo>
                      <a:pt x="345" y="98"/>
                      <a:pt x="344" y="97"/>
                      <a:pt x="342" y="97"/>
                    </a:cubicBezTo>
                    <a:cubicBezTo>
                      <a:pt x="340" y="96"/>
                      <a:pt x="338" y="96"/>
                      <a:pt x="336" y="96"/>
                    </a:cubicBezTo>
                    <a:cubicBezTo>
                      <a:pt x="334" y="95"/>
                      <a:pt x="334" y="94"/>
                      <a:pt x="332" y="94"/>
                    </a:cubicBezTo>
                    <a:cubicBezTo>
                      <a:pt x="331" y="93"/>
                      <a:pt x="330" y="94"/>
                      <a:pt x="328" y="93"/>
                    </a:cubicBezTo>
                    <a:cubicBezTo>
                      <a:pt x="327" y="93"/>
                      <a:pt x="327" y="93"/>
                      <a:pt x="327" y="93"/>
                    </a:cubicBezTo>
                    <a:cubicBezTo>
                      <a:pt x="326" y="92"/>
                      <a:pt x="326" y="92"/>
                      <a:pt x="325" y="91"/>
                    </a:cubicBezTo>
                    <a:cubicBezTo>
                      <a:pt x="324" y="91"/>
                      <a:pt x="322" y="92"/>
                      <a:pt x="320" y="91"/>
                    </a:cubicBezTo>
                    <a:cubicBezTo>
                      <a:pt x="319" y="90"/>
                      <a:pt x="318" y="88"/>
                      <a:pt x="317" y="87"/>
                    </a:cubicBezTo>
                    <a:cubicBezTo>
                      <a:pt x="315" y="87"/>
                      <a:pt x="314" y="85"/>
                      <a:pt x="313" y="84"/>
                    </a:cubicBezTo>
                    <a:cubicBezTo>
                      <a:pt x="312" y="83"/>
                      <a:pt x="311" y="82"/>
                      <a:pt x="311" y="81"/>
                    </a:cubicBezTo>
                    <a:cubicBezTo>
                      <a:pt x="312" y="79"/>
                      <a:pt x="314" y="79"/>
                      <a:pt x="315" y="77"/>
                    </a:cubicBezTo>
                    <a:cubicBezTo>
                      <a:pt x="315" y="76"/>
                      <a:pt x="315" y="73"/>
                      <a:pt x="315" y="72"/>
                    </a:cubicBezTo>
                    <a:cubicBezTo>
                      <a:pt x="313" y="69"/>
                      <a:pt x="309" y="72"/>
                      <a:pt x="306" y="72"/>
                    </a:cubicBezTo>
                    <a:cubicBezTo>
                      <a:pt x="305" y="72"/>
                      <a:pt x="301" y="73"/>
                      <a:pt x="299" y="72"/>
                    </a:cubicBezTo>
                    <a:cubicBezTo>
                      <a:pt x="298" y="72"/>
                      <a:pt x="299" y="71"/>
                      <a:pt x="298" y="71"/>
                    </a:cubicBezTo>
                    <a:cubicBezTo>
                      <a:pt x="297" y="70"/>
                      <a:pt x="297" y="71"/>
                      <a:pt x="296" y="70"/>
                    </a:cubicBezTo>
                    <a:cubicBezTo>
                      <a:pt x="295" y="70"/>
                      <a:pt x="294" y="68"/>
                      <a:pt x="292" y="68"/>
                    </a:cubicBezTo>
                    <a:cubicBezTo>
                      <a:pt x="290" y="67"/>
                      <a:pt x="289" y="67"/>
                      <a:pt x="289" y="65"/>
                    </a:cubicBezTo>
                    <a:cubicBezTo>
                      <a:pt x="288" y="65"/>
                      <a:pt x="286" y="64"/>
                      <a:pt x="285" y="63"/>
                    </a:cubicBezTo>
                    <a:cubicBezTo>
                      <a:pt x="284" y="62"/>
                      <a:pt x="284" y="63"/>
                      <a:pt x="282" y="62"/>
                    </a:cubicBezTo>
                    <a:cubicBezTo>
                      <a:pt x="283" y="61"/>
                      <a:pt x="282" y="60"/>
                      <a:pt x="282" y="60"/>
                    </a:cubicBezTo>
                    <a:cubicBezTo>
                      <a:pt x="279" y="58"/>
                      <a:pt x="274" y="58"/>
                      <a:pt x="270" y="58"/>
                    </a:cubicBezTo>
                    <a:cubicBezTo>
                      <a:pt x="270" y="60"/>
                      <a:pt x="271" y="61"/>
                      <a:pt x="272" y="63"/>
                    </a:cubicBezTo>
                    <a:cubicBezTo>
                      <a:pt x="273" y="64"/>
                      <a:pt x="273" y="64"/>
                      <a:pt x="274" y="65"/>
                    </a:cubicBezTo>
                    <a:cubicBezTo>
                      <a:pt x="276" y="67"/>
                      <a:pt x="278" y="67"/>
                      <a:pt x="279" y="70"/>
                    </a:cubicBezTo>
                    <a:cubicBezTo>
                      <a:pt x="279" y="72"/>
                      <a:pt x="278" y="72"/>
                      <a:pt x="276" y="73"/>
                    </a:cubicBezTo>
                    <a:cubicBezTo>
                      <a:pt x="274" y="73"/>
                      <a:pt x="272" y="74"/>
                      <a:pt x="271" y="75"/>
                    </a:cubicBezTo>
                    <a:cubicBezTo>
                      <a:pt x="270" y="75"/>
                      <a:pt x="269" y="75"/>
                      <a:pt x="268" y="76"/>
                    </a:cubicBezTo>
                    <a:cubicBezTo>
                      <a:pt x="266" y="77"/>
                      <a:pt x="267" y="78"/>
                      <a:pt x="265" y="80"/>
                    </a:cubicBezTo>
                    <a:cubicBezTo>
                      <a:pt x="263" y="81"/>
                      <a:pt x="263" y="80"/>
                      <a:pt x="262" y="82"/>
                    </a:cubicBezTo>
                    <a:cubicBezTo>
                      <a:pt x="262" y="82"/>
                      <a:pt x="261" y="82"/>
                      <a:pt x="261" y="83"/>
                    </a:cubicBezTo>
                    <a:cubicBezTo>
                      <a:pt x="259" y="85"/>
                      <a:pt x="257" y="87"/>
                      <a:pt x="254" y="85"/>
                    </a:cubicBezTo>
                    <a:cubicBezTo>
                      <a:pt x="253" y="84"/>
                      <a:pt x="253" y="83"/>
                      <a:pt x="252" y="82"/>
                    </a:cubicBezTo>
                    <a:cubicBezTo>
                      <a:pt x="251" y="80"/>
                      <a:pt x="250" y="79"/>
                      <a:pt x="250" y="77"/>
                    </a:cubicBezTo>
                    <a:cubicBezTo>
                      <a:pt x="250" y="75"/>
                      <a:pt x="249" y="74"/>
                      <a:pt x="248" y="72"/>
                    </a:cubicBezTo>
                    <a:cubicBezTo>
                      <a:pt x="247" y="71"/>
                      <a:pt x="247" y="71"/>
                      <a:pt x="246" y="70"/>
                    </a:cubicBezTo>
                    <a:cubicBezTo>
                      <a:pt x="246" y="70"/>
                      <a:pt x="245" y="68"/>
                      <a:pt x="245" y="68"/>
                    </a:cubicBezTo>
                    <a:cubicBezTo>
                      <a:pt x="244" y="67"/>
                      <a:pt x="243" y="67"/>
                      <a:pt x="242" y="66"/>
                    </a:cubicBezTo>
                    <a:cubicBezTo>
                      <a:pt x="241" y="65"/>
                      <a:pt x="240" y="64"/>
                      <a:pt x="238" y="63"/>
                    </a:cubicBezTo>
                    <a:cubicBezTo>
                      <a:pt x="236" y="62"/>
                      <a:pt x="234" y="62"/>
                      <a:pt x="233" y="59"/>
                    </a:cubicBezTo>
                    <a:cubicBezTo>
                      <a:pt x="233" y="58"/>
                      <a:pt x="233" y="56"/>
                      <a:pt x="234" y="55"/>
                    </a:cubicBezTo>
                    <a:cubicBezTo>
                      <a:pt x="235" y="53"/>
                      <a:pt x="237" y="52"/>
                      <a:pt x="238" y="51"/>
                    </a:cubicBezTo>
                    <a:cubicBezTo>
                      <a:pt x="239" y="50"/>
                      <a:pt x="240" y="49"/>
                      <a:pt x="241" y="48"/>
                    </a:cubicBezTo>
                    <a:cubicBezTo>
                      <a:pt x="241" y="47"/>
                      <a:pt x="242" y="46"/>
                      <a:pt x="243" y="45"/>
                    </a:cubicBezTo>
                    <a:cubicBezTo>
                      <a:pt x="243" y="44"/>
                      <a:pt x="243" y="42"/>
                      <a:pt x="243" y="42"/>
                    </a:cubicBezTo>
                    <a:cubicBezTo>
                      <a:pt x="242" y="40"/>
                      <a:pt x="243" y="42"/>
                      <a:pt x="241" y="41"/>
                    </a:cubicBezTo>
                    <a:cubicBezTo>
                      <a:pt x="240" y="40"/>
                      <a:pt x="240" y="40"/>
                      <a:pt x="238" y="40"/>
                    </a:cubicBezTo>
                    <a:cubicBezTo>
                      <a:pt x="236" y="39"/>
                      <a:pt x="234" y="40"/>
                      <a:pt x="232" y="40"/>
                    </a:cubicBezTo>
                    <a:cubicBezTo>
                      <a:pt x="230" y="40"/>
                      <a:pt x="229" y="40"/>
                      <a:pt x="227" y="39"/>
                    </a:cubicBezTo>
                    <a:cubicBezTo>
                      <a:pt x="227" y="39"/>
                      <a:pt x="225" y="39"/>
                      <a:pt x="225" y="39"/>
                    </a:cubicBezTo>
                    <a:cubicBezTo>
                      <a:pt x="224" y="38"/>
                      <a:pt x="223" y="37"/>
                      <a:pt x="223" y="37"/>
                    </a:cubicBezTo>
                    <a:cubicBezTo>
                      <a:pt x="222" y="36"/>
                      <a:pt x="221" y="37"/>
                      <a:pt x="220" y="36"/>
                    </a:cubicBezTo>
                    <a:cubicBezTo>
                      <a:pt x="219" y="36"/>
                      <a:pt x="219" y="35"/>
                      <a:pt x="218" y="35"/>
                    </a:cubicBezTo>
                    <a:cubicBezTo>
                      <a:pt x="216" y="34"/>
                      <a:pt x="215" y="34"/>
                      <a:pt x="213" y="33"/>
                    </a:cubicBezTo>
                    <a:cubicBezTo>
                      <a:pt x="212" y="33"/>
                      <a:pt x="211" y="32"/>
                      <a:pt x="209" y="32"/>
                    </a:cubicBezTo>
                    <a:cubicBezTo>
                      <a:pt x="207" y="31"/>
                      <a:pt x="204" y="29"/>
                      <a:pt x="202" y="28"/>
                    </a:cubicBezTo>
                    <a:cubicBezTo>
                      <a:pt x="200" y="28"/>
                      <a:pt x="198" y="26"/>
                      <a:pt x="196" y="26"/>
                    </a:cubicBezTo>
                    <a:cubicBezTo>
                      <a:pt x="195" y="26"/>
                      <a:pt x="194" y="26"/>
                      <a:pt x="193" y="26"/>
                    </a:cubicBezTo>
                    <a:cubicBezTo>
                      <a:pt x="191" y="25"/>
                      <a:pt x="190" y="22"/>
                      <a:pt x="189" y="20"/>
                    </a:cubicBezTo>
                    <a:cubicBezTo>
                      <a:pt x="187" y="18"/>
                      <a:pt x="186" y="16"/>
                      <a:pt x="184" y="13"/>
                    </a:cubicBezTo>
                    <a:cubicBezTo>
                      <a:pt x="184" y="13"/>
                      <a:pt x="183" y="12"/>
                      <a:pt x="183" y="12"/>
                    </a:cubicBezTo>
                    <a:cubicBezTo>
                      <a:pt x="183" y="11"/>
                      <a:pt x="183" y="11"/>
                      <a:pt x="182" y="11"/>
                    </a:cubicBezTo>
                    <a:cubicBezTo>
                      <a:pt x="182" y="10"/>
                      <a:pt x="181" y="10"/>
                      <a:pt x="181" y="10"/>
                    </a:cubicBezTo>
                    <a:cubicBezTo>
                      <a:pt x="180" y="8"/>
                      <a:pt x="180" y="8"/>
                      <a:pt x="177" y="8"/>
                    </a:cubicBezTo>
                    <a:cubicBezTo>
                      <a:pt x="173" y="8"/>
                      <a:pt x="170" y="8"/>
                      <a:pt x="166" y="8"/>
                    </a:cubicBezTo>
                    <a:cubicBezTo>
                      <a:pt x="164" y="8"/>
                      <a:pt x="161" y="8"/>
                      <a:pt x="159" y="8"/>
                    </a:cubicBezTo>
                    <a:cubicBezTo>
                      <a:pt x="160" y="8"/>
                      <a:pt x="160" y="8"/>
                      <a:pt x="160" y="9"/>
                    </a:cubicBezTo>
                    <a:cubicBezTo>
                      <a:pt x="161" y="11"/>
                      <a:pt x="158" y="12"/>
                      <a:pt x="157" y="13"/>
                    </a:cubicBezTo>
                    <a:cubicBezTo>
                      <a:pt x="157" y="14"/>
                      <a:pt x="157" y="17"/>
                      <a:pt x="158" y="18"/>
                    </a:cubicBezTo>
                    <a:cubicBezTo>
                      <a:pt x="156" y="16"/>
                      <a:pt x="154" y="19"/>
                      <a:pt x="153" y="20"/>
                    </a:cubicBezTo>
                    <a:cubicBezTo>
                      <a:pt x="152" y="21"/>
                      <a:pt x="151" y="22"/>
                      <a:pt x="150" y="22"/>
                    </a:cubicBezTo>
                    <a:cubicBezTo>
                      <a:pt x="149" y="22"/>
                      <a:pt x="146" y="22"/>
                      <a:pt x="146" y="22"/>
                    </a:cubicBezTo>
                    <a:cubicBezTo>
                      <a:pt x="145" y="21"/>
                      <a:pt x="145" y="20"/>
                      <a:pt x="145" y="19"/>
                    </a:cubicBezTo>
                    <a:cubicBezTo>
                      <a:pt x="145" y="18"/>
                      <a:pt x="145" y="18"/>
                      <a:pt x="145" y="18"/>
                    </a:cubicBezTo>
                    <a:cubicBezTo>
                      <a:pt x="144" y="17"/>
                      <a:pt x="142" y="16"/>
                      <a:pt x="141" y="16"/>
                    </a:cubicBezTo>
                    <a:cubicBezTo>
                      <a:pt x="139" y="15"/>
                      <a:pt x="139" y="15"/>
                      <a:pt x="140" y="13"/>
                    </a:cubicBezTo>
                    <a:cubicBezTo>
                      <a:pt x="141" y="12"/>
                      <a:pt x="141" y="11"/>
                      <a:pt x="142" y="10"/>
                    </a:cubicBezTo>
                    <a:cubicBezTo>
                      <a:pt x="142" y="8"/>
                      <a:pt x="139" y="4"/>
                      <a:pt x="137" y="4"/>
                    </a:cubicBezTo>
                    <a:cubicBezTo>
                      <a:pt x="136" y="3"/>
                      <a:pt x="135" y="2"/>
                      <a:pt x="134" y="1"/>
                    </a:cubicBezTo>
                    <a:cubicBezTo>
                      <a:pt x="133" y="0"/>
                      <a:pt x="133" y="0"/>
                      <a:pt x="131" y="1"/>
                    </a:cubicBezTo>
                    <a:cubicBezTo>
                      <a:pt x="130" y="1"/>
                      <a:pt x="129" y="3"/>
                      <a:pt x="128" y="4"/>
                    </a:cubicBezTo>
                    <a:cubicBezTo>
                      <a:pt x="126" y="5"/>
                      <a:pt x="123" y="6"/>
                      <a:pt x="121" y="6"/>
                    </a:cubicBezTo>
                    <a:cubicBezTo>
                      <a:pt x="122" y="7"/>
                      <a:pt x="124" y="8"/>
                      <a:pt x="126" y="9"/>
                    </a:cubicBezTo>
                    <a:cubicBezTo>
                      <a:pt x="126" y="10"/>
                      <a:pt x="130" y="12"/>
                      <a:pt x="129" y="13"/>
                    </a:cubicBezTo>
                    <a:cubicBezTo>
                      <a:pt x="129" y="14"/>
                      <a:pt x="128" y="14"/>
                      <a:pt x="127" y="15"/>
                    </a:cubicBezTo>
                    <a:cubicBezTo>
                      <a:pt x="125" y="16"/>
                      <a:pt x="123" y="17"/>
                      <a:pt x="121" y="17"/>
                    </a:cubicBezTo>
                    <a:cubicBezTo>
                      <a:pt x="120" y="18"/>
                      <a:pt x="118" y="19"/>
                      <a:pt x="117" y="20"/>
                    </a:cubicBezTo>
                    <a:cubicBezTo>
                      <a:pt x="116" y="20"/>
                      <a:pt x="116" y="21"/>
                      <a:pt x="115" y="20"/>
                    </a:cubicBezTo>
                    <a:cubicBezTo>
                      <a:pt x="114" y="19"/>
                      <a:pt x="113" y="21"/>
                      <a:pt x="112" y="21"/>
                    </a:cubicBezTo>
                    <a:cubicBezTo>
                      <a:pt x="111" y="22"/>
                      <a:pt x="110" y="21"/>
                      <a:pt x="109" y="21"/>
                    </a:cubicBezTo>
                    <a:cubicBezTo>
                      <a:pt x="108" y="21"/>
                      <a:pt x="105" y="22"/>
                      <a:pt x="105" y="23"/>
                    </a:cubicBezTo>
                    <a:cubicBezTo>
                      <a:pt x="105" y="23"/>
                      <a:pt x="105" y="24"/>
                      <a:pt x="105" y="24"/>
                    </a:cubicBezTo>
                    <a:cubicBezTo>
                      <a:pt x="104" y="25"/>
                      <a:pt x="103" y="26"/>
                      <a:pt x="102" y="26"/>
                    </a:cubicBezTo>
                    <a:cubicBezTo>
                      <a:pt x="101" y="27"/>
                      <a:pt x="101" y="28"/>
                      <a:pt x="100" y="28"/>
                    </a:cubicBezTo>
                    <a:cubicBezTo>
                      <a:pt x="99" y="28"/>
                      <a:pt x="98" y="28"/>
                      <a:pt x="97" y="28"/>
                    </a:cubicBezTo>
                    <a:cubicBezTo>
                      <a:pt x="96" y="28"/>
                      <a:pt x="94" y="29"/>
                      <a:pt x="93" y="29"/>
                    </a:cubicBezTo>
                    <a:cubicBezTo>
                      <a:pt x="91" y="29"/>
                      <a:pt x="90" y="30"/>
                      <a:pt x="88" y="30"/>
                    </a:cubicBezTo>
                    <a:cubicBezTo>
                      <a:pt x="87" y="30"/>
                      <a:pt x="87" y="30"/>
                      <a:pt x="86" y="30"/>
                    </a:cubicBezTo>
                    <a:cubicBezTo>
                      <a:pt x="85" y="30"/>
                      <a:pt x="84" y="31"/>
                      <a:pt x="83" y="32"/>
                    </a:cubicBezTo>
                    <a:cubicBezTo>
                      <a:pt x="83" y="32"/>
                      <a:pt x="82" y="32"/>
                      <a:pt x="82" y="33"/>
                    </a:cubicBezTo>
                    <a:cubicBezTo>
                      <a:pt x="81" y="34"/>
                      <a:pt x="81" y="36"/>
                      <a:pt x="81" y="37"/>
                    </a:cubicBezTo>
                    <a:cubicBezTo>
                      <a:pt x="81" y="38"/>
                      <a:pt x="82" y="40"/>
                      <a:pt x="81" y="40"/>
                    </a:cubicBezTo>
                    <a:cubicBezTo>
                      <a:pt x="80" y="41"/>
                      <a:pt x="79" y="41"/>
                      <a:pt x="78" y="41"/>
                    </a:cubicBezTo>
                    <a:cubicBezTo>
                      <a:pt x="78" y="41"/>
                      <a:pt x="76" y="41"/>
                      <a:pt x="75" y="41"/>
                    </a:cubicBezTo>
                    <a:cubicBezTo>
                      <a:pt x="75" y="40"/>
                      <a:pt x="75" y="38"/>
                      <a:pt x="74" y="38"/>
                    </a:cubicBezTo>
                    <a:cubicBezTo>
                      <a:pt x="74" y="37"/>
                      <a:pt x="72" y="36"/>
                      <a:pt x="71" y="38"/>
                    </a:cubicBezTo>
                    <a:cubicBezTo>
                      <a:pt x="71" y="38"/>
                      <a:pt x="71" y="39"/>
                      <a:pt x="71" y="40"/>
                    </a:cubicBezTo>
                    <a:cubicBezTo>
                      <a:pt x="71" y="40"/>
                      <a:pt x="71" y="40"/>
                      <a:pt x="71" y="41"/>
                    </a:cubicBezTo>
                    <a:cubicBezTo>
                      <a:pt x="70" y="42"/>
                      <a:pt x="70" y="43"/>
                      <a:pt x="70" y="44"/>
                    </a:cubicBezTo>
                    <a:cubicBezTo>
                      <a:pt x="68" y="44"/>
                      <a:pt x="66" y="41"/>
                      <a:pt x="65" y="43"/>
                    </a:cubicBezTo>
                    <a:cubicBezTo>
                      <a:pt x="64" y="43"/>
                      <a:pt x="64" y="44"/>
                      <a:pt x="64" y="45"/>
                    </a:cubicBezTo>
                    <a:cubicBezTo>
                      <a:pt x="64" y="46"/>
                      <a:pt x="63" y="46"/>
                      <a:pt x="63" y="47"/>
                    </a:cubicBezTo>
                    <a:cubicBezTo>
                      <a:pt x="63" y="47"/>
                      <a:pt x="62" y="48"/>
                      <a:pt x="61" y="48"/>
                    </a:cubicBezTo>
                    <a:cubicBezTo>
                      <a:pt x="61" y="48"/>
                      <a:pt x="61" y="49"/>
                      <a:pt x="61" y="49"/>
                    </a:cubicBezTo>
                    <a:cubicBezTo>
                      <a:pt x="61" y="49"/>
                      <a:pt x="60" y="49"/>
                      <a:pt x="60" y="49"/>
                    </a:cubicBezTo>
                    <a:cubicBezTo>
                      <a:pt x="57" y="49"/>
                      <a:pt x="57" y="49"/>
                      <a:pt x="55" y="51"/>
                    </a:cubicBezTo>
                    <a:cubicBezTo>
                      <a:pt x="55" y="52"/>
                      <a:pt x="54" y="53"/>
                      <a:pt x="53" y="54"/>
                    </a:cubicBezTo>
                    <a:cubicBezTo>
                      <a:pt x="52" y="55"/>
                      <a:pt x="51" y="55"/>
                      <a:pt x="51" y="56"/>
                    </a:cubicBezTo>
                    <a:cubicBezTo>
                      <a:pt x="50" y="57"/>
                      <a:pt x="50" y="58"/>
                      <a:pt x="49" y="57"/>
                    </a:cubicBezTo>
                    <a:cubicBezTo>
                      <a:pt x="49" y="57"/>
                      <a:pt x="48" y="56"/>
                      <a:pt x="48" y="56"/>
                    </a:cubicBezTo>
                    <a:cubicBezTo>
                      <a:pt x="46" y="55"/>
                      <a:pt x="45" y="56"/>
                      <a:pt x="44" y="56"/>
                    </a:cubicBezTo>
                    <a:cubicBezTo>
                      <a:pt x="43" y="56"/>
                      <a:pt x="43" y="55"/>
                      <a:pt x="42" y="55"/>
                    </a:cubicBezTo>
                    <a:cubicBezTo>
                      <a:pt x="42" y="55"/>
                      <a:pt x="40" y="55"/>
                      <a:pt x="39" y="55"/>
                    </a:cubicBezTo>
                    <a:cubicBezTo>
                      <a:pt x="39" y="55"/>
                      <a:pt x="39" y="57"/>
                      <a:pt x="38" y="57"/>
                    </a:cubicBezTo>
                    <a:cubicBezTo>
                      <a:pt x="37" y="59"/>
                      <a:pt x="36" y="59"/>
                      <a:pt x="34" y="59"/>
                    </a:cubicBezTo>
                    <a:cubicBezTo>
                      <a:pt x="33" y="59"/>
                      <a:pt x="33" y="60"/>
                      <a:pt x="32" y="59"/>
                    </a:cubicBezTo>
                    <a:cubicBezTo>
                      <a:pt x="31" y="59"/>
                      <a:pt x="31" y="58"/>
                      <a:pt x="30" y="58"/>
                    </a:cubicBezTo>
                    <a:cubicBezTo>
                      <a:pt x="29" y="57"/>
                      <a:pt x="29" y="59"/>
                      <a:pt x="28" y="59"/>
                    </a:cubicBezTo>
                    <a:cubicBezTo>
                      <a:pt x="27" y="60"/>
                      <a:pt x="26" y="60"/>
                      <a:pt x="26" y="61"/>
                    </a:cubicBezTo>
                    <a:cubicBezTo>
                      <a:pt x="24" y="61"/>
                      <a:pt x="23" y="63"/>
                      <a:pt x="22" y="64"/>
                    </a:cubicBezTo>
                    <a:cubicBezTo>
                      <a:pt x="20" y="65"/>
                      <a:pt x="18" y="66"/>
                      <a:pt x="17" y="68"/>
                    </a:cubicBezTo>
                    <a:cubicBezTo>
                      <a:pt x="16" y="69"/>
                      <a:pt x="15" y="70"/>
                      <a:pt x="15" y="70"/>
                    </a:cubicBezTo>
                    <a:cubicBezTo>
                      <a:pt x="15" y="71"/>
                      <a:pt x="15" y="72"/>
                      <a:pt x="15" y="73"/>
                    </a:cubicBezTo>
                    <a:cubicBezTo>
                      <a:pt x="15" y="74"/>
                      <a:pt x="14" y="74"/>
                      <a:pt x="13" y="76"/>
                    </a:cubicBezTo>
                    <a:cubicBezTo>
                      <a:pt x="13" y="77"/>
                      <a:pt x="13" y="78"/>
                      <a:pt x="12" y="79"/>
                    </a:cubicBezTo>
                    <a:cubicBezTo>
                      <a:pt x="12" y="78"/>
                      <a:pt x="12" y="78"/>
                      <a:pt x="12" y="77"/>
                    </a:cubicBezTo>
                    <a:cubicBezTo>
                      <a:pt x="11" y="76"/>
                      <a:pt x="11" y="77"/>
                      <a:pt x="11" y="76"/>
                    </a:cubicBezTo>
                    <a:cubicBezTo>
                      <a:pt x="11" y="76"/>
                      <a:pt x="11" y="75"/>
                      <a:pt x="11" y="75"/>
                    </a:cubicBezTo>
                    <a:cubicBezTo>
                      <a:pt x="10" y="74"/>
                      <a:pt x="9" y="74"/>
                      <a:pt x="9" y="73"/>
                    </a:cubicBezTo>
                    <a:cubicBezTo>
                      <a:pt x="8" y="72"/>
                      <a:pt x="8" y="71"/>
                      <a:pt x="8" y="70"/>
                    </a:cubicBezTo>
                    <a:cubicBezTo>
                      <a:pt x="8" y="68"/>
                      <a:pt x="7" y="64"/>
                      <a:pt x="5" y="65"/>
                    </a:cubicBezTo>
                    <a:cubicBezTo>
                      <a:pt x="3" y="66"/>
                      <a:pt x="3" y="66"/>
                      <a:pt x="2" y="67"/>
                    </a:cubicBezTo>
                    <a:cubicBezTo>
                      <a:pt x="2" y="68"/>
                      <a:pt x="2" y="68"/>
                      <a:pt x="2" y="68"/>
                    </a:cubicBezTo>
                    <a:cubicBezTo>
                      <a:pt x="2" y="69"/>
                      <a:pt x="2" y="69"/>
                      <a:pt x="1" y="69"/>
                    </a:cubicBezTo>
                    <a:cubicBezTo>
                      <a:pt x="0" y="73"/>
                      <a:pt x="6" y="73"/>
                      <a:pt x="6" y="76"/>
                    </a:cubicBezTo>
                    <a:cubicBezTo>
                      <a:pt x="7" y="78"/>
                      <a:pt x="7" y="80"/>
                      <a:pt x="7" y="81"/>
                    </a:cubicBezTo>
                    <a:cubicBezTo>
                      <a:pt x="7" y="83"/>
                      <a:pt x="7" y="84"/>
                      <a:pt x="8" y="86"/>
                    </a:cubicBezTo>
                    <a:cubicBezTo>
                      <a:pt x="8" y="88"/>
                      <a:pt x="9" y="87"/>
                      <a:pt x="11" y="88"/>
                    </a:cubicBezTo>
                    <a:cubicBezTo>
                      <a:pt x="13" y="89"/>
                      <a:pt x="12" y="91"/>
                      <a:pt x="14" y="92"/>
                    </a:cubicBezTo>
                    <a:cubicBezTo>
                      <a:pt x="14" y="93"/>
                      <a:pt x="16" y="93"/>
                      <a:pt x="17" y="94"/>
                    </a:cubicBezTo>
                    <a:cubicBezTo>
                      <a:pt x="18" y="95"/>
                      <a:pt x="18" y="96"/>
                      <a:pt x="20" y="96"/>
                    </a:cubicBezTo>
                    <a:cubicBezTo>
                      <a:pt x="21" y="97"/>
                      <a:pt x="23" y="97"/>
                      <a:pt x="24" y="99"/>
                    </a:cubicBezTo>
                    <a:cubicBezTo>
                      <a:pt x="24" y="100"/>
                      <a:pt x="23" y="101"/>
                      <a:pt x="23" y="102"/>
                    </a:cubicBezTo>
                    <a:cubicBezTo>
                      <a:pt x="23" y="103"/>
                      <a:pt x="23" y="104"/>
                      <a:pt x="23" y="105"/>
                    </a:cubicBezTo>
                    <a:cubicBezTo>
                      <a:pt x="23" y="106"/>
                      <a:pt x="22" y="107"/>
                      <a:pt x="21" y="108"/>
                    </a:cubicBezTo>
                    <a:cubicBezTo>
                      <a:pt x="21" y="108"/>
                      <a:pt x="20" y="109"/>
                      <a:pt x="20" y="110"/>
                    </a:cubicBezTo>
                    <a:cubicBezTo>
                      <a:pt x="19" y="111"/>
                      <a:pt x="18" y="112"/>
                      <a:pt x="18" y="113"/>
                    </a:cubicBezTo>
                    <a:cubicBezTo>
                      <a:pt x="17" y="114"/>
                      <a:pt x="17" y="116"/>
                      <a:pt x="18" y="117"/>
                    </a:cubicBezTo>
                    <a:cubicBezTo>
                      <a:pt x="20" y="118"/>
                      <a:pt x="21" y="119"/>
                      <a:pt x="22" y="120"/>
                    </a:cubicBezTo>
                    <a:cubicBezTo>
                      <a:pt x="23" y="121"/>
                      <a:pt x="24" y="123"/>
                      <a:pt x="24" y="124"/>
                    </a:cubicBezTo>
                    <a:cubicBezTo>
                      <a:pt x="25" y="126"/>
                      <a:pt x="26" y="128"/>
                      <a:pt x="27" y="130"/>
                    </a:cubicBezTo>
                    <a:cubicBezTo>
                      <a:pt x="27" y="131"/>
                      <a:pt x="27" y="131"/>
                      <a:pt x="28" y="132"/>
                    </a:cubicBezTo>
                    <a:cubicBezTo>
                      <a:pt x="28" y="133"/>
                      <a:pt x="28" y="136"/>
                      <a:pt x="29" y="137"/>
                    </a:cubicBezTo>
                    <a:cubicBezTo>
                      <a:pt x="29" y="139"/>
                      <a:pt x="29" y="139"/>
                      <a:pt x="30" y="140"/>
                    </a:cubicBezTo>
                    <a:cubicBezTo>
                      <a:pt x="31" y="141"/>
                      <a:pt x="32" y="142"/>
                      <a:pt x="33" y="144"/>
                    </a:cubicBezTo>
                    <a:cubicBezTo>
                      <a:pt x="33" y="145"/>
                      <a:pt x="33" y="145"/>
                      <a:pt x="34" y="145"/>
                    </a:cubicBezTo>
                    <a:cubicBezTo>
                      <a:pt x="34" y="146"/>
                      <a:pt x="36" y="146"/>
                      <a:pt x="37" y="147"/>
                    </a:cubicBezTo>
                    <a:cubicBezTo>
                      <a:pt x="38" y="147"/>
                      <a:pt x="38" y="148"/>
                      <a:pt x="40" y="148"/>
                    </a:cubicBezTo>
                    <a:cubicBezTo>
                      <a:pt x="40" y="148"/>
                      <a:pt x="42" y="147"/>
                      <a:pt x="42" y="147"/>
                    </a:cubicBezTo>
                    <a:cubicBezTo>
                      <a:pt x="43" y="148"/>
                      <a:pt x="43" y="148"/>
                      <a:pt x="44" y="148"/>
                    </a:cubicBezTo>
                    <a:cubicBezTo>
                      <a:pt x="45" y="150"/>
                      <a:pt x="47" y="151"/>
                      <a:pt x="48" y="152"/>
                    </a:cubicBezTo>
                    <a:cubicBezTo>
                      <a:pt x="49" y="153"/>
                      <a:pt x="50" y="155"/>
                      <a:pt x="51" y="156"/>
                    </a:cubicBezTo>
                    <a:cubicBezTo>
                      <a:pt x="53" y="159"/>
                      <a:pt x="54" y="161"/>
                      <a:pt x="54" y="164"/>
                    </a:cubicBezTo>
                    <a:cubicBezTo>
                      <a:pt x="54" y="164"/>
                      <a:pt x="54" y="164"/>
                      <a:pt x="54" y="165"/>
                    </a:cubicBezTo>
                    <a:cubicBezTo>
                      <a:pt x="55" y="166"/>
                      <a:pt x="58" y="166"/>
                      <a:pt x="59" y="167"/>
                    </a:cubicBezTo>
                    <a:cubicBezTo>
                      <a:pt x="60" y="167"/>
                      <a:pt x="62" y="168"/>
                      <a:pt x="63" y="169"/>
                    </a:cubicBezTo>
                    <a:cubicBezTo>
                      <a:pt x="63" y="169"/>
                      <a:pt x="63" y="169"/>
                      <a:pt x="63" y="170"/>
                    </a:cubicBezTo>
                    <a:cubicBezTo>
                      <a:pt x="64" y="170"/>
                      <a:pt x="65" y="171"/>
                      <a:pt x="66" y="171"/>
                    </a:cubicBezTo>
                    <a:cubicBezTo>
                      <a:pt x="66" y="172"/>
                      <a:pt x="67" y="173"/>
                      <a:pt x="67" y="174"/>
                    </a:cubicBezTo>
                    <a:cubicBezTo>
                      <a:pt x="68" y="175"/>
                      <a:pt x="69" y="176"/>
                      <a:pt x="69" y="177"/>
                    </a:cubicBezTo>
                    <a:cubicBezTo>
                      <a:pt x="71" y="183"/>
                      <a:pt x="77" y="176"/>
                      <a:pt x="79" y="181"/>
                    </a:cubicBezTo>
                    <a:cubicBezTo>
                      <a:pt x="79" y="182"/>
                      <a:pt x="79" y="183"/>
                      <a:pt x="80" y="184"/>
                    </a:cubicBezTo>
                    <a:cubicBezTo>
                      <a:pt x="81" y="184"/>
                      <a:pt x="82" y="185"/>
                      <a:pt x="83" y="186"/>
                    </a:cubicBezTo>
                    <a:cubicBezTo>
                      <a:pt x="84" y="187"/>
                      <a:pt x="85" y="188"/>
                      <a:pt x="86" y="188"/>
                    </a:cubicBezTo>
                    <a:cubicBezTo>
                      <a:pt x="86" y="189"/>
                      <a:pt x="87" y="189"/>
                      <a:pt x="88" y="190"/>
                    </a:cubicBezTo>
                    <a:cubicBezTo>
                      <a:pt x="88" y="190"/>
                      <a:pt x="89" y="192"/>
                      <a:pt x="89" y="193"/>
                    </a:cubicBezTo>
                    <a:cubicBezTo>
                      <a:pt x="89" y="193"/>
                      <a:pt x="89" y="193"/>
                      <a:pt x="89" y="193"/>
                    </a:cubicBezTo>
                    <a:cubicBezTo>
                      <a:pt x="90" y="193"/>
                      <a:pt x="90" y="194"/>
                      <a:pt x="91" y="194"/>
                    </a:cubicBezTo>
                    <a:cubicBezTo>
                      <a:pt x="92" y="195"/>
                      <a:pt x="94" y="195"/>
                      <a:pt x="95" y="196"/>
                    </a:cubicBezTo>
                    <a:cubicBezTo>
                      <a:pt x="96" y="197"/>
                      <a:pt x="97" y="198"/>
                      <a:pt x="97" y="198"/>
                    </a:cubicBezTo>
                    <a:cubicBezTo>
                      <a:pt x="98" y="199"/>
                      <a:pt x="99" y="200"/>
                      <a:pt x="99" y="201"/>
                    </a:cubicBezTo>
                    <a:cubicBezTo>
                      <a:pt x="101" y="201"/>
                      <a:pt x="101" y="203"/>
                      <a:pt x="101" y="204"/>
                    </a:cubicBezTo>
                    <a:cubicBezTo>
                      <a:pt x="101" y="205"/>
                      <a:pt x="101" y="206"/>
                      <a:pt x="102" y="207"/>
                    </a:cubicBezTo>
                    <a:cubicBezTo>
                      <a:pt x="102" y="208"/>
                      <a:pt x="104" y="209"/>
                      <a:pt x="104" y="209"/>
                    </a:cubicBezTo>
                    <a:cubicBezTo>
                      <a:pt x="105" y="210"/>
                      <a:pt x="106" y="209"/>
                      <a:pt x="107" y="210"/>
                    </a:cubicBezTo>
                    <a:cubicBezTo>
                      <a:pt x="108" y="210"/>
                      <a:pt x="108" y="210"/>
                      <a:pt x="108" y="210"/>
                    </a:cubicBezTo>
                    <a:cubicBezTo>
                      <a:pt x="109" y="210"/>
                      <a:pt x="110" y="210"/>
                      <a:pt x="111" y="210"/>
                    </a:cubicBezTo>
                    <a:cubicBezTo>
                      <a:pt x="112" y="210"/>
                      <a:pt x="113" y="210"/>
                      <a:pt x="114" y="210"/>
                    </a:cubicBezTo>
                    <a:cubicBezTo>
                      <a:pt x="115" y="210"/>
                      <a:pt x="116" y="209"/>
                      <a:pt x="117" y="209"/>
                    </a:cubicBezTo>
                    <a:cubicBezTo>
                      <a:pt x="118" y="209"/>
                      <a:pt x="119" y="209"/>
                      <a:pt x="119" y="209"/>
                    </a:cubicBezTo>
                    <a:cubicBezTo>
                      <a:pt x="120" y="208"/>
                      <a:pt x="120" y="204"/>
                      <a:pt x="123" y="204"/>
                    </a:cubicBezTo>
                    <a:cubicBezTo>
                      <a:pt x="124" y="204"/>
                      <a:pt x="125" y="205"/>
                      <a:pt x="126" y="206"/>
                    </a:cubicBezTo>
                    <a:cubicBezTo>
                      <a:pt x="126" y="207"/>
                      <a:pt x="126" y="207"/>
                      <a:pt x="127" y="208"/>
                    </a:cubicBezTo>
                    <a:cubicBezTo>
                      <a:pt x="127" y="208"/>
                      <a:pt x="128" y="208"/>
                      <a:pt x="128" y="209"/>
                    </a:cubicBezTo>
                    <a:cubicBezTo>
                      <a:pt x="128" y="209"/>
                      <a:pt x="128" y="209"/>
                      <a:pt x="129" y="209"/>
                    </a:cubicBezTo>
                    <a:cubicBezTo>
                      <a:pt x="129" y="210"/>
                      <a:pt x="130" y="209"/>
                      <a:pt x="131" y="209"/>
                    </a:cubicBezTo>
                    <a:cubicBezTo>
                      <a:pt x="131" y="209"/>
                      <a:pt x="132" y="209"/>
                      <a:pt x="133" y="209"/>
                    </a:cubicBezTo>
                    <a:cubicBezTo>
                      <a:pt x="134" y="209"/>
                      <a:pt x="135" y="208"/>
                      <a:pt x="136" y="207"/>
                    </a:cubicBezTo>
                    <a:cubicBezTo>
                      <a:pt x="138" y="205"/>
                      <a:pt x="138" y="202"/>
                      <a:pt x="139" y="199"/>
                    </a:cubicBezTo>
                    <a:cubicBezTo>
                      <a:pt x="139" y="197"/>
                      <a:pt x="141" y="197"/>
                      <a:pt x="141" y="195"/>
                    </a:cubicBezTo>
                    <a:cubicBezTo>
                      <a:pt x="142" y="195"/>
                      <a:pt x="142" y="193"/>
                      <a:pt x="142" y="193"/>
                    </a:cubicBezTo>
                    <a:cubicBezTo>
                      <a:pt x="143" y="192"/>
                      <a:pt x="145" y="192"/>
                      <a:pt x="147" y="193"/>
                    </a:cubicBezTo>
                    <a:cubicBezTo>
                      <a:pt x="148" y="194"/>
                      <a:pt x="150" y="194"/>
                      <a:pt x="151" y="192"/>
                    </a:cubicBezTo>
                    <a:cubicBezTo>
                      <a:pt x="151" y="191"/>
                      <a:pt x="150" y="190"/>
                      <a:pt x="150" y="188"/>
                    </a:cubicBezTo>
                    <a:cubicBezTo>
                      <a:pt x="149" y="186"/>
                      <a:pt x="150" y="184"/>
                      <a:pt x="150" y="183"/>
                    </a:cubicBezTo>
                    <a:cubicBezTo>
                      <a:pt x="150" y="180"/>
                      <a:pt x="152" y="178"/>
                      <a:pt x="153" y="176"/>
                    </a:cubicBezTo>
                    <a:cubicBezTo>
                      <a:pt x="153" y="175"/>
                      <a:pt x="153" y="175"/>
                      <a:pt x="154" y="175"/>
                    </a:cubicBezTo>
                    <a:cubicBezTo>
                      <a:pt x="155" y="175"/>
                      <a:pt x="156" y="175"/>
                      <a:pt x="157" y="175"/>
                    </a:cubicBezTo>
                    <a:cubicBezTo>
                      <a:pt x="159" y="175"/>
                      <a:pt x="158" y="177"/>
                      <a:pt x="159" y="178"/>
                    </a:cubicBezTo>
                    <a:cubicBezTo>
                      <a:pt x="161" y="180"/>
                      <a:pt x="163" y="180"/>
                      <a:pt x="165" y="179"/>
                    </a:cubicBezTo>
                    <a:cubicBezTo>
                      <a:pt x="167" y="179"/>
                      <a:pt x="166" y="177"/>
                      <a:pt x="166" y="176"/>
                    </a:cubicBezTo>
                    <a:cubicBezTo>
                      <a:pt x="167" y="175"/>
                      <a:pt x="171" y="175"/>
                      <a:pt x="171" y="177"/>
                    </a:cubicBezTo>
                    <a:cubicBezTo>
                      <a:pt x="171" y="177"/>
                      <a:pt x="172" y="178"/>
                      <a:pt x="172" y="178"/>
                    </a:cubicBezTo>
                    <a:cubicBezTo>
                      <a:pt x="174" y="179"/>
                      <a:pt x="175" y="179"/>
                      <a:pt x="177" y="180"/>
                    </a:cubicBezTo>
                    <a:cubicBezTo>
                      <a:pt x="179" y="181"/>
                      <a:pt x="183" y="182"/>
                      <a:pt x="185" y="184"/>
                    </a:cubicBezTo>
                    <a:cubicBezTo>
                      <a:pt x="186" y="185"/>
                      <a:pt x="186" y="186"/>
                      <a:pt x="187" y="187"/>
                    </a:cubicBezTo>
                    <a:cubicBezTo>
                      <a:pt x="188" y="187"/>
                      <a:pt x="190" y="187"/>
                      <a:pt x="192" y="187"/>
                    </a:cubicBezTo>
                    <a:cubicBezTo>
                      <a:pt x="192" y="187"/>
                      <a:pt x="193" y="187"/>
                      <a:pt x="194" y="187"/>
                    </a:cubicBezTo>
                    <a:cubicBezTo>
                      <a:pt x="195" y="186"/>
                      <a:pt x="195" y="186"/>
                      <a:pt x="196" y="186"/>
                    </a:cubicBezTo>
                    <a:cubicBezTo>
                      <a:pt x="198" y="185"/>
                      <a:pt x="199" y="186"/>
                      <a:pt x="200" y="188"/>
                    </a:cubicBezTo>
                    <a:cubicBezTo>
                      <a:pt x="201" y="189"/>
                      <a:pt x="200" y="191"/>
                      <a:pt x="202" y="192"/>
                    </a:cubicBezTo>
                    <a:cubicBezTo>
                      <a:pt x="204" y="193"/>
                      <a:pt x="207" y="194"/>
                      <a:pt x="210" y="195"/>
                    </a:cubicBezTo>
                    <a:cubicBezTo>
                      <a:pt x="212" y="196"/>
                      <a:pt x="213" y="196"/>
                      <a:pt x="215" y="196"/>
                    </a:cubicBezTo>
                    <a:cubicBezTo>
                      <a:pt x="218" y="196"/>
                      <a:pt x="221" y="197"/>
                      <a:pt x="224" y="196"/>
                    </a:cubicBezTo>
                    <a:cubicBezTo>
                      <a:pt x="225" y="196"/>
                      <a:pt x="227" y="195"/>
                      <a:pt x="228" y="194"/>
                    </a:cubicBezTo>
                    <a:cubicBezTo>
                      <a:pt x="229" y="192"/>
                      <a:pt x="228" y="190"/>
                      <a:pt x="230" y="190"/>
                    </a:cubicBezTo>
                    <a:cubicBezTo>
                      <a:pt x="232" y="189"/>
                      <a:pt x="233" y="190"/>
                      <a:pt x="234" y="191"/>
                    </a:cubicBezTo>
                    <a:cubicBezTo>
                      <a:pt x="235" y="193"/>
                      <a:pt x="237" y="192"/>
                      <a:pt x="238" y="193"/>
                    </a:cubicBezTo>
                    <a:cubicBezTo>
                      <a:pt x="239" y="194"/>
                      <a:pt x="239" y="194"/>
                      <a:pt x="240" y="195"/>
                    </a:cubicBezTo>
                    <a:cubicBezTo>
                      <a:pt x="240" y="196"/>
                      <a:pt x="240" y="197"/>
                      <a:pt x="240" y="197"/>
                    </a:cubicBezTo>
                    <a:cubicBezTo>
                      <a:pt x="241" y="200"/>
                      <a:pt x="247" y="198"/>
                      <a:pt x="249" y="198"/>
                    </a:cubicBezTo>
                    <a:cubicBezTo>
                      <a:pt x="250" y="198"/>
                      <a:pt x="252" y="198"/>
                      <a:pt x="253" y="199"/>
                    </a:cubicBezTo>
                    <a:cubicBezTo>
                      <a:pt x="254" y="199"/>
                      <a:pt x="254" y="200"/>
                      <a:pt x="254" y="200"/>
                    </a:cubicBezTo>
                    <a:cubicBezTo>
                      <a:pt x="255" y="200"/>
                      <a:pt x="255" y="201"/>
                      <a:pt x="255" y="201"/>
                    </a:cubicBezTo>
                    <a:cubicBezTo>
                      <a:pt x="256" y="201"/>
                      <a:pt x="256" y="201"/>
                      <a:pt x="256" y="201"/>
                    </a:cubicBezTo>
                    <a:cubicBezTo>
                      <a:pt x="256" y="201"/>
                      <a:pt x="256" y="201"/>
                      <a:pt x="256" y="201"/>
                    </a:cubicBezTo>
                    <a:cubicBezTo>
                      <a:pt x="256" y="202"/>
                      <a:pt x="256" y="202"/>
                      <a:pt x="257" y="203"/>
                    </a:cubicBezTo>
                    <a:cubicBezTo>
                      <a:pt x="258" y="203"/>
                      <a:pt x="259" y="202"/>
                      <a:pt x="261" y="20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74" name="Freeform 23">
                <a:extLst>
                  <a:ext uri="{FF2B5EF4-FFF2-40B4-BE49-F238E27FC236}">
                    <a16:creationId xmlns:a16="http://schemas.microsoft.com/office/drawing/2014/main" id="{502F569E-9499-42E2-A58F-56874F3DB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75" y="4606925"/>
                <a:ext cx="604838" cy="287338"/>
              </a:xfrm>
              <a:custGeom>
                <a:avLst/>
                <a:gdLst/>
                <a:ahLst/>
                <a:cxnLst>
                  <a:cxn ang="0">
                    <a:pos x="23" y="143"/>
                  </a:cxn>
                  <a:cxn ang="0">
                    <a:pos x="37" y="152"/>
                  </a:cxn>
                  <a:cxn ang="0">
                    <a:pos x="76" y="151"/>
                  </a:cxn>
                  <a:cxn ang="0">
                    <a:pos x="90" y="147"/>
                  </a:cxn>
                  <a:cxn ang="0">
                    <a:pos x="93" y="130"/>
                  </a:cxn>
                  <a:cxn ang="0">
                    <a:pos x="118" y="125"/>
                  </a:cxn>
                  <a:cxn ang="0">
                    <a:pos x="133" y="115"/>
                  </a:cxn>
                  <a:cxn ang="0">
                    <a:pos x="144" y="116"/>
                  </a:cxn>
                  <a:cxn ang="0">
                    <a:pos x="161" y="116"/>
                  </a:cxn>
                  <a:cxn ang="0">
                    <a:pos x="173" y="111"/>
                  </a:cxn>
                  <a:cxn ang="0">
                    <a:pos x="182" y="94"/>
                  </a:cxn>
                  <a:cxn ang="0">
                    <a:pos x="207" y="89"/>
                  </a:cxn>
                  <a:cxn ang="0">
                    <a:pos x="221" y="91"/>
                  </a:cxn>
                  <a:cxn ang="0">
                    <a:pos x="236" y="88"/>
                  </a:cxn>
                  <a:cxn ang="0">
                    <a:pos x="248" y="102"/>
                  </a:cxn>
                  <a:cxn ang="0">
                    <a:pos x="262" y="102"/>
                  </a:cxn>
                  <a:cxn ang="0">
                    <a:pos x="275" y="90"/>
                  </a:cxn>
                  <a:cxn ang="0">
                    <a:pos x="281" y="76"/>
                  </a:cxn>
                  <a:cxn ang="0">
                    <a:pos x="289" y="57"/>
                  </a:cxn>
                  <a:cxn ang="0">
                    <a:pos x="301" y="52"/>
                  </a:cxn>
                  <a:cxn ang="0">
                    <a:pos x="323" y="43"/>
                  </a:cxn>
                  <a:cxn ang="0">
                    <a:pos x="320" y="40"/>
                  </a:cxn>
                  <a:cxn ang="0">
                    <a:pos x="298" y="30"/>
                  </a:cxn>
                  <a:cxn ang="0">
                    <a:pos x="289" y="23"/>
                  </a:cxn>
                  <a:cxn ang="0">
                    <a:pos x="276" y="16"/>
                  </a:cxn>
                  <a:cxn ang="0">
                    <a:pos x="255" y="13"/>
                  </a:cxn>
                  <a:cxn ang="0">
                    <a:pos x="241" y="25"/>
                  </a:cxn>
                  <a:cxn ang="0">
                    <a:pos x="232" y="22"/>
                  </a:cxn>
                  <a:cxn ang="0">
                    <a:pos x="212" y="18"/>
                  </a:cxn>
                  <a:cxn ang="0">
                    <a:pos x="190" y="30"/>
                  </a:cxn>
                  <a:cxn ang="0">
                    <a:pos x="181" y="32"/>
                  </a:cxn>
                  <a:cxn ang="0">
                    <a:pos x="175" y="21"/>
                  </a:cxn>
                  <a:cxn ang="0">
                    <a:pos x="167" y="10"/>
                  </a:cxn>
                  <a:cxn ang="0">
                    <a:pos x="155" y="4"/>
                  </a:cxn>
                  <a:cxn ang="0">
                    <a:pos x="142" y="17"/>
                  </a:cxn>
                  <a:cxn ang="0">
                    <a:pos x="126" y="7"/>
                  </a:cxn>
                  <a:cxn ang="0">
                    <a:pos x="117" y="9"/>
                  </a:cxn>
                  <a:cxn ang="0">
                    <a:pos x="105" y="12"/>
                  </a:cxn>
                  <a:cxn ang="0">
                    <a:pos x="96" y="22"/>
                  </a:cxn>
                  <a:cxn ang="0">
                    <a:pos x="87" y="28"/>
                  </a:cxn>
                  <a:cxn ang="0">
                    <a:pos x="78" y="47"/>
                  </a:cxn>
                  <a:cxn ang="0">
                    <a:pos x="70" y="52"/>
                  </a:cxn>
                  <a:cxn ang="0">
                    <a:pos x="57" y="62"/>
                  </a:cxn>
                  <a:cxn ang="0">
                    <a:pos x="51" y="64"/>
                  </a:cxn>
                  <a:cxn ang="0">
                    <a:pos x="31" y="60"/>
                  </a:cxn>
                  <a:cxn ang="0">
                    <a:pos x="23" y="69"/>
                  </a:cxn>
                  <a:cxn ang="0">
                    <a:pos x="8" y="75"/>
                  </a:cxn>
                  <a:cxn ang="0">
                    <a:pos x="4" y="88"/>
                  </a:cxn>
                  <a:cxn ang="0">
                    <a:pos x="4" y="101"/>
                  </a:cxn>
                  <a:cxn ang="0">
                    <a:pos x="9" y="118"/>
                  </a:cxn>
                  <a:cxn ang="0">
                    <a:pos x="12" y="126"/>
                  </a:cxn>
                  <a:cxn ang="0">
                    <a:pos x="9" y="135"/>
                  </a:cxn>
                </a:cxnLst>
                <a:rect l="0" t="0" r="r" b="b"/>
                <a:pathLst>
                  <a:path w="324" h="153">
                    <a:moveTo>
                      <a:pt x="9" y="135"/>
                    </a:moveTo>
                    <a:cubicBezTo>
                      <a:pt x="10" y="135"/>
                      <a:pt x="11" y="135"/>
                      <a:pt x="12" y="136"/>
                    </a:cubicBezTo>
                    <a:cubicBezTo>
                      <a:pt x="14" y="136"/>
                      <a:pt x="16" y="137"/>
                      <a:pt x="17" y="138"/>
                    </a:cubicBezTo>
                    <a:cubicBezTo>
                      <a:pt x="19" y="139"/>
                      <a:pt x="20" y="142"/>
                      <a:pt x="23" y="143"/>
                    </a:cubicBezTo>
                    <a:cubicBezTo>
                      <a:pt x="24" y="143"/>
                      <a:pt x="25" y="143"/>
                      <a:pt x="26" y="143"/>
                    </a:cubicBezTo>
                    <a:cubicBezTo>
                      <a:pt x="28" y="144"/>
                      <a:pt x="29" y="146"/>
                      <a:pt x="30" y="147"/>
                    </a:cubicBezTo>
                    <a:cubicBezTo>
                      <a:pt x="30" y="149"/>
                      <a:pt x="31" y="151"/>
                      <a:pt x="32" y="152"/>
                    </a:cubicBezTo>
                    <a:cubicBezTo>
                      <a:pt x="33" y="153"/>
                      <a:pt x="35" y="152"/>
                      <a:pt x="37" y="152"/>
                    </a:cubicBezTo>
                    <a:cubicBezTo>
                      <a:pt x="44" y="152"/>
                      <a:pt x="51" y="152"/>
                      <a:pt x="59" y="152"/>
                    </a:cubicBezTo>
                    <a:cubicBezTo>
                      <a:pt x="63" y="152"/>
                      <a:pt x="69" y="153"/>
                      <a:pt x="73" y="152"/>
                    </a:cubicBezTo>
                    <a:cubicBezTo>
                      <a:pt x="73" y="152"/>
                      <a:pt x="75" y="151"/>
                      <a:pt x="75" y="151"/>
                    </a:cubicBezTo>
                    <a:cubicBezTo>
                      <a:pt x="75" y="152"/>
                      <a:pt x="76" y="151"/>
                      <a:pt x="76" y="151"/>
                    </a:cubicBezTo>
                    <a:cubicBezTo>
                      <a:pt x="76" y="151"/>
                      <a:pt x="76" y="150"/>
                      <a:pt x="76" y="150"/>
                    </a:cubicBezTo>
                    <a:cubicBezTo>
                      <a:pt x="78" y="149"/>
                      <a:pt x="79" y="149"/>
                      <a:pt x="80" y="149"/>
                    </a:cubicBezTo>
                    <a:cubicBezTo>
                      <a:pt x="82" y="148"/>
                      <a:pt x="83" y="148"/>
                      <a:pt x="85" y="148"/>
                    </a:cubicBezTo>
                    <a:cubicBezTo>
                      <a:pt x="86" y="148"/>
                      <a:pt x="89" y="148"/>
                      <a:pt x="90" y="147"/>
                    </a:cubicBezTo>
                    <a:cubicBezTo>
                      <a:pt x="92" y="147"/>
                      <a:pt x="93" y="145"/>
                      <a:pt x="93" y="144"/>
                    </a:cubicBezTo>
                    <a:cubicBezTo>
                      <a:pt x="92" y="141"/>
                      <a:pt x="89" y="142"/>
                      <a:pt x="89" y="139"/>
                    </a:cubicBezTo>
                    <a:cubicBezTo>
                      <a:pt x="90" y="138"/>
                      <a:pt x="91" y="137"/>
                      <a:pt x="92" y="136"/>
                    </a:cubicBezTo>
                    <a:cubicBezTo>
                      <a:pt x="92" y="134"/>
                      <a:pt x="92" y="132"/>
                      <a:pt x="93" y="130"/>
                    </a:cubicBezTo>
                    <a:cubicBezTo>
                      <a:pt x="93" y="130"/>
                      <a:pt x="95" y="128"/>
                      <a:pt x="96" y="128"/>
                    </a:cubicBezTo>
                    <a:cubicBezTo>
                      <a:pt x="97" y="127"/>
                      <a:pt x="100" y="128"/>
                      <a:pt x="101" y="128"/>
                    </a:cubicBezTo>
                    <a:cubicBezTo>
                      <a:pt x="105" y="127"/>
                      <a:pt x="109" y="126"/>
                      <a:pt x="113" y="126"/>
                    </a:cubicBezTo>
                    <a:cubicBezTo>
                      <a:pt x="114" y="125"/>
                      <a:pt x="116" y="126"/>
                      <a:pt x="118" y="125"/>
                    </a:cubicBezTo>
                    <a:cubicBezTo>
                      <a:pt x="119" y="125"/>
                      <a:pt x="121" y="125"/>
                      <a:pt x="122" y="124"/>
                    </a:cubicBezTo>
                    <a:cubicBezTo>
                      <a:pt x="123" y="124"/>
                      <a:pt x="126" y="125"/>
                      <a:pt x="127" y="124"/>
                    </a:cubicBezTo>
                    <a:cubicBezTo>
                      <a:pt x="128" y="124"/>
                      <a:pt x="130" y="122"/>
                      <a:pt x="130" y="121"/>
                    </a:cubicBezTo>
                    <a:cubicBezTo>
                      <a:pt x="131" y="119"/>
                      <a:pt x="132" y="116"/>
                      <a:pt x="133" y="115"/>
                    </a:cubicBezTo>
                    <a:cubicBezTo>
                      <a:pt x="134" y="114"/>
                      <a:pt x="136" y="114"/>
                      <a:pt x="137" y="114"/>
                    </a:cubicBezTo>
                    <a:cubicBezTo>
                      <a:pt x="138" y="114"/>
                      <a:pt x="141" y="114"/>
                      <a:pt x="141" y="115"/>
                    </a:cubicBezTo>
                    <a:cubicBezTo>
                      <a:pt x="142" y="115"/>
                      <a:pt x="141" y="116"/>
                      <a:pt x="142" y="116"/>
                    </a:cubicBezTo>
                    <a:cubicBezTo>
                      <a:pt x="142" y="117"/>
                      <a:pt x="143" y="116"/>
                      <a:pt x="144" y="116"/>
                    </a:cubicBezTo>
                    <a:cubicBezTo>
                      <a:pt x="146" y="116"/>
                      <a:pt x="149" y="116"/>
                      <a:pt x="150" y="117"/>
                    </a:cubicBezTo>
                    <a:cubicBezTo>
                      <a:pt x="152" y="118"/>
                      <a:pt x="152" y="121"/>
                      <a:pt x="153" y="122"/>
                    </a:cubicBezTo>
                    <a:cubicBezTo>
                      <a:pt x="155" y="121"/>
                      <a:pt x="155" y="119"/>
                      <a:pt x="157" y="117"/>
                    </a:cubicBezTo>
                    <a:cubicBezTo>
                      <a:pt x="158" y="117"/>
                      <a:pt x="159" y="117"/>
                      <a:pt x="161" y="116"/>
                    </a:cubicBezTo>
                    <a:cubicBezTo>
                      <a:pt x="161" y="115"/>
                      <a:pt x="162" y="115"/>
                      <a:pt x="163" y="114"/>
                    </a:cubicBezTo>
                    <a:cubicBezTo>
                      <a:pt x="163" y="114"/>
                      <a:pt x="164" y="114"/>
                      <a:pt x="165" y="114"/>
                    </a:cubicBezTo>
                    <a:cubicBezTo>
                      <a:pt x="167" y="114"/>
                      <a:pt x="168" y="112"/>
                      <a:pt x="170" y="111"/>
                    </a:cubicBezTo>
                    <a:cubicBezTo>
                      <a:pt x="171" y="111"/>
                      <a:pt x="172" y="111"/>
                      <a:pt x="173" y="111"/>
                    </a:cubicBezTo>
                    <a:cubicBezTo>
                      <a:pt x="174" y="111"/>
                      <a:pt x="175" y="110"/>
                      <a:pt x="175" y="109"/>
                    </a:cubicBezTo>
                    <a:cubicBezTo>
                      <a:pt x="177" y="108"/>
                      <a:pt x="178" y="106"/>
                      <a:pt x="179" y="104"/>
                    </a:cubicBezTo>
                    <a:cubicBezTo>
                      <a:pt x="180" y="102"/>
                      <a:pt x="180" y="101"/>
                      <a:pt x="180" y="99"/>
                    </a:cubicBezTo>
                    <a:cubicBezTo>
                      <a:pt x="181" y="97"/>
                      <a:pt x="182" y="96"/>
                      <a:pt x="182" y="94"/>
                    </a:cubicBezTo>
                    <a:cubicBezTo>
                      <a:pt x="183" y="92"/>
                      <a:pt x="182" y="90"/>
                      <a:pt x="183" y="89"/>
                    </a:cubicBezTo>
                    <a:cubicBezTo>
                      <a:pt x="184" y="86"/>
                      <a:pt x="190" y="88"/>
                      <a:pt x="192" y="88"/>
                    </a:cubicBezTo>
                    <a:cubicBezTo>
                      <a:pt x="196" y="88"/>
                      <a:pt x="199" y="88"/>
                      <a:pt x="203" y="88"/>
                    </a:cubicBezTo>
                    <a:cubicBezTo>
                      <a:pt x="205" y="88"/>
                      <a:pt x="206" y="88"/>
                      <a:pt x="207" y="89"/>
                    </a:cubicBezTo>
                    <a:cubicBezTo>
                      <a:pt x="208" y="89"/>
                      <a:pt x="208" y="90"/>
                      <a:pt x="209" y="91"/>
                    </a:cubicBezTo>
                    <a:cubicBezTo>
                      <a:pt x="209" y="91"/>
                      <a:pt x="210" y="91"/>
                      <a:pt x="211" y="91"/>
                    </a:cubicBezTo>
                    <a:cubicBezTo>
                      <a:pt x="213" y="91"/>
                      <a:pt x="215" y="91"/>
                      <a:pt x="216" y="91"/>
                    </a:cubicBezTo>
                    <a:cubicBezTo>
                      <a:pt x="218" y="91"/>
                      <a:pt x="219" y="92"/>
                      <a:pt x="221" y="91"/>
                    </a:cubicBezTo>
                    <a:cubicBezTo>
                      <a:pt x="222" y="91"/>
                      <a:pt x="223" y="89"/>
                      <a:pt x="225" y="89"/>
                    </a:cubicBezTo>
                    <a:cubicBezTo>
                      <a:pt x="226" y="89"/>
                      <a:pt x="227" y="89"/>
                      <a:pt x="228" y="88"/>
                    </a:cubicBezTo>
                    <a:cubicBezTo>
                      <a:pt x="229" y="88"/>
                      <a:pt x="230" y="88"/>
                      <a:pt x="232" y="88"/>
                    </a:cubicBezTo>
                    <a:cubicBezTo>
                      <a:pt x="233" y="88"/>
                      <a:pt x="235" y="87"/>
                      <a:pt x="236" y="88"/>
                    </a:cubicBezTo>
                    <a:cubicBezTo>
                      <a:pt x="237" y="88"/>
                      <a:pt x="237" y="89"/>
                      <a:pt x="237" y="89"/>
                    </a:cubicBezTo>
                    <a:cubicBezTo>
                      <a:pt x="238" y="89"/>
                      <a:pt x="239" y="89"/>
                      <a:pt x="240" y="90"/>
                    </a:cubicBezTo>
                    <a:cubicBezTo>
                      <a:pt x="243" y="92"/>
                      <a:pt x="243" y="96"/>
                      <a:pt x="244" y="99"/>
                    </a:cubicBezTo>
                    <a:cubicBezTo>
                      <a:pt x="245" y="100"/>
                      <a:pt x="247" y="101"/>
                      <a:pt x="248" y="102"/>
                    </a:cubicBezTo>
                    <a:cubicBezTo>
                      <a:pt x="250" y="103"/>
                      <a:pt x="250" y="103"/>
                      <a:pt x="252" y="104"/>
                    </a:cubicBezTo>
                    <a:cubicBezTo>
                      <a:pt x="252" y="105"/>
                      <a:pt x="253" y="106"/>
                      <a:pt x="254" y="107"/>
                    </a:cubicBezTo>
                    <a:cubicBezTo>
                      <a:pt x="256" y="107"/>
                      <a:pt x="257" y="105"/>
                      <a:pt x="258" y="103"/>
                    </a:cubicBezTo>
                    <a:cubicBezTo>
                      <a:pt x="260" y="102"/>
                      <a:pt x="260" y="102"/>
                      <a:pt x="262" y="102"/>
                    </a:cubicBezTo>
                    <a:cubicBezTo>
                      <a:pt x="264" y="102"/>
                      <a:pt x="266" y="103"/>
                      <a:pt x="268" y="102"/>
                    </a:cubicBezTo>
                    <a:cubicBezTo>
                      <a:pt x="269" y="101"/>
                      <a:pt x="270" y="99"/>
                      <a:pt x="270" y="98"/>
                    </a:cubicBezTo>
                    <a:cubicBezTo>
                      <a:pt x="271" y="97"/>
                      <a:pt x="271" y="95"/>
                      <a:pt x="272" y="94"/>
                    </a:cubicBezTo>
                    <a:cubicBezTo>
                      <a:pt x="273" y="92"/>
                      <a:pt x="274" y="91"/>
                      <a:pt x="275" y="90"/>
                    </a:cubicBezTo>
                    <a:cubicBezTo>
                      <a:pt x="276" y="89"/>
                      <a:pt x="276" y="90"/>
                      <a:pt x="276" y="88"/>
                    </a:cubicBezTo>
                    <a:cubicBezTo>
                      <a:pt x="276" y="86"/>
                      <a:pt x="277" y="86"/>
                      <a:pt x="277" y="84"/>
                    </a:cubicBezTo>
                    <a:cubicBezTo>
                      <a:pt x="278" y="83"/>
                      <a:pt x="278" y="82"/>
                      <a:pt x="279" y="80"/>
                    </a:cubicBezTo>
                    <a:cubicBezTo>
                      <a:pt x="279" y="79"/>
                      <a:pt x="280" y="77"/>
                      <a:pt x="281" y="76"/>
                    </a:cubicBezTo>
                    <a:cubicBezTo>
                      <a:pt x="281" y="75"/>
                      <a:pt x="283" y="73"/>
                      <a:pt x="283" y="72"/>
                    </a:cubicBezTo>
                    <a:cubicBezTo>
                      <a:pt x="283" y="70"/>
                      <a:pt x="283" y="69"/>
                      <a:pt x="284" y="67"/>
                    </a:cubicBezTo>
                    <a:cubicBezTo>
                      <a:pt x="284" y="65"/>
                      <a:pt x="285" y="64"/>
                      <a:pt x="286" y="62"/>
                    </a:cubicBezTo>
                    <a:cubicBezTo>
                      <a:pt x="287" y="61"/>
                      <a:pt x="289" y="59"/>
                      <a:pt x="289" y="57"/>
                    </a:cubicBezTo>
                    <a:cubicBezTo>
                      <a:pt x="290" y="56"/>
                      <a:pt x="289" y="56"/>
                      <a:pt x="290" y="55"/>
                    </a:cubicBezTo>
                    <a:cubicBezTo>
                      <a:pt x="290" y="55"/>
                      <a:pt x="291" y="54"/>
                      <a:pt x="292" y="54"/>
                    </a:cubicBezTo>
                    <a:cubicBezTo>
                      <a:pt x="293" y="53"/>
                      <a:pt x="296" y="54"/>
                      <a:pt x="297" y="53"/>
                    </a:cubicBezTo>
                    <a:cubicBezTo>
                      <a:pt x="299" y="53"/>
                      <a:pt x="300" y="52"/>
                      <a:pt x="301" y="52"/>
                    </a:cubicBezTo>
                    <a:cubicBezTo>
                      <a:pt x="303" y="52"/>
                      <a:pt x="305" y="53"/>
                      <a:pt x="307" y="53"/>
                    </a:cubicBezTo>
                    <a:cubicBezTo>
                      <a:pt x="309" y="53"/>
                      <a:pt x="311" y="53"/>
                      <a:pt x="312" y="53"/>
                    </a:cubicBezTo>
                    <a:cubicBezTo>
                      <a:pt x="316" y="52"/>
                      <a:pt x="319" y="51"/>
                      <a:pt x="322" y="47"/>
                    </a:cubicBezTo>
                    <a:cubicBezTo>
                      <a:pt x="322" y="46"/>
                      <a:pt x="323" y="45"/>
                      <a:pt x="323" y="43"/>
                    </a:cubicBezTo>
                    <a:cubicBezTo>
                      <a:pt x="324" y="43"/>
                      <a:pt x="324" y="43"/>
                      <a:pt x="324" y="42"/>
                    </a:cubicBezTo>
                    <a:cubicBezTo>
                      <a:pt x="324" y="42"/>
                      <a:pt x="324" y="42"/>
                      <a:pt x="324" y="42"/>
                    </a:cubicBezTo>
                    <a:cubicBezTo>
                      <a:pt x="323" y="42"/>
                      <a:pt x="322" y="42"/>
                      <a:pt x="322" y="41"/>
                    </a:cubicBezTo>
                    <a:cubicBezTo>
                      <a:pt x="321" y="41"/>
                      <a:pt x="320" y="40"/>
                      <a:pt x="320" y="40"/>
                    </a:cubicBezTo>
                    <a:cubicBezTo>
                      <a:pt x="318" y="39"/>
                      <a:pt x="316" y="38"/>
                      <a:pt x="315" y="38"/>
                    </a:cubicBezTo>
                    <a:cubicBezTo>
                      <a:pt x="311" y="36"/>
                      <a:pt x="308" y="36"/>
                      <a:pt x="304" y="35"/>
                    </a:cubicBezTo>
                    <a:cubicBezTo>
                      <a:pt x="303" y="34"/>
                      <a:pt x="302" y="34"/>
                      <a:pt x="301" y="32"/>
                    </a:cubicBezTo>
                    <a:cubicBezTo>
                      <a:pt x="300" y="31"/>
                      <a:pt x="300" y="31"/>
                      <a:pt x="298" y="30"/>
                    </a:cubicBezTo>
                    <a:cubicBezTo>
                      <a:pt x="297" y="29"/>
                      <a:pt x="295" y="28"/>
                      <a:pt x="293" y="27"/>
                    </a:cubicBezTo>
                    <a:cubicBezTo>
                      <a:pt x="292" y="27"/>
                      <a:pt x="292" y="27"/>
                      <a:pt x="291" y="27"/>
                    </a:cubicBezTo>
                    <a:cubicBezTo>
                      <a:pt x="291" y="27"/>
                      <a:pt x="290" y="25"/>
                      <a:pt x="290" y="25"/>
                    </a:cubicBezTo>
                    <a:cubicBezTo>
                      <a:pt x="289" y="24"/>
                      <a:pt x="289" y="24"/>
                      <a:pt x="289" y="23"/>
                    </a:cubicBezTo>
                    <a:cubicBezTo>
                      <a:pt x="288" y="22"/>
                      <a:pt x="287" y="21"/>
                      <a:pt x="286" y="20"/>
                    </a:cubicBezTo>
                    <a:cubicBezTo>
                      <a:pt x="285" y="20"/>
                      <a:pt x="284" y="21"/>
                      <a:pt x="283" y="21"/>
                    </a:cubicBezTo>
                    <a:cubicBezTo>
                      <a:pt x="281" y="20"/>
                      <a:pt x="282" y="20"/>
                      <a:pt x="281" y="19"/>
                    </a:cubicBezTo>
                    <a:cubicBezTo>
                      <a:pt x="279" y="18"/>
                      <a:pt x="278" y="17"/>
                      <a:pt x="276" y="16"/>
                    </a:cubicBezTo>
                    <a:cubicBezTo>
                      <a:pt x="273" y="15"/>
                      <a:pt x="269" y="14"/>
                      <a:pt x="266" y="13"/>
                    </a:cubicBezTo>
                    <a:cubicBezTo>
                      <a:pt x="264" y="13"/>
                      <a:pt x="261" y="13"/>
                      <a:pt x="259" y="13"/>
                    </a:cubicBezTo>
                    <a:cubicBezTo>
                      <a:pt x="258" y="13"/>
                      <a:pt x="258" y="12"/>
                      <a:pt x="257" y="12"/>
                    </a:cubicBezTo>
                    <a:cubicBezTo>
                      <a:pt x="256" y="12"/>
                      <a:pt x="255" y="13"/>
                      <a:pt x="255" y="13"/>
                    </a:cubicBezTo>
                    <a:cubicBezTo>
                      <a:pt x="254" y="17"/>
                      <a:pt x="251" y="15"/>
                      <a:pt x="249" y="15"/>
                    </a:cubicBezTo>
                    <a:cubicBezTo>
                      <a:pt x="248" y="15"/>
                      <a:pt x="247" y="16"/>
                      <a:pt x="246" y="17"/>
                    </a:cubicBezTo>
                    <a:cubicBezTo>
                      <a:pt x="245" y="19"/>
                      <a:pt x="246" y="20"/>
                      <a:pt x="245" y="22"/>
                    </a:cubicBezTo>
                    <a:cubicBezTo>
                      <a:pt x="245" y="23"/>
                      <a:pt x="242" y="25"/>
                      <a:pt x="241" y="25"/>
                    </a:cubicBezTo>
                    <a:cubicBezTo>
                      <a:pt x="241" y="25"/>
                      <a:pt x="238" y="25"/>
                      <a:pt x="238" y="25"/>
                    </a:cubicBezTo>
                    <a:cubicBezTo>
                      <a:pt x="237" y="25"/>
                      <a:pt x="237" y="24"/>
                      <a:pt x="237" y="23"/>
                    </a:cubicBezTo>
                    <a:cubicBezTo>
                      <a:pt x="236" y="23"/>
                      <a:pt x="235" y="23"/>
                      <a:pt x="234" y="22"/>
                    </a:cubicBezTo>
                    <a:cubicBezTo>
                      <a:pt x="234" y="22"/>
                      <a:pt x="232" y="22"/>
                      <a:pt x="232" y="22"/>
                    </a:cubicBezTo>
                    <a:cubicBezTo>
                      <a:pt x="230" y="21"/>
                      <a:pt x="229" y="18"/>
                      <a:pt x="227" y="17"/>
                    </a:cubicBezTo>
                    <a:cubicBezTo>
                      <a:pt x="226" y="17"/>
                      <a:pt x="225" y="18"/>
                      <a:pt x="224" y="17"/>
                    </a:cubicBezTo>
                    <a:cubicBezTo>
                      <a:pt x="222" y="17"/>
                      <a:pt x="222" y="16"/>
                      <a:pt x="221" y="15"/>
                    </a:cubicBezTo>
                    <a:cubicBezTo>
                      <a:pt x="217" y="15"/>
                      <a:pt x="215" y="18"/>
                      <a:pt x="212" y="18"/>
                    </a:cubicBezTo>
                    <a:cubicBezTo>
                      <a:pt x="210" y="18"/>
                      <a:pt x="207" y="18"/>
                      <a:pt x="205" y="18"/>
                    </a:cubicBezTo>
                    <a:cubicBezTo>
                      <a:pt x="205" y="20"/>
                      <a:pt x="206" y="21"/>
                      <a:pt x="205" y="23"/>
                    </a:cubicBezTo>
                    <a:cubicBezTo>
                      <a:pt x="201" y="24"/>
                      <a:pt x="197" y="22"/>
                      <a:pt x="194" y="25"/>
                    </a:cubicBezTo>
                    <a:cubicBezTo>
                      <a:pt x="191" y="26"/>
                      <a:pt x="190" y="27"/>
                      <a:pt x="190" y="30"/>
                    </a:cubicBezTo>
                    <a:cubicBezTo>
                      <a:pt x="190" y="32"/>
                      <a:pt x="190" y="33"/>
                      <a:pt x="190" y="35"/>
                    </a:cubicBezTo>
                    <a:cubicBezTo>
                      <a:pt x="189" y="35"/>
                      <a:pt x="187" y="35"/>
                      <a:pt x="185" y="35"/>
                    </a:cubicBezTo>
                    <a:cubicBezTo>
                      <a:pt x="185" y="34"/>
                      <a:pt x="184" y="33"/>
                      <a:pt x="183" y="33"/>
                    </a:cubicBezTo>
                    <a:cubicBezTo>
                      <a:pt x="182" y="33"/>
                      <a:pt x="182" y="33"/>
                      <a:pt x="181" y="32"/>
                    </a:cubicBezTo>
                    <a:cubicBezTo>
                      <a:pt x="180" y="32"/>
                      <a:pt x="179" y="31"/>
                      <a:pt x="179" y="30"/>
                    </a:cubicBezTo>
                    <a:cubicBezTo>
                      <a:pt x="178" y="30"/>
                      <a:pt x="177" y="30"/>
                      <a:pt x="177" y="29"/>
                    </a:cubicBezTo>
                    <a:cubicBezTo>
                      <a:pt x="175" y="28"/>
                      <a:pt x="175" y="29"/>
                      <a:pt x="175" y="27"/>
                    </a:cubicBezTo>
                    <a:cubicBezTo>
                      <a:pt x="175" y="25"/>
                      <a:pt x="175" y="23"/>
                      <a:pt x="175" y="21"/>
                    </a:cubicBezTo>
                    <a:cubicBezTo>
                      <a:pt x="175" y="19"/>
                      <a:pt x="175" y="19"/>
                      <a:pt x="174" y="18"/>
                    </a:cubicBezTo>
                    <a:cubicBezTo>
                      <a:pt x="174" y="17"/>
                      <a:pt x="173" y="16"/>
                      <a:pt x="172" y="15"/>
                    </a:cubicBezTo>
                    <a:cubicBezTo>
                      <a:pt x="172" y="15"/>
                      <a:pt x="172" y="14"/>
                      <a:pt x="171" y="13"/>
                    </a:cubicBezTo>
                    <a:cubicBezTo>
                      <a:pt x="171" y="12"/>
                      <a:pt x="168" y="10"/>
                      <a:pt x="167" y="10"/>
                    </a:cubicBezTo>
                    <a:cubicBezTo>
                      <a:pt x="167" y="8"/>
                      <a:pt x="165" y="9"/>
                      <a:pt x="164" y="8"/>
                    </a:cubicBezTo>
                    <a:cubicBezTo>
                      <a:pt x="163" y="7"/>
                      <a:pt x="163" y="6"/>
                      <a:pt x="163" y="5"/>
                    </a:cubicBezTo>
                    <a:cubicBezTo>
                      <a:pt x="163" y="2"/>
                      <a:pt x="160" y="0"/>
                      <a:pt x="158" y="2"/>
                    </a:cubicBezTo>
                    <a:cubicBezTo>
                      <a:pt x="157" y="3"/>
                      <a:pt x="157" y="4"/>
                      <a:pt x="155" y="4"/>
                    </a:cubicBezTo>
                    <a:cubicBezTo>
                      <a:pt x="155" y="5"/>
                      <a:pt x="154" y="5"/>
                      <a:pt x="154" y="5"/>
                    </a:cubicBezTo>
                    <a:cubicBezTo>
                      <a:pt x="152" y="5"/>
                      <a:pt x="152" y="6"/>
                      <a:pt x="150" y="6"/>
                    </a:cubicBezTo>
                    <a:cubicBezTo>
                      <a:pt x="147" y="7"/>
                      <a:pt x="146" y="8"/>
                      <a:pt x="145" y="11"/>
                    </a:cubicBezTo>
                    <a:cubicBezTo>
                      <a:pt x="145" y="15"/>
                      <a:pt x="146" y="17"/>
                      <a:pt x="142" y="17"/>
                    </a:cubicBezTo>
                    <a:cubicBezTo>
                      <a:pt x="139" y="18"/>
                      <a:pt x="135" y="18"/>
                      <a:pt x="132" y="17"/>
                    </a:cubicBezTo>
                    <a:cubicBezTo>
                      <a:pt x="128" y="17"/>
                      <a:pt x="129" y="15"/>
                      <a:pt x="128" y="12"/>
                    </a:cubicBezTo>
                    <a:cubicBezTo>
                      <a:pt x="128" y="11"/>
                      <a:pt x="128" y="9"/>
                      <a:pt x="127" y="8"/>
                    </a:cubicBezTo>
                    <a:cubicBezTo>
                      <a:pt x="127" y="7"/>
                      <a:pt x="127" y="7"/>
                      <a:pt x="126" y="7"/>
                    </a:cubicBezTo>
                    <a:cubicBezTo>
                      <a:pt x="126" y="7"/>
                      <a:pt x="126" y="7"/>
                      <a:pt x="126" y="7"/>
                    </a:cubicBezTo>
                    <a:cubicBezTo>
                      <a:pt x="124" y="7"/>
                      <a:pt x="122" y="7"/>
                      <a:pt x="121" y="8"/>
                    </a:cubicBezTo>
                    <a:cubicBezTo>
                      <a:pt x="120" y="8"/>
                      <a:pt x="120" y="8"/>
                      <a:pt x="119" y="9"/>
                    </a:cubicBezTo>
                    <a:cubicBezTo>
                      <a:pt x="118" y="9"/>
                      <a:pt x="119" y="9"/>
                      <a:pt x="117" y="9"/>
                    </a:cubicBezTo>
                    <a:cubicBezTo>
                      <a:pt x="116" y="10"/>
                      <a:pt x="115" y="10"/>
                      <a:pt x="114" y="10"/>
                    </a:cubicBezTo>
                    <a:cubicBezTo>
                      <a:pt x="112" y="9"/>
                      <a:pt x="111" y="8"/>
                      <a:pt x="110" y="8"/>
                    </a:cubicBezTo>
                    <a:cubicBezTo>
                      <a:pt x="108" y="8"/>
                      <a:pt x="109" y="9"/>
                      <a:pt x="108" y="10"/>
                    </a:cubicBezTo>
                    <a:cubicBezTo>
                      <a:pt x="107" y="11"/>
                      <a:pt x="106" y="12"/>
                      <a:pt x="105" y="12"/>
                    </a:cubicBezTo>
                    <a:cubicBezTo>
                      <a:pt x="104" y="13"/>
                      <a:pt x="104" y="13"/>
                      <a:pt x="103" y="14"/>
                    </a:cubicBezTo>
                    <a:cubicBezTo>
                      <a:pt x="103" y="15"/>
                      <a:pt x="102" y="15"/>
                      <a:pt x="101" y="15"/>
                    </a:cubicBezTo>
                    <a:cubicBezTo>
                      <a:pt x="98" y="17"/>
                      <a:pt x="98" y="19"/>
                      <a:pt x="97" y="21"/>
                    </a:cubicBezTo>
                    <a:cubicBezTo>
                      <a:pt x="96" y="21"/>
                      <a:pt x="96" y="21"/>
                      <a:pt x="96" y="22"/>
                    </a:cubicBezTo>
                    <a:cubicBezTo>
                      <a:pt x="96" y="22"/>
                      <a:pt x="95" y="23"/>
                      <a:pt x="95" y="24"/>
                    </a:cubicBezTo>
                    <a:cubicBezTo>
                      <a:pt x="94" y="24"/>
                      <a:pt x="93" y="25"/>
                      <a:pt x="92" y="25"/>
                    </a:cubicBezTo>
                    <a:cubicBezTo>
                      <a:pt x="91" y="25"/>
                      <a:pt x="89" y="25"/>
                      <a:pt x="88" y="25"/>
                    </a:cubicBezTo>
                    <a:cubicBezTo>
                      <a:pt x="87" y="25"/>
                      <a:pt x="87" y="27"/>
                      <a:pt x="87" y="28"/>
                    </a:cubicBezTo>
                    <a:cubicBezTo>
                      <a:pt x="86" y="29"/>
                      <a:pt x="86" y="30"/>
                      <a:pt x="85" y="31"/>
                    </a:cubicBezTo>
                    <a:cubicBezTo>
                      <a:pt x="85" y="31"/>
                      <a:pt x="85" y="33"/>
                      <a:pt x="85" y="34"/>
                    </a:cubicBezTo>
                    <a:cubicBezTo>
                      <a:pt x="84" y="36"/>
                      <a:pt x="82" y="37"/>
                      <a:pt x="82" y="40"/>
                    </a:cubicBezTo>
                    <a:cubicBezTo>
                      <a:pt x="82" y="43"/>
                      <a:pt x="80" y="45"/>
                      <a:pt x="78" y="47"/>
                    </a:cubicBezTo>
                    <a:cubicBezTo>
                      <a:pt x="78" y="48"/>
                      <a:pt x="78" y="49"/>
                      <a:pt x="77" y="50"/>
                    </a:cubicBezTo>
                    <a:cubicBezTo>
                      <a:pt x="77" y="50"/>
                      <a:pt x="76" y="49"/>
                      <a:pt x="75" y="50"/>
                    </a:cubicBezTo>
                    <a:cubicBezTo>
                      <a:pt x="74" y="50"/>
                      <a:pt x="74" y="50"/>
                      <a:pt x="73" y="50"/>
                    </a:cubicBezTo>
                    <a:cubicBezTo>
                      <a:pt x="71" y="51"/>
                      <a:pt x="71" y="51"/>
                      <a:pt x="70" y="52"/>
                    </a:cubicBezTo>
                    <a:cubicBezTo>
                      <a:pt x="70" y="53"/>
                      <a:pt x="70" y="53"/>
                      <a:pt x="69" y="54"/>
                    </a:cubicBezTo>
                    <a:cubicBezTo>
                      <a:pt x="68" y="55"/>
                      <a:pt x="67" y="56"/>
                      <a:pt x="66" y="56"/>
                    </a:cubicBezTo>
                    <a:cubicBezTo>
                      <a:pt x="65" y="57"/>
                      <a:pt x="63" y="58"/>
                      <a:pt x="62" y="59"/>
                    </a:cubicBezTo>
                    <a:cubicBezTo>
                      <a:pt x="61" y="60"/>
                      <a:pt x="59" y="61"/>
                      <a:pt x="57" y="62"/>
                    </a:cubicBezTo>
                    <a:cubicBezTo>
                      <a:pt x="56" y="62"/>
                      <a:pt x="56" y="62"/>
                      <a:pt x="55" y="63"/>
                    </a:cubicBezTo>
                    <a:cubicBezTo>
                      <a:pt x="55" y="63"/>
                      <a:pt x="54" y="63"/>
                      <a:pt x="54" y="63"/>
                    </a:cubicBezTo>
                    <a:cubicBezTo>
                      <a:pt x="54" y="64"/>
                      <a:pt x="54" y="64"/>
                      <a:pt x="54" y="64"/>
                    </a:cubicBezTo>
                    <a:cubicBezTo>
                      <a:pt x="53" y="65"/>
                      <a:pt x="52" y="64"/>
                      <a:pt x="51" y="64"/>
                    </a:cubicBezTo>
                    <a:cubicBezTo>
                      <a:pt x="47" y="65"/>
                      <a:pt x="43" y="66"/>
                      <a:pt x="39" y="64"/>
                    </a:cubicBezTo>
                    <a:cubicBezTo>
                      <a:pt x="38" y="64"/>
                      <a:pt x="37" y="63"/>
                      <a:pt x="36" y="63"/>
                    </a:cubicBezTo>
                    <a:cubicBezTo>
                      <a:pt x="35" y="62"/>
                      <a:pt x="34" y="62"/>
                      <a:pt x="33" y="62"/>
                    </a:cubicBezTo>
                    <a:cubicBezTo>
                      <a:pt x="33" y="61"/>
                      <a:pt x="33" y="60"/>
                      <a:pt x="31" y="60"/>
                    </a:cubicBezTo>
                    <a:cubicBezTo>
                      <a:pt x="30" y="61"/>
                      <a:pt x="30" y="63"/>
                      <a:pt x="29" y="63"/>
                    </a:cubicBezTo>
                    <a:cubicBezTo>
                      <a:pt x="28" y="64"/>
                      <a:pt x="27" y="65"/>
                      <a:pt x="26" y="66"/>
                    </a:cubicBezTo>
                    <a:cubicBezTo>
                      <a:pt x="25" y="66"/>
                      <a:pt x="25" y="67"/>
                      <a:pt x="24" y="68"/>
                    </a:cubicBezTo>
                    <a:cubicBezTo>
                      <a:pt x="24" y="68"/>
                      <a:pt x="23" y="68"/>
                      <a:pt x="23" y="69"/>
                    </a:cubicBezTo>
                    <a:cubicBezTo>
                      <a:pt x="22" y="70"/>
                      <a:pt x="22" y="71"/>
                      <a:pt x="21" y="72"/>
                    </a:cubicBezTo>
                    <a:cubicBezTo>
                      <a:pt x="19" y="73"/>
                      <a:pt x="18" y="74"/>
                      <a:pt x="15" y="74"/>
                    </a:cubicBezTo>
                    <a:cubicBezTo>
                      <a:pt x="14" y="75"/>
                      <a:pt x="13" y="74"/>
                      <a:pt x="12" y="74"/>
                    </a:cubicBezTo>
                    <a:cubicBezTo>
                      <a:pt x="10" y="74"/>
                      <a:pt x="9" y="75"/>
                      <a:pt x="8" y="75"/>
                    </a:cubicBezTo>
                    <a:cubicBezTo>
                      <a:pt x="8" y="75"/>
                      <a:pt x="8" y="75"/>
                      <a:pt x="8" y="76"/>
                    </a:cubicBezTo>
                    <a:cubicBezTo>
                      <a:pt x="8" y="77"/>
                      <a:pt x="8" y="79"/>
                      <a:pt x="8" y="80"/>
                    </a:cubicBezTo>
                    <a:cubicBezTo>
                      <a:pt x="8" y="82"/>
                      <a:pt x="7" y="84"/>
                      <a:pt x="6" y="85"/>
                    </a:cubicBezTo>
                    <a:cubicBezTo>
                      <a:pt x="6" y="86"/>
                      <a:pt x="5" y="87"/>
                      <a:pt x="4" y="88"/>
                    </a:cubicBezTo>
                    <a:cubicBezTo>
                      <a:pt x="3" y="89"/>
                      <a:pt x="2" y="91"/>
                      <a:pt x="1" y="93"/>
                    </a:cubicBezTo>
                    <a:cubicBezTo>
                      <a:pt x="1" y="94"/>
                      <a:pt x="0" y="95"/>
                      <a:pt x="1" y="96"/>
                    </a:cubicBezTo>
                    <a:cubicBezTo>
                      <a:pt x="1" y="97"/>
                      <a:pt x="2" y="99"/>
                      <a:pt x="2" y="100"/>
                    </a:cubicBezTo>
                    <a:cubicBezTo>
                      <a:pt x="3" y="100"/>
                      <a:pt x="4" y="101"/>
                      <a:pt x="4" y="101"/>
                    </a:cubicBezTo>
                    <a:cubicBezTo>
                      <a:pt x="5" y="102"/>
                      <a:pt x="5" y="103"/>
                      <a:pt x="5" y="104"/>
                    </a:cubicBezTo>
                    <a:cubicBezTo>
                      <a:pt x="6" y="107"/>
                      <a:pt x="5" y="110"/>
                      <a:pt x="6" y="113"/>
                    </a:cubicBezTo>
                    <a:cubicBezTo>
                      <a:pt x="6" y="114"/>
                      <a:pt x="7" y="116"/>
                      <a:pt x="8" y="117"/>
                    </a:cubicBezTo>
                    <a:cubicBezTo>
                      <a:pt x="8" y="118"/>
                      <a:pt x="9" y="118"/>
                      <a:pt x="9" y="118"/>
                    </a:cubicBezTo>
                    <a:cubicBezTo>
                      <a:pt x="10" y="119"/>
                      <a:pt x="10" y="120"/>
                      <a:pt x="10" y="120"/>
                    </a:cubicBezTo>
                    <a:cubicBezTo>
                      <a:pt x="10" y="121"/>
                      <a:pt x="10" y="121"/>
                      <a:pt x="10" y="121"/>
                    </a:cubicBezTo>
                    <a:cubicBezTo>
                      <a:pt x="10" y="122"/>
                      <a:pt x="11" y="122"/>
                      <a:pt x="11" y="122"/>
                    </a:cubicBezTo>
                    <a:cubicBezTo>
                      <a:pt x="11" y="123"/>
                      <a:pt x="11" y="124"/>
                      <a:pt x="12" y="126"/>
                    </a:cubicBezTo>
                    <a:cubicBezTo>
                      <a:pt x="13" y="127"/>
                      <a:pt x="13" y="129"/>
                      <a:pt x="13" y="130"/>
                    </a:cubicBezTo>
                    <a:cubicBezTo>
                      <a:pt x="13" y="130"/>
                      <a:pt x="12" y="131"/>
                      <a:pt x="12" y="131"/>
                    </a:cubicBezTo>
                    <a:cubicBezTo>
                      <a:pt x="12" y="132"/>
                      <a:pt x="12" y="132"/>
                      <a:pt x="12" y="132"/>
                    </a:cubicBezTo>
                    <a:cubicBezTo>
                      <a:pt x="11" y="133"/>
                      <a:pt x="10" y="134"/>
                      <a:pt x="9" y="13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75" name="Freeform 24">
                <a:extLst>
                  <a:ext uri="{FF2B5EF4-FFF2-40B4-BE49-F238E27FC236}">
                    <a16:creationId xmlns:a16="http://schemas.microsoft.com/office/drawing/2014/main" id="{BE1E008A-DFB5-4609-980D-E90398AEE2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80000" y="4768850"/>
                <a:ext cx="660400" cy="425450"/>
              </a:xfrm>
              <a:custGeom>
                <a:avLst/>
                <a:gdLst/>
                <a:ahLst/>
                <a:cxnLst>
                  <a:cxn ang="0">
                    <a:pos x="3" y="150"/>
                  </a:cxn>
                  <a:cxn ang="0">
                    <a:pos x="12" y="165"/>
                  </a:cxn>
                  <a:cxn ang="0">
                    <a:pos x="27" y="181"/>
                  </a:cxn>
                  <a:cxn ang="0">
                    <a:pos x="42" y="192"/>
                  </a:cxn>
                  <a:cxn ang="0">
                    <a:pos x="44" y="198"/>
                  </a:cxn>
                  <a:cxn ang="0">
                    <a:pos x="58" y="213"/>
                  </a:cxn>
                  <a:cxn ang="0">
                    <a:pos x="71" y="221"/>
                  </a:cxn>
                  <a:cxn ang="0">
                    <a:pos x="88" y="225"/>
                  </a:cxn>
                  <a:cxn ang="0">
                    <a:pos x="104" y="226"/>
                  </a:cxn>
                  <a:cxn ang="0">
                    <a:pos x="123" y="219"/>
                  </a:cxn>
                  <a:cxn ang="0">
                    <a:pos x="132" y="214"/>
                  </a:cxn>
                  <a:cxn ang="0">
                    <a:pos x="150" y="211"/>
                  </a:cxn>
                  <a:cxn ang="0">
                    <a:pos x="165" y="200"/>
                  </a:cxn>
                  <a:cxn ang="0">
                    <a:pos x="172" y="196"/>
                  </a:cxn>
                  <a:cxn ang="0">
                    <a:pos x="197" y="196"/>
                  </a:cxn>
                  <a:cxn ang="0">
                    <a:pos x="234" y="193"/>
                  </a:cxn>
                  <a:cxn ang="0">
                    <a:pos x="251" y="191"/>
                  </a:cxn>
                  <a:cxn ang="0">
                    <a:pos x="255" y="185"/>
                  </a:cxn>
                  <a:cxn ang="0">
                    <a:pos x="259" y="180"/>
                  </a:cxn>
                  <a:cxn ang="0">
                    <a:pos x="262" y="174"/>
                  </a:cxn>
                  <a:cxn ang="0">
                    <a:pos x="267" y="162"/>
                  </a:cxn>
                  <a:cxn ang="0">
                    <a:pos x="275" y="154"/>
                  </a:cxn>
                  <a:cxn ang="0">
                    <a:pos x="281" y="148"/>
                  </a:cxn>
                  <a:cxn ang="0">
                    <a:pos x="285" y="133"/>
                  </a:cxn>
                  <a:cxn ang="0">
                    <a:pos x="292" y="121"/>
                  </a:cxn>
                  <a:cxn ang="0">
                    <a:pos x="302" y="101"/>
                  </a:cxn>
                  <a:cxn ang="0">
                    <a:pos x="307" y="91"/>
                  </a:cxn>
                  <a:cxn ang="0">
                    <a:pos x="311" y="85"/>
                  </a:cxn>
                  <a:cxn ang="0">
                    <a:pos x="315" y="78"/>
                  </a:cxn>
                  <a:cxn ang="0">
                    <a:pos x="327" y="70"/>
                  </a:cxn>
                  <a:cxn ang="0">
                    <a:pos x="341" y="64"/>
                  </a:cxn>
                  <a:cxn ang="0">
                    <a:pos x="353" y="52"/>
                  </a:cxn>
                  <a:cxn ang="0">
                    <a:pos x="348" y="38"/>
                  </a:cxn>
                  <a:cxn ang="0">
                    <a:pos x="337" y="30"/>
                  </a:cxn>
                  <a:cxn ang="0">
                    <a:pos x="312" y="12"/>
                  </a:cxn>
                  <a:cxn ang="0">
                    <a:pos x="296" y="21"/>
                  </a:cxn>
                  <a:cxn ang="0">
                    <a:pos x="282" y="4"/>
                  </a:cxn>
                  <a:cxn ang="0">
                    <a:pos x="270" y="2"/>
                  </a:cxn>
                  <a:cxn ang="0">
                    <a:pos x="253" y="5"/>
                  </a:cxn>
                  <a:cxn ang="0">
                    <a:pos x="234" y="2"/>
                  </a:cxn>
                  <a:cxn ang="0">
                    <a:pos x="221" y="18"/>
                  </a:cxn>
                  <a:cxn ang="0">
                    <a:pos x="207" y="28"/>
                  </a:cxn>
                  <a:cxn ang="0">
                    <a:pos x="195" y="36"/>
                  </a:cxn>
                  <a:cxn ang="0">
                    <a:pos x="183" y="29"/>
                  </a:cxn>
                  <a:cxn ang="0">
                    <a:pos x="169" y="38"/>
                  </a:cxn>
                  <a:cxn ang="0">
                    <a:pos x="143" y="42"/>
                  </a:cxn>
                  <a:cxn ang="0">
                    <a:pos x="131" y="53"/>
                  </a:cxn>
                  <a:cxn ang="0">
                    <a:pos x="122" y="63"/>
                  </a:cxn>
                  <a:cxn ang="0">
                    <a:pos x="115" y="66"/>
                  </a:cxn>
                  <a:cxn ang="0">
                    <a:pos x="72" y="61"/>
                  </a:cxn>
                  <a:cxn ang="0">
                    <a:pos x="54" y="50"/>
                  </a:cxn>
                  <a:cxn ang="0">
                    <a:pos x="52" y="61"/>
                  </a:cxn>
                  <a:cxn ang="0">
                    <a:pos x="36" y="69"/>
                  </a:cxn>
                  <a:cxn ang="0">
                    <a:pos x="21" y="68"/>
                  </a:cxn>
                  <a:cxn ang="0">
                    <a:pos x="26" y="74"/>
                  </a:cxn>
                  <a:cxn ang="0">
                    <a:pos x="28" y="82"/>
                  </a:cxn>
                  <a:cxn ang="0">
                    <a:pos x="19" y="90"/>
                  </a:cxn>
                  <a:cxn ang="0">
                    <a:pos x="17" y="103"/>
                  </a:cxn>
                  <a:cxn ang="0">
                    <a:pos x="17" y="113"/>
                  </a:cxn>
                  <a:cxn ang="0">
                    <a:pos x="17" y="122"/>
                  </a:cxn>
                  <a:cxn ang="0">
                    <a:pos x="2" y="131"/>
                  </a:cxn>
                  <a:cxn ang="0">
                    <a:pos x="53" y="47"/>
                  </a:cxn>
                </a:cxnLst>
                <a:rect l="0" t="0" r="r" b="b"/>
                <a:pathLst>
                  <a:path w="353" h="228">
                    <a:moveTo>
                      <a:pt x="2" y="136"/>
                    </a:moveTo>
                    <a:cubicBezTo>
                      <a:pt x="4" y="138"/>
                      <a:pt x="5" y="139"/>
                      <a:pt x="5" y="141"/>
                    </a:cubicBezTo>
                    <a:cubicBezTo>
                      <a:pt x="5" y="143"/>
                      <a:pt x="4" y="144"/>
                      <a:pt x="4" y="146"/>
                    </a:cubicBezTo>
                    <a:cubicBezTo>
                      <a:pt x="3" y="147"/>
                      <a:pt x="3" y="148"/>
                      <a:pt x="3" y="150"/>
                    </a:cubicBezTo>
                    <a:cubicBezTo>
                      <a:pt x="3" y="152"/>
                      <a:pt x="3" y="152"/>
                      <a:pt x="5" y="153"/>
                    </a:cubicBezTo>
                    <a:cubicBezTo>
                      <a:pt x="6" y="154"/>
                      <a:pt x="7" y="154"/>
                      <a:pt x="8" y="155"/>
                    </a:cubicBezTo>
                    <a:cubicBezTo>
                      <a:pt x="9" y="159"/>
                      <a:pt x="6" y="162"/>
                      <a:pt x="10" y="165"/>
                    </a:cubicBezTo>
                    <a:cubicBezTo>
                      <a:pt x="10" y="165"/>
                      <a:pt x="11" y="165"/>
                      <a:pt x="12" y="165"/>
                    </a:cubicBezTo>
                    <a:cubicBezTo>
                      <a:pt x="12" y="165"/>
                      <a:pt x="13" y="167"/>
                      <a:pt x="13" y="167"/>
                    </a:cubicBezTo>
                    <a:cubicBezTo>
                      <a:pt x="14" y="168"/>
                      <a:pt x="15" y="169"/>
                      <a:pt x="17" y="170"/>
                    </a:cubicBezTo>
                    <a:cubicBezTo>
                      <a:pt x="20" y="172"/>
                      <a:pt x="23" y="174"/>
                      <a:pt x="25" y="177"/>
                    </a:cubicBezTo>
                    <a:cubicBezTo>
                      <a:pt x="26" y="178"/>
                      <a:pt x="26" y="180"/>
                      <a:pt x="27" y="181"/>
                    </a:cubicBezTo>
                    <a:cubicBezTo>
                      <a:pt x="28" y="182"/>
                      <a:pt x="30" y="183"/>
                      <a:pt x="32" y="183"/>
                    </a:cubicBezTo>
                    <a:cubicBezTo>
                      <a:pt x="31" y="186"/>
                      <a:pt x="31" y="187"/>
                      <a:pt x="34" y="189"/>
                    </a:cubicBezTo>
                    <a:cubicBezTo>
                      <a:pt x="35" y="190"/>
                      <a:pt x="37" y="190"/>
                      <a:pt x="38" y="191"/>
                    </a:cubicBezTo>
                    <a:cubicBezTo>
                      <a:pt x="39" y="191"/>
                      <a:pt x="40" y="193"/>
                      <a:pt x="42" y="192"/>
                    </a:cubicBezTo>
                    <a:cubicBezTo>
                      <a:pt x="41" y="192"/>
                      <a:pt x="41" y="193"/>
                      <a:pt x="41" y="193"/>
                    </a:cubicBezTo>
                    <a:cubicBezTo>
                      <a:pt x="42" y="194"/>
                      <a:pt x="43" y="195"/>
                      <a:pt x="43" y="196"/>
                    </a:cubicBezTo>
                    <a:cubicBezTo>
                      <a:pt x="44" y="196"/>
                      <a:pt x="44" y="196"/>
                      <a:pt x="43" y="197"/>
                    </a:cubicBezTo>
                    <a:cubicBezTo>
                      <a:pt x="44" y="197"/>
                      <a:pt x="44" y="197"/>
                      <a:pt x="44" y="198"/>
                    </a:cubicBezTo>
                    <a:cubicBezTo>
                      <a:pt x="45" y="198"/>
                      <a:pt x="45" y="199"/>
                      <a:pt x="46" y="199"/>
                    </a:cubicBezTo>
                    <a:cubicBezTo>
                      <a:pt x="47" y="201"/>
                      <a:pt x="48" y="201"/>
                      <a:pt x="49" y="203"/>
                    </a:cubicBezTo>
                    <a:cubicBezTo>
                      <a:pt x="50" y="205"/>
                      <a:pt x="50" y="208"/>
                      <a:pt x="51" y="210"/>
                    </a:cubicBezTo>
                    <a:cubicBezTo>
                      <a:pt x="53" y="212"/>
                      <a:pt x="56" y="212"/>
                      <a:pt x="58" y="213"/>
                    </a:cubicBezTo>
                    <a:cubicBezTo>
                      <a:pt x="60" y="214"/>
                      <a:pt x="60" y="215"/>
                      <a:pt x="63" y="215"/>
                    </a:cubicBezTo>
                    <a:cubicBezTo>
                      <a:pt x="64" y="215"/>
                      <a:pt x="64" y="215"/>
                      <a:pt x="65" y="215"/>
                    </a:cubicBezTo>
                    <a:cubicBezTo>
                      <a:pt x="66" y="216"/>
                      <a:pt x="66" y="216"/>
                      <a:pt x="66" y="217"/>
                    </a:cubicBezTo>
                    <a:cubicBezTo>
                      <a:pt x="68" y="218"/>
                      <a:pt x="70" y="219"/>
                      <a:pt x="71" y="221"/>
                    </a:cubicBezTo>
                    <a:cubicBezTo>
                      <a:pt x="72" y="222"/>
                      <a:pt x="72" y="222"/>
                      <a:pt x="73" y="223"/>
                    </a:cubicBezTo>
                    <a:cubicBezTo>
                      <a:pt x="75" y="223"/>
                      <a:pt x="77" y="223"/>
                      <a:pt x="78" y="223"/>
                    </a:cubicBezTo>
                    <a:cubicBezTo>
                      <a:pt x="80" y="223"/>
                      <a:pt x="82" y="224"/>
                      <a:pt x="84" y="224"/>
                    </a:cubicBezTo>
                    <a:cubicBezTo>
                      <a:pt x="85" y="225"/>
                      <a:pt x="87" y="224"/>
                      <a:pt x="88" y="225"/>
                    </a:cubicBezTo>
                    <a:cubicBezTo>
                      <a:pt x="89" y="225"/>
                      <a:pt x="89" y="225"/>
                      <a:pt x="90" y="226"/>
                    </a:cubicBezTo>
                    <a:cubicBezTo>
                      <a:pt x="91" y="226"/>
                      <a:pt x="92" y="226"/>
                      <a:pt x="92" y="226"/>
                    </a:cubicBezTo>
                    <a:cubicBezTo>
                      <a:pt x="94" y="226"/>
                      <a:pt x="95" y="226"/>
                      <a:pt x="97" y="226"/>
                    </a:cubicBezTo>
                    <a:cubicBezTo>
                      <a:pt x="99" y="226"/>
                      <a:pt x="101" y="226"/>
                      <a:pt x="104" y="226"/>
                    </a:cubicBezTo>
                    <a:cubicBezTo>
                      <a:pt x="107" y="225"/>
                      <a:pt x="113" y="228"/>
                      <a:pt x="116" y="226"/>
                    </a:cubicBezTo>
                    <a:cubicBezTo>
                      <a:pt x="116" y="225"/>
                      <a:pt x="116" y="223"/>
                      <a:pt x="117" y="222"/>
                    </a:cubicBezTo>
                    <a:cubicBezTo>
                      <a:pt x="117" y="221"/>
                      <a:pt x="118" y="221"/>
                      <a:pt x="119" y="220"/>
                    </a:cubicBezTo>
                    <a:cubicBezTo>
                      <a:pt x="120" y="220"/>
                      <a:pt x="122" y="219"/>
                      <a:pt x="123" y="219"/>
                    </a:cubicBezTo>
                    <a:cubicBezTo>
                      <a:pt x="123" y="219"/>
                      <a:pt x="125" y="218"/>
                      <a:pt x="125" y="218"/>
                    </a:cubicBezTo>
                    <a:cubicBezTo>
                      <a:pt x="126" y="217"/>
                      <a:pt x="127" y="213"/>
                      <a:pt x="129" y="214"/>
                    </a:cubicBezTo>
                    <a:cubicBezTo>
                      <a:pt x="129" y="215"/>
                      <a:pt x="130" y="215"/>
                      <a:pt x="130" y="215"/>
                    </a:cubicBezTo>
                    <a:cubicBezTo>
                      <a:pt x="131" y="215"/>
                      <a:pt x="131" y="214"/>
                      <a:pt x="132" y="214"/>
                    </a:cubicBezTo>
                    <a:cubicBezTo>
                      <a:pt x="133" y="213"/>
                      <a:pt x="136" y="214"/>
                      <a:pt x="138" y="213"/>
                    </a:cubicBezTo>
                    <a:cubicBezTo>
                      <a:pt x="139" y="210"/>
                      <a:pt x="141" y="206"/>
                      <a:pt x="144" y="204"/>
                    </a:cubicBezTo>
                    <a:cubicBezTo>
                      <a:pt x="144" y="205"/>
                      <a:pt x="145" y="206"/>
                      <a:pt x="146" y="206"/>
                    </a:cubicBezTo>
                    <a:cubicBezTo>
                      <a:pt x="147" y="208"/>
                      <a:pt x="148" y="210"/>
                      <a:pt x="150" y="211"/>
                    </a:cubicBezTo>
                    <a:cubicBezTo>
                      <a:pt x="152" y="212"/>
                      <a:pt x="154" y="211"/>
                      <a:pt x="155" y="209"/>
                    </a:cubicBezTo>
                    <a:cubicBezTo>
                      <a:pt x="155" y="208"/>
                      <a:pt x="155" y="208"/>
                      <a:pt x="155" y="206"/>
                    </a:cubicBezTo>
                    <a:cubicBezTo>
                      <a:pt x="156" y="205"/>
                      <a:pt x="157" y="204"/>
                      <a:pt x="158" y="203"/>
                    </a:cubicBezTo>
                    <a:cubicBezTo>
                      <a:pt x="160" y="202"/>
                      <a:pt x="163" y="202"/>
                      <a:pt x="165" y="200"/>
                    </a:cubicBezTo>
                    <a:cubicBezTo>
                      <a:pt x="165" y="200"/>
                      <a:pt x="165" y="199"/>
                      <a:pt x="165" y="199"/>
                    </a:cubicBezTo>
                    <a:cubicBezTo>
                      <a:pt x="166" y="199"/>
                      <a:pt x="166" y="199"/>
                      <a:pt x="166" y="198"/>
                    </a:cubicBezTo>
                    <a:cubicBezTo>
                      <a:pt x="167" y="198"/>
                      <a:pt x="167" y="197"/>
                      <a:pt x="168" y="197"/>
                    </a:cubicBezTo>
                    <a:cubicBezTo>
                      <a:pt x="169" y="196"/>
                      <a:pt x="170" y="196"/>
                      <a:pt x="172" y="196"/>
                    </a:cubicBezTo>
                    <a:cubicBezTo>
                      <a:pt x="173" y="196"/>
                      <a:pt x="175" y="195"/>
                      <a:pt x="176" y="195"/>
                    </a:cubicBezTo>
                    <a:cubicBezTo>
                      <a:pt x="177" y="196"/>
                      <a:pt x="177" y="197"/>
                      <a:pt x="178" y="197"/>
                    </a:cubicBezTo>
                    <a:cubicBezTo>
                      <a:pt x="182" y="198"/>
                      <a:pt x="185" y="198"/>
                      <a:pt x="188" y="198"/>
                    </a:cubicBezTo>
                    <a:cubicBezTo>
                      <a:pt x="191" y="197"/>
                      <a:pt x="193" y="196"/>
                      <a:pt x="197" y="196"/>
                    </a:cubicBezTo>
                    <a:cubicBezTo>
                      <a:pt x="200" y="196"/>
                      <a:pt x="203" y="198"/>
                      <a:pt x="206" y="198"/>
                    </a:cubicBezTo>
                    <a:cubicBezTo>
                      <a:pt x="208" y="198"/>
                      <a:pt x="209" y="198"/>
                      <a:pt x="210" y="198"/>
                    </a:cubicBezTo>
                    <a:cubicBezTo>
                      <a:pt x="212" y="198"/>
                      <a:pt x="212" y="197"/>
                      <a:pt x="213" y="197"/>
                    </a:cubicBezTo>
                    <a:cubicBezTo>
                      <a:pt x="220" y="196"/>
                      <a:pt x="230" y="202"/>
                      <a:pt x="234" y="193"/>
                    </a:cubicBezTo>
                    <a:cubicBezTo>
                      <a:pt x="235" y="192"/>
                      <a:pt x="236" y="189"/>
                      <a:pt x="239" y="189"/>
                    </a:cubicBezTo>
                    <a:cubicBezTo>
                      <a:pt x="240" y="189"/>
                      <a:pt x="241" y="189"/>
                      <a:pt x="242" y="190"/>
                    </a:cubicBezTo>
                    <a:cubicBezTo>
                      <a:pt x="244" y="191"/>
                      <a:pt x="245" y="191"/>
                      <a:pt x="246" y="191"/>
                    </a:cubicBezTo>
                    <a:cubicBezTo>
                      <a:pt x="248" y="191"/>
                      <a:pt x="250" y="191"/>
                      <a:pt x="251" y="191"/>
                    </a:cubicBezTo>
                    <a:cubicBezTo>
                      <a:pt x="253" y="190"/>
                      <a:pt x="253" y="189"/>
                      <a:pt x="254" y="188"/>
                    </a:cubicBezTo>
                    <a:cubicBezTo>
                      <a:pt x="253" y="188"/>
                      <a:pt x="254" y="187"/>
                      <a:pt x="254" y="187"/>
                    </a:cubicBezTo>
                    <a:cubicBezTo>
                      <a:pt x="254" y="187"/>
                      <a:pt x="254" y="186"/>
                      <a:pt x="255" y="186"/>
                    </a:cubicBezTo>
                    <a:cubicBezTo>
                      <a:pt x="254" y="186"/>
                      <a:pt x="255" y="186"/>
                      <a:pt x="255" y="185"/>
                    </a:cubicBezTo>
                    <a:cubicBezTo>
                      <a:pt x="255" y="185"/>
                      <a:pt x="255" y="186"/>
                      <a:pt x="255" y="186"/>
                    </a:cubicBezTo>
                    <a:cubicBezTo>
                      <a:pt x="255" y="186"/>
                      <a:pt x="256" y="183"/>
                      <a:pt x="256" y="184"/>
                    </a:cubicBezTo>
                    <a:cubicBezTo>
                      <a:pt x="256" y="184"/>
                      <a:pt x="257" y="184"/>
                      <a:pt x="257" y="183"/>
                    </a:cubicBezTo>
                    <a:cubicBezTo>
                      <a:pt x="258" y="182"/>
                      <a:pt x="258" y="181"/>
                      <a:pt x="259" y="180"/>
                    </a:cubicBezTo>
                    <a:cubicBezTo>
                      <a:pt x="259" y="180"/>
                      <a:pt x="260" y="179"/>
                      <a:pt x="260" y="179"/>
                    </a:cubicBezTo>
                    <a:cubicBezTo>
                      <a:pt x="261" y="178"/>
                      <a:pt x="261" y="177"/>
                      <a:pt x="261" y="177"/>
                    </a:cubicBezTo>
                    <a:cubicBezTo>
                      <a:pt x="261" y="176"/>
                      <a:pt x="262" y="176"/>
                      <a:pt x="262" y="176"/>
                    </a:cubicBezTo>
                    <a:cubicBezTo>
                      <a:pt x="263" y="175"/>
                      <a:pt x="262" y="174"/>
                      <a:pt x="262" y="174"/>
                    </a:cubicBezTo>
                    <a:cubicBezTo>
                      <a:pt x="262" y="173"/>
                      <a:pt x="263" y="171"/>
                      <a:pt x="263" y="170"/>
                    </a:cubicBezTo>
                    <a:cubicBezTo>
                      <a:pt x="264" y="168"/>
                      <a:pt x="265" y="167"/>
                      <a:pt x="266" y="166"/>
                    </a:cubicBezTo>
                    <a:cubicBezTo>
                      <a:pt x="266" y="165"/>
                      <a:pt x="267" y="165"/>
                      <a:pt x="267" y="164"/>
                    </a:cubicBezTo>
                    <a:cubicBezTo>
                      <a:pt x="267" y="164"/>
                      <a:pt x="267" y="163"/>
                      <a:pt x="267" y="162"/>
                    </a:cubicBezTo>
                    <a:cubicBezTo>
                      <a:pt x="268" y="161"/>
                      <a:pt x="269" y="161"/>
                      <a:pt x="270" y="160"/>
                    </a:cubicBezTo>
                    <a:cubicBezTo>
                      <a:pt x="271" y="159"/>
                      <a:pt x="270" y="158"/>
                      <a:pt x="272" y="158"/>
                    </a:cubicBezTo>
                    <a:cubicBezTo>
                      <a:pt x="272" y="157"/>
                      <a:pt x="272" y="157"/>
                      <a:pt x="272" y="157"/>
                    </a:cubicBezTo>
                    <a:cubicBezTo>
                      <a:pt x="274" y="157"/>
                      <a:pt x="274" y="154"/>
                      <a:pt x="275" y="154"/>
                    </a:cubicBezTo>
                    <a:cubicBezTo>
                      <a:pt x="275" y="153"/>
                      <a:pt x="275" y="153"/>
                      <a:pt x="276" y="153"/>
                    </a:cubicBezTo>
                    <a:cubicBezTo>
                      <a:pt x="276" y="153"/>
                      <a:pt x="276" y="153"/>
                      <a:pt x="277" y="153"/>
                    </a:cubicBezTo>
                    <a:cubicBezTo>
                      <a:pt x="278" y="152"/>
                      <a:pt x="278" y="152"/>
                      <a:pt x="278" y="151"/>
                    </a:cubicBezTo>
                    <a:cubicBezTo>
                      <a:pt x="279" y="151"/>
                      <a:pt x="280" y="150"/>
                      <a:pt x="281" y="148"/>
                    </a:cubicBezTo>
                    <a:cubicBezTo>
                      <a:pt x="282" y="147"/>
                      <a:pt x="282" y="145"/>
                      <a:pt x="282" y="143"/>
                    </a:cubicBezTo>
                    <a:cubicBezTo>
                      <a:pt x="282" y="142"/>
                      <a:pt x="283" y="140"/>
                      <a:pt x="283" y="138"/>
                    </a:cubicBezTo>
                    <a:cubicBezTo>
                      <a:pt x="283" y="137"/>
                      <a:pt x="283" y="135"/>
                      <a:pt x="283" y="134"/>
                    </a:cubicBezTo>
                    <a:cubicBezTo>
                      <a:pt x="284" y="134"/>
                      <a:pt x="284" y="134"/>
                      <a:pt x="285" y="133"/>
                    </a:cubicBezTo>
                    <a:cubicBezTo>
                      <a:pt x="285" y="132"/>
                      <a:pt x="285" y="131"/>
                      <a:pt x="286" y="130"/>
                    </a:cubicBezTo>
                    <a:cubicBezTo>
                      <a:pt x="287" y="129"/>
                      <a:pt x="287" y="128"/>
                      <a:pt x="288" y="127"/>
                    </a:cubicBezTo>
                    <a:cubicBezTo>
                      <a:pt x="288" y="126"/>
                      <a:pt x="288" y="124"/>
                      <a:pt x="289" y="123"/>
                    </a:cubicBezTo>
                    <a:cubicBezTo>
                      <a:pt x="289" y="122"/>
                      <a:pt x="291" y="121"/>
                      <a:pt x="292" y="121"/>
                    </a:cubicBezTo>
                    <a:cubicBezTo>
                      <a:pt x="294" y="119"/>
                      <a:pt x="296" y="116"/>
                      <a:pt x="296" y="114"/>
                    </a:cubicBezTo>
                    <a:cubicBezTo>
                      <a:pt x="297" y="112"/>
                      <a:pt x="296" y="111"/>
                      <a:pt x="297" y="109"/>
                    </a:cubicBezTo>
                    <a:cubicBezTo>
                      <a:pt x="297" y="108"/>
                      <a:pt x="297" y="107"/>
                      <a:pt x="298" y="106"/>
                    </a:cubicBezTo>
                    <a:cubicBezTo>
                      <a:pt x="299" y="104"/>
                      <a:pt x="300" y="102"/>
                      <a:pt x="302" y="101"/>
                    </a:cubicBezTo>
                    <a:cubicBezTo>
                      <a:pt x="303" y="101"/>
                      <a:pt x="305" y="101"/>
                      <a:pt x="306" y="100"/>
                    </a:cubicBezTo>
                    <a:cubicBezTo>
                      <a:pt x="306" y="99"/>
                      <a:pt x="306" y="98"/>
                      <a:pt x="306" y="96"/>
                    </a:cubicBezTo>
                    <a:cubicBezTo>
                      <a:pt x="307" y="95"/>
                      <a:pt x="307" y="94"/>
                      <a:pt x="307" y="92"/>
                    </a:cubicBezTo>
                    <a:cubicBezTo>
                      <a:pt x="307" y="92"/>
                      <a:pt x="307" y="91"/>
                      <a:pt x="307" y="91"/>
                    </a:cubicBezTo>
                    <a:cubicBezTo>
                      <a:pt x="308" y="90"/>
                      <a:pt x="308" y="89"/>
                      <a:pt x="309" y="88"/>
                    </a:cubicBezTo>
                    <a:cubicBezTo>
                      <a:pt x="309" y="88"/>
                      <a:pt x="310" y="87"/>
                      <a:pt x="310" y="87"/>
                    </a:cubicBezTo>
                    <a:cubicBezTo>
                      <a:pt x="310" y="86"/>
                      <a:pt x="310" y="86"/>
                      <a:pt x="310" y="86"/>
                    </a:cubicBezTo>
                    <a:cubicBezTo>
                      <a:pt x="310" y="86"/>
                      <a:pt x="311" y="85"/>
                      <a:pt x="311" y="85"/>
                    </a:cubicBezTo>
                    <a:cubicBezTo>
                      <a:pt x="311" y="85"/>
                      <a:pt x="312" y="84"/>
                      <a:pt x="312" y="84"/>
                    </a:cubicBezTo>
                    <a:cubicBezTo>
                      <a:pt x="313" y="83"/>
                      <a:pt x="312" y="82"/>
                      <a:pt x="312" y="81"/>
                    </a:cubicBezTo>
                    <a:cubicBezTo>
                      <a:pt x="313" y="80"/>
                      <a:pt x="313" y="80"/>
                      <a:pt x="314" y="80"/>
                    </a:cubicBezTo>
                    <a:cubicBezTo>
                      <a:pt x="314" y="79"/>
                      <a:pt x="314" y="78"/>
                      <a:pt x="315" y="78"/>
                    </a:cubicBezTo>
                    <a:cubicBezTo>
                      <a:pt x="316" y="77"/>
                      <a:pt x="316" y="76"/>
                      <a:pt x="317" y="75"/>
                    </a:cubicBezTo>
                    <a:cubicBezTo>
                      <a:pt x="318" y="73"/>
                      <a:pt x="318" y="73"/>
                      <a:pt x="320" y="73"/>
                    </a:cubicBezTo>
                    <a:cubicBezTo>
                      <a:pt x="321" y="73"/>
                      <a:pt x="323" y="73"/>
                      <a:pt x="324" y="73"/>
                    </a:cubicBezTo>
                    <a:cubicBezTo>
                      <a:pt x="326" y="72"/>
                      <a:pt x="326" y="71"/>
                      <a:pt x="327" y="70"/>
                    </a:cubicBezTo>
                    <a:cubicBezTo>
                      <a:pt x="328" y="68"/>
                      <a:pt x="329" y="68"/>
                      <a:pt x="330" y="68"/>
                    </a:cubicBezTo>
                    <a:cubicBezTo>
                      <a:pt x="332" y="68"/>
                      <a:pt x="332" y="67"/>
                      <a:pt x="333" y="67"/>
                    </a:cubicBezTo>
                    <a:cubicBezTo>
                      <a:pt x="335" y="67"/>
                      <a:pt x="338" y="68"/>
                      <a:pt x="340" y="67"/>
                    </a:cubicBezTo>
                    <a:cubicBezTo>
                      <a:pt x="341" y="66"/>
                      <a:pt x="341" y="65"/>
                      <a:pt x="341" y="64"/>
                    </a:cubicBezTo>
                    <a:cubicBezTo>
                      <a:pt x="343" y="62"/>
                      <a:pt x="346" y="60"/>
                      <a:pt x="348" y="60"/>
                    </a:cubicBezTo>
                    <a:cubicBezTo>
                      <a:pt x="348" y="59"/>
                      <a:pt x="349" y="58"/>
                      <a:pt x="349" y="58"/>
                    </a:cubicBezTo>
                    <a:cubicBezTo>
                      <a:pt x="350" y="57"/>
                      <a:pt x="349" y="56"/>
                      <a:pt x="350" y="55"/>
                    </a:cubicBezTo>
                    <a:cubicBezTo>
                      <a:pt x="350" y="53"/>
                      <a:pt x="351" y="52"/>
                      <a:pt x="353" y="52"/>
                    </a:cubicBezTo>
                    <a:cubicBezTo>
                      <a:pt x="353" y="50"/>
                      <a:pt x="353" y="47"/>
                      <a:pt x="353" y="45"/>
                    </a:cubicBezTo>
                    <a:cubicBezTo>
                      <a:pt x="353" y="44"/>
                      <a:pt x="353" y="42"/>
                      <a:pt x="353" y="41"/>
                    </a:cubicBezTo>
                    <a:cubicBezTo>
                      <a:pt x="352" y="40"/>
                      <a:pt x="351" y="40"/>
                      <a:pt x="351" y="39"/>
                    </a:cubicBezTo>
                    <a:cubicBezTo>
                      <a:pt x="350" y="39"/>
                      <a:pt x="349" y="39"/>
                      <a:pt x="348" y="38"/>
                    </a:cubicBezTo>
                    <a:cubicBezTo>
                      <a:pt x="347" y="38"/>
                      <a:pt x="346" y="38"/>
                      <a:pt x="345" y="38"/>
                    </a:cubicBezTo>
                    <a:cubicBezTo>
                      <a:pt x="342" y="38"/>
                      <a:pt x="339" y="36"/>
                      <a:pt x="338" y="38"/>
                    </a:cubicBezTo>
                    <a:cubicBezTo>
                      <a:pt x="336" y="38"/>
                      <a:pt x="337" y="35"/>
                      <a:pt x="337" y="33"/>
                    </a:cubicBezTo>
                    <a:cubicBezTo>
                      <a:pt x="337" y="32"/>
                      <a:pt x="337" y="31"/>
                      <a:pt x="337" y="30"/>
                    </a:cubicBezTo>
                    <a:cubicBezTo>
                      <a:pt x="336" y="29"/>
                      <a:pt x="336" y="29"/>
                      <a:pt x="334" y="29"/>
                    </a:cubicBezTo>
                    <a:cubicBezTo>
                      <a:pt x="314" y="7"/>
                      <a:pt x="314" y="7"/>
                      <a:pt x="314" y="7"/>
                    </a:cubicBezTo>
                    <a:cubicBezTo>
                      <a:pt x="314" y="7"/>
                      <a:pt x="314" y="7"/>
                      <a:pt x="314" y="8"/>
                    </a:cubicBezTo>
                    <a:cubicBezTo>
                      <a:pt x="313" y="9"/>
                      <a:pt x="313" y="11"/>
                      <a:pt x="312" y="12"/>
                    </a:cubicBezTo>
                    <a:cubicBezTo>
                      <a:pt x="312" y="13"/>
                      <a:pt x="311" y="15"/>
                      <a:pt x="310" y="16"/>
                    </a:cubicBezTo>
                    <a:cubicBezTo>
                      <a:pt x="308" y="17"/>
                      <a:pt x="306" y="16"/>
                      <a:pt x="304" y="16"/>
                    </a:cubicBezTo>
                    <a:cubicBezTo>
                      <a:pt x="302" y="16"/>
                      <a:pt x="302" y="16"/>
                      <a:pt x="300" y="17"/>
                    </a:cubicBezTo>
                    <a:cubicBezTo>
                      <a:pt x="299" y="19"/>
                      <a:pt x="298" y="21"/>
                      <a:pt x="296" y="21"/>
                    </a:cubicBezTo>
                    <a:cubicBezTo>
                      <a:pt x="295" y="20"/>
                      <a:pt x="294" y="19"/>
                      <a:pt x="294" y="18"/>
                    </a:cubicBezTo>
                    <a:cubicBezTo>
                      <a:pt x="292" y="17"/>
                      <a:pt x="292" y="17"/>
                      <a:pt x="290" y="16"/>
                    </a:cubicBezTo>
                    <a:cubicBezTo>
                      <a:pt x="289" y="15"/>
                      <a:pt x="287" y="14"/>
                      <a:pt x="286" y="13"/>
                    </a:cubicBezTo>
                    <a:cubicBezTo>
                      <a:pt x="285" y="10"/>
                      <a:pt x="285" y="6"/>
                      <a:pt x="282" y="4"/>
                    </a:cubicBezTo>
                    <a:cubicBezTo>
                      <a:pt x="281" y="3"/>
                      <a:pt x="280" y="3"/>
                      <a:pt x="279" y="3"/>
                    </a:cubicBezTo>
                    <a:cubicBezTo>
                      <a:pt x="279" y="3"/>
                      <a:pt x="279" y="2"/>
                      <a:pt x="278" y="2"/>
                    </a:cubicBezTo>
                    <a:cubicBezTo>
                      <a:pt x="277" y="1"/>
                      <a:pt x="275" y="2"/>
                      <a:pt x="274" y="2"/>
                    </a:cubicBezTo>
                    <a:cubicBezTo>
                      <a:pt x="272" y="2"/>
                      <a:pt x="271" y="2"/>
                      <a:pt x="270" y="2"/>
                    </a:cubicBezTo>
                    <a:cubicBezTo>
                      <a:pt x="269" y="3"/>
                      <a:pt x="268" y="3"/>
                      <a:pt x="267" y="3"/>
                    </a:cubicBezTo>
                    <a:cubicBezTo>
                      <a:pt x="265" y="3"/>
                      <a:pt x="264" y="5"/>
                      <a:pt x="263" y="5"/>
                    </a:cubicBezTo>
                    <a:cubicBezTo>
                      <a:pt x="261" y="6"/>
                      <a:pt x="260" y="5"/>
                      <a:pt x="258" y="5"/>
                    </a:cubicBezTo>
                    <a:cubicBezTo>
                      <a:pt x="257" y="5"/>
                      <a:pt x="255" y="5"/>
                      <a:pt x="253" y="5"/>
                    </a:cubicBezTo>
                    <a:cubicBezTo>
                      <a:pt x="252" y="5"/>
                      <a:pt x="251" y="5"/>
                      <a:pt x="251" y="5"/>
                    </a:cubicBezTo>
                    <a:cubicBezTo>
                      <a:pt x="250" y="4"/>
                      <a:pt x="250" y="3"/>
                      <a:pt x="249" y="3"/>
                    </a:cubicBezTo>
                    <a:cubicBezTo>
                      <a:pt x="248" y="2"/>
                      <a:pt x="247" y="2"/>
                      <a:pt x="245" y="2"/>
                    </a:cubicBezTo>
                    <a:cubicBezTo>
                      <a:pt x="241" y="2"/>
                      <a:pt x="238" y="2"/>
                      <a:pt x="234" y="2"/>
                    </a:cubicBezTo>
                    <a:cubicBezTo>
                      <a:pt x="232" y="2"/>
                      <a:pt x="226" y="0"/>
                      <a:pt x="225" y="3"/>
                    </a:cubicBezTo>
                    <a:cubicBezTo>
                      <a:pt x="224" y="4"/>
                      <a:pt x="225" y="6"/>
                      <a:pt x="224" y="8"/>
                    </a:cubicBezTo>
                    <a:cubicBezTo>
                      <a:pt x="224" y="10"/>
                      <a:pt x="223" y="11"/>
                      <a:pt x="222" y="13"/>
                    </a:cubicBezTo>
                    <a:cubicBezTo>
                      <a:pt x="222" y="15"/>
                      <a:pt x="222" y="16"/>
                      <a:pt x="221" y="18"/>
                    </a:cubicBezTo>
                    <a:cubicBezTo>
                      <a:pt x="220" y="20"/>
                      <a:pt x="219" y="22"/>
                      <a:pt x="217" y="23"/>
                    </a:cubicBezTo>
                    <a:cubicBezTo>
                      <a:pt x="217" y="24"/>
                      <a:pt x="216" y="25"/>
                      <a:pt x="215" y="25"/>
                    </a:cubicBezTo>
                    <a:cubicBezTo>
                      <a:pt x="214" y="25"/>
                      <a:pt x="213" y="25"/>
                      <a:pt x="212" y="25"/>
                    </a:cubicBezTo>
                    <a:cubicBezTo>
                      <a:pt x="210" y="26"/>
                      <a:pt x="209" y="28"/>
                      <a:pt x="207" y="28"/>
                    </a:cubicBezTo>
                    <a:cubicBezTo>
                      <a:pt x="206" y="28"/>
                      <a:pt x="205" y="28"/>
                      <a:pt x="205" y="28"/>
                    </a:cubicBezTo>
                    <a:cubicBezTo>
                      <a:pt x="204" y="29"/>
                      <a:pt x="203" y="29"/>
                      <a:pt x="203" y="30"/>
                    </a:cubicBezTo>
                    <a:cubicBezTo>
                      <a:pt x="201" y="31"/>
                      <a:pt x="200" y="31"/>
                      <a:pt x="199" y="31"/>
                    </a:cubicBezTo>
                    <a:cubicBezTo>
                      <a:pt x="197" y="33"/>
                      <a:pt x="197" y="35"/>
                      <a:pt x="195" y="36"/>
                    </a:cubicBezTo>
                    <a:cubicBezTo>
                      <a:pt x="194" y="35"/>
                      <a:pt x="194" y="32"/>
                      <a:pt x="192" y="31"/>
                    </a:cubicBezTo>
                    <a:cubicBezTo>
                      <a:pt x="191" y="30"/>
                      <a:pt x="188" y="30"/>
                      <a:pt x="186" y="30"/>
                    </a:cubicBezTo>
                    <a:cubicBezTo>
                      <a:pt x="185" y="30"/>
                      <a:pt x="184" y="31"/>
                      <a:pt x="184" y="30"/>
                    </a:cubicBezTo>
                    <a:cubicBezTo>
                      <a:pt x="183" y="30"/>
                      <a:pt x="184" y="29"/>
                      <a:pt x="183" y="29"/>
                    </a:cubicBezTo>
                    <a:cubicBezTo>
                      <a:pt x="183" y="28"/>
                      <a:pt x="180" y="28"/>
                      <a:pt x="179" y="28"/>
                    </a:cubicBezTo>
                    <a:cubicBezTo>
                      <a:pt x="178" y="28"/>
                      <a:pt x="176" y="28"/>
                      <a:pt x="175" y="29"/>
                    </a:cubicBezTo>
                    <a:cubicBezTo>
                      <a:pt x="174" y="30"/>
                      <a:pt x="173" y="33"/>
                      <a:pt x="172" y="35"/>
                    </a:cubicBezTo>
                    <a:cubicBezTo>
                      <a:pt x="172" y="36"/>
                      <a:pt x="170" y="38"/>
                      <a:pt x="169" y="38"/>
                    </a:cubicBezTo>
                    <a:cubicBezTo>
                      <a:pt x="168" y="39"/>
                      <a:pt x="165" y="38"/>
                      <a:pt x="164" y="38"/>
                    </a:cubicBezTo>
                    <a:cubicBezTo>
                      <a:pt x="163" y="39"/>
                      <a:pt x="161" y="39"/>
                      <a:pt x="160" y="39"/>
                    </a:cubicBezTo>
                    <a:cubicBezTo>
                      <a:pt x="158" y="40"/>
                      <a:pt x="156" y="39"/>
                      <a:pt x="155" y="40"/>
                    </a:cubicBezTo>
                    <a:cubicBezTo>
                      <a:pt x="151" y="40"/>
                      <a:pt x="147" y="41"/>
                      <a:pt x="143" y="42"/>
                    </a:cubicBezTo>
                    <a:cubicBezTo>
                      <a:pt x="142" y="42"/>
                      <a:pt x="139" y="41"/>
                      <a:pt x="138" y="42"/>
                    </a:cubicBezTo>
                    <a:cubicBezTo>
                      <a:pt x="137" y="42"/>
                      <a:pt x="135" y="44"/>
                      <a:pt x="135" y="44"/>
                    </a:cubicBezTo>
                    <a:cubicBezTo>
                      <a:pt x="134" y="46"/>
                      <a:pt x="134" y="48"/>
                      <a:pt x="134" y="50"/>
                    </a:cubicBezTo>
                    <a:cubicBezTo>
                      <a:pt x="133" y="51"/>
                      <a:pt x="132" y="52"/>
                      <a:pt x="131" y="53"/>
                    </a:cubicBezTo>
                    <a:cubicBezTo>
                      <a:pt x="131" y="56"/>
                      <a:pt x="134" y="55"/>
                      <a:pt x="135" y="58"/>
                    </a:cubicBezTo>
                    <a:cubicBezTo>
                      <a:pt x="135" y="59"/>
                      <a:pt x="134" y="61"/>
                      <a:pt x="132" y="61"/>
                    </a:cubicBezTo>
                    <a:cubicBezTo>
                      <a:pt x="131" y="62"/>
                      <a:pt x="128" y="62"/>
                      <a:pt x="127" y="62"/>
                    </a:cubicBezTo>
                    <a:cubicBezTo>
                      <a:pt x="125" y="62"/>
                      <a:pt x="124" y="62"/>
                      <a:pt x="122" y="63"/>
                    </a:cubicBezTo>
                    <a:cubicBezTo>
                      <a:pt x="121" y="63"/>
                      <a:pt x="120" y="63"/>
                      <a:pt x="118" y="64"/>
                    </a:cubicBezTo>
                    <a:cubicBezTo>
                      <a:pt x="118" y="64"/>
                      <a:pt x="118" y="65"/>
                      <a:pt x="118" y="65"/>
                    </a:cubicBezTo>
                    <a:cubicBezTo>
                      <a:pt x="118" y="65"/>
                      <a:pt x="117" y="66"/>
                      <a:pt x="117" y="65"/>
                    </a:cubicBezTo>
                    <a:cubicBezTo>
                      <a:pt x="117" y="65"/>
                      <a:pt x="115" y="66"/>
                      <a:pt x="115" y="66"/>
                    </a:cubicBezTo>
                    <a:cubicBezTo>
                      <a:pt x="111" y="67"/>
                      <a:pt x="105" y="66"/>
                      <a:pt x="101" y="66"/>
                    </a:cubicBezTo>
                    <a:cubicBezTo>
                      <a:pt x="93" y="66"/>
                      <a:pt x="86" y="66"/>
                      <a:pt x="79" y="66"/>
                    </a:cubicBezTo>
                    <a:cubicBezTo>
                      <a:pt x="77" y="66"/>
                      <a:pt x="75" y="67"/>
                      <a:pt x="74" y="66"/>
                    </a:cubicBezTo>
                    <a:cubicBezTo>
                      <a:pt x="73" y="65"/>
                      <a:pt x="72" y="63"/>
                      <a:pt x="72" y="61"/>
                    </a:cubicBezTo>
                    <a:cubicBezTo>
                      <a:pt x="71" y="60"/>
                      <a:pt x="70" y="58"/>
                      <a:pt x="68" y="57"/>
                    </a:cubicBezTo>
                    <a:cubicBezTo>
                      <a:pt x="67" y="57"/>
                      <a:pt x="66" y="57"/>
                      <a:pt x="65" y="57"/>
                    </a:cubicBezTo>
                    <a:cubicBezTo>
                      <a:pt x="62" y="56"/>
                      <a:pt x="61" y="53"/>
                      <a:pt x="59" y="52"/>
                    </a:cubicBezTo>
                    <a:cubicBezTo>
                      <a:pt x="58" y="51"/>
                      <a:pt x="56" y="50"/>
                      <a:pt x="54" y="50"/>
                    </a:cubicBezTo>
                    <a:cubicBezTo>
                      <a:pt x="53" y="49"/>
                      <a:pt x="52" y="49"/>
                      <a:pt x="51" y="49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49" y="52"/>
                      <a:pt x="46" y="55"/>
                      <a:pt x="48" y="57"/>
                    </a:cubicBezTo>
                    <a:cubicBezTo>
                      <a:pt x="50" y="59"/>
                      <a:pt x="53" y="58"/>
                      <a:pt x="52" y="61"/>
                    </a:cubicBezTo>
                    <a:cubicBezTo>
                      <a:pt x="51" y="63"/>
                      <a:pt x="48" y="64"/>
                      <a:pt x="47" y="65"/>
                    </a:cubicBezTo>
                    <a:cubicBezTo>
                      <a:pt x="46" y="66"/>
                      <a:pt x="45" y="66"/>
                      <a:pt x="44" y="66"/>
                    </a:cubicBezTo>
                    <a:cubicBezTo>
                      <a:pt x="43" y="67"/>
                      <a:pt x="43" y="67"/>
                      <a:pt x="42" y="67"/>
                    </a:cubicBezTo>
                    <a:cubicBezTo>
                      <a:pt x="39" y="67"/>
                      <a:pt x="38" y="69"/>
                      <a:pt x="36" y="69"/>
                    </a:cubicBezTo>
                    <a:cubicBezTo>
                      <a:pt x="35" y="69"/>
                      <a:pt x="34" y="70"/>
                      <a:pt x="33" y="69"/>
                    </a:cubicBezTo>
                    <a:cubicBezTo>
                      <a:pt x="32" y="69"/>
                      <a:pt x="32" y="67"/>
                      <a:pt x="31" y="66"/>
                    </a:cubicBezTo>
                    <a:cubicBezTo>
                      <a:pt x="30" y="64"/>
                      <a:pt x="26" y="63"/>
                      <a:pt x="25" y="64"/>
                    </a:cubicBezTo>
                    <a:cubicBezTo>
                      <a:pt x="23" y="66"/>
                      <a:pt x="24" y="68"/>
                      <a:pt x="21" y="68"/>
                    </a:cubicBezTo>
                    <a:cubicBezTo>
                      <a:pt x="20" y="68"/>
                      <a:pt x="17" y="67"/>
                      <a:pt x="17" y="68"/>
                    </a:cubicBezTo>
                    <a:cubicBezTo>
                      <a:pt x="16" y="69"/>
                      <a:pt x="17" y="70"/>
                      <a:pt x="17" y="70"/>
                    </a:cubicBezTo>
                    <a:cubicBezTo>
                      <a:pt x="18" y="71"/>
                      <a:pt x="19" y="72"/>
                      <a:pt x="21" y="73"/>
                    </a:cubicBezTo>
                    <a:cubicBezTo>
                      <a:pt x="22" y="74"/>
                      <a:pt x="24" y="73"/>
                      <a:pt x="26" y="74"/>
                    </a:cubicBezTo>
                    <a:cubicBezTo>
                      <a:pt x="26" y="74"/>
                      <a:pt x="26" y="75"/>
                      <a:pt x="27" y="75"/>
                    </a:cubicBezTo>
                    <a:cubicBezTo>
                      <a:pt x="27" y="76"/>
                      <a:pt x="27" y="76"/>
                      <a:pt x="27" y="77"/>
                    </a:cubicBezTo>
                    <a:cubicBezTo>
                      <a:pt x="28" y="78"/>
                      <a:pt x="28" y="78"/>
                      <a:pt x="28" y="79"/>
                    </a:cubicBezTo>
                    <a:cubicBezTo>
                      <a:pt x="28" y="80"/>
                      <a:pt x="28" y="82"/>
                      <a:pt x="28" y="82"/>
                    </a:cubicBezTo>
                    <a:cubicBezTo>
                      <a:pt x="28" y="83"/>
                      <a:pt x="27" y="84"/>
                      <a:pt x="26" y="85"/>
                    </a:cubicBezTo>
                    <a:cubicBezTo>
                      <a:pt x="25" y="86"/>
                      <a:pt x="24" y="88"/>
                      <a:pt x="24" y="89"/>
                    </a:cubicBezTo>
                    <a:cubicBezTo>
                      <a:pt x="23" y="90"/>
                      <a:pt x="23" y="90"/>
                      <a:pt x="22" y="91"/>
                    </a:cubicBezTo>
                    <a:cubicBezTo>
                      <a:pt x="21" y="91"/>
                      <a:pt x="20" y="90"/>
                      <a:pt x="19" y="90"/>
                    </a:cubicBezTo>
                    <a:cubicBezTo>
                      <a:pt x="18" y="90"/>
                      <a:pt x="17" y="91"/>
                      <a:pt x="17" y="91"/>
                    </a:cubicBezTo>
                    <a:cubicBezTo>
                      <a:pt x="15" y="92"/>
                      <a:pt x="14" y="97"/>
                      <a:pt x="16" y="99"/>
                    </a:cubicBezTo>
                    <a:cubicBezTo>
                      <a:pt x="16" y="100"/>
                      <a:pt x="20" y="99"/>
                      <a:pt x="19" y="102"/>
                    </a:cubicBezTo>
                    <a:cubicBezTo>
                      <a:pt x="19" y="102"/>
                      <a:pt x="17" y="103"/>
                      <a:pt x="17" y="103"/>
                    </a:cubicBezTo>
                    <a:cubicBezTo>
                      <a:pt x="16" y="103"/>
                      <a:pt x="14" y="105"/>
                      <a:pt x="14" y="106"/>
                    </a:cubicBezTo>
                    <a:cubicBezTo>
                      <a:pt x="13" y="107"/>
                      <a:pt x="14" y="108"/>
                      <a:pt x="14" y="108"/>
                    </a:cubicBezTo>
                    <a:cubicBezTo>
                      <a:pt x="14" y="109"/>
                      <a:pt x="14" y="110"/>
                      <a:pt x="15" y="110"/>
                    </a:cubicBezTo>
                    <a:cubicBezTo>
                      <a:pt x="15" y="112"/>
                      <a:pt x="15" y="112"/>
                      <a:pt x="17" y="113"/>
                    </a:cubicBezTo>
                    <a:cubicBezTo>
                      <a:pt x="18" y="113"/>
                      <a:pt x="18" y="113"/>
                      <a:pt x="18" y="115"/>
                    </a:cubicBezTo>
                    <a:cubicBezTo>
                      <a:pt x="18" y="116"/>
                      <a:pt x="18" y="117"/>
                      <a:pt x="18" y="117"/>
                    </a:cubicBezTo>
                    <a:cubicBezTo>
                      <a:pt x="18" y="118"/>
                      <a:pt x="17" y="119"/>
                      <a:pt x="17" y="120"/>
                    </a:cubicBezTo>
                    <a:cubicBezTo>
                      <a:pt x="17" y="121"/>
                      <a:pt x="17" y="121"/>
                      <a:pt x="17" y="122"/>
                    </a:cubicBezTo>
                    <a:cubicBezTo>
                      <a:pt x="17" y="124"/>
                      <a:pt x="16" y="124"/>
                      <a:pt x="14" y="124"/>
                    </a:cubicBezTo>
                    <a:cubicBezTo>
                      <a:pt x="13" y="124"/>
                      <a:pt x="12" y="125"/>
                      <a:pt x="10" y="125"/>
                    </a:cubicBezTo>
                    <a:cubicBezTo>
                      <a:pt x="8" y="125"/>
                      <a:pt x="8" y="126"/>
                      <a:pt x="6" y="127"/>
                    </a:cubicBezTo>
                    <a:cubicBezTo>
                      <a:pt x="4" y="128"/>
                      <a:pt x="3" y="128"/>
                      <a:pt x="2" y="131"/>
                    </a:cubicBezTo>
                    <a:cubicBezTo>
                      <a:pt x="1" y="132"/>
                      <a:pt x="1" y="132"/>
                      <a:pt x="0" y="133"/>
                    </a:cubicBezTo>
                    <a:cubicBezTo>
                      <a:pt x="1" y="134"/>
                      <a:pt x="2" y="135"/>
                      <a:pt x="2" y="136"/>
                    </a:cubicBezTo>
                    <a:moveTo>
                      <a:pt x="51" y="49"/>
                    </a:moveTo>
                    <a:cubicBezTo>
                      <a:pt x="52" y="49"/>
                      <a:pt x="53" y="48"/>
                      <a:pt x="53" y="47"/>
                    </a:cubicBezTo>
                    <a:cubicBezTo>
                      <a:pt x="53" y="48"/>
                      <a:pt x="52" y="49"/>
                      <a:pt x="51" y="49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76" name="Freeform 25">
                <a:extLst>
                  <a:ext uri="{FF2B5EF4-FFF2-40B4-BE49-F238E27FC236}">
                    <a16:creationId xmlns:a16="http://schemas.microsoft.com/office/drawing/2014/main" id="{0BE9D905-3932-47DF-B529-D8F2BEA7E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1075" y="5016500"/>
                <a:ext cx="311150" cy="225425"/>
              </a:xfrm>
              <a:custGeom>
                <a:avLst/>
                <a:gdLst/>
                <a:ahLst/>
                <a:cxnLst>
                  <a:cxn ang="0">
                    <a:pos x="159" y="13"/>
                  </a:cxn>
                  <a:cxn ang="0">
                    <a:pos x="155" y="0"/>
                  </a:cxn>
                  <a:cxn ang="0">
                    <a:pos x="145" y="15"/>
                  </a:cxn>
                  <a:cxn ang="0">
                    <a:pos x="125" y="14"/>
                  </a:cxn>
                  <a:cxn ang="0">
                    <a:pos x="119" y="23"/>
                  </a:cxn>
                  <a:cxn ang="0">
                    <a:pos x="105" y="21"/>
                  </a:cxn>
                  <a:cxn ang="0">
                    <a:pos x="84" y="25"/>
                  </a:cxn>
                  <a:cxn ang="0">
                    <a:pos x="78" y="32"/>
                  </a:cxn>
                  <a:cxn ang="0">
                    <a:pos x="69" y="41"/>
                  </a:cxn>
                  <a:cxn ang="0">
                    <a:pos x="57" y="37"/>
                  </a:cxn>
                  <a:cxn ang="0">
                    <a:pos x="49" y="35"/>
                  </a:cxn>
                  <a:cxn ang="0">
                    <a:pos x="29" y="31"/>
                  </a:cxn>
                  <a:cxn ang="0">
                    <a:pos x="19" y="40"/>
                  </a:cxn>
                  <a:cxn ang="0">
                    <a:pos x="3" y="50"/>
                  </a:cxn>
                  <a:cxn ang="0">
                    <a:pos x="11" y="57"/>
                  </a:cxn>
                  <a:cxn ang="0">
                    <a:pos x="6" y="69"/>
                  </a:cxn>
                  <a:cxn ang="0">
                    <a:pos x="9" y="77"/>
                  </a:cxn>
                  <a:cxn ang="0">
                    <a:pos x="19" y="87"/>
                  </a:cxn>
                  <a:cxn ang="0">
                    <a:pos x="28" y="92"/>
                  </a:cxn>
                  <a:cxn ang="0">
                    <a:pos x="24" y="104"/>
                  </a:cxn>
                  <a:cxn ang="0">
                    <a:pos x="10" y="109"/>
                  </a:cxn>
                  <a:cxn ang="0">
                    <a:pos x="10" y="113"/>
                  </a:cxn>
                  <a:cxn ang="0">
                    <a:pos x="18" y="117"/>
                  </a:cxn>
                  <a:cxn ang="0">
                    <a:pos x="26" y="116"/>
                  </a:cxn>
                  <a:cxn ang="0">
                    <a:pos x="33" y="113"/>
                  </a:cxn>
                  <a:cxn ang="0">
                    <a:pos x="43" y="116"/>
                  </a:cxn>
                  <a:cxn ang="0">
                    <a:pos x="51" y="120"/>
                  </a:cxn>
                  <a:cxn ang="0">
                    <a:pos x="61" y="116"/>
                  </a:cxn>
                  <a:cxn ang="0">
                    <a:pos x="56" y="108"/>
                  </a:cxn>
                  <a:cxn ang="0">
                    <a:pos x="58" y="101"/>
                  </a:cxn>
                  <a:cxn ang="0">
                    <a:pos x="66" y="108"/>
                  </a:cxn>
                  <a:cxn ang="0">
                    <a:pos x="74" y="114"/>
                  </a:cxn>
                  <a:cxn ang="0">
                    <a:pos x="80" y="112"/>
                  </a:cxn>
                  <a:cxn ang="0">
                    <a:pos x="90" y="119"/>
                  </a:cxn>
                  <a:cxn ang="0">
                    <a:pos x="95" y="117"/>
                  </a:cxn>
                  <a:cxn ang="0">
                    <a:pos x="99" y="109"/>
                  </a:cxn>
                  <a:cxn ang="0">
                    <a:pos x="102" y="99"/>
                  </a:cxn>
                  <a:cxn ang="0">
                    <a:pos x="104" y="90"/>
                  </a:cxn>
                  <a:cxn ang="0">
                    <a:pos x="113" y="88"/>
                  </a:cxn>
                  <a:cxn ang="0">
                    <a:pos x="120" y="87"/>
                  </a:cxn>
                  <a:cxn ang="0">
                    <a:pos x="133" y="91"/>
                  </a:cxn>
                  <a:cxn ang="0">
                    <a:pos x="132" y="82"/>
                  </a:cxn>
                  <a:cxn ang="0">
                    <a:pos x="126" y="75"/>
                  </a:cxn>
                  <a:cxn ang="0">
                    <a:pos x="121" y="70"/>
                  </a:cxn>
                  <a:cxn ang="0">
                    <a:pos x="116" y="65"/>
                  </a:cxn>
                  <a:cxn ang="0">
                    <a:pos x="121" y="58"/>
                  </a:cxn>
                  <a:cxn ang="0">
                    <a:pos x="128" y="53"/>
                  </a:cxn>
                  <a:cxn ang="0">
                    <a:pos x="137" y="47"/>
                  </a:cxn>
                  <a:cxn ang="0">
                    <a:pos x="144" y="43"/>
                  </a:cxn>
                  <a:cxn ang="0">
                    <a:pos x="152" y="40"/>
                  </a:cxn>
                  <a:cxn ang="0">
                    <a:pos x="151" y="33"/>
                  </a:cxn>
                  <a:cxn ang="0">
                    <a:pos x="165" y="33"/>
                  </a:cxn>
                  <a:cxn ang="0">
                    <a:pos x="163" y="22"/>
                  </a:cxn>
                </a:cxnLst>
                <a:rect l="0" t="0" r="r" b="b"/>
                <a:pathLst>
                  <a:path w="167" h="120">
                    <a:moveTo>
                      <a:pt x="163" y="22"/>
                    </a:moveTo>
                    <a:cubicBezTo>
                      <a:pt x="162" y="21"/>
                      <a:pt x="161" y="21"/>
                      <a:pt x="160" y="20"/>
                    </a:cubicBezTo>
                    <a:cubicBezTo>
                      <a:pt x="158" y="19"/>
                      <a:pt x="158" y="19"/>
                      <a:pt x="158" y="17"/>
                    </a:cubicBezTo>
                    <a:cubicBezTo>
                      <a:pt x="158" y="15"/>
                      <a:pt x="158" y="14"/>
                      <a:pt x="159" y="13"/>
                    </a:cubicBezTo>
                    <a:cubicBezTo>
                      <a:pt x="159" y="11"/>
                      <a:pt x="160" y="10"/>
                      <a:pt x="160" y="8"/>
                    </a:cubicBezTo>
                    <a:cubicBezTo>
                      <a:pt x="160" y="6"/>
                      <a:pt x="159" y="5"/>
                      <a:pt x="157" y="3"/>
                    </a:cubicBezTo>
                    <a:cubicBezTo>
                      <a:pt x="157" y="2"/>
                      <a:pt x="156" y="1"/>
                      <a:pt x="155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54" y="0"/>
                      <a:pt x="154" y="1"/>
                      <a:pt x="153" y="1"/>
                    </a:cubicBezTo>
                    <a:cubicBezTo>
                      <a:pt x="152" y="3"/>
                      <a:pt x="150" y="2"/>
                      <a:pt x="149" y="3"/>
                    </a:cubicBezTo>
                    <a:cubicBezTo>
                      <a:pt x="147" y="4"/>
                      <a:pt x="146" y="6"/>
                      <a:pt x="146" y="9"/>
                    </a:cubicBezTo>
                    <a:cubicBezTo>
                      <a:pt x="146" y="11"/>
                      <a:pt x="146" y="13"/>
                      <a:pt x="145" y="15"/>
                    </a:cubicBezTo>
                    <a:cubicBezTo>
                      <a:pt x="144" y="18"/>
                      <a:pt x="141" y="18"/>
                      <a:pt x="138" y="18"/>
                    </a:cubicBezTo>
                    <a:cubicBezTo>
                      <a:pt x="136" y="17"/>
                      <a:pt x="133" y="18"/>
                      <a:pt x="131" y="17"/>
                    </a:cubicBezTo>
                    <a:cubicBezTo>
                      <a:pt x="129" y="15"/>
                      <a:pt x="131" y="12"/>
                      <a:pt x="129" y="11"/>
                    </a:cubicBezTo>
                    <a:cubicBezTo>
                      <a:pt x="128" y="10"/>
                      <a:pt x="126" y="13"/>
                      <a:pt x="125" y="14"/>
                    </a:cubicBezTo>
                    <a:cubicBezTo>
                      <a:pt x="124" y="15"/>
                      <a:pt x="125" y="14"/>
                      <a:pt x="124" y="15"/>
                    </a:cubicBezTo>
                    <a:cubicBezTo>
                      <a:pt x="124" y="15"/>
                      <a:pt x="123" y="15"/>
                      <a:pt x="123" y="15"/>
                    </a:cubicBezTo>
                    <a:cubicBezTo>
                      <a:pt x="122" y="15"/>
                      <a:pt x="122" y="15"/>
                      <a:pt x="122" y="16"/>
                    </a:cubicBezTo>
                    <a:cubicBezTo>
                      <a:pt x="121" y="18"/>
                      <a:pt x="119" y="20"/>
                      <a:pt x="119" y="23"/>
                    </a:cubicBezTo>
                    <a:cubicBezTo>
                      <a:pt x="118" y="23"/>
                      <a:pt x="118" y="22"/>
                      <a:pt x="116" y="22"/>
                    </a:cubicBezTo>
                    <a:cubicBezTo>
                      <a:pt x="115" y="21"/>
                      <a:pt x="113" y="22"/>
                      <a:pt x="112" y="22"/>
                    </a:cubicBezTo>
                    <a:cubicBezTo>
                      <a:pt x="111" y="22"/>
                      <a:pt x="111" y="22"/>
                      <a:pt x="111" y="21"/>
                    </a:cubicBezTo>
                    <a:cubicBezTo>
                      <a:pt x="109" y="21"/>
                      <a:pt x="107" y="21"/>
                      <a:pt x="105" y="21"/>
                    </a:cubicBezTo>
                    <a:cubicBezTo>
                      <a:pt x="104" y="21"/>
                      <a:pt x="103" y="20"/>
                      <a:pt x="102" y="20"/>
                    </a:cubicBezTo>
                    <a:cubicBezTo>
                      <a:pt x="100" y="19"/>
                      <a:pt x="99" y="20"/>
                      <a:pt x="97" y="21"/>
                    </a:cubicBezTo>
                    <a:cubicBezTo>
                      <a:pt x="95" y="22"/>
                      <a:pt x="93" y="22"/>
                      <a:pt x="90" y="23"/>
                    </a:cubicBezTo>
                    <a:cubicBezTo>
                      <a:pt x="88" y="23"/>
                      <a:pt x="85" y="23"/>
                      <a:pt x="84" y="25"/>
                    </a:cubicBezTo>
                    <a:cubicBezTo>
                      <a:pt x="84" y="26"/>
                      <a:pt x="83" y="27"/>
                      <a:pt x="83" y="27"/>
                    </a:cubicBezTo>
                    <a:cubicBezTo>
                      <a:pt x="83" y="28"/>
                      <a:pt x="82" y="28"/>
                      <a:pt x="82" y="28"/>
                    </a:cubicBezTo>
                    <a:cubicBezTo>
                      <a:pt x="81" y="29"/>
                      <a:pt x="81" y="29"/>
                      <a:pt x="81" y="30"/>
                    </a:cubicBezTo>
                    <a:cubicBezTo>
                      <a:pt x="80" y="31"/>
                      <a:pt x="79" y="32"/>
                      <a:pt x="78" y="32"/>
                    </a:cubicBezTo>
                    <a:cubicBezTo>
                      <a:pt x="77" y="32"/>
                      <a:pt x="76" y="31"/>
                      <a:pt x="76" y="32"/>
                    </a:cubicBezTo>
                    <a:cubicBezTo>
                      <a:pt x="75" y="32"/>
                      <a:pt x="74" y="33"/>
                      <a:pt x="74" y="33"/>
                    </a:cubicBezTo>
                    <a:cubicBezTo>
                      <a:pt x="73" y="34"/>
                      <a:pt x="73" y="35"/>
                      <a:pt x="72" y="35"/>
                    </a:cubicBezTo>
                    <a:cubicBezTo>
                      <a:pt x="71" y="37"/>
                      <a:pt x="72" y="40"/>
                      <a:pt x="69" y="41"/>
                    </a:cubicBezTo>
                    <a:cubicBezTo>
                      <a:pt x="67" y="41"/>
                      <a:pt x="65" y="40"/>
                      <a:pt x="63" y="39"/>
                    </a:cubicBezTo>
                    <a:cubicBezTo>
                      <a:pt x="62" y="39"/>
                      <a:pt x="61" y="39"/>
                      <a:pt x="60" y="38"/>
                    </a:cubicBezTo>
                    <a:cubicBezTo>
                      <a:pt x="60" y="38"/>
                      <a:pt x="60" y="38"/>
                      <a:pt x="60" y="38"/>
                    </a:cubicBezTo>
                    <a:cubicBezTo>
                      <a:pt x="59" y="37"/>
                      <a:pt x="57" y="38"/>
                      <a:pt x="57" y="37"/>
                    </a:cubicBezTo>
                    <a:cubicBezTo>
                      <a:pt x="55" y="37"/>
                      <a:pt x="52" y="37"/>
                      <a:pt x="50" y="36"/>
                    </a:cubicBezTo>
                    <a:cubicBezTo>
                      <a:pt x="49" y="36"/>
                      <a:pt x="48" y="36"/>
                      <a:pt x="47" y="36"/>
                    </a:cubicBezTo>
                    <a:cubicBezTo>
                      <a:pt x="48" y="36"/>
                      <a:pt x="48" y="35"/>
                      <a:pt x="49" y="35"/>
                    </a:cubicBezTo>
                    <a:cubicBezTo>
                      <a:pt x="49" y="35"/>
                      <a:pt x="49" y="35"/>
                      <a:pt x="49" y="35"/>
                    </a:cubicBezTo>
                    <a:cubicBezTo>
                      <a:pt x="49" y="35"/>
                      <a:pt x="49" y="35"/>
                      <a:pt x="48" y="34"/>
                    </a:cubicBezTo>
                    <a:cubicBezTo>
                      <a:pt x="48" y="34"/>
                      <a:pt x="48" y="34"/>
                      <a:pt x="48" y="34"/>
                    </a:cubicBezTo>
                    <a:cubicBezTo>
                      <a:pt x="43" y="33"/>
                      <a:pt x="38" y="34"/>
                      <a:pt x="33" y="32"/>
                    </a:cubicBezTo>
                    <a:cubicBezTo>
                      <a:pt x="32" y="32"/>
                      <a:pt x="31" y="31"/>
                      <a:pt x="29" y="31"/>
                    </a:cubicBezTo>
                    <a:cubicBezTo>
                      <a:pt x="29" y="30"/>
                      <a:pt x="28" y="31"/>
                      <a:pt x="28" y="31"/>
                    </a:cubicBezTo>
                    <a:cubicBezTo>
                      <a:pt x="27" y="30"/>
                      <a:pt x="26" y="30"/>
                      <a:pt x="25" y="30"/>
                    </a:cubicBezTo>
                    <a:cubicBezTo>
                      <a:pt x="24" y="30"/>
                      <a:pt x="22" y="29"/>
                      <a:pt x="21" y="29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17" y="41"/>
                      <a:pt x="15" y="41"/>
                      <a:pt x="13" y="41"/>
                    </a:cubicBezTo>
                    <a:cubicBezTo>
                      <a:pt x="10" y="41"/>
                      <a:pt x="8" y="42"/>
                      <a:pt x="6" y="44"/>
                    </a:cubicBezTo>
                    <a:cubicBezTo>
                      <a:pt x="5" y="45"/>
                      <a:pt x="5" y="46"/>
                      <a:pt x="5" y="48"/>
                    </a:cubicBezTo>
                    <a:cubicBezTo>
                      <a:pt x="5" y="49"/>
                      <a:pt x="5" y="49"/>
                      <a:pt x="3" y="50"/>
                    </a:cubicBezTo>
                    <a:cubicBezTo>
                      <a:pt x="2" y="51"/>
                      <a:pt x="1" y="51"/>
                      <a:pt x="1" y="52"/>
                    </a:cubicBezTo>
                    <a:cubicBezTo>
                      <a:pt x="0" y="53"/>
                      <a:pt x="0" y="54"/>
                      <a:pt x="0" y="55"/>
                    </a:cubicBezTo>
                    <a:cubicBezTo>
                      <a:pt x="2" y="55"/>
                      <a:pt x="4" y="56"/>
                      <a:pt x="7" y="56"/>
                    </a:cubicBezTo>
                    <a:cubicBezTo>
                      <a:pt x="8" y="56"/>
                      <a:pt x="9" y="57"/>
                      <a:pt x="11" y="57"/>
                    </a:cubicBezTo>
                    <a:cubicBezTo>
                      <a:pt x="12" y="58"/>
                      <a:pt x="15" y="59"/>
                      <a:pt x="16" y="60"/>
                    </a:cubicBezTo>
                    <a:cubicBezTo>
                      <a:pt x="17" y="62"/>
                      <a:pt x="14" y="62"/>
                      <a:pt x="13" y="62"/>
                    </a:cubicBezTo>
                    <a:cubicBezTo>
                      <a:pt x="11" y="63"/>
                      <a:pt x="10" y="65"/>
                      <a:pt x="9" y="66"/>
                    </a:cubicBezTo>
                    <a:cubicBezTo>
                      <a:pt x="7" y="67"/>
                      <a:pt x="7" y="68"/>
                      <a:pt x="6" y="69"/>
                    </a:cubicBezTo>
                    <a:cubicBezTo>
                      <a:pt x="3" y="73"/>
                      <a:pt x="8" y="72"/>
                      <a:pt x="11" y="73"/>
                    </a:cubicBezTo>
                    <a:cubicBezTo>
                      <a:pt x="11" y="73"/>
                      <a:pt x="11" y="74"/>
                      <a:pt x="11" y="74"/>
                    </a:cubicBezTo>
                    <a:cubicBezTo>
                      <a:pt x="11" y="76"/>
                      <a:pt x="11" y="75"/>
                      <a:pt x="10" y="76"/>
                    </a:cubicBezTo>
                    <a:cubicBezTo>
                      <a:pt x="10" y="76"/>
                      <a:pt x="9" y="76"/>
                      <a:pt x="9" y="77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10" y="79"/>
                      <a:pt x="11" y="81"/>
                      <a:pt x="12" y="82"/>
                    </a:cubicBezTo>
                    <a:cubicBezTo>
                      <a:pt x="13" y="84"/>
                      <a:pt x="13" y="85"/>
                      <a:pt x="15" y="86"/>
                    </a:cubicBezTo>
                    <a:cubicBezTo>
                      <a:pt x="16" y="87"/>
                      <a:pt x="18" y="87"/>
                      <a:pt x="19" y="87"/>
                    </a:cubicBezTo>
                    <a:cubicBezTo>
                      <a:pt x="20" y="87"/>
                      <a:pt x="21" y="87"/>
                      <a:pt x="22" y="87"/>
                    </a:cubicBezTo>
                    <a:cubicBezTo>
                      <a:pt x="23" y="87"/>
                      <a:pt x="23" y="88"/>
                      <a:pt x="24" y="89"/>
                    </a:cubicBezTo>
                    <a:cubicBezTo>
                      <a:pt x="25" y="90"/>
                      <a:pt x="27" y="90"/>
                      <a:pt x="27" y="91"/>
                    </a:cubicBezTo>
                    <a:cubicBezTo>
                      <a:pt x="28" y="92"/>
                      <a:pt x="27" y="92"/>
                      <a:pt x="28" y="92"/>
                    </a:cubicBezTo>
                    <a:cubicBezTo>
                      <a:pt x="28" y="94"/>
                      <a:pt x="28" y="94"/>
                      <a:pt x="28" y="95"/>
                    </a:cubicBezTo>
                    <a:cubicBezTo>
                      <a:pt x="28" y="98"/>
                      <a:pt x="28" y="99"/>
                      <a:pt x="27" y="101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5" y="103"/>
                      <a:pt x="25" y="103"/>
                      <a:pt x="24" y="104"/>
                    </a:cubicBezTo>
                    <a:cubicBezTo>
                      <a:pt x="23" y="105"/>
                      <a:pt x="22" y="106"/>
                      <a:pt x="20" y="107"/>
                    </a:cubicBezTo>
                    <a:cubicBezTo>
                      <a:pt x="19" y="107"/>
                      <a:pt x="16" y="107"/>
                      <a:pt x="14" y="107"/>
                    </a:cubicBezTo>
                    <a:cubicBezTo>
                      <a:pt x="14" y="108"/>
                      <a:pt x="13" y="108"/>
                      <a:pt x="12" y="108"/>
                    </a:cubicBezTo>
                    <a:cubicBezTo>
                      <a:pt x="12" y="109"/>
                      <a:pt x="11" y="108"/>
                      <a:pt x="10" y="109"/>
                    </a:cubicBezTo>
                    <a:cubicBezTo>
                      <a:pt x="9" y="109"/>
                      <a:pt x="8" y="110"/>
                      <a:pt x="7" y="110"/>
                    </a:cubicBezTo>
                    <a:cubicBezTo>
                      <a:pt x="8" y="110"/>
                      <a:pt x="8" y="111"/>
                      <a:pt x="8" y="112"/>
                    </a:cubicBezTo>
                    <a:cubicBezTo>
                      <a:pt x="9" y="112"/>
                      <a:pt x="9" y="112"/>
                      <a:pt x="9" y="112"/>
                    </a:cubicBezTo>
                    <a:cubicBezTo>
                      <a:pt x="10" y="113"/>
                      <a:pt x="9" y="113"/>
                      <a:pt x="10" y="113"/>
                    </a:cubicBezTo>
                    <a:cubicBezTo>
                      <a:pt x="10" y="114"/>
                      <a:pt x="11" y="115"/>
                      <a:pt x="11" y="116"/>
                    </a:cubicBezTo>
                    <a:cubicBezTo>
                      <a:pt x="12" y="116"/>
                      <a:pt x="13" y="116"/>
                      <a:pt x="13" y="116"/>
                    </a:cubicBezTo>
                    <a:cubicBezTo>
                      <a:pt x="14" y="117"/>
                      <a:pt x="15" y="117"/>
                      <a:pt x="15" y="117"/>
                    </a:cubicBezTo>
                    <a:cubicBezTo>
                      <a:pt x="16" y="117"/>
                      <a:pt x="17" y="117"/>
                      <a:pt x="18" y="117"/>
                    </a:cubicBezTo>
                    <a:cubicBezTo>
                      <a:pt x="19" y="117"/>
                      <a:pt x="20" y="117"/>
                      <a:pt x="21" y="118"/>
                    </a:cubicBezTo>
                    <a:cubicBezTo>
                      <a:pt x="21" y="118"/>
                      <a:pt x="22" y="119"/>
                      <a:pt x="22" y="119"/>
                    </a:cubicBezTo>
                    <a:cubicBezTo>
                      <a:pt x="24" y="119"/>
                      <a:pt x="25" y="117"/>
                      <a:pt x="26" y="116"/>
                    </a:cubicBezTo>
                    <a:cubicBezTo>
                      <a:pt x="26" y="116"/>
                      <a:pt x="26" y="116"/>
                      <a:pt x="26" y="116"/>
                    </a:cubicBezTo>
                    <a:cubicBezTo>
                      <a:pt x="26" y="115"/>
                      <a:pt x="26" y="115"/>
                      <a:pt x="27" y="115"/>
                    </a:cubicBezTo>
                    <a:cubicBezTo>
                      <a:pt x="27" y="114"/>
                      <a:pt x="29" y="112"/>
                      <a:pt x="30" y="112"/>
                    </a:cubicBezTo>
                    <a:cubicBezTo>
                      <a:pt x="30" y="112"/>
                      <a:pt x="31" y="111"/>
                      <a:pt x="31" y="112"/>
                    </a:cubicBezTo>
                    <a:cubicBezTo>
                      <a:pt x="32" y="112"/>
                      <a:pt x="32" y="112"/>
                      <a:pt x="33" y="113"/>
                    </a:cubicBezTo>
                    <a:cubicBezTo>
                      <a:pt x="34" y="113"/>
                      <a:pt x="34" y="113"/>
                      <a:pt x="35" y="113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7" y="114"/>
                      <a:pt x="39" y="113"/>
                      <a:pt x="41" y="114"/>
                    </a:cubicBezTo>
                    <a:cubicBezTo>
                      <a:pt x="42" y="115"/>
                      <a:pt x="42" y="116"/>
                      <a:pt x="43" y="116"/>
                    </a:cubicBezTo>
                    <a:cubicBezTo>
                      <a:pt x="44" y="117"/>
                      <a:pt x="45" y="117"/>
                      <a:pt x="46" y="118"/>
                    </a:cubicBezTo>
                    <a:cubicBezTo>
                      <a:pt x="47" y="118"/>
                      <a:pt x="48" y="119"/>
                      <a:pt x="49" y="119"/>
                    </a:cubicBezTo>
                    <a:cubicBezTo>
                      <a:pt x="49" y="120"/>
                      <a:pt x="50" y="120"/>
                      <a:pt x="50" y="120"/>
                    </a:cubicBezTo>
                    <a:cubicBezTo>
                      <a:pt x="50" y="120"/>
                      <a:pt x="51" y="120"/>
                      <a:pt x="51" y="120"/>
                    </a:cubicBezTo>
                    <a:cubicBezTo>
                      <a:pt x="52" y="120"/>
                      <a:pt x="52" y="120"/>
                      <a:pt x="52" y="120"/>
                    </a:cubicBezTo>
                    <a:cubicBezTo>
                      <a:pt x="53" y="119"/>
                      <a:pt x="53" y="119"/>
                      <a:pt x="53" y="118"/>
                    </a:cubicBezTo>
                    <a:cubicBezTo>
                      <a:pt x="54" y="118"/>
                      <a:pt x="55" y="119"/>
                      <a:pt x="56" y="119"/>
                    </a:cubicBezTo>
                    <a:cubicBezTo>
                      <a:pt x="57" y="119"/>
                      <a:pt x="60" y="117"/>
                      <a:pt x="61" y="116"/>
                    </a:cubicBezTo>
                    <a:cubicBezTo>
                      <a:pt x="61" y="115"/>
                      <a:pt x="61" y="114"/>
                      <a:pt x="60" y="114"/>
                    </a:cubicBezTo>
                    <a:cubicBezTo>
                      <a:pt x="59" y="113"/>
                      <a:pt x="59" y="112"/>
                      <a:pt x="58" y="112"/>
                    </a:cubicBezTo>
                    <a:cubicBezTo>
                      <a:pt x="58" y="111"/>
                      <a:pt x="57" y="110"/>
                      <a:pt x="57" y="109"/>
                    </a:cubicBezTo>
                    <a:cubicBezTo>
                      <a:pt x="57" y="108"/>
                      <a:pt x="57" y="108"/>
                      <a:pt x="56" y="108"/>
                    </a:cubicBezTo>
                    <a:cubicBezTo>
                      <a:pt x="56" y="108"/>
                      <a:pt x="56" y="107"/>
                      <a:pt x="56" y="107"/>
                    </a:cubicBezTo>
                    <a:cubicBezTo>
                      <a:pt x="55" y="106"/>
                      <a:pt x="56" y="105"/>
                      <a:pt x="56" y="104"/>
                    </a:cubicBezTo>
                    <a:cubicBezTo>
                      <a:pt x="57" y="103"/>
                      <a:pt x="57" y="103"/>
                      <a:pt x="58" y="102"/>
                    </a:cubicBezTo>
                    <a:cubicBezTo>
                      <a:pt x="58" y="102"/>
                      <a:pt x="58" y="101"/>
                      <a:pt x="58" y="101"/>
                    </a:cubicBezTo>
                    <a:cubicBezTo>
                      <a:pt x="59" y="101"/>
                      <a:pt x="58" y="102"/>
                      <a:pt x="59" y="103"/>
                    </a:cubicBezTo>
                    <a:cubicBezTo>
                      <a:pt x="60" y="104"/>
                      <a:pt x="61" y="104"/>
                      <a:pt x="62" y="105"/>
                    </a:cubicBezTo>
                    <a:cubicBezTo>
                      <a:pt x="63" y="105"/>
                      <a:pt x="64" y="106"/>
                      <a:pt x="64" y="107"/>
                    </a:cubicBezTo>
                    <a:cubicBezTo>
                      <a:pt x="65" y="107"/>
                      <a:pt x="66" y="108"/>
                      <a:pt x="66" y="108"/>
                    </a:cubicBezTo>
                    <a:cubicBezTo>
                      <a:pt x="67" y="108"/>
                      <a:pt x="67" y="108"/>
                      <a:pt x="68" y="109"/>
                    </a:cubicBezTo>
                    <a:cubicBezTo>
                      <a:pt x="68" y="110"/>
                      <a:pt x="69" y="111"/>
                      <a:pt x="69" y="112"/>
                    </a:cubicBezTo>
                    <a:cubicBezTo>
                      <a:pt x="69" y="112"/>
                      <a:pt x="70" y="113"/>
                      <a:pt x="70" y="114"/>
                    </a:cubicBezTo>
                    <a:cubicBezTo>
                      <a:pt x="71" y="114"/>
                      <a:pt x="73" y="114"/>
                      <a:pt x="74" y="114"/>
                    </a:cubicBezTo>
                    <a:cubicBezTo>
                      <a:pt x="75" y="114"/>
                      <a:pt x="75" y="114"/>
                      <a:pt x="75" y="113"/>
                    </a:cubicBezTo>
                    <a:cubicBezTo>
                      <a:pt x="76" y="112"/>
                      <a:pt x="77" y="112"/>
                      <a:pt x="77" y="111"/>
                    </a:cubicBezTo>
                    <a:cubicBezTo>
                      <a:pt x="77" y="110"/>
                      <a:pt x="77" y="109"/>
                      <a:pt x="78" y="110"/>
                    </a:cubicBezTo>
                    <a:cubicBezTo>
                      <a:pt x="79" y="111"/>
                      <a:pt x="79" y="112"/>
                      <a:pt x="80" y="112"/>
                    </a:cubicBezTo>
                    <a:cubicBezTo>
                      <a:pt x="80" y="113"/>
                      <a:pt x="80" y="113"/>
                      <a:pt x="81" y="113"/>
                    </a:cubicBezTo>
                    <a:cubicBezTo>
                      <a:pt x="81" y="113"/>
                      <a:pt x="81" y="113"/>
                      <a:pt x="82" y="113"/>
                    </a:cubicBezTo>
                    <a:cubicBezTo>
                      <a:pt x="82" y="114"/>
                      <a:pt x="83" y="115"/>
                      <a:pt x="83" y="115"/>
                    </a:cubicBezTo>
                    <a:cubicBezTo>
                      <a:pt x="85" y="117"/>
                      <a:pt x="87" y="119"/>
                      <a:pt x="90" y="119"/>
                    </a:cubicBezTo>
                    <a:cubicBezTo>
                      <a:pt x="91" y="119"/>
                      <a:pt x="91" y="119"/>
                      <a:pt x="92" y="119"/>
                    </a:cubicBezTo>
                    <a:cubicBezTo>
                      <a:pt x="92" y="119"/>
                      <a:pt x="92" y="118"/>
                      <a:pt x="93" y="118"/>
                    </a:cubicBezTo>
                    <a:cubicBezTo>
                      <a:pt x="93" y="118"/>
                      <a:pt x="93" y="117"/>
                      <a:pt x="93" y="117"/>
                    </a:cubicBezTo>
                    <a:cubicBezTo>
                      <a:pt x="94" y="116"/>
                      <a:pt x="94" y="117"/>
                      <a:pt x="95" y="117"/>
                    </a:cubicBezTo>
                    <a:cubicBezTo>
                      <a:pt x="97" y="117"/>
                      <a:pt x="99" y="115"/>
                      <a:pt x="100" y="114"/>
                    </a:cubicBezTo>
                    <a:cubicBezTo>
                      <a:pt x="101" y="113"/>
                      <a:pt x="101" y="113"/>
                      <a:pt x="100" y="112"/>
                    </a:cubicBezTo>
                    <a:cubicBezTo>
                      <a:pt x="99" y="111"/>
                      <a:pt x="99" y="111"/>
                      <a:pt x="99" y="111"/>
                    </a:cubicBezTo>
                    <a:cubicBezTo>
                      <a:pt x="99" y="110"/>
                      <a:pt x="99" y="110"/>
                      <a:pt x="99" y="109"/>
                    </a:cubicBezTo>
                    <a:cubicBezTo>
                      <a:pt x="99" y="108"/>
                      <a:pt x="99" y="107"/>
                      <a:pt x="99" y="106"/>
                    </a:cubicBezTo>
                    <a:cubicBezTo>
                      <a:pt x="99" y="105"/>
                      <a:pt x="99" y="104"/>
                      <a:pt x="99" y="103"/>
                    </a:cubicBezTo>
                    <a:cubicBezTo>
                      <a:pt x="99" y="103"/>
                      <a:pt x="99" y="103"/>
                      <a:pt x="99" y="102"/>
                    </a:cubicBezTo>
                    <a:cubicBezTo>
                      <a:pt x="99" y="100"/>
                      <a:pt x="100" y="100"/>
                      <a:pt x="102" y="99"/>
                    </a:cubicBezTo>
                    <a:cubicBezTo>
                      <a:pt x="102" y="98"/>
                      <a:pt x="102" y="98"/>
                      <a:pt x="102" y="98"/>
                    </a:cubicBezTo>
                    <a:cubicBezTo>
                      <a:pt x="102" y="96"/>
                      <a:pt x="100" y="96"/>
                      <a:pt x="100" y="94"/>
                    </a:cubicBezTo>
                    <a:cubicBezTo>
                      <a:pt x="100" y="94"/>
                      <a:pt x="101" y="93"/>
                      <a:pt x="102" y="93"/>
                    </a:cubicBezTo>
                    <a:cubicBezTo>
                      <a:pt x="102" y="92"/>
                      <a:pt x="103" y="91"/>
                      <a:pt x="104" y="90"/>
                    </a:cubicBezTo>
                    <a:cubicBezTo>
                      <a:pt x="105" y="90"/>
                      <a:pt x="105" y="89"/>
                      <a:pt x="106" y="89"/>
                    </a:cubicBezTo>
                    <a:cubicBezTo>
                      <a:pt x="107" y="88"/>
                      <a:pt x="108" y="88"/>
                      <a:pt x="109" y="88"/>
                    </a:cubicBezTo>
                    <a:cubicBezTo>
                      <a:pt x="110" y="87"/>
                      <a:pt x="110" y="87"/>
                      <a:pt x="111" y="87"/>
                    </a:cubicBezTo>
                    <a:cubicBezTo>
                      <a:pt x="112" y="87"/>
                      <a:pt x="112" y="87"/>
                      <a:pt x="113" y="88"/>
                    </a:cubicBezTo>
                    <a:cubicBezTo>
                      <a:pt x="114" y="88"/>
                      <a:pt x="113" y="88"/>
                      <a:pt x="114" y="88"/>
                    </a:cubicBezTo>
                    <a:cubicBezTo>
                      <a:pt x="116" y="87"/>
                      <a:pt x="117" y="89"/>
                      <a:pt x="119" y="89"/>
                    </a:cubicBezTo>
                    <a:cubicBezTo>
                      <a:pt x="119" y="88"/>
                      <a:pt x="119" y="87"/>
                      <a:pt x="119" y="87"/>
                    </a:cubicBezTo>
                    <a:cubicBezTo>
                      <a:pt x="119" y="87"/>
                      <a:pt x="120" y="87"/>
                      <a:pt x="120" y="87"/>
                    </a:cubicBezTo>
                    <a:cubicBezTo>
                      <a:pt x="120" y="86"/>
                      <a:pt x="123" y="87"/>
                      <a:pt x="123" y="88"/>
                    </a:cubicBezTo>
                    <a:cubicBezTo>
                      <a:pt x="124" y="88"/>
                      <a:pt x="125" y="89"/>
                      <a:pt x="126" y="89"/>
                    </a:cubicBezTo>
                    <a:cubicBezTo>
                      <a:pt x="127" y="90"/>
                      <a:pt x="129" y="91"/>
                      <a:pt x="131" y="91"/>
                    </a:cubicBezTo>
                    <a:cubicBezTo>
                      <a:pt x="132" y="91"/>
                      <a:pt x="133" y="91"/>
                      <a:pt x="133" y="91"/>
                    </a:cubicBezTo>
                    <a:cubicBezTo>
                      <a:pt x="135" y="91"/>
                      <a:pt x="137" y="91"/>
                      <a:pt x="137" y="89"/>
                    </a:cubicBezTo>
                    <a:cubicBezTo>
                      <a:pt x="138" y="88"/>
                      <a:pt x="136" y="86"/>
                      <a:pt x="135" y="84"/>
                    </a:cubicBezTo>
                    <a:cubicBezTo>
                      <a:pt x="135" y="84"/>
                      <a:pt x="135" y="82"/>
                      <a:pt x="135" y="82"/>
                    </a:cubicBezTo>
                    <a:cubicBezTo>
                      <a:pt x="134" y="82"/>
                      <a:pt x="133" y="82"/>
                      <a:pt x="132" y="82"/>
                    </a:cubicBezTo>
                    <a:cubicBezTo>
                      <a:pt x="132" y="81"/>
                      <a:pt x="132" y="82"/>
                      <a:pt x="132" y="81"/>
                    </a:cubicBezTo>
                    <a:cubicBezTo>
                      <a:pt x="131" y="81"/>
                      <a:pt x="131" y="80"/>
                      <a:pt x="131" y="79"/>
                    </a:cubicBezTo>
                    <a:cubicBezTo>
                      <a:pt x="130" y="78"/>
                      <a:pt x="130" y="76"/>
                      <a:pt x="128" y="75"/>
                    </a:cubicBezTo>
                    <a:cubicBezTo>
                      <a:pt x="128" y="75"/>
                      <a:pt x="127" y="76"/>
                      <a:pt x="126" y="75"/>
                    </a:cubicBezTo>
                    <a:cubicBezTo>
                      <a:pt x="125" y="75"/>
                      <a:pt x="125" y="73"/>
                      <a:pt x="124" y="73"/>
                    </a:cubicBezTo>
                    <a:cubicBezTo>
                      <a:pt x="123" y="72"/>
                      <a:pt x="123" y="71"/>
                      <a:pt x="122" y="71"/>
                    </a:cubicBezTo>
                    <a:cubicBezTo>
                      <a:pt x="122" y="71"/>
                      <a:pt x="122" y="71"/>
                      <a:pt x="121" y="70"/>
                    </a:cubicBezTo>
                    <a:cubicBezTo>
                      <a:pt x="121" y="70"/>
                      <a:pt x="121" y="70"/>
                      <a:pt x="121" y="70"/>
                    </a:cubicBezTo>
                    <a:cubicBezTo>
                      <a:pt x="120" y="70"/>
                      <a:pt x="119" y="70"/>
                      <a:pt x="119" y="69"/>
                    </a:cubicBezTo>
                    <a:cubicBezTo>
                      <a:pt x="119" y="69"/>
                      <a:pt x="118" y="68"/>
                      <a:pt x="118" y="68"/>
                    </a:cubicBezTo>
                    <a:cubicBezTo>
                      <a:pt x="118" y="68"/>
                      <a:pt x="118" y="68"/>
                      <a:pt x="118" y="68"/>
                    </a:cubicBezTo>
                    <a:cubicBezTo>
                      <a:pt x="117" y="67"/>
                      <a:pt x="117" y="66"/>
                      <a:pt x="116" y="65"/>
                    </a:cubicBezTo>
                    <a:cubicBezTo>
                      <a:pt x="116" y="65"/>
                      <a:pt x="115" y="64"/>
                      <a:pt x="115" y="64"/>
                    </a:cubicBezTo>
                    <a:cubicBezTo>
                      <a:pt x="115" y="62"/>
                      <a:pt x="116" y="61"/>
                      <a:pt x="117" y="60"/>
                    </a:cubicBezTo>
                    <a:cubicBezTo>
                      <a:pt x="118" y="59"/>
                      <a:pt x="118" y="58"/>
                      <a:pt x="119" y="58"/>
                    </a:cubicBezTo>
                    <a:cubicBezTo>
                      <a:pt x="120" y="57"/>
                      <a:pt x="121" y="58"/>
                      <a:pt x="121" y="58"/>
                    </a:cubicBezTo>
                    <a:cubicBezTo>
                      <a:pt x="122" y="58"/>
                      <a:pt x="123" y="58"/>
                      <a:pt x="123" y="58"/>
                    </a:cubicBezTo>
                    <a:cubicBezTo>
                      <a:pt x="124" y="57"/>
                      <a:pt x="124" y="55"/>
                      <a:pt x="125" y="55"/>
                    </a:cubicBezTo>
                    <a:cubicBezTo>
                      <a:pt x="126" y="54"/>
                      <a:pt x="125" y="54"/>
                      <a:pt x="126" y="54"/>
                    </a:cubicBezTo>
                    <a:cubicBezTo>
                      <a:pt x="127" y="54"/>
                      <a:pt x="128" y="54"/>
                      <a:pt x="128" y="53"/>
                    </a:cubicBezTo>
                    <a:cubicBezTo>
                      <a:pt x="129" y="53"/>
                      <a:pt x="129" y="53"/>
                      <a:pt x="130" y="52"/>
                    </a:cubicBezTo>
                    <a:cubicBezTo>
                      <a:pt x="130" y="51"/>
                      <a:pt x="132" y="50"/>
                      <a:pt x="133" y="50"/>
                    </a:cubicBezTo>
                    <a:cubicBezTo>
                      <a:pt x="134" y="50"/>
                      <a:pt x="135" y="50"/>
                      <a:pt x="136" y="50"/>
                    </a:cubicBezTo>
                    <a:cubicBezTo>
                      <a:pt x="137" y="49"/>
                      <a:pt x="136" y="47"/>
                      <a:pt x="137" y="47"/>
                    </a:cubicBezTo>
                    <a:cubicBezTo>
                      <a:pt x="138" y="46"/>
                      <a:pt x="140" y="47"/>
                      <a:pt x="141" y="47"/>
                    </a:cubicBezTo>
                    <a:cubicBezTo>
                      <a:pt x="142" y="47"/>
                      <a:pt x="142" y="47"/>
                      <a:pt x="142" y="46"/>
                    </a:cubicBezTo>
                    <a:cubicBezTo>
                      <a:pt x="142" y="46"/>
                      <a:pt x="142" y="45"/>
                      <a:pt x="142" y="45"/>
                    </a:cubicBezTo>
                    <a:cubicBezTo>
                      <a:pt x="142" y="44"/>
                      <a:pt x="143" y="44"/>
                      <a:pt x="144" y="43"/>
                    </a:cubicBezTo>
                    <a:cubicBezTo>
                      <a:pt x="146" y="43"/>
                      <a:pt x="148" y="42"/>
                      <a:pt x="150" y="43"/>
                    </a:cubicBezTo>
                    <a:cubicBezTo>
                      <a:pt x="151" y="43"/>
                      <a:pt x="152" y="43"/>
                      <a:pt x="152" y="43"/>
                    </a:cubicBezTo>
                    <a:cubicBezTo>
                      <a:pt x="153" y="43"/>
                      <a:pt x="153" y="42"/>
                      <a:pt x="153" y="42"/>
                    </a:cubicBezTo>
                    <a:cubicBezTo>
                      <a:pt x="153" y="41"/>
                      <a:pt x="152" y="41"/>
                      <a:pt x="152" y="40"/>
                    </a:cubicBezTo>
                    <a:cubicBezTo>
                      <a:pt x="151" y="39"/>
                      <a:pt x="151" y="38"/>
                      <a:pt x="150" y="37"/>
                    </a:cubicBezTo>
                    <a:cubicBezTo>
                      <a:pt x="150" y="37"/>
                      <a:pt x="149" y="36"/>
                      <a:pt x="148" y="35"/>
                    </a:cubicBezTo>
                    <a:cubicBezTo>
                      <a:pt x="148" y="35"/>
                      <a:pt x="148" y="34"/>
                      <a:pt x="149" y="34"/>
                    </a:cubicBezTo>
                    <a:cubicBezTo>
                      <a:pt x="149" y="33"/>
                      <a:pt x="150" y="33"/>
                      <a:pt x="151" y="33"/>
                    </a:cubicBezTo>
                    <a:cubicBezTo>
                      <a:pt x="152" y="33"/>
                      <a:pt x="152" y="33"/>
                      <a:pt x="153" y="33"/>
                    </a:cubicBezTo>
                    <a:cubicBezTo>
                      <a:pt x="153" y="32"/>
                      <a:pt x="154" y="31"/>
                      <a:pt x="155" y="31"/>
                    </a:cubicBezTo>
                    <a:cubicBezTo>
                      <a:pt x="156" y="30"/>
                      <a:pt x="159" y="32"/>
                      <a:pt x="160" y="33"/>
                    </a:cubicBezTo>
                    <a:cubicBezTo>
                      <a:pt x="162" y="33"/>
                      <a:pt x="163" y="33"/>
                      <a:pt x="165" y="33"/>
                    </a:cubicBezTo>
                    <a:cubicBezTo>
                      <a:pt x="165" y="33"/>
                      <a:pt x="166" y="33"/>
                      <a:pt x="167" y="33"/>
                    </a:cubicBezTo>
                    <a:cubicBezTo>
                      <a:pt x="167" y="32"/>
                      <a:pt x="167" y="32"/>
                      <a:pt x="167" y="32"/>
                    </a:cubicBezTo>
                    <a:cubicBezTo>
                      <a:pt x="166" y="32"/>
                      <a:pt x="165" y="32"/>
                      <a:pt x="165" y="32"/>
                    </a:cubicBezTo>
                    <a:cubicBezTo>
                      <a:pt x="161" y="29"/>
                      <a:pt x="164" y="26"/>
                      <a:pt x="163" y="2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77" name="Freeform 26">
                <a:extLst>
                  <a:ext uri="{FF2B5EF4-FFF2-40B4-BE49-F238E27FC236}">
                    <a16:creationId xmlns:a16="http://schemas.microsoft.com/office/drawing/2014/main" id="{6CEE5E73-D8C8-4074-934E-26F05659BE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95838" y="5073650"/>
                <a:ext cx="584200" cy="542925"/>
              </a:xfrm>
              <a:custGeom>
                <a:avLst/>
                <a:gdLst/>
                <a:ahLst/>
                <a:cxnLst>
                  <a:cxn ang="0">
                    <a:pos x="261" y="120"/>
                  </a:cxn>
                  <a:cxn ang="0">
                    <a:pos x="275" y="132"/>
                  </a:cxn>
                  <a:cxn ang="0">
                    <a:pos x="294" y="124"/>
                  </a:cxn>
                  <a:cxn ang="0">
                    <a:pos x="305" y="104"/>
                  </a:cxn>
                  <a:cxn ang="0">
                    <a:pos x="291" y="87"/>
                  </a:cxn>
                  <a:cxn ang="0">
                    <a:pos x="288" y="72"/>
                  </a:cxn>
                  <a:cxn ang="0">
                    <a:pos x="284" y="56"/>
                  </a:cxn>
                  <a:cxn ang="0">
                    <a:pos x="275" y="56"/>
                  </a:cxn>
                  <a:cxn ang="0">
                    <a:pos x="244" y="63"/>
                  </a:cxn>
                  <a:cxn ang="0">
                    <a:pos x="223" y="58"/>
                  </a:cxn>
                  <a:cxn ang="0">
                    <a:pos x="201" y="40"/>
                  </a:cxn>
                  <a:cxn ang="0">
                    <a:pos x="194" y="29"/>
                  </a:cxn>
                  <a:cxn ang="0">
                    <a:pos x="169" y="7"/>
                  </a:cxn>
                  <a:cxn ang="0">
                    <a:pos x="152" y="1"/>
                  </a:cxn>
                  <a:cxn ang="0">
                    <a:pos x="149" y="10"/>
                  </a:cxn>
                  <a:cxn ang="0">
                    <a:pos x="139" y="16"/>
                  </a:cxn>
                  <a:cxn ang="0">
                    <a:pos x="125" y="23"/>
                  </a:cxn>
                  <a:cxn ang="0">
                    <a:pos x="114" y="30"/>
                  </a:cxn>
                  <a:cxn ang="0">
                    <a:pos x="118" y="40"/>
                  </a:cxn>
                  <a:cxn ang="0">
                    <a:pos x="128" y="49"/>
                  </a:cxn>
                  <a:cxn ang="0">
                    <a:pos x="130" y="61"/>
                  </a:cxn>
                  <a:cxn ang="0">
                    <a:pos x="116" y="59"/>
                  </a:cxn>
                  <a:cxn ang="0">
                    <a:pos x="101" y="60"/>
                  </a:cxn>
                  <a:cxn ang="0">
                    <a:pos x="96" y="73"/>
                  </a:cxn>
                  <a:cxn ang="0">
                    <a:pos x="92" y="87"/>
                  </a:cxn>
                  <a:cxn ang="0">
                    <a:pos x="79" y="83"/>
                  </a:cxn>
                  <a:cxn ang="0">
                    <a:pos x="71" y="84"/>
                  </a:cxn>
                  <a:cxn ang="0">
                    <a:pos x="59" y="75"/>
                  </a:cxn>
                  <a:cxn ang="0">
                    <a:pos x="53" y="78"/>
                  </a:cxn>
                  <a:cxn ang="0">
                    <a:pos x="50" y="88"/>
                  </a:cxn>
                  <a:cxn ang="0">
                    <a:pos x="40" y="86"/>
                  </a:cxn>
                  <a:cxn ang="0">
                    <a:pos x="27" y="82"/>
                  </a:cxn>
                  <a:cxn ang="0">
                    <a:pos x="15" y="87"/>
                  </a:cxn>
                  <a:cxn ang="0">
                    <a:pos x="5" y="82"/>
                  </a:cxn>
                  <a:cxn ang="0">
                    <a:pos x="1" y="87"/>
                  </a:cxn>
                  <a:cxn ang="0">
                    <a:pos x="16" y="127"/>
                  </a:cxn>
                  <a:cxn ang="0">
                    <a:pos x="25" y="131"/>
                  </a:cxn>
                  <a:cxn ang="0">
                    <a:pos x="37" y="109"/>
                  </a:cxn>
                  <a:cxn ang="0">
                    <a:pos x="54" y="109"/>
                  </a:cxn>
                  <a:cxn ang="0">
                    <a:pos x="64" y="125"/>
                  </a:cxn>
                  <a:cxn ang="0">
                    <a:pos x="70" y="130"/>
                  </a:cxn>
                  <a:cxn ang="0">
                    <a:pos x="75" y="151"/>
                  </a:cxn>
                  <a:cxn ang="0">
                    <a:pos x="93" y="179"/>
                  </a:cxn>
                  <a:cxn ang="0">
                    <a:pos x="95" y="203"/>
                  </a:cxn>
                  <a:cxn ang="0">
                    <a:pos x="106" y="217"/>
                  </a:cxn>
                  <a:cxn ang="0">
                    <a:pos x="119" y="235"/>
                  </a:cxn>
                  <a:cxn ang="0">
                    <a:pos x="134" y="242"/>
                  </a:cxn>
                  <a:cxn ang="0">
                    <a:pos x="157" y="246"/>
                  </a:cxn>
                  <a:cxn ang="0">
                    <a:pos x="200" y="287"/>
                  </a:cxn>
                  <a:cxn ang="0">
                    <a:pos x="202" y="278"/>
                  </a:cxn>
                  <a:cxn ang="0">
                    <a:pos x="195" y="264"/>
                  </a:cxn>
                  <a:cxn ang="0">
                    <a:pos x="192" y="250"/>
                  </a:cxn>
                  <a:cxn ang="0">
                    <a:pos x="169" y="224"/>
                  </a:cxn>
                  <a:cxn ang="0">
                    <a:pos x="142" y="196"/>
                  </a:cxn>
                  <a:cxn ang="0">
                    <a:pos x="135" y="175"/>
                  </a:cxn>
                  <a:cxn ang="0">
                    <a:pos x="131" y="151"/>
                  </a:cxn>
                  <a:cxn ang="0">
                    <a:pos x="118" y="134"/>
                  </a:cxn>
                  <a:cxn ang="0">
                    <a:pos x="133" y="107"/>
                  </a:cxn>
                  <a:cxn ang="0">
                    <a:pos x="150" y="118"/>
                  </a:cxn>
                  <a:cxn ang="0">
                    <a:pos x="174" y="105"/>
                  </a:cxn>
                  <a:cxn ang="0">
                    <a:pos x="192" y="114"/>
                  </a:cxn>
                  <a:cxn ang="0">
                    <a:pos x="221" y="116"/>
                  </a:cxn>
                  <a:cxn ang="0">
                    <a:pos x="237" y="114"/>
                  </a:cxn>
                </a:cxnLst>
                <a:rect l="0" t="0" r="r" b="b"/>
                <a:pathLst>
                  <a:path w="312" h="291">
                    <a:moveTo>
                      <a:pt x="9" y="78"/>
                    </a:moveTo>
                    <a:cubicBezTo>
                      <a:pt x="9" y="78"/>
                      <a:pt x="9" y="78"/>
                      <a:pt x="9" y="78"/>
                    </a:cubicBezTo>
                    <a:cubicBezTo>
                      <a:pt x="9" y="78"/>
                      <a:pt x="9" y="78"/>
                      <a:pt x="9" y="78"/>
                    </a:cubicBezTo>
                    <a:moveTo>
                      <a:pt x="255" y="117"/>
                    </a:moveTo>
                    <a:cubicBezTo>
                      <a:pt x="256" y="117"/>
                      <a:pt x="257" y="118"/>
                      <a:pt x="259" y="118"/>
                    </a:cubicBezTo>
                    <a:cubicBezTo>
                      <a:pt x="259" y="119"/>
                      <a:pt x="260" y="120"/>
                      <a:pt x="261" y="120"/>
                    </a:cubicBezTo>
                    <a:cubicBezTo>
                      <a:pt x="263" y="121"/>
                      <a:pt x="266" y="121"/>
                      <a:pt x="267" y="121"/>
                    </a:cubicBezTo>
                    <a:cubicBezTo>
                      <a:pt x="268" y="118"/>
                      <a:pt x="272" y="120"/>
                      <a:pt x="273" y="122"/>
                    </a:cubicBezTo>
                    <a:cubicBezTo>
                      <a:pt x="273" y="122"/>
                      <a:pt x="273" y="123"/>
                      <a:pt x="273" y="124"/>
                    </a:cubicBezTo>
                    <a:cubicBezTo>
                      <a:pt x="273" y="124"/>
                      <a:pt x="274" y="125"/>
                      <a:pt x="274" y="125"/>
                    </a:cubicBezTo>
                    <a:cubicBezTo>
                      <a:pt x="275" y="126"/>
                      <a:pt x="277" y="127"/>
                      <a:pt x="277" y="128"/>
                    </a:cubicBezTo>
                    <a:cubicBezTo>
                      <a:pt x="276" y="130"/>
                      <a:pt x="275" y="130"/>
                      <a:pt x="275" y="132"/>
                    </a:cubicBezTo>
                    <a:cubicBezTo>
                      <a:pt x="275" y="134"/>
                      <a:pt x="276" y="136"/>
                      <a:pt x="278" y="137"/>
                    </a:cubicBezTo>
                    <a:cubicBezTo>
                      <a:pt x="279" y="137"/>
                      <a:pt x="278" y="137"/>
                      <a:pt x="280" y="138"/>
                    </a:cubicBezTo>
                    <a:cubicBezTo>
                      <a:pt x="281" y="138"/>
                      <a:pt x="282" y="138"/>
                      <a:pt x="282" y="138"/>
                    </a:cubicBezTo>
                    <a:cubicBezTo>
                      <a:pt x="284" y="137"/>
                      <a:pt x="286" y="137"/>
                      <a:pt x="288" y="136"/>
                    </a:cubicBezTo>
                    <a:cubicBezTo>
                      <a:pt x="290" y="135"/>
                      <a:pt x="297" y="134"/>
                      <a:pt x="295" y="131"/>
                    </a:cubicBezTo>
                    <a:cubicBezTo>
                      <a:pt x="294" y="128"/>
                      <a:pt x="291" y="126"/>
                      <a:pt x="294" y="124"/>
                    </a:cubicBezTo>
                    <a:cubicBezTo>
                      <a:pt x="294" y="123"/>
                      <a:pt x="296" y="122"/>
                      <a:pt x="296" y="121"/>
                    </a:cubicBezTo>
                    <a:cubicBezTo>
                      <a:pt x="296" y="120"/>
                      <a:pt x="295" y="119"/>
                      <a:pt x="296" y="118"/>
                    </a:cubicBezTo>
                    <a:cubicBezTo>
                      <a:pt x="297" y="116"/>
                      <a:pt x="301" y="115"/>
                      <a:pt x="303" y="114"/>
                    </a:cubicBezTo>
                    <a:cubicBezTo>
                      <a:pt x="305" y="114"/>
                      <a:pt x="312" y="114"/>
                      <a:pt x="310" y="110"/>
                    </a:cubicBezTo>
                    <a:cubicBezTo>
                      <a:pt x="310" y="109"/>
                      <a:pt x="309" y="109"/>
                      <a:pt x="308" y="108"/>
                    </a:cubicBezTo>
                    <a:cubicBezTo>
                      <a:pt x="307" y="107"/>
                      <a:pt x="306" y="105"/>
                      <a:pt x="305" y="104"/>
                    </a:cubicBezTo>
                    <a:cubicBezTo>
                      <a:pt x="303" y="102"/>
                      <a:pt x="303" y="102"/>
                      <a:pt x="301" y="102"/>
                    </a:cubicBezTo>
                    <a:cubicBezTo>
                      <a:pt x="297" y="101"/>
                      <a:pt x="294" y="99"/>
                      <a:pt x="292" y="98"/>
                    </a:cubicBezTo>
                    <a:cubicBezTo>
                      <a:pt x="291" y="98"/>
                      <a:pt x="290" y="97"/>
                      <a:pt x="290" y="96"/>
                    </a:cubicBezTo>
                    <a:cubicBezTo>
                      <a:pt x="288" y="94"/>
                      <a:pt x="292" y="93"/>
                      <a:pt x="292" y="90"/>
                    </a:cubicBezTo>
                    <a:cubicBezTo>
                      <a:pt x="291" y="89"/>
                      <a:pt x="290" y="89"/>
                      <a:pt x="290" y="88"/>
                    </a:cubicBezTo>
                    <a:cubicBezTo>
                      <a:pt x="290" y="87"/>
                      <a:pt x="291" y="87"/>
                      <a:pt x="291" y="87"/>
                    </a:cubicBezTo>
                    <a:cubicBezTo>
                      <a:pt x="292" y="85"/>
                      <a:pt x="291" y="84"/>
                      <a:pt x="290" y="83"/>
                    </a:cubicBezTo>
                    <a:cubicBezTo>
                      <a:pt x="290" y="82"/>
                      <a:pt x="290" y="82"/>
                      <a:pt x="289" y="82"/>
                    </a:cubicBezTo>
                    <a:cubicBezTo>
                      <a:pt x="288" y="80"/>
                      <a:pt x="288" y="81"/>
                      <a:pt x="286" y="80"/>
                    </a:cubicBezTo>
                    <a:cubicBezTo>
                      <a:pt x="286" y="79"/>
                      <a:pt x="286" y="78"/>
                      <a:pt x="286" y="76"/>
                    </a:cubicBezTo>
                    <a:cubicBezTo>
                      <a:pt x="286" y="75"/>
                      <a:pt x="287" y="75"/>
                      <a:pt x="287" y="74"/>
                    </a:cubicBezTo>
                    <a:cubicBezTo>
                      <a:pt x="287" y="73"/>
                      <a:pt x="288" y="73"/>
                      <a:pt x="288" y="72"/>
                    </a:cubicBezTo>
                    <a:cubicBezTo>
                      <a:pt x="288" y="70"/>
                      <a:pt x="286" y="70"/>
                      <a:pt x="286" y="68"/>
                    </a:cubicBezTo>
                    <a:cubicBezTo>
                      <a:pt x="286" y="67"/>
                      <a:pt x="286" y="65"/>
                      <a:pt x="286" y="64"/>
                    </a:cubicBezTo>
                    <a:cubicBezTo>
                      <a:pt x="286" y="64"/>
                      <a:pt x="286" y="63"/>
                      <a:pt x="286" y="63"/>
                    </a:cubicBezTo>
                    <a:cubicBezTo>
                      <a:pt x="286" y="62"/>
                      <a:pt x="285" y="62"/>
                      <a:pt x="285" y="62"/>
                    </a:cubicBezTo>
                    <a:cubicBezTo>
                      <a:pt x="285" y="62"/>
                      <a:pt x="285" y="61"/>
                      <a:pt x="284" y="60"/>
                    </a:cubicBezTo>
                    <a:cubicBezTo>
                      <a:pt x="284" y="59"/>
                      <a:pt x="284" y="58"/>
                      <a:pt x="284" y="56"/>
                    </a:cubicBezTo>
                    <a:cubicBezTo>
                      <a:pt x="284" y="54"/>
                      <a:pt x="284" y="52"/>
                      <a:pt x="284" y="50"/>
                    </a:cubicBezTo>
                    <a:cubicBezTo>
                      <a:pt x="284" y="50"/>
                      <a:pt x="284" y="50"/>
                      <a:pt x="284" y="51"/>
                    </a:cubicBezTo>
                    <a:cubicBezTo>
                      <a:pt x="283" y="51"/>
                      <a:pt x="283" y="52"/>
                      <a:pt x="282" y="52"/>
                    </a:cubicBezTo>
                    <a:cubicBezTo>
                      <a:pt x="282" y="52"/>
                      <a:pt x="281" y="52"/>
                      <a:pt x="281" y="51"/>
                    </a:cubicBezTo>
                    <a:cubicBezTo>
                      <a:pt x="279" y="50"/>
                      <a:pt x="278" y="54"/>
                      <a:pt x="277" y="55"/>
                    </a:cubicBezTo>
                    <a:cubicBezTo>
                      <a:pt x="277" y="55"/>
                      <a:pt x="275" y="56"/>
                      <a:pt x="275" y="56"/>
                    </a:cubicBezTo>
                    <a:cubicBezTo>
                      <a:pt x="274" y="56"/>
                      <a:pt x="272" y="57"/>
                      <a:pt x="271" y="57"/>
                    </a:cubicBezTo>
                    <a:cubicBezTo>
                      <a:pt x="270" y="58"/>
                      <a:pt x="269" y="58"/>
                      <a:pt x="269" y="59"/>
                    </a:cubicBezTo>
                    <a:cubicBezTo>
                      <a:pt x="268" y="60"/>
                      <a:pt x="268" y="62"/>
                      <a:pt x="268" y="63"/>
                    </a:cubicBezTo>
                    <a:cubicBezTo>
                      <a:pt x="265" y="65"/>
                      <a:pt x="259" y="62"/>
                      <a:pt x="256" y="63"/>
                    </a:cubicBezTo>
                    <a:cubicBezTo>
                      <a:pt x="253" y="63"/>
                      <a:pt x="251" y="63"/>
                      <a:pt x="249" y="63"/>
                    </a:cubicBezTo>
                    <a:cubicBezTo>
                      <a:pt x="247" y="63"/>
                      <a:pt x="246" y="63"/>
                      <a:pt x="244" y="63"/>
                    </a:cubicBezTo>
                    <a:cubicBezTo>
                      <a:pt x="244" y="63"/>
                      <a:pt x="243" y="63"/>
                      <a:pt x="242" y="63"/>
                    </a:cubicBezTo>
                    <a:cubicBezTo>
                      <a:pt x="241" y="62"/>
                      <a:pt x="241" y="62"/>
                      <a:pt x="240" y="62"/>
                    </a:cubicBezTo>
                    <a:cubicBezTo>
                      <a:pt x="239" y="61"/>
                      <a:pt x="237" y="62"/>
                      <a:pt x="236" y="61"/>
                    </a:cubicBezTo>
                    <a:cubicBezTo>
                      <a:pt x="234" y="61"/>
                      <a:pt x="232" y="60"/>
                      <a:pt x="230" y="60"/>
                    </a:cubicBezTo>
                    <a:cubicBezTo>
                      <a:pt x="229" y="60"/>
                      <a:pt x="227" y="60"/>
                      <a:pt x="225" y="60"/>
                    </a:cubicBezTo>
                    <a:cubicBezTo>
                      <a:pt x="224" y="59"/>
                      <a:pt x="224" y="59"/>
                      <a:pt x="223" y="58"/>
                    </a:cubicBezTo>
                    <a:cubicBezTo>
                      <a:pt x="222" y="56"/>
                      <a:pt x="220" y="55"/>
                      <a:pt x="218" y="54"/>
                    </a:cubicBezTo>
                    <a:cubicBezTo>
                      <a:pt x="218" y="53"/>
                      <a:pt x="218" y="53"/>
                      <a:pt x="217" y="52"/>
                    </a:cubicBezTo>
                    <a:cubicBezTo>
                      <a:pt x="216" y="52"/>
                      <a:pt x="216" y="52"/>
                      <a:pt x="215" y="52"/>
                    </a:cubicBezTo>
                    <a:cubicBezTo>
                      <a:pt x="212" y="52"/>
                      <a:pt x="212" y="51"/>
                      <a:pt x="210" y="50"/>
                    </a:cubicBezTo>
                    <a:cubicBezTo>
                      <a:pt x="208" y="49"/>
                      <a:pt x="205" y="49"/>
                      <a:pt x="203" y="47"/>
                    </a:cubicBezTo>
                    <a:cubicBezTo>
                      <a:pt x="202" y="45"/>
                      <a:pt x="202" y="42"/>
                      <a:pt x="201" y="40"/>
                    </a:cubicBezTo>
                    <a:cubicBezTo>
                      <a:pt x="200" y="38"/>
                      <a:pt x="199" y="38"/>
                      <a:pt x="198" y="36"/>
                    </a:cubicBezTo>
                    <a:cubicBezTo>
                      <a:pt x="197" y="36"/>
                      <a:pt x="197" y="35"/>
                      <a:pt x="196" y="35"/>
                    </a:cubicBezTo>
                    <a:cubicBezTo>
                      <a:pt x="196" y="34"/>
                      <a:pt x="196" y="34"/>
                      <a:pt x="195" y="34"/>
                    </a:cubicBezTo>
                    <a:cubicBezTo>
                      <a:pt x="196" y="33"/>
                      <a:pt x="196" y="33"/>
                      <a:pt x="195" y="33"/>
                    </a:cubicBezTo>
                    <a:cubicBezTo>
                      <a:pt x="195" y="32"/>
                      <a:pt x="194" y="31"/>
                      <a:pt x="193" y="30"/>
                    </a:cubicBezTo>
                    <a:cubicBezTo>
                      <a:pt x="193" y="30"/>
                      <a:pt x="193" y="29"/>
                      <a:pt x="194" y="29"/>
                    </a:cubicBezTo>
                    <a:cubicBezTo>
                      <a:pt x="192" y="30"/>
                      <a:pt x="191" y="28"/>
                      <a:pt x="190" y="28"/>
                    </a:cubicBezTo>
                    <a:cubicBezTo>
                      <a:pt x="189" y="27"/>
                      <a:pt x="187" y="27"/>
                      <a:pt x="186" y="26"/>
                    </a:cubicBezTo>
                    <a:cubicBezTo>
                      <a:pt x="183" y="24"/>
                      <a:pt x="183" y="23"/>
                      <a:pt x="184" y="20"/>
                    </a:cubicBezTo>
                    <a:cubicBezTo>
                      <a:pt x="182" y="20"/>
                      <a:pt x="180" y="19"/>
                      <a:pt x="179" y="18"/>
                    </a:cubicBezTo>
                    <a:cubicBezTo>
                      <a:pt x="178" y="17"/>
                      <a:pt x="178" y="15"/>
                      <a:pt x="177" y="14"/>
                    </a:cubicBezTo>
                    <a:cubicBezTo>
                      <a:pt x="175" y="11"/>
                      <a:pt x="172" y="9"/>
                      <a:pt x="169" y="7"/>
                    </a:cubicBezTo>
                    <a:cubicBezTo>
                      <a:pt x="167" y="6"/>
                      <a:pt x="166" y="5"/>
                      <a:pt x="165" y="4"/>
                    </a:cubicBezTo>
                    <a:cubicBezTo>
                      <a:pt x="165" y="4"/>
                      <a:pt x="164" y="2"/>
                      <a:pt x="164" y="2"/>
                    </a:cubicBezTo>
                    <a:cubicBezTo>
                      <a:pt x="164" y="2"/>
                      <a:pt x="164" y="2"/>
                      <a:pt x="164" y="3"/>
                    </a:cubicBezTo>
                    <a:cubicBezTo>
                      <a:pt x="163" y="3"/>
                      <a:pt x="162" y="3"/>
                      <a:pt x="162" y="3"/>
                    </a:cubicBezTo>
                    <a:cubicBezTo>
                      <a:pt x="160" y="3"/>
                      <a:pt x="159" y="3"/>
                      <a:pt x="157" y="3"/>
                    </a:cubicBezTo>
                    <a:cubicBezTo>
                      <a:pt x="156" y="2"/>
                      <a:pt x="153" y="0"/>
                      <a:pt x="152" y="1"/>
                    </a:cubicBezTo>
                    <a:cubicBezTo>
                      <a:pt x="151" y="1"/>
                      <a:pt x="150" y="2"/>
                      <a:pt x="150" y="3"/>
                    </a:cubicBezTo>
                    <a:cubicBezTo>
                      <a:pt x="149" y="3"/>
                      <a:pt x="149" y="3"/>
                      <a:pt x="148" y="3"/>
                    </a:cubicBezTo>
                    <a:cubicBezTo>
                      <a:pt x="147" y="3"/>
                      <a:pt x="146" y="3"/>
                      <a:pt x="146" y="4"/>
                    </a:cubicBezTo>
                    <a:cubicBezTo>
                      <a:pt x="145" y="4"/>
                      <a:pt x="145" y="5"/>
                      <a:pt x="145" y="5"/>
                    </a:cubicBezTo>
                    <a:cubicBezTo>
                      <a:pt x="146" y="6"/>
                      <a:pt x="147" y="7"/>
                      <a:pt x="147" y="7"/>
                    </a:cubicBezTo>
                    <a:cubicBezTo>
                      <a:pt x="148" y="8"/>
                      <a:pt x="148" y="9"/>
                      <a:pt x="149" y="10"/>
                    </a:cubicBezTo>
                    <a:cubicBezTo>
                      <a:pt x="149" y="11"/>
                      <a:pt x="150" y="11"/>
                      <a:pt x="150" y="12"/>
                    </a:cubicBezTo>
                    <a:cubicBezTo>
                      <a:pt x="150" y="12"/>
                      <a:pt x="150" y="13"/>
                      <a:pt x="149" y="13"/>
                    </a:cubicBezTo>
                    <a:cubicBezTo>
                      <a:pt x="149" y="13"/>
                      <a:pt x="148" y="13"/>
                      <a:pt x="147" y="13"/>
                    </a:cubicBezTo>
                    <a:cubicBezTo>
                      <a:pt x="145" y="12"/>
                      <a:pt x="143" y="13"/>
                      <a:pt x="141" y="13"/>
                    </a:cubicBezTo>
                    <a:cubicBezTo>
                      <a:pt x="140" y="14"/>
                      <a:pt x="139" y="14"/>
                      <a:pt x="139" y="15"/>
                    </a:cubicBezTo>
                    <a:cubicBezTo>
                      <a:pt x="139" y="15"/>
                      <a:pt x="139" y="16"/>
                      <a:pt x="139" y="16"/>
                    </a:cubicBezTo>
                    <a:cubicBezTo>
                      <a:pt x="139" y="17"/>
                      <a:pt x="139" y="17"/>
                      <a:pt x="138" y="17"/>
                    </a:cubicBezTo>
                    <a:cubicBezTo>
                      <a:pt x="137" y="17"/>
                      <a:pt x="135" y="16"/>
                      <a:pt x="134" y="17"/>
                    </a:cubicBezTo>
                    <a:cubicBezTo>
                      <a:pt x="133" y="17"/>
                      <a:pt x="134" y="19"/>
                      <a:pt x="133" y="20"/>
                    </a:cubicBezTo>
                    <a:cubicBezTo>
                      <a:pt x="132" y="20"/>
                      <a:pt x="131" y="20"/>
                      <a:pt x="130" y="20"/>
                    </a:cubicBezTo>
                    <a:cubicBezTo>
                      <a:pt x="129" y="20"/>
                      <a:pt x="127" y="21"/>
                      <a:pt x="127" y="22"/>
                    </a:cubicBezTo>
                    <a:cubicBezTo>
                      <a:pt x="126" y="23"/>
                      <a:pt x="126" y="23"/>
                      <a:pt x="125" y="23"/>
                    </a:cubicBezTo>
                    <a:cubicBezTo>
                      <a:pt x="125" y="24"/>
                      <a:pt x="124" y="24"/>
                      <a:pt x="123" y="24"/>
                    </a:cubicBezTo>
                    <a:cubicBezTo>
                      <a:pt x="122" y="24"/>
                      <a:pt x="123" y="24"/>
                      <a:pt x="122" y="25"/>
                    </a:cubicBezTo>
                    <a:cubicBezTo>
                      <a:pt x="121" y="25"/>
                      <a:pt x="121" y="27"/>
                      <a:pt x="120" y="28"/>
                    </a:cubicBezTo>
                    <a:cubicBezTo>
                      <a:pt x="120" y="28"/>
                      <a:pt x="119" y="28"/>
                      <a:pt x="118" y="28"/>
                    </a:cubicBezTo>
                    <a:cubicBezTo>
                      <a:pt x="118" y="28"/>
                      <a:pt x="117" y="27"/>
                      <a:pt x="116" y="28"/>
                    </a:cubicBezTo>
                    <a:cubicBezTo>
                      <a:pt x="115" y="28"/>
                      <a:pt x="115" y="29"/>
                      <a:pt x="114" y="30"/>
                    </a:cubicBezTo>
                    <a:cubicBezTo>
                      <a:pt x="113" y="31"/>
                      <a:pt x="112" y="32"/>
                      <a:pt x="112" y="34"/>
                    </a:cubicBezTo>
                    <a:cubicBezTo>
                      <a:pt x="112" y="34"/>
                      <a:pt x="113" y="35"/>
                      <a:pt x="113" y="35"/>
                    </a:cubicBezTo>
                    <a:cubicBezTo>
                      <a:pt x="114" y="36"/>
                      <a:pt x="114" y="37"/>
                      <a:pt x="115" y="38"/>
                    </a:cubicBezTo>
                    <a:cubicBezTo>
                      <a:pt x="115" y="38"/>
                      <a:pt x="115" y="38"/>
                      <a:pt x="115" y="38"/>
                    </a:cubicBezTo>
                    <a:cubicBezTo>
                      <a:pt x="115" y="38"/>
                      <a:pt x="116" y="39"/>
                      <a:pt x="116" y="39"/>
                    </a:cubicBezTo>
                    <a:cubicBezTo>
                      <a:pt x="116" y="40"/>
                      <a:pt x="117" y="40"/>
                      <a:pt x="118" y="40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119" y="41"/>
                      <a:pt x="119" y="41"/>
                      <a:pt x="119" y="41"/>
                    </a:cubicBezTo>
                    <a:cubicBezTo>
                      <a:pt x="120" y="41"/>
                      <a:pt x="120" y="42"/>
                      <a:pt x="121" y="43"/>
                    </a:cubicBezTo>
                    <a:cubicBezTo>
                      <a:pt x="122" y="43"/>
                      <a:pt x="122" y="45"/>
                      <a:pt x="123" y="45"/>
                    </a:cubicBezTo>
                    <a:cubicBezTo>
                      <a:pt x="124" y="46"/>
                      <a:pt x="125" y="45"/>
                      <a:pt x="125" y="45"/>
                    </a:cubicBezTo>
                    <a:cubicBezTo>
                      <a:pt x="127" y="46"/>
                      <a:pt x="127" y="48"/>
                      <a:pt x="128" y="49"/>
                    </a:cubicBezTo>
                    <a:cubicBezTo>
                      <a:pt x="128" y="50"/>
                      <a:pt x="128" y="51"/>
                      <a:pt x="129" y="51"/>
                    </a:cubicBezTo>
                    <a:cubicBezTo>
                      <a:pt x="129" y="52"/>
                      <a:pt x="129" y="51"/>
                      <a:pt x="129" y="52"/>
                    </a:cubicBezTo>
                    <a:cubicBezTo>
                      <a:pt x="130" y="52"/>
                      <a:pt x="131" y="52"/>
                      <a:pt x="132" y="52"/>
                    </a:cubicBezTo>
                    <a:cubicBezTo>
                      <a:pt x="132" y="52"/>
                      <a:pt x="132" y="54"/>
                      <a:pt x="132" y="54"/>
                    </a:cubicBezTo>
                    <a:cubicBezTo>
                      <a:pt x="133" y="56"/>
                      <a:pt x="135" y="58"/>
                      <a:pt x="134" y="59"/>
                    </a:cubicBezTo>
                    <a:cubicBezTo>
                      <a:pt x="134" y="61"/>
                      <a:pt x="132" y="61"/>
                      <a:pt x="130" y="61"/>
                    </a:cubicBezTo>
                    <a:cubicBezTo>
                      <a:pt x="130" y="61"/>
                      <a:pt x="129" y="61"/>
                      <a:pt x="128" y="61"/>
                    </a:cubicBezTo>
                    <a:cubicBezTo>
                      <a:pt x="126" y="61"/>
                      <a:pt x="124" y="60"/>
                      <a:pt x="123" y="59"/>
                    </a:cubicBezTo>
                    <a:cubicBezTo>
                      <a:pt x="122" y="59"/>
                      <a:pt x="121" y="58"/>
                      <a:pt x="120" y="58"/>
                    </a:cubicBezTo>
                    <a:cubicBezTo>
                      <a:pt x="120" y="57"/>
                      <a:pt x="117" y="56"/>
                      <a:pt x="117" y="57"/>
                    </a:cubicBezTo>
                    <a:cubicBezTo>
                      <a:pt x="117" y="57"/>
                      <a:pt x="116" y="57"/>
                      <a:pt x="116" y="57"/>
                    </a:cubicBezTo>
                    <a:cubicBezTo>
                      <a:pt x="116" y="57"/>
                      <a:pt x="116" y="58"/>
                      <a:pt x="116" y="59"/>
                    </a:cubicBezTo>
                    <a:cubicBezTo>
                      <a:pt x="114" y="59"/>
                      <a:pt x="113" y="57"/>
                      <a:pt x="111" y="58"/>
                    </a:cubicBezTo>
                    <a:cubicBezTo>
                      <a:pt x="110" y="58"/>
                      <a:pt x="111" y="58"/>
                      <a:pt x="110" y="58"/>
                    </a:cubicBezTo>
                    <a:cubicBezTo>
                      <a:pt x="109" y="57"/>
                      <a:pt x="109" y="57"/>
                      <a:pt x="108" y="57"/>
                    </a:cubicBezTo>
                    <a:cubicBezTo>
                      <a:pt x="107" y="57"/>
                      <a:pt x="107" y="57"/>
                      <a:pt x="106" y="58"/>
                    </a:cubicBezTo>
                    <a:cubicBezTo>
                      <a:pt x="105" y="58"/>
                      <a:pt x="104" y="58"/>
                      <a:pt x="103" y="59"/>
                    </a:cubicBezTo>
                    <a:cubicBezTo>
                      <a:pt x="102" y="59"/>
                      <a:pt x="102" y="60"/>
                      <a:pt x="101" y="60"/>
                    </a:cubicBezTo>
                    <a:cubicBezTo>
                      <a:pt x="100" y="61"/>
                      <a:pt x="99" y="62"/>
                      <a:pt x="99" y="63"/>
                    </a:cubicBezTo>
                    <a:cubicBezTo>
                      <a:pt x="98" y="63"/>
                      <a:pt x="97" y="64"/>
                      <a:pt x="97" y="64"/>
                    </a:cubicBezTo>
                    <a:cubicBezTo>
                      <a:pt x="97" y="66"/>
                      <a:pt x="99" y="66"/>
                      <a:pt x="99" y="68"/>
                    </a:cubicBezTo>
                    <a:cubicBezTo>
                      <a:pt x="99" y="68"/>
                      <a:pt x="99" y="68"/>
                      <a:pt x="99" y="69"/>
                    </a:cubicBezTo>
                    <a:cubicBezTo>
                      <a:pt x="97" y="70"/>
                      <a:pt x="96" y="70"/>
                      <a:pt x="96" y="72"/>
                    </a:cubicBezTo>
                    <a:cubicBezTo>
                      <a:pt x="96" y="73"/>
                      <a:pt x="96" y="73"/>
                      <a:pt x="96" y="73"/>
                    </a:cubicBezTo>
                    <a:cubicBezTo>
                      <a:pt x="96" y="74"/>
                      <a:pt x="96" y="75"/>
                      <a:pt x="96" y="76"/>
                    </a:cubicBezTo>
                    <a:cubicBezTo>
                      <a:pt x="96" y="77"/>
                      <a:pt x="96" y="78"/>
                      <a:pt x="96" y="79"/>
                    </a:cubicBezTo>
                    <a:cubicBezTo>
                      <a:pt x="96" y="80"/>
                      <a:pt x="96" y="80"/>
                      <a:pt x="96" y="81"/>
                    </a:cubicBezTo>
                    <a:cubicBezTo>
                      <a:pt x="96" y="81"/>
                      <a:pt x="96" y="81"/>
                      <a:pt x="97" y="82"/>
                    </a:cubicBezTo>
                    <a:cubicBezTo>
                      <a:pt x="98" y="83"/>
                      <a:pt x="98" y="83"/>
                      <a:pt x="97" y="84"/>
                    </a:cubicBezTo>
                    <a:cubicBezTo>
                      <a:pt x="96" y="85"/>
                      <a:pt x="94" y="87"/>
                      <a:pt x="92" y="87"/>
                    </a:cubicBezTo>
                    <a:cubicBezTo>
                      <a:pt x="91" y="87"/>
                      <a:pt x="91" y="86"/>
                      <a:pt x="90" y="87"/>
                    </a:cubicBezTo>
                    <a:cubicBezTo>
                      <a:pt x="90" y="87"/>
                      <a:pt x="90" y="88"/>
                      <a:pt x="90" y="88"/>
                    </a:cubicBezTo>
                    <a:cubicBezTo>
                      <a:pt x="89" y="88"/>
                      <a:pt x="89" y="89"/>
                      <a:pt x="89" y="89"/>
                    </a:cubicBezTo>
                    <a:cubicBezTo>
                      <a:pt x="88" y="89"/>
                      <a:pt x="88" y="89"/>
                      <a:pt x="87" y="89"/>
                    </a:cubicBezTo>
                    <a:cubicBezTo>
                      <a:pt x="84" y="89"/>
                      <a:pt x="82" y="87"/>
                      <a:pt x="80" y="85"/>
                    </a:cubicBezTo>
                    <a:cubicBezTo>
                      <a:pt x="80" y="85"/>
                      <a:pt x="79" y="84"/>
                      <a:pt x="79" y="83"/>
                    </a:cubicBezTo>
                    <a:cubicBezTo>
                      <a:pt x="78" y="83"/>
                      <a:pt x="78" y="83"/>
                      <a:pt x="78" y="83"/>
                    </a:cubicBezTo>
                    <a:cubicBezTo>
                      <a:pt x="77" y="83"/>
                      <a:pt x="77" y="83"/>
                      <a:pt x="77" y="82"/>
                    </a:cubicBezTo>
                    <a:cubicBezTo>
                      <a:pt x="76" y="82"/>
                      <a:pt x="76" y="81"/>
                      <a:pt x="75" y="80"/>
                    </a:cubicBezTo>
                    <a:cubicBezTo>
                      <a:pt x="74" y="79"/>
                      <a:pt x="74" y="80"/>
                      <a:pt x="74" y="81"/>
                    </a:cubicBezTo>
                    <a:cubicBezTo>
                      <a:pt x="74" y="82"/>
                      <a:pt x="73" y="82"/>
                      <a:pt x="72" y="83"/>
                    </a:cubicBezTo>
                    <a:cubicBezTo>
                      <a:pt x="72" y="84"/>
                      <a:pt x="72" y="84"/>
                      <a:pt x="71" y="84"/>
                    </a:cubicBezTo>
                    <a:cubicBezTo>
                      <a:pt x="70" y="84"/>
                      <a:pt x="68" y="84"/>
                      <a:pt x="67" y="84"/>
                    </a:cubicBezTo>
                    <a:cubicBezTo>
                      <a:pt x="67" y="83"/>
                      <a:pt x="66" y="82"/>
                      <a:pt x="66" y="82"/>
                    </a:cubicBezTo>
                    <a:cubicBezTo>
                      <a:pt x="66" y="81"/>
                      <a:pt x="65" y="80"/>
                      <a:pt x="65" y="79"/>
                    </a:cubicBezTo>
                    <a:cubicBezTo>
                      <a:pt x="64" y="78"/>
                      <a:pt x="64" y="78"/>
                      <a:pt x="63" y="78"/>
                    </a:cubicBezTo>
                    <a:cubicBezTo>
                      <a:pt x="63" y="78"/>
                      <a:pt x="62" y="77"/>
                      <a:pt x="61" y="77"/>
                    </a:cubicBezTo>
                    <a:cubicBezTo>
                      <a:pt x="61" y="76"/>
                      <a:pt x="60" y="75"/>
                      <a:pt x="59" y="75"/>
                    </a:cubicBezTo>
                    <a:cubicBezTo>
                      <a:pt x="58" y="74"/>
                      <a:pt x="57" y="74"/>
                      <a:pt x="56" y="73"/>
                    </a:cubicBezTo>
                    <a:cubicBezTo>
                      <a:pt x="55" y="72"/>
                      <a:pt x="56" y="71"/>
                      <a:pt x="55" y="71"/>
                    </a:cubicBezTo>
                    <a:cubicBezTo>
                      <a:pt x="55" y="71"/>
                      <a:pt x="55" y="72"/>
                      <a:pt x="55" y="72"/>
                    </a:cubicBezTo>
                    <a:cubicBezTo>
                      <a:pt x="54" y="73"/>
                      <a:pt x="54" y="73"/>
                      <a:pt x="53" y="74"/>
                    </a:cubicBezTo>
                    <a:cubicBezTo>
                      <a:pt x="53" y="75"/>
                      <a:pt x="52" y="76"/>
                      <a:pt x="53" y="77"/>
                    </a:cubicBezTo>
                    <a:cubicBezTo>
                      <a:pt x="53" y="77"/>
                      <a:pt x="53" y="78"/>
                      <a:pt x="53" y="78"/>
                    </a:cubicBezTo>
                    <a:cubicBezTo>
                      <a:pt x="54" y="78"/>
                      <a:pt x="54" y="78"/>
                      <a:pt x="54" y="79"/>
                    </a:cubicBezTo>
                    <a:cubicBezTo>
                      <a:pt x="54" y="80"/>
                      <a:pt x="55" y="81"/>
                      <a:pt x="55" y="82"/>
                    </a:cubicBezTo>
                    <a:cubicBezTo>
                      <a:pt x="56" y="82"/>
                      <a:pt x="56" y="83"/>
                      <a:pt x="57" y="84"/>
                    </a:cubicBezTo>
                    <a:cubicBezTo>
                      <a:pt x="58" y="84"/>
                      <a:pt x="58" y="85"/>
                      <a:pt x="58" y="86"/>
                    </a:cubicBezTo>
                    <a:cubicBezTo>
                      <a:pt x="57" y="87"/>
                      <a:pt x="54" y="89"/>
                      <a:pt x="53" y="89"/>
                    </a:cubicBezTo>
                    <a:cubicBezTo>
                      <a:pt x="52" y="89"/>
                      <a:pt x="51" y="88"/>
                      <a:pt x="50" y="88"/>
                    </a:cubicBezTo>
                    <a:cubicBezTo>
                      <a:pt x="50" y="89"/>
                      <a:pt x="50" y="89"/>
                      <a:pt x="49" y="90"/>
                    </a:cubicBezTo>
                    <a:cubicBezTo>
                      <a:pt x="49" y="90"/>
                      <a:pt x="49" y="90"/>
                      <a:pt x="48" y="90"/>
                    </a:cubicBezTo>
                    <a:cubicBezTo>
                      <a:pt x="48" y="90"/>
                      <a:pt x="47" y="90"/>
                      <a:pt x="47" y="90"/>
                    </a:cubicBezTo>
                    <a:cubicBezTo>
                      <a:pt x="47" y="90"/>
                      <a:pt x="46" y="90"/>
                      <a:pt x="46" y="89"/>
                    </a:cubicBezTo>
                    <a:cubicBezTo>
                      <a:pt x="45" y="89"/>
                      <a:pt x="44" y="88"/>
                      <a:pt x="43" y="88"/>
                    </a:cubicBezTo>
                    <a:cubicBezTo>
                      <a:pt x="42" y="87"/>
                      <a:pt x="41" y="87"/>
                      <a:pt x="40" y="86"/>
                    </a:cubicBezTo>
                    <a:cubicBezTo>
                      <a:pt x="39" y="86"/>
                      <a:pt x="39" y="85"/>
                      <a:pt x="38" y="84"/>
                    </a:cubicBezTo>
                    <a:cubicBezTo>
                      <a:pt x="36" y="83"/>
                      <a:pt x="34" y="84"/>
                      <a:pt x="32" y="83"/>
                    </a:cubicBezTo>
                    <a:cubicBezTo>
                      <a:pt x="32" y="83"/>
                      <a:pt x="32" y="83"/>
                      <a:pt x="32" y="83"/>
                    </a:cubicBezTo>
                    <a:cubicBezTo>
                      <a:pt x="31" y="83"/>
                      <a:pt x="31" y="83"/>
                      <a:pt x="30" y="83"/>
                    </a:cubicBezTo>
                    <a:cubicBezTo>
                      <a:pt x="29" y="82"/>
                      <a:pt x="29" y="82"/>
                      <a:pt x="28" y="82"/>
                    </a:cubicBezTo>
                    <a:cubicBezTo>
                      <a:pt x="28" y="81"/>
                      <a:pt x="27" y="82"/>
                      <a:pt x="27" y="82"/>
                    </a:cubicBezTo>
                    <a:cubicBezTo>
                      <a:pt x="26" y="82"/>
                      <a:pt x="24" y="84"/>
                      <a:pt x="24" y="85"/>
                    </a:cubicBezTo>
                    <a:cubicBezTo>
                      <a:pt x="23" y="85"/>
                      <a:pt x="23" y="85"/>
                      <a:pt x="23" y="86"/>
                    </a:cubicBezTo>
                    <a:cubicBezTo>
                      <a:pt x="23" y="86"/>
                      <a:pt x="23" y="86"/>
                      <a:pt x="23" y="86"/>
                    </a:cubicBezTo>
                    <a:cubicBezTo>
                      <a:pt x="22" y="87"/>
                      <a:pt x="21" y="89"/>
                      <a:pt x="19" y="89"/>
                    </a:cubicBezTo>
                    <a:cubicBezTo>
                      <a:pt x="19" y="89"/>
                      <a:pt x="18" y="88"/>
                      <a:pt x="18" y="88"/>
                    </a:cubicBezTo>
                    <a:cubicBezTo>
                      <a:pt x="17" y="87"/>
                      <a:pt x="16" y="87"/>
                      <a:pt x="15" y="87"/>
                    </a:cubicBezTo>
                    <a:cubicBezTo>
                      <a:pt x="14" y="87"/>
                      <a:pt x="13" y="87"/>
                      <a:pt x="12" y="87"/>
                    </a:cubicBezTo>
                    <a:cubicBezTo>
                      <a:pt x="12" y="87"/>
                      <a:pt x="11" y="87"/>
                      <a:pt x="10" y="86"/>
                    </a:cubicBezTo>
                    <a:cubicBezTo>
                      <a:pt x="10" y="86"/>
                      <a:pt x="9" y="86"/>
                      <a:pt x="8" y="86"/>
                    </a:cubicBezTo>
                    <a:cubicBezTo>
                      <a:pt x="8" y="85"/>
                      <a:pt x="7" y="84"/>
                      <a:pt x="7" y="83"/>
                    </a:cubicBezTo>
                    <a:cubicBezTo>
                      <a:pt x="6" y="83"/>
                      <a:pt x="7" y="83"/>
                      <a:pt x="6" y="82"/>
                    </a:cubicBezTo>
                    <a:cubicBezTo>
                      <a:pt x="6" y="82"/>
                      <a:pt x="6" y="82"/>
                      <a:pt x="5" y="82"/>
                    </a:cubicBezTo>
                    <a:cubicBezTo>
                      <a:pt x="5" y="81"/>
                      <a:pt x="5" y="80"/>
                      <a:pt x="4" y="80"/>
                    </a:cubicBezTo>
                    <a:cubicBezTo>
                      <a:pt x="5" y="80"/>
                      <a:pt x="6" y="79"/>
                      <a:pt x="6" y="79"/>
                    </a:cubicBezTo>
                    <a:cubicBezTo>
                      <a:pt x="5" y="79"/>
                      <a:pt x="4" y="79"/>
                      <a:pt x="4" y="80"/>
                    </a:cubicBezTo>
                    <a:cubicBezTo>
                      <a:pt x="3" y="80"/>
                      <a:pt x="3" y="81"/>
                      <a:pt x="2" y="81"/>
                    </a:cubicBezTo>
                    <a:cubicBezTo>
                      <a:pt x="2" y="82"/>
                      <a:pt x="2" y="82"/>
                      <a:pt x="2" y="83"/>
                    </a:cubicBezTo>
                    <a:cubicBezTo>
                      <a:pt x="2" y="85"/>
                      <a:pt x="1" y="85"/>
                      <a:pt x="1" y="87"/>
                    </a:cubicBezTo>
                    <a:cubicBezTo>
                      <a:pt x="0" y="89"/>
                      <a:pt x="0" y="93"/>
                      <a:pt x="2" y="93"/>
                    </a:cubicBezTo>
                    <a:cubicBezTo>
                      <a:pt x="3" y="94"/>
                      <a:pt x="2" y="96"/>
                      <a:pt x="3" y="98"/>
                    </a:cubicBezTo>
                    <a:cubicBezTo>
                      <a:pt x="3" y="99"/>
                      <a:pt x="4" y="100"/>
                      <a:pt x="4" y="101"/>
                    </a:cubicBezTo>
                    <a:cubicBezTo>
                      <a:pt x="4" y="105"/>
                      <a:pt x="3" y="107"/>
                      <a:pt x="1" y="110"/>
                    </a:cubicBezTo>
                    <a:cubicBezTo>
                      <a:pt x="0" y="112"/>
                      <a:pt x="2" y="113"/>
                      <a:pt x="4" y="114"/>
                    </a:cubicBezTo>
                    <a:cubicBezTo>
                      <a:pt x="8" y="119"/>
                      <a:pt x="13" y="121"/>
                      <a:pt x="16" y="127"/>
                    </a:cubicBezTo>
                    <a:cubicBezTo>
                      <a:pt x="18" y="129"/>
                      <a:pt x="19" y="131"/>
                      <a:pt x="19" y="133"/>
                    </a:cubicBezTo>
                    <a:cubicBezTo>
                      <a:pt x="20" y="134"/>
                      <a:pt x="20" y="137"/>
                      <a:pt x="20" y="137"/>
                    </a:cubicBezTo>
                    <a:cubicBezTo>
                      <a:pt x="21" y="137"/>
                      <a:pt x="23" y="137"/>
                      <a:pt x="24" y="137"/>
                    </a:cubicBezTo>
                    <a:cubicBezTo>
                      <a:pt x="24" y="136"/>
                      <a:pt x="23" y="136"/>
                      <a:pt x="23" y="136"/>
                    </a:cubicBezTo>
                    <a:cubicBezTo>
                      <a:pt x="23" y="135"/>
                      <a:pt x="23" y="135"/>
                      <a:pt x="23" y="134"/>
                    </a:cubicBezTo>
                    <a:cubicBezTo>
                      <a:pt x="22" y="132"/>
                      <a:pt x="23" y="132"/>
                      <a:pt x="25" y="131"/>
                    </a:cubicBezTo>
                    <a:cubicBezTo>
                      <a:pt x="26" y="129"/>
                      <a:pt x="27" y="128"/>
                      <a:pt x="27" y="126"/>
                    </a:cubicBezTo>
                    <a:cubicBezTo>
                      <a:pt x="28" y="125"/>
                      <a:pt x="28" y="123"/>
                      <a:pt x="30" y="124"/>
                    </a:cubicBezTo>
                    <a:cubicBezTo>
                      <a:pt x="30" y="125"/>
                      <a:pt x="30" y="128"/>
                      <a:pt x="32" y="128"/>
                    </a:cubicBezTo>
                    <a:cubicBezTo>
                      <a:pt x="33" y="127"/>
                      <a:pt x="32" y="126"/>
                      <a:pt x="32" y="125"/>
                    </a:cubicBezTo>
                    <a:cubicBezTo>
                      <a:pt x="31" y="122"/>
                      <a:pt x="33" y="118"/>
                      <a:pt x="34" y="115"/>
                    </a:cubicBezTo>
                    <a:cubicBezTo>
                      <a:pt x="35" y="113"/>
                      <a:pt x="36" y="111"/>
                      <a:pt x="37" y="109"/>
                    </a:cubicBezTo>
                    <a:cubicBezTo>
                      <a:pt x="39" y="106"/>
                      <a:pt x="41" y="104"/>
                      <a:pt x="42" y="101"/>
                    </a:cubicBezTo>
                    <a:cubicBezTo>
                      <a:pt x="44" y="98"/>
                      <a:pt x="45" y="96"/>
                      <a:pt x="48" y="96"/>
                    </a:cubicBezTo>
                    <a:cubicBezTo>
                      <a:pt x="48" y="97"/>
                      <a:pt x="47" y="98"/>
                      <a:pt x="47" y="99"/>
                    </a:cubicBezTo>
                    <a:cubicBezTo>
                      <a:pt x="47" y="101"/>
                      <a:pt x="49" y="101"/>
                      <a:pt x="50" y="102"/>
                    </a:cubicBezTo>
                    <a:cubicBezTo>
                      <a:pt x="52" y="103"/>
                      <a:pt x="54" y="104"/>
                      <a:pt x="54" y="106"/>
                    </a:cubicBezTo>
                    <a:cubicBezTo>
                      <a:pt x="54" y="107"/>
                      <a:pt x="54" y="108"/>
                      <a:pt x="54" y="109"/>
                    </a:cubicBezTo>
                    <a:cubicBezTo>
                      <a:pt x="54" y="109"/>
                      <a:pt x="52" y="111"/>
                      <a:pt x="52" y="112"/>
                    </a:cubicBezTo>
                    <a:cubicBezTo>
                      <a:pt x="52" y="112"/>
                      <a:pt x="51" y="113"/>
                      <a:pt x="51" y="114"/>
                    </a:cubicBezTo>
                    <a:cubicBezTo>
                      <a:pt x="50" y="115"/>
                      <a:pt x="50" y="115"/>
                      <a:pt x="49" y="116"/>
                    </a:cubicBezTo>
                    <a:cubicBezTo>
                      <a:pt x="48" y="119"/>
                      <a:pt x="50" y="119"/>
                      <a:pt x="53" y="121"/>
                    </a:cubicBezTo>
                    <a:cubicBezTo>
                      <a:pt x="55" y="122"/>
                      <a:pt x="57" y="123"/>
                      <a:pt x="59" y="123"/>
                    </a:cubicBezTo>
                    <a:cubicBezTo>
                      <a:pt x="61" y="124"/>
                      <a:pt x="63" y="125"/>
                      <a:pt x="64" y="125"/>
                    </a:cubicBezTo>
                    <a:cubicBezTo>
                      <a:pt x="65" y="124"/>
                      <a:pt x="65" y="123"/>
                      <a:pt x="67" y="122"/>
                    </a:cubicBezTo>
                    <a:cubicBezTo>
                      <a:pt x="68" y="122"/>
                      <a:pt x="70" y="122"/>
                      <a:pt x="71" y="123"/>
                    </a:cubicBezTo>
                    <a:cubicBezTo>
                      <a:pt x="72" y="123"/>
                      <a:pt x="72" y="123"/>
                      <a:pt x="72" y="124"/>
                    </a:cubicBezTo>
                    <a:cubicBezTo>
                      <a:pt x="72" y="124"/>
                      <a:pt x="72" y="124"/>
                      <a:pt x="73" y="124"/>
                    </a:cubicBezTo>
                    <a:cubicBezTo>
                      <a:pt x="73" y="125"/>
                      <a:pt x="73" y="124"/>
                      <a:pt x="73" y="125"/>
                    </a:cubicBezTo>
                    <a:cubicBezTo>
                      <a:pt x="74" y="128"/>
                      <a:pt x="70" y="129"/>
                      <a:pt x="70" y="130"/>
                    </a:cubicBezTo>
                    <a:cubicBezTo>
                      <a:pt x="70" y="131"/>
                      <a:pt x="71" y="132"/>
                      <a:pt x="71" y="133"/>
                    </a:cubicBezTo>
                    <a:cubicBezTo>
                      <a:pt x="71" y="134"/>
                      <a:pt x="71" y="136"/>
                      <a:pt x="71" y="137"/>
                    </a:cubicBezTo>
                    <a:cubicBezTo>
                      <a:pt x="71" y="138"/>
                      <a:pt x="70" y="139"/>
                      <a:pt x="70" y="140"/>
                    </a:cubicBezTo>
                    <a:cubicBezTo>
                      <a:pt x="70" y="141"/>
                      <a:pt x="71" y="143"/>
                      <a:pt x="72" y="144"/>
                    </a:cubicBezTo>
                    <a:cubicBezTo>
                      <a:pt x="72" y="146"/>
                      <a:pt x="73" y="148"/>
                      <a:pt x="74" y="150"/>
                    </a:cubicBezTo>
                    <a:cubicBezTo>
                      <a:pt x="74" y="150"/>
                      <a:pt x="75" y="150"/>
                      <a:pt x="75" y="151"/>
                    </a:cubicBezTo>
                    <a:cubicBezTo>
                      <a:pt x="75" y="151"/>
                      <a:pt x="75" y="152"/>
                      <a:pt x="76" y="153"/>
                    </a:cubicBezTo>
                    <a:cubicBezTo>
                      <a:pt x="77" y="157"/>
                      <a:pt x="80" y="160"/>
                      <a:pt x="82" y="163"/>
                    </a:cubicBezTo>
                    <a:cubicBezTo>
                      <a:pt x="83" y="165"/>
                      <a:pt x="84" y="166"/>
                      <a:pt x="85" y="167"/>
                    </a:cubicBezTo>
                    <a:cubicBezTo>
                      <a:pt x="86" y="168"/>
                      <a:pt x="89" y="169"/>
                      <a:pt x="90" y="172"/>
                    </a:cubicBezTo>
                    <a:cubicBezTo>
                      <a:pt x="90" y="173"/>
                      <a:pt x="89" y="174"/>
                      <a:pt x="90" y="175"/>
                    </a:cubicBezTo>
                    <a:cubicBezTo>
                      <a:pt x="90" y="176"/>
                      <a:pt x="94" y="177"/>
                      <a:pt x="93" y="179"/>
                    </a:cubicBezTo>
                    <a:cubicBezTo>
                      <a:pt x="93" y="180"/>
                      <a:pt x="92" y="180"/>
                      <a:pt x="92" y="181"/>
                    </a:cubicBezTo>
                    <a:cubicBezTo>
                      <a:pt x="91" y="181"/>
                      <a:pt x="92" y="182"/>
                      <a:pt x="91" y="182"/>
                    </a:cubicBezTo>
                    <a:cubicBezTo>
                      <a:pt x="90" y="184"/>
                      <a:pt x="87" y="183"/>
                      <a:pt x="85" y="184"/>
                    </a:cubicBezTo>
                    <a:cubicBezTo>
                      <a:pt x="82" y="186"/>
                      <a:pt x="85" y="189"/>
                      <a:pt x="86" y="190"/>
                    </a:cubicBezTo>
                    <a:cubicBezTo>
                      <a:pt x="88" y="193"/>
                      <a:pt x="90" y="197"/>
                      <a:pt x="92" y="200"/>
                    </a:cubicBezTo>
                    <a:cubicBezTo>
                      <a:pt x="93" y="201"/>
                      <a:pt x="94" y="202"/>
                      <a:pt x="95" y="203"/>
                    </a:cubicBezTo>
                    <a:cubicBezTo>
                      <a:pt x="96" y="203"/>
                      <a:pt x="96" y="204"/>
                      <a:pt x="97" y="205"/>
                    </a:cubicBezTo>
                    <a:cubicBezTo>
                      <a:pt x="98" y="206"/>
                      <a:pt x="98" y="207"/>
                      <a:pt x="99" y="208"/>
                    </a:cubicBezTo>
                    <a:cubicBezTo>
                      <a:pt x="99" y="209"/>
                      <a:pt x="99" y="211"/>
                      <a:pt x="100" y="212"/>
                    </a:cubicBezTo>
                    <a:cubicBezTo>
                      <a:pt x="101" y="212"/>
                      <a:pt x="103" y="212"/>
                      <a:pt x="103" y="212"/>
                    </a:cubicBezTo>
                    <a:cubicBezTo>
                      <a:pt x="104" y="213"/>
                      <a:pt x="103" y="214"/>
                      <a:pt x="104" y="215"/>
                    </a:cubicBezTo>
                    <a:cubicBezTo>
                      <a:pt x="104" y="215"/>
                      <a:pt x="105" y="216"/>
                      <a:pt x="106" y="217"/>
                    </a:cubicBezTo>
                    <a:cubicBezTo>
                      <a:pt x="107" y="219"/>
                      <a:pt x="111" y="220"/>
                      <a:pt x="111" y="222"/>
                    </a:cubicBezTo>
                    <a:cubicBezTo>
                      <a:pt x="112" y="223"/>
                      <a:pt x="111" y="224"/>
                      <a:pt x="112" y="225"/>
                    </a:cubicBezTo>
                    <a:cubicBezTo>
                      <a:pt x="113" y="226"/>
                      <a:pt x="114" y="226"/>
                      <a:pt x="115" y="227"/>
                    </a:cubicBezTo>
                    <a:cubicBezTo>
                      <a:pt x="116" y="228"/>
                      <a:pt x="116" y="228"/>
                      <a:pt x="117" y="228"/>
                    </a:cubicBezTo>
                    <a:cubicBezTo>
                      <a:pt x="117" y="229"/>
                      <a:pt x="118" y="229"/>
                      <a:pt x="118" y="230"/>
                    </a:cubicBezTo>
                    <a:cubicBezTo>
                      <a:pt x="119" y="232"/>
                      <a:pt x="119" y="233"/>
                      <a:pt x="119" y="235"/>
                    </a:cubicBezTo>
                    <a:cubicBezTo>
                      <a:pt x="119" y="236"/>
                      <a:pt x="119" y="237"/>
                      <a:pt x="120" y="238"/>
                    </a:cubicBezTo>
                    <a:cubicBezTo>
                      <a:pt x="120" y="240"/>
                      <a:pt x="122" y="240"/>
                      <a:pt x="123" y="240"/>
                    </a:cubicBezTo>
                    <a:cubicBezTo>
                      <a:pt x="125" y="240"/>
                      <a:pt x="126" y="240"/>
                      <a:pt x="127" y="241"/>
                    </a:cubicBezTo>
                    <a:cubicBezTo>
                      <a:pt x="128" y="241"/>
                      <a:pt x="128" y="242"/>
                      <a:pt x="128" y="242"/>
                    </a:cubicBezTo>
                    <a:cubicBezTo>
                      <a:pt x="129" y="242"/>
                      <a:pt x="131" y="242"/>
                      <a:pt x="133" y="242"/>
                    </a:cubicBezTo>
                    <a:cubicBezTo>
                      <a:pt x="133" y="242"/>
                      <a:pt x="134" y="242"/>
                      <a:pt x="134" y="242"/>
                    </a:cubicBezTo>
                    <a:cubicBezTo>
                      <a:pt x="135" y="242"/>
                      <a:pt x="135" y="241"/>
                      <a:pt x="136" y="241"/>
                    </a:cubicBezTo>
                    <a:cubicBezTo>
                      <a:pt x="137" y="241"/>
                      <a:pt x="138" y="241"/>
                      <a:pt x="139" y="241"/>
                    </a:cubicBezTo>
                    <a:cubicBezTo>
                      <a:pt x="142" y="241"/>
                      <a:pt x="144" y="239"/>
                      <a:pt x="146" y="240"/>
                    </a:cubicBezTo>
                    <a:cubicBezTo>
                      <a:pt x="148" y="241"/>
                      <a:pt x="149" y="241"/>
                      <a:pt x="150" y="242"/>
                    </a:cubicBezTo>
                    <a:cubicBezTo>
                      <a:pt x="152" y="243"/>
                      <a:pt x="153" y="243"/>
                      <a:pt x="155" y="244"/>
                    </a:cubicBezTo>
                    <a:cubicBezTo>
                      <a:pt x="156" y="245"/>
                      <a:pt x="156" y="245"/>
                      <a:pt x="157" y="246"/>
                    </a:cubicBezTo>
                    <a:cubicBezTo>
                      <a:pt x="159" y="248"/>
                      <a:pt x="160" y="249"/>
                      <a:pt x="163" y="251"/>
                    </a:cubicBezTo>
                    <a:cubicBezTo>
                      <a:pt x="166" y="253"/>
                      <a:pt x="169" y="253"/>
                      <a:pt x="171" y="254"/>
                    </a:cubicBezTo>
                    <a:cubicBezTo>
                      <a:pt x="173" y="255"/>
                      <a:pt x="174" y="257"/>
                      <a:pt x="176" y="259"/>
                    </a:cubicBezTo>
                    <a:cubicBezTo>
                      <a:pt x="178" y="263"/>
                      <a:pt x="182" y="265"/>
                      <a:pt x="185" y="269"/>
                    </a:cubicBezTo>
                    <a:cubicBezTo>
                      <a:pt x="187" y="271"/>
                      <a:pt x="188" y="273"/>
                      <a:pt x="190" y="275"/>
                    </a:cubicBezTo>
                    <a:cubicBezTo>
                      <a:pt x="194" y="278"/>
                      <a:pt x="198" y="282"/>
                      <a:pt x="200" y="287"/>
                    </a:cubicBezTo>
                    <a:cubicBezTo>
                      <a:pt x="201" y="288"/>
                      <a:pt x="202" y="291"/>
                      <a:pt x="204" y="291"/>
                    </a:cubicBezTo>
                    <a:cubicBezTo>
                      <a:pt x="205" y="291"/>
                      <a:pt x="209" y="291"/>
                      <a:pt x="210" y="290"/>
                    </a:cubicBezTo>
                    <a:cubicBezTo>
                      <a:pt x="209" y="290"/>
                      <a:pt x="209" y="289"/>
                      <a:pt x="209" y="289"/>
                    </a:cubicBezTo>
                    <a:cubicBezTo>
                      <a:pt x="209" y="289"/>
                      <a:pt x="208" y="288"/>
                      <a:pt x="208" y="288"/>
                    </a:cubicBezTo>
                    <a:cubicBezTo>
                      <a:pt x="207" y="287"/>
                      <a:pt x="208" y="286"/>
                      <a:pt x="207" y="285"/>
                    </a:cubicBezTo>
                    <a:cubicBezTo>
                      <a:pt x="207" y="283"/>
                      <a:pt x="204" y="281"/>
                      <a:pt x="202" y="278"/>
                    </a:cubicBezTo>
                    <a:cubicBezTo>
                      <a:pt x="202" y="277"/>
                      <a:pt x="202" y="276"/>
                      <a:pt x="201" y="276"/>
                    </a:cubicBezTo>
                    <a:cubicBezTo>
                      <a:pt x="200" y="275"/>
                      <a:pt x="196" y="275"/>
                      <a:pt x="195" y="274"/>
                    </a:cubicBezTo>
                    <a:cubicBezTo>
                      <a:pt x="195" y="273"/>
                      <a:pt x="196" y="272"/>
                      <a:pt x="197" y="271"/>
                    </a:cubicBezTo>
                    <a:cubicBezTo>
                      <a:pt x="197" y="270"/>
                      <a:pt x="197" y="269"/>
                      <a:pt x="197" y="268"/>
                    </a:cubicBezTo>
                    <a:cubicBezTo>
                      <a:pt x="197" y="267"/>
                      <a:pt x="197" y="266"/>
                      <a:pt x="197" y="265"/>
                    </a:cubicBezTo>
                    <a:cubicBezTo>
                      <a:pt x="197" y="265"/>
                      <a:pt x="196" y="265"/>
                      <a:pt x="195" y="264"/>
                    </a:cubicBezTo>
                    <a:cubicBezTo>
                      <a:pt x="195" y="264"/>
                      <a:pt x="195" y="264"/>
                      <a:pt x="195" y="263"/>
                    </a:cubicBezTo>
                    <a:cubicBezTo>
                      <a:pt x="195" y="263"/>
                      <a:pt x="195" y="262"/>
                      <a:pt x="194" y="261"/>
                    </a:cubicBezTo>
                    <a:cubicBezTo>
                      <a:pt x="194" y="261"/>
                      <a:pt x="193" y="260"/>
                      <a:pt x="193" y="260"/>
                    </a:cubicBezTo>
                    <a:cubicBezTo>
                      <a:pt x="193" y="259"/>
                      <a:pt x="193" y="258"/>
                      <a:pt x="193" y="258"/>
                    </a:cubicBezTo>
                    <a:cubicBezTo>
                      <a:pt x="192" y="256"/>
                      <a:pt x="192" y="255"/>
                      <a:pt x="192" y="253"/>
                    </a:cubicBezTo>
                    <a:cubicBezTo>
                      <a:pt x="192" y="252"/>
                      <a:pt x="192" y="251"/>
                      <a:pt x="192" y="250"/>
                    </a:cubicBezTo>
                    <a:cubicBezTo>
                      <a:pt x="192" y="249"/>
                      <a:pt x="192" y="248"/>
                      <a:pt x="191" y="247"/>
                    </a:cubicBezTo>
                    <a:cubicBezTo>
                      <a:pt x="191" y="246"/>
                      <a:pt x="189" y="246"/>
                      <a:pt x="188" y="245"/>
                    </a:cubicBezTo>
                    <a:cubicBezTo>
                      <a:pt x="185" y="242"/>
                      <a:pt x="182" y="239"/>
                      <a:pt x="179" y="237"/>
                    </a:cubicBezTo>
                    <a:cubicBezTo>
                      <a:pt x="179" y="236"/>
                      <a:pt x="178" y="235"/>
                      <a:pt x="178" y="234"/>
                    </a:cubicBezTo>
                    <a:cubicBezTo>
                      <a:pt x="177" y="233"/>
                      <a:pt x="176" y="232"/>
                      <a:pt x="174" y="231"/>
                    </a:cubicBezTo>
                    <a:cubicBezTo>
                      <a:pt x="172" y="229"/>
                      <a:pt x="171" y="226"/>
                      <a:pt x="169" y="224"/>
                    </a:cubicBezTo>
                    <a:cubicBezTo>
                      <a:pt x="169" y="223"/>
                      <a:pt x="168" y="222"/>
                      <a:pt x="167" y="221"/>
                    </a:cubicBezTo>
                    <a:cubicBezTo>
                      <a:pt x="166" y="220"/>
                      <a:pt x="165" y="219"/>
                      <a:pt x="165" y="219"/>
                    </a:cubicBezTo>
                    <a:cubicBezTo>
                      <a:pt x="164" y="218"/>
                      <a:pt x="163" y="215"/>
                      <a:pt x="163" y="214"/>
                    </a:cubicBezTo>
                    <a:cubicBezTo>
                      <a:pt x="161" y="210"/>
                      <a:pt x="159" y="207"/>
                      <a:pt x="155" y="206"/>
                    </a:cubicBezTo>
                    <a:cubicBezTo>
                      <a:pt x="151" y="205"/>
                      <a:pt x="147" y="202"/>
                      <a:pt x="144" y="199"/>
                    </a:cubicBezTo>
                    <a:cubicBezTo>
                      <a:pt x="143" y="198"/>
                      <a:pt x="142" y="197"/>
                      <a:pt x="142" y="196"/>
                    </a:cubicBezTo>
                    <a:cubicBezTo>
                      <a:pt x="142" y="195"/>
                      <a:pt x="142" y="194"/>
                      <a:pt x="142" y="193"/>
                    </a:cubicBezTo>
                    <a:cubicBezTo>
                      <a:pt x="141" y="191"/>
                      <a:pt x="141" y="189"/>
                      <a:pt x="140" y="188"/>
                    </a:cubicBezTo>
                    <a:cubicBezTo>
                      <a:pt x="139" y="186"/>
                      <a:pt x="137" y="184"/>
                      <a:pt x="137" y="182"/>
                    </a:cubicBezTo>
                    <a:cubicBezTo>
                      <a:pt x="137" y="181"/>
                      <a:pt x="137" y="180"/>
                      <a:pt x="137" y="179"/>
                    </a:cubicBezTo>
                    <a:cubicBezTo>
                      <a:pt x="136" y="178"/>
                      <a:pt x="135" y="178"/>
                      <a:pt x="135" y="177"/>
                    </a:cubicBezTo>
                    <a:cubicBezTo>
                      <a:pt x="135" y="177"/>
                      <a:pt x="135" y="176"/>
                      <a:pt x="135" y="175"/>
                    </a:cubicBezTo>
                    <a:cubicBezTo>
                      <a:pt x="135" y="172"/>
                      <a:pt x="135" y="169"/>
                      <a:pt x="135" y="165"/>
                    </a:cubicBezTo>
                    <a:cubicBezTo>
                      <a:pt x="135" y="165"/>
                      <a:pt x="135" y="164"/>
                      <a:pt x="135" y="163"/>
                    </a:cubicBezTo>
                    <a:cubicBezTo>
                      <a:pt x="135" y="163"/>
                      <a:pt x="134" y="162"/>
                      <a:pt x="134" y="162"/>
                    </a:cubicBezTo>
                    <a:cubicBezTo>
                      <a:pt x="134" y="161"/>
                      <a:pt x="134" y="160"/>
                      <a:pt x="134" y="160"/>
                    </a:cubicBezTo>
                    <a:cubicBezTo>
                      <a:pt x="134" y="157"/>
                      <a:pt x="134" y="155"/>
                      <a:pt x="133" y="153"/>
                    </a:cubicBezTo>
                    <a:cubicBezTo>
                      <a:pt x="132" y="152"/>
                      <a:pt x="132" y="151"/>
                      <a:pt x="131" y="151"/>
                    </a:cubicBezTo>
                    <a:cubicBezTo>
                      <a:pt x="131" y="151"/>
                      <a:pt x="130" y="151"/>
                      <a:pt x="130" y="151"/>
                    </a:cubicBezTo>
                    <a:cubicBezTo>
                      <a:pt x="127" y="151"/>
                      <a:pt x="125" y="147"/>
                      <a:pt x="123" y="145"/>
                    </a:cubicBezTo>
                    <a:cubicBezTo>
                      <a:pt x="123" y="145"/>
                      <a:pt x="122" y="144"/>
                      <a:pt x="122" y="144"/>
                    </a:cubicBezTo>
                    <a:cubicBezTo>
                      <a:pt x="122" y="143"/>
                      <a:pt x="121" y="143"/>
                      <a:pt x="121" y="142"/>
                    </a:cubicBezTo>
                    <a:cubicBezTo>
                      <a:pt x="120" y="141"/>
                      <a:pt x="119" y="140"/>
                      <a:pt x="119" y="139"/>
                    </a:cubicBezTo>
                    <a:cubicBezTo>
                      <a:pt x="118" y="137"/>
                      <a:pt x="118" y="136"/>
                      <a:pt x="118" y="134"/>
                    </a:cubicBezTo>
                    <a:cubicBezTo>
                      <a:pt x="118" y="133"/>
                      <a:pt x="117" y="133"/>
                      <a:pt x="117" y="132"/>
                    </a:cubicBezTo>
                    <a:cubicBezTo>
                      <a:pt x="116" y="129"/>
                      <a:pt x="117" y="126"/>
                      <a:pt x="118" y="124"/>
                    </a:cubicBezTo>
                    <a:cubicBezTo>
                      <a:pt x="119" y="120"/>
                      <a:pt x="118" y="116"/>
                      <a:pt x="118" y="112"/>
                    </a:cubicBezTo>
                    <a:cubicBezTo>
                      <a:pt x="118" y="109"/>
                      <a:pt x="121" y="106"/>
                      <a:pt x="125" y="105"/>
                    </a:cubicBezTo>
                    <a:cubicBezTo>
                      <a:pt x="126" y="105"/>
                      <a:pt x="128" y="106"/>
                      <a:pt x="129" y="106"/>
                    </a:cubicBezTo>
                    <a:cubicBezTo>
                      <a:pt x="131" y="106"/>
                      <a:pt x="132" y="106"/>
                      <a:pt x="133" y="107"/>
                    </a:cubicBezTo>
                    <a:cubicBezTo>
                      <a:pt x="134" y="108"/>
                      <a:pt x="134" y="109"/>
                      <a:pt x="135" y="110"/>
                    </a:cubicBezTo>
                    <a:cubicBezTo>
                      <a:pt x="136" y="112"/>
                      <a:pt x="136" y="113"/>
                      <a:pt x="137" y="114"/>
                    </a:cubicBezTo>
                    <a:cubicBezTo>
                      <a:pt x="138" y="116"/>
                      <a:pt x="140" y="117"/>
                      <a:pt x="141" y="119"/>
                    </a:cubicBezTo>
                    <a:cubicBezTo>
                      <a:pt x="142" y="122"/>
                      <a:pt x="143" y="124"/>
                      <a:pt x="146" y="124"/>
                    </a:cubicBezTo>
                    <a:cubicBezTo>
                      <a:pt x="147" y="123"/>
                      <a:pt x="148" y="122"/>
                      <a:pt x="149" y="121"/>
                    </a:cubicBezTo>
                    <a:cubicBezTo>
                      <a:pt x="150" y="120"/>
                      <a:pt x="150" y="119"/>
                      <a:pt x="150" y="118"/>
                    </a:cubicBezTo>
                    <a:cubicBezTo>
                      <a:pt x="151" y="116"/>
                      <a:pt x="152" y="115"/>
                      <a:pt x="152" y="114"/>
                    </a:cubicBezTo>
                    <a:cubicBezTo>
                      <a:pt x="153" y="112"/>
                      <a:pt x="154" y="111"/>
                      <a:pt x="154" y="110"/>
                    </a:cubicBezTo>
                    <a:cubicBezTo>
                      <a:pt x="155" y="109"/>
                      <a:pt x="156" y="108"/>
                      <a:pt x="158" y="107"/>
                    </a:cubicBezTo>
                    <a:cubicBezTo>
                      <a:pt x="160" y="107"/>
                      <a:pt x="162" y="107"/>
                      <a:pt x="164" y="107"/>
                    </a:cubicBezTo>
                    <a:cubicBezTo>
                      <a:pt x="167" y="107"/>
                      <a:pt x="171" y="109"/>
                      <a:pt x="174" y="109"/>
                    </a:cubicBezTo>
                    <a:cubicBezTo>
                      <a:pt x="174" y="108"/>
                      <a:pt x="174" y="106"/>
                      <a:pt x="174" y="105"/>
                    </a:cubicBezTo>
                    <a:cubicBezTo>
                      <a:pt x="175" y="103"/>
                      <a:pt x="178" y="105"/>
                      <a:pt x="179" y="106"/>
                    </a:cubicBezTo>
                    <a:cubicBezTo>
                      <a:pt x="180" y="107"/>
                      <a:pt x="180" y="107"/>
                      <a:pt x="182" y="107"/>
                    </a:cubicBezTo>
                    <a:cubicBezTo>
                      <a:pt x="183" y="107"/>
                      <a:pt x="185" y="107"/>
                      <a:pt x="186" y="107"/>
                    </a:cubicBezTo>
                    <a:cubicBezTo>
                      <a:pt x="186" y="108"/>
                      <a:pt x="186" y="108"/>
                      <a:pt x="186" y="109"/>
                    </a:cubicBezTo>
                    <a:cubicBezTo>
                      <a:pt x="187" y="110"/>
                      <a:pt x="188" y="110"/>
                      <a:pt x="189" y="112"/>
                    </a:cubicBezTo>
                    <a:cubicBezTo>
                      <a:pt x="191" y="113"/>
                      <a:pt x="190" y="114"/>
                      <a:pt x="192" y="114"/>
                    </a:cubicBezTo>
                    <a:cubicBezTo>
                      <a:pt x="196" y="115"/>
                      <a:pt x="195" y="111"/>
                      <a:pt x="197" y="109"/>
                    </a:cubicBezTo>
                    <a:cubicBezTo>
                      <a:pt x="199" y="109"/>
                      <a:pt x="198" y="111"/>
                      <a:pt x="199" y="112"/>
                    </a:cubicBezTo>
                    <a:cubicBezTo>
                      <a:pt x="200" y="113"/>
                      <a:pt x="200" y="113"/>
                      <a:pt x="201" y="113"/>
                    </a:cubicBezTo>
                    <a:cubicBezTo>
                      <a:pt x="203" y="113"/>
                      <a:pt x="204" y="113"/>
                      <a:pt x="205" y="115"/>
                    </a:cubicBezTo>
                    <a:cubicBezTo>
                      <a:pt x="205" y="115"/>
                      <a:pt x="205" y="116"/>
                      <a:pt x="205" y="117"/>
                    </a:cubicBezTo>
                    <a:cubicBezTo>
                      <a:pt x="210" y="117"/>
                      <a:pt x="215" y="115"/>
                      <a:pt x="221" y="116"/>
                    </a:cubicBezTo>
                    <a:cubicBezTo>
                      <a:pt x="223" y="116"/>
                      <a:pt x="224" y="118"/>
                      <a:pt x="225" y="120"/>
                    </a:cubicBezTo>
                    <a:cubicBezTo>
                      <a:pt x="227" y="120"/>
                      <a:pt x="228" y="119"/>
                      <a:pt x="229" y="119"/>
                    </a:cubicBezTo>
                    <a:cubicBezTo>
                      <a:pt x="231" y="119"/>
                      <a:pt x="232" y="119"/>
                      <a:pt x="233" y="118"/>
                    </a:cubicBezTo>
                    <a:cubicBezTo>
                      <a:pt x="233" y="118"/>
                      <a:pt x="233" y="117"/>
                      <a:pt x="233" y="116"/>
                    </a:cubicBezTo>
                    <a:cubicBezTo>
                      <a:pt x="233" y="116"/>
                      <a:pt x="234" y="116"/>
                      <a:pt x="234" y="115"/>
                    </a:cubicBezTo>
                    <a:cubicBezTo>
                      <a:pt x="235" y="114"/>
                      <a:pt x="236" y="113"/>
                      <a:pt x="237" y="114"/>
                    </a:cubicBezTo>
                    <a:cubicBezTo>
                      <a:pt x="239" y="114"/>
                      <a:pt x="239" y="116"/>
                      <a:pt x="240" y="117"/>
                    </a:cubicBezTo>
                    <a:cubicBezTo>
                      <a:pt x="241" y="119"/>
                      <a:pt x="244" y="120"/>
                      <a:pt x="246" y="120"/>
                    </a:cubicBezTo>
                    <a:cubicBezTo>
                      <a:pt x="246" y="118"/>
                      <a:pt x="245" y="116"/>
                      <a:pt x="246" y="115"/>
                    </a:cubicBezTo>
                    <a:cubicBezTo>
                      <a:pt x="249" y="114"/>
                      <a:pt x="252" y="116"/>
                      <a:pt x="255" y="117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78" name="Freeform 27">
                <a:extLst>
                  <a:ext uri="{FF2B5EF4-FFF2-40B4-BE49-F238E27FC236}">
                    <a16:creationId xmlns:a16="http://schemas.microsoft.com/office/drawing/2014/main" id="{ADB2F80B-DFD5-4992-9A7B-3A147032F6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3325" y="5265738"/>
                <a:ext cx="381000" cy="420688"/>
              </a:xfrm>
              <a:custGeom>
                <a:avLst/>
                <a:gdLst/>
                <a:ahLst/>
                <a:cxnLst>
                  <a:cxn ang="0">
                    <a:pos x="193" y="94"/>
                  </a:cxn>
                  <a:cxn ang="0">
                    <a:pos x="188" y="87"/>
                  </a:cxn>
                  <a:cxn ang="0">
                    <a:pos x="192" y="80"/>
                  </a:cxn>
                  <a:cxn ang="0">
                    <a:pos x="181" y="74"/>
                  </a:cxn>
                  <a:cxn ang="0">
                    <a:pos x="179" y="68"/>
                  </a:cxn>
                  <a:cxn ang="0">
                    <a:pos x="191" y="41"/>
                  </a:cxn>
                  <a:cxn ang="0">
                    <a:pos x="164" y="35"/>
                  </a:cxn>
                  <a:cxn ang="0">
                    <a:pos x="158" y="22"/>
                  </a:cxn>
                  <a:cxn ang="0">
                    <a:pos x="145" y="17"/>
                  </a:cxn>
                  <a:cxn ang="0">
                    <a:pos x="130" y="17"/>
                  </a:cxn>
                  <a:cxn ang="0">
                    <a:pos x="117" y="13"/>
                  </a:cxn>
                  <a:cxn ang="0">
                    <a:pos x="105" y="13"/>
                  </a:cxn>
                  <a:cxn ang="0">
                    <a:pos x="83" y="9"/>
                  </a:cxn>
                  <a:cxn ang="0">
                    <a:pos x="70" y="6"/>
                  </a:cxn>
                  <a:cxn ang="0">
                    <a:pos x="58" y="2"/>
                  </a:cxn>
                  <a:cxn ang="0">
                    <a:pos x="38" y="7"/>
                  </a:cxn>
                  <a:cxn ang="0">
                    <a:pos x="30" y="21"/>
                  </a:cxn>
                  <a:cxn ang="0">
                    <a:pos x="17" y="4"/>
                  </a:cxn>
                  <a:cxn ang="0">
                    <a:pos x="2" y="21"/>
                  </a:cxn>
                  <a:cxn ang="0">
                    <a:pos x="5" y="39"/>
                  </a:cxn>
                  <a:cxn ang="0">
                    <a:pos x="15" y="48"/>
                  </a:cxn>
                  <a:cxn ang="0">
                    <a:pos x="19" y="60"/>
                  </a:cxn>
                  <a:cxn ang="0">
                    <a:pos x="21" y="76"/>
                  </a:cxn>
                  <a:cxn ang="0">
                    <a:pos x="26" y="93"/>
                  </a:cxn>
                  <a:cxn ang="0">
                    <a:pos x="49" y="116"/>
                  </a:cxn>
                  <a:cxn ang="0">
                    <a:pos x="62" y="131"/>
                  </a:cxn>
                  <a:cxn ang="0">
                    <a:pos x="76" y="147"/>
                  </a:cxn>
                  <a:cxn ang="0">
                    <a:pos x="78" y="158"/>
                  </a:cxn>
                  <a:cxn ang="0">
                    <a:pos x="81" y="165"/>
                  </a:cxn>
                  <a:cxn ang="0">
                    <a:pos x="86" y="175"/>
                  </a:cxn>
                  <a:cxn ang="0">
                    <a:pos x="94" y="187"/>
                  </a:cxn>
                  <a:cxn ang="0">
                    <a:pos x="98" y="191"/>
                  </a:cxn>
                  <a:cxn ang="0">
                    <a:pos x="104" y="192"/>
                  </a:cxn>
                  <a:cxn ang="0">
                    <a:pos x="112" y="203"/>
                  </a:cxn>
                  <a:cxn ang="0">
                    <a:pos x="131" y="214"/>
                  </a:cxn>
                  <a:cxn ang="0">
                    <a:pos x="140" y="223"/>
                  </a:cxn>
                  <a:cxn ang="0">
                    <a:pos x="143" y="209"/>
                  </a:cxn>
                  <a:cxn ang="0">
                    <a:pos x="140" y="200"/>
                  </a:cxn>
                  <a:cxn ang="0">
                    <a:pos x="143" y="189"/>
                  </a:cxn>
                  <a:cxn ang="0">
                    <a:pos x="147" y="180"/>
                  </a:cxn>
                  <a:cxn ang="0">
                    <a:pos x="150" y="167"/>
                  </a:cxn>
                  <a:cxn ang="0">
                    <a:pos x="163" y="158"/>
                  </a:cxn>
                  <a:cxn ang="0">
                    <a:pos x="171" y="164"/>
                  </a:cxn>
                  <a:cxn ang="0">
                    <a:pos x="168" y="151"/>
                  </a:cxn>
                  <a:cxn ang="0">
                    <a:pos x="166" y="142"/>
                  </a:cxn>
                  <a:cxn ang="0">
                    <a:pos x="178" y="144"/>
                  </a:cxn>
                  <a:cxn ang="0">
                    <a:pos x="184" y="138"/>
                  </a:cxn>
                  <a:cxn ang="0">
                    <a:pos x="193" y="143"/>
                  </a:cxn>
                  <a:cxn ang="0">
                    <a:pos x="197" y="133"/>
                  </a:cxn>
                  <a:cxn ang="0">
                    <a:pos x="189" y="117"/>
                  </a:cxn>
                  <a:cxn ang="0">
                    <a:pos x="183" y="105"/>
                  </a:cxn>
                  <a:cxn ang="0">
                    <a:pos x="203" y="106"/>
                  </a:cxn>
                </a:cxnLst>
                <a:rect l="0" t="0" r="r" b="b"/>
                <a:pathLst>
                  <a:path w="204" h="225">
                    <a:moveTo>
                      <a:pt x="204" y="100"/>
                    </a:moveTo>
                    <a:cubicBezTo>
                      <a:pt x="204" y="99"/>
                      <a:pt x="201" y="98"/>
                      <a:pt x="200" y="98"/>
                    </a:cubicBezTo>
                    <a:cubicBezTo>
                      <a:pt x="199" y="98"/>
                      <a:pt x="197" y="97"/>
                      <a:pt x="196" y="96"/>
                    </a:cubicBezTo>
                    <a:cubicBezTo>
                      <a:pt x="195" y="96"/>
                      <a:pt x="194" y="95"/>
                      <a:pt x="193" y="94"/>
                    </a:cubicBezTo>
                    <a:cubicBezTo>
                      <a:pt x="193" y="94"/>
                      <a:pt x="192" y="93"/>
                      <a:pt x="192" y="94"/>
                    </a:cubicBezTo>
                    <a:cubicBezTo>
                      <a:pt x="192" y="93"/>
                      <a:pt x="192" y="93"/>
                      <a:pt x="192" y="93"/>
                    </a:cubicBezTo>
                    <a:cubicBezTo>
                      <a:pt x="191" y="92"/>
                      <a:pt x="191" y="91"/>
                      <a:pt x="190" y="90"/>
                    </a:cubicBezTo>
                    <a:cubicBezTo>
                      <a:pt x="189" y="89"/>
                      <a:pt x="188" y="88"/>
                      <a:pt x="188" y="87"/>
                    </a:cubicBezTo>
                    <a:cubicBezTo>
                      <a:pt x="188" y="86"/>
                      <a:pt x="188" y="84"/>
                      <a:pt x="189" y="83"/>
                    </a:cubicBezTo>
                    <a:cubicBezTo>
                      <a:pt x="190" y="83"/>
                      <a:pt x="191" y="83"/>
                      <a:pt x="191" y="83"/>
                    </a:cubicBezTo>
                    <a:cubicBezTo>
                      <a:pt x="191" y="82"/>
                      <a:pt x="191" y="82"/>
                      <a:pt x="192" y="82"/>
                    </a:cubicBezTo>
                    <a:cubicBezTo>
                      <a:pt x="192" y="81"/>
                      <a:pt x="192" y="81"/>
                      <a:pt x="192" y="80"/>
                    </a:cubicBezTo>
                    <a:cubicBezTo>
                      <a:pt x="192" y="79"/>
                      <a:pt x="193" y="78"/>
                      <a:pt x="193" y="77"/>
                    </a:cubicBezTo>
                    <a:cubicBezTo>
                      <a:pt x="192" y="75"/>
                      <a:pt x="189" y="76"/>
                      <a:pt x="187" y="76"/>
                    </a:cubicBezTo>
                    <a:cubicBezTo>
                      <a:pt x="186" y="76"/>
                      <a:pt x="184" y="75"/>
                      <a:pt x="183" y="75"/>
                    </a:cubicBezTo>
                    <a:cubicBezTo>
                      <a:pt x="182" y="75"/>
                      <a:pt x="182" y="74"/>
                      <a:pt x="181" y="74"/>
                    </a:cubicBezTo>
                    <a:cubicBezTo>
                      <a:pt x="180" y="74"/>
                      <a:pt x="181" y="73"/>
                      <a:pt x="181" y="73"/>
                    </a:cubicBezTo>
                    <a:cubicBezTo>
                      <a:pt x="180" y="72"/>
                      <a:pt x="179" y="72"/>
                      <a:pt x="179" y="71"/>
                    </a:cubicBezTo>
                    <a:cubicBezTo>
                      <a:pt x="179" y="71"/>
                      <a:pt x="179" y="70"/>
                      <a:pt x="179" y="70"/>
                    </a:cubicBezTo>
                    <a:cubicBezTo>
                      <a:pt x="179" y="69"/>
                      <a:pt x="179" y="68"/>
                      <a:pt x="179" y="68"/>
                    </a:cubicBezTo>
                    <a:cubicBezTo>
                      <a:pt x="179" y="67"/>
                      <a:pt x="179" y="67"/>
                      <a:pt x="180" y="66"/>
                    </a:cubicBezTo>
                    <a:cubicBezTo>
                      <a:pt x="180" y="65"/>
                      <a:pt x="180" y="65"/>
                      <a:pt x="181" y="64"/>
                    </a:cubicBezTo>
                    <a:cubicBezTo>
                      <a:pt x="182" y="58"/>
                      <a:pt x="185" y="53"/>
                      <a:pt x="189" y="49"/>
                    </a:cubicBezTo>
                    <a:cubicBezTo>
                      <a:pt x="191" y="41"/>
                      <a:pt x="191" y="41"/>
                      <a:pt x="191" y="41"/>
                    </a:cubicBezTo>
                    <a:cubicBezTo>
                      <a:pt x="190" y="38"/>
                      <a:pt x="186" y="33"/>
                      <a:pt x="179" y="28"/>
                    </a:cubicBezTo>
                    <a:cubicBezTo>
                      <a:pt x="180" y="31"/>
                      <a:pt x="174" y="32"/>
                      <a:pt x="172" y="33"/>
                    </a:cubicBezTo>
                    <a:cubicBezTo>
                      <a:pt x="170" y="34"/>
                      <a:pt x="168" y="34"/>
                      <a:pt x="166" y="35"/>
                    </a:cubicBezTo>
                    <a:cubicBezTo>
                      <a:pt x="166" y="35"/>
                      <a:pt x="165" y="35"/>
                      <a:pt x="164" y="35"/>
                    </a:cubicBezTo>
                    <a:cubicBezTo>
                      <a:pt x="162" y="34"/>
                      <a:pt x="163" y="34"/>
                      <a:pt x="162" y="34"/>
                    </a:cubicBezTo>
                    <a:cubicBezTo>
                      <a:pt x="160" y="33"/>
                      <a:pt x="159" y="31"/>
                      <a:pt x="159" y="29"/>
                    </a:cubicBezTo>
                    <a:cubicBezTo>
                      <a:pt x="159" y="27"/>
                      <a:pt x="160" y="27"/>
                      <a:pt x="161" y="25"/>
                    </a:cubicBezTo>
                    <a:cubicBezTo>
                      <a:pt x="161" y="24"/>
                      <a:pt x="159" y="23"/>
                      <a:pt x="158" y="22"/>
                    </a:cubicBezTo>
                    <a:cubicBezTo>
                      <a:pt x="158" y="22"/>
                      <a:pt x="157" y="21"/>
                      <a:pt x="157" y="21"/>
                    </a:cubicBezTo>
                    <a:cubicBezTo>
                      <a:pt x="157" y="20"/>
                      <a:pt x="157" y="19"/>
                      <a:pt x="157" y="19"/>
                    </a:cubicBezTo>
                    <a:cubicBezTo>
                      <a:pt x="156" y="17"/>
                      <a:pt x="152" y="15"/>
                      <a:pt x="151" y="18"/>
                    </a:cubicBezTo>
                    <a:cubicBezTo>
                      <a:pt x="150" y="18"/>
                      <a:pt x="147" y="18"/>
                      <a:pt x="145" y="17"/>
                    </a:cubicBezTo>
                    <a:cubicBezTo>
                      <a:pt x="144" y="17"/>
                      <a:pt x="143" y="16"/>
                      <a:pt x="143" y="15"/>
                    </a:cubicBezTo>
                    <a:cubicBezTo>
                      <a:pt x="141" y="15"/>
                      <a:pt x="140" y="14"/>
                      <a:pt x="139" y="14"/>
                    </a:cubicBezTo>
                    <a:cubicBezTo>
                      <a:pt x="136" y="13"/>
                      <a:pt x="133" y="11"/>
                      <a:pt x="130" y="12"/>
                    </a:cubicBezTo>
                    <a:cubicBezTo>
                      <a:pt x="129" y="13"/>
                      <a:pt x="130" y="15"/>
                      <a:pt x="130" y="17"/>
                    </a:cubicBezTo>
                    <a:cubicBezTo>
                      <a:pt x="128" y="17"/>
                      <a:pt x="125" y="16"/>
                      <a:pt x="124" y="14"/>
                    </a:cubicBezTo>
                    <a:cubicBezTo>
                      <a:pt x="123" y="13"/>
                      <a:pt x="123" y="11"/>
                      <a:pt x="121" y="11"/>
                    </a:cubicBezTo>
                    <a:cubicBezTo>
                      <a:pt x="120" y="10"/>
                      <a:pt x="119" y="11"/>
                      <a:pt x="118" y="12"/>
                    </a:cubicBezTo>
                    <a:cubicBezTo>
                      <a:pt x="118" y="13"/>
                      <a:pt x="117" y="13"/>
                      <a:pt x="117" y="13"/>
                    </a:cubicBezTo>
                    <a:cubicBezTo>
                      <a:pt x="117" y="14"/>
                      <a:pt x="117" y="15"/>
                      <a:pt x="117" y="15"/>
                    </a:cubicBezTo>
                    <a:cubicBezTo>
                      <a:pt x="116" y="16"/>
                      <a:pt x="115" y="16"/>
                      <a:pt x="113" y="16"/>
                    </a:cubicBezTo>
                    <a:cubicBezTo>
                      <a:pt x="112" y="16"/>
                      <a:pt x="111" y="17"/>
                      <a:pt x="109" y="17"/>
                    </a:cubicBezTo>
                    <a:cubicBezTo>
                      <a:pt x="108" y="15"/>
                      <a:pt x="107" y="13"/>
                      <a:pt x="105" y="13"/>
                    </a:cubicBezTo>
                    <a:cubicBezTo>
                      <a:pt x="99" y="12"/>
                      <a:pt x="94" y="14"/>
                      <a:pt x="89" y="14"/>
                    </a:cubicBezTo>
                    <a:cubicBezTo>
                      <a:pt x="89" y="13"/>
                      <a:pt x="89" y="12"/>
                      <a:pt x="89" y="12"/>
                    </a:cubicBezTo>
                    <a:cubicBezTo>
                      <a:pt x="88" y="10"/>
                      <a:pt x="87" y="10"/>
                      <a:pt x="85" y="10"/>
                    </a:cubicBezTo>
                    <a:cubicBezTo>
                      <a:pt x="84" y="10"/>
                      <a:pt x="84" y="10"/>
                      <a:pt x="83" y="9"/>
                    </a:cubicBezTo>
                    <a:cubicBezTo>
                      <a:pt x="82" y="8"/>
                      <a:pt x="83" y="6"/>
                      <a:pt x="81" y="6"/>
                    </a:cubicBezTo>
                    <a:cubicBezTo>
                      <a:pt x="79" y="8"/>
                      <a:pt x="80" y="12"/>
                      <a:pt x="76" y="11"/>
                    </a:cubicBezTo>
                    <a:cubicBezTo>
                      <a:pt x="74" y="11"/>
                      <a:pt x="75" y="10"/>
                      <a:pt x="73" y="9"/>
                    </a:cubicBezTo>
                    <a:cubicBezTo>
                      <a:pt x="72" y="7"/>
                      <a:pt x="71" y="7"/>
                      <a:pt x="70" y="6"/>
                    </a:cubicBezTo>
                    <a:cubicBezTo>
                      <a:pt x="70" y="5"/>
                      <a:pt x="70" y="5"/>
                      <a:pt x="70" y="4"/>
                    </a:cubicBezTo>
                    <a:cubicBezTo>
                      <a:pt x="69" y="4"/>
                      <a:pt x="67" y="4"/>
                      <a:pt x="66" y="4"/>
                    </a:cubicBezTo>
                    <a:cubicBezTo>
                      <a:pt x="64" y="4"/>
                      <a:pt x="64" y="4"/>
                      <a:pt x="63" y="3"/>
                    </a:cubicBezTo>
                    <a:cubicBezTo>
                      <a:pt x="62" y="2"/>
                      <a:pt x="59" y="0"/>
                      <a:pt x="58" y="2"/>
                    </a:cubicBezTo>
                    <a:cubicBezTo>
                      <a:pt x="58" y="3"/>
                      <a:pt x="58" y="5"/>
                      <a:pt x="58" y="6"/>
                    </a:cubicBezTo>
                    <a:cubicBezTo>
                      <a:pt x="55" y="6"/>
                      <a:pt x="51" y="4"/>
                      <a:pt x="48" y="4"/>
                    </a:cubicBezTo>
                    <a:cubicBezTo>
                      <a:pt x="46" y="4"/>
                      <a:pt x="44" y="4"/>
                      <a:pt x="42" y="4"/>
                    </a:cubicBezTo>
                    <a:cubicBezTo>
                      <a:pt x="40" y="5"/>
                      <a:pt x="39" y="6"/>
                      <a:pt x="38" y="7"/>
                    </a:cubicBezTo>
                    <a:cubicBezTo>
                      <a:pt x="38" y="8"/>
                      <a:pt x="37" y="9"/>
                      <a:pt x="36" y="11"/>
                    </a:cubicBezTo>
                    <a:cubicBezTo>
                      <a:pt x="36" y="12"/>
                      <a:pt x="35" y="13"/>
                      <a:pt x="34" y="15"/>
                    </a:cubicBezTo>
                    <a:cubicBezTo>
                      <a:pt x="34" y="16"/>
                      <a:pt x="34" y="17"/>
                      <a:pt x="33" y="18"/>
                    </a:cubicBezTo>
                    <a:cubicBezTo>
                      <a:pt x="32" y="19"/>
                      <a:pt x="31" y="20"/>
                      <a:pt x="30" y="21"/>
                    </a:cubicBezTo>
                    <a:cubicBezTo>
                      <a:pt x="27" y="21"/>
                      <a:pt x="26" y="19"/>
                      <a:pt x="25" y="16"/>
                    </a:cubicBezTo>
                    <a:cubicBezTo>
                      <a:pt x="24" y="14"/>
                      <a:pt x="22" y="13"/>
                      <a:pt x="21" y="11"/>
                    </a:cubicBezTo>
                    <a:cubicBezTo>
                      <a:pt x="20" y="10"/>
                      <a:pt x="20" y="9"/>
                      <a:pt x="19" y="7"/>
                    </a:cubicBezTo>
                    <a:cubicBezTo>
                      <a:pt x="18" y="6"/>
                      <a:pt x="18" y="5"/>
                      <a:pt x="17" y="4"/>
                    </a:cubicBezTo>
                    <a:cubicBezTo>
                      <a:pt x="16" y="3"/>
                      <a:pt x="15" y="3"/>
                      <a:pt x="13" y="3"/>
                    </a:cubicBezTo>
                    <a:cubicBezTo>
                      <a:pt x="12" y="3"/>
                      <a:pt x="10" y="2"/>
                      <a:pt x="9" y="2"/>
                    </a:cubicBezTo>
                    <a:cubicBezTo>
                      <a:pt x="5" y="3"/>
                      <a:pt x="2" y="6"/>
                      <a:pt x="2" y="9"/>
                    </a:cubicBezTo>
                    <a:cubicBezTo>
                      <a:pt x="2" y="13"/>
                      <a:pt x="3" y="17"/>
                      <a:pt x="2" y="21"/>
                    </a:cubicBezTo>
                    <a:cubicBezTo>
                      <a:pt x="1" y="23"/>
                      <a:pt x="0" y="26"/>
                      <a:pt x="1" y="29"/>
                    </a:cubicBezTo>
                    <a:cubicBezTo>
                      <a:pt x="1" y="30"/>
                      <a:pt x="2" y="30"/>
                      <a:pt x="2" y="31"/>
                    </a:cubicBezTo>
                    <a:cubicBezTo>
                      <a:pt x="2" y="33"/>
                      <a:pt x="2" y="34"/>
                      <a:pt x="3" y="36"/>
                    </a:cubicBezTo>
                    <a:cubicBezTo>
                      <a:pt x="3" y="37"/>
                      <a:pt x="4" y="38"/>
                      <a:pt x="5" y="39"/>
                    </a:cubicBezTo>
                    <a:cubicBezTo>
                      <a:pt x="5" y="40"/>
                      <a:pt x="6" y="40"/>
                      <a:pt x="6" y="41"/>
                    </a:cubicBezTo>
                    <a:cubicBezTo>
                      <a:pt x="6" y="41"/>
                      <a:pt x="7" y="42"/>
                      <a:pt x="7" y="42"/>
                    </a:cubicBezTo>
                    <a:cubicBezTo>
                      <a:pt x="9" y="44"/>
                      <a:pt x="11" y="48"/>
                      <a:pt x="14" y="48"/>
                    </a:cubicBezTo>
                    <a:cubicBezTo>
                      <a:pt x="14" y="48"/>
                      <a:pt x="14" y="48"/>
                      <a:pt x="15" y="48"/>
                    </a:cubicBezTo>
                    <a:cubicBezTo>
                      <a:pt x="16" y="48"/>
                      <a:pt x="16" y="49"/>
                      <a:pt x="17" y="50"/>
                    </a:cubicBezTo>
                    <a:cubicBezTo>
                      <a:pt x="18" y="52"/>
                      <a:pt x="18" y="54"/>
                      <a:pt x="18" y="57"/>
                    </a:cubicBezTo>
                    <a:cubicBezTo>
                      <a:pt x="18" y="57"/>
                      <a:pt x="18" y="58"/>
                      <a:pt x="18" y="59"/>
                    </a:cubicBezTo>
                    <a:cubicBezTo>
                      <a:pt x="18" y="59"/>
                      <a:pt x="19" y="60"/>
                      <a:pt x="19" y="60"/>
                    </a:cubicBezTo>
                    <a:cubicBezTo>
                      <a:pt x="19" y="61"/>
                      <a:pt x="19" y="62"/>
                      <a:pt x="19" y="62"/>
                    </a:cubicBezTo>
                    <a:cubicBezTo>
                      <a:pt x="19" y="66"/>
                      <a:pt x="19" y="69"/>
                      <a:pt x="19" y="72"/>
                    </a:cubicBezTo>
                    <a:cubicBezTo>
                      <a:pt x="19" y="73"/>
                      <a:pt x="19" y="74"/>
                      <a:pt x="19" y="74"/>
                    </a:cubicBezTo>
                    <a:cubicBezTo>
                      <a:pt x="19" y="75"/>
                      <a:pt x="20" y="75"/>
                      <a:pt x="21" y="76"/>
                    </a:cubicBezTo>
                    <a:cubicBezTo>
                      <a:pt x="21" y="77"/>
                      <a:pt x="21" y="78"/>
                      <a:pt x="21" y="79"/>
                    </a:cubicBezTo>
                    <a:cubicBezTo>
                      <a:pt x="21" y="81"/>
                      <a:pt x="23" y="83"/>
                      <a:pt x="24" y="85"/>
                    </a:cubicBezTo>
                    <a:cubicBezTo>
                      <a:pt x="25" y="86"/>
                      <a:pt x="25" y="88"/>
                      <a:pt x="26" y="90"/>
                    </a:cubicBezTo>
                    <a:cubicBezTo>
                      <a:pt x="26" y="91"/>
                      <a:pt x="26" y="92"/>
                      <a:pt x="26" y="93"/>
                    </a:cubicBezTo>
                    <a:cubicBezTo>
                      <a:pt x="26" y="94"/>
                      <a:pt x="27" y="95"/>
                      <a:pt x="28" y="96"/>
                    </a:cubicBezTo>
                    <a:cubicBezTo>
                      <a:pt x="31" y="99"/>
                      <a:pt x="35" y="102"/>
                      <a:pt x="39" y="103"/>
                    </a:cubicBezTo>
                    <a:cubicBezTo>
                      <a:pt x="43" y="104"/>
                      <a:pt x="45" y="107"/>
                      <a:pt x="47" y="111"/>
                    </a:cubicBezTo>
                    <a:cubicBezTo>
                      <a:pt x="47" y="112"/>
                      <a:pt x="48" y="115"/>
                      <a:pt x="49" y="116"/>
                    </a:cubicBezTo>
                    <a:cubicBezTo>
                      <a:pt x="49" y="116"/>
                      <a:pt x="50" y="117"/>
                      <a:pt x="51" y="118"/>
                    </a:cubicBezTo>
                    <a:cubicBezTo>
                      <a:pt x="52" y="119"/>
                      <a:pt x="53" y="120"/>
                      <a:pt x="53" y="121"/>
                    </a:cubicBezTo>
                    <a:cubicBezTo>
                      <a:pt x="55" y="123"/>
                      <a:pt x="56" y="126"/>
                      <a:pt x="58" y="128"/>
                    </a:cubicBezTo>
                    <a:cubicBezTo>
                      <a:pt x="60" y="129"/>
                      <a:pt x="61" y="130"/>
                      <a:pt x="62" y="131"/>
                    </a:cubicBezTo>
                    <a:cubicBezTo>
                      <a:pt x="62" y="132"/>
                      <a:pt x="63" y="133"/>
                      <a:pt x="63" y="134"/>
                    </a:cubicBezTo>
                    <a:cubicBezTo>
                      <a:pt x="66" y="136"/>
                      <a:pt x="69" y="139"/>
                      <a:pt x="72" y="142"/>
                    </a:cubicBezTo>
                    <a:cubicBezTo>
                      <a:pt x="73" y="143"/>
                      <a:pt x="75" y="143"/>
                      <a:pt x="75" y="144"/>
                    </a:cubicBezTo>
                    <a:cubicBezTo>
                      <a:pt x="76" y="145"/>
                      <a:pt x="76" y="146"/>
                      <a:pt x="76" y="147"/>
                    </a:cubicBezTo>
                    <a:cubicBezTo>
                      <a:pt x="76" y="148"/>
                      <a:pt x="76" y="149"/>
                      <a:pt x="76" y="150"/>
                    </a:cubicBezTo>
                    <a:cubicBezTo>
                      <a:pt x="76" y="152"/>
                      <a:pt x="76" y="153"/>
                      <a:pt x="77" y="155"/>
                    </a:cubicBezTo>
                    <a:cubicBezTo>
                      <a:pt x="77" y="155"/>
                      <a:pt x="77" y="156"/>
                      <a:pt x="77" y="157"/>
                    </a:cubicBezTo>
                    <a:cubicBezTo>
                      <a:pt x="77" y="157"/>
                      <a:pt x="78" y="158"/>
                      <a:pt x="78" y="158"/>
                    </a:cubicBezTo>
                    <a:cubicBezTo>
                      <a:pt x="79" y="159"/>
                      <a:pt x="79" y="160"/>
                      <a:pt x="79" y="160"/>
                    </a:cubicBezTo>
                    <a:cubicBezTo>
                      <a:pt x="79" y="161"/>
                      <a:pt x="79" y="161"/>
                      <a:pt x="79" y="161"/>
                    </a:cubicBezTo>
                    <a:cubicBezTo>
                      <a:pt x="80" y="162"/>
                      <a:pt x="81" y="162"/>
                      <a:pt x="81" y="162"/>
                    </a:cubicBezTo>
                    <a:cubicBezTo>
                      <a:pt x="81" y="163"/>
                      <a:pt x="81" y="164"/>
                      <a:pt x="81" y="165"/>
                    </a:cubicBezTo>
                    <a:cubicBezTo>
                      <a:pt x="81" y="166"/>
                      <a:pt x="81" y="167"/>
                      <a:pt x="81" y="168"/>
                    </a:cubicBezTo>
                    <a:cubicBezTo>
                      <a:pt x="80" y="169"/>
                      <a:pt x="79" y="170"/>
                      <a:pt x="79" y="171"/>
                    </a:cubicBezTo>
                    <a:cubicBezTo>
                      <a:pt x="80" y="172"/>
                      <a:pt x="84" y="172"/>
                      <a:pt x="85" y="173"/>
                    </a:cubicBezTo>
                    <a:cubicBezTo>
                      <a:pt x="86" y="173"/>
                      <a:pt x="86" y="174"/>
                      <a:pt x="86" y="175"/>
                    </a:cubicBezTo>
                    <a:cubicBezTo>
                      <a:pt x="88" y="178"/>
                      <a:pt x="91" y="180"/>
                      <a:pt x="91" y="182"/>
                    </a:cubicBezTo>
                    <a:cubicBezTo>
                      <a:pt x="92" y="183"/>
                      <a:pt x="91" y="184"/>
                      <a:pt x="92" y="185"/>
                    </a:cubicBezTo>
                    <a:cubicBezTo>
                      <a:pt x="92" y="185"/>
                      <a:pt x="93" y="186"/>
                      <a:pt x="93" y="186"/>
                    </a:cubicBezTo>
                    <a:cubicBezTo>
                      <a:pt x="93" y="186"/>
                      <a:pt x="93" y="187"/>
                      <a:pt x="94" y="187"/>
                    </a:cubicBezTo>
                    <a:cubicBezTo>
                      <a:pt x="93" y="188"/>
                      <a:pt x="89" y="188"/>
                      <a:pt x="88" y="188"/>
                    </a:cubicBezTo>
                    <a:cubicBezTo>
                      <a:pt x="88" y="189"/>
                      <a:pt x="89" y="190"/>
                      <a:pt x="90" y="191"/>
                    </a:cubicBezTo>
                    <a:cubicBezTo>
                      <a:pt x="90" y="192"/>
                      <a:pt x="91" y="194"/>
                      <a:pt x="92" y="194"/>
                    </a:cubicBezTo>
                    <a:cubicBezTo>
                      <a:pt x="93" y="192"/>
                      <a:pt x="97" y="191"/>
                      <a:pt x="98" y="191"/>
                    </a:cubicBezTo>
                    <a:cubicBezTo>
                      <a:pt x="99" y="191"/>
                      <a:pt x="100" y="190"/>
                      <a:pt x="100" y="190"/>
                    </a:cubicBezTo>
                    <a:cubicBezTo>
                      <a:pt x="101" y="190"/>
                      <a:pt x="102" y="189"/>
                      <a:pt x="103" y="190"/>
                    </a:cubicBezTo>
                    <a:cubicBezTo>
                      <a:pt x="103" y="190"/>
                      <a:pt x="103" y="191"/>
                      <a:pt x="103" y="191"/>
                    </a:cubicBezTo>
                    <a:cubicBezTo>
                      <a:pt x="103" y="191"/>
                      <a:pt x="104" y="191"/>
                      <a:pt x="104" y="192"/>
                    </a:cubicBezTo>
                    <a:cubicBezTo>
                      <a:pt x="104" y="192"/>
                      <a:pt x="104" y="192"/>
                      <a:pt x="104" y="193"/>
                    </a:cubicBezTo>
                    <a:cubicBezTo>
                      <a:pt x="105" y="194"/>
                      <a:pt x="106" y="195"/>
                      <a:pt x="107" y="196"/>
                    </a:cubicBezTo>
                    <a:cubicBezTo>
                      <a:pt x="108" y="197"/>
                      <a:pt x="108" y="198"/>
                      <a:pt x="108" y="199"/>
                    </a:cubicBezTo>
                    <a:cubicBezTo>
                      <a:pt x="109" y="200"/>
                      <a:pt x="110" y="202"/>
                      <a:pt x="112" y="203"/>
                    </a:cubicBezTo>
                    <a:cubicBezTo>
                      <a:pt x="113" y="204"/>
                      <a:pt x="115" y="206"/>
                      <a:pt x="117" y="207"/>
                    </a:cubicBezTo>
                    <a:cubicBezTo>
                      <a:pt x="119" y="209"/>
                      <a:pt x="121" y="210"/>
                      <a:pt x="122" y="211"/>
                    </a:cubicBezTo>
                    <a:cubicBezTo>
                      <a:pt x="123" y="211"/>
                      <a:pt x="124" y="212"/>
                      <a:pt x="125" y="213"/>
                    </a:cubicBezTo>
                    <a:cubicBezTo>
                      <a:pt x="125" y="215"/>
                      <a:pt x="130" y="214"/>
                      <a:pt x="131" y="214"/>
                    </a:cubicBezTo>
                    <a:cubicBezTo>
                      <a:pt x="132" y="214"/>
                      <a:pt x="133" y="216"/>
                      <a:pt x="134" y="217"/>
                    </a:cubicBezTo>
                    <a:cubicBezTo>
                      <a:pt x="135" y="218"/>
                      <a:pt x="135" y="219"/>
                      <a:pt x="135" y="220"/>
                    </a:cubicBezTo>
                    <a:cubicBezTo>
                      <a:pt x="136" y="221"/>
                      <a:pt x="137" y="223"/>
                      <a:pt x="138" y="224"/>
                    </a:cubicBezTo>
                    <a:cubicBezTo>
                      <a:pt x="139" y="225"/>
                      <a:pt x="139" y="224"/>
                      <a:pt x="140" y="223"/>
                    </a:cubicBezTo>
                    <a:cubicBezTo>
                      <a:pt x="140" y="223"/>
                      <a:pt x="140" y="222"/>
                      <a:pt x="140" y="222"/>
                    </a:cubicBezTo>
                    <a:cubicBezTo>
                      <a:pt x="141" y="222"/>
                      <a:pt x="141" y="221"/>
                      <a:pt x="141" y="221"/>
                    </a:cubicBezTo>
                    <a:cubicBezTo>
                      <a:pt x="143" y="219"/>
                      <a:pt x="143" y="214"/>
                      <a:pt x="143" y="211"/>
                    </a:cubicBezTo>
                    <a:cubicBezTo>
                      <a:pt x="143" y="210"/>
                      <a:pt x="143" y="209"/>
                      <a:pt x="143" y="209"/>
                    </a:cubicBezTo>
                    <a:cubicBezTo>
                      <a:pt x="143" y="208"/>
                      <a:pt x="142" y="207"/>
                      <a:pt x="142" y="207"/>
                    </a:cubicBezTo>
                    <a:cubicBezTo>
                      <a:pt x="142" y="206"/>
                      <a:pt x="142" y="206"/>
                      <a:pt x="141" y="206"/>
                    </a:cubicBezTo>
                    <a:cubicBezTo>
                      <a:pt x="141" y="206"/>
                      <a:pt x="141" y="204"/>
                      <a:pt x="140" y="204"/>
                    </a:cubicBezTo>
                    <a:cubicBezTo>
                      <a:pt x="140" y="202"/>
                      <a:pt x="140" y="201"/>
                      <a:pt x="140" y="200"/>
                    </a:cubicBezTo>
                    <a:cubicBezTo>
                      <a:pt x="140" y="198"/>
                      <a:pt x="139" y="198"/>
                      <a:pt x="139" y="197"/>
                    </a:cubicBezTo>
                    <a:cubicBezTo>
                      <a:pt x="139" y="196"/>
                      <a:pt x="140" y="195"/>
                      <a:pt x="140" y="195"/>
                    </a:cubicBezTo>
                    <a:cubicBezTo>
                      <a:pt x="141" y="193"/>
                      <a:pt x="142" y="192"/>
                      <a:pt x="143" y="190"/>
                    </a:cubicBezTo>
                    <a:cubicBezTo>
                      <a:pt x="143" y="190"/>
                      <a:pt x="143" y="189"/>
                      <a:pt x="143" y="189"/>
                    </a:cubicBezTo>
                    <a:cubicBezTo>
                      <a:pt x="143" y="188"/>
                      <a:pt x="143" y="188"/>
                      <a:pt x="143" y="188"/>
                    </a:cubicBezTo>
                    <a:cubicBezTo>
                      <a:pt x="144" y="187"/>
                      <a:pt x="144" y="185"/>
                      <a:pt x="144" y="184"/>
                    </a:cubicBezTo>
                    <a:cubicBezTo>
                      <a:pt x="145" y="183"/>
                      <a:pt x="147" y="183"/>
                      <a:pt x="147" y="182"/>
                    </a:cubicBezTo>
                    <a:cubicBezTo>
                      <a:pt x="148" y="181"/>
                      <a:pt x="147" y="181"/>
                      <a:pt x="147" y="180"/>
                    </a:cubicBezTo>
                    <a:cubicBezTo>
                      <a:pt x="148" y="179"/>
                      <a:pt x="148" y="178"/>
                      <a:pt x="148" y="177"/>
                    </a:cubicBezTo>
                    <a:cubicBezTo>
                      <a:pt x="149" y="176"/>
                      <a:pt x="149" y="175"/>
                      <a:pt x="149" y="173"/>
                    </a:cubicBezTo>
                    <a:cubicBezTo>
                      <a:pt x="149" y="172"/>
                      <a:pt x="148" y="171"/>
                      <a:pt x="148" y="170"/>
                    </a:cubicBezTo>
                    <a:cubicBezTo>
                      <a:pt x="148" y="169"/>
                      <a:pt x="149" y="168"/>
                      <a:pt x="150" y="167"/>
                    </a:cubicBezTo>
                    <a:cubicBezTo>
                      <a:pt x="152" y="166"/>
                      <a:pt x="154" y="164"/>
                      <a:pt x="155" y="163"/>
                    </a:cubicBezTo>
                    <a:cubicBezTo>
                      <a:pt x="155" y="162"/>
                      <a:pt x="155" y="162"/>
                      <a:pt x="156" y="162"/>
                    </a:cubicBezTo>
                    <a:cubicBezTo>
                      <a:pt x="156" y="161"/>
                      <a:pt x="157" y="161"/>
                      <a:pt x="157" y="161"/>
                    </a:cubicBezTo>
                    <a:cubicBezTo>
                      <a:pt x="159" y="160"/>
                      <a:pt x="161" y="158"/>
                      <a:pt x="163" y="158"/>
                    </a:cubicBezTo>
                    <a:cubicBezTo>
                      <a:pt x="165" y="158"/>
                      <a:pt x="166" y="159"/>
                      <a:pt x="167" y="161"/>
                    </a:cubicBezTo>
                    <a:cubicBezTo>
                      <a:pt x="167" y="162"/>
                      <a:pt x="167" y="163"/>
                      <a:pt x="168" y="164"/>
                    </a:cubicBezTo>
                    <a:cubicBezTo>
                      <a:pt x="168" y="164"/>
                      <a:pt x="169" y="165"/>
                      <a:pt x="170" y="165"/>
                    </a:cubicBezTo>
                    <a:cubicBezTo>
                      <a:pt x="170" y="164"/>
                      <a:pt x="171" y="165"/>
                      <a:pt x="171" y="164"/>
                    </a:cubicBezTo>
                    <a:cubicBezTo>
                      <a:pt x="172" y="164"/>
                      <a:pt x="172" y="163"/>
                      <a:pt x="172" y="163"/>
                    </a:cubicBezTo>
                    <a:cubicBezTo>
                      <a:pt x="174" y="161"/>
                      <a:pt x="173" y="160"/>
                      <a:pt x="172" y="158"/>
                    </a:cubicBezTo>
                    <a:cubicBezTo>
                      <a:pt x="172" y="157"/>
                      <a:pt x="172" y="156"/>
                      <a:pt x="171" y="155"/>
                    </a:cubicBezTo>
                    <a:cubicBezTo>
                      <a:pt x="170" y="154"/>
                      <a:pt x="169" y="152"/>
                      <a:pt x="168" y="151"/>
                    </a:cubicBezTo>
                    <a:cubicBezTo>
                      <a:pt x="167" y="150"/>
                      <a:pt x="166" y="150"/>
                      <a:pt x="166" y="148"/>
                    </a:cubicBezTo>
                    <a:cubicBezTo>
                      <a:pt x="166" y="147"/>
                      <a:pt x="165" y="145"/>
                      <a:pt x="166" y="144"/>
                    </a:cubicBezTo>
                    <a:cubicBezTo>
                      <a:pt x="166" y="144"/>
                      <a:pt x="166" y="144"/>
                      <a:pt x="167" y="143"/>
                    </a:cubicBezTo>
                    <a:cubicBezTo>
                      <a:pt x="167" y="143"/>
                      <a:pt x="166" y="142"/>
                      <a:pt x="166" y="142"/>
                    </a:cubicBezTo>
                    <a:cubicBezTo>
                      <a:pt x="167" y="141"/>
                      <a:pt x="167" y="141"/>
                      <a:pt x="168" y="141"/>
                    </a:cubicBezTo>
                    <a:cubicBezTo>
                      <a:pt x="170" y="140"/>
                      <a:pt x="172" y="143"/>
                      <a:pt x="173" y="144"/>
                    </a:cubicBezTo>
                    <a:cubicBezTo>
                      <a:pt x="174" y="145"/>
                      <a:pt x="175" y="145"/>
                      <a:pt x="176" y="145"/>
                    </a:cubicBezTo>
                    <a:cubicBezTo>
                      <a:pt x="177" y="144"/>
                      <a:pt x="178" y="144"/>
                      <a:pt x="178" y="144"/>
                    </a:cubicBezTo>
                    <a:cubicBezTo>
                      <a:pt x="179" y="144"/>
                      <a:pt x="180" y="144"/>
                      <a:pt x="180" y="143"/>
                    </a:cubicBezTo>
                    <a:cubicBezTo>
                      <a:pt x="181" y="143"/>
                      <a:pt x="181" y="142"/>
                      <a:pt x="181" y="141"/>
                    </a:cubicBezTo>
                    <a:cubicBezTo>
                      <a:pt x="181" y="140"/>
                      <a:pt x="182" y="140"/>
                      <a:pt x="183" y="139"/>
                    </a:cubicBezTo>
                    <a:cubicBezTo>
                      <a:pt x="184" y="139"/>
                      <a:pt x="184" y="138"/>
                      <a:pt x="184" y="138"/>
                    </a:cubicBezTo>
                    <a:cubicBezTo>
                      <a:pt x="185" y="137"/>
                      <a:pt x="187" y="135"/>
                      <a:pt x="188" y="136"/>
                    </a:cubicBezTo>
                    <a:cubicBezTo>
                      <a:pt x="188" y="136"/>
                      <a:pt x="188" y="138"/>
                      <a:pt x="189" y="139"/>
                    </a:cubicBezTo>
                    <a:cubicBezTo>
                      <a:pt x="190" y="140"/>
                      <a:pt x="191" y="141"/>
                      <a:pt x="191" y="143"/>
                    </a:cubicBezTo>
                    <a:cubicBezTo>
                      <a:pt x="192" y="143"/>
                      <a:pt x="192" y="144"/>
                      <a:pt x="193" y="143"/>
                    </a:cubicBezTo>
                    <a:cubicBezTo>
                      <a:pt x="194" y="143"/>
                      <a:pt x="193" y="143"/>
                      <a:pt x="194" y="142"/>
                    </a:cubicBezTo>
                    <a:cubicBezTo>
                      <a:pt x="194" y="141"/>
                      <a:pt x="195" y="141"/>
                      <a:pt x="196" y="140"/>
                    </a:cubicBezTo>
                    <a:cubicBezTo>
                      <a:pt x="196" y="139"/>
                      <a:pt x="196" y="138"/>
                      <a:pt x="196" y="137"/>
                    </a:cubicBezTo>
                    <a:cubicBezTo>
                      <a:pt x="196" y="135"/>
                      <a:pt x="197" y="134"/>
                      <a:pt x="197" y="133"/>
                    </a:cubicBezTo>
                    <a:cubicBezTo>
                      <a:pt x="197" y="132"/>
                      <a:pt x="196" y="132"/>
                      <a:pt x="196" y="131"/>
                    </a:cubicBezTo>
                    <a:cubicBezTo>
                      <a:pt x="196" y="131"/>
                      <a:pt x="196" y="130"/>
                      <a:pt x="196" y="130"/>
                    </a:cubicBezTo>
                    <a:cubicBezTo>
                      <a:pt x="196" y="128"/>
                      <a:pt x="195" y="127"/>
                      <a:pt x="194" y="125"/>
                    </a:cubicBezTo>
                    <a:cubicBezTo>
                      <a:pt x="192" y="122"/>
                      <a:pt x="190" y="120"/>
                      <a:pt x="189" y="117"/>
                    </a:cubicBezTo>
                    <a:cubicBezTo>
                      <a:pt x="188" y="116"/>
                      <a:pt x="188" y="115"/>
                      <a:pt x="187" y="114"/>
                    </a:cubicBezTo>
                    <a:cubicBezTo>
                      <a:pt x="186" y="112"/>
                      <a:pt x="186" y="113"/>
                      <a:pt x="184" y="112"/>
                    </a:cubicBezTo>
                    <a:cubicBezTo>
                      <a:pt x="183" y="112"/>
                      <a:pt x="182" y="111"/>
                      <a:pt x="182" y="110"/>
                    </a:cubicBezTo>
                    <a:cubicBezTo>
                      <a:pt x="181" y="109"/>
                      <a:pt x="182" y="106"/>
                      <a:pt x="183" y="105"/>
                    </a:cubicBezTo>
                    <a:cubicBezTo>
                      <a:pt x="184" y="106"/>
                      <a:pt x="185" y="107"/>
                      <a:pt x="186" y="107"/>
                    </a:cubicBezTo>
                    <a:cubicBezTo>
                      <a:pt x="188" y="109"/>
                      <a:pt x="192" y="109"/>
                      <a:pt x="195" y="109"/>
                    </a:cubicBezTo>
                    <a:cubicBezTo>
                      <a:pt x="197" y="109"/>
                      <a:pt x="200" y="109"/>
                      <a:pt x="201" y="108"/>
                    </a:cubicBezTo>
                    <a:cubicBezTo>
                      <a:pt x="202" y="107"/>
                      <a:pt x="202" y="107"/>
                      <a:pt x="203" y="106"/>
                    </a:cubicBezTo>
                    <a:cubicBezTo>
                      <a:pt x="204" y="105"/>
                      <a:pt x="204" y="105"/>
                      <a:pt x="204" y="104"/>
                    </a:cubicBezTo>
                    <a:cubicBezTo>
                      <a:pt x="204" y="104"/>
                      <a:pt x="204" y="103"/>
                      <a:pt x="204" y="102"/>
                    </a:cubicBezTo>
                    <a:cubicBezTo>
                      <a:pt x="204" y="102"/>
                      <a:pt x="204" y="100"/>
                      <a:pt x="204" y="100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79" name="Freeform 28">
                <a:extLst>
                  <a:ext uri="{FF2B5EF4-FFF2-40B4-BE49-F238E27FC236}">
                    <a16:creationId xmlns:a16="http://schemas.microsoft.com/office/drawing/2014/main" id="{90FD80DB-DD3E-4EDF-A786-3B0B5828E4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775" y="5527675"/>
                <a:ext cx="280988" cy="252413"/>
              </a:xfrm>
              <a:custGeom>
                <a:avLst/>
                <a:gdLst/>
                <a:ahLst/>
                <a:cxnLst>
                  <a:cxn ang="0">
                    <a:pos x="145" y="47"/>
                  </a:cxn>
                  <a:cxn ang="0">
                    <a:pos x="135" y="45"/>
                  </a:cxn>
                  <a:cxn ang="0">
                    <a:pos x="132" y="40"/>
                  </a:cxn>
                  <a:cxn ang="0">
                    <a:pos x="121" y="36"/>
                  </a:cxn>
                  <a:cxn ang="0">
                    <a:pos x="116" y="31"/>
                  </a:cxn>
                  <a:cxn ang="0">
                    <a:pos x="110" y="28"/>
                  </a:cxn>
                  <a:cxn ang="0">
                    <a:pos x="105" y="20"/>
                  </a:cxn>
                  <a:cxn ang="0">
                    <a:pos x="94" y="10"/>
                  </a:cxn>
                  <a:cxn ang="0">
                    <a:pos x="88" y="3"/>
                  </a:cxn>
                  <a:cxn ang="0">
                    <a:pos x="84" y="5"/>
                  </a:cxn>
                  <a:cxn ang="0">
                    <a:pos x="74" y="2"/>
                  </a:cxn>
                  <a:cxn ang="0">
                    <a:pos x="74" y="8"/>
                  </a:cxn>
                  <a:cxn ang="0">
                    <a:pos x="80" y="18"/>
                  </a:cxn>
                  <a:cxn ang="0">
                    <a:pos x="78" y="25"/>
                  </a:cxn>
                  <a:cxn ang="0">
                    <a:pos x="71" y="18"/>
                  </a:cxn>
                  <a:cxn ang="0">
                    <a:pos x="63" y="23"/>
                  </a:cxn>
                  <a:cxn ang="0">
                    <a:pos x="57" y="33"/>
                  </a:cxn>
                  <a:cxn ang="0">
                    <a:pos x="55" y="42"/>
                  </a:cxn>
                  <a:cxn ang="0">
                    <a:pos x="51" y="49"/>
                  </a:cxn>
                  <a:cxn ang="0">
                    <a:pos x="47" y="57"/>
                  </a:cxn>
                  <a:cxn ang="0">
                    <a:pos x="49" y="66"/>
                  </a:cxn>
                  <a:cxn ang="0">
                    <a:pos x="51" y="71"/>
                  </a:cxn>
                  <a:cxn ang="0">
                    <a:pos x="48" y="83"/>
                  </a:cxn>
                  <a:cxn ang="0">
                    <a:pos x="42" y="77"/>
                  </a:cxn>
                  <a:cxn ang="0">
                    <a:pos x="30" y="71"/>
                  </a:cxn>
                  <a:cxn ang="0">
                    <a:pos x="16" y="59"/>
                  </a:cxn>
                  <a:cxn ang="0">
                    <a:pos x="12" y="52"/>
                  </a:cxn>
                  <a:cxn ang="0">
                    <a:pos x="8" y="50"/>
                  </a:cxn>
                  <a:cxn ang="0">
                    <a:pos x="0" y="54"/>
                  </a:cxn>
                  <a:cxn ang="0">
                    <a:pos x="5" y="59"/>
                  </a:cxn>
                  <a:cxn ang="0">
                    <a:pos x="12" y="62"/>
                  </a:cxn>
                  <a:cxn ang="0">
                    <a:pos x="17" y="66"/>
                  </a:cxn>
                  <a:cxn ang="0">
                    <a:pos x="26" y="75"/>
                  </a:cxn>
                  <a:cxn ang="0">
                    <a:pos x="34" y="82"/>
                  </a:cxn>
                  <a:cxn ang="0">
                    <a:pos x="53" y="94"/>
                  </a:cxn>
                  <a:cxn ang="0">
                    <a:pos x="62" y="104"/>
                  </a:cxn>
                  <a:cxn ang="0">
                    <a:pos x="68" y="106"/>
                  </a:cxn>
                  <a:cxn ang="0">
                    <a:pos x="76" y="116"/>
                  </a:cxn>
                  <a:cxn ang="0">
                    <a:pos x="82" y="131"/>
                  </a:cxn>
                  <a:cxn ang="0">
                    <a:pos x="91" y="133"/>
                  </a:cxn>
                  <a:cxn ang="0">
                    <a:pos x="90" y="111"/>
                  </a:cxn>
                  <a:cxn ang="0">
                    <a:pos x="95" y="98"/>
                  </a:cxn>
                  <a:cxn ang="0">
                    <a:pos x="101" y="88"/>
                  </a:cxn>
                  <a:cxn ang="0">
                    <a:pos x="109" y="76"/>
                  </a:cxn>
                  <a:cxn ang="0">
                    <a:pos x="113" y="81"/>
                  </a:cxn>
                  <a:cxn ang="0">
                    <a:pos x="126" y="88"/>
                  </a:cxn>
                  <a:cxn ang="0">
                    <a:pos x="132" y="81"/>
                  </a:cxn>
                  <a:cxn ang="0">
                    <a:pos x="132" y="70"/>
                  </a:cxn>
                  <a:cxn ang="0">
                    <a:pos x="133" y="64"/>
                  </a:cxn>
                  <a:cxn ang="0">
                    <a:pos x="142" y="62"/>
                  </a:cxn>
                  <a:cxn ang="0">
                    <a:pos x="148" y="59"/>
                  </a:cxn>
                </a:cxnLst>
                <a:rect l="0" t="0" r="r" b="b"/>
                <a:pathLst>
                  <a:path w="150" h="135">
                    <a:moveTo>
                      <a:pt x="147" y="51"/>
                    </a:moveTo>
                    <a:cubicBezTo>
                      <a:pt x="146" y="51"/>
                      <a:pt x="146" y="50"/>
                      <a:pt x="146" y="49"/>
                    </a:cubicBezTo>
                    <a:cubicBezTo>
                      <a:pt x="145" y="49"/>
                      <a:pt x="146" y="47"/>
                      <a:pt x="145" y="47"/>
                    </a:cubicBezTo>
                    <a:cubicBezTo>
                      <a:pt x="144" y="46"/>
                      <a:pt x="142" y="47"/>
                      <a:pt x="141" y="47"/>
                    </a:cubicBezTo>
                    <a:cubicBezTo>
                      <a:pt x="140" y="47"/>
                      <a:pt x="136" y="48"/>
                      <a:pt x="136" y="47"/>
                    </a:cubicBezTo>
                    <a:cubicBezTo>
                      <a:pt x="135" y="46"/>
                      <a:pt x="135" y="46"/>
                      <a:pt x="135" y="45"/>
                    </a:cubicBezTo>
                    <a:cubicBezTo>
                      <a:pt x="135" y="44"/>
                      <a:pt x="135" y="44"/>
                      <a:pt x="135" y="43"/>
                    </a:cubicBezTo>
                    <a:cubicBezTo>
                      <a:pt x="134" y="43"/>
                      <a:pt x="134" y="42"/>
                      <a:pt x="133" y="42"/>
                    </a:cubicBezTo>
                    <a:cubicBezTo>
                      <a:pt x="133" y="41"/>
                      <a:pt x="132" y="41"/>
                      <a:pt x="132" y="40"/>
                    </a:cubicBezTo>
                    <a:cubicBezTo>
                      <a:pt x="130" y="40"/>
                      <a:pt x="130" y="39"/>
                      <a:pt x="130" y="38"/>
                    </a:cubicBezTo>
                    <a:cubicBezTo>
                      <a:pt x="129" y="36"/>
                      <a:pt x="128" y="36"/>
                      <a:pt x="127" y="36"/>
                    </a:cubicBezTo>
                    <a:cubicBezTo>
                      <a:pt x="125" y="36"/>
                      <a:pt x="123" y="37"/>
                      <a:pt x="121" y="36"/>
                    </a:cubicBezTo>
                    <a:cubicBezTo>
                      <a:pt x="120" y="36"/>
                      <a:pt x="119" y="35"/>
                      <a:pt x="118" y="34"/>
                    </a:cubicBezTo>
                    <a:cubicBezTo>
                      <a:pt x="117" y="34"/>
                      <a:pt x="117" y="33"/>
                      <a:pt x="116" y="33"/>
                    </a:cubicBezTo>
                    <a:cubicBezTo>
                      <a:pt x="116" y="32"/>
                      <a:pt x="116" y="32"/>
                      <a:pt x="116" y="31"/>
                    </a:cubicBezTo>
                    <a:cubicBezTo>
                      <a:pt x="115" y="31"/>
                      <a:pt x="115" y="31"/>
                      <a:pt x="114" y="31"/>
                    </a:cubicBezTo>
                    <a:cubicBezTo>
                      <a:pt x="113" y="31"/>
                      <a:pt x="113" y="30"/>
                      <a:pt x="112" y="30"/>
                    </a:cubicBezTo>
                    <a:cubicBezTo>
                      <a:pt x="112" y="29"/>
                      <a:pt x="111" y="29"/>
                      <a:pt x="110" y="28"/>
                    </a:cubicBezTo>
                    <a:cubicBezTo>
                      <a:pt x="108" y="27"/>
                      <a:pt x="106" y="25"/>
                      <a:pt x="106" y="23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107" y="22"/>
                      <a:pt x="106" y="21"/>
                      <a:pt x="105" y="20"/>
                    </a:cubicBezTo>
                    <a:cubicBezTo>
                      <a:pt x="103" y="18"/>
                      <a:pt x="101" y="17"/>
                      <a:pt x="100" y="14"/>
                    </a:cubicBezTo>
                    <a:cubicBezTo>
                      <a:pt x="99" y="13"/>
                      <a:pt x="99" y="12"/>
                      <a:pt x="98" y="12"/>
                    </a:cubicBezTo>
                    <a:cubicBezTo>
                      <a:pt x="96" y="11"/>
                      <a:pt x="95" y="11"/>
                      <a:pt x="94" y="10"/>
                    </a:cubicBezTo>
                    <a:cubicBezTo>
                      <a:pt x="93" y="9"/>
                      <a:pt x="93" y="9"/>
                      <a:pt x="92" y="8"/>
                    </a:cubicBezTo>
                    <a:cubicBezTo>
                      <a:pt x="90" y="8"/>
                      <a:pt x="90" y="7"/>
                      <a:pt x="90" y="6"/>
                    </a:cubicBezTo>
                    <a:cubicBezTo>
                      <a:pt x="89" y="5"/>
                      <a:pt x="88" y="4"/>
                      <a:pt x="88" y="3"/>
                    </a:cubicBezTo>
                    <a:cubicBezTo>
                      <a:pt x="88" y="3"/>
                      <a:pt x="88" y="3"/>
                      <a:pt x="88" y="3"/>
                    </a:cubicBezTo>
                    <a:cubicBezTo>
                      <a:pt x="88" y="4"/>
                      <a:pt x="87" y="4"/>
                      <a:pt x="86" y="4"/>
                    </a:cubicBezTo>
                    <a:cubicBezTo>
                      <a:pt x="86" y="4"/>
                      <a:pt x="85" y="4"/>
                      <a:pt x="84" y="5"/>
                    </a:cubicBezTo>
                    <a:cubicBezTo>
                      <a:pt x="83" y="5"/>
                      <a:pt x="82" y="5"/>
                      <a:pt x="81" y="4"/>
                    </a:cubicBezTo>
                    <a:cubicBezTo>
                      <a:pt x="80" y="3"/>
                      <a:pt x="78" y="0"/>
                      <a:pt x="76" y="1"/>
                    </a:cubicBezTo>
                    <a:cubicBezTo>
                      <a:pt x="75" y="1"/>
                      <a:pt x="75" y="1"/>
                      <a:pt x="74" y="2"/>
                    </a:cubicBezTo>
                    <a:cubicBezTo>
                      <a:pt x="74" y="2"/>
                      <a:pt x="75" y="3"/>
                      <a:pt x="75" y="3"/>
                    </a:cubicBezTo>
                    <a:cubicBezTo>
                      <a:pt x="74" y="4"/>
                      <a:pt x="74" y="4"/>
                      <a:pt x="74" y="4"/>
                    </a:cubicBezTo>
                    <a:cubicBezTo>
                      <a:pt x="73" y="5"/>
                      <a:pt x="74" y="7"/>
                      <a:pt x="74" y="8"/>
                    </a:cubicBezTo>
                    <a:cubicBezTo>
                      <a:pt x="74" y="10"/>
                      <a:pt x="75" y="10"/>
                      <a:pt x="76" y="11"/>
                    </a:cubicBezTo>
                    <a:cubicBezTo>
                      <a:pt x="77" y="12"/>
                      <a:pt x="78" y="14"/>
                      <a:pt x="79" y="15"/>
                    </a:cubicBezTo>
                    <a:cubicBezTo>
                      <a:pt x="80" y="16"/>
                      <a:pt x="80" y="17"/>
                      <a:pt x="80" y="18"/>
                    </a:cubicBezTo>
                    <a:cubicBezTo>
                      <a:pt x="81" y="20"/>
                      <a:pt x="82" y="21"/>
                      <a:pt x="80" y="23"/>
                    </a:cubicBezTo>
                    <a:cubicBezTo>
                      <a:pt x="80" y="23"/>
                      <a:pt x="80" y="24"/>
                      <a:pt x="79" y="24"/>
                    </a:cubicBezTo>
                    <a:cubicBezTo>
                      <a:pt x="79" y="25"/>
                      <a:pt x="78" y="24"/>
                      <a:pt x="78" y="25"/>
                    </a:cubicBezTo>
                    <a:cubicBezTo>
                      <a:pt x="77" y="25"/>
                      <a:pt x="76" y="24"/>
                      <a:pt x="76" y="24"/>
                    </a:cubicBezTo>
                    <a:cubicBezTo>
                      <a:pt x="75" y="23"/>
                      <a:pt x="75" y="22"/>
                      <a:pt x="75" y="21"/>
                    </a:cubicBezTo>
                    <a:cubicBezTo>
                      <a:pt x="74" y="19"/>
                      <a:pt x="73" y="18"/>
                      <a:pt x="71" y="18"/>
                    </a:cubicBezTo>
                    <a:cubicBezTo>
                      <a:pt x="69" y="18"/>
                      <a:pt x="67" y="20"/>
                      <a:pt x="65" y="21"/>
                    </a:cubicBezTo>
                    <a:cubicBezTo>
                      <a:pt x="65" y="21"/>
                      <a:pt x="64" y="21"/>
                      <a:pt x="64" y="22"/>
                    </a:cubicBezTo>
                    <a:cubicBezTo>
                      <a:pt x="63" y="22"/>
                      <a:pt x="63" y="22"/>
                      <a:pt x="63" y="23"/>
                    </a:cubicBezTo>
                    <a:cubicBezTo>
                      <a:pt x="62" y="24"/>
                      <a:pt x="60" y="26"/>
                      <a:pt x="58" y="27"/>
                    </a:cubicBezTo>
                    <a:cubicBezTo>
                      <a:pt x="57" y="28"/>
                      <a:pt x="56" y="29"/>
                      <a:pt x="56" y="30"/>
                    </a:cubicBezTo>
                    <a:cubicBezTo>
                      <a:pt x="56" y="31"/>
                      <a:pt x="57" y="32"/>
                      <a:pt x="57" y="33"/>
                    </a:cubicBezTo>
                    <a:cubicBezTo>
                      <a:pt x="57" y="35"/>
                      <a:pt x="57" y="36"/>
                      <a:pt x="56" y="37"/>
                    </a:cubicBezTo>
                    <a:cubicBezTo>
                      <a:pt x="56" y="38"/>
                      <a:pt x="56" y="39"/>
                      <a:pt x="55" y="40"/>
                    </a:cubicBezTo>
                    <a:cubicBezTo>
                      <a:pt x="55" y="41"/>
                      <a:pt x="56" y="41"/>
                      <a:pt x="55" y="42"/>
                    </a:cubicBezTo>
                    <a:cubicBezTo>
                      <a:pt x="55" y="43"/>
                      <a:pt x="53" y="43"/>
                      <a:pt x="52" y="44"/>
                    </a:cubicBezTo>
                    <a:cubicBezTo>
                      <a:pt x="52" y="45"/>
                      <a:pt x="52" y="47"/>
                      <a:pt x="51" y="48"/>
                    </a:cubicBezTo>
                    <a:cubicBezTo>
                      <a:pt x="51" y="48"/>
                      <a:pt x="51" y="48"/>
                      <a:pt x="51" y="49"/>
                    </a:cubicBezTo>
                    <a:cubicBezTo>
                      <a:pt x="51" y="49"/>
                      <a:pt x="51" y="50"/>
                      <a:pt x="51" y="50"/>
                    </a:cubicBezTo>
                    <a:cubicBezTo>
                      <a:pt x="50" y="52"/>
                      <a:pt x="49" y="53"/>
                      <a:pt x="48" y="55"/>
                    </a:cubicBezTo>
                    <a:cubicBezTo>
                      <a:pt x="48" y="55"/>
                      <a:pt x="47" y="56"/>
                      <a:pt x="47" y="57"/>
                    </a:cubicBezTo>
                    <a:cubicBezTo>
                      <a:pt x="47" y="58"/>
                      <a:pt x="48" y="58"/>
                      <a:pt x="48" y="60"/>
                    </a:cubicBezTo>
                    <a:cubicBezTo>
                      <a:pt x="48" y="61"/>
                      <a:pt x="48" y="62"/>
                      <a:pt x="48" y="64"/>
                    </a:cubicBezTo>
                    <a:cubicBezTo>
                      <a:pt x="49" y="64"/>
                      <a:pt x="49" y="66"/>
                      <a:pt x="49" y="66"/>
                    </a:cubicBezTo>
                    <a:cubicBezTo>
                      <a:pt x="50" y="66"/>
                      <a:pt x="50" y="66"/>
                      <a:pt x="50" y="67"/>
                    </a:cubicBezTo>
                    <a:cubicBezTo>
                      <a:pt x="50" y="67"/>
                      <a:pt x="51" y="68"/>
                      <a:pt x="51" y="69"/>
                    </a:cubicBezTo>
                    <a:cubicBezTo>
                      <a:pt x="51" y="69"/>
                      <a:pt x="51" y="70"/>
                      <a:pt x="51" y="71"/>
                    </a:cubicBezTo>
                    <a:cubicBezTo>
                      <a:pt x="51" y="74"/>
                      <a:pt x="51" y="79"/>
                      <a:pt x="49" y="81"/>
                    </a:cubicBezTo>
                    <a:cubicBezTo>
                      <a:pt x="49" y="81"/>
                      <a:pt x="49" y="82"/>
                      <a:pt x="48" y="82"/>
                    </a:cubicBezTo>
                    <a:cubicBezTo>
                      <a:pt x="48" y="82"/>
                      <a:pt x="48" y="83"/>
                      <a:pt x="48" y="83"/>
                    </a:cubicBezTo>
                    <a:cubicBezTo>
                      <a:pt x="47" y="84"/>
                      <a:pt x="47" y="85"/>
                      <a:pt x="46" y="84"/>
                    </a:cubicBezTo>
                    <a:cubicBezTo>
                      <a:pt x="45" y="83"/>
                      <a:pt x="44" y="81"/>
                      <a:pt x="43" y="80"/>
                    </a:cubicBezTo>
                    <a:cubicBezTo>
                      <a:pt x="43" y="79"/>
                      <a:pt x="43" y="78"/>
                      <a:pt x="42" y="77"/>
                    </a:cubicBezTo>
                    <a:cubicBezTo>
                      <a:pt x="41" y="76"/>
                      <a:pt x="40" y="74"/>
                      <a:pt x="39" y="74"/>
                    </a:cubicBezTo>
                    <a:cubicBezTo>
                      <a:pt x="38" y="74"/>
                      <a:pt x="33" y="75"/>
                      <a:pt x="33" y="73"/>
                    </a:cubicBezTo>
                    <a:cubicBezTo>
                      <a:pt x="32" y="72"/>
                      <a:pt x="31" y="71"/>
                      <a:pt x="30" y="71"/>
                    </a:cubicBezTo>
                    <a:cubicBezTo>
                      <a:pt x="29" y="70"/>
                      <a:pt x="27" y="69"/>
                      <a:pt x="25" y="67"/>
                    </a:cubicBezTo>
                    <a:cubicBezTo>
                      <a:pt x="23" y="66"/>
                      <a:pt x="21" y="64"/>
                      <a:pt x="20" y="63"/>
                    </a:cubicBezTo>
                    <a:cubicBezTo>
                      <a:pt x="18" y="62"/>
                      <a:pt x="17" y="60"/>
                      <a:pt x="16" y="59"/>
                    </a:cubicBezTo>
                    <a:cubicBezTo>
                      <a:pt x="16" y="58"/>
                      <a:pt x="16" y="57"/>
                      <a:pt x="15" y="56"/>
                    </a:cubicBezTo>
                    <a:cubicBezTo>
                      <a:pt x="14" y="55"/>
                      <a:pt x="13" y="54"/>
                      <a:pt x="12" y="53"/>
                    </a:cubicBezTo>
                    <a:cubicBezTo>
                      <a:pt x="12" y="52"/>
                      <a:pt x="12" y="52"/>
                      <a:pt x="12" y="52"/>
                    </a:cubicBezTo>
                    <a:cubicBezTo>
                      <a:pt x="12" y="51"/>
                      <a:pt x="11" y="51"/>
                      <a:pt x="11" y="51"/>
                    </a:cubicBezTo>
                    <a:cubicBezTo>
                      <a:pt x="11" y="51"/>
                      <a:pt x="11" y="50"/>
                      <a:pt x="11" y="50"/>
                    </a:cubicBezTo>
                    <a:cubicBezTo>
                      <a:pt x="10" y="49"/>
                      <a:pt x="9" y="50"/>
                      <a:pt x="8" y="50"/>
                    </a:cubicBezTo>
                    <a:cubicBezTo>
                      <a:pt x="8" y="50"/>
                      <a:pt x="7" y="51"/>
                      <a:pt x="6" y="51"/>
                    </a:cubicBezTo>
                    <a:cubicBezTo>
                      <a:pt x="5" y="51"/>
                      <a:pt x="1" y="52"/>
                      <a:pt x="0" y="54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55"/>
                      <a:pt x="0" y="56"/>
                      <a:pt x="0" y="57"/>
                    </a:cubicBezTo>
                    <a:cubicBezTo>
                      <a:pt x="1" y="57"/>
                      <a:pt x="2" y="57"/>
                      <a:pt x="3" y="58"/>
                    </a:cubicBezTo>
                    <a:cubicBezTo>
                      <a:pt x="4" y="58"/>
                      <a:pt x="5" y="58"/>
                      <a:pt x="5" y="59"/>
                    </a:cubicBezTo>
                    <a:cubicBezTo>
                      <a:pt x="5" y="59"/>
                      <a:pt x="6" y="59"/>
                      <a:pt x="6" y="59"/>
                    </a:cubicBezTo>
                    <a:cubicBezTo>
                      <a:pt x="7" y="59"/>
                      <a:pt x="9" y="60"/>
                      <a:pt x="10" y="61"/>
                    </a:cubicBezTo>
                    <a:cubicBezTo>
                      <a:pt x="11" y="62"/>
                      <a:pt x="12" y="62"/>
                      <a:pt x="12" y="62"/>
                    </a:cubicBezTo>
                    <a:cubicBezTo>
                      <a:pt x="13" y="62"/>
                      <a:pt x="13" y="63"/>
                      <a:pt x="14" y="63"/>
                    </a:cubicBezTo>
                    <a:cubicBezTo>
                      <a:pt x="14" y="64"/>
                      <a:pt x="15" y="64"/>
                      <a:pt x="15" y="65"/>
                    </a:cubicBezTo>
                    <a:cubicBezTo>
                      <a:pt x="16" y="65"/>
                      <a:pt x="17" y="65"/>
                      <a:pt x="17" y="66"/>
                    </a:cubicBezTo>
                    <a:cubicBezTo>
                      <a:pt x="19" y="67"/>
                      <a:pt x="20" y="69"/>
                      <a:pt x="22" y="71"/>
                    </a:cubicBezTo>
                    <a:cubicBezTo>
                      <a:pt x="23" y="71"/>
                      <a:pt x="24" y="72"/>
                      <a:pt x="24" y="73"/>
                    </a:cubicBezTo>
                    <a:cubicBezTo>
                      <a:pt x="25" y="73"/>
                      <a:pt x="25" y="74"/>
                      <a:pt x="26" y="75"/>
                    </a:cubicBezTo>
                    <a:cubicBezTo>
                      <a:pt x="27" y="76"/>
                      <a:pt x="29" y="77"/>
                      <a:pt x="30" y="78"/>
                    </a:cubicBezTo>
                    <a:cubicBezTo>
                      <a:pt x="31" y="79"/>
                      <a:pt x="32" y="80"/>
                      <a:pt x="33" y="81"/>
                    </a:cubicBezTo>
                    <a:cubicBezTo>
                      <a:pt x="34" y="81"/>
                      <a:pt x="34" y="82"/>
                      <a:pt x="34" y="82"/>
                    </a:cubicBezTo>
                    <a:cubicBezTo>
                      <a:pt x="35" y="83"/>
                      <a:pt x="35" y="83"/>
                      <a:pt x="36" y="83"/>
                    </a:cubicBezTo>
                    <a:cubicBezTo>
                      <a:pt x="40" y="85"/>
                      <a:pt x="43" y="88"/>
                      <a:pt x="47" y="90"/>
                    </a:cubicBezTo>
                    <a:cubicBezTo>
                      <a:pt x="49" y="91"/>
                      <a:pt x="51" y="93"/>
                      <a:pt x="53" y="94"/>
                    </a:cubicBezTo>
                    <a:cubicBezTo>
                      <a:pt x="55" y="95"/>
                      <a:pt x="57" y="97"/>
                      <a:pt x="58" y="99"/>
                    </a:cubicBezTo>
                    <a:cubicBezTo>
                      <a:pt x="59" y="100"/>
                      <a:pt x="59" y="102"/>
                      <a:pt x="60" y="102"/>
                    </a:cubicBezTo>
                    <a:cubicBezTo>
                      <a:pt x="61" y="103"/>
                      <a:pt x="62" y="103"/>
                      <a:pt x="62" y="104"/>
                    </a:cubicBezTo>
                    <a:cubicBezTo>
                      <a:pt x="63" y="104"/>
                      <a:pt x="64" y="105"/>
                      <a:pt x="65" y="105"/>
                    </a:cubicBezTo>
                    <a:cubicBezTo>
                      <a:pt x="67" y="105"/>
                      <a:pt x="66" y="105"/>
                      <a:pt x="67" y="106"/>
                    </a:cubicBezTo>
                    <a:cubicBezTo>
                      <a:pt x="68" y="106"/>
                      <a:pt x="68" y="106"/>
                      <a:pt x="68" y="106"/>
                    </a:cubicBezTo>
                    <a:cubicBezTo>
                      <a:pt x="68" y="106"/>
                      <a:pt x="69" y="107"/>
                      <a:pt x="69" y="107"/>
                    </a:cubicBezTo>
                    <a:cubicBezTo>
                      <a:pt x="71" y="109"/>
                      <a:pt x="72" y="113"/>
                      <a:pt x="74" y="115"/>
                    </a:cubicBezTo>
                    <a:cubicBezTo>
                      <a:pt x="75" y="116"/>
                      <a:pt x="75" y="116"/>
                      <a:pt x="76" y="116"/>
                    </a:cubicBezTo>
                    <a:cubicBezTo>
                      <a:pt x="77" y="117"/>
                      <a:pt x="77" y="118"/>
                      <a:pt x="78" y="119"/>
                    </a:cubicBezTo>
                    <a:cubicBezTo>
                      <a:pt x="79" y="121"/>
                      <a:pt x="79" y="124"/>
                      <a:pt x="80" y="126"/>
                    </a:cubicBezTo>
                    <a:cubicBezTo>
                      <a:pt x="81" y="128"/>
                      <a:pt x="81" y="129"/>
                      <a:pt x="82" y="131"/>
                    </a:cubicBezTo>
                    <a:cubicBezTo>
                      <a:pt x="83" y="132"/>
                      <a:pt x="85" y="132"/>
                      <a:pt x="86" y="133"/>
                    </a:cubicBezTo>
                    <a:cubicBezTo>
                      <a:pt x="87" y="133"/>
                      <a:pt x="88" y="135"/>
                      <a:pt x="90" y="135"/>
                    </a:cubicBezTo>
                    <a:cubicBezTo>
                      <a:pt x="91" y="134"/>
                      <a:pt x="90" y="134"/>
                      <a:pt x="91" y="133"/>
                    </a:cubicBezTo>
                    <a:cubicBezTo>
                      <a:pt x="91" y="132"/>
                      <a:pt x="91" y="132"/>
                      <a:pt x="91" y="131"/>
                    </a:cubicBezTo>
                    <a:cubicBezTo>
                      <a:pt x="93" y="129"/>
                      <a:pt x="96" y="127"/>
                      <a:pt x="95" y="124"/>
                    </a:cubicBezTo>
                    <a:cubicBezTo>
                      <a:pt x="95" y="120"/>
                      <a:pt x="92" y="115"/>
                      <a:pt x="90" y="111"/>
                    </a:cubicBezTo>
                    <a:cubicBezTo>
                      <a:pt x="88" y="110"/>
                      <a:pt x="86" y="108"/>
                      <a:pt x="86" y="105"/>
                    </a:cubicBezTo>
                    <a:cubicBezTo>
                      <a:pt x="87" y="103"/>
                      <a:pt x="91" y="103"/>
                      <a:pt x="93" y="102"/>
                    </a:cubicBezTo>
                    <a:cubicBezTo>
                      <a:pt x="94" y="101"/>
                      <a:pt x="95" y="100"/>
                      <a:pt x="95" y="98"/>
                    </a:cubicBezTo>
                    <a:cubicBezTo>
                      <a:pt x="96" y="97"/>
                      <a:pt x="97" y="95"/>
                      <a:pt x="97" y="94"/>
                    </a:cubicBezTo>
                    <a:cubicBezTo>
                      <a:pt x="98" y="93"/>
                      <a:pt x="98" y="92"/>
                      <a:pt x="99" y="91"/>
                    </a:cubicBezTo>
                    <a:cubicBezTo>
                      <a:pt x="100" y="90"/>
                      <a:pt x="100" y="89"/>
                      <a:pt x="101" y="88"/>
                    </a:cubicBezTo>
                    <a:cubicBezTo>
                      <a:pt x="103" y="87"/>
                      <a:pt x="104" y="85"/>
                      <a:pt x="105" y="83"/>
                    </a:cubicBezTo>
                    <a:cubicBezTo>
                      <a:pt x="107" y="81"/>
                      <a:pt x="108" y="80"/>
                      <a:pt x="109" y="78"/>
                    </a:cubicBezTo>
                    <a:cubicBezTo>
                      <a:pt x="109" y="77"/>
                      <a:pt x="109" y="77"/>
                      <a:pt x="109" y="76"/>
                    </a:cubicBezTo>
                    <a:cubicBezTo>
                      <a:pt x="109" y="76"/>
                      <a:pt x="111" y="74"/>
                      <a:pt x="111" y="74"/>
                    </a:cubicBezTo>
                    <a:cubicBezTo>
                      <a:pt x="112" y="74"/>
                      <a:pt x="112" y="74"/>
                      <a:pt x="112" y="75"/>
                    </a:cubicBezTo>
                    <a:cubicBezTo>
                      <a:pt x="113" y="77"/>
                      <a:pt x="113" y="79"/>
                      <a:pt x="113" y="81"/>
                    </a:cubicBezTo>
                    <a:cubicBezTo>
                      <a:pt x="113" y="83"/>
                      <a:pt x="113" y="86"/>
                      <a:pt x="113" y="87"/>
                    </a:cubicBezTo>
                    <a:cubicBezTo>
                      <a:pt x="114" y="90"/>
                      <a:pt x="116" y="89"/>
                      <a:pt x="118" y="89"/>
                    </a:cubicBezTo>
                    <a:cubicBezTo>
                      <a:pt x="121" y="89"/>
                      <a:pt x="123" y="89"/>
                      <a:pt x="126" y="88"/>
                    </a:cubicBezTo>
                    <a:cubicBezTo>
                      <a:pt x="127" y="87"/>
                      <a:pt x="129" y="87"/>
                      <a:pt x="130" y="85"/>
                    </a:cubicBezTo>
                    <a:cubicBezTo>
                      <a:pt x="131" y="85"/>
                      <a:pt x="131" y="84"/>
                      <a:pt x="131" y="83"/>
                    </a:cubicBezTo>
                    <a:cubicBezTo>
                      <a:pt x="131" y="82"/>
                      <a:pt x="132" y="82"/>
                      <a:pt x="132" y="81"/>
                    </a:cubicBezTo>
                    <a:cubicBezTo>
                      <a:pt x="133" y="80"/>
                      <a:pt x="133" y="79"/>
                      <a:pt x="133" y="78"/>
                    </a:cubicBezTo>
                    <a:cubicBezTo>
                      <a:pt x="134" y="76"/>
                      <a:pt x="135" y="73"/>
                      <a:pt x="134" y="71"/>
                    </a:cubicBezTo>
                    <a:cubicBezTo>
                      <a:pt x="134" y="71"/>
                      <a:pt x="133" y="70"/>
                      <a:pt x="132" y="70"/>
                    </a:cubicBezTo>
                    <a:cubicBezTo>
                      <a:pt x="132" y="69"/>
                      <a:pt x="131" y="69"/>
                      <a:pt x="130" y="69"/>
                    </a:cubicBezTo>
                    <a:cubicBezTo>
                      <a:pt x="129" y="69"/>
                      <a:pt x="129" y="68"/>
                      <a:pt x="129" y="68"/>
                    </a:cubicBezTo>
                    <a:cubicBezTo>
                      <a:pt x="128" y="66"/>
                      <a:pt x="131" y="64"/>
                      <a:pt x="133" y="64"/>
                    </a:cubicBezTo>
                    <a:cubicBezTo>
                      <a:pt x="134" y="65"/>
                      <a:pt x="135" y="65"/>
                      <a:pt x="136" y="66"/>
                    </a:cubicBezTo>
                    <a:cubicBezTo>
                      <a:pt x="138" y="67"/>
                      <a:pt x="139" y="67"/>
                      <a:pt x="141" y="67"/>
                    </a:cubicBezTo>
                    <a:cubicBezTo>
                      <a:pt x="141" y="65"/>
                      <a:pt x="140" y="62"/>
                      <a:pt x="142" y="62"/>
                    </a:cubicBezTo>
                    <a:cubicBezTo>
                      <a:pt x="143" y="62"/>
                      <a:pt x="145" y="63"/>
                      <a:pt x="146" y="62"/>
                    </a:cubicBezTo>
                    <a:cubicBezTo>
                      <a:pt x="146" y="61"/>
                      <a:pt x="145" y="60"/>
                      <a:pt x="146" y="60"/>
                    </a:cubicBezTo>
                    <a:cubicBezTo>
                      <a:pt x="147" y="59"/>
                      <a:pt x="148" y="59"/>
                      <a:pt x="148" y="59"/>
                    </a:cubicBezTo>
                    <a:cubicBezTo>
                      <a:pt x="149" y="58"/>
                      <a:pt x="149" y="58"/>
                      <a:pt x="149" y="57"/>
                    </a:cubicBezTo>
                    <a:cubicBezTo>
                      <a:pt x="150" y="55"/>
                      <a:pt x="148" y="52"/>
                      <a:pt x="147" y="5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80" name="Freeform 29">
                <a:extLst>
                  <a:ext uri="{FF2B5EF4-FFF2-40B4-BE49-F238E27FC236}">
                    <a16:creationId xmlns:a16="http://schemas.microsoft.com/office/drawing/2014/main" id="{CC4371CC-737F-46EA-B058-A417C79828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650" y="5132388"/>
                <a:ext cx="406400" cy="601663"/>
              </a:xfrm>
              <a:custGeom>
                <a:avLst/>
                <a:gdLst/>
                <a:ahLst/>
                <a:cxnLst>
                  <a:cxn ang="0">
                    <a:pos x="53" y="277"/>
                  </a:cxn>
                  <a:cxn ang="0">
                    <a:pos x="53" y="278"/>
                  </a:cxn>
                  <a:cxn ang="0">
                    <a:pos x="54" y="276"/>
                  </a:cxn>
                  <a:cxn ang="0">
                    <a:pos x="58" y="282"/>
                  </a:cxn>
                  <a:cxn ang="0">
                    <a:pos x="54" y="280"/>
                  </a:cxn>
                  <a:cxn ang="0">
                    <a:pos x="208" y="236"/>
                  </a:cxn>
                  <a:cxn ang="0">
                    <a:pos x="200" y="227"/>
                  </a:cxn>
                  <a:cxn ang="0">
                    <a:pos x="192" y="213"/>
                  </a:cxn>
                  <a:cxn ang="0">
                    <a:pos x="188" y="190"/>
                  </a:cxn>
                  <a:cxn ang="0">
                    <a:pos x="201" y="176"/>
                  </a:cxn>
                  <a:cxn ang="0">
                    <a:pos x="195" y="148"/>
                  </a:cxn>
                  <a:cxn ang="0">
                    <a:pos x="198" y="139"/>
                  </a:cxn>
                  <a:cxn ang="0">
                    <a:pos x="183" y="129"/>
                  </a:cxn>
                  <a:cxn ang="0">
                    <a:pos x="170" y="135"/>
                  </a:cxn>
                  <a:cxn ang="0">
                    <a:pos x="147" y="122"/>
                  </a:cxn>
                  <a:cxn ang="0">
                    <a:pos x="137" y="115"/>
                  </a:cxn>
                  <a:cxn ang="0">
                    <a:pos x="141" y="103"/>
                  </a:cxn>
                  <a:cxn ang="0">
                    <a:pos x="137" y="90"/>
                  </a:cxn>
                  <a:cxn ang="0">
                    <a:pos x="137" y="76"/>
                  </a:cxn>
                  <a:cxn ang="0">
                    <a:pos x="107" y="61"/>
                  </a:cxn>
                  <a:cxn ang="0">
                    <a:pos x="105" y="40"/>
                  </a:cxn>
                  <a:cxn ang="0">
                    <a:pos x="95" y="29"/>
                  </a:cxn>
                  <a:cxn ang="0">
                    <a:pos x="81" y="12"/>
                  </a:cxn>
                  <a:cxn ang="0">
                    <a:pos x="44" y="0"/>
                  </a:cxn>
                  <a:cxn ang="0">
                    <a:pos x="26" y="8"/>
                  </a:cxn>
                  <a:cxn ang="0">
                    <a:pos x="6" y="18"/>
                  </a:cxn>
                  <a:cxn ang="0">
                    <a:pos x="2" y="31"/>
                  </a:cxn>
                  <a:cxn ang="0">
                    <a:pos x="2" y="48"/>
                  </a:cxn>
                  <a:cxn ang="0">
                    <a:pos x="6" y="64"/>
                  </a:cxn>
                  <a:cxn ang="0">
                    <a:pos x="19" y="82"/>
                  </a:cxn>
                  <a:cxn ang="0">
                    <a:pos x="23" y="112"/>
                  </a:cxn>
                  <a:cxn ang="0">
                    <a:pos x="11" y="142"/>
                  </a:cxn>
                  <a:cxn ang="0">
                    <a:pos x="24" y="151"/>
                  </a:cxn>
                  <a:cxn ang="0">
                    <a:pos x="24" y="164"/>
                  </a:cxn>
                  <a:cxn ang="0">
                    <a:pos x="36" y="173"/>
                  </a:cxn>
                  <a:cxn ang="0">
                    <a:pos x="15" y="176"/>
                  </a:cxn>
                  <a:cxn ang="0">
                    <a:pos x="28" y="201"/>
                  </a:cxn>
                  <a:cxn ang="0">
                    <a:pos x="25" y="214"/>
                  </a:cxn>
                  <a:cxn ang="0">
                    <a:pos x="13" y="212"/>
                  </a:cxn>
                  <a:cxn ang="0">
                    <a:pos x="22" y="223"/>
                  </a:cxn>
                  <a:cxn ang="0">
                    <a:pos x="36" y="241"/>
                  </a:cxn>
                  <a:cxn ang="0">
                    <a:pos x="51" y="247"/>
                  </a:cxn>
                  <a:cxn ang="0">
                    <a:pos x="60" y="258"/>
                  </a:cxn>
                  <a:cxn ang="0">
                    <a:pos x="72" y="270"/>
                  </a:cxn>
                  <a:cxn ang="0">
                    <a:pos x="82" y="262"/>
                  </a:cxn>
                  <a:cxn ang="0">
                    <a:pos x="93" y="244"/>
                  </a:cxn>
                  <a:cxn ang="0">
                    <a:pos x="105" y="245"/>
                  </a:cxn>
                  <a:cxn ang="0">
                    <a:pos x="117" y="255"/>
                  </a:cxn>
                  <a:cxn ang="0">
                    <a:pos x="131" y="272"/>
                  </a:cxn>
                  <a:cxn ang="0">
                    <a:pos x="151" y="289"/>
                  </a:cxn>
                  <a:cxn ang="0">
                    <a:pos x="143" y="305"/>
                  </a:cxn>
                  <a:cxn ang="0">
                    <a:pos x="138" y="321"/>
                  </a:cxn>
                  <a:cxn ang="0">
                    <a:pos x="159" y="316"/>
                  </a:cxn>
                  <a:cxn ang="0">
                    <a:pos x="174" y="312"/>
                  </a:cxn>
                  <a:cxn ang="0">
                    <a:pos x="190" y="299"/>
                  </a:cxn>
                  <a:cxn ang="0">
                    <a:pos x="187" y="276"/>
                  </a:cxn>
                  <a:cxn ang="0">
                    <a:pos x="202" y="269"/>
                  </a:cxn>
                </a:cxnLst>
                <a:rect l="0" t="0" r="r" b="b"/>
                <a:pathLst>
                  <a:path w="218" h="322">
                    <a:moveTo>
                      <a:pt x="53" y="277"/>
                    </a:moveTo>
                    <a:cubicBezTo>
                      <a:pt x="53" y="276"/>
                      <a:pt x="53" y="276"/>
                      <a:pt x="53" y="276"/>
                    </a:cubicBezTo>
                    <a:cubicBezTo>
                      <a:pt x="53" y="276"/>
                      <a:pt x="53" y="276"/>
                      <a:pt x="53" y="276"/>
                    </a:cubicBezTo>
                    <a:cubicBezTo>
                      <a:pt x="53" y="276"/>
                      <a:pt x="53" y="276"/>
                      <a:pt x="53" y="277"/>
                    </a:cubicBezTo>
                    <a:moveTo>
                      <a:pt x="53" y="277"/>
                    </a:moveTo>
                    <a:cubicBezTo>
                      <a:pt x="53" y="277"/>
                      <a:pt x="53" y="277"/>
                      <a:pt x="53" y="277"/>
                    </a:cubicBezTo>
                    <a:cubicBezTo>
                      <a:pt x="53" y="277"/>
                      <a:pt x="53" y="277"/>
                      <a:pt x="53" y="277"/>
                    </a:cubicBezTo>
                    <a:cubicBezTo>
                      <a:pt x="53" y="277"/>
                      <a:pt x="53" y="277"/>
                      <a:pt x="53" y="276"/>
                    </a:cubicBezTo>
                    <a:cubicBezTo>
                      <a:pt x="53" y="277"/>
                      <a:pt x="53" y="277"/>
                      <a:pt x="53" y="277"/>
                    </a:cubicBezTo>
                    <a:moveTo>
                      <a:pt x="53" y="277"/>
                    </a:moveTo>
                    <a:cubicBezTo>
                      <a:pt x="53" y="277"/>
                      <a:pt x="53" y="277"/>
                      <a:pt x="53" y="277"/>
                    </a:cubicBezTo>
                    <a:cubicBezTo>
                      <a:pt x="53" y="277"/>
                      <a:pt x="53" y="278"/>
                      <a:pt x="53" y="278"/>
                    </a:cubicBezTo>
                    <a:cubicBezTo>
                      <a:pt x="53" y="278"/>
                      <a:pt x="53" y="278"/>
                      <a:pt x="53" y="278"/>
                    </a:cubicBezTo>
                    <a:cubicBezTo>
                      <a:pt x="53" y="278"/>
                      <a:pt x="53" y="277"/>
                      <a:pt x="53" y="277"/>
                    </a:cubicBezTo>
                    <a:moveTo>
                      <a:pt x="53" y="278"/>
                    </a:moveTo>
                    <a:cubicBezTo>
                      <a:pt x="53" y="278"/>
                      <a:pt x="53" y="277"/>
                      <a:pt x="53" y="277"/>
                    </a:cubicBezTo>
                    <a:cubicBezTo>
                      <a:pt x="53" y="277"/>
                      <a:pt x="53" y="278"/>
                      <a:pt x="53" y="278"/>
                    </a:cubicBezTo>
                    <a:moveTo>
                      <a:pt x="54" y="276"/>
                    </a:moveTo>
                    <a:cubicBezTo>
                      <a:pt x="54" y="276"/>
                      <a:pt x="54" y="276"/>
                      <a:pt x="54" y="276"/>
                    </a:cubicBezTo>
                    <a:cubicBezTo>
                      <a:pt x="55" y="275"/>
                      <a:pt x="56" y="275"/>
                      <a:pt x="56" y="275"/>
                    </a:cubicBezTo>
                    <a:cubicBezTo>
                      <a:pt x="55" y="275"/>
                      <a:pt x="54" y="276"/>
                      <a:pt x="54" y="276"/>
                    </a:cubicBezTo>
                    <a:moveTo>
                      <a:pt x="58" y="282"/>
                    </a:moveTo>
                    <a:cubicBezTo>
                      <a:pt x="58" y="283"/>
                      <a:pt x="59" y="284"/>
                      <a:pt x="59" y="285"/>
                    </a:cubicBezTo>
                    <a:cubicBezTo>
                      <a:pt x="59" y="284"/>
                      <a:pt x="58" y="283"/>
                      <a:pt x="58" y="282"/>
                    </a:cubicBezTo>
                    <a:moveTo>
                      <a:pt x="56" y="275"/>
                    </a:moveTo>
                    <a:cubicBezTo>
                      <a:pt x="57" y="275"/>
                      <a:pt x="57" y="275"/>
                      <a:pt x="57" y="275"/>
                    </a:cubicBezTo>
                    <a:cubicBezTo>
                      <a:pt x="57" y="275"/>
                      <a:pt x="57" y="275"/>
                      <a:pt x="56" y="275"/>
                    </a:cubicBezTo>
                    <a:moveTo>
                      <a:pt x="54" y="280"/>
                    </a:moveTo>
                    <a:cubicBezTo>
                      <a:pt x="54" y="280"/>
                      <a:pt x="54" y="280"/>
                      <a:pt x="54" y="280"/>
                    </a:cubicBezTo>
                    <a:cubicBezTo>
                      <a:pt x="54" y="280"/>
                      <a:pt x="54" y="280"/>
                      <a:pt x="54" y="280"/>
                    </a:cubicBezTo>
                    <a:moveTo>
                      <a:pt x="217" y="248"/>
                    </a:moveTo>
                    <a:cubicBezTo>
                      <a:pt x="217" y="248"/>
                      <a:pt x="216" y="248"/>
                      <a:pt x="216" y="247"/>
                    </a:cubicBezTo>
                    <a:cubicBezTo>
                      <a:pt x="216" y="247"/>
                      <a:pt x="215" y="246"/>
                      <a:pt x="215" y="246"/>
                    </a:cubicBezTo>
                    <a:cubicBezTo>
                      <a:pt x="215" y="245"/>
                      <a:pt x="214" y="244"/>
                      <a:pt x="213" y="243"/>
                    </a:cubicBezTo>
                    <a:cubicBezTo>
                      <a:pt x="212" y="242"/>
                      <a:pt x="210" y="240"/>
                      <a:pt x="210" y="238"/>
                    </a:cubicBezTo>
                    <a:cubicBezTo>
                      <a:pt x="210" y="237"/>
                      <a:pt x="209" y="237"/>
                      <a:pt x="208" y="236"/>
                    </a:cubicBezTo>
                    <a:cubicBezTo>
                      <a:pt x="207" y="235"/>
                      <a:pt x="207" y="234"/>
                      <a:pt x="206" y="233"/>
                    </a:cubicBezTo>
                    <a:cubicBezTo>
                      <a:pt x="205" y="232"/>
                      <a:pt x="205" y="231"/>
                      <a:pt x="203" y="231"/>
                    </a:cubicBezTo>
                    <a:cubicBezTo>
                      <a:pt x="202" y="230"/>
                      <a:pt x="200" y="231"/>
                      <a:pt x="198" y="230"/>
                    </a:cubicBezTo>
                    <a:cubicBezTo>
                      <a:pt x="197" y="230"/>
                      <a:pt x="195" y="230"/>
                      <a:pt x="194" y="230"/>
                    </a:cubicBezTo>
                    <a:cubicBezTo>
                      <a:pt x="193" y="229"/>
                      <a:pt x="193" y="226"/>
                      <a:pt x="194" y="226"/>
                    </a:cubicBezTo>
                    <a:cubicBezTo>
                      <a:pt x="196" y="226"/>
                      <a:pt x="198" y="228"/>
                      <a:pt x="200" y="227"/>
                    </a:cubicBezTo>
                    <a:cubicBezTo>
                      <a:pt x="199" y="225"/>
                      <a:pt x="198" y="224"/>
                      <a:pt x="197" y="222"/>
                    </a:cubicBezTo>
                    <a:cubicBezTo>
                      <a:pt x="196" y="221"/>
                      <a:pt x="196" y="221"/>
                      <a:pt x="195" y="220"/>
                    </a:cubicBezTo>
                    <a:cubicBezTo>
                      <a:pt x="195" y="220"/>
                      <a:pt x="194" y="219"/>
                      <a:pt x="194" y="218"/>
                    </a:cubicBezTo>
                    <a:cubicBezTo>
                      <a:pt x="194" y="218"/>
                      <a:pt x="193" y="217"/>
                      <a:pt x="193" y="216"/>
                    </a:cubicBezTo>
                    <a:cubicBezTo>
                      <a:pt x="193" y="215"/>
                      <a:pt x="193" y="214"/>
                      <a:pt x="193" y="214"/>
                    </a:cubicBezTo>
                    <a:cubicBezTo>
                      <a:pt x="192" y="213"/>
                      <a:pt x="192" y="214"/>
                      <a:pt x="192" y="213"/>
                    </a:cubicBezTo>
                    <a:cubicBezTo>
                      <a:pt x="191" y="212"/>
                      <a:pt x="192" y="210"/>
                      <a:pt x="191" y="210"/>
                    </a:cubicBezTo>
                    <a:cubicBezTo>
                      <a:pt x="191" y="209"/>
                      <a:pt x="191" y="209"/>
                      <a:pt x="190" y="209"/>
                    </a:cubicBezTo>
                    <a:cubicBezTo>
                      <a:pt x="190" y="209"/>
                      <a:pt x="190" y="208"/>
                      <a:pt x="190" y="208"/>
                    </a:cubicBezTo>
                    <a:cubicBezTo>
                      <a:pt x="189" y="207"/>
                      <a:pt x="188" y="205"/>
                      <a:pt x="187" y="203"/>
                    </a:cubicBezTo>
                    <a:cubicBezTo>
                      <a:pt x="187" y="201"/>
                      <a:pt x="187" y="196"/>
                      <a:pt x="187" y="194"/>
                    </a:cubicBezTo>
                    <a:cubicBezTo>
                      <a:pt x="187" y="192"/>
                      <a:pt x="188" y="191"/>
                      <a:pt x="188" y="190"/>
                    </a:cubicBezTo>
                    <a:cubicBezTo>
                      <a:pt x="189" y="189"/>
                      <a:pt x="190" y="189"/>
                      <a:pt x="191" y="187"/>
                    </a:cubicBezTo>
                    <a:cubicBezTo>
                      <a:pt x="191" y="186"/>
                      <a:pt x="191" y="186"/>
                      <a:pt x="191" y="185"/>
                    </a:cubicBezTo>
                    <a:cubicBezTo>
                      <a:pt x="191" y="184"/>
                      <a:pt x="192" y="184"/>
                      <a:pt x="192" y="183"/>
                    </a:cubicBezTo>
                    <a:cubicBezTo>
                      <a:pt x="194" y="181"/>
                      <a:pt x="194" y="178"/>
                      <a:pt x="196" y="177"/>
                    </a:cubicBezTo>
                    <a:cubicBezTo>
                      <a:pt x="196" y="176"/>
                      <a:pt x="198" y="176"/>
                      <a:pt x="198" y="176"/>
                    </a:cubicBezTo>
                    <a:cubicBezTo>
                      <a:pt x="199" y="176"/>
                      <a:pt x="201" y="176"/>
                      <a:pt x="201" y="176"/>
                    </a:cubicBezTo>
                    <a:cubicBezTo>
                      <a:pt x="202" y="175"/>
                      <a:pt x="202" y="174"/>
                      <a:pt x="202" y="173"/>
                    </a:cubicBezTo>
                    <a:cubicBezTo>
                      <a:pt x="202" y="169"/>
                      <a:pt x="202" y="165"/>
                      <a:pt x="202" y="161"/>
                    </a:cubicBezTo>
                    <a:cubicBezTo>
                      <a:pt x="202" y="159"/>
                      <a:pt x="201" y="157"/>
                      <a:pt x="199" y="156"/>
                    </a:cubicBezTo>
                    <a:cubicBezTo>
                      <a:pt x="199" y="155"/>
                      <a:pt x="198" y="154"/>
                      <a:pt x="198" y="154"/>
                    </a:cubicBezTo>
                    <a:cubicBezTo>
                      <a:pt x="197" y="153"/>
                      <a:pt x="196" y="153"/>
                      <a:pt x="195" y="152"/>
                    </a:cubicBezTo>
                    <a:cubicBezTo>
                      <a:pt x="194" y="151"/>
                      <a:pt x="195" y="149"/>
                      <a:pt x="195" y="148"/>
                    </a:cubicBezTo>
                    <a:cubicBezTo>
                      <a:pt x="194" y="148"/>
                      <a:pt x="193" y="147"/>
                      <a:pt x="193" y="146"/>
                    </a:cubicBezTo>
                    <a:cubicBezTo>
                      <a:pt x="193" y="145"/>
                      <a:pt x="192" y="145"/>
                      <a:pt x="192" y="144"/>
                    </a:cubicBezTo>
                    <a:cubicBezTo>
                      <a:pt x="193" y="143"/>
                      <a:pt x="193" y="143"/>
                      <a:pt x="194" y="143"/>
                    </a:cubicBezTo>
                    <a:cubicBezTo>
                      <a:pt x="194" y="142"/>
                      <a:pt x="194" y="142"/>
                      <a:pt x="194" y="141"/>
                    </a:cubicBezTo>
                    <a:cubicBezTo>
                      <a:pt x="194" y="140"/>
                      <a:pt x="196" y="140"/>
                      <a:pt x="196" y="140"/>
                    </a:cubicBezTo>
                    <a:cubicBezTo>
                      <a:pt x="197" y="139"/>
                      <a:pt x="197" y="139"/>
                      <a:pt x="198" y="139"/>
                    </a:cubicBezTo>
                    <a:cubicBezTo>
                      <a:pt x="199" y="138"/>
                      <a:pt x="200" y="138"/>
                      <a:pt x="201" y="137"/>
                    </a:cubicBezTo>
                    <a:cubicBezTo>
                      <a:pt x="204" y="137"/>
                      <a:pt x="207" y="137"/>
                      <a:pt x="208" y="135"/>
                    </a:cubicBezTo>
                    <a:cubicBezTo>
                      <a:pt x="209" y="132"/>
                      <a:pt x="206" y="131"/>
                      <a:pt x="204" y="130"/>
                    </a:cubicBezTo>
                    <a:cubicBezTo>
                      <a:pt x="201" y="128"/>
                      <a:pt x="199" y="128"/>
                      <a:pt x="196" y="126"/>
                    </a:cubicBezTo>
                    <a:cubicBezTo>
                      <a:pt x="193" y="125"/>
                      <a:pt x="191" y="122"/>
                      <a:pt x="188" y="123"/>
                    </a:cubicBezTo>
                    <a:cubicBezTo>
                      <a:pt x="185" y="124"/>
                      <a:pt x="185" y="127"/>
                      <a:pt x="183" y="129"/>
                    </a:cubicBezTo>
                    <a:cubicBezTo>
                      <a:pt x="182" y="129"/>
                      <a:pt x="182" y="130"/>
                      <a:pt x="181" y="131"/>
                    </a:cubicBezTo>
                    <a:cubicBezTo>
                      <a:pt x="181" y="131"/>
                      <a:pt x="181" y="132"/>
                      <a:pt x="180" y="133"/>
                    </a:cubicBezTo>
                    <a:cubicBezTo>
                      <a:pt x="180" y="133"/>
                      <a:pt x="180" y="134"/>
                      <a:pt x="180" y="134"/>
                    </a:cubicBezTo>
                    <a:cubicBezTo>
                      <a:pt x="179" y="136"/>
                      <a:pt x="179" y="135"/>
                      <a:pt x="178" y="136"/>
                    </a:cubicBezTo>
                    <a:cubicBezTo>
                      <a:pt x="176" y="138"/>
                      <a:pt x="175" y="138"/>
                      <a:pt x="172" y="137"/>
                    </a:cubicBezTo>
                    <a:cubicBezTo>
                      <a:pt x="170" y="137"/>
                      <a:pt x="170" y="137"/>
                      <a:pt x="170" y="135"/>
                    </a:cubicBezTo>
                    <a:cubicBezTo>
                      <a:pt x="169" y="135"/>
                      <a:pt x="169" y="133"/>
                      <a:pt x="169" y="133"/>
                    </a:cubicBezTo>
                    <a:cubicBezTo>
                      <a:pt x="168" y="132"/>
                      <a:pt x="167" y="132"/>
                      <a:pt x="166" y="131"/>
                    </a:cubicBezTo>
                    <a:cubicBezTo>
                      <a:pt x="165" y="131"/>
                      <a:pt x="164" y="130"/>
                      <a:pt x="163" y="130"/>
                    </a:cubicBezTo>
                    <a:cubicBezTo>
                      <a:pt x="161" y="128"/>
                      <a:pt x="159" y="126"/>
                      <a:pt x="156" y="125"/>
                    </a:cubicBezTo>
                    <a:cubicBezTo>
                      <a:pt x="153" y="124"/>
                      <a:pt x="150" y="123"/>
                      <a:pt x="147" y="122"/>
                    </a:cubicBezTo>
                    <a:cubicBezTo>
                      <a:pt x="147" y="122"/>
                      <a:pt x="147" y="122"/>
                      <a:pt x="147" y="122"/>
                    </a:cubicBezTo>
                    <a:cubicBezTo>
                      <a:pt x="147" y="122"/>
                      <a:pt x="146" y="122"/>
                      <a:pt x="146" y="122"/>
                    </a:cubicBezTo>
                    <a:cubicBezTo>
                      <a:pt x="145" y="121"/>
                      <a:pt x="144" y="121"/>
                      <a:pt x="143" y="120"/>
                    </a:cubicBezTo>
                    <a:cubicBezTo>
                      <a:pt x="143" y="119"/>
                      <a:pt x="143" y="119"/>
                      <a:pt x="143" y="118"/>
                    </a:cubicBezTo>
                    <a:cubicBezTo>
                      <a:pt x="143" y="118"/>
                      <a:pt x="142" y="117"/>
                      <a:pt x="142" y="117"/>
                    </a:cubicBezTo>
                    <a:cubicBezTo>
                      <a:pt x="142" y="116"/>
                      <a:pt x="142" y="116"/>
                      <a:pt x="141" y="115"/>
                    </a:cubicBezTo>
                    <a:cubicBezTo>
                      <a:pt x="141" y="115"/>
                      <a:pt x="138" y="115"/>
                      <a:pt x="137" y="115"/>
                    </a:cubicBezTo>
                    <a:cubicBezTo>
                      <a:pt x="136" y="115"/>
                      <a:pt x="135" y="115"/>
                      <a:pt x="134" y="115"/>
                    </a:cubicBezTo>
                    <a:cubicBezTo>
                      <a:pt x="133" y="114"/>
                      <a:pt x="133" y="113"/>
                      <a:pt x="133" y="112"/>
                    </a:cubicBezTo>
                    <a:cubicBezTo>
                      <a:pt x="132" y="111"/>
                      <a:pt x="133" y="111"/>
                      <a:pt x="134" y="110"/>
                    </a:cubicBezTo>
                    <a:cubicBezTo>
                      <a:pt x="135" y="109"/>
                      <a:pt x="135" y="108"/>
                      <a:pt x="136" y="108"/>
                    </a:cubicBezTo>
                    <a:cubicBezTo>
                      <a:pt x="138" y="107"/>
                      <a:pt x="140" y="108"/>
                      <a:pt x="141" y="108"/>
                    </a:cubicBezTo>
                    <a:cubicBezTo>
                      <a:pt x="143" y="107"/>
                      <a:pt x="142" y="104"/>
                      <a:pt x="141" y="103"/>
                    </a:cubicBezTo>
                    <a:cubicBezTo>
                      <a:pt x="140" y="102"/>
                      <a:pt x="139" y="101"/>
                      <a:pt x="139" y="101"/>
                    </a:cubicBezTo>
                    <a:cubicBezTo>
                      <a:pt x="138" y="100"/>
                      <a:pt x="136" y="100"/>
                      <a:pt x="135" y="99"/>
                    </a:cubicBezTo>
                    <a:cubicBezTo>
                      <a:pt x="134" y="98"/>
                      <a:pt x="133" y="95"/>
                      <a:pt x="134" y="94"/>
                    </a:cubicBezTo>
                    <a:cubicBezTo>
                      <a:pt x="134" y="93"/>
                      <a:pt x="135" y="93"/>
                      <a:pt x="136" y="92"/>
                    </a:cubicBezTo>
                    <a:cubicBezTo>
                      <a:pt x="136" y="92"/>
                      <a:pt x="136" y="92"/>
                      <a:pt x="136" y="91"/>
                    </a:cubicBezTo>
                    <a:cubicBezTo>
                      <a:pt x="137" y="91"/>
                      <a:pt x="137" y="90"/>
                      <a:pt x="137" y="90"/>
                    </a:cubicBezTo>
                    <a:cubicBezTo>
                      <a:pt x="137" y="88"/>
                      <a:pt x="138" y="88"/>
                      <a:pt x="139" y="87"/>
                    </a:cubicBezTo>
                    <a:cubicBezTo>
                      <a:pt x="140" y="86"/>
                      <a:pt x="141" y="85"/>
                      <a:pt x="141" y="84"/>
                    </a:cubicBezTo>
                    <a:cubicBezTo>
                      <a:pt x="141" y="83"/>
                      <a:pt x="140" y="83"/>
                      <a:pt x="139" y="82"/>
                    </a:cubicBezTo>
                    <a:cubicBezTo>
                      <a:pt x="138" y="81"/>
                      <a:pt x="138" y="80"/>
                      <a:pt x="138" y="79"/>
                    </a:cubicBezTo>
                    <a:cubicBezTo>
                      <a:pt x="139" y="78"/>
                      <a:pt x="140" y="78"/>
                      <a:pt x="139" y="77"/>
                    </a:cubicBezTo>
                    <a:cubicBezTo>
                      <a:pt x="139" y="76"/>
                      <a:pt x="138" y="76"/>
                      <a:pt x="137" y="76"/>
                    </a:cubicBezTo>
                    <a:cubicBezTo>
                      <a:pt x="137" y="75"/>
                      <a:pt x="137" y="75"/>
                      <a:pt x="136" y="74"/>
                    </a:cubicBezTo>
                    <a:cubicBezTo>
                      <a:pt x="135" y="73"/>
                      <a:pt x="134" y="73"/>
                      <a:pt x="133" y="73"/>
                    </a:cubicBezTo>
                    <a:cubicBezTo>
                      <a:pt x="126" y="73"/>
                      <a:pt x="120" y="73"/>
                      <a:pt x="114" y="71"/>
                    </a:cubicBezTo>
                    <a:cubicBezTo>
                      <a:pt x="112" y="70"/>
                      <a:pt x="111" y="69"/>
                      <a:pt x="110" y="68"/>
                    </a:cubicBezTo>
                    <a:cubicBezTo>
                      <a:pt x="110" y="67"/>
                      <a:pt x="110" y="66"/>
                      <a:pt x="110" y="65"/>
                    </a:cubicBezTo>
                    <a:cubicBezTo>
                      <a:pt x="110" y="62"/>
                      <a:pt x="110" y="62"/>
                      <a:pt x="107" y="61"/>
                    </a:cubicBezTo>
                    <a:cubicBezTo>
                      <a:pt x="105" y="61"/>
                      <a:pt x="104" y="61"/>
                      <a:pt x="104" y="59"/>
                    </a:cubicBezTo>
                    <a:cubicBezTo>
                      <a:pt x="103" y="58"/>
                      <a:pt x="103" y="57"/>
                      <a:pt x="103" y="56"/>
                    </a:cubicBezTo>
                    <a:cubicBezTo>
                      <a:pt x="104" y="55"/>
                      <a:pt x="107" y="53"/>
                      <a:pt x="106" y="52"/>
                    </a:cubicBezTo>
                    <a:cubicBezTo>
                      <a:pt x="104" y="52"/>
                      <a:pt x="103" y="48"/>
                      <a:pt x="104" y="46"/>
                    </a:cubicBezTo>
                    <a:cubicBezTo>
                      <a:pt x="104" y="45"/>
                      <a:pt x="105" y="45"/>
                      <a:pt x="105" y="44"/>
                    </a:cubicBezTo>
                    <a:cubicBezTo>
                      <a:pt x="105" y="43"/>
                      <a:pt x="105" y="41"/>
                      <a:pt x="105" y="40"/>
                    </a:cubicBezTo>
                    <a:cubicBezTo>
                      <a:pt x="105" y="38"/>
                      <a:pt x="106" y="35"/>
                      <a:pt x="105" y="33"/>
                    </a:cubicBezTo>
                    <a:cubicBezTo>
                      <a:pt x="104" y="32"/>
                      <a:pt x="103" y="32"/>
                      <a:pt x="102" y="32"/>
                    </a:cubicBezTo>
                    <a:cubicBezTo>
                      <a:pt x="101" y="32"/>
                      <a:pt x="100" y="31"/>
                      <a:pt x="100" y="32"/>
                    </a:cubicBezTo>
                    <a:cubicBezTo>
                      <a:pt x="99" y="32"/>
                      <a:pt x="99" y="33"/>
                      <a:pt x="98" y="33"/>
                    </a:cubicBezTo>
                    <a:cubicBezTo>
                      <a:pt x="97" y="33"/>
                      <a:pt x="96" y="31"/>
                      <a:pt x="96" y="30"/>
                    </a:cubicBezTo>
                    <a:cubicBezTo>
                      <a:pt x="96" y="30"/>
                      <a:pt x="95" y="29"/>
                      <a:pt x="95" y="29"/>
                    </a:cubicBezTo>
                    <a:cubicBezTo>
                      <a:pt x="94" y="28"/>
                      <a:pt x="95" y="28"/>
                      <a:pt x="94" y="27"/>
                    </a:cubicBezTo>
                    <a:cubicBezTo>
                      <a:pt x="94" y="26"/>
                      <a:pt x="93" y="25"/>
                      <a:pt x="92" y="25"/>
                    </a:cubicBezTo>
                    <a:cubicBezTo>
                      <a:pt x="90" y="24"/>
                      <a:pt x="90" y="25"/>
                      <a:pt x="90" y="23"/>
                    </a:cubicBezTo>
                    <a:cubicBezTo>
                      <a:pt x="89" y="20"/>
                      <a:pt x="86" y="20"/>
                      <a:pt x="84" y="19"/>
                    </a:cubicBezTo>
                    <a:cubicBezTo>
                      <a:pt x="83" y="19"/>
                      <a:pt x="82" y="19"/>
                      <a:pt x="82" y="18"/>
                    </a:cubicBezTo>
                    <a:cubicBezTo>
                      <a:pt x="80" y="16"/>
                      <a:pt x="81" y="14"/>
                      <a:pt x="81" y="12"/>
                    </a:cubicBezTo>
                    <a:cubicBezTo>
                      <a:pt x="76" y="3"/>
                      <a:pt x="76" y="3"/>
                      <a:pt x="76" y="3"/>
                    </a:cubicBezTo>
                    <a:cubicBezTo>
                      <a:pt x="75" y="3"/>
                      <a:pt x="75" y="3"/>
                      <a:pt x="74" y="3"/>
                    </a:cubicBezTo>
                    <a:cubicBezTo>
                      <a:pt x="71" y="3"/>
                      <a:pt x="68" y="1"/>
                      <a:pt x="65" y="1"/>
                    </a:cubicBezTo>
                    <a:cubicBezTo>
                      <a:pt x="61" y="1"/>
                      <a:pt x="59" y="2"/>
                      <a:pt x="56" y="3"/>
                    </a:cubicBezTo>
                    <a:cubicBezTo>
                      <a:pt x="53" y="3"/>
                      <a:pt x="50" y="3"/>
                      <a:pt x="46" y="2"/>
                    </a:cubicBezTo>
                    <a:cubicBezTo>
                      <a:pt x="45" y="2"/>
                      <a:pt x="45" y="1"/>
                      <a:pt x="44" y="0"/>
                    </a:cubicBezTo>
                    <a:cubicBezTo>
                      <a:pt x="43" y="0"/>
                      <a:pt x="41" y="1"/>
                      <a:pt x="40" y="1"/>
                    </a:cubicBezTo>
                    <a:cubicBezTo>
                      <a:pt x="38" y="1"/>
                      <a:pt x="37" y="1"/>
                      <a:pt x="36" y="2"/>
                    </a:cubicBezTo>
                    <a:cubicBezTo>
                      <a:pt x="35" y="2"/>
                      <a:pt x="35" y="3"/>
                      <a:pt x="34" y="3"/>
                    </a:cubicBezTo>
                    <a:cubicBezTo>
                      <a:pt x="34" y="4"/>
                      <a:pt x="34" y="4"/>
                      <a:pt x="33" y="4"/>
                    </a:cubicBezTo>
                    <a:cubicBezTo>
                      <a:pt x="33" y="4"/>
                      <a:pt x="33" y="5"/>
                      <a:pt x="33" y="5"/>
                    </a:cubicBezTo>
                    <a:cubicBezTo>
                      <a:pt x="31" y="7"/>
                      <a:pt x="28" y="7"/>
                      <a:pt x="26" y="8"/>
                    </a:cubicBezTo>
                    <a:cubicBezTo>
                      <a:pt x="25" y="9"/>
                      <a:pt x="24" y="10"/>
                      <a:pt x="23" y="11"/>
                    </a:cubicBezTo>
                    <a:cubicBezTo>
                      <a:pt x="23" y="13"/>
                      <a:pt x="23" y="13"/>
                      <a:pt x="23" y="14"/>
                    </a:cubicBezTo>
                    <a:cubicBezTo>
                      <a:pt x="22" y="16"/>
                      <a:pt x="20" y="17"/>
                      <a:pt x="18" y="16"/>
                    </a:cubicBezTo>
                    <a:cubicBezTo>
                      <a:pt x="16" y="15"/>
                      <a:pt x="15" y="13"/>
                      <a:pt x="14" y="11"/>
                    </a:cubicBezTo>
                    <a:cubicBezTo>
                      <a:pt x="13" y="11"/>
                      <a:pt x="12" y="10"/>
                      <a:pt x="12" y="9"/>
                    </a:cubicBezTo>
                    <a:cubicBezTo>
                      <a:pt x="9" y="11"/>
                      <a:pt x="7" y="15"/>
                      <a:pt x="6" y="18"/>
                    </a:cubicBezTo>
                    <a:cubicBezTo>
                      <a:pt x="4" y="19"/>
                      <a:pt x="1" y="18"/>
                      <a:pt x="0" y="19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0"/>
                      <a:pt x="0" y="22"/>
                      <a:pt x="0" y="24"/>
                    </a:cubicBezTo>
                    <a:cubicBezTo>
                      <a:pt x="0" y="26"/>
                      <a:pt x="0" y="27"/>
                      <a:pt x="0" y="28"/>
                    </a:cubicBezTo>
                    <a:cubicBezTo>
                      <a:pt x="1" y="29"/>
                      <a:pt x="1" y="30"/>
                      <a:pt x="1" y="30"/>
                    </a:cubicBezTo>
                    <a:cubicBezTo>
                      <a:pt x="1" y="30"/>
                      <a:pt x="2" y="30"/>
                      <a:pt x="2" y="31"/>
                    </a:cubicBezTo>
                    <a:cubicBezTo>
                      <a:pt x="2" y="31"/>
                      <a:pt x="2" y="32"/>
                      <a:pt x="2" y="32"/>
                    </a:cubicBezTo>
                    <a:cubicBezTo>
                      <a:pt x="2" y="33"/>
                      <a:pt x="2" y="35"/>
                      <a:pt x="2" y="36"/>
                    </a:cubicBezTo>
                    <a:cubicBezTo>
                      <a:pt x="2" y="38"/>
                      <a:pt x="4" y="38"/>
                      <a:pt x="4" y="40"/>
                    </a:cubicBezTo>
                    <a:cubicBezTo>
                      <a:pt x="4" y="41"/>
                      <a:pt x="3" y="41"/>
                      <a:pt x="3" y="42"/>
                    </a:cubicBezTo>
                    <a:cubicBezTo>
                      <a:pt x="3" y="43"/>
                      <a:pt x="2" y="43"/>
                      <a:pt x="2" y="44"/>
                    </a:cubicBezTo>
                    <a:cubicBezTo>
                      <a:pt x="2" y="46"/>
                      <a:pt x="2" y="47"/>
                      <a:pt x="2" y="48"/>
                    </a:cubicBezTo>
                    <a:cubicBezTo>
                      <a:pt x="4" y="49"/>
                      <a:pt x="4" y="48"/>
                      <a:pt x="5" y="50"/>
                    </a:cubicBezTo>
                    <a:cubicBezTo>
                      <a:pt x="6" y="50"/>
                      <a:pt x="6" y="50"/>
                      <a:pt x="6" y="51"/>
                    </a:cubicBezTo>
                    <a:cubicBezTo>
                      <a:pt x="7" y="52"/>
                      <a:pt x="8" y="53"/>
                      <a:pt x="7" y="55"/>
                    </a:cubicBezTo>
                    <a:cubicBezTo>
                      <a:pt x="7" y="55"/>
                      <a:pt x="6" y="55"/>
                      <a:pt x="6" y="56"/>
                    </a:cubicBezTo>
                    <a:cubicBezTo>
                      <a:pt x="6" y="57"/>
                      <a:pt x="7" y="57"/>
                      <a:pt x="8" y="58"/>
                    </a:cubicBezTo>
                    <a:cubicBezTo>
                      <a:pt x="8" y="61"/>
                      <a:pt x="4" y="62"/>
                      <a:pt x="6" y="64"/>
                    </a:cubicBezTo>
                    <a:cubicBezTo>
                      <a:pt x="6" y="65"/>
                      <a:pt x="7" y="66"/>
                      <a:pt x="8" y="66"/>
                    </a:cubicBezTo>
                    <a:cubicBezTo>
                      <a:pt x="10" y="67"/>
                      <a:pt x="13" y="69"/>
                      <a:pt x="17" y="70"/>
                    </a:cubicBezTo>
                    <a:cubicBezTo>
                      <a:pt x="19" y="70"/>
                      <a:pt x="19" y="70"/>
                      <a:pt x="21" y="72"/>
                    </a:cubicBezTo>
                    <a:cubicBezTo>
                      <a:pt x="22" y="73"/>
                      <a:pt x="23" y="75"/>
                      <a:pt x="24" y="76"/>
                    </a:cubicBezTo>
                    <a:cubicBezTo>
                      <a:pt x="25" y="77"/>
                      <a:pt x="26" y="77"/>
                      <a:pt x="26" y="78"/>
                    </a:cubicBezTo>
                    <a:cubicBezTo>
                      <a:pt x="28" y="82"/>
                      <a:pt x="21" y="82"/>
                      <a:pt x="19" y="82"/>
                    </a:cubicBezTo>
                    <a:cubicBezTo>
                      <a:pt x="17" y="83"/>
                      <a:pt x="13" y="84"/>
                      <a:pt x="12" y="86"/>
                    </a:cubicBezTo>
                    <a:cubicBezTo>
                      <a:pt x="11" y="87"/>
                      <a:pt x="12" y="88"/>
                      <a:pt x="12" y="89"/>
                    </a:cubicBezTo>
                    <a:cubicBezTo>
                      <a:pt x="12" y="90"/>
                      <a:pt x="10" y="91"/>
                      <a:pt x="10" y="92"/>
                    </a:cubicBezTo>
                    <a:cubicBezTo>
                      <a:pt x="7" y="94"/>
                      <a:pt x="10" y="96"/>
                      <a:pt x="11" y="99"/>
                    </a:cubicBezTo>
                    <a:cubicBezTo>
                      <a:pt x="11" y="99"/>
                      <a:pt x="11" y="99"/>
                      <a:pt x="11" y="99"/>
                    </a:cubicBezTo>
                    <a:cubicBezTo>
                      <a:pt x="18" y="104"/>
                      <a:pt x="22" y="109"/>
                      <a:pt x="23" y="112"/>
                    </a:cubicBezTo>
                    <a:cubicBezTo>
                      <a:pt x="21" y="120"/>
                      <a:pt x="21" y="120"/>
                      <a:pt x="21" y="120"/>
                    </a:cubicBezTo>
                    <a:cubicBezTo>
                      <a:pt x="17" y="124"/>
                      <a:pt x="14" y="129"/>
                      <a:pt x="13" y="135"/>
                    </a:cubicBezTo>
                    <a:cubicBezTo>
                      <a:pt x="12" y="136"/>
                      <a:pt x="12" y="136"/>
                      <a:pt x="12" y="137"/>
                    </a:cubicBezTo>
                    <a:cubicBezTo>
                      <a:pt x="11" y="138"/>
                      <a:pt x="11" y="138"/>
                      <a:pt x="11" y="139"/>
                    </a:cubicBezTo>
                    <a:cubicBezTo>
                      <a:pt x="11" y="139"/>
                      <a:pt x="11" y="140"/>
                      <a:pt x="11" y="141"/>
                    </a:cubicBezTo>
                    <a:cubicBezTo>
                      <a:pt x="11" y="141"/>
                      <a:pt x="11" y="142"/>
                      <a:pt x="11" y="142"/>
                    </a:cubicBezTo>
                    <a:cubicBezTo>
                      <a:pt x="11" y="143"/>
                      <a:pt x="12" y="143"/>
                      <a:pt x="13" y="144"/>
                    </a:cubicBezTo>
                    <a:cubicBezTo>
                      <a:pt x="13" y="144"/>
                      <a:pt x="12" y="145"/>
                      <a:pt x="13" y="145"/>
                    </a:cubicBezTo>
                    <a:cubicBezTo>
                      <a:pt x="14" y="145"/>
                      <a:pt x="14" y="146"/>
                      <a:pt x="15" y="146"/>
                    </a:cubicBezTo>
                    <a:cubicBezTo>
                      <a:pt x="16" y="146"/>
                      <a:pt x="18" y="147"/>
                      <a:pt x="19" y="147"/>
                    </a:cubicBezTo>
                    <a:cubicBezTo>
                      <a:pt x="21" y="147"/>
                      <a:pt x="24" y="146"/>
                      <a:pt x="25" y="148"/>
                    </a:cubicBezTo>
                    <a:cubicBezTo>
                      <a:pt x="25" y="149"/>
                      <a:pt x="24" y="150"/>
                      <a:pt x="24" y="151"/>
                    </a:cubicBezTo>
                    <a:cubicBezTo>
                      <a:pt x="24" y="152"/>
                      <a:pt x="24" y="152"/>
                      <a:pt x="24" y="153"/>
                    </a:cubicBezTo>
                    <a:cubicBezTo>
                      <a:pt x="23" y="153"/>
                      <a:pt x="23" y="153"/>
                      <a:pt x="23" y="154"/>
                    </a:cubicBezTo>
                    <a:cubicBezTo>
                      <a:pt x="23" y="154"/>
                      <a:pt x="22" y="154"/>
                      <a:pt x="21" y="154"/>
                    </a:cubicBezTo>
                    <a:cubicBezTo>
                      <a:pt x="20" y="155"/>
                      <a:pt x="20" y="157"/>
                      <a:pt x="20" y="158"/>
                    </a:cubicBezTo>
                    <a:cubicBezTo>
                      <a:pt x="20" y="159"/>
                      <a:pt x="21" y="160"/>
                      <a:pt x="22" y="161"/>
                    </a:cubicBezTo>
                    <a:cubicBezTo>
                      <a:pt x="23" y="162"/>
                      <a:pt x="23" y="163"/>
                      <a:pt x="24" y="164"/>
                    </a:cubicBezTo>
                    <a:cubicBezTo>
                      <a:pt x="24" y="164"/>
                      <a:pt x="24" y="164"/>
                      <a:pt x="24" y="165"/>
                    </a:cubicBezTo>
                    <a:cubicBezTo>
                      <a:pt x="24" y="164"/>
                      <a:pt x="25" y="165"/>
                      <a:pt x="25" y="165"/>
                    </a:cubicBezTo>
                    <a:cubicBezTo>
                      <a:pt x="26" y="166"/>
                      <a:pt x="27" y="167"/>
                      <a:pt x="28" y="167"/>
                    </a:cubicBezTo>
                    <a:cubicBezTo>
                      <a:pt x="29" y="168"/>
                      <a:pt x="31" y="169"/>
                      <a:pt x="32" y="169"/>
                    </a:cubicBezTo>
                    <a:cubicBezTo>
                      <a:pt x="33" y="169"/>
                      <a:pt x="36" y="170"/>
                      <a:pt x="36" y="171"/>
                    </a:cubicBezTo>
                    <a:cubicBezTo>
                      <a:pt x="36" y="171"/>
                      <a:pt x="36" y="173"/>
                      <a:pt x="36" y="173"/>
                    </a:cubicBezTo>
                    <a:cubicBezTo>
                      <a:pt x="36" y="174"/>
                      <a:pt x="36" y="175"/>
                      <a:pt x="36" y="175"/>
                    </a:cubicBezTo>
                    <a:cubicBezTo>
                      <a:pt x="36" y="176"/>
                      <a:pt x="36" y="176"/>
                      <a:pt x="35" y="177"/>
                    </a:cubicBezTo>
                    <a:cubicBezTo>
                      <a:pt x="34" y="178"/>
                      <a:pt x="34" y="178"/>
                      <a:pt x="33" y="179"/>
                    </a:cubicBezTo>
                    <a:cubicBezTo>
                      <a:pt x="32" y="180"/>
                      <a:pt x="29" y="180"/>
                      <a:pt x="27" y="180"/>
                    </a:cubicBezTo>
                    <a:cubicBezTo>
                      <a:pt x="24" y="180"/>
                      <a:pt x="20" y="180"/>
                      <a:pt x="18" y="178"/>
                    </a:cubicBezTo>
                    <a:cubicBezTo>
                      <a:pt x="17" y="178"/>
                      <a:pt x="16" y="177"/>
                      <a:pt x="15" y="176"/>
                    </a:cubicBezTo>
                    <a:cubicBezTo>
                      <a:pt x="14" y="177"/>
                      <a:pt x="13" y="180"/>
                      <a:pt x="14" y="181"/>
                    </a:cubicBezTo>
                    <a:cubicBezTo>
                      <a:pt x="14" y="182"/>
                      <a:pt x="15" y="183"/>
                      <a:pt x="16" y="183"/>
                    </a:cubicBezTo>
                    <a:cubicBezTo>
                      <a:pt x="18" y="184"/>
                      <a:pt x="18" y="183"/>
                      <a:pt x="19" y="185"/>
                    </a:cubicBezTo>
                    <a:cubicBezTo>
                      <a:pt x="20" y="186"/>
                      <a:pt x="20" y="187"/>
                      <a:pt x="21" y="188"/>
                    </a:cubicBezTo>
                    <a:cubicBezTo>
                      <a:pt x="22" y="191"/>
                      <a:pt x="24" y="193"/>
                      <a:pt x="26" y="196"/>
                    </a:cubicBezTo>
                    <a:cubicBezTo>
                      <a:pt x="27" y="198"/>
                      <a:pt x="28" y="199"/>
                      <a:pt x="28" y="201"/>
                    </a:cubicBezTo>
                    <a:cubicBezTo>
                      <a:pt x="28" y="201"/>
                      <a:pt x="28" y="202"/>
                      <a:pt x="28" y="202"/>
                    </a:cubicBezTo>
                    <a:cubicBezTo>
                      <a:pt x="28" y="203"/>
                      <a:pt x="29" y="203"/>
                      <a:pt x="29" y="204"/>
                    </a:cubicBezTo>
                    <a:cubicBezTo>
                      <a:pt x="29" y="205"/>
                      <a:pt x="28" y="206"/>
                      <a:pt x="28" y="208"/>
                    </a:cubicBezTo>
                    <a:cubicBezTo>
                      <a:pt x="28" y="209"/>
                      <a:pt x="28" y="210"/>
                      <a:pt x="28" y="211"/>
                    </a:cubicBezTo>
                    <a:cubicBezTo>
                      <a:pt x="27" y="212"/>
                      <a:pt x="26" y="212"/>
                      <a:pt x="26" y="213"/>
                    </a:cubicBezTo>
                    <a:cubicBezTo>
                      <a:pt x="25" y="214"/>
                      <a:pt x="26" y="214"/>
                      <a:pt x="25" y="214"/>
                    </a:cubicBezTo>
                    <a:cubicBezTo>
                      <a:pt x="24" y="215"/>
                      <a:pt x="24" y="214"/>
                      <a:pt x="23" y="214"/>
                    </a:cubicBezTo>
                    <a:cubicBezTo>
                      <a:pt x="23" y="212"/>
                      <a:pt x="22" y="211"/>
                      <a:pt x="21" y="210"/>
                    </a:cubicBezTo>
                    <a:cubicBezTo>
                      <a:pt x="20" y="209"/>
                      <a:pt x="20" y="207"/>
                      <a:pt x="20" y="207"/>
                    </a:cubicBezTo>
                    <a:cubicBezTo>
                      <a:pt x="19" y="206"/>
                      <a:pt x="17" y="208"/>
                      <a:pt x="16" y="209"/>
                    </a:cubicBezTo>
                    <a:cubicBezTo>
                      <a:pt x="16" y="209"/>
                      <a:pt x="16" y="210"/>
                      <a:pt x="15" y="210"/>
                    </a:cubicBezTo>
                    <a:cubicBezTo>
                      <a:pt x="14" y="211"/>
                      <a:pt x="13" y="211"/>
                      <a:pt x="13" y="212"/>
                    </a:cubicBezTo>
                    <a:cubicBezTo>
                      <a:pt x="13" y="213"/>
                      <a:pt x="13" y="214"/>
                      <a:pt x="12" y="214"/>
                    </a:cubicBezTo>
                    <a:cubicBezTo>
                      <a:pt x="12" y="214"/>
                      <a:pt x="12" y="214"/>
                      <a:pt x="12" y="214"/>
                    </a:cubicBezTo>
                    <a:cubicBezTo>
                      <a:pt x="12" y="215"/>
                      <a:pt x="13" y="216"/>
                      <a:pt x="14" y="217"/>
                    </a:cubicBezTo>
                    <a:cubicBezTo>
                      <a:pt x="14" y="218"/>
                      <a:pt x="14" y="219"/>
                      <a:pt x="16" y="219"/>
                    </a:cubicBezTo>
                    <a:cubicBezTo>
                      <a:pt x="17" y="220"/>
                      <a:pt x="17" y="220"/>
                      <a:pt x="18" y="221"/>
                    </a:cubicBezTo>
                    <a:cubicBezTo>
                      <a:pt x="19" y="222"/>
                      <a:pt x="20" y="222"/>
                      <a:pt x="22" y="223"/>
                    </a:cubicBezTo>
                    <a:cubicBezTo>
                      <a:pt x="23" y="223"/>
                      <a:pt x="23" y="224"/>
                      <a:pt x="24" y="225"/>
                    </a:cubicBezTo>
                    <a:cubicBezTo>
                      <a:pt x="25" y="228"/>
                      <a:pt x="27" y="229"/>
                      <a:pt x="29" y="231"/>
                    </a:cubicBezTo>
                    <a:cubicBezTo>
                      <a:pt x="30" y="232"/>
                      <a:pt x="31" y="233"/>
                      <a:pt x="32" y="234"/>
                    </a:cubicBezTo>
                    <a:cubicBezTo>
                      <a:pt x="30" y="234"/>
                      <a:pt x="30" y="234"/>
                      <a:pt x="30" y="234"/>
                    </a:cubicBezTo>
                    <a:cubicBezTo>
                      <a:pt x="30" y="236"/>
                      <a:pt x="32" y="238"/>
                      <a:pt x="34" y="239"/>
                    </a:cubicBezTo>
                    <a:cubicBezTo>
                      <a:pt x="35" y="240"/>
                      <a:pt x="36" y="240"/>
                      <a:pt x="36" y="241"/>
                    </a:cubicBezTo>
                    <a:cubicBezTo>
                      <a:pt x="37" y="241"/>
                      <a:pt x="37" y="242"/>
                      <a:pt x="38" y="242"/>
                    </a:cubicBezTo>
                    <a:cubicBezTo>
                      <a:pt x="39" y="242"/>
                      <a:pt x="39" y="242"/>
                      <a:pt x="40" y="242"/>
                    </a:cubicBezTo>
                    <a:cubicBezTo>
                      <a:pt x="40" y="243"/>
                      <a:pt x="40" y="243"/>
                      <a:pt x="40" y="244"/>
                    </a:cubicBezTo>
                    <a:cubicBezTo>
                      <a:pt x="41" y="244"/>
                      <a:pt x="41" y="245"/>
                      <a:pt x="42" y="245"/>
                    </a:cubicBezTo>
                    <a:cubicBezTo>
                      <a:pt x="43" y="246"/>
                      <a:pt x="44" y="247"/>
                      <a:pt x="45" y="247"/>
                    </a:cubicBezTo>
                    <a:cubicBezTo>
                      <a:pt x="47" y="248"/>
                      <a:pt x="49" y="247"/>
                      <a:pt x="51" y="247"/>
                    </a:cubicBezTo>
                    <a:cubicBezTo>
                      <a:pt x="52" y="247"/>
                      <a:pt x="53" y="247"/>
                      <a:pt x="54" y="249"/>
                    </a:cubicBezTo>
                    <a:cubicBezTo>
                      <a:pt x="54" y="250"/>
                      <a:pt x="54" y="251"/>
                      <a:pt x="56" y="251"/>
                    </a:cubicBezTo>
                    <a:cubicBezTo>
                      <a:pt x="56" y="252"/>
                      <a:pt x="57" y="252"/>
                      <a:pt x="57" y="253"/>
                    </a:cubicBezTo>
                    <a:cubicBezTo>
                      <a:pt x="58" y="253"/>
                      <a:pt x="58" y="254"/>
                      <a:pt x="59" y="254"/>
                    </a:cubicBezTo>
                    <a:cubicBezTo>
                      <a:pt x="59" y="255"/>
                      <a:pt x="59" y="255"/>
                      <a:pt x="59" y="256"/>
                    </a:cubicBezTo>
                    <a:cubicBezTo>
                      <a:pt x="59" y="257"/>
                      <a:pt x="59" y="257"/>
                      <a:pt x="60" y="258"/>
                    </a:cubicBezTo>
                    <a:cubicBezTo>
                      <a:pt x="60" y="259"/>
                      <a:pt x="64" y="258"/>
                      <a:pt x="65" y="258"/>
                    </a:cubicBezTo>
                    <a:cubicBezTo>
                      <a:pt x="66" y="258"/>
                      <a:pt x="68" y="257"/>
                      <a:pt x="69" y="258"/>
                    </a:cubicBezTo>
                    <a:cubicBezTo>
                      <a:pt x="70" y="258"/>
                      <a:pt x="69" y="260"/>
                      <a:pt x="70" y="260"/>
                    </a:cubicBezTo>
                    <a:cubicBezTo>
                      <a:pt x="70" y="261"/>
                      <a:pt x="70" y="262"/>
                      <a:pt x="71" y="262"/>
                    </a:cubicBezTo>
                    <a:cubicBezTo>
                      <a:pt x="72" y="263"/>
                      <a:pt x="74" y="266"/>
                      <a:pt x="73" y="268"/>
                    </a:cubicBezTo>
                    <a:cubicBezTo>
                      <a:pt x="73" y="269"/>
                      <a:pt x="73" y="269"/>
                      <a:pt x="72" y="270"/>
                    </a:cubicBezTo>
                    <a:cubicBezTo>
                      <a:pt x="72" y="270"/>
                      <a:pt x="72" y="270"/>
                      <a:pt x="72" y="270"/>
                    </a:cubicBezTo>
                    <a:cubicBezTo>
                      <a:pt x="73" y="270"/>
                      <a:pt x="75" y="271"/>
                      <a:pt x="75" y="270"/>
                    </a:cubicBezTo>
                    <a:cubicBezTo>
                      <a:pt x="76" y="270"/>
                      <a:pt x="77" y="269"/>
                      <a:pt x="77" y="268"/>
                    </a:cubicBezTo>
                    <a:cubicBezTo>
                      <a:pt x="78" y="268"/>
                      <a:pt x="78" y="267"/>
                      <a:pt x="79" y="266"/>
                    </a:cubicBezTo>
                    <a:cubicBezTo>
                      <a:pt x="80" y="265"/>
                      <a:pt x="81" y="266"/>
                      <a:pt x="82" y="264"/>
                    </a:cubicBezTo>
                    <a:cubicBezTo>
                      <a:pt x="82" y="263"/>
                      <a:pt x="82" y="262"/>
                      <a:pt x="82" y="262"/>
                    </a:cubicBezTo>
                    <a:cubicBezTo>
                      <a:pt x="82" y="259"/>
                      <a:pt x="84" y="258"/>
                      <a:pt x="86" y="257"/>
                    </a:cubicBezTo>
                    <a:cubicBezTo>
                      <a:pt x="86" y="256"/>
                      <a:pt x="87" y="256"/>
                      <a:pt x="88" y="256"/>
                    </a:cubicBezTo>
                    <a:cubicBezTo>
                      <a:pt x="88" y="256"/>
                      <a:pt x="88" y="255"/>
                      <a:pt x="88" y="255"/>
                    </a:cubicBezTo>
                    <a:cubicBezTo>
                      <a:pt x="88" y="254"/>
                      <a:pt x="89" y="253"/>
                      <a:pt x="90" y="252"/>
                    </a:cubicBezTo>
                    <a:cubicBezTo>
                      <a:pt x="91" y="251"/>
                      <a:pt x="92" y="251"/>
                      <a:pt x="93" y="249"/>
                    </a:cubicBezTo>
                    <a:cubicBezTo>
                      <a:pt x="93" y="248"/>
                      <a:pt x="93" y="246"/>
                      <a:pt x="93" y="244"/>
                    </a:cubicBezTo>
                    <a:cubicBezTo>
                      <a:pt x="93" y="241"/>
                      <a:pt x="93" y="239"/>
                      <a:pt x="95" y="236"/>
                    </a:cubicBezTo>
                    <a:cubicBezTo>
                      <a:pt x="96" y="235"/>
                      <a:pt x="97" y="232"/>
                      <a:pt x="98" y="234"/>
                    </a:cubicBezTo>
                    <a:cubicBezTo>
                      <a:pt x="99" y="236"/>
                      <a:pt x="98" y="236"/>
                      <a:pt x="97" y="236"/>
                    </a:cubicBezTo>
                    <a:cubicBezTo>
                      <a:pt x="96" y="237"/>
                      <a:pt x="96" y="236"/>
                      <a:pt x="96" y="238"/>
                    </a:cubicBezTo>
                    <a:cubicBezTo>
                      <a:pt x="96" y="241"/>
                      <a:pt x="99" y="244"/>
                      <a:pt x="100" y="247"/>
                    </a:cubicBezTo>
                    <a:cubicBezTo>
                      <a:pt x="102" y="247"/>
                      <a:pt x="103" y="245"/>
                      <a:pt x="105" y="245"/>
                    </a:cubicBezTo>
                    <a:cubicBezTo>
                      <a:pt x="106" y="244"/>
                      <a:pt x="107" y="244"/>
                      <a:pt x="107" y="243"/>
                    </a:cubicBezTo>
                    <a:cubicBezTo>
                      <a:pt x="108" y="242"/>
                      <a:pt x="107" y="241"/>
                      <a:pt x="108" y="241"/>
                    </a:cubicBezTo>
                    <a:cubicBezTo>
                      <a:pt x="108" y="240"/>
                      <a:pt x="110" y="240"/>
                      <a:pt x="111" y="240"/>
                    </a:cubicBezTo>
                    <a:cubicBezTo>
                      <a:pt x="113" y="242"/>
                      <a:pt x="112" y="243"/>
                      <a:pt x="112" y="245"/>
                    </a:cubicBezTo>
                    <a:cubicBezTo>
                      <a:pt x="115" y="250"/>
                      <a:pt x="115" y="250"/>
                      <a:pt x="115" y="250"/>
                    </a:cubicBezTo>
                    <a:cubicBezTo>
                      <a:pt x="115" y="252"/>
                      <a:pt x="116" y="253"/>
                      <a:pt x="117" y="255"/>
                    </a:cubicBezTo>
                    <a:cubicBezTo>
                      <a:pt x="117" y="257"/>
                      <a:pt x="116" y="258"/>
                      <a:pt x="118" y="260"/>
                    </a:cubicBezTo>
                    <a:cubicBezTo>
                      <a:pt x="119" y="261"/>
                      <a:pt x="122" y="261"/>
                      <a:pt x="124" y="263"/>
                    </a:cubicBezTo>
                    <a:cubicBezTo>
                      <a:pt x="124" y="265"/>
                      <a:pt x="124" y="265"/>
                      <a:pt x="125" y="266"/>
                    </a:cubicBezTo>
                    <a:cubicBezTo>
                      <a:pt x="126" y="267"/>
                      <a:pt x="126" y="267"/>
                      <a:pt x="127" y="268"/>
                    </a:cubicBezTo>
                    <a:cubicBezTo>
                      <a:pt x="128" y="267"/>
                      <a:pt x="130" y="267"/>
                      <a:pt x="132" y="267"/>
                    </a:cubicBezTo>
                    <a:cubicBezTo>
                      <a:pt x="132" y="269"/>
                      <a:pt x="131" y="271"/>
                      <a:pt x="131" y="272"/>
                    </a:cubicBezTo>
                    <a:cubicBezTo>
                      <a:pt x="131" y="274"/>
                      <a:pt x="131" y="276"/>
                      <a:pt x="131" y="278"/>
                    </a:cubicBezTo>
                    <a:cubicBezTo>
                      <a:pt x="134" y="278"/>
                      <a:pt x="134" y="282"/>
                      <a:pt x="136" y="282"/>
                    </a:cubicBezTo>
                    <a:cubicBezTo>
                      <a:pt x="140" y="274"/>
                      <a:pt x="143" y="288"/>
                      <a:pt x="147" y="287"/>
                    </a:cubicBezTo>
                    <a:cubicBezTo>
                      <a:pt x="148" y="287"/>
                      <a:pt x="149" y="285"/>
                      <a:pt x="150" y="286"/>
                    </a:cubicBezTo>
                    <a:cubicBezTo>
                      <a:pt x="151" y="286"/>
                      <a:pt x="152" y="287"/>
                      <a:pt x="152" y="287"/>
                    </a:cubicBezTo>
                    <a:cubicBezTo>
                      <a:pt x="153" y="288"/>
                      <a:pt x="152" y="288"/>
                      <a:pt x="151" y="289"/>
                    </a:cubicBezTo>
                    <a:cubicBezTo>
                      <a:pt x="150" y="290"/>
                      <a:pt x="150" y="291"/>
                      <a:pt x="149" y="292"/>
                    </a:cubicBezTo>
                    <a:cubicBezTo>
                      <a:pt x="148" y="293"/>
                      <a:pt x="146" y="294"/>
                      <a:pt x="146" y="296"/>
                    </a:cubicBezTo>
                    <a:cubicBezTo>
                      <a:pt x="146" y="297"/>
                      <a:pt x="147" y="300"/>
                      <a:pt x="146" y="302"/>
                    </a:cubicBezTo>
                    <a:cubicBezTo>
                      <a:pt x="146" y="302"/>
                      <a:pt x="146" y="302"/>
                      <a:pt x="146" y="302"/>
                    </a:cubicBezTo>
                    <a:cubicBezTo>
                      <a:pt x="146" y="302"/>
                      <a:pt x="145" y="304"/>
                      <a:pt x="145" y="304"/>
                    </a:cubicBezTo>
                    <a:cubicBezTo>
                      <a:pt x="144" y="304"/>
                      <a:pt x="143" y="304"/>
                      <a:pt x="143" y="305"/>
                    </a:cubicBezTo>
                    <a:cubicBezTo>
                      <a:pt x="142" y="306"/>
                      <a:pt x="142" y="307"/>
                      <a:pt x="142" y="308"/>
                    </a:cubicBezTo>
                    <a:cubicBezTo>
                      <a:pt x="142" y="308"/>
                      <a:pt x="141" y="309"/>
                      <a:pt x="140" y="309"/>
                    </a:cubicBezTo>
                    <a:cubicBezTo>
                      <a:pt x="139" y="311"/>
                      <a:pt x="135" y="313"/>
                      <a:pt x="135" y="316"/>
                    </a:cubicBezTo>
                    <a:cubicBezTo>
                      <a:pt x="136" y="317"/>
                      <a:pt x="137" y="318"/>
                      <a:pt x="137" y="319"/>
                    </a:cubicBezTo>
                    <a:cubicBezTo>
                      <a:pt x="138" y="319"/>
                      <a:pt x="138" y="319"/>
                      <a:pt x="138" y="320"/>
                    </a:cubicBezTo>
                    <a:cubicBezTo>
                      <a:pt x="138" y="320"/>
                      <a:pt x="138" y="321"/>
                      <a:pt x="138" y="321"/>
                    </a:cubicBezTo>
                    <a:cubicBezTo>
                      <a:pt x="138" y="321"/>
                      <a:pt x="138" y="321"/>
                      <a:pt x="138" y="321"/>
                    </a:cubicBezTo>
                    <a:cubicBezTo>
                      <a:pt x="140" y="322"/>
                      <a:pt x="144" y="322"/>
                      <a:pt x="146" y="321"/>
                    </a:cubicBezTo>
                    <a:cubicBezTo>
                      <a:pt x="148" y="320"/>
                      <a:pt x="148" y="320"/>
                      <a:pt x="149" y="318"/>
                    </a:cubicBezTo>
                    <a:cubicBezTo>
                      <a:pt x="149" y="318"/>
                      <a:pt x="149" y="317"/>
                      <a:pt x="150" y="316"/>
                    </a:cubicBezTo>
                    <a:cubicBezTo>
                      <a:pt x="151" y="315"/>
                      <a:pt x="153" y="315"/>
                      <a:pt x="155" y="314"/>
                    </a:cubicBezTo>
                    <a:cubicBezTo>
                      <a:pt x="157" y="313"/>
                      <a:pt x="158" y="314"/>
                      <a:pt x="159" y="316"/>
                    </a:cubicBezTo>
                    <a:cubicBezTo>
                      <a:pt x="160" y="317"/>
                      <a:pt x="159" y="317"/>
                      <a:pt x="160" y="317"/>
                    </a:cubicBezTo>
                    <a:cubicBezTo>
                      <a:pt x="161" y="318"/>
                      <a:pt x="162" y="318"/>
                      <a:pt x="163" y="319"/>
                    </a:cubicBezTo>
                    <a:cubicBezTo>
                      <a:pt x="164" y="319"/>
                      <a:pt x="163" y="320"/>
                      <a:pt x="165" y="319"/>
                    </a:cubicBezTo>
                    <a:cubicBezTo>
                      <a:pt x="165" y="319"/>
                      <a:pt x="166" y="319"/>
                      <a:pt x="167" y="318"/>
                    </a:cubicBezTo>
                    <a:cubicBezTo>
                      <a:pt x="168" y="317"/>
                      <a:pt x="168" y="315"/>
                      <a:pt x="170" y="314"/>
                    </a:cubicBezTo>
                    <a:cubicBezTo>
                      <a:pt x="171" y="313"/>
                      <a:pt x="172" y="313"/>
                      <a:pt x="174" y="312"/>
                    </a:cubicBezTo>
                    <a:cubicBezTo>
                      <a:pt x="178" y="310"/>
                      <a:pt x="181" y="314"/>
                      <a:pt x="184" y="316"/>
                    </a:cubicBezTo>
                    <a:cubicBezTo>
                      <a:pt x="186" y="317"/>
                      <a:pt x="190" y="317"/>
                      <a:pt x="193" y="315"/>
                    </a:cubicBezTo>
                    <a:cubicBezTo>
                      <a:pt x="194" y="314"/>
                      <a:pt x="195" y="312"/>
                      <a:pt x="195" y="311"/>
                    </a:cubicBezTo>
                    <a:cubicBezTo>
                      <a:pt x="195" y="309"/>
                      <a:pt x="195" y="309"/>
                      <a:pt x="194" y="307"/>
                    </a:cubicBezTo>
                    <a:cubicBezTo>
                      <a:pt x="193" y="306"/>
                      <a:pt x="193" y="304"/>
                      <a:pt x="193" y="303"/>
                    </a:cubicBezTo>
                    <a:cubicBezTo>
                      <a:pt x="192" y="301"/>
                      <a:pt x="191" y="301"/>
                      <a:pt x="190" y="299"/>
                    </a:cubicBezTo>
                    <a:cubicBezTo>
                      <a:pt x="190" y="297"/>
                      <a:pt x="190" y="298"/>
                      <a:pt x="189" y="297"/>
                    </a:cubicBezTo>
                    <a:cubicBezTo>
                      <a:pt x="188" y="296"/>
                      <a:pt x="188" y="296"/>
                      <a:pt x="187" y="295"/>
                    </a:cubicBezTo>
                    <a:cubicBezTo>
                      <a:pt x="186" y="293"/>
                      <a:pt x="186" y="293"/>
                      <a:pt x="186" y="290"/>
                    </a:cubicBezTo>
                    <a:cubicBezTo>
                      <a:pt x="186" y="288"/>
                      <a:pt x="187" y="287"/>
                      <a:pt x="187" y="285"/>
                    </a:cubicBezTo>
                    <a:cubicBezTo>
                      <a:pt x="188" y="283"/>
                      <a:pt x="189" y="281"/>
                      <a:pt x="188" y="279"/>
                    </a:cubicBezTo>
                    <a:cubicBezTo>
                      <a:pt x="188" y="278"/>
                      <a:pt x="187" y="277"/>
                      <a:pt x="187" y="276"/>
                    </a:cubicBezTo>
                    <a:cubicBezTo>
                      <a:pt x="187" y="275"/>
                      <a:pt x="187" y="273"/>
                      <a:pt x="187" y="272"/>
                    </a:cubicBezTo>
                    <a:cubicBezTo>
                      <a:pt x="188" y="271"/>
                      <a:pt x="192" y="270"/>
                      <a:pt x="193" y="270"/>
                    </a:cubicBezTo>
                    <a:cubicBezTo>
                      <a:pt x="194" y="270"/>
                      <a:pt x="195" y="270"/>
                      <a:pt x="196" y="270"/>
                    </a:cubicBezTo>
                    <a:cubicBezTo>
                      <a:pt x="197" y="270"/>
                      <a:pt x="197" y="271"/>
                      <a:pt x="198" y="271"/>
                    </a:cubicBezTo>
                    <a:cubicBezTo>
                      <a:pt x="199" y="270"/>
                      <a:pt x="199" y="270"/>
                      <a:pt x="200" y="270"/>
                    </a:cubicBezTo>
                    <a:cubicBezTo>
                      <a:pt x="201" y="269"/>
                      <a:pt x="201" y="270"/>
                      <a:pt x="202" y="269"/>
                    </a:cubicBezTo>
                    <a:cubicBezTo>
                      <a:pt x="202" y="269"/>
                      <a:pt x="204" y="268"/>
                      <a:pt x="205" y="267"/>
                    </a:cubicBezTo>
                    <a:cubicBezTo>
                      <a:pt x="205" y="267"/>
                      <a:pt x="205" y="265"/>
                      <a:pt x="205" y="264"/>
                    </a:cubicBezTo>
                    <a:cubicBezTo>
                      <a:pt x="206" y="262"/>
                      <a:pt x="206" y="260"/>
                      <a:pt x="208" y="258"/>
                    </a:cubicBezTo>
                    <a:cubicBezTo>
                      <a:pt x="210" y="256"/>
                      <a:pt x="213" y="256"/>
                      <a:pt x="214" y="254"/>
                    </a:cubicBezTo>
                    <a:cubicBezTo>
                      <a:pt x="215" y="253"/>
                      <a:pt x="218" y="251"/>
                      <a:pt x="217" y="248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81" name="Freeform 30">
                <a:extLst>
                  <a:ext uri="{FF2B5EF4-FFF2-40B4-BE49-F238E27FC236}">
                    <a16:creationId xmlns:a16="http://schemas.microsoft.com/office/drawing/2014/main" id="{9517E7D3-9729-4190-A1F4-29C8B7BEAB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6075" y="5565775"/>
                <a:ext cx="187325" cy="219075"/>
              </a:xfrm>
              <a:custGeom>
                <a:avLst/>
                <a:gdLst/>
                <a:ahLst/>
                <a:cxnLst>
                  <a:cxn ang="0">
                    <a:pos x="1" y="48"/>
                  </a:cxn>
                  <a:cxn ang="0">
                    <a:pos x="1" y="48"/>
                  </a:cxn>
                  <a:cxn ang="0">
                    <a:pos x="1" y="48"/>
                  </a:cxn>
                  <a:cxn ang="0">
                    <a:pos x="78" y="46"/>
                  </a:cxn>
                  <a:cxn ang="0">
                    <a:pos x="79" y="35"/>
                  </a:cxn>
                  <a:cxn ang="0">
                    <a:pos x="72" y="34"/>
                  </a:cxn>
                  <a:cxn ang="0">
                    <a:pos x="65" y="28"/>
                  </a:cxn>
                  <a:cxn ang="0">
                    <a:pos x="62" y="18"/>
                  </a:cxn>
                  <a:cxn ang="0">
                    <a:pos x="58" y="8"/>
                  </a:cxn>
                  <a:cxn ang="0">
                    <a:pos x="54" y="11"/>
                  </a:cxn>
                  <a:cxn ang="0">
                    <a:pos x="47" y="15"/>
                  </a:cxn>
                  <a:cxn ang="0">
                    <a:pos x="44" y="4"/>
                  </a:cxn>
                  <a:cxn ang="0">
                    <a:pos x="42" y="4"/>
                  </a:cxn>
                  <a:cxn ang="0">
                    <a:pos x="40" y="17"/>
                  </a:cxn>
                  <a:cxn ang="0">
                    <a:pos x="35" y="23"/>
                  </a:cxn>
                  <a:cxn ang="0">
                    <a:pos x="33" y="25"/>
                  </a:cxn>
                  <a:cxn ang="0">
                    <a:pos x="29" y="32"/>
                  </a:cxn>
                  <a:cxn ang="0">
                    <a:pos x="24" y="36"/>
                  </a:cxn>
                  <a:cxn ang="0">
                    <a:pos x="19" y="38"/>
                  </a:cxn>
                  <a:cxn ang="0">
                    <a:pos x="17" y="39"/>
                  </a:cxn>
                  <a:cxn ang="0">
                    <a:pos x="13" y="41"/>
                  </a:cxn>
                  <a:cxn ang="0">
                    <a:pos x="7" y="45"/>
                  </a:cxn>
                  <a:cxn ang="0">
                    <a:pos x="1" y="44"/>
                  </a:cxn>
                  <a:cxn ang="0">
                    <a:pos x="0" y="44"/>
                  </a:cxn>
                  <a:cxn ang="0">
                    <a:pos x="0" y="46"/>
                  </a:cxn>
                  <a:cxn ang="0">
                    <a:pos x="0" y="45"/>
                  </a:cxn>
                  <a:cxn ang="0">
                    <a:pos x="0" y="47"/>
                  </a:cxn>
                  <a:cxn ang="0">
                    <a:pos x="1" y="48"/>
                  </a:cxn>
                  <a:cxn ang="0">
                    <a:pos x="2" y="48"/>
                  </a:cxn>
                  <a:cxn ang="0">
                    <a:pos x="3" y="49"/>
                  </a:cxn>
                  <a:cxn ang="0">
                    <a:pos x="5" y="55"/>
                  </a:cxn>
                  <a:cxn ang="0">
                    <a:pos x="8" y="62"/>
                  </a:cxn>
                  <a:cxn ang="0">
                    <a:pos x="17" y="67"/>
                  </a:cxn>
                  <a:cxn ang="0">
                    <a:pos x="22" y="74"/>
                  </a:cxn>
                  <a:cxn ang="0">
                    <a:pos x="25" y="82"/>
                  </a:cxn>
                  <a:cxn ang="0">
                    <a:pos x="27" y="88"/>
                  </a:cxn>
                  <a:cxn ang="0">
                    <a:pos x="30" y="99"/>
                  </a:cxn>
                  <a:cxn ang="0">
                    <a:pos x="30" y="114"/>
                  </a:cxn>
                  <a:cxn ang="0">
                    <a:pos x="34" y="115"/>
                  </a:cxn>
                  <a:cxn ang="0">
                    <a:pos x="40" y="111"/>
                  </a:cxn>
                  <a:cxn ang="0">
                    <a:pos x="40" y="106"/>
                  </a:cxn>
                  <a:cxn ang="0">
                    <a:pos x="45" y="98"/>
                  </a:cxn>
                  <a:cxn ang="0">
                    <a:pos x="61" y="93"/>
                  </a:cxn>
                  <a:cxn ang="0">
                    <a:pos x="64" y="98"/>
                  </a:cxn>
                  <a:cxn ang="0">
                    <a:pos x="69" y="96"/>
                  </a:cxn>
                  <a:cxn ang="0">
                    <a:pos x="75" y="87"/>
                  </a:cxn>
                  <a:cxn ang="0">
                    <a:pos x="85" y="89"/>
                  </a:cxn>
                  <a:cxn ang="0">
                    <a:pos x="84" y="87"/>
                  </a:cxn>
                  <a:cxn ang="0">
                    <a:pos x="87" y="77"/>
                  </a:cxn>
                  <a:cxn ang="0">
                    <a:pos x="90" y="73"/>
                  </a:cxn>
                  <a:cxn ang="0">
                    <a:pos x="93" y="70"/>
                  </a:cxn>
                  <a:cxn ang="0">
                    <a:pos x="93" y="64"/>
                  </a:cxn>
                  <a:cxn ang="0">
                    <a:pos x="98" y="57"/>
                  </a:cxn>
                  <a:cxn ang="0">
                    <a:pos x="97" y="54"/>
                  </a:cxn>
                  <a:cxn ang="0">
                    <a:pos x="83" y="50"/>
                  </a:cxn>
                  <a:cxn ang="0">
                    <a:pos x="0" y="47"/>
                  </a:cxn>
                  <a:cxn ang="0">
                    <a:pos x="1" y="44"/>
                  </a:cxn>
                  <a:cxn ang="0">
                    <a:pos x="1" y="44"/>
                  </a:cxn>
                  <a:cxn ang="0">
                    <a:pos x="2" y="62"/>
                  </a:cxn>
                </a:cxnLst>
                <a:rect l="0" t="0" r="r" b="b"/>
                <a:pathLst>
                  <a:path w="100" h="117">
                    <a:moveTo>
                      <a:pt x="1" y="48"/>
                    </a:move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moveTo>
                      <a:pt x="83" y="50"/>
                    </a:moveTo>
                    <a:cubicBezTo>
                      <a:pt x="81" y="50"/>
                      <a:pt x="81" y="46"/>
                      <a:pt x="78" y="46"/>
                    </a:cubicBezTo>
                    <a:cubicBezTo>
                      <a:pt x="78" y="44"/>
                      <a:pt x="78" y="42"/>
                      <a:pt x="78" y="40"/>
                    </a:cubicBezTo>
                    <a:cubicBezTo>
                      <a:pt x="78" y="39"/>
                      <a:pt x="79" y="37"/>
                      <a:pt x="79" y="35"/>
                    </a:cubicBezTo>
                    <a:cubicBezTo>
                      <a:pt x="77" y="35"/>
                      <a:pt x="75" y="35"/>
                      <a:pt x="74" y="36"/>
                    </a:cubicBezTo>
                    <a:cubicBezTo>
                      <a:pt x="73" y="35"/>
                      <a:pt x="73" y="35"/>
                      <a:pt x="72" y="34"/>
                    </a:cubicBezTo>
                    <a:cubicBezTo>
                      <a:pt x="71" y="33"/>
                      <a:pt x="71" y="33"/>
                      <a:pt x="71" y="31"/>
                    </a:cubicBezTo>
                    <a:cubicBezTo>
                      <a:pt x="69" y="29"/>
                      <a:pt x="66" y="29"/>
                      <a:pt x="65" y="28"/>
                    </a:cubicBezTo>
                    <a:cubicBezTo>
                      <a:pt x="63" y="26"/>
                      <a:pt x="64" y="25"/>
                      <a:pt x="64" y="23"/>
                    </a:cubicBezTo>
                    <a:cubicBezTo>
                      <a:pt x="63" y="21"/>
                      <a:pt x="62" y="20"/>
                      <a:pt x="62" y="18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59" y="11"/>
                      <a:pt x="60" y="10"/>
                      <a:pt x="58" y="8"/>
                    </a:cubicBezTo>
                    <a:cubicBezTo>
                      <a:pt x="57" y="8"/>
                      <a:pt x="55" y="8"/>
                      <a:pt x="55" y="9"/>
                    </a:cubicBezTo>
                    <a:cubicBezTo>
                      <a:pt x="54" y="9"/>
                      <a:pt x="55" y="10"/>
                      <a:pt x="54" y="11"/>
                    </a:cubicBezTo>
                    <a:cubicBezTo>
                      <a:pt x="54" y="12"/>
                      <a:pt x="53" y="12"/>
                      <a:pt x="52" y="13"/>
                    </a:cubicBezTo>
                    <a:cubicBezTo>
                      <a:pt x="50" y="13"/>
                      <a:pt x="49" y="15"/>
                      <a:pt x="47" y="15"/>
                    </a:cubicBezTo>
                    <a:cubicBezTo>
                      <a:pt x="46" y="12"/>
                      <a:pt x="43" y="9"/>
                      <a:pt x="43" y="6"/>
                    </a:cubicBezTo>
                    <a:cubicBezTo>
                      <a:pt x="43" y="4"/>
                      <a:pt x="43" y="5"/>
                      <a:pt x="44" y="4"/>
                    </a:cubicBezTo>
                    <a:cubicBezTo>
                      <a:pt x="45" y="4"/>
                      <a:pt x="46" y="4"/>
                      <a:pt x="45" y="2"/>
                    </a:cubicBezTo>
                    <a:cubicBezTo>
                      <a:pt x="44" y="0"/>
                      <a:pt x="43" y="3"/>
                      <a:pt x="42" y="4"/>
                    </a:cubicBezTo>
                    <a:cubicBezTo>
                      <a:pt x="40" y="7"/>
                      <a:pt x="40" y="9"/>
                      <a:pt x="40" y="12"/>
                    </a:cubicBezTo>
                    <a:cubicBezTo>
                      <a:pt x="40" y="14"/>
                      <a:pt x="40" y="16"/>
                      <a:pt x="40" y="17"/>
                    </a:cubicBezTo>
                    <a:cubicBezTo>
                      <a:pt x="39" y="19"/>
                      <a:pt x="38" y="19"/>
                      <a:pt x="37" y="20"/>
                    </a:cubicBezTo>
                    <a:cubicBezTo>
                      <a:pt x="36" y="21"/>
                      <a:pt x="35" y="22"/>
                      <a:pt x="35" y="23"/>
                    </a:cubicBezTo>
                    <a:cubicBezTo>
                      <a:pt x="35" y="23"/>
                      <a:pt x="35" y="24"/>
                      <a:pt x="35" y="24"/>
                    </a:cubicBezTo>
                    <a:cubicBezTo>
                      <a:pt x="34" y="24"/>
                      <a:pt x="33" y="24"/>
                      <a:pt x="33" y="25"/>
                    </a:cubicBezTo>
                    <a:cubicBezTo>
                      <a:pt x="31" y="26"/>
                      <a:pt x="29" y="27"/>
                      <a:pt x="29" y="30"/>
                    </a:cubicBezTo>
                    <a:cubicBezTo>
                      <a:pt x="29" y="30"/>
                      <a:pt x="29" y="31"/>
                      <a:pt x="29" y="32"/>
                    </a:cubicBezTo>
                    <a:cubicBezTo>
                      <a:pt x="28" y="34"/>
                      <a:pt x="27" y="33"/>
                      <a:pt x="26" y="34"/>
                    </a:cubicBezTo>
                    <a:cubicBezTo>
                      <a:pt x="25" y="35"/>
                      <a:pt x="25" y="36"/>
                      <a:pt x="24" y="36"/>
                    </a:cubicBezTo>
                    <a:cubicBezTo>
                      <a:pt x="24" y="37"/>
                      <a:pt x="23" y="38"/>
                      <a:pt x="22" y="38"/>
                    </a:cubicBezTo>
                    <a:cubicBezTo>
                      <a:pt x="22" y="39"/>
                      <a:pt x="20" y="38"/>
                      <a:pt x="19" y="38"/>
                    </a:cubicBezTo>
                    <a:cubicBezTo>
                      <a:pt x="19" y="38"/>
                      <a:pt x="19" y="38"/>
                      <a:pt x="19" y="38"/>
                    </a:cubicBezTo>
                    <a:cubicBezTo>
                      <a:pt x="19" y="38"/>
                      <a:pt x="18" y="38"/>
                      <a:pt x="17" y="39"/>
                    </a:cubicBezTo>
                    <a:cubicBezTo>
                      <a:pt x="16" y="39"/>
                      <a:pt x="17" y="40"/>
                      <a:pt x="17" y="41"/>
                    </a:cubicBezTo>
                    <a:cubicBezTo>
                      <a:pt x="16" y="42"/>
                      <a:pt x="14" y="41"/>
                      <a:pt x="13" y="41"/>
                    </a:cubicBezTo>
                    <a:cubicBezTo>
                      <a:pt x="11" y="41"/>
                      <a:pt x="12" y="44"/>
                      <a:pt x="12" y="46"/>
                    </a:cubicBezTo>
                    <a:cubicBezTo>
                      <a:pt x="10" y="46"/>
                      <a:pt x="9" y="46"/>
                      <a:pt x="7" y="45"/>
                    </a:cubicBezTo>
                    <a:cubicBezTo>
                      <a:pt x="6" y="44"/>
                      <a:pt x="5" y="44"/>
                      <a:pt x="4" y="43"/>
                    </a:cubicBezTo>
                    <a:cubicBezTo>
                      <a:pt x="3" y="43"/>
                      <a:pt x="2" y="43"/>
                      <a:pt x="1" y="44"/>
                    </a:cubicBezTo>
                    <a:cubicBezTo>
                      <a:pt x="1" y="44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4"/>
                    </a:cubicBezTo>
                    <a:cubicBezTo>
                      <a:pt x="0" y="45"/>
                      <a:pt x="0" y="45"/>
                      <a:pt x="0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6"/>
                      <a:pt x="0" y="45"/>
                      <a:pt x="0" y="45"/>
                    </a:cubicBezTo>
                    <a:cubicBezTo>
                      <a:pt x="0" y="45"/>
                      <a:pt x="0" y="46"/>
                      <a:pt x="0" y="46"/>
                    </a:cubicBezTo>
                    <a:cubicBezTo>
                      <a:pt x="0" y="46"/>
                      <a:pt x="0" y="46"/>
                      <a:pt x="0" y="47"/>
                    </a:cubicBezTo>
                    <a:cubicBezTo>
                      <a:pt x="0" y="47"/>
                      <a:pt x="1" y="47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2" y="48"/>
                      <a:pt x="2" y="48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2" y="49"/>
                      <a:pt x="3" y="49"/>
                      <a:pt x="3" y="49"/>
                    </a:cubicBezTo>
                    <a:cubicBezTo>
                      <a:pt x="4" y="49"/>
                      <a:pt x="5" y="50"/>
                      <a:pt x="5" y="50"/>
                    </a:cubicBezTo>
                    <a:cubicBezTo>
                      <a:pt x="6" y="52"/>
                      <a:pt x="6" y="54"/>
                      <a:pt x="5" y="55"/>
                    </a:cubicBezTo>
                    <a:cubicBezTo>
                      <a:pt x="6" y="56"/>
                      <a:pt x="6" y="57"/>
                      <a:pt x="6" y="58"/>
                    </a:cubicBezTo>
                    <a:cubicBezTo>
                      <a:pt x="7" y="59"/>
                      <a:pt x="7" y="61"/>
                      <a:pt x="8" y="62"/>
                    </a:cubicBezTo>
                    <a:cubicBezTo>
                      <a:pt x="10" y="64"/>
                      <a:pt x="13" y="62"/>
                      <a:pt x="15" y="64"/>
                    </a:cubicBezTo>
                    <a:cubicBezTo>
                      <a:pt x="16" y="65"/>
                      <a:pt x="16" y="66"/>
                      <a:pt x="17" y="67"/>
                    </a:cubicBezTo>
                    <a:cubicBezTo>
                      <a:pt x="18" y="68"/>
                      <a:pt x="19" y="69"/>
                      <a:pt x="20" y="70"/>
                    </a:cubicBezTo>
                    <a:cubicBezTo>
                      <a:pt x="21" y="71"/>
                      <a:pt x="21" y="72"/>
                      <a:pt x="22" y="74"/>
                    </a:cubicBezTo>
                    <a:cubicBezTo>
                      <a:pt x="22" y="75"/>
                      <a:pt x="24" y="77"/>
                      <a:pt x="25" y="79"/>
                    </a:cubicBezTo>
                    <a:cubicBezTo>
                      <a:pt x="26" y="80"/>
                      <a:pt x="25" y="81"/>
                      <a:pt x="25" y="82"/>
                    </a:cubicBezTo>
                    <a:cubicBezTo>
                      <a:pt x="25" y="83"/>
                      <a:pt x="26" y="83"/>
                      <a:pt x="26" y="84"/>
                    </a:cubicBezTo>
                    <a:cubicBezTo>
                      <a:pt x="27" y="86"/>
                      <a:pt x="27" y="87"/>
                      <a:pt x="27" y="88"/>
                    </a:cubicBezTo>
                    <a:cubicBezTo>
                      <a:pt x="27" y="90"/>
                      <a:pt x="28" y="92"/>
                      <a:pt x="28" y="94"/>
                    </a:cubicBezTo>
                    <a:cubicBezTo>
                      <a:pt x="28" y="96"/>
                      <a:pt x="29" y="97"/>
                      <a:pt x="30" y="99"/>
                    </a:cubicBezTo>
                    <a:cubicBezTo>
                      <a:pt x="31" y="101"/>
                      <a:pt x="31" y="104"/>
                      <a:pt x="31" y="106"/>
                    </a:cubicBezTo>
                    <a:cubicBezTo>
                      <a:pt x="31" y="109"/>
                      <a:pt x="31" y="112"/>
                      <a:pt x="30" y="114"/>
                    </a:cubicBezTo>
                    <a:cubicBezTo>
                      <a:pt x="30" y="115"/>
                      <a:pt x="30" y="117"/>
                      <a:pt x="31" y="117"/>
                    </a:cubicBezTo>
                    <a:cubicBezTo>
                      <a:pt x="32" y="117"/>
                      <a:pt x="33" y="116"/>
                      <a:pt x="34" y="115"/>
                    </a:cubicBezTo>
                    <a:cubicBezTo>
                      <a:pt x="35" y="114"/>
                      <a:pt x="36" y="114"/>
                      <a:pt x="37" y="113"/>
                    </a:cubicBezTo>
                    <a:cubicBezTo>
                      <a:pt x="38" y="112"/>
                      <a:pt x="39" y="112"/>
                      <a:pt x="40" y="111"/>
                    </a:cubicBezTo>
                    <a:cubicBezTo>
                      <a:pt x="40" y="110"/>
                      <a:pt x="40" y="109"/>
                      <a:pt x="40" y="108"/>
                    </a:cubicBezTo>
                    <a:cubicBezTo>
                      <a:pt x="40" y="107"/>
                      <a:pt x="40" y="106"/>
                      <a:pt x="40" y="106"/>
                    </a:cubicBezTo>
                    <a:cubicBezTo>
                      <a:pt x="40" y="105"/>
                      <a:pt x="41" y="104"/>
                      <a:pt x="41" y="103"/>
                    </a:cubicBezTo>
                    <a:cubicBezTo>
                      <a:pt x="43" y="101"/>
                      <a:pt x="44" y="99"/>
                      <a:pt x="45" y="98"/>
                    </a:cubicBezTo>
                    <a:cubicBezTo>
                      <a:pt x="47" y="96"/>
                      <a:pt x="49" y="96"/>
                      <a:pt x="51" y="95"/>
                    </a:cubicBezTo>
                    <a:cubicBezTo>
                      <a:pt x="54" y="94"/>
                      <a:pt x="58" y="91"/>
                      <a:pt x="61" y="93"/>
                    </a:cubicBezTo>
                    <a:cubicBezTo>
                      <a:pt x="63" y="94"/>
                      <a:pt x="62" y="94"/>
                      <a:pt x="63" y="95"/>
                    </a:cubicBezTo>
                    <a:cubicBezTo>
                      <a:pt x="63" y="96"/>
                      <a:pt x="64" y="97"/>
                      <a:pt x="64" y="98"/>
                    </a:cubicBezTo>
                    <a:cubicBezTo>
                      <a:pt x="65" y="98"/>
                      <a:pt x="67" y="101"/>
                      <a:pt x="68" y="100"/>
                    </a:cubicBezTo>
                    <a:cubicBezTo>
                      <a:pt x="68" y="99"/>
                      <a:pt x="69" y="97"/>
                      <a:pt x="69" y="96"/>
                    </a:cubicBezTo>
                    <a:cubicBezTo>
                      <a:pt x="70" y="94"/>
                      <a:pt x="70" y="93"/>
                      <a:pt x="72" y="92"/>
                    </a:cubicBezTo>
                    <a:cubicBezTo>
                      <a:pt x="71" y="90"/>
                      <a:pt x="75" y="89"/>
                      <a:pt x="75" y="87"/>
                    </a:cubicBezTo>
                    <a:cubicBezTo>
                      <a:pt x="77" y="86"/>
                      <a:pt x="86" y="86"/>
                      <a:pt x="85" y="89"/>
                    </a:cubicBezTo>
                    <a:cubicBezTo>
                      <a:pt x="85" y="89"/>
                      <a:pt x="85" y="89"/>
                      <a:pt x="85" y="89"/>
                    </a:cubicBezTo>
                    <a:cubicBezTo>
                      <a:pt x="85" y="89"/>
                      <a:pt x="85" y="88"/>
                      <a:pt x="85" y="88"/>
                    </a:cubicBezTo>
                    <a:cubicBezTo>
                      <a:pt x="85" y="87"/>
                      <a:pt x="85" y="87"/>
                      <a:pt x="84" y="87"/>
                    </a:cubicBezTo>
                    <a:cubicBezTo>
                      <a:pt x="84" y="86"/>
                      <a:pt x="83" y="85"/>
                      <a:pt x="82" y="84"/>
                    </a:cubicBezTo>
                    <a:cubicBezTo>
                      <a:pt x="82" y="81"/>
                      <a:pt x="86" y="79"/>
                      <a:pt x="87" y="77"/>
                    </a:cubicBezTo>
                    <a:cubicBezTo>
                      <a:pt x="88" y="77"/>
                      <a:pt x="89" y="76"/>
                      <a:pt x="89" y="76"/>
                    </a:cubicBezTo>
                    <a:cubicBezTo>
                      <a:pt x="89" y="75"/>
                      <a:pt x="89" y="74"/>
                      <a:pt x="90" y="73"/>
                    </a:cubicBezTo>
                    <a:cubicBezTo>
                      <a:pt x="90" y="72"/>
                      <a:pt x="91" y="72"/>
                      <a:pt x="92" y="72"/>
                    </a:cubicBezTo>
                    <a:cubicBezTo>
                      <a:pt x="92" y="72"/>
                      <a:pt x="93" y="70"/>
                      <a:pt x="93" y="70"/>
                    </a:cubicBezTo>
                    <a:cubicBezTo>
                      <a:pt x="93" y="70"/>
                      <a:pt x="93" y="70"/>
                      <a:pt x="93" y="70"/>
                    </a:cubicBezTo>
                    <a:cubicBezTo>
                      <a:pt x="94" y="68"/>
                      <a:pt x="93" y="65"/>
                      <a:pt x="93" y="64"/>
                    </a:cubicBezTo>
                    <a:cubicBezTo>
                      <a:pt x="93" y="62"/>
                      <a:pt x="95" y="61"/>
                      <a:pt x="96" y="60"/>
                    </a:cubicBezTo>
                    <a:cubicBezTo>
                      <a:pt x="97" y="59"/>
                      <a:pt x="97" y="58"/>
                      <a:pt x="98" y="57"/>
                    </a:cubicBezTo>
                    <a:cubicBezTo>
                      <a:pt x="99" y="56"/>
                      <a:pt x="100" y="56"/>
                      <a:pt x="99" y="55"/>
                    </a:cubicBezTo>
                    <a:cubicBezTo>
                      <a:pt x="99" y="55"/>
                      <a:pt x="98" y="54"/>
                      <a:pt x="97" y="54"/>
                    </a:cubicBezTo>
                    <a:cubicBezTo>
                      <a:pt x="96" y="53"/>
                      <a:pt x="95" y="55"/>
                      <a:pt x="94" y="55"/>
                    </a:cubicBezTo>
                    <a:cubicBezTo>
                      <a:pt x="90" y="56"/>
                      <a:pt x="87" y="42"/>
                      <a:pt x="83" y="50"/>
                    </a:cubicBezTo>
                    <a:moveTo>
                      <a:pt x="0" y="46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47"/>
                      <a:pt x="0" y="47"/>
                      <a:pt x="0" y="46"/>
                    </a:cubicBezTo>
                    <a:moveTo>
                      <a:pt x="1" y="44"/>
                    </a:moveTo>
                    <a:cubicBezTo>
                      <a:pt x="1" y="44"/>
                      <a:pt x="1" y="44"/>
                      <a:pt x="0" y="44"/>
                    </a:cubicBezTo>
                    <a:cubicBezTo>
                      <a:pt x="1" y="44"/>
                      <a:pt x="1" y="44"/>
                      <a:pt x="1" y="44"/>
                    </a:cubicBezTo>
                    <a:moveTo>
                      <a:pt x="2" y="62"/>
                    </a:moveTo>
                    <a:cubicBezTo>
                      <a:pt x="2" y="62"/>
                      <a:pt x="2" y="62"/>
                      <a:pt x="2" y="62"/>
                    </a:cubicBezTo>
                    <a:cubicBezTo>
                      <a:pt x="2" y="62"/>
                      <a:pt x="2" y="62"/>
                      <a:pt x="2" y="6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82" name="Freeform 31">
                <a:extLst>
                  <a:ext uri="{FF2B5EF4-FFF2-40B4-BE49-F238E27FC236}">
                    <a16:creationId xmlns:a16="http://schemas.microsoft.com/office/drawing/2014/main" id="{59E0E125-2EF2-45A8-B8A7-162CE04FF1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3525" y="5646738"/>
                <a:ext cx="185738" cy="463550"/>
              </a:xfrm>
              <a:custGeom>
                <a:avLst/>
                <a:gdLst/>
                <a:ahLst/>
                <a:cxnLst>
                  <a:cxn ang="0">
                    <a:pos x="44" y="3"/>
                  </a:cxn>
                  <a:cxn ang="0">
                    <a:pos x="44" y="3"/>
                  </a:cxn>
                  <a:cxn ang="0">
                    <a:pos x="44" y="3"/>
                  </a:cxn>
                  <a:cxn ang="0">
                    <a:pos x="44" y="4"/>
                  </a:cxn>
                  <a:cxn ang="0">
                    <a:pos x="44" y="4"/>
                  </a:cxn>
                  <a:cxn ang="0">
                    <a:pos x="46" y="5"/>
                  </a:cxn>
                  <a:cxn ang="0">
                    <a:pos x="45" y="5"/>
                  </a:cxn>
                  <a:cxn ang="0">
                    <a:pos x="45" y="5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46" y="5"/>
                  </a:cxn>
                  <a:cxn ang="0">
                    <a:pos x="44" y="2"/>
                  </a:cxn>
                  <a:cxn ang="0">
                    <a:pos x="45" y="1"/>
                  </a:cxn>
                  <a:cxn ang="0">
                    <a:pos x="45" y="1"/>
                  </a:cxn>
                  <a:cxn ang="0">
                    <a:pos x="44" y="1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11" y="187"/>
                  </a:cxn>
                  <a:cxn ang="0">
                    <a:pos x="9" y="201"/>
                  </a:cxn>
                  <a:cxn ang="0">
                    <a:pos x="15" y="208"/>
                  </a:cxn>
                  <a:cxn ang="0">
                    <a:pos x="20" y="215"/>
                  </a:cxn>
                  <a:cxn ang="0">
                    <a:pos x="28" y="221"/>
                  </a:cxn>
                  <a:cxn ang="0">
                    <a:pos x="34" y="229"/>
                  </a:cxn>
                  <a:cxn ang="0">
                    <a:pos x="37" y="242"/>
                  </a:cxn>
                  <a:cxn ang="0">
                    <a:pos x="50" y="244"/>
                  </a:cxn>
                  <a:cxn ang="0">
                    <a:pos x="56" y="236"/>
                  </a:cxn>
                  <a:cxn ang="0">
                    <a:pos x="56" y="228"/>
                  </a:cxn>
                  <a:cxn ang="0">
                    <a:pos x="59" y="219"/>
                  </a:cxn>
                  <a:cxn ang="0">
                    <a:pos x="73" y="213"/>
                  </a:cxn>
                  <a:cxn ang="0">
                    <a:pos x="77" y="202"/>
                  </a:cxn>
                  <a:cxn ang="0">
                    <a:pos x="83" y="185"/>
                  </a:cxn>
                  <a:cxn ang="0">
                    <a:pos x="92" y="184"/>
                  </a:cxn>
                  <a:cxn ang="0">
                    <a:pos x="96" y="167"/>
                  </a:cxn>
                  <a:cxn ang="0">
                    <a:pos x="94" y="155"/>
                  </a:cxn>
                  <a:cxn ang="0">
                    <a:pos x="81" y="147"/>
                  </a:cxn>
                  <a:cxn ang="0">
                    <a:pos x="75" y="134"/>
                  </a:cxn>
                  <a:cxn ang="0">
                    <a:pos x="69" y="125"/>
                  </a:cxn>
                  <a:cxn ang="0">
                    <a:pos x="68" y="112"/>
                  </a:cxn>
                  <a:cxn ang="0">
                    <a:pos x="67" y="104"/>
                  </a:cxn>
                  <a:cxn ang="0">
                    <a:pos x="71" y="95"/>
                  </a:cxn>
                  <a:cxn ang="0">
                    <a:pos x="72" y="79"/>
                  </a:cxn>
                  <a:cxn ang="0">
                    <a:pos x="74" y="56"/>
                  </a:cxn>
                  <a:cxn ang="0">
                    <a:pos x="69" y="39"/>
                  </a:cxn>
                  <a:cxn ang="0">
                    <a:pos x="61" y="24"/>
                  </a:cxn>
                  <a:cxn ang="0">
                    <a:pos x="49" y="12"/>
                  </a:cxn>
                  <a:cxn ang="0">
                    <a:pos x="45" y="21"/>
                  </a:cxn>
                  <a:cxn ang="0">
                    <a:pos x="28" y="17"/>
                  </a:cxn>
                  <a:cxn ang="0">
                    <a:pos x="24" y="14"/>
                  </a:cxn>
                  <a:cxn ang="0">
                    <a:pos x="12" y="30"/>
                  </a:cxn>
                  <a:cxn ang="0">
                    <a:pos x="5" y="47"/>
                  </a:cxn>
                  <a:cxn ang="0">
                    <a:pos x="10" y="69"/>
                  </a:cxn>
                  <a:cxn ang="0">
                    <a:pos x="18" y="82"/>
                  </a:cxn>
                  <a:cxn ang="0">
                    <a:pos x="19" y="103"/>
                  </a:cxn>
                  <a:cxn ang="0">
                    <a:pos x="7" y="112"/>
                  </a:cxn>
                  <a:cxn ang="0">
                    <a:pos x="12" y="121"/>
                  </a:cxn>
                  <a:cxn ang="0">
                    <a:pos x="11" y="135"/>
                  </a:cxn>
                  <a:cxn ang="0">
                    <a:pos x="13" y="146"/>
                  </a:cxn>
                  <a:cxn ang="0">
                    <a:pos x="8" y="143"/>
                  </a:cxn>
                  <a:cxn ang="0">
                    <a:pos x="2" y="167"/>
                  </a:cxn>
                </a:cxnLst>
                <a:rect l="0" t="0" r="r" b="b"/>
                <a:pathLst>
                  <a:path w="99" h="248">
                    <a:moveTo>
                      <a:pt x="46" y="5"/>
                    </a:moveTo>
                    <a:cubicBezTo>
                      <a:pt x="46" y="5"/>
                      <a:pt x="46" y="5"/>
                      <a:pt x="46" y="5"/>
                    </a:cubicBezTo>
                    <a:cubicBezTo>
                      <a:pt x="46" y="5"/>
                      <a:pt x="46" y="5"/>
                      <a:pt x="46" y="5"/>
                    </a:cubicBezTo>
                    <a:close/>
                    <a:moveTo>
                      <a:pt x="44" y="3"/>
                    </a:moveTo>
                    <a:cubicBezTo>
                      <a:pt x="44" y="3"/>
                      <a:pt x="44" y="3"/>
                      <a:pt x="44" y="3"/>
                    </a:cubicBezTo>
                    <a:cubicBezTo>
                      <a:pt x="44" y="3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3"/>
                      <a:pt x="44" y="3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4" y="3"/>
                      <a:pt x="44" y="2"/>
                      <a:pt x="44" y="2"/>
                    </a:cubicBezTo>
                    <a:cubicBezTo>
                      <a:pt x="44" y="2"/>
                      <a:pt x="44" y="3"/>
                      <a:pt x="44" y="3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4" y="3"/>
                      <a:pt x="44" y="3"/>
                      <a:pt x="44" y="3"/>
                    </a:cubicBezTo>
                    <a:moveTo>
                      <a:pt x="45" y="5"/>
                    </a:moveTo>
                    <a:cubicBezTo>
                      <a:pt x="45" y="5"/>
                      <a:pt x="45" y="5"/>
                      <a:pt x="45" y="5"/>
                    </a:cubicBezTo>
                    <a:cubicBezTo>
                      <a:pt x="45" y="4"/>
                      <a:pt x="44" y="4"/>
                      <a:pt x="44" y="4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4"/>
                      <a:pt x="44" y="5"/>
                      <a:pt x="45" y="5"/>
                    </a:cubicBezTo>
                    <a:moveTo>
                      <a:pt x="45" y="5"/>
                    </a:moveTo>
                    <a:cubicBezTo>
                      <a:pt x="45" y="5"/>
                      <a:pt x="45" y="5"/>
                      <a:pt x="45" y="5"/>
                    </a:cubicBezTo>
                    <a:cubicBezTo>
                      <a:pt x="45" y="5"/>
                      <a:pt x="46" y="5"/>
                      <a:pt x="46" y="5"/>
                    </a:cubicBezTo>
                    <a:cubicBezTo>
                      <a:pt x="46" y="5"/>
                      <a:pt x="45" y="5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moveTo>
                      <a:pt x="45" y="5"/>
                    </a:moveTo>
                    <a:cubicBezTo>
                      <a:pt x="45" y="5"/>
                      <a:pt x="45" y="5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moveTo>
                      <a:pt x="45" y="5"/>
                    </a:moveTo>
                    <a:cubicBezTo>
                      <a:pt x="45" y="5"/>
                      <a:pt x="45" y="5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moveTo>
                      <a:pt x="46" y="0"/>
                    </a:move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moveTo>
                      <a:pt x="46" y="5"/>
                    </a:moveTo>
                    <a:cubicBezTo>
                      <a:pt x="46" y="5"/>
                      <a:pt x="46" y="5"/>
                      <a:pt x="46" y="5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6" y="5"/>
                      <a:pt x="46" y="5"/>
                      <a:pt x="46" y="5"/>
                    </a:cubicBezTo>
                    <a:moveTo>
                      <a:pt x="44" y="2"/>
                    </a:move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moveTo>
                      <a:pt x="45" y="1"/>
                    </a:moveTo>
                    <a:cubicBezTo>
                      <a:pt x="45" y="1"/>
                      <a:pt x="45" y="1"/>
                      <a:pt x="45" y="1"/>
                    </a:cubicBezTo>
                    <a:cubicBezTo>
                      <a:pt x="45" y="1"/>
                      <a:pt x="46" y="1"/>
                      <a:pt x="46" y="0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5" y="1"/>
                      <a:pt x="45" y="1"/>
                      <a:pt x="45" y="1"/>
                    </a:cubicBezTo>
                    <a:moveTo>
                      <a:pt x="44" y="2"/>
                    </a:moveTo>
                    <a:cubicBezTo>
                      <a:pt x="44" y="2"/>
                      <a:pt x="44" y="2"/>
                      <a:pt x="44" y="2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5" y="1"/>
                      <a:pt x="45" y="1"/>
                      <a:pt x="44" y="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4" y="1"/>
                      <a:pt x="44" y="1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moveTo>
                      <a:pt x="44" y="2"/>
                    </a:move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moveTo>
                      <a:pt x="44" y="2"/>
                    </a:move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4" y="2"/>
                      <a:pt x="44" y="2"/>
                      <a:pt x="44" y="2"/>
                    </a:cubicBezTo>
                    <a:moveTo>
                      <a:pt x="2" y="174"/>
                    </a:moveTo>
                    <a:cubicBezTo>
                      <a:pt x="3" y="176"/>
                      <a:pt x="8" y="176"/>
                      <a:pt x="9" y="178"/>
                    </a:cubicBezTo>
                    <a:cubicBezTo>
                      <a:pt x="9" y="179"/>
                      <a:pt x="8" y="181"/>
                      <a:pt x="9" y="182"/>
                    </a:cubicBezTo>
                    <a:cubicBezTo>
                      <a:pt x="9" y="184"/>
                      <a:pt x="11" y="185"/>
                      <a:pt x="11" y="187"/>
                    </a:cubicBezTo>
                    <a:cubicBezTo>
                      <a:pt x="12" y="188"/>
                      <a:pt x="11" y="189"/>
                      <a:pt x="10" y="190"/>
                    </a:cubicBezTo>
                    <a:cubicBezTo>
                      <a:pt x="9" y="191"/>
                      <a:pt x="8" y="191"/>
                      <a:pt x="7" y="193"/>
                    </a:cubicBezTo>
                    <a:cubicBezTo>
                      <a:pt x="7" y="194"/>
                      <a:pt x="7" y="196"/>
                      <a:pt x="8" y="197"/>
                    </a:cubicBezTo>
                    <a:cubicBezTo>
                      <a:pt x="8" y="199"/>
                      <a:pt x="8" y="200"/>
                      <a:pt x="9" y="201"/>
                    </a:cubicBezTo>
                    <a:cubicBezTo>
                      <a:pt x="10" y="202"/>
                      <a:pt x="10" y="202"/>
                      <a:pt x="11" y="203"/>
                    </a:cubicBezTo>
                    <a:cubicBezTo>
                      <a:pt x="11" y="204"/>
                      <a:pt x="11" y="204"/>
                      <a:pt x="11" y="205"/>
                    </a:cubicBezTo>
                    <a:cubicBezTo>
                      <a:pt x="11" y="205"/>
                      <a:pt x="12" y="206"/>
                      <a:pt x="13" y="206"/>
                    </a:cubicBezTo>
                    <a:cubicBezTo>
                      <a:pt x="13" y="207"/>
                      <a:pt x="14" y="207"/>
                      <a:pt x="15" y="208"/>
                    </a:cubicBezTo>
                    <a:cubicBezTo>
                      <a:pt x="15" y="209"/>
                      <a:pt x="15" y="209"/>
                      <a:pt x="16" y="209"/>
                    </a:cubicBezTo>
                    <a:cubicBezTo>
                      <a:pt x="16" y="210"/>
                      <a:pt x="18" y="210"/>
                      <a:pt x="19" y="211"/>
                    </a:cubicBezTo>
                    <a:cubicBezTo>
                      <a:pt x="20" y="211"/>
                      <a:pt x="20" y="212"/>
                      <a:pt x="20" y="213"/>
                    </a:cubicBezTo>
                    <a:cubicBezTo>
                      <a:pt x="20" y="213"/>
                      <a:pt x="20" y="214"/>
                      <a:pt x="20" y="215"/>
                    </a:cubicBezTo>
                    <a:cubicBezTo>
                      <a:pt x="21" y="215"/>
                      <a:pt x="21" y="215"/>
                      <a:pt x="21" y="216"/>
                    </a:cubicBezTo>
                    <a:cubicBezTo>
                      <a:pt x="22" y="217"/>
                      <a:pt x="22" y="218"/>
                      <a:pt x="24" y="218"/>
                    </a:cubicBezTo>
                    <a:cubicBezTo>
                      <a:pt x="24" y="219"/>
                      <a:pt x="25" y="219"/>
                      <a:pt x="26" y="220"/>
                    </a:cubicBezTo>
                    <a:cubicBezTo>
                      <a:pt x="27" y="220"/>
                      <a:pt x="27" y="221"/>
                      <a:pt x="28" y="221"/>
                    </a:cubicBezTo>
                    <a:cubicBezTo>
                      <a:pt x="29" y="222"/>
                      <a:pt x="30" y="222"/>
                      <a:pt x="31" y="222"/>
                    </a:cubicBezTo>
                    <a:cubicBezTo>
                      <a:pt x="33" y="222"/>
                      <a:pt x="32" y="225"/>
                      <a:pt x="32" y="226"/>
                    </a:cubicBezTo>
                    <a:cubicBezTo>
                      <a:pt x="32" y="228"/>
                      <a:pt x="32" y="228"/>
                      <a:pt x="33" y="229"/>
                    </a:cubicBezTo>
                    <a:cubicBezTo>
                      <a:pt x="34" y="229"/>
                      <a:pt x="34" y="229"/>
                      <a:pt x="34" y="229"/>
                    </a:cubicBezTo>
                    <a:cubicBezTo>
                      <a:pt x="35" y="229"/>
                      <a:pt x="36" y="230"/>
                      <a:pt x="37" y="231"/>
                    </a:cubicBezTo>
                    <a:cubicBezTo>
                      <a:pt x="38" y="232"/>
                      <a:pt x="39" y="233"/>
                      <a:pt x="37" y="234"/>
                    </a:cubicBezTo>
                    <a:cubicBezTo>
                      <a:pt x="36" y="235"/>
                      <a:pt x="36" y="235"/>
                      <a:pt x="36" y="236"/>
                    </a:cubicBezTo>
                    <a:cubicBezTo>
                      <a:pt x="35" y="238"/>
                      <a:pt x="36" y="240"/>
                      <a:pt x="37" y="242"/>
                    </a:cubicBezTo>
                    <a:cubicBezTo>
                      <a:pt x="38" y="245"/>
                      <a:pt x="40" y="244"/>
                      <a:pt x="42" y="245"/>
                    </a:cubicBezTo>
                    <a:cubicBezTo>
                      <a:pt x="43" y="245"/>
                      <a:pt x="46" y="248"/>
                      <a:pt x="48" y="247"/>
                    </a:cubicBezTo>
                    <a:cubicBezTo>
                      <a:pt x="48" y="246"/>
                      <a:pt x="48" y="246"/>
                      <a:pt x="49" y="245"/>
                    </a:cubicBezTo>
                    <a:cubicBezTo>
                      <a:pt x="49" y="245"/>
                      <a:pt x="50" y="245"/>
                      <a:pt x="50" y="244"/>
                    </a:cubicBezTo>
                    <a:cubicBezTo>
                      <a:pt x="51" y="244"/>
                      <a:pt x="52" y="242"/>
                      <a:pt x="53" y="241"/>
                    </a:cubicBezTo>
                    <a:cubicBezTo>
                      <a:pt x="53" y="239"/>
                      <a:pt x="53" y="238"/>
                      <a:pt x="54" y="237"/>
                    </a:cubicBezTo>
                    <a:cubicBezTo>
                      <a:pt x="54" y="237"/>
                      <a:pt x="54" y="237"/>
                      <a:pt x="55" y="237"/>
                    </a:cubicBezTo>
                    <a:cubicBezTo>
                      <a:pt x="55" y="237"/>
                      <a:pt x="55" y="237"/>
                      <a:pt x="56" y="236"/>
                    </a:cubicBezTo>
                    <a:cubicBezTo>
                      <a:pt x="56" y="236"/>
                      <a:pt x="56" y="236"/>
                      <a:pt x="57" y="236"/>
                    </a:cubicBezTo>
                    <a:cubicBezTo>
                      <a:pt x="57" y="235"/>
                      <a:pt x="58" y="235"/>
                      <a:pt x="58" y="234"/>
                    </a:cubicBezTo>
                    <a:cubicBezTo>
                      <a:pt x="59" y="233"/>
                      <a:pt x="58" y="232"/>
                      <a:pt x="57" y="231"/>
                    </a:cubicBezTo>
                    <a:cubicBezTo>
                      <a:pt x="57" y="230"/>
                      <a:pt x="57" y="229"/>
                      <a:pt x="56" y="228"/>
                    </a:cubicBezTo>
                    <a:cubicBezTo>
                      <a:pt x="56" y="227"/>
                      <a:pt x="55" y="227"/>
                      <a:pt x="55" y="226"/>
                    </a:cubicBezTo>
                    <a:cubicBezTo>
                      <a:pt x="55" y="225"/>
                      <a:pt x="56" y="223"/>
                      <a:pt x="56" y="223"/>
                    </a:cubicBezTo>
                    <a:cubicBezTo>
                      <a:pt x="57" y="222"/>
                      <a:pt x="57" y="222"/>
                      <a:pt x="57" y="221"/>
                    </a:cubicBezTo>
                    <a:cubicBezTo>
                      <a:pt x="58" y="220"/>
                      <a:pt x="58" y="220"/>
                      <a:pt x="59" y="219"/>
                    </a:cubicBezTo>
                    <a:cubicBezTo>
                      <a:pt x="60" y="217"/>
                      <a:pt x="62" y="216"/>
                      <a:pt x="64" y="215"/>
                    </a:cubicBezTo>
                    <a:cubicBezTo>
                      <a:pt x="65" y="214"/>
                      <a:pt x="66" y="214"/>
                      <a:pt x="68" y="214"/>
                    </a:cubicBezTo>
                    <a:cubicBezTo>
                      <a:pt x="69" y="214"/>
                      <a:pt x="71" y="215"/>
                      <a:pt x="72" y="215"/>
                    </a:cubicBezTo>
                    <a:cubicBezTo>
                      <a:pt x="72" y="215"/>
                      <a:pt x="73" y="213"/>
                      <a:pt x="73" y="213"/>
                    </a:cubicBezTo>
                    <a:cubicBezTo>
                      <a:pt x="73" y="212"/>
                      <a:pt x="73" y="211"/>
                      <a:pt x="74" y="210"/>
                    </a:cubicBezTo>
                    <a:cubicBezTo>
                      <a:pt x="74" y="209"/>
                      <a:pt x="75" y="209"/>
                      <a:pt x="75" y="207"/>
                    </a:cubicBezTo>
                    <a:cubicBezTo>
                      <a:pt x="75" y="207"/>
                      <a:pt x="74" y="206"/>
                      <a:pt x="75" y="206"/>
                    </a:cubicBezTo>
                    <a:cubicBezTo>
                      <a:pt x="75" y="204"/>
                      <a:pt x="76" y="203"/>
                      <a:pt x="77" y="202"/>
                    </a:cubicBezTo>
                    <a:cubicBezTo>
                      <a:pt x="77" y="201"/>
                      <a:pt x="77" y="200"/>
                      <a:pt x="78" y="199"/>
                    </a:cubicBezTo>
                    <a:cubicBezTo>
                      <a:pt x="79" y="197"/>
                      <a:pt x="79" y="196"/>
                      <a:pt x="79" y="194"/>
                    </a:cubicBezTo>
                    <a:cubicBezTo>
                      <a:pt x="79" y="192"/>
                      <a:pt x="80" y="190"/>
                      <a:pt x="81" y="188"/>
                    </a:cubicBezTo>
                    <a:cubicBezTo>
                      <a:pt x="82" y="187"/>
                      <a:pt x="82" y="186"/>
                      <a:pt x="83" y="185"/>
                    </a:cubicBezTo>
                    <a:cubicBezTo>
                      <a:pt x="84" y="185"/>
                      <a:pt x="85" y="186"/>
                      <a:pt x="86" y="185"/>
                    </a:cubicBezTo>
                    <a:cubicBezTo>
                      <a:pt x="86" y="185"/>
                      <a:pt x="87" y="185"/>
                      <a:pt x="87" y="184"/>
                    </a:cubicBezTo>
                    <a:cubicBezTo>
                      <a:pt x="87" y="184"/>
                      <a:pt x="88" y="184"/>
                      <a:pt x="88" y="184"/>
                    </a:cubicBezTo>
                    <a:cubicBezTo>
                      <a:pt x="89" y="184"/>
                      <a:pt x="91" y="184"/>
                      <a:pt x="92" y="184"/>
                    </a:cubicBezTo>
                    <a:cubicBezTo>
                      <a:pt x="94" y="183"/>
                      <a:pt x="93" y="181"/>
                      <a:pt x="94" y="179"/>
                    </a:cubicBezTo>
                    <a:cubicBezTo>
                      <a:pt x="94" y="177"/>
                      <a:pt x="94" y="177"/>
                      <a:pt x="96" y="176"/>
                    </a:cubicBezTo>
                    <a:cubicBezTo>
                      <a:pt x="96" y="176"/>
                      <a:pt x="97" y="175"/>
                      <a:pt x="98" y="175"/>
                    </a:cubicBezTo>
                    <a:cubicBezTo>
                      <a:pt x="99" y="173"/>
                      <a:pt x="97" y="168"/>
                      <a:pt x="96" y="167"/>
                    </a:cubicBezTo>
                    <a:cubicBezTo>
                      <a:pt x="95" y="165"/>
                      <a:pt x="90" y="162"/>
                      <a:pt x="92" y="160"/>
                    </a:cubicBezTo>
                    <a:cubicBezTo>
                      <a:pt x="92" y="159"/>
                      <a:pt x="93" y="159"/>
                      <a:pt x="93" y="158"/>
                    </a:cubicBezTo>
                    <a:cubicBezTo>
                      <a:pt x="93" y="158"/>
                      <a:pt x="93" y="157"/>
                      <a:pt x="93" y="157"/>
                    </a:cubicBezTo>
                    <a:cubicBezTo>
                      <a:pt x="93" y="156"/>
                      <a:pt x="93" y="156"/>
                      <a:pt x="94" y="155"/>
                    </a:cubicBezTo>
                    <a:cubicBezTo>
                      <a:pt x="94" y="153"/>
                      <a:pt x="93" y="151"/>
                      <a:pt x="92" y="150"/>
                    </a:cubicBezTo>
                    <a:cubicBezTo>
                      <a:pt x="91" y="149"/>
                      <a:pt x="89" y="147"/>
                      <a:pt x="87" y="148"/>
                    </a:cubicBezTo>
                    <a:cubicBezTo>
                      <a:pt x="86" y="148"/>
                      <a:pt x="85" y="150"/>
                      <a:pt x="84" y="149"/>
                    </a:cubicBezTo>
                    <a:cubicBezTo>
                      <a:pt x="82" y="149"/>
                      <a:pt x="82" y="147"/>
                      <a:pt x="81" y="147"/>
                    </a:cubicBezTo>
                    <a:cubicBezTo>
                      <a:pt x="80" y="147"/>
                      <a:pt x="79" y="147"/>
                      <a:pt x="79" y="147"/>
                    </a:cubicBezTo>
                    <a:cubicBezTo>
                      <a:pt x="78" y="147"/>
                      <a:pt x="78" y="146"/>
                      <a:pt x="78" y="146"/>
                    </a:cubicBezTo>
                    <a:cubicBezTo>
                      <a:pt x="77" y="143"/>
                      <a:pt x="78" y="140"/>
                      <a:pt x="78" y="137"/>
                    </a:cubicBezTo>
                    <a:cubicBezTo>
                      <a:pt x="77" y="136"/>
                      <a:pt x="76" y="135"/>
                      <a:pt x="75" y="134"/>
                    </a:cubicBezTo>
                    <a:cubicBezTo>
                      <a:pt x="74" y="133"/>
                      <a:pt x="74" y="131"/>
                      <a:pt x="72" y="131"/>
                    </a:cubicBezTo>
                    <a:cubicBezTo>
                      <a:pt x="71" y="131"/>
                      <a:pt x="70" y="132"/>
                      <a:pt x="69" y="131"/>
                    </a:cubicBezTo>
                    <a:cubicBezTo>
                      <a:pt x="69" y="130"/>
                      <a:pt x="69" y="129"/>
                      <a:pt x="69" y="129"/>
                    </a:cubicBezTo>
                    <a:cubicBezTo>
                      <a:pt x="69" y="127"/>
                      <a:pt x="69" y="126"/>
                      <a:pt x="69" y="125"/>
                    </a:cubicBezTo>
                    <a:cubicBezTo>
                      <a:pt x="68" y="123"/>
                      <a:pt x="68" y="122"/>
                      <a:pt x="67" y="120"/>
                    </a:cubicBezTo>
                    <a:cubicBezTo>
                      <a:pt x="67" y="119"/>
                      <a:pt x="66" y="118"/>
                      <a:pt x="67" y="116"/>
                    </a:cubicBezTo>
                    <a:cubicBezTo>
                      <a:pt x="67" y="116"/>
                      <a:pt x="67" y="115"/>
                      <a:pt x="68" y="114"/>
                    </a:cubicBezTo>
                    <a:cubicBezTo>
                      <a:pt x="68" y="113"/>
                      <a:pt x="68" y="113"/>
                      <a:pt x="68" y="112"/>
                    </a:cubicBezTo>
                    <a:cubicBezTo>
                      <a:pt x="69" y="111"/>
                      <a:pt x="70" y="111"/>
                      <a:pt x="70" y="110"/>
                    </a:cubicBezTo>
                    <a:cubicBezTo>
                      <a:pt x="70" y="109"/>
                      <a:pt x="69" y="108"/>
                      <a:pt x="69" y="108"/>
                    </a:cubicBezTo>
                    <a:cubicBezTo>
                      <a:pt x="69" y="107"/>
                      <a:pt x="69" y="107"/>
                      <a:pt x="68" y="106"/>
                    </a:cubicBezTo>
                    <a:cubicBezTo>
                      <a:pt x="68" y="105"/>
                      <a:pt x="67" y="105"/>
                      <a:pt x="67" y="104"/>
                    </a:cubicBezTo>
                    <a:cubicBezTo>
                      <a:pt x="67" y="103"/>
                      <a:pt x="66" y="102"/>
                      <a:pt x="66" y="101"/>
                    </a:cubicBezTo>
                    <a:cubicBezTo>
                      <a:pt x="66" y="101"/>
                      <a:pt x="66" y="100"/>
                      <a:pt x="66" y="100"/>
                    </a:cubicBezTo>
                    <a:cubicBezTo>
                      <a:pt x="67" y="99"/>
                      <a:pt x="66" y="97"/>
                      <a:pt x="68" y="97"/>
                    </a:cubicBezTo>
                    <a:cubicBezTo>
                      <a:pt x="69" y="96"/>
                      <a:pt x="70" y="96"/>
                      <a:pt x="71" y="95"/>
                    </a:cubicBezTo>
                    <a:cubicBezTo>
                      <a:pt x="71" y="95"/>
                      <a:pt x="71" y="94"/>
                      <a:pt x="71" y="94"/>
                    </a:cubicBezTo>
                    <a:cubicBezTo>
                      <a:pt x="71" y="92"/>
                      <a:pt x="71" y="91"/>
                      <a:pt x="71" y="89"/>
                    </a:cubicBezTo>
                    <a:cubicBezTo>
                      <a:pt x="71" y="88"/>
                      <a:pt x="71" y="86"/>
                      <a:pt x="71" y="85"/>
                    </a:cubicBezTo>
                    <a:cubicBezTo>
                      <a:pt x="71" y="83"/>
                      <a:pt x="72" y="81"/>
                      <a:pt x="72" y="79"/>
                    </a:cubicBezTo>
                    <a:cubicBezTo>
                      <a:pt x="74" y="73"/>
                      <a:pt x="74" y="73"/>
                      <a:pt x="74" y="73"/>
                    </a:cubicBezTo>
                    <a:cubicBezTo>
                      <a:pt x="74" y="72"/>
                      <a:pt x="74" y="72"/>
                      <a:pt x="74" y="71"/>
                    </a:cubicBezTo>
                    <a:cubicBezTo>
                      <a:pt x="75" y="69"/>
                      <a:pt x="75" y="66"/>
                      <a:pt x="75" y="63"/>
                    </a:cubicBezTo>
                    <a:cubicBezTo>
                      <a:pt x="75" y="61"/>
                      <a:pt x="75" y="58"/>
                      <a:pt x="74" y="56"/>
                    </a:cubicBezTo>
                    <a:cubicBezTo>
                      <a:pt x="73" y="54"/>
                      <a:pt x="72" y="53"/>
                      <a:pt x="72" y="51"/>
                    </a:cubicBezTo>
                    <a:cubicBezTo>
                      <a:pt x="72" y="49"/>
                      <a:pt x="71" y="47"/>
                      <a:pt x="71" y="45"/>
                    </a:cubicBezTo>
                    <a:cubicBezTo>
                      <a:pt x="71" y="44"/>
                      <a:pt x="71" y="43"/>
                      <a:pt x="70" y="41"/>
                    </a:cubicBezTo>
                    <a:cubicBezTo>
                      <a:pt x="70" y="40"/>
                      <a:pt x="69" y="40"/>
                      <a:pt x="69" y="39"/>
                    </a:cubicBezTo>
                    <a:cubicBezTo>
                      <a:pt x="69" y="38"/>
                      <a:pt x="70" y="37"/>
                      <a:pt x="69" y="36"/>
                    </a:cubicBezTo>
                    <a:cubicBezTo>
                      <a:pt x="68" y="34"/>
                      <a:pt x="66" y="32"/>
                      <a:pt x="66" y="31"/>
                    </a:cubicBezTo>
                    <a:cubicBezTo>
                      <a:pt x="65" y="29"/>
                      <a:pt x="65" y="28"/>
                      <a:pt x="64" y="27"/>
                    </a:cubicBezTo>
                    <a:cubicBezTo>
                      <a:pt x="63" y="26"/>
                      <a:pt x="62" y="25"/>
                      <a:pt x="61" y="24"/>
                    </a:cubicBezTo>
                    <a:cubicBezTo>
                      <a:pt x="60" y="23"/>
                      <a:pt x="60" y="22"/>
                      <a:pt x="59" y="21"/>
                    </a:cubicBezTo>
                    <a:cubicBezTo>
                      <a:pt x="57" y="19"/>
                      <a:pt x="54" y="21"/>
                      <a:pt x="52" y="19"/>
                    </a:cubicBezTo>
                    <a:cubicBezTo>
                      <a:pt x="51" y="18"/>
                      <a:pt x="51" y="16"/>
                      <a:pt x="50" y="15"/>
                    </a:cubicBezTo>
                    <a:cubicBezTo>
                      <a:pt x="50" y="14"/>
                      <a:pt x="50" y="13"/>
                      <a:pt x="49" y="12"/>
                    </a:cubicBezTo>
                    <a:cubicBezTo>
                      <a:pt x="49" y="13"/>
                      <a:pt x="49" y="13"/>
                      <a:pt x="48" y="14"/>
                    </a:cubicBezTo>
                    <a:cubicBezTo>
                      <a:pt x="48" y="15"/>
                      <a:pt x="48" y="16"/>
                      <a:pt x="47" y="17"/>
                    </a:cubicBezTo>
                    <a:cubicBezTo>
                      <a:pt x="47" y="18"/>
                      <a:pt x="46" y="18"/>
                      <a:pt x="46" y="19"/>
                    </a:cubicBezTo>
                    <a:cubicBezTo>
                      <a:pt x="46" y="20"/>
                      <a:pt x="46" y="21"/>
                      <a:pt x="45" y="21"/>
                    </a:cubicBezTo>
                    <a:cubicBezTo>
                      <a:pt x="44" y="23"/>
                      <a:pt x="42" y="23"/>
                      <a:pt x="41" y="24"/>
                    </a:cubicBezTo>
                    <a:cubicBezTo>
                      <a:pt x="38" y="25"/>
                      <a:pt x="36" y="25"/>
                      <a:pt x="33" y="25"/>
                    </a:cubicBezTo>
                    <a:cubicBezTo>
                      <a:pt x="31" y="25"/>
                      <a:pt x="29" y="26"/>
                      <a:pt x="28" y="23"/>
                    </a:cubicBezTo>
                    <a:cubicBezTo>
                      <a:pt x="28" y="22"/>
                      <a:pt x="28" y="19"/>
                      <a:pt x="28" y="17"/>
                    </a:cubicBezTo>
                    <a:cubicBezTo>
                      <a:pt x="28" y="15"/>
                      <a:pt x="28" y="13"/>
                      <a:pt x="27" y="11"/>
                    </a:cubicBezTo>
                    <a:cubicBezTo>
                      <a:pt x="27" y="10"/>
                      <a:pt x="27" y="10"/>
                      <a:pt x="26" y="10"/>
                    </a:cubicBezTo>
                    <a:cubicBezTo>
                      <a:pt x="26" y="10"/>
                      <a:pt x="24" y="12"/>
                      <a:pt x="24" y="12"/>
                    </a:cubicBezTo>
                    <a:cubicBezTo>
                      <a:pt x="24" y="13"/>
                      <a:pt x="24" y="13"/>
                      <a:pt x="24" y="14"/>
                    </a:cubicBezTo>
                    <a:cubicBezTo>
                      <a:pt x="23" y="16"/>
                      <a:pt x="22" y="17"/>
                      <a:pt x="20" y="19"/>
                    </a:cubicBezTo>
                    <a:cubicBezTo>
                      <a:pt x="19" y="21"/>
                      <a:pt x="18" y="23"/>
                      <a:pt x="16" y="24"/>
                    </a:cubicBezTo>
                    <a:cubicBezTo>
                      <a:pt x="15" y="25"/>
                      <a:pt x="15" y="26"/>
                      <a:pt x="14" y="27"/>
                    </a:cubicBezTo>
                    <a:cubicBezTo>
                      <a:pt x="13" y="28"/>
                      <a:pt x="13" y="29"/>
                      <a:pt x="12" y="30"/>
                    </a:cubicBezTo>
                    <a:cubicBezTo>
                      <a:pt x="12" y="31"/>
                      <a:pt x="11" y="33"/>
                      <a:pt x="10" y="34"/>
                    </a:cubicBezTo>
                    <a:cubicBezTo>
                      <a:pt x="10" y="36"/>
                      <a:pt x="9" y="37"/>
                      <a:pt x="8" y="38"/>
                    </a:cubicBezTo>
                    <a:cubicBezTo>
                      <a:pt x="6" y="39"/>
                      <a:pt x="2" y="39"/>
                      <a:pt x="1" y="41"/>
                    </a:cubicBezTo>
                    <a:cubicBezTo>
                      <a:pt x="1" y="44"/>
                      <a:pt x="3" y="46"/>
                      <a:pt x="5" y="47"/>
                    </a:cubicBezTo>
                    <a:cubicBezTo>
                      <a:pt x="7" y="51"/>
                      <a:pt x="10" y="56"/>
                      <a:pt x="10" y="60"/>
                    </a:cubicBezTo>
                    <a:cubicBezTo>
                      <a:pt x="11" y="63"/>
                      <a:pt x="8" y="65"/>
                      <a:pt x="7" y="67"/>
                    </a:cubicBezTo>
                    <a:cubicBezTo>
                      <a:pt x="7" y="67"/>
                      <a:pt x="7" y="67"/>
                      <a:pt x="7" y="67"/>
                    </a:cubicBezTo>
                    <a:cubicBezTo>
                      <a:pt x="8" y="68"/>
                      <a:pt x="9" y="68"/>
                      <a:pt x="10" y="69"/>
                    </a:cubicBezTo>
                    <a:cubicBezTo>
                      <a:pt x="13" y="70"/>
                      <a:pt x="16" y="68"/>
                      <a:pt x="19" y="70"/>
                    </a:cubicBezTo>
                    <a:cubicBezTo>
                      <a:pt x="20" y="72"/>
                      <a:pt x="20" y="76"/>
                      <a:pt x="19" y="77"/>
                    </a:cubicBezTo>
                    <a:cubicBezTo>
                      <a:pt x="18" y="78"/>
                      <a:pt x="18" y="78"/>
                      <a:pt x="18" y="79"/>
                    </a:cubicBezTo>
                    <a:cubicBezTo>
                      <a:pt x="18" y="80"/>
                      <a:pt x="18" y="81"/>
                      <a:pt x="18" y="82"/>
                    </a:cubicBezTo>
                    <a:cubicBezTo>
                      <a:pt x="18" y="86"/>
                      <a:pt x="19" y="90"/>
                      <a:pt x="18" y="93"/>
                    </a:cubicBezTo>
                    <a:cubicBezTo>
                      <a:pt x="18" y="95"/>
                      <a:pt x="18" y="97"/>
                      <a:pt x="18" y="99"/>
                    </a:cubicBezTo>
                    <a:cubicBezTo>
                      <a:pt x="18" y="100"/>
                      <a:pt x="18" y="100"/>
                      <a:pt x="18" y="101"/>
                    </a:cubicBezTo>
                    <a:cubicBezTo>
                      <a:pt x="18" y="101"/>
                      <a:pt x="19" y="102"/>
                      <a:pt x="19" y="103"/>
                    </a:cubicBezTo>
                    <a:cubicBezTo>
                      <a:pt x="19" y="104"/>
                      <a:pt x="19" y="105"/>
                      <a:pt x="18" y="103"/>
                    </a:cubicBezTo>
                    <a:cubicBezTo>
                      <a:pt x="16" y="104"/>
                      <a:pt x="13" y="103"/>
                      <a:pt x="10" y="104"/>
                    </a:cubicBezTo>
                    <a:cubicBezTo>
                      <a:pt x="8" y="104"/>
                      <a:pt x="8" y="107"/>
                      <a:pt x="8" y="108"/>
                    </a:cubicBezTo>
                    <a:cubicBezTo>
                      <a:pt x="8" y="110"/>
                      <a:pt x="7" y="111"/>
                      <a:pt x="7" y="112"/>
                    </a:cubicBezTo>
                    <a:cubicBezTo>
                      <a:pt x="8" y="113"/>
                      <a:pt x="9" y="114"/>
                      <a:pt x="10" y="115"/>
                    </a:cubicBezTo>
                    <a:cubicBezTo>
                      <a:pt x="11" y="116"/>
                      <a:pt x="11" y="117"/>
                      <a:pt x="12" y="119"/>
                    </a:cubicBezTo>
                    <a:cubicBezTo>
                      <a:pt x="12" y="119"/>
                      <a:pt x="12" y="119"/>
                      <a:pt x="12" y="119"/>
                    </a:cubicBezTo>
                    <a:cubicBezTo>
                      <a:pt x="12" y="120"/>
                      <a:pt x="12" y="120"/>
                      <a:pt x="12" y="121"/>
                    </a:cubicBezTo>
                    <a:cubicBezTo>
                      <a:pt x="12" y="121"/>
                      <a:pt x="12" y="123"/>
                      <a:pt x="13" y="123"/>
                    </a:cubicBezTo>
                    <a:cubicBezTo>
                      <a:pt x="13" y="124"/>
                      <a:pt x="15" y="124"/>
                      <a:pt x="15" y="125"/>
                    </a:cubicBezTo>
                    <a:cubicBezTo>
                      <a:pt x="15" y="126"/>
                      <a:pt x="15" y="127"/>
                      <a:pt x="14" y="128"/>
                    </a:cubicBezTo>
                    <a:cubicBezTo>
                      <a:pt x="13" y="131"/>
                      <a:pt x="11" y="133"/>
                      <a:pt x="11" y="135"/>
                    </a:cubicBezTo>
                    <a:cubicBezTo>
                      <a:pt x="11" y="136"/>
                      <a:pt x="11" y="138"/>
                      <a:pt x="12" y="139"/>
                    </a:cubicBezTo>
                    <a:cubicBezTo>
                      <a:pt x="12" y="139"/>
                      <a:pt x="13" y="140"/>
                      <a:pt x="13" y="140"/>
                    </a:cubicBezTo>
                    <a:cubicBezTo>
                      <a:pt x="14" y="141"/>
                      <a:pt x="13" y="142"/>
                      <a:pt x="13" y="143"/>
                    </a:cubicBezTo>
                    <a:cubicBezTo>
                      <a:pt x="13" y="144"/>
                      <a:pt x="13" y="145"/>
                      <a:pt x="13" y="146"/>
                    </a:cubicBezTo>
                    <a:cubicBezTo>
                      <a:pt x="13" y="146"/>
                      <a:pt x="12" y="148"/>
                      <a:pt x="12" y="148"/>
                    </a:cubicBezTo>
                    <a:cubicBezTo>
                      <a:pt x="11" y="147"/>
                      <a:pt x="11" y="146"/>
                      <a:pt x="11" y="145"/>
                    </a:cubicBezTo>
                    <a:cubicBezTo>
                      <a:pt x="11" y="144"/>
                      <a:pt x="11" y="143"/>
                      <a:pt x="11" y="142"/>
                    </a:cubicBezTo>
                    <a:cubicBezTo>
                      <a:pt x="10" y="142"/>
                      <a:pt x="8" y="142"/>
                      <a:pt x="8" y="143"/>
                    </a:cubicBezTo>
                    <a:cubicBezTo>
                      <a:pt x="7" y="143"/>
                      <a:pt x="6" y="144"/>
                      <a:pt x="5" y="144"/>
                    </a:cubicBezTo>
                    <a:cubicBezTo>
                      <a:pt x="2" y="148"/>
                      <a:pt x="3" y="152"/>
                      <a:pt x="3" y="156"/>
                    </a:cubicBezTo>
                    <a:cubicBezTo>
                      <a:pt x="3" y="159"/>
                      <a:pt x="2" y="162"/>
                      <a:pt x="1" y="165"/>
                    </a:cubicBezTo>
                    <a:cubicBezTo>
                      <a:pt x="1" y="166"/>
                      <a:pt x="2" y="167"/>
                      <a:pt x="2" y="167"/>
                    </a:cubicBezTo>
                    <a:cubicBezTo>
                      <a:pt x="2" y="169"/>
                      <a:pt x="0" y="173"/>
                      <a:pt x="2" y="174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83" name="Freeform 32">
                <a:extLst>
                  <a:ext uri="{FF2B5EF4-FFF2-40B4-BE49-F238E27FC236}">
                    <a16:creationId xmlns:a16="http://schemas.microsoft.com/office/drawing/2014/main" id="{2E230A24-DDAF-40CC-A4BA-FC1F5464DB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7350" y="5711825"/>
                <a:ext cx="266700" cy="236538"/>
              </a:xfrm>
              <a:custGeom>
                <a:avLst/>
                <a:gdLst/>
                <a:ahLst/>
                <a:cxnLst>
                  <a:cxn ang="0">
                    <a:pos x="137" y="46"/>
                  </a:cxn>
                  <a:cxn ang="0">
                    <a:pos x="136" y="39"/>
                  </a:cxn>
                  <a:cxn ang="0">
                    <a:pos x="135" y="32"/>
                  </a:cxn>
                  <a:cxn ang="0">
                    <a:pos x="132" y="28"/>
                  </a:cxn>
                  <a:cxn ang="0">
                    <a:pos x="122" y="25"/>
                  </a:cxn>
                  <a:cxn ang="0">
                    <a:pos x="117" y="20"/>
                  </a:cxn>
                  <a:cxn ang="0">
                    <a:pos x="115" y="18"/>
                  </a:cxn>
                  <a:cxn ang="0">
                    <a:pos x="113" y="12"/>
                  </a:cxn>
                  <a:cxn ang="0">
                    <a:pos x="99" y="2"/>
                  </a:cxn>
                  <a:cxn ang="0">
                    <a:pos x="90" y="9"/>
                  </a:cxn>
                  <a:cxn ang="0">
                    <a:pos x="84" y="6"/>
                  </a:cxn>
                  <a:cxn ang="0">
                    <a:pos x="74" y="8"/>
                  </a:cxn>
                  <a:cxn ang="0">
                    <a:pos x="53" y="9"/>
                  </a:cxn>
                  <a:cxn ang="0">
                    <a:pos x="46" y="22"/>
                  </a:cxn>
                  <a:cxn ang="0">
                    <a:pos x="39" y="15"/>
                  </a:cxn>
                  <a:cxn ang="0">
                    <a:pos x="19" y="25"/>
                  </a:cxn>
                  <a:cxn ang="0">
                    <a:pos x="18" y="33"/>
                  </a:cxn>
                  <a:cxn ang="0">
                    <a:pos x="9" y="39"/>
                  </a:cxn>
                  <a:cxn ang="0">
                    <a:pos x="5" y="50"/>
                  </a:cxn>
                  <a:cxn ang="0">
                    <a:pos x="5" y="60"/>
                  </a:cxn>
                  <a:cxn ang="0">
                    <a:pos x="0" y="66"/>
                  </a:cxn>
                  <a:cxn ang="0">
                    <a:pos x="3" y="73"/>
                  </a:cxn>
                  <a:cxn ang="0">
                    <a:pos x="2" y="79"/>
                  </a:cxn>
                  <a:cxn ang="0">
                    <a:pos x="3" y="90"/>
                  </a:cxn>
                  <a:cxn ang="0">
                    <a:pos x="6" y="96"/>
                  </a:cxn>
                  <a:cxn ang="0">
                    <a:pos x="12" y="111"/>
                  </a:cxn>
                  <a:cxn ang="0">
                    <a:pos x="18" y="114"/>
                  </a:cxn>
                  <a:cxn ang="0">
                    <a:pos x="28" y="120"/>
                  </a:cxn>
                  <a:cxn ang="0">
                    <a:pos x="26" y="125"/>
                  </a:cxn>
                  <a:cxn ang="0">
                    <a:pos x="36" y="119"/>
                  </a:cxn>
                  <a:cxn ang="0">
                    <a:pos x="50" y="116"/>
                  </a:cxn>
                  <a:cxn ang="0">
                    <a:pos x="58" y="115"/>
                  </a:cxn>
                  <a:cxn ang="0">
                    <a:pos x="66" y="115"/>
                  </a:cxn>
                  <a:cxn ang="0">
                    <a:pos x="74" y="108"/>
                  </a:cxn>
                  <a:cxn ang="0">
                    <a:pos x="87" y="96"/>
                  </a:cxn>
                  <a:cxn ang="0">
                    <a:pos x="95" y="97"/>
                  </a:cxn>
                  <a:cxn ang="0">
                    <a:pos x="104" y="98"/>
                  </a:cxn>
                  <a:cxn ang="0">
                    <a:pos x="115" y="99"/>
                  </a:cxn>
                  <a:cxn ang="0">
                    <a:pos x="124" y="99"/>
                  </a:cxn>
                  <a:cxn ang="0">
                    <a:pos x="126" y="89"/>
                  </a:cxn>
                  <a:cxn ang="0">
                    <a:pos x="130" y="85"/>
                  </a:cxn>
                  <a:cxn ang="0">
                    <a:pos x="137" y="80"/>
                  </a:cxn>
                  <a:cxn ang="0">
                    <a:pos x="139" y="65"/>
                  </a:cxn>
                  <a:cxn ang="0">
                    <a:pos x="142" y="54"/>
                  </a:cxn>
                </a:cxnLst>
                <a:rect l="0" t="0" r="r" b="b"/>
                <a:pathLst>
                  <a:path w="143" h="126">
                    <a:moveTo>
                      <a:pt x="143" y="52"/>
                    </a:moveTo>
                    <a:cubicBezTo>
                      <a:pt x="143" y="50"/>
                      <a:pt x="140" y="50"/>
                      <a:pt x="139" y="49"/>
                    </a:cubicBezTo>
                    <a:cubicBezTo>
                      <a:pt x="138" y="48"/>
                      <a:pt x="138" y="47"/>
                      <a:pt x="137" y="46"/>
                    </a:cubicBezTo>
                    <a:cubicBezTo>
                      <a:pt x="137" y="45"/>
                      <a:pt x="137" y="44"/>
                      <a:pt x="137" y="44"/>
                    </a:cubicBezTo>
                    <a:cubicBezTo>
                      <a:pt x="137" y="43"/>
                      <a:pt x="137" y="42"/>
                      <a:pt x="137" y="41"/>
                    </a:cubicBezTo>
                    <a:cubicBezTo>
                      <a:pt x="137" y="40"/>
                      <a:pt x="136" y="40"/>
                      <a:pt x="136" y="39"/>
                    </a:cubicBezTo>
                    <a:cubicBezTo>
                      <a:pt x="136" y="38"/>
                      <a:pt x="136" y="37"/>
                      <a:pt x="136" y="37"/>
                    </a:cubicBezTo>
                    <a:cubicBezTo>
                      <a:pt x="136" y="36"/>
                      <a:pt x="135" y="36"/>
                      <a:pt x="135" y="35"/>
                    </a:cubicBezTo>
                    <a:cubicBezTo>
                      <a:pt x="135" y="34"/>
                      <a:pt x="135" y="33"/>
                      <a:pt x="135" y="32"/>
                    </a:cubicBezTo>
                    <a:cubicBezTo>
                      <a:pt x="135" y="31"/>
                      <a:pt x="134" y="30"/>
                      <a:pt x="134" y="30"/>
                    </a:cubicBezTo>
                    <a:cubicBezTo>
                      <a:pt x="134" y="29"/>
                      <a:pt x="134" y="29"/>
                      <a:pt x="134" y="29"/>
                    </a:cubicBezTo>
                    <a:cubicBezTo>
                      <a:pt x="133" y="28"/>
                      <a:pt x="133" y="28"/>
                      <a:pt x="132" y="28"/>
                    </a:cubicBezTo>
                    <a:cubicBezTo>
                      <a:pt x="131" y="28"/>
                      <a:pt x="130" y="27"/>
                      <a:pt x="129" y="27"/>
                    </a:cubicBezTo>
                    <a:cubicBezTo>
                      <a:pt x="128" y="26"/>
                      <a:pt x="127" y="25"/>
                      <a:pt x="126" y="25"/>
                    </a:cubicBezTo>
                    <a:cubicBezTo>
                      <a:pt x="124" y="24"/>
                      <a:pt x="123" y="25"/>
                      <a:pt x="122" y="25"/>
                    </a:cubicBezTo>
                    <a:cubicBezTo>
                      <a:pt x="121" y="24"/>
                      <a:pt x="120" y="24"/>
                      <a:pt x="119" y="24"/>
                    </a:cubicBezTo>
                    <a:cubicBezTo>
                      <a:pt x="118" y="23"/>
                      <a:pt x="118" y="22"/>
                      <a:pt x="118" y="21"/>
                    </a:cubicBezTo>
                    <a:cubicBezTo>
                      <a:pt x="117" y="21"/>
                      <a:pt x="117" y="20"/>
                      <a:pt x="117" y="20"/>
                    </a:cubicBezTo>
                    <a:cubicBezTo>
                      <a:pt x="116" y="20"/>
                      <a:pt x="115" y="20"/>
                      <a:pt x="115" y="20"/>
                    </a:cubicBezTo>
                    <a:cubicBezTo>
                      <a:pt x="115" y="19"/>
                      <a:pt x="115" y="19"/>
                      <a:pt x="115" y="19"/>
                    </a:cubicBezTo>
                    <a:cubicBezTo>
                      <a:pt x="115" y="18"/>
                      <a:pt x="115" y="18"/>
                      <a:pt x="115" y="18"/>
                    </a:cubicBezTo>
                    <a:cubicBezTo>
                      <a:pt x="115" y="18"/>
                      <a:pt x="115" y="17"/>
                      <a:pt x="115" y="17"/>
                    </a:cubicBezTo>
                    <a:cubicBezTo>
                      <a:pt x="114" y="16"/>
                      <a:pt x="114" y="16"/>
                      <a:pt x="114" y="15"/>
                    </a:cubicBezTo>
                    <a:cubicBezTo>
                      <a:pt x="113" y="14"/>
                      <a:pt x="113" y="13"/>
                      <a:pt x="113" y="12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1" y="7"/>
                      <a:pt x="110" y="6"/>
                      <a:pt x="109" y="6"/>
                    </a:cubicBezTo>
                    <a:cubicBezTo>
                      <a:pt x="106" y="4"/>
                      <a:pt x="103" y="0"/>
                      <a:pt x="99" y="2"/>
                    </a:cubicBezTo>
                    <a:cubicBezTo>
                      <a:pt x="97" y="3"/>
                      <a:pt x="96" y="3"/>
                      <a:pt x="95" y="4"/>
                    </a:cubicBezTo>
                    <a:cubicBezTo>
                      <a:pt x="93" y="5"/>
                      <a:pt x="93" y="7"/>
                      <a:pt x="92" y="8"/>
                    </a:cubicBezTo>
                    <a:cubicBezTo>
                      <a:pt x="91" y="9"/>
                      <a:pt x="90" y="9"/>
                      <a:pt x="90" y="9"/>
                    </a:cubicBezTo>
                    <a:cubicBezTo>
                      <a:pt x="88" y="10"/>
                      <a:pt x="89" y="9"/>
                      <a:pt x="88" y="9"/>
                    </a:cubicBezTo>
                    <a:cubicBezTo>
                      <a:pt x="87" y="8"/>
                      <a:pt x="86" y="8"/>
                      <a:pt x="85" y="7"/>
                    </a:cubicBezTo>
                    <a:cubicBezTo>
                      <a:pt x="84" y="7"/>
                      <a:pt x="85" y="7"/>
                      <a:pt x="84" y="6"/>
                    </a:cubicBezTo>
                    <a:cubicBezTo>
                      <a:pt x="83" y="4"/>
                      <a:pt x="82" y="3"/>
                      <a:pt x="80" y="4"/>
                    </a:cubicBezTo>
                    <a:cubicBezTo>
                      <a:pt x="78" y="5"/>
                      <a:pt x="76" y="5"/>
                      <a:pt x="75" y="6"/>
                    </a:cubicBezTo>
                    <a:cubicBezTo>
                      <a:pt x="74" y="7"/>
                      <a:pt x="74" y="8"/>
                      <a:pt x="74" y="8"/>
                    </a:cubicBezTo>
                    <a:cubicBezTo>
                      <a:pt x="73" y="10"/>
                      <a:pt x="73" y="10"/>
                      <a:pt x="71" y="11"/>
                    </a:cubicBezTo>
                    <a:cubicBezTo>
                      <a:pt x="69" y="12"/>
                      <a:pt x="65" y="12"/>
                      <a:pt x="63" y="11"/>
                    </a:cubicBezTo>
                    <a:cubicBezTo>
                      <a:pt x="64" y="8"/>
                      <a:pt x="55" y="8"/>
                      <a:pt x="53" y="9"/>
                    </a:cubicBezTo>
                    <a:cubicBezTo>
                      <a:pt x="53" y="11"/>
                      <a:pt x="49" y="12"/>
                      <a:pt x="50" y="14"/>
                    </a:cubicBezTo>
                    <a:cubicBezTo>
                      <a:pt x="48" y="15"/>
                      <a:pt x="48" y="16"/>
                      <a:pt x="47" y="18"/>
                    </a:cubicBezTo>
                    <a:cubicBezTo>
                      <a:pt x="47" y="19"/>
                      <a:pt x="46" y="21"/>
                      <a:pt x="46" y="22"/>
                    </a:cubicBezTo>
                    <a:cubicBezTo>
                      <a:pt x="45" y="23"/>
                      <a:pt x="43" y="20"/>
                      <a:pt x="42" y="20"/>
                    </a:cubicBezTo>
                    <a:cubicBezTo>
                      <a:pt x="42" y="19"/>
                      <a:pt x="41" y="18"/>
                      <a:pt x="41" y="17"/>
                    </a:cubicBezTo>
                    <a:cubicBezTo>
                      <a:pt x="40" y="16"/>
                      <a:pt x="41" y="16"/>
                      <a:pt x="39" y="15"/>
                    </a:cubicBezTo>
                    <a:cubicBezTo>
                      <a:pt x="36" y="13"/>
                      <a:pt x="32" y="16"/>
                      <a:pt x="29" y="17"/>
                    </a:cubicBezTo>
                    <a:cubicBezTo>
                      <a:pt x="27" y="18"/>
                      <a:pt x="25" y="18"/>
                      <a:pt x="23" y="20"/>
                    </a:cubicBezTo>
                    <a:cubicBezTo>
                      <a:pt x="22" y="21"/>
                      <a:pt x="21" y="23"/>
                      <a:pt x="19" y="25"/>
                    </a:cubicBezTo>
                    <a:cubicBezTo>
                      <a:pt x="19" y="26"/>
                      <a:pt x="18" y="27"/>
                      <a:pt x="18" y="28"/>
                    </a:cubicBezTo>
                    <a:cubicBezTo>
                      <a:pt x="18" y="28"/>
                      <a:pt x="18" y="29"/>
                      <a:pt x="18" y="30"/>
                    </a:cubicBezTo>
                    <a:cubicBezTo>
                      <a:pt x="18" y="31"/>
                      <a:pt x="18" y="32"/>
                      <a:pt x="18" y="33"/>
                    </a:cubicBezTo>
                    <a:cubicBezTo>
                      <a:pt x="17" y="34"/>
                      <a:pt x="16" y="34"/>
                      <a:pt x="15" y="35"/>
                    </a:cubicBezTo>
                    <a:cubicBezTo>
                      <a:pt x="14" y="36"/>
                      <a:pt x="13" y="36"/>
                      <a:pt x="12" y="37"/>
                    </a:cubicBezTo>
                    <a:cubicBezTo>
                      <a:pt x="11" y="38"/>
                      <a:pt x="10" y="39"/>
                      <a:pt x="9" y="39"/>
                    </a:cubicBezTo>
                    <a:cubicBezTo>
                      <a:pt x="9" y="39"/>
                      <a:pt x="8" y="38"/>
                      <a:pt x="8" y="38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6" y="46"/>
                      <a:pt x="5" y="48"/>
                      <a:pt x="5" y="50"/>
                    </a:cubicBezTo>
                    <a:cubicBezTo>
                      <a:pt x="5" y="51"/>
                      <a:pt x="5" y="53"/>
                      <a:pt x="5" y="54"/>
                    </a:cubicBezTo>
                    <a:cubicBezTo>
                      <a:pt x="5" y="56"/>
                      <a:pt x="5" y="57"/>
                      <a:pt x="5" y="59"/>
                    </a:cubicBezTo>
                    <a:cubicBezTo>
                      <a:pt x="5" y="59"/>
                      <a:pt x="5" y="60"/>
                      <a:pt x="5" y="60"/>
                    </a:cubicBezTo>
                    <a:cubicBezTo>
                      <a:pt x="4" y="61"/>
                      <a:pt x="3" y="61"/>
                      <a:pt x="2" y="62"/>
                    </a:cubicBezTo>
                    <a:cubicBezTo>
                      <a:pt x="0" y="62"/>
                      <a:pt x="1" y="64"/>
                      <a:pt x="0" y="65"/>
                    </a:cubicBezTo>
                    <a:cubicBezTo>
                      <a:pt x="0" y="65"/>
                      <a:pt x="0" y="66"/>
                      <a:pt x="0" y="66"/>
                    </a:cubicBezTo>
                    <a:cubicBezTo>
                      <a:pt x="0" y="67"/>
                      <a:pt x="1" y="68"/>
                      <a:pt x="1" y="69"/>
                    </a:cubicBezTo>
                    <a:cubicBezTo>
                      <a:pt x="1" y="70"/>
                      <a:pt x="2" y="70"/>
                      <a:pt x="2" y="71"/>
                    </a:cubicBezTo>
                    <a:cubicBezTo>
                      <a:pt x="3" y="72"/>
                      <a:pt x="3" y="72"/>
                      <a:pt x="3" y="73"/>
                    </a:cubicBezTo>
                    <a:cubicBezTo>
                      <a:pt x="3" y="73"/>
                      <a:pt x="4" y="74"/>
                      <a:pt x="4" y="75"/>
                    </a:cubicBezTo>
                    <a:cubicBezTo>
                      <a:pt x="4" y="76"/>
                      <a:pt x="3" y="76"/>
                      <a:pt x="2" y="77"/>
                    </a:cubicBezTo>
                    <a:cubicBezTo>
                      <a:pt x="2" y="78"/>
                      <a:pt x="2" y="78"/>
                      <a:pt x="2" y="79"/>
                    </a:cubicBezTo>
                    <a:cubicBezTo>
                      <a:pt x="1" y="80"/>
                      <a:pt x="1" y="81"/>
                      <a:pt x="1" y="81"/>
                    </a:cubicBezTo>
                    <a:cubicBezTo>
                      <a:pt x="0" y="83"/>
                      <a:pt x="1" y="84"/>
                      <a:pt x="1" y="85"/>
                    </a:cubicBezTo>
                    <a:cubicBezTo>
                      <a:pt x="2" y="87"/>
                      <a:pt x="2" y="88"/>
                      <a:pt x="3" y="90"/>
                    </a:cubicBezTo>
                    <a:cubicBezTo>
                      <a:pt x="3" y="91"/>
                      <a:pt x="3" y="92"/>
                      <a:pt x="3" y="94"/>
                    </a:cubicBezTo>
                    <a:cubicBezTo>
                      <a:pt x="3" y="94"/>
                      <a:pt x="3" y="95"/>
                      <a:pt x="3" y="96"/>
                    </a:cubicBezTo>
                    <a:cubicBezTo>
                      <a:pt x="4" y="97"/>
                      <a:pt x="5" y="96"/>
                      <a:pt x="6" y="96"/>
                    </a:cubicBezTo>
                    <a:cubicBezTo>
                      <a:pt x="8" y="96"/>
                      <a:pt x="8" y="98"/>
                      <a:pt x="9" y="99"/>
                    </a:cubicBezTo>
                    <a:cubicBezTo>
                      <a:pt x="10" y="100"/>
                      <a:pt x="11" y="101"/>
                      <a:pt x="12" y="102"/>
                    </a:cubicBezTo>
                    <a:cubicBezTo>
                      <a:pt x="12" y="105"/>
                      <a:pt x="11" y="108"/>
                      <a:pt x="12" y="111"/>
                    </a:cubicBezTo>
                    <a:cubicBezTo>
                      <a:pt x="12" y="111"/>
                      <a:pt x="12" y="112"/>
                      <a:pt x="13" y="112"/>
                    </a:cubicBezTo>
                    <a:cubicBezTo>
                      <a:pt x="13" y="112"/>
                      <a:pt x="14" y="112"/>
                      <a:pt x="15" y="112"/>
                    </a:cubicBezTo>
                    <a:cubicBezTo>
                      <a:pt x="16" y="112"/>
                      <a:pt x="16" y="114"/>
                      <a:pt x="18" y="114"/>
                    </a:cubicBezTo>
                    <a:cubicBezTo>
                      <a:pt x="19" y="115"/>
                      <a:pt x="20" y="113"/>
                      <a:pt x="21" y="113"/>
                    </a:cubicBezTo>
                    <a:cubicBezTo>
                      <a:pt x="23" y="112"/>
                      <a:pt x="25" y="114"/>
                      <a:pt x="26" y="115"/>
                    </a:cubicBezTo>
                    <a:cubicBezTo>
                      <a:pt x="27" y="116"/>
                      <a:pt x="28" y="118"/>
                      <a:pt x="28" y="120"/>
                    </a:cubicBezTo>
                    <a:cubicBezTo>
                      <a:pt x="27" y="121"/>
                      <a:pt x="27" y="121"/>
                      <a:pt x="27" y="122"/>
                    </a:cubicBezTo>
                    <a:cubicBezTo>
                      <a:pt x="27" y="122"/>
                      <a:pt x="27" y="123"/>
                      <a:pt x="27" y="123"/>
                    </a:cubicBezTo>
                    <a:cubicBezTo>
                      <a:pt x="27" y="124"/>
                      <a:pt x="26" y="124"/>
                      <a:pt x="26" y="125"/>
                    </a:cubicBezTo>
                    <a:cubicBezTo>
                      <a:pt x="25" y="125"/>
                      <a:pt x="25" y="126"/>
                      <a:pt x="25" y="126"/>
                    </a:cubicBezTo>
                    <a:cubicBezTo>
                      <a:pt x="27" y="125"/>
                      <a:pt x="29" y="123"/>
                      <a:pt x="31" y="121"/>
                    </a:cubicBezTo>
                    <a:cubicBezTo>
                      <a:pt x="32" y="120"/>
                      <a:pt x="34" y="119"/>
                      <a:pt x="36" y="119"/>
                    </a:cubicBezTo>
                    <a:cubicBezTo>
                      <a:pt x="37" y="118"/>
                      <a:pt x="39" y="117"/>
                      <a:pt x="40" y="116"/>
                    </a:cubicBezTo>
                    <a:cubicBezTo>
                      <a:pt x="42" y="116"/>
                      <a:pt x="44" y="116"/>
                      <a:pt x="45" y="116"/>
                    </a:cubicBezTo>
                    <a:cubicBezTo>
                      <a:pt x="47" y="116"/>
                      <a:pt x="48" y="116"/>
                      <a:pt x="50" y="116"/>
                    </a:cubicBezTo>
                    <a:cubicBezTo>
                      <a:pt x="52" y="116"/>
                      <a:pt x="53" y="117"/>
                      <a:pt x="55" y="117"/>
                    </a:cubicBezTo>
                    <a:cubicBezTo>
                      <a:pt x="56" y="117"/>
                      <a:pt x="57" y="117"/>
                      <a:pt x="57" y="117"/>
                    </a:cubicBezTo>
                    <a:cubicBezTo>
                      <a:pt x="58" y="116"/>
                      <a:pt x="57" y="116"/>
                      <a:pt x="58" y="115"/>
                    </a:cubicBezTo>
                    <a:cubicBezTo>
                      <a:pt x="58" y="115"/>
                      <a:pt x="59" y="115"/>
                      <a:pt x="59" y="115"/>
                    </a:cubicBezTo>
                    <a:cubicBezTo>
                      <a:pt x="60" y="115"/>
                      <a:pt x="61" y="116"/>
                      <a:pt x="62" y="115"/>
                    </a:cubicBezTo>
                    <a:cubicBezTo>
                      <a:pt x="63" y="115"/>
                      <a:pt x="65" y="115"/>
                      <a:pt x="66" y="115"/>
                    </a:cubicBezTo>
                    <a:cubicBezTo>
                      <a:pt x="67" y="115"/>
                      <a:pt x="69" y="114"/>
                      <a:pt x="70" y="113"/>
                    </a:cubicBezTo>
                    <a:cubicBezTo>
                      <a:pt x="71" y="113"/>
                      <a:pt x="72" y="111"/>
                      <a:pt x="73" y="111"/>
                    </a:cubicBezTo>
                    <a:cubicBezTo>
                      <a:pt x="73" y="110"/>
                      <a:pt x="73" y="109"/>
                      <a:pt x="74" y="108"/>
                    </a:cubicBezTo>
                    <a:cubicBezTo>
                      <a:pt x="75" y="106"/>
                      <a:pt x="78" y="105"/>
                      <a:pt x="79" y="103"/>
                    </a:cubicBezTo>
                    <a:cubicBezTo>
                      <a:pt x="80" y="102"/>
                      <a:pt x="81" y="101"/>
                      <a:pt x="82" y="100"/>
                    </a:cubicBezTo>
                    <a:cubicBezTo>
                      <a:pt x="83" y="98"/>
                      <a:pt x="85" y="96"/>
                      <a:pt x="87" y="96"/>
                    </a:cubicBezTo>
                    <a:cubicBezTo>
                      <a:pt x="87" y="96"/>
                      <a:pt x="88" y="96"/>
                      <a:pt x="89" y="97"/>
                    </a:cubicBezTo>
                    <a:cubicBezTo>
                      <a:pt x="90" y="97"/>
                      <a:pt x="92" y="98"/>
                      <a:pt x="93" y="98"/>
                    </a:cubicBezTo>
                    <a:cubicBezTo>
                      <a:pt x="94" y="98"/>
                      <a:pt x="95" y="97"/>
                      <a:pt x="95" y="97"/>
                    </a:cubicBezTo>
                    <a:cubicBezTo>
                      <a:pt x="96" y="96"/>
                      <a:pt x="97" y="96"/>
                      <a:pt x="98" y="96"/>
                    </a:cubicBezTo>
                    <a:cubicBezTo>
                      <a:pt x="99" y="97"/>
                      <a:pt x="101" y="97"/>
                      <a:pt x="102" y="98"/>
                    </a:cubicBezTo>
                    <a:cubicBezTo>
                      <a:pt x="103" y="98"/>
                      <a:pt x="103" y="98"/>
                      <a:pt x="104" y="98"/>
                    </a:cubicBezTo>
                    <a:cubicBezTo>
                      <a:pt x="104" y="98"/>
                      <a:pt x="105" y="98"/>
                      <a:pt x="105" y="98"/>
                    </a:cubicBezTo>
                    <a:cubicBezTo>
                      <a:pt x="107" y="98"/>
                      <a:pt x="109" y="98"/>
                      <a:pt x="111" y="98"/>
                    </a:cubicBezTo>
                    <a:cubicBezTo>
                      <a:pt x="112" y="98"/>
                      <a:pt x="113" y="99"/>
                      <a:pt x="115" y="99"/>
                    </a:cubicBezTo>
                    <a:cubicBezTo>
                      <a:pt x="116" y="99"/>
                      <a:pt x="117" y="99"/>
                      <a:pt x="118" y="99"/>
                    </a:cubicBezTo>
                    <a:cubicBezTo>
                      <a:pt x="118" y="98"/>
                      <a:pt x="121" y="96"/>
                      <a:pt x="122" y="96"/>
                    </a:cubicBezTo>
                    <a:cubicBezTo>
                      <a:pt x="123" y="97"/>
                      <a:pt x="123" y="99"/>
                      <a:pt x="124" y="99"/>
                    </a:cubicBezTo>
                    <a:cubicBezTo>
                      <a:pt x="125" y="98"/>
                      <a:pt x="125" y="97"/>
                      <a:pt x="125" y="96"/>
                    </a:cubicBezTo>
                    <a:cubicBezTo>
                      <a:pt x="125" y="94"/>
                      <a:pt x="125" y="93"/>
                      <a:pt x="126" y="91"/>
                    </a:cubicBezTo>
                    <a:cubicBezTo>
                      <a:pt x="126" y="90"/>
                      <a:pt x="126" y="90"/>
                      <a:pt x="126" y="89"/>
                    </a:cubicBezTo>
                    <a:cubicBezTo>
                      <a:pt x="126" y="89"/>
                      <a:pt x="126" y="89"/>
                      <a:pt x="127" y="88"/>
                    </a:cubicBezTo>
                    <a:cubicBezTo>
                      <a:pt x="127" y="88"/>
                      <a:pt x="126" y="86"/>
                      <a:pt x="127" y="86"/>
                    </a:cubicBezTo>
                    <a:cubicBezTo>
                      <a:pt x="127" y="84"/>
                      <a:pt x="129" y="85"/>
                      <a:pt x="130" y="85"/>
                    </a:cubicBezTo>
                    <a:cubicBezTo>
                      <a:pt x="131" y="85"/>
                      <a:pt x="132" y="83"/>
                      <a:pt x="133" y="83"/>
                    </a:cubicBezTo>
                    <a:cubicBezTo>
                      <a:pt x="134" y="82"/>
                      <a:pt x="134" y="82"/>
                      <a:pt x="135" y="81"/>
                    </a:cubicBezTo>
                    <a:cubicBezTo>
                      <a:pt x="136" y="81"/>
                      <a:pt x="137" y="81"/>
                      <a:pt x="137" y="80"/>
                    </a:cubicBezTo>
                    <a:cubicBezTo>
                      <a:pt x="138" y="80"/>
                      <a:pt x="138" y="79"/>
                      <a:pt x="138" y="78"/>
                    </a:cubicBezTo>
                    <a:cubicBezTo>
                      <a:pt x="138" y="74"/>
                      <a:pt x="139" y="71"/>
                      <a:pt x="139" y="67"/>
                    </a:cubicBezTo>
                    <a:cubicBezTo>
                      <a:pt x="139" y="66"/>
                      <a:pt x="139" y="65"/>
                      <a:pt x="139" y="65"/>
                    </a:cubicBezTo>
                    <a:cubicBezTo>
                      <a:pt x="138" y="63"/>
                      <a:pt x="137" y="61"/>
                      <a:pt x="137" y="60"/>
                    </a:cubicBezTo>
                    <a:cubicBezTo>
                      <a:pt x="137" y="58"/>
                      <a:pt x="139" y="57"/>
                      <a:pt x="140" y="56"/>
                    </a:cubicBezTo>
                    <a:cubicBezTo>
                      <a:pt x="141" y="55"/>
                      <a:pt x="142" y="55"/>
                      <a:pt x="142" y="54"/>
                    </a:cubicBezTo>
                    <a:cubicBezTo>
                      <a:pt x="142" y="54"/>
                      <a:pt x="142" y="54"/>
                      <a:pt x="142" y="54"/>
                    </a:cubicBezTo>
                    <a:cubicBezTo>
                      <a:pt x="142" y="53"/>
                      <a:pt x="143" y="53"/>
                      <a:pt x="143" y="5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84" name="Freeform 33">
                <a:extLst>
                  <a:ext uri="{FF2B5EF4-FFF2-40B4-BE49-F238E27FC236}">
                    <a16:creationId xmlns:a16="http://schemas.microsoft.com/office/drawing/2014/main" id="{660AFF73-A1F3-46BF-AE31-B5BDCAB8E1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5313" y="5438775"/>
                <a:ext cx="666750" cy="452438"/>
              </a:xfrm>
              <a:custGeom>
                <a:avLst/>
                <a:gdLst/>
                <a:ahLst/>
                <a:cxnLst>
                  <a:cxn ang="0">
                    <a:pos x="357" y="62"/>
                  </a:cxn>
                  <a:cxn ang="0">
                    <a:pos x="346" y="45"/>
                  </a:cxn>
                  <a:cxn ang="0">
                    <a:pos x="318" y="38"/>
                  </a:cxn>
                  <a:cxn ang="0">
                    <a:pos x="312" y="26"/>
                  </a:cxn>
                  <a:cxn ang="0">
                    <a:pos x="298" y="24"/>
                  </a:cxn>
                  <a:cxn ang="0">
                    <a:pos x="287" y="21"/>
                  </a:cxn>
                  <a:cxn ang="0">
                    <a:pos x="272" y="13"/>
                  </a:cxn>
                  <a:cxn ang="0">
                    <a:pos x="241" y="16"/>
                  </a:cxn>
                  <a:cxn ang="0">
                    <a:pos x="206" y="25"/>
                  </a:cxn>
                  <a:cxn ang="0">
                    <a:pos x="190" y="41"/>
                  </a:cxn>
                  <a:cxn ang="0">
                    <a:pos x="173" y="50"/>
                  </a:cxn>
                  <a:cxn ang="0">
                    <a:pos x="147" y="44"/>
                  </a:cxn>
                  <a:cxn ang="0">
                    <a:pos x="111" y="44"/>
                  </a:cxn>
                  <a:cxn ang="0">
                    <a:pos x="79" y="36"/>
                  </a:cxn>
                  <a:cxn ang="0">
                    <a:pos x="38" y="33"/>
                  </a:cxn>
                  <a:cxn ang="0">
                    <a:pos x="31" y="15"/>
                  </a:cxn>
                  <a:cxn ang="0">
                    <a:pos x="16" y="9"/>
                  </a:cxn>
                  <a:cxn ang="0">
                    <a:pos x="5" y="21"/>
                  </a:cxn>
                  <a:cxn ang="0">
                    <a:pos x="4" y="44"/>
                  </a:cxn>
                  <a:cxn ang="0">
                    <a:pos x="7" y="52"/>
                  </a:cxn>
                  <a:cxn ang="0">
                    <a:pos x="8" y="62"/>
                  </a:cxn>
                  <a:cxn ang="0">
                    <a:pos x="22" y="72"/>
                  </a:cxn>
                  <a:cxn ang="0">
                    <a:pos x="31" y="84"/>
                  </a:cxn>
                  <a:cxn ang="0">
                    <a:pos x="16" y="105"/>
                  </a:cxn>
                  <a:cxn ang="0">
                    <a:pos x="1" y="108"/>
                  </a:cxn>
                  <a:cxn ang="0">
                    <a:pos x="1" y="131"/>
                  </a:cxn>
                  <a:cxn ang="0">
                    <a:pos x="9" y="147"/>
                  </a:cxn>
                  <a:cxn ang="0">
                    <a:pos x="4" y="163"/>
                  </a:cxn>
                  <a:cxn ang="0">
                    <a:pos x="7" y="167"/>
                  </a:cxn>
                  <a:cxn ang="0">
                    <a:pos x="21" y="174"/>
                  </a:cxn>
                  <a:cxn ang="0">
                    <a:pos x="25" y="183"/>
                  </a:cxn>
                  <a:cxn ang="0">
                    <a:pos x="28" y="195"/>
                  </a:cxn>
                  <a:cxn ang="0">
                    <a:pos x="26" y="206"/>
                  </a:cxn>
                  <a:cxn ang="0">
                    <a:pos x="27" y="226"/>
                  </a:cxn>
                  <a:cxn ang="0">
                    <a:pos x="49" y="230"/>
                  </a:cxn>
                  <a:cxn ang="0">
                    <a:pos x="76" y="226"/>
                  </a:cxn>
                  <a:cxn ang="0">
                    <a:pos x="91" y="216"/>
                  </a:cxn>
                  <a:cxn ang="0">
                    <a:pos x="105" y="216"/>
                  </a:cxn>
                  <a:cxn ang="0">
                    <a:pos x="116" y="223"/>
                  </a:cxn>
                  <a:cxn ang="0">
                    <a:pos x="129" y="235"/>
                  </a:cxn>
                  <a:cxn ang="0">
                    <a:pos x="146" y="237"/>
                  </a:cxn>
                  <a:cxn ang="0">
                    <a:pos x="162" y="242"/>
                  </a:cxn>
                  <a:cxn ang="0">
                    <a:pos x="189" y="238"/>
                  </a:cxn>
                  <a:cxn ang="0">
                    <a:pos x="206" y="227"/>
                  </a:cxn>
                  <a:cxn ang="0">
                    <a:pos x="209" y="205"/>
                  </a:cxn>
                  <a:cxn ang="0">
                    <a:pos x="230" y="198"/>
                  </a:cxn>
                  <a:cxn ang="0">
                    <a:pos x="238" y="189"/>
                  </a:cxn>
                  <a:cxn ang="0">
                    <a:pos x="266" y="179"/>
                  </a:cxn>
                  <a:cxn ang="0">
                    <a:pos x="286" y="191"/>
                  </a:cxn>
                  <a:cxn ang="0">
                    <a:pos x="310" y="189"/>
                  </a:cxn>
                  <a:cxn ang="0">
                    <a:pos x="302" y="169"/>
                  </a:cxn>
                  <a:cxn ang="0">
                    <a:pos x="301" y="156"/>
                  </a:cxn>
                  <a:cxn ang="0">
                    <a:pos x="284" y="148"/>
                  </a:cxn>
                  <a:cxn ang="0">
                    <a:pos x="292" y="140"/>
                  </a:cxn>
                  <a:cxn ang="0">
                    <a:pos x="299" y="132"/>
                  </a:cxn>
                  <a:cxn ang="0">
                    <a:pos x="313" y="121"/>
                  </a:cxn>
                  <a:cxn ang="0">
                    <a:pos x="310" y="108"/>
                  </a:cxn>
                  <a:cxn ang="0">
                    <a:pos x="314" y="90"/>
                  </a:cxn>
                  <a:cxn ang="0">
                    <a:pos x="320" y="76"/>
                  </a:cxn>
                  <a:cxn ang="0">
                    <a:pos x="339" y="74"/>
                  </a:cxn>
                  <a:cxn ang="0">
                    <a:pos x="356" y="69"/>
                  </a:cxn>
                </a:cxnLst>
                <a:rect l="0" t="0" r="r" b="b"/>
                <a:pathLst>
                  <a:path w="357" h="242">
                    <a:moveTo>
                      <a:pt x="345" y="45"/>
                    </a:moveTo>
                    <a:cubicBezTo>
                      <a:pt x="345" y="45"/>
                      <a:pt x="346" y="45"/>
                      <a:pt x="346" y="45"/>
                    </a:cubicBezTo>
                    <a:cubicBezTo>
                      <a:pt x="346" y="45"/>
                      <a:pt x="347" y="45"/>
                      <a:pt x="347" y="45"/>
                    </a:cubicBezTo>
                    <a:lnTo>
                      <a:pt x="345" y="45"/>
                    </a:lnTo>
                    <a:close/>
                    <a:moveTo>
                      <a:pt x="357" y="62"/>
                    </a:moveTo>
                    <a:cubicBezTo>
                      <a:pt x="357" y="62"/>
                      <a:pt x="357" y="61"/>
                      <a:pt x="356" y="60"/>
                    </a:cubicBezTo>
                    <a:cubicBezTo>
                      <a:pt x="356" y="59"/>
                      <a:pt x="354" y="59"/>
                      <a:pt x="354" y="58"/>
                    </a:cubicBezTo>
                    <a:cubicBezTo>
                      <a:pt x="353" y="57"/>
                      <a:pt x="353" y="54"/>
                      <a:pt x="352" y="53"/>
                    </a:cubicBezTo>
                    <a:cubicBezTo>
                      <a:pt x="351" y="51"/>
                      <a:pt x="350" y="50"/>
                      <a:pt x="350" y="48"/>
                    </a:cubicBezTo>
                    <a:cubicBezTo>
                      <a:pt x="349" y="48"/>
                      <a:pt x="347" y="46"/>
                      <a:pt x="346" y="45"/>
                    </a:cubicBezTo>
                    <a:cubicBezTo>
                      <a:pt x="343" y="45"/>
                      <a:pt x="339" y="45"/>
                      <a:pt x="336" y="45"/>
                    </a:cubicBezTo>
                    <a:cubicBezTo>
                      <a:pt x="333" y="44"/>
                      <a:pt x="331" y="43"/>
                      <a:pt x="329" y="43"/>
                    </a:cubicBezTo>
                    <a:cubicBezTo>
                      <a:pt x="326" y="42"/>
                      <a:pt x="323" y="42"/>
                      <a:pt x="321" y="41"/>
                    </a:cubicBezTo>
                    <a:cubicBezTo>
                      <a:pt x="320" y="41"/>
                      <a:pt x="319" y="40"/>
                      <a:pt x="319" y="39"/>
                    </a:cubicBezTo>
                    <a:cubicBezTo>
                      <a:pt x="318" y="39"/>
                      <a:pt x="319" y="38"/>
                      <a:pt x="318" y="38"/>
                    </a:cubicBezTo>
                    <a:cubicBezTo>
                      <a:pt x="318" y="36"/>
                      <a:pt x="317" y="36"/>
                      <a:pt x="316" y="35"/>
                    </a:cubicBezTo>
                    <a:cubicBezTo>
                      <a:pt x="316" y="35"/>
                      <a:pt x="316" y="34"/>
                      <a:pt x="316" y="34"/>
                    </a:cubicBezTo>
                    <a:cubicBezTo>
                      <a:pt x="315" y="34"/>
                      <a:pt x="315" y="34"/>
                      <a:pt x="314" y="33"/>
                    </a:cubicBezTo>
                    <a:cubicBezTo>
                      <a:pt x="313" y="32"/>
                      <a:pt x="314" y="31"/>
                      <a:pt x="313" y="30"/>
                    </a:cubicBezTo>
                    <a:cubicBezTo>
                      <a:pt x="313" y="28"/>
                      <a:pt x="313" y="28"/>
                      <a:pt x="312" y="26"/>
                    </a:cubicBezTo>
                    <a:cubicBezTo>
                      <a:pt x="311" y="26"/>
                      <a:pt x="311" y="25"/>
                      <a:pt x="311" y="25"/>
                    </a:cubicBezTo>
                    <a:cubicBezTo>
                      <a:pt x="311" y="24"/>
                      <a:pt x="311" y="24"/>
                      <a:pt x="311" y="23"/>
                    </a:cubicBezTo>
                    <a:cubicBezTo>
                      <a:pt x="310" y="21"/>
                      <a:pt x="305" y="25"/>
                      <a:pt x="304" y="26"/>
                    </a:cubicBezTo>
                    <a:cubicBezTo>
                      <a:pt x="303" y="26"/>
                      <a:pt x="301" y="26"/>
                      <a:pt x="300" y="26"/>
                    </a:cubicBezTo>
                    <a:cubicBezTo>
                      <a:pt x="300" y="26"/>
                      <a:pt x="299" y="24"/>
                      <a:pt x="298" y="24"/>
                    </a:cubicBezTo>
                    <a:cubicBezTo>
                      <a:pt x="298" y="23"/>
                      <a:pt x="297" y="23"/>
                      <a:pt x="297" y="22"/>
                    </a:cubicBezTo>
                    <a:cubicBezTo>
                      <a:pt x="296" y="20"/>
                      <a:pt x="297" y="20"/>
                      <a:pt x="294" y="20"/>
                    </a:cubicBezTo>
                    <a:cubicBezTo>
                      <a:pt x="293" y="20"/>
                      <a:pt x="292" y="20"/>
                      <a:pt x="291" y="20"/>
                    </a:cubicBezTo>
                    <a:cubicBezTo>
                      <a:pt x="291" y="20"/>
                      <a:pt x="289" y="21"/>
                      <a:pt x="289" y="21"/>
                    </a:cubicBezTo>
                    <a:cubicBezTo>
                      <a:pt x="288" y="21"/>
                      <a:pt x="288" y="21"/>
                      <a:pt x="287" y="21"/>
                    </a:cubicBezTo>
                    <a:cubicBezTo>
                      <a:pt x="286" y="20"/>
                      <a:pt x="284" y="19"/>
                      <a:pt x="283" y="19"/>
                    </a:cubicBezTo>
                    <a:cubicBezTo>
                      <a:pt x="282" y="19"/>
                      <a:pt x="280" y="19"/>
                      <a:pt x="280" y="19"/>
                    </a:cubicBezTo>
                    <a:cubicBezTo>
                      <a:pt x="279" y="19"/>
                      <a:pt x="278" y="18"/>
                      <a:pt x="277" y="18"/>
                    </a:cubicBezTo>
                    <a:cubicBezTo>
                      <a:pt x="276" y="17"/>
                      <a:pt x="275" y="17"/>
                      <a:pt x="274" y="16"/>
                    </a:cubicBezTo>
                    <a:cubicBezTo>
                      <a:pt x="273" y="15"/>
                      <a:pt x="273" y="14"/>
                      <a:pt x="272" y="13"/>
                    </a:cubicBezTo>
                    <a:cubicBezTo>
                      <a:pt x="270" y="12"/>
                      <a:pt x="268" y="11"/>
                      <a:pt x="267" y="11"/>
                    </a:cubicBezTo>
                    <a:cubicBezTo>
                      <a:pt x="266" y="10"/>
                      <a:pt x="264" y="9"/>
                      <a:pt x="263" y="9"/>
                    </a:cubicBezTo>
                    <a:cubicBezTo>
                      <a:pt x="260" y="8"/>
                      <a:pt x="258" y="10"/>
                      <a:pt x="256" y="11"/>
                    </a:cubicBezTo>
                    <a:cubicBezTo>
                      <a:pt x="253" y="13"/>
                      <a:pt x="251" y="14"/>
                      <a:pt x="248" y="15"/>
                    </a:cubicBezTo>
                    <a:cubicBezTo>
                      <a:pt x="246" y="16"/>
                      <a:pt x="244" y="16"/>
                      <a:pt x="241" y="16"/>
                    </a:cubicBezTo>
                    <a:cubicBezTo>
                      <a:pt x="239" y="16"/>
                      <a:pt x="236" y="16"/>
                      <a:pt x="234" y="16"/>
                    </a:cubicBezTo>
                    <a:cubicBezTo>
                      <a:pt x="231" y="16"/>
                      <a:pt x="228" y="18"/>
                      <a:pt x="225" y="19"/>
                    </a:cubicBezTo>
                    <a:cubicBezTo>
                      <a:pt x="224" y="20"/>
                      <a:pt x="223" y="20"/>
                      <a:pt x="221" y="21"/>
                    </a:cubicBezTo>
                    <a:cubicBezTo>
                      <a:pt x="218" y="21"/>
                      <a:pt x="216" y="21"/>
                      <a:pt x="214" y="22"/>
                    </a:cubicBezTo>
                    <a:cubicBezTo>
                      <a:pt x="211" y="23"/>
                      <a:pt x="208" y="23"/>
                      <a:pt x="206" y="25"/>
                    </a:cubicBezTo>
                    <a:cubicBezTo>
                      <a:pt x="205" y="25"/>
                      <a:pt x="204" y="26"/>
                      <a:pt x="203" y="27"/>
                    </a:cubicBezTo>
                    <a:cubicBezTo>
                      <a:pt x="201" y="28"/>
                      <a:pt x="199" y="29"/>
                      <a:pt x="198" y="30"/>
                    </a:cubicBezTo>
                    <a:cubicBezTo>
                      <a:pt x="198" y="31"/>
                      <a:pt x="198" y="32"/>
                      <a:pt x="198" y="33"/>
                    </a:cubicBezTo>
                    <a:cubicBezTo>
                      <a:pt x="198" y="35"/>
                      <a:pt x="197" y="36"/>
                      <a:pt x="195" y="37"/>
                    </a:cubicBezTo>
                    <a:cubicBezTo>
                      <a:pt x="194" y="38"/>
                      <a:pt x="191" y="39"/>
                      <a:pt x="190" y="41"/>
                    </a:cubicBezTo>
                    <a:cubicBezTo>
                      <a:pt x="190" y="42"/>
                      <a:pt x="191" y="43"/>
                      <a:pt x="190" y="44"/>
                    </a:cubicBezTo>
                    <a:cubicBezTo>
                      <a:pt x="189" y="46"/>
                      <a:pt x="187" y="45"/>
                      <a:pt x="185" y="45"/>
                    </a:cubicBezTo>
                    <a:cubicBezTo>
                      <a:pt x="183" y="45"/>
                      <a:pt x="182" y="45"/>
                      <a:pt x="180" y="47"/>
                    </a:cubicBezTo>
                    <a:cubicBezTo>
                      <a:pt x="179" y="48"/>
                      <a:pt x="178" y="48"/>
                      <a:pt x="176" y="49"/>
                    </a:cubicBezTo>
                    <a:cubicBezTo>
                      <a:pt x="175" y="50"/>
                      <a:pt x="175" y="50"/>
                      <a:pt x="173" y="50"/>
                    </a:cubicBezTo>
                    <a:cubicBezTo>
                      <a:pt x="171" y="50"/>
                      <a:pt x="168" y="48"/>
                      <a:pt x="165" y="48"/>
                    </a:cubicBezTo>
                    <a:cubicBezTo>
                      <a:pt x="165" y="48"/>
                      <a:pt x="165" y="48"/>
                      <a:pt x="164" y="48"/>
                    </a:cubicBezTo>
                    <a:cubicBezTo>
                      <a:pt x="163" y="48"/>
                      <a:pt x="162" y="47"/>
                      <a:pt x="161" y="47"/>
                    </a:cubicBezTo>
                    <a:cubicBezTo>
                      <a:pt x="159" y="46"/>
                      <a:pt x="156" y="45"/>
                      <a:pt x="153" y="44"/>
                    </a:cubicBezTo>
                    <a:cubicBezTo>
                      <a:pt x="151" y="44"/>
                      <a:pt x="149" y="44"/>
                      <a:pt x="147" y="44"/>
                    </a:cubicBezTo>
                    <a:cubicBezTo>
                      <a:pt x="145" y="44"/>
                      <a:pt x="143" y="41"/>
                      <a:pt x="141" y="40"/>
                    </a:cubicBezTo>
                    <a:cubicBezTo>
                      <a:pt x="138" y="39"/>
                      <a:pt x="138" y="40"/>
                      <a:pt x="136" y="41"/>
                    </a:cubicBezTo>
                    <a:cubicBezTo>
                      <a:pt x="134" y="42"/>
                      <a:pt x="132" y="42"/>
                      <a:pt x="130" y="42"/>
                    </a:cubicBezTo>
                    <a:cubicBezTo>
                      <a:pt x="126" y="41"/>
                      <a:pt x="122" y="40"/>
                      <a:pt x="118" y="41"/>
                    </a:cubicBezTo>
                    <a:cubicBezTo>
                      <a:pt x="115" y="41"/>
                      <a:pt x="113" y="43"/>
                      <a:pt x="111" y="44"/>
                    </a:cubicBezTo>
                    <a:cubicBezTo>
                      <a:pt x="109" y="45"/>
                      <a:pt x="105" y="45"/>
                      <a:pt x="103" y="45"/>
                    </a:cubicBezTo>
                    <a:cubicBezTo>
                      <a:pt x="99" y="44"/>
                      <a:pt x="97" y="40"/>
                      <a:pt x="93" y="40"/>
                    </a:cubicBezTo>
                    <a:cubicBezTo>
                      <a:pt x="92" y="40"/>
                      <a:pt x="92" y="41"/>
                      <a:pt x="91" y="41"/>
                    </a:cubicBezTo>
                    <a:cubicBezTo>
                      <a:pt x="90" y="41"/>
                      <a:pt x="88" y="40"/>
                      <a:pt x="87" y="39"/>
                    </a:cubicBezTo>
                    <a:cubicBezTo>
                      <a:pt x="84" y="38"/>
                      <a:pt x="82" y="37"/>
                      <a:pt x="79" y="36"/>
                    </a:cubicBezTo>
                    <a:cubicBezTo>
                      <a:pt x="78" y="35"/>
                      <a:pt x="76" y="35"/>
                      <a:pt x="75" y="35"/>
                    </a:cubicBezTo>
                    <a:cubicBezTo>
                      <a:pt x="73" y="34"/>
                      <a:pt x="72" y="33"/>
                      <a:pt x="70" y="33"/>
                    </a:cubicBezTo>
                    <a:cubicBezTo>
                      <a:pt x="67" y="31"/>
                      <a:pt x="64" y="31"/>
                      <a:pt x="61" y="31"/>
                    </a:cubicBezTo>
                    <a:cubicBezTo>
                      <a:pt x="56" y="31"/>
                      <a:pt x="52" y="30"/>
                      <a:pt x="47" y="30"/>
                    </a:cubicBezTo>
                    <a:cubicBezTo>
                      <a:pt x="43" y="30"/>
                      <a:pt x="41" y="34"/>
                      <a:pt x="38" y="33"/>
                    </a:cubicBezTo>
                    <a:cubicBezTo>
                      <a:pt x="36" y="33"/>
                      <a:pt x="35" y="32"/>
                      <a:pt x="33" y="32"/>
                    </a:cubicBezTo>
                    <a:cubicBezTo>
                      <a:pt x="31" y="32"/>
                      <a:pt x="30" y="32"/>
                      <a:pt x="28" y="31"/>
                    </a:cubicBezTo>
                    <a:cubicBezTo>
                      <a:pt x="26" y="29"/>
                      <a:pt x="26" y="24"/>
                      <a:pt x="26" y="22"/>
                    </a:cubicBezTo>
                    <a:cubicBezTo>
                      <a:pt x="26" y="21"/>
                      <a:pt x="26" y="18"/>
                      <a:pt x="27" y="18"/>
                    </a:cubicBezTo>
                    <a:cubicBezTo>
                      <a:pt x="28" y="17"/>
                      <a:pt x="30" y="16"/>
                      <a:pt x="31" y="15"/>
                    </a:cubicBezTo>
                    <a:cubicBezTo>
                      <a:pt x="33" y="14"/>
                      <a:pt x="36" y="13"/>
                      <a:pt x="35" y="10"/>
                    </a:cubicBezTo>
                    <a:cubicBezTo>
                      <a:pt x="34" y="7"/>
                      <a:pt x="29" y="6"/>
                      <a:pt x="26" y="4"/>
                    </a:cubicBezTo>
                    <a:cubicBezTo>
                      <a:pt x="25" y="3"/>
                      <a:pt x="24" y="2"/>
                      <a:pt x="22" y="1"/>
                    </a:cubicBezTo>
                    <a:cubicBezTo>
                      <a:pt x="20" y="1"/>
                      <a:pt x="18" y="0"/>
                      <a:pt x="16" y="0"/>
                    </a:cubicBezTo>
                    <a:cubicBezTo>
                      <a:pt x="16" y="3"/>
                      <a:pt x="16" y="6"/>
                      <a:pt x="16" y="9"/>
                    </a:cubicBezTo>
                    <a:cubicBezTo>
                      <a:pt x="16" y="10"/>
                      <a:pt x="16" y="11"/>
                      <a:pt x="15" y="12"/>
                    </a:cubicBezTo>
                    <a:cubicBezTo>
                      <a:pt x="15" y="12"/>
                      <a:pt x="13" y="12"/>
                      <a:pt x="12" y="12"/>
                    </a:cubicBezTo>
                    <a:cubicBezTo>
                      <a:pt x="12" y="12"/>
                      <a:pt x="10" y="12"/>
                      <a:pt x="10" y="13"/>
                    </a:cubicBezTo>
                    <a:cubicBezTo>
                      <a:pt x="8" y="14"/>
                      <a:pt x="8" y="17"/>
                      <a:pt x="6" y="19"/>
                    </a:cubicBezTo>
                    <a:cubicBezTo>
                      <a:pt x="6" y="20"/>
                      <a:pt x="5" y="20"/>
                      <a:pt x="5" y="21"/>
                    </a:cubicBezTo>
                    <a:cubicBezTo>
                      <a:pt x="5" y="22"/>
                      <a:pt x="5" y="22"/>
                      <a:pt x="5" y="23"/>
                    </a:cubicBezTo>
                    <a:cubicBezTo>
                      <a:pt x="4" y="25"/>
                      <a:pt x="3" y="25"/>
                      <a:pt x="2" y="26"/>
                    </a:cubicBezTo>
                    <a:cubicBezTo>
                      <a:pt x="2" y="27"/>
                      <a:pt x="1" y="28"/>
                      <a:pt x="1" y="30"/>
                    </a:cubicBezTo>
                    <a:cubicBezTo>
                      <a:pt x="1" y="32"/>
                      <a:pt x="1" y="37"/>
                      <a:pt x="1" y="39"/>
                    </a:cubicBezTo>
                    <a:cubicBezTo>
                      <a:pt x="2" y="41"/>
                      <a:pt x="3" y="43"/>
                      <a:pt x="4" y="44"/>
                    </a:cubicBezTo>
                    <a:cubicBezTo>
                      <a:pt x="4" y="44"/>
                      <a:pt x="4" y="45"/>
                      <a:pt x="4" y="45"/>
                    </a:cubicBezTo>
                    <a:cubicBezTo>
                      <a:pt x="5" y="45"/>
                      <a:pt x="5" y="45"/>
                      <a:pt x="5" y="46"/>
                    </a:cubicBezTo>
                    <a:cubicBezTo>
                      <a:pt x="6" y="46"/>
                      <a:pt x="5" y="48"/>
                      <a:pt x="6" y="49"/>
                    </a:cubicBezTo>
                    <a:cubicBezTo>
                      <a:pt x="6" y="50"/>
                      <a:pt x="6" y="49"/>
                      <a:pt x="7" y="50"/>
                    </a:cubicBezTo>
                    <a:cubicBezTo>
                      <a:pt x="7" y="50"/>
                      <a:pt x="7" y="51"/>
                      <a:pt x="7" y="52"/>
                    </a:cubicBezTo>
                    <a:cubicBezTo>
                      <a:pt x="7" y="53"/>
                      <a:pt x="8" y="54"/>
                      <a:pt x="8" y="54"/>
                    </a:cubicBezTo>
                    <a:cubicBezTo>
                      <a:pt x="8" y="55"/>
                      <a:pt x="9" y="56"/>
                      <a:pt x="9" y="56"/>
                    </a:cubicBezTo>
                    <a:cubicBezTo>
                      <a:pt x="10" y="57"/>
                      <a:pt x="10" y="57"/>
                      <a:pt x="11" y="58"/>
                    </a:cubicBezTo>
                    <a:cubicBezTo>
                      <a:pt x="12" y="60"/>
                      <a:pt x="13" y="61"/>
                      <a:pt x="14" y="63"/>
                    </a:cubicBezTo>
                    <a:cubicBezTo>
                      <a:pt x="12" y="64"/>
                      <a:pt x="10" y="62"/>
                      <a:pt x="8" y="62"/>
                    </a:cubicBezTo>
                    <a:cubicBezTo>
                      <a:pt x="7" y="62"/>
                      <a:pt x="7" y="65"/>
                      <a:pt x="8" y="66"/>
                    </a:cubicBezTo>
                    <a:cubicBezTo>
                      <a:pt x="9" y="66"/>
                      <a:pt x="11" y="66"/>
                      <a:pt x="12" y="66"/>
                    </a:cubicBezTo>
                    <a:cubicBezTo>
                      <a:pt x="14" y="67"/>
                      <a:pt x="16" y="66"/>
                      <a:pt x="17" y="67"/>
                    </a:cubicBezTo>
                    <a:cubicBezTo>
                      <a:pt x="19" y="67"/>
                      <a:pt x="19" y="68"/>
                      <a:pt x="20" y="69"/>
                    </a:cubicBezTo>
                    <a:cubicBezTo>
                      <a:pt x="21" y="70"/>
                      <a:pt x="21" y="71"/>
                      <a:pt x="22" y="72"/>
                    </a:cubicBezTo>
                    <a:cubicBezTo>
                      <a:pt x="23" y="73"/>
                      <a:pt x="24" y="73"/>
                      <a:pt x="24" y="74"/>
                    </a:cubicBezTo>
                    <a:cubicBezTo>
                      <a:pt x="24" y="76"/>
                      <a:pt x="26" y="78"/>
                      <a:pt x="27" y="79"/>
                    </a:cubicBezTo>
                    <a:cubicBezTo>
                      <a:pt x="28" y="80"/>
                      <a:pt x="29" y="81"/>
                      <a:pt x="29" y="82"/>
                    </a:cubicBezTo>
                    <a:cubicBezTo>
                      <a:pt x="29" y="82"/>
                      <a:pt x="30" y="83"/>
                      <a:pt x="30" y="83"/>
                    </a:cubicBezTo>
                    <a:cubicBezTo>
                      <a:pt x="30" y="84"/>
                      <a:pt x="31" y="84"/>
                      <a:pt x="31" y="84"/>
                    </a:cubicBezTo>
                    <a:cubicBezTo>
                      <a:pt x="32" y="87"/>
                      <a:pt x="29" y="89"/>
                      <a:pt x="28" y="90"/>
                    </a:cubicBezTo>
                    <a:cubicBezTo>
                      <a:pt x="27" y="92"/>
                      <a:pt x="24" y="92"/>
                      <a:pt x="22" y="94"/>
                    </a:cubicBezTo>
                    <a:cubicBezTo>
                      <a:pt x="20" y="96"/>
                      <a:pt x="20" y="98"/>
                      <a:pt x="19" y="100"/>
                    </a:cubicBezTo>
                    <a:cubicBezTo>
                      <a:pt x="19" y="101"/>
                      <a:pt x="19" y="103"/>
                      <a:pt x="19" y="103"/>
                    </a:cubicBezTo>
                    <a:cubicBezTo>
                      <a:pt x="18" y="104"/>
                      <a:pt x="16" y="105"/>
                      <a:pt x="16" y="105"/>
                    </a:cubicBezTo>
                    <a:cubicBezTo>
                      <a:pt x="15" y="106"/>
                      <a:pt x="15" y="105"/>
                      <a:pt x="14" y="106"/>
                    </a:cubicBezTo>
                    <a:cubicBezTo>
                      <a:pt x="13" y="106"/>
                      <a:pt x="13" y="106"/>
                      <a:pt x="12" y="107"/>
                    </a:cubicBezTo>
                    <a:cubicBezTo>
                      <a:pt x="11" y="107"/>
                      <a:pt x="11" y="106"/>
                      <a:pt x="10" y="106"/>
                    </a:cubicBezTo>
                    <a:cubicBezTo>
                      <a:pt x="9" y="106"/>
                      <a:pt x="8" y="106"/>
                      <a:pt x="7" y="106"/>
                    </a:cubicBezTo>
                    <a:cubicBezTo>
                      <a:pt x="6" y="106"/>
                      <a:pt x="2" y="107"/>
                      <a:pt x="1" y="108"/>
                    </a:cubicBezTo>
                    <a:cubicBezTo>
                      <a:pt x="1" y="109"/>
                      <a:pt x="1" y="111"/>
                      <a:pt x="1" y="112"/>
                    </a:cubicBezTo>
                    <a:cubicBezTo>
                      <a:pt x="1" y="113"/>
                      <a:pt x="2" y="114"/>
                      <a:pt x="2" y="115"/>
                    </a:cubicBezTo>
                    <a:cubicBezTo>
                      <a:pt x="3" y="117"/>
                      <a:pt x="2" y="119"/>
                      <a:pt x="1" y="121"/>
                    </a:cubicBezTo>
                    <a:cubicBezTo>
                      <a:pt x="1" y="123"/>
                      <a:pt x="0" y="124"/>
                      <a:pt x="0" y="126"/>
                    </a:cubicBezTo>
                    <a:cubicBezTo>
                      <a:pt x="0" y="129"/>
                      <a:pt x="0" y="129"/>
                      <a:pt x="1" y="131"/>
                    </a:cubicBezTo>
                    <a:cubicBezTo>
                      <a:pt x="2" y="132"/>
                      <a:pt x="2" y="132"/>
                      <a:pt x="3" y="133"/>
                    </a:cubicBezTo>
                    <a:cubicBezTo>
                      <a:pt x="4" y="134"/>
                      <a:pt x="4" y="133"/>
                      <a:pt x="4" y="135"/>
                    </a:cubicBezTo>
                    <a:cubicBezTo>
                      <a:pt x="5" y="137"/>
                      <a:pt x="6" y="137"/>
                      <a:pt x="7" y="139"/>
                    </a:cubicBezTo>
                    <a:cubicBezTo>
                      <a:pt x="7" y="140"/>
                      <a:pt x="7" y="142"/>
                      <a:pt x="8" y="143"/>
                    </a:cubicBezTo>
                    <a:cubicBezTo>
                      <a:pt x="9" y="145"/>
                      <a:pt x="9" y="145"/>
                      <a:pt x="9" y="147"/>
                    </a:cubicBezTo>
                    <a:cubicBezTo>
                      <a:pt x="9" y="148"/>
                      <a:pt x="8" y="150"/>
                      <a:pt x="7" y="151"/>
                    </a:cubicBezTo>
                    <a:cubicBezTo>
                      <a:pt x="5" y="152"/>
                      <a:pt x="3" y="153"/>
                      <a:pt x="1" y="153"/>
                    </a:cubicBezTo>
                    <a:cubicBezTo>
                      <a:pt x="2" y="158"/>
                      <a:pt x="2" y="158"/>
                      <a:pt x="2" y="158"/>
                    </a:cubicBezTo>
                    <a:cubicBezTo>
                      <a:pt x="2" y="159"/>
                      <a:pt x="2" y="160"/>
                      <a:pt x="3" y="161"/>
                    </a:cubicBezTo>
                    <a:cubicBezTo>
                      <a:pt x="3" y="162"/>
                      <a:pt x="3" y="162"/>
                      <a:pt x="4" y="163"/>
                    </a:cubicBezTo>
                    <a:cubicBezTo>
                      <a:pt x="4" y="163"/>
                      <a:pt x="4" y="164"/>
                      <a:pt x="4" y="164"/>
                    </a:cubicBezTo>
                    <a:cubicBezTo>
                      <a:pt x="4" y="164"/>
                      <a:pt x="4" y="164"/>
                      <a:pt x="4" y="165"/>
                    </a:cubicBezTo>
                    <a:cubicBezTo>
                      <a:pt x="4" y="165"/>
                      <a:pt x="4" y="165"/>
                      <a:pt x="4" y="166"/>
                    </a:cubicBezTo>
                    <a:cubicBezTo>
                      <a:pt x="4" y="166"/>
                      <a:pt x="5" y="166"/>
                      <a:pt x="6" y="166"/>
                    </a:cubicBezTo>
                    <a:cubicBezTo>
                      <a:pt x="6" y="166"/>
                      <a:pt x="6" y="167"/>
                      <a:pt x="7" y="167"/>
                    </a:cubicBezTo>
                    <a:cubicBezTo>
                      <a:pt x="7" y="168"/>
                      <a:pt x="7" y="169"/>
                      <a:pt x="8" y="170"/>
                    </a:cubicBezTo>
                    <a:cubicBezTo>
                      <a:pt x="9" y="170"/>
                      <a:pt x="10" y="170"/>
                      <a:pt x="11" y="171"/>
                    </a:cubicBezTo>
                    <a:cubicBezTo>
                      <a:pt x="12" y="171"/>
                      <a:pt x="13" y="170"/>
                      <a:pt x="15" y="171"/>
                    </a:cubicBezTo>
                    <a:cubicBezTo>
                      <a:pt x="16" y="171"/>
                      <a:pt x="17" y="172"/>
                      <a:pt x="18" y="173"/>
                    </a:cubicBezTo>
                    <a:cubicBezTo>
                      <a:pt x="19" y="173"/>
                      <a:pt x="20" y="174"/>
                      <a:pt x="21" y="174"/>
                    </a:cubicBezTo>
                    <a:cubicBezTo>
                      <a:pt x="22" y="174"/>
                      <a:pt x="22" y="174"/>
                      <a:pt x="23" y="175"/>
                    </a:cubicBezTo>
                    <a:cubicBezTo>
                      <a:pt x="23" y="175"/>
                      <a:pt x="23" y="175"/>
                      <a:pt x="23" y="176"/>
                    </a:cubicBezTo>
                    <a:cubicBezTo>
                      <a:pt x="23" y="176"/>
                      <a:pt x="24" y="177"/>
                      <a:pt x="24" y="178"/>
                    </a:cubicBezTo>
                    <a:cubicBezTo>
                      <a:pt x="24" y="179"/>
                      <a:pt x="24" y="180"/>
                      <a:pt x="24" y="181"/>
                    </a:cubicBezTo>
                    <a:cubicBezTo>
                      <a:pt x="24" y="182"/>
                      <a:pt x="25" y="182"/>
                      <a:pt x="25" y="183"/>
                    </a:cubicBezTo>
                    <a:cubicBezTo>
                      <a:pt x="25" y="183"/>
                      <a:pt x="25" y="184"/>
                      <a:pt x="25" y="185"/>
                    </a:cubicBezTo>
                    <a:cubicBezTo>
                      <a:pt x="25" y="186"/>
                      <a:pt x="26" y="186"/>
                      <a:pt x="26" y="187"/>
                    </a:cubicBezTo>
                    <a:cubicBezTo>
                      <a:pt x="26" y="188"/>
                      <a:pt x="26" y="189"/>
                      <a:pt x="26" y="190"/>
                    </a:cubicBezTo>
                    <a:cubicBezTo>
                      <a:pt x="26" y="190"/>
                      <a:pt x="26" y="191"/>
                      <a:pt x="26" y="192"/>
                    </a:cubicBezTo>
                    <a:cubicBezTo>
                      <a:pt x="27" y="193"/>
                      <a:pt x="27" y="194"/>
                      <a:pt x="28" y="195"/>
                    </a:cubicBezTo>
                    <a:cubicBezTo>
                      <a:pt x="29" y="196"/>
                      <a:pt x="32" y="196"/>
                      <a:pt x="32" y="198"/>
                    </a:cubicBezTo>
                    <a:cubicBezTo>
                      <a:pt x="32" y="199"/>
                      <a:pt x="31" y="199"/>
                      <a:pt x="31" y="200"/>
                    </a:cubicBezTo>
                    <a:cubicBezTo>
                      <a:pt x="31" y="200"/>
                      <a:pt x="31" y="200"/>
                      <a:pt x="31" y="200"/>
                    </a:cubicBezTo>
                    <a:cubicBezTo>
                      <a:pt x="31" y="201"/>
                      <a:pt x="30" y="201"/>
                      <a:pt x="29" y="202"/>
                    </a:cubicBezTo>
                    <a:cubicBezTo>
                      <a:pt x="28" y="203"/>
                      <a:pt x="26" y="204"/>
                      <a:pt x="26" y="206"/>
                    </a:cubicBezTo>
                    <a:cubicBezTo>
                      <a:pt x="26" y="207"/>
                      <a:pt x="27" y="209"/>
                      <a:pt x="28" y="211"/>
                    </a:cubicBezTo>
                    <a:cubicBezTo>
                      <a:pt x="28" y="211"/>
                      <a:pt x="28" y="212"/>
                      <a:pt x="28" y="213"/>
                    </a:cubicBezTo>
                    <a:cubicBezTo>
                      <a:pt x="28" y="217"/>
                      <a:pt x="27" y="220"/>
                      <a:pt x="27" y="224"/>
                    </a:cubicBezTo>
                    <a:cubicBezTo>
                      <a:pt x="27" y="225"/>
                      <a:pt x="27" y="225"/>
                      <a:pt x="27" y="226"/>
                    </a:cubicBezTo>
                    <a:cubicBezTo>
                      <a:pt x="27" y="226"/>
                      <a:pt x="27" y="226"/>
                      <a:pt x="27" y="226"/>
                    </a:cubicBezTo>
                    <a:cubicBezTo>
                      <a:pt x="28" y="227"/>
                      <a:pt x="29" y="228"/>
                      <a:pt x="30" y="229"/>
                    </a:cubicBezTo>
                    <a:cubicBezTo>
                      <a:pt x="31" y="229"/>
                      <a:pt x="31" y="230"/>
                      <a:pt x="32" y="231"/>
                    </a:cubicBezTo>
                    <a:cubicBezTo>
                      <a:pt x="33" y="232"/>
                      <a:pt x="34" y="231"/>
                      <a:pt x="36" y="231"/>
                    </a:cubicBezTo>
                    <a:cubicBezTo>
                      <a:pt x="37" y="231"/>
                      <a:pt x="39" y="231"/>
                      <a:pt x="41" y="231"/>
                    </a:cubicBezTo>
                    <a:cubicBezTo>
                      <a:pt x="44" y="231"/>
                      <a:pt x="46" y="231"/>
                      <a:pt x="49" y="230"/>
                    </a:cubicBezTo>
                    <a:cubicBezTo>
                      <a:pt x="51" y="229"/>
                      <a:pt x="55" y="227"/>
                      <a:pt x="57" y="228"/>
                    </a:cubicBezTo>
                    <a:cubicBezTo>
                      <a:pt x="58" y="228"/>
                      <a:pt x="59" y="229"/>
                      <a:pt x="60" y="229"/>
                    </a:cubicBezTo>
                    <a:cubicBezTo>
                      <a:pt x="62" y="229"/>
                      <a:pt x="63" y="229"/>
                      <a:pt x="64" y="229"/>
                    </a:cubicBezTo>
                    <a:cubicBezTo>
                      <a:pt x="66" y="228"/>
                      <a:pt x="68" y="229"/>
                      <a:pt x="70" y="228"/>
                    </a:cubicBezTo>
                    <a:cubicBezTo>
                      <a:pt x="72" y="228"/>
                      <a:pt x="75" y="227"/>
                      <a:pt x="76" y="226"/>
                    </a:cubicBezTo>
                    <a:cubicBezTo>
                      <a:pt x="77" y="225"/>
                      <a:pt x="77" y="224"/>
                      <a:pt x="78" y="224"/>
                    </a:cubicBezTo>
                    <a:cubicBezTo>
                      <a:pt x="79" y="224"/>
                      <a:pt x="80" y="224"/>
                      <a:pt x="80" y="224"/>
                    </a:cubicBezTo>
                    <a:cubicBezTo>
                      <a:pt x="81" y="224"/>
                      <a:pt x="82" y="223"/>
                      <a:pt x="83" y="222"/>
                    </a:cubicBezTo>
                    <a:cubicBezTo>
                      <a:pt x="85" y="224"/>
                      <a:pt x="88" y="223"/>
                      <a:pt x="89" y="220"/>
                    </a:cubicBezTo>
                    <a:cubicBezTo>
                      <a:pt x="89" y="219"/>
                      <a:pt x="88" y="215"/>
                      <a:pt x="91" y="216"/>
                    </a:cubicBezTo>
                    <a:cubicBezTo>
                      <a:pt x="92" y="217"/>
                      <a:pt x="93" y="218"/>
                      <a:pt x="94" y="218"/>
                    </a:cubicBezTo>
                    <a:cubicBezTo>
                      <a:pt x="95" y="218"/>
                      <a:pt x="97" y="218"/>
                      <a:pt x="98" y="218"/>
                    </a:cubicBezTo>
                    <a:cubicBezTo>
                      <a:pt x="100" y="218"/>
                      <a:pt x="101" y="219"/>
                      <a:pt x="103" y="218"/>
                    </a:cubicBezTo>
                    <a:cubicBezTo>
                      <a:pt x="103" y="218"/>
                      <a:pt x="103" y="217"/>
                      <a:pt x="104" y="217"/>
                    </a:cubicBezTo>
                    <a:cubicBezTo>
                      <a:pt x="104" y="216"/>
                      <a:pt x="105" y="217"/>
                      <a:pt x="105" y="216"/>
                    </a:cubicBezTo>
                    <a:cubicBezTo>
                      <a:pt x="107" y="216"/>
                      <a:pt x="106" y="218"/>
                      <a:pt x="108" y="218"/>
                    </a:cubicBezTo>
                    <a:cubicBezTo>
                      <a:pt x="109" y="218"/>
                      <a:pt x="110" y="216"/>
                      <a:pt x="110" y="218"/>
                    </a:cubicBezTo>
                    <a:cubicBezTo>
                      <a:pt x="111" y="217"/>
                      <a:pt x="113" y="216"/>
                      <a:pt x="114" y="217"/>
                    </a:cubicBezTo>
                    <a:cubicBezTo>
                      <a:pt x="115" y="218"/>
                      <a:pt x="114" y="221"/>
                      <a:pt x="115" y="222"/>
                    </a:cubicBezTo>
                    <a:cubicBezTo>
                      <a:pt x="115" y="222"/>
                      <a:pt x="116" y="223"/>
                      <a:pt x="116" y="223"/>
                    </a:cubicBezTo>
                    <a:cubicBezTo>
                      <a:pt x="116" y="224"/>
                      <a:pt x="117" y="225"/>
                      <a:pt x="118" y="225"/>
                    </a:cubicBezTo>
                    <a:cubicBezTo>
                      <a:pt x="120" y="226"/>
                      <a:pt x="122" y="226"/>
                      <a:pt x="124" y="228"/>
                    </a:cubicBezTo>
                    <a:cubicBezTo>
                      <a:pt x="124" y="229"/>
                      <a:pt x="125" y="230"/>
                      <a:pt x="126" y="231"/>
                    </a:cubicBezTo>
                    <a:cubicBezTo>
                      <a:pt x="126" y="231"/>
                      <a:pt x="126" y="231"/>
                      <a:pt x="127" y="232"/>
                    </a:cubicBezTo>
                    <a:cubicBezTo>
                      <a:pt x="128" y="232"/>
                      <a:pt x="128" y="234"/>
                      <a:pt x="129" y="235"/>
                    </a:cubicBezTo>
                    <a:cubicBezTo>
                      <a:pt x="130" y="236"/>
                      <a:pt x="130" y="235"/>
                      <a:pt x="131" y="234"/>
                    </a:cubicBezTo>
                    <a:cubicBezTo>
                      <a:pt x="133" y="234"/>
                      <a:pt x="135" y="233"/>
                      <a:pt x="137" y="233"/>
                    </a:cubicBezTo>
                    <a:cubicBezTo>
                      <a:pt x="138" y="234"/>
                      <a:pt x="138" y="235"/>
                      <a:pt x="139" y="235"/>
                    </a:cubicBezTo>
                    <a:cubicBezTo>
                      <a:pt x="140" y="236"/>
                      <a:pt x="141" y="236"/>
                      <a:pt x="142" y="236"/>
                    </a:cubicBezTo>
                    <a:cubicBezTo>
                      <a:pt x="143" y="238"/>
                      <a:pt x="144" y="237"/>
                      <a:pt x="146" y="237"/>
                    </a:cubicBezTo>
                    <a:cubicBezTo>
                      <a:pt x="147" y="237"/>
                      <a:pt x="148" y="238"/>
                      <a:pt x="148" y="238"/>
                    </a:cubicBezTo>
                    <a:cubicBezTo>
                      <a:pt x="150" y="239"/>
                      <a:pt x="151" y="241"/>
                      <a:pt x="152" y="241"/>
                    </a:cubicBezTo>
                    <a:cubicBezTo>
                      <a:pt x="153" y="242"/>
                      <a:pt x="154" y="241"/>
                      <a:pt x="155" y="241"/>
                    </a:cubicBezTo>
                    <a:cubicBezTo>
                      <a:pt x="155" y="242"/>
                      <a:pt x="156" y="242"/>
                      <a:pt x="156" y="242"/>
                    </a:cubicBezTo>
                    <a:cubicBezTo>
                      <a:pt x="158" y="242"/>
                      <a:pt x="160" y="242"/>
                      <a:pt x="162" y="242"/>
                    </a:cubicBezTo>
                    <a:cubicBezTo>
                      <a:pt x="167" y="242"/>
                      <a:pt x="173" y="241"/>
                      <a:pt x="178" y="241"/>
                    </a:cubicBezTo>
                    <a:cubicBezTo>
                      <a:pt x="178" y="239"/>
                      <a:pt x="178" y="237"/>
                      <a:pt x="176" y="236"/>
                    </a:cubicBezTo>
                    <a:cubicBezTo>
                      <a:pt x="179" y="235"/>
                      <a:pt x="181" y="239"/>
                      <a:pt x="184" y="238"/>
                    </a:cubicBezTo>
                    <a:cubicBezTo>
                      <a:pt x="185" y="237"/>
                      <a:pt x="185" y="237"/>
                      <a:pt x="186" y="237"/>
                    </a:cubicBezTo>
                    <a:cubicBezTo>
                      <a:pt x="187" y="237"/>
                      <a:pt x="188" y="238"/>
                      <a:pt x="189" y="238"/>
                    </a:cubicBezTo>
                    <a:cubicBezTo>
                      <a:pt x="191" y="239"/>
                      <a:pt x="192" y="240"/>
                      <a:pt x="195" y="239"/>
                    </a:cubicBezTo>
                    <a:cubicBezTo>
                      <a:pt x="196" y="239"/>
                      <a:pt x="198" y="238"/>
                      <a:pt x="199" y="238"/>
                    </a:cubicBezTo>
                    <a:cubicBezTo>
                      <a:pt x="200" y="237"/>
                      <a:pt x="201" y="236"/>
                      <a:pt x="202" y="236"/>
                    </a:cubicBezTo>
                    <a:cubicBezTo>
                      <a:pt x="203" y="235"/>
                      <a:pt x="204" y="235"/>
                      <a:pt x="205" y="235"/>
                    </a:cubicBezTo>
                    <a:cubicBezTo>
                      <a:pt x="207" y="233"/>
                      <a:pt x="206" y="230"/>
                      <a:pt x="206" y="227"/>
                    </a:cubicBezTo>
                    <a:cubicBezTo>
                      <a:pt x="206" y="227"/>
                      <a:pt x="206" y="226"/>
                      <a:pt x="206" y="226"/>
                    </a:cubicBezTo>
                    <a:cubicBezTo>
                      <a:pt x="206" y="224"/>
                      <a:pt x="207" y="224"/>
                      <a:pt x="207" y="223"/>
                    </a:cubicBezTo>
                    <a:cubicBezTo>
                      <a:pt x="208" y="221"/>
                      <a:pt x="207" y="220"/>
                      <a:pt x="207" y="218"/>
                    </a:cubicBezTo>
                    <a:cubicBezTo>
                      <a:pt x="207" y="215"/>
                      <a:pt x="204" y="214"/>
                      <a:pt x="203" y="211"/>
                    </a:cubicBezTo>
                    <a:cubicBezTo>
                      <a:pt x="202" y="207"/>
                      <a:pt x="205" y="205"/>
                      <a:pt x="209" y="205"/>
                    </a:cubicBezTo>
                    <a:cubicBezTo>
                      <a:pt x="211" y="205"/>
                      <a:pt x="213" y="207"/>
                      <a:pt x="215" y="208"/>
                    </a:cubicBezTo>
                    <a:cubicBezTo>
                      <a:pt x="217" y="208"/>
                      <a:pt x="220" y="210"/>
                      <a:pt x="223" y="210"/>
                    </a:cubicBezTo>
                    <a:cubicBezTo>
                      <a:pt x="223" y="208"/>
                      <a:pt x="223" y="206"/>
                      <a:pt x="223" y="204"/>
                    </a:cubicBezTo>
                    <a:cubicBezTo>
                      <a:pt x="224" y="202"/>
                      <a:pt x="224" y="201"/>
                      <a:pt x="225" y="200"/>
                    </a:cubicBezTo>
                    <a:cubicBezTo>
                      <a:pt x="227" y="198"/>
                      <a:pt x="227" y="198"/>
                      <a:pt x="230" y="198"/>
                    </a:cubicBezTo>
                    <a:cubicBezTo>
                      <a:pt x="229" y="197"/>
                      <a:pt x="230" y="197"/>
                      <a:pt x="230" y="197"/>
                    </a:cubicBezTo>
                    <a:cubicBezTo>
                      <a:pt x="230" y="196"/>
                      <a:pt x="231" y="196"/>
                      <a:pt x="231" y="196"/>
                    </a:cubicBezTo>
                    <a:cubicBezTo>
                      <a:pt x="232" y="195"/>
                      <a:pt x="232" y="195"/>
                      <a:pt x="233" y="194"/>
                    </a:cubicBezTo>
                    <a:cubicBezTo>
                      <a:pt x="233" y="194"/>
                      <a:pt x="233" y="193"/>
                      <a:pt x="233" y="193"/>
                    </a:cubicBezTo>
                    <a:cubicBezTo>
                      <a:pt x="235" y="191"/>
                      <a:pt x="237" y="190"/>
                      <a:pt x="238" y="189"/>
                    </a:cubicBezTo>
                    <a:cubicBezTo>
                      <a:pt x="240" y="189"/>
                      <a:pt x="242" y="189"/>
                      <a:pt x="244" y="188"/>
                    </a:cubicBezTo>
                    <a:cubicBezTo>
                      <a:pt x="245" y="188"/>
                      <a:pt x="246" y="187"/>
                      <a:pt x="247" y="187"/>
                    </a:cubicBezTo>
                    <a:cubicBezTo>
                      <a:pt x="249" y="188"/>
                      <a:pt x="249" y="188"/>
                      <a:pt x="251" y="187"/>
                    </a:cubicBezTo>
                    <a:cubicBezTo>
                      <a:pt x="254" y="185"/>
                      <a:pt x="256" y="183"/>
                      <a:pt x="260" y="181"/>
                    </a:cubicBezTo>
                    <a:cubicBezTo>
                      <a:pt x="262" y="180"/>
                      <a:pt x="263" y="177"/>
                      <a:pt x="266" y="179"/>
                    </a:cubicBezTo>
                    <a:cubicBezTo>
                      <a:pt x="268" y="180"/>
                      <a:pt x="270" y="183"/>
                      <a:pt x="273" y="183"/>
                    </a:cubicBezTo>
                    <a:cubicBezTo>
                      <a:pt x="275" y="183"/>
                      <a:pt x="276" y="182"/>
                      <a:pt x="277" y="183"/>
                    </a:cubicBezTo>
                    <a:cubicBezTo>
                      <a:pt x="278" y="183"/>
                      <a:pt x="278" y="184"/>
                      <a:pt x="279" y="185"/>
                    </a:cubicBezTo>
                    <a:cubicBezTo>
                      <a:pt x="281" y="185"/>
                      <a:pt x="281" y="185"/>
                      <a:pt x="282" y="187"/>
                    </a:cubicBezTo>
                    <a:cubicBezTo>
                      <a:pt x="283" y="188"/>
                      <a:pt x="285" y="190"/>
                      <a:pt x="286" y="191"/>
                    </a:cubicBezTo>
                    <a:cubicBezTo>
                      <a:pt x="287" y="193"/>
                      <a:pt x="286" y="193"/>
                      <a:pt x="288" y="193"/>
                    </a:cubicBezTo>
                    <a:cubicBezTo>
                      <a:pt x="290" y="193"/>
                      <a:pt x="291" y="192"/>
                      <a:pt x="292" y="192"/>
                    </a:cubicBezTo>
                    <a:cubicBezTo>
                      <a:pt x="294" y="191"/>
                      <a:pt x="296" y="190"/>
                      <a:pt x="298" y="190"/>
                    </a:cubicBezTo>
                    <a:cubicBezTo>
                      <a:pt x="301" y="190"/>
                      <a:pt x="303" y="189"/>
                      <a:pt x="306" y="188"/>
                    </a:cubicBezTo>
                    <a:cubicBezTo>
                      <a:pt x="308" y="188"/>
                      <a:pt x="309" y="189"/>
                      <a:pt x="310" y="189"/>
                    </a:cubicBezTo>
                    <a:cubicBezTo>
                      <a:pt x="311" y="189"/>
                      <a:pt x="314" y="189"/>
                      <a:pt x="315" y="188"/>
                    </a:cubicBezTo>
                    <a:cubicBezTo>
                      <a:pt x="316" y="187"/>
                      <a:pt x="315" y="182"/>
                      <a:pt x="314" y="181"/>
                    </a:cubicBezTo>
                    <a:cubicBezTo>
                      <a:pt x="313" y="181"/>
                      <a:pt x="312" y="181"/>
                      <a:pt x="311" y="180"/>
                    </a:cubicBezTo>
                    <a:cubicBezTo>
                      <a:pt x="309" y="179"/>
                      <a:pt x="308" y="177"/>
                      <a:pt x="307" y="175"/>
                    </a:cubicBezTo>
                    <a:cubicBezTo>
                      <a:pt x="305" y="173"/>
                      <a:pt x="303" y="171"/>
                      <a:pt x="302" y="169"/>
                    </a:cubicBezTo>
                    <a:cubicBezTo>
                      <a:pt x="301" y="168"/>
                      <a:pt x="300" y="167"/>
                      <a:pt x="301" y="166"/>
                    </a:cubicBezTo>
                    <a:cubicBezTo>
                      <a:pt x="301" y="167"/>
                      <a:pt x="302" y="165"/>
                      <a:pt x="302" y="165"/>
                    </a:cubicBezTo>
                    <a:cubicBezTo>
                      <a:pt x="303" y="165"/>
                      <a:pt x="304" y="164"/>
                      <a:pt x="304" y="164"/>
                    </a:cubicBezTo>
                    <a:cubicBezTo>
                      <a:pt x="305" y="163"/>
                      <a:pt x="305" y="162"/>
                      <a:pt x="304" y="161"/>
                    </a:cubicBezTo>
                    <a:cubicBezTo>
                      <a:pt x="304" y="159"/>
                      <a:pt x="302" y="158"/>
                      <a:pt x="301" y="156"/>
                    </a:cubicBezTo>
                    <a:cubicBezTo>
                      <a:pt x="301" y="155"/>
                      <a:pt x="302" y="154"/>
                      <a:pt x="300" y="154"/>
                    </a:cubicBezTo>
                    <a:cubicBezTo>
                      <a:pt x="298" y="153"/>
                      <a:pt x="297" y="154"/>
                      <a:pt x="295" y="153"/>
                    </a:cubicBezTo>
                    <a:cubicBezTo>
                      <a:pt x="294" y="152"/>
                      <a:pt x="293" y="151"/>
                      <a:pt x="292" y="150"/>
                    </a:cubicBezTo>
                    <a:cubicBezTo>
                      <a:pt x="291" y="149"/>
                      <a:pt x="286" y="146"/>
                      <a:pt x="285" y="147"/>
                    </a:cubicBezTo>
                    <a:cubicBezTo>
                      <a:pt x="284" y="147"/>
                      <a:pt x="284" y="148"/>
                      <a:pt x="284" y="148"/>
                    </a:cubicBezTo>
                    <a:cubicBezTo>
                      <a:pt x="283" y="148"/>
                      <a:pt x="282" y="148"/>
                      <a:pt x="282" y="148"/>
                    </a:cubicBezTo>
                    <a:cubicBezTo>
                      <a:pt x="281" y="146"/>
                      <a:pt x="281" y="145"/>
                      <a:pt x="283" y="144"/>
                    </a:cubicBezTo>
                    <a:cubicBezTo>
                      <a:pt x="284" y="144"/>
                      <a:pt x="285" y="143"/>
                      <a:pt x="286" y="143"/>
                    </a:cubicBezTo>
                    <a:cubicBezTo>
                      <a:pt x="287" y="142"/>
                      <a:pt x="289" y="143"/>
                      <a:pt x="290" y="143"/>
                    </a:cubicBezTo>
                    <a:cubicBezTo>
                      <a:pt x="292" y="142"/>
                      <a:pt x="291" y="142"/>
                      <a:pt x="292" y="140"/>
                    </a:cubicBezTo>
                    <a:cubicBezTo>
                      <a:pt x="292" y="139"/>
                      <a:pt x="292" y="138"/>
                      <a:pt x="293" y="137"/>
                    </a:cubicBezTo>
                    <a:cubicBezTo>
                      <a:pt x="293" y="136"/>
                      <a:pt x="293" y="134"/>
                      <a:pt x="294" y="135"/>
                    </a:cubicBezTo>
                    <a:cubicBezTo>
                      <a:pt x="295" y="136"/>
                      <a:pt x="297" y="138"/>
                      <a:pt x="298" y="138"/>
                    </a:cubicBezTo>
                    <a:cubicBezTo>
                      <a:pt x="300" y="138"/>
                      <a:pt x="299" y="136"/>
                      <a:pt x="299" y="135"/>
                    </a:cubicBezTo>
                    <a:cubicBezTo>
                      <a:pt x="299" y="134"/>
                      <a:pt x="299" y="133"/>
                      <a:pt x="299" y="132"/>
                    </a:cubicBezTo>
                    <a:cubicBezTo>
                      <a:pt x="299" y="130"/>
                      <a:pt x="300" y="131"/>
                      <a:pt x="301" y="131"/>
                    </a:cubicBezTo>
                    <a:cubicBezTo>
                      <a:pt x="303" y="131"/>
                      <a:pt x="305" y="130"/>
                      <a:pt x="306" y="128"/>
                    </a:cubicBezTo>
                    <a:cubicBezTo>
                      <a:pt x="306" y="126"/>
                      <a:pt x="304" y="125"/>
                      <a:pt x="304" y="123"/>
                    </a:cubicBezTo>
                    <a:cubicBezTo>
                      <a:pt x="307" y="123"/>
                      <a:pt x="310" y="123"/>
                      <a:pt x="312" y="122"/>
                    </a:cubicBezTo>
                    <a:cubicBezTo>
                      <a:pt x="313" y="121"/>
                      <a:pt x="313" y="121"/>
                      <a:pt x="313" y="121"/>
                    </a:cubicBezTo>
                    <a:cubicBezTo>
                      <a:pt x="313" y="120"/>
                      <a:pt x="313" y="120"/>
                      <a:pt x="312" y="120"/>
                    </a:cubicBezTo>
                    <a:cubicBezTo>
                      <a:pt x="312" y="119"/>
                      <a:pt x="312" y="119"/>
                      <a:pt x="312" y="118"/>
                    </a:cubicBezTo>
                    <a:cubicBezTo>
                      <a:pt x="311" y="117"/>
                      <a:pt x="311" y="117"/>
                      <a:pt x="310" y="116"/>
                    </a:cubicBezTo>
                    <a:cubicBezTo>
                      <a:pt x="310" y="116"/>
                      <a:pt x="310" y="114"/>
                      <a:pt x="310" y="114"/>
                    </a:cubicBezTo>
                    <a:cubicBezTo>
                      <a:pt x="310" y="112"/>
                      <a:pt x="310" y="110"/>
                      <a:pt x="310" y="108"/>
                    </a:cubicBezTo>
                    <a:cubicBezTo>
                      <a:pt x="310" y="107"/>
                      <a:pt x="311" y="107"/>
                      <a:pt x="310" y="106"/>
                    </a:cubicBezTo>
                    <a:cubicBezTo>
                      <a:pt x="310" y="105"/>
                      <a:pt x="310" y="105"/>
                      <a:pt x="310" y="104"/>
                    </a:cubicBezTo>
                    <a:cubicBezTo>
                      <a:pt x="310" y="103"/>
                      <a:pt x="310" y="102"/>
                      <a:pt x="311" y="101"/>
                    </a:cubicBezTo>
                    <a:cubicBezTo>
                      <a:pt x="312" y="100"/>
                      <a:pt x="313" y="98"/>
                      <a:pt x="314" y="96"/>
                    </a:cubicBezTo>
                    <a:cubicBezTo>
                      <a:pt x="315" y="94"/>
                      <a:pt x="315" y="92"/>
                      <a:pt x="314" y="90"/>
                    </a:cubicBezTo>
                    <a:cubicBezTo>
                      <a:pt x="313" y="88"/>
                      <a:pt x="314" y="87"/>
                      <a:pt x="315" y="85"/>
                    </a:cubicBezTo>
                    <a:cubicBezTo>
                      <a:pt x="316" y="84"/>
                      <a:pt x="316" y="82"/>
                      <a:pt x="318" y="80"/>
                    </a:cubicBezTo>
                    <a:cubicBezTo>
                      <a:pt x="318" y="80"/>
                      <a:pt x="318" y="79"/>
                      <a:pt x="318" y="79"/>
                    </a:cubicBezTo>
                    <a:cubicBezTo>
                      <a:pt x="319" y="79"/>
                      <a:pt x="319" y="79"/>
                      <a:pt x="319" y="78"/>
                    </a:cubicBezTo>
                    <a:cubicBezTo>
                      <a:pt x="319" y="78"/>
                      <a:pt x="320" y="76"/>
                      <a:pt x="320" y="76"/>
                    </a:cubicBezTo>
                    <a:cubicBezTo>
                      <a:pt x="322" y="75"/>
                      <a:pt x="325" y="76"/>
                      <a:pt x="327" y="76"/>
                    </a:cubicBezTo>
                    <a:cubicBezTo>
                      <a:pt x="329" y="76"/>
                      <a:pt x="330" y="77"/>
                      <a:pt x="332" y="77"/>
                    </a:cubicBezTo>
                    <a:cubicBezTo>
                      <a:pt x="333" y="77"/>
                      <a:pt x="334" y="77"/>
                      <a:pt x="335" y="77"/>
                    </a:cubicBezTo>
                    <a:cubicBezTo>
                      <a:pt x="336" y="77"/>
                      <a:pt x="336" y="77"/>
                      <a:pt x="337" y="75"/>
                    </a:cubicBezTo>
                    <a:cubicBezTo>
                      <a:pt x="338" y="75"/>
                      <a:pt x="338" y="74"/>
                      <a:pt x="339" y="74"/>
                    </a:cubicBezTo>
                    <a:cubicBezTo>
                      <a:pt x="341" y="74"/>
                      <a:pt x="343" y="76"/>
                      <a:pt x="345" y="76"/>
                    </a:cubicBezTo>
                    <a:cubicBezTo>
                      <a:pt x="347" y="76"/>
                      <a:pt x="348" y="74"/>
                      <a:pt x="348" y="72"/>
                    </a:cubicBezTo>
                    <a:cubicBezTo>
                      <a:pt x="349" y="72"/>
                      <a:pt x="351" y="73"/>
                      <a:pt x="352" y="73"/>
                    </a:cubicBezTo>
                    <a:cubicBezTo>
                      <a:pt x="352" y="74"/>
                      <a:pt x="353" y="75"/>
                      <a:pt x="354" y="74"/>
                    </a:cubicBezTo>
                    <a:cubicBezTo>
                      <a:pt x="355" y="74"/>
                      <a:pt x="356" y="69"/>
                      <a:pt x="356" y="69"/>
                    </a:cubicBezTo>
                    <a:cubicBezTo>
                      <a:pt x="357" y="67"/>
                      <a:pt x="357" y="64"/>
                      <a:pt x="357" y="6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85" name="Freeform 34">
                <a:extLst>
                  <a:ext uri="{FF2B5EF4-FFF2-40B4-BE49-F238E27FC236}">
                    <a16:creationId xmlns:a16="http://schemas.microsoft.com/office/drawing/2014/main" id="{317E1109-2A66-4437-9796-3A4BB59B2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8938" y="4814888"/>
                <a:ext cx="981075" cy="717550"/>
              </a:xfrm>
              <a:custGeom>
                <a:avLst/>
                <a:gdLst/>
                <a:ahLst/>
                <a:cxnLst>
                  <a:cxn ang="0">
                    <a:pos x="474" y="252"/>
                  </a:cxn>
                  <a:cxn ang="0">
                    <a:pos x="437" y="239"/>
                  </a:cxn>
                  <a:cxn ang="0">
                    <a:pos x="438" y="138"/>
                  </a:cxn>
                  <a:cxn ang="0">
                    <a:pos x="412" y="87"/>
                  </a:cxn>
                  <a:cxn ang="0">
                    <a:pos x="392" y="65"/>
                  </a:cxn>
                  <a:cxn ang="0">
                    <a:pos x="379" y="32"/>
                  </a:cxn>
                  <a:cxn ang="0">
                    <a:pos x="336" y="10"/>
                  </a:cxn>
                  <a:cxn ang="0">
                    <a:pos x="295" y="30"/>
                  </a:cxn>
                  <a:cxn ang="0">
                    <a:pos x="245" y="34"/>
                  </a:cxn>
                  <a:cxn ang="0">
                    <a:pos x="212" y="27"/>
                  </a:cxn>
                  <a:cxn ang="0">
                    <a:pos x="175" y="24"/>
                  </a:cxn>
                  <a:cxn ang="0">
                    <a:pos x="145" y="27"/>
                  </a:cxn>
                  <a:cxn ang="0">
                    <a:pos x="125" y="42"/>
                  </a:cxn>
                  <a:cxn ang="0">
                    <a:pos x="107" y="53"/>
                  </a:cxn>
                  <a:cxn ang="0">
                    <a:pos x="102" y="62"/>
                  </a:cxn>
                  <a:cxn ang="0">
                    <a:pos x="94" y="76"/>
                  </a:cxn>
                  <a:cxn ang="0">
                    <a:pos x="80" y="102"/>
                  </a:cxn>
                  <a:cxn ang="0">
                    <a:pos x="73" y="123"/>
                  </a:cxn>
                  <a:cxn ang="0">
                    <a:pos x="64" y="133"/>
                  </a:cxn>
                  <a:cxn ang="0">
                    <a:pos x="54" y="149"/>
                  </a:cxn>
                  <a:cxn ang="0">
                    <a:pos x="48" y="159"/>
                  </a:cxn>
                  <a:cxn ang="0">
                    <a:pos x="34" y="165"/>
                  </a:cxn>
                  <a:cxn ang="0">
                    <a:pos x="5" y="182"/>
                  </a:cxn>
                  <a:cxn ang="0">
                    <a:pos x="19" y="199"/>
                  </a:cxn>
                  <a:cxn ang="0">
                    <a:pos x="29" y="210"/>
                  </a:cxn>
                  <a:cxn ang="0">
                    <a:pos x="31" y="231"/>
                  </a:cxn>
                  <a:cxn ang="0">
                    <a:pos x="61" y="246"/>
                  </a:cxn>
                  <a:cxn ang="0">
                    <a:pos x="61" y="260"/>
                  </a:cxn>
                  <a:cxn ang="0">
                    <a:pos x="65" y="273"/>
                  </a:cxn>
                  <a:cxn ang="0">
                    <a:pos x="61" y="285"/>
                  </a:cxn>
                  <a:cxn ang="0">
                    <a:pos x="71" y="292"/>
                  </a:cxn>
                  <a:cxn ang="0">
                    <a:pos x="94" y="305"/>
                  </a:cxn>
                  <a:cxn ang="0">
                    <a:pos x="107" y="299"/>
                  </a:cxn>
                  <a:cxn ang="0">
                    <a:pos x="122" y="309"/>
                  </a:cxn>
                  <a:cxn ang="0">
                    <a:pos x="119" y="318"/>
                  </a:cxn>
                  <a:cxn ang="0">
                    <a:pos x="132" y="335"/>
                  </a:cxn>
                  <a:cxn ang="0">
                    <a:pos x="138" y="365"/>
                  </a:cxn>
                  <a:cxn ang="0">
                    <a:pos x="185" y="369"/>
                  </a:cxn>
                  <a:cxn ang="0">
                    <a:pos x="221" y="378"/>
                  </a:cxn>
                  <a:cxn ang="0">
                    <a:pos x="263" y="378"/>
                  </a:cxn>
                  <a:cxn ang="0">
                    <a:pos x="290" y="381"/>
                  </a:cxn>
                  <a:cxn ang="0">
                    <a:pos x="308" y="364"/>
                  </a:cxn>
                  <a:cxn ang="0">
                    <a:pos x="344" y="350"/>
                  </a:cxn>
                  <a:cxn ang="0">
                    <a:pos x="382" y="347"/>
                  </a:cxn>
                  <a:cxn ang="0">
                    <a:pos x="399" y="355"/>
                  </a:cxn>
                  <a:cxn ang="0">
                    <a:pos x="414" y="360"/>
                  </a:cxn>
                  <a:cxn ang="0">
                    <a:pos x="426" y="368"/>
                  </a:cxn>
                  <a:cxn ang="0">
                    <a:pos x="446" y="379"/>
                  </a:cxn>
                  <a:cxn ang="0">
                    <a:pos x="458" y="366"/>
                  </a:cxn>
                  <a:cxn ang="0">
                    <a:pos x="468" y="316"/>
                  </a:cxn>
                  <a:cxn ang="0">
                    <a:pos x="476" y="294"/>
                  </a:cxn>
                  <a:cxn ang="0">
                    <a:pos x="491" y="289"/>
                  </a:cxn>
                  <a:cxn ang="0">
                    <a:pos x="518" y="280"/>
                  </a:cxn>
                </a:cxnLst>
                <a:rect l="0" t="0" r="r" b="b"/>
                <a:pathLst>
                  <a:path w="525" h="384">
                    <a:moveTo>
                      <a:pt x="525" y="255"/>
                    </a:moveTo>
                    <a:cubicBezTo>
                      <a:pt x="525" y="252"/>
                      <a:pt x="515" y="249"/>
                      <a:pt x="512" y="247"/>
                    </a:cubicBezTo>
                    <a:cubicBezTo>
                      <a:pt x="507" y="244"/>
                      <a:pt x="503" y="241"/>
                      <a:pt x="496" y="243"/>
                    </a:cubicBezTo>
                    <a:cubicBezTo>
                      <a:pt x="493" y="243"/>
                      <a:pt x="493" y="244"/>
                      <a:pt x="491" y="246"/>
                    </a:cubicBezTo>
                    <a:cubicBezTo>
                      <a:pt x="490" y="247"/>
                      <a:pt x="487" y="249"/>
                      <a:pt x="483" y="250"/>
                    </a:cubicBezTo>
                    <a:cubicBezTo>
                      <a:pt x="478" y="252"/>
                      <a:pt x="476" y="252"/>
                      <a:pt x="474" y="252"/>
                    </a:cubicBezTo>
                    <a:cubicBezTo>
                      <a:pt x="472" y="252"/>
                      <a:pt x="470" y="251"/>
                      <a:pt x="468" y="252"/>
                    </a:cubicBezTo>
                    <a:cubicBezTo>
                      <a:pt x="467" y="252"/>
                      <a:pt x="467" y="255"/>
                      <a:pt x="466" y="256"/>
                    </a:cubicBezTo>
                    <a:cubicBezTo>
                      <a:pt x="463" y="259"/>
                      <a:pt x="462" y="257"/>
                      <a:pt x="459" y="256"/>
                    </a:cubicBezTo>
                    <a:cubicBezTo>
                      <a:pt x="457" y="254"/>
                      <a:pt x="455" y="253"/>
                      <a:pt x="453" y="252"/>
                    </a:cubicBezTo>
                    <a:cubicBezTo>
                      <a:pt x="451" y="252"/>
                      <a:pt x="445" y="249"/>
                      <a:pt x="443" y="248"/>
                    </a:cubicBezTo>
                    <a:cubicBezTo>
                      <a:pt x="443" y="247"/>
                      <a:pt x="438" y="239"/>
                      <a:pt x="437" y="239"/>
                    </a:cubicBezTo>
                    <a:cubicBezTo>
                      <a:pt x="433" y="234"/>
                      <a:pt x="428" y="230"/>
                      <a:pt x="432" y="223"/>
                    </a:cubicBezTo>
                    <a:cubicBezTo>
                      <a:pt x="433" y="219"/>
                      <a:pt x="433" y="211"/>
                      <a:pt x="431" y="208"/>
                    </a:cubicBezTo>
                    <a:cubicBezTo>
                      <a:pt x="429" y="204"/>
                      <a:pt x="430" y="191"/>
                      <a:pt x="430" y="185"/>
                    </a:cubicBezTo>
                    <a:cubicBezTo>
                      <a:pt x="431" y="175"/>
                      <a:pt x="433" y="171"/>
                      <a:pt x="437" y="161"/>
                    </a:cubicBezTo>
                    <a:cubicBezTo>
                      <a:pt x="438" y="159"/>
                      <a:pt x="439" y="151"/>
                      <a:pt x="437" y="148"/>
                    </a:cubicBezTo>
                    <a:cubicBezTo>
                      <a:pt x="436" y="146"/>
                      <a:pt x="438" y="141"/>
                      <a:pt x="438" y="138"/>
                    </a:cubicBezTo>
                    <a:cubicBezTo>
                      <a:pt x="438" y="136"/>
                      <a:pt x="434" y="130"/>
                      <a:pt x="434" y="128"/>
                    </a:cubicBezTo>
                    <a:cubicBezTo>
                      <a:pt x="432" y="125"/>
                      <a:pt x="434" y="121"/>
                      <a:pt x="431" y="121"/>
                    </a:cubicBezTo>
                    <a:cubicBezTo>
                      <a:pt x="427" y="121"/>
                      <a:pt x="424" y="119"/>
                      <a:pt x="422" y="115"/>
                    </a:cubicBezTo>
                    <a:cubicBezTo>
                      <a:pt x="420" y="112"/>
                      <a:pt x="421" y="109"/>
                      <a:pt x="421" y="106"/>
                    </a:cubicBezTo>
                    <a:cubicBezTo>
                      <a:pt x="420" y="101"/>
                      <a:pt x="419" y="96"/>
                      <a:pt x="416" y="92"/>
                    </a:cubicBezTo>
                    <a:cubicBezTo>
                      <a:pt x="414" y="91"/>
                      <a:pt x="414" y="90"/>
                      <a:pt x="412" y="87"/>
                    </a:cubicBezTo>
                    <a:cubicBezTo>
                      <a:pt x="411" y="86"/>
                      <a:pt x="409" y="85"/>
                      <a:pt x="408" y="84"/>
                    </a:cubicBezTo>
                    <a:cubicBezTo>
                      <a:pt x="407" y="83"/>
                      <a:pt x="406" y="81"/>
                      <a:pt x="405" y="79"/>
                    </a:cubicBezTo>
                    <a:cubicBezTo>
                      <a:pt x="403" y="77"/>
                      <a:pt x="403" y="73"/>
                      <a:pt x="401" y="72"/>
                    </a:cubicBezTo>
                    <a:cubicBezTo>
                      <a:pt x="399" y="70"/>
                      <a:pt x="396" y="70"/>
                      <a:pt x="394" y="68"/>
                    </a:cubicBezTo>
                    <a:cubicBezTo>
                      <a:pt x="394" y="68"/>
                      <a:pt x="395" y="67"/>
                      <a:pt x="394" y="67"/>
                    </a:cubicBezTo>
                    <a:cubicBezTo>
                      <a:pt x="394" y="66"/>
                      <a:pt x="393" y="66"/>
                      <a:pt x="392" y="65"/>
                    </a:cubicBezTo>
                    <a:cubicBezTo>
                      <a:pt x="391" y="65"/>
                      <a:pt x="392" y="64"/>
                      <a:pt x="391" y="63"/>
                    </a:cubicBezTo>
                    <a:cubicBezTo>
                      <a:pt x="391" y="62"/>
                      <a:pt x="390" y="62"/>
                      <a:pt x="390" y="60"/>
                    </a:cubicBezTo>
                    <a:cubicBezTo>
                      <a:pt x="389" y="59"/>
                      <a:pt x="390" y="58"/>
                      <a:pt x="390" y="57"/>
                    </a:cubicBezTo>
                    <a:cubicBezTo>
                      <a:pt x="390" y="53"/>
                      <a:pt x="390" y="49"/>
                      <a:pt x="388" y="46"/>
                    </a:cubicBezTo>
                    <a:cubicBezTo>
                      <a:pt x="386" y="42"/>
                      <a:pt x="383" y="40"/>
                      <a:pt x="381" y="37"/>
                    </a:cubicBezTo>
                    <a:cubicBezTo>
                      <a:pt x="380" y="36"/>
                      <a:pt x="380" y="34"/>
                      <a:pt x="379" y="32"/>
                    </a:cubicBezTo>
                    <a:cubicBezTo>
                      <a:pt x="378" y="27"/>
                      <a:pt x="374" y="26"/>
                      <a:pt x="372" y="22"/>
                    </a:cubicBezTo>
                    <a:cubicBezTo>
                      <a:pt x="369" y="19"/>
                      <a:pt x="367" y="17"/>
                      <a:pt x="365" y="14"/>
                    </a:cubicBezTo>
                    <a:cubicBezTo>
                      <a:pt x="362" y="10"/>
                      <a:pt x="361" y="4"/>
                      <a:pt x="357" y="2"/>
                    </a:cubicBezTo>
                    <a:cubicBezTo>
                      <a:pt x="353" y="0"/>
                      <a:pt x="348" y="5"/>
                      <a:pt x="344" y="6"/>
                    </a:cubicBezTo>
                    <a:cubicBezTo>
                      <a:pt x="344" y="6"/>
                      <a:pt x="344" y="6"/>
                      <a:pt x="344" y="6"/>
                    </a:cubicBezTo>
                    <a:cubicBezTo>
                      <a:pt x="341" y="7"/>
                      <a:pt x="339" y="8"/>
                      <a:pt x="336" y="10"/>
                    </a:cubicBezTo>
                    <a:cubicBezTo>
                      <a:pt x="333" y="11"/>
                      <a:pt x="329" y="13"/>
                      <a:pt x="328" y="16"/>
                    </a:cubicBezTo>
                    <a:cubicBezTo>
                      <a:pt x="326" y="18"/>
                      <a:pt x="326" y="21"/>
                      <a:pt x="324" y="23"/>
                    </a:cubicBezTo>
                    <a:cubicBezTo>
                      <a:pt x="322" y="26"/>
                      <a:pt x="321" y="25"/>
                      <a:pt x="317" y="25"/>
                    </a:cubicBezTo>
                    <a:cubicBezTo>
                      <a:pt x="313" y="25"/>
                      <a:pt x="308" y="27"/>
                      <a:pt x="303" y="27"/>
                    </a:cubicBezTo>
                    <a:cubicBezTo>
                      <a:pt x="301" y="27"/>
                      <a:pt x="298" y="28"/>
                      <a:pt x="296" y="29"/>
                    </a:cubicBezTo>
                    <a:cubicBezTo>
                      <a:pt x="296" y="29"/>
                      <a:pt x="296" y="30"/>
                      <a:pt x="295" y="30"/>
                    </a:cubicBezTo>
                    <a:cubicBezTo>
                      <a:pt x="295" y="30"/>
                      <a:pt x="293" y="30"/>
                      <a:pt x="293" y="30"/>
                    </a:cubicBezTo>
                    <a:cubicBezTo>
                      <a:pt x="287" y="30"/>
                      <a:pt x="281" y="30"/>
                      <a:pt x="276" y="30"/>
                    </a:cubicBezTo>
                    <a:cubicBezTo>
                      <a:pt x="272" y="30"/>
                      <a:pt x="271" y="32"/>
                      <a:pt x="269" y="35"/>
                    </a:cubicBezTo>
                    <a:cubicBezTo>
                      <a:pt x="268" y="37"/>
                      <a:pt x="267" y="41"/>
                      <a:pt x="264" y="42"/>
                    </a:cubicBezTo>
                    <a:cubicBezTo>
                      <a:pt x="259" y="44"/>
                      <a:pt x="253" y="42"/>
                      <a:pt x="249" y="39"/>
                    </a:cubicBezTo>
                    <a:cubicBezTo>
                      <a:pt x="247" y="37"/>
                      <a:pt x="246" y="35"/>
                      <a:pt x="245" y="34"/>
                    </a:cubicBezTo>
                    <a:cubicBezTo>
                      <a:pt x="244" y="33"/>
                      <a:pt x="242" y="32"/>
                      <a:pt x="241" y="31"/>
                    </a:cubicBezTo>
                    <a:cubicBezTo>
                      <a:pt x="240" y="30"/>
                      <a:pt x="241" y="29"/>
                      <a:pt x="238" y="29"/>
                    </a:cubicBezTo>
                    <a:cubicBezTo>
                      <a:pt x="239" y="25"/>
                      <a:pt x="229" y="29"/>
                      <a:pt x="228" y="29"/>
                    </a:cubicBezTo>
                    <a:cubicBezTo>
                      <a:pt x="223" y="31"/>
                      <a:pt x="220" y="31"/>
                      <a:pt x="216" y="29"/>
                    </a:cubicBezTo>
                    <a:cubicBezTo>
                      <a:pt x="215" y="29"/>
                      <a:pt x="214" y="29"/>
                      <a:pt x="214" y="29"/>
                    </a:cubicBezTo>
                    <a:cubicBezTo>
                      <a:pt x="213" y="29"/>
                      <a:pt x="213" y="28"/>
                      <a:pt x="212" y="27"/>
                    </a:cubicBezTo>
                    <a:cubicBezTo>
                      <a:pt x="210" y="26"/>
                      <a:pt x="205" y="26"/>
                      <a:pt x="203" y="26"/>
                    </a:cubicBezTo>
                    <a:cubicBezTo>
                      <a:pt x="201" y="26"/>
                      <a:pt x="199" y="26"/>
                      <a:pt x="197" y="26"/>
                    </a:cubicBezTo>
                    <a:cubicBezTo>
                      <a:pt x="195" y="26"/>
                      <a:pt x="195" y="27"/>
                      <a:pt x="194" y="29"/>
                    </a:cubicBezTo>
                    <a:cubicBezTo>
                      <a:pt x="194" y="28"/>
                      <a:pt x="192" y="24"/>
                      <a:pt x="191" y="24"/>
                    </a:cubicBezTo>
                    <a:cubicBezTo>
                      <a:pt x="189" y="22"/>
                      <a:pt x="187" y="23"/>
                      <a:pt x="186" y="23"/>
                    </a:cubicBezTo>
                    <a:cubicBezTo>
                      <a:pt x="182" y="23"/>
                      <a:pt x="179" y="24"/>
                      <a:pt x="175" y="24"/>
                    </a:cubicBezTo>
                    <a:cubicBezTo>
                      <a:pt x="171" y="23"/>
                      <a:pt x="172" y="21"/>
                      <a:pt x="170" y="18"/>
                    </a:cubicBezTo>
                    <a:cubicBezTo>
                      <a:pt x="168" y="16"/>
                      <a:pt x="165" y="15"/>
                      <a:pt x="162" y="17"/>
                    </a:cubicBezTo>
                    <a:cubicBezTo>
                      <a:pt x="160" y="18"/>
                      <a:pt x="159" y="19"/>
                      <a:pt x="158" y="20"/>
                    </a:cubicBezTo>
                    <a:cubicBezTo>
                      <a:pt x="157" y="21"/>
                      <a:pt x="156" y="22"/>
                      <a:pt x="155" y="23"/>
                    </a:cubicBezTo>
                    <a:cubicBezTo>
                      <a:pt x="152" y="24"/>
                      <a:pt x="148" y="22"/>
                      <a:pt x="145" y="23"/>
                    </a:cubicBezTo>
                    <a:cubicBezTo>
                      <a:pt x="145" y="24"/>
                      <a:pt x="145" y="25"/>
                      <a:pt x="145" y="27"/>
                    </a:cubicBezTo>
                    <a:cubicBezTo>
                      <a:pt x="143" y="27"/>
                      <a:pt x="142" y="28"/>
                      <a:pt x="142" y="30"/>
                    </a:cubicBezTo>
                    <a:cubicBezTo>
                      <a:pt x="141" y="31"/>
                      <a:pt x="142" y="32"/>
                      <a:pt x="141" y="33"/>
                    </a:cubicBezTo>
                    <a:cubicBezTo>
                      <a:pt x="141" y="33"/>
                      <a:pt x="140" y="34"/>
                      <a:pt x="140" y="35"/>
                    </a:cubicBezTo>
                    <a:cubicBezTo>
                      <a:pt x="138" y="35"/>
                      <a:pt x="135" y="37"/>
                      <a:pt x="133" y="39"/>
                    </a:cubicBezTo>
                    <a:cubicBezTo>
                      <a:pt x="133" y="40"/>
                      <a:pt x="133" y="41"/>
                      <a:pt x="132" y="42"/>
                    </a:cubicBezTo>
                    <a:cubicBezTo>
                      <a:pt x="130" y="43"/>
                      <a:pt x="127" y="42"/>
                      <a:pt x="125" y="42"/>
                    </a:cubicBezTo>
                    <a:cubicBezTo>
                      <a:pt x="124" y="42"/>
                      <a:pt x="124" y="43"/>
                      <a:pt x="122" y="43"/>
                    </a:cubicBezTo>
                    <a:cubicBezTo>
                      <a:pt x="121" y="43"/>
                      <a:pt x="120" y="43"/>
                      <a:pt x="119" y="45"/>
                    </a:cubicBezTo>
                    <a:cubicBezTo>
                      <a:pt x="118" y="46"/>
                      <a:pt x="118" y="47"/>
                      <a:pt x="116" y="48"/>
                    </a:cubicBezTo>
                    <a:cubicBezTo>
                      <a:pt x="115" y="48"/>
                      <a:pt x="113" y="48"/>
                      <a:pt x="112" y="48"/>
                    </a:cubicBezTo>
                    <a:cubicBezTo>
                      <a:pt x="110" y="48"/>
                      <a:pt x="110" y="48"/>
                      <a:pt x="109" y="50"/>
                    </a:cubicBezTo>
                    <a:cubicBezTo>
                      <a:pt x="108" y="51"/>
                      <a:pt x="108" y="52"/>
                      <a:pt x="107" y="53"/>
                    </a:cubicBezTo>
                    <a:cubicBezTo>
                      <a:pt x="106" y="53"/>
                      <a:pt x="106" y="54"/>
                      <a:pt x="106" y="55"/>
                    </a:cubicBezTo>
                    <a:cubicBezTo>
                      <a:pt x="105" y="55"/>
                      <a:pt x="105" y="55"/>
                      <a:pt x="104" y="56"/>
                    </a:cubicBezTo>
                    <a:cubicBezTo>
                      <a:pt x="104" y="57"/>
                      <a:pt x="105" y="58"/>
                      <a:pt x="104" y="59"/>
                    </a:cubicBezTo>
                    <a:cubicBezTo>
                      <a:pt x="104" y="59"/>
                      <a:pt x="103" y="60"/>
                      <a:pt x="103" y="60"/>
                    </a:cubicBezTo>
                    <a:cubicBezTo>
                      <a:pt x="103" y="60"/>
                      <a:pt x="102" y="61"/>
                      <a:pt x="102" y="61"/>
                    </a:cubicBezTo>
                    <a:cubicBezTo>
                      <a:pt x="102" y="62"/>
                      <a:pt x="102" y="62"/>
                      <a:pt x="102" y="62"/>
                    </a:cubicBezTo>
                    <a:cubicBezTo>
                      <a:pt x="102" y="62"/>
                      <a:pt x="101" y="63"/>
                      <a:pt x="101" y="63"/>
                    </a:cubicBezTo>
                    <a:cubicBezTo>
                      <a:pt x="100" y="64"/>
                      <a:pt x="100" y="65"/>
                      <a:pt x="99" y="66"/>
                    </a:cubicBezTo>
                    <a:cubicBezTo>
                      <a:pt x="99" y="66"/>
                      <a:pt x="99" y="67"/>
                      <a:pt x="99" y="67"/>
                    </a:cubicBezTo>
                    <a:cubicBezTo>
                      <a:pt x="99" y="69"/>
                      <a:pt x="99" y="70"/>
                      <a:pt x="98" y="71"/>
                    </a:cubicBezTo>
                    <a:cubicBezTo>
                      <a:pt x="98" y="73"/>
                      <a:pt x="98" y="74"/>
                      <a:pt x="98" y="75"/>
                    </a:cubicBezTo>
                    <a:cubicBezTo>
                      <a:pt x="97" y="76"/>
                      <a:pt x="95" y="76"/>
                      <a:pt x="94" y="76"/>
                    </a:cubicBezTo>
                    <a:cubicBezTo>
                      <a:pt x="92" y="77"/>
                      <a:pt x="91" y="79"/>
                      <a:pt x="90" y="81"/>
                    </a:cubicBezTo>
                    <a:cubicBezTo>
                      <a:pt x="89" y="82"/>
                      <a:pt x="89" y="83"/>
                      <a:pt x="89" y="84"/>
                    </a:cubicBezTo>
                    <a:cubicBezTo>
                      <a:pt x="88" y="86"/>
                      <a:pt x="89" y="87"/>
                      <a:pt x="88" y="89"/>
                    </a:cubicBezTo>
                    <a:cubicBezTo>
                      <a:pt x="88" y="91"/>
                      <a:pt x="86" y="94"/>
                      <a:pt x="84" y="96"/>
                    </a:cubicBezTo>
                    <a:cubicBezTo>
                      <a:pt x="83" y="96"/>
                      <a:pt x="81" y="97"/>
                      <a:pt x="81" y="98"/>
                    </a:cubicBezTo>
                    <a:cubicBezTo>
                      <a:pt x="80" y="99"/>
                      <a:pt x="80" y="101"/>
                      <a:pt x="80" y="102"/>
                    </a:cubicBezTo>
                    <a:cubicBezTo>
                      <a:pt x="79" y="103"/>
                      <a:pt x="79" y="104"/>
                      <a:pt x="78" y="105"/>
                    </a:cubicBezTo>
                    <a:cubicBezTo>
                      <a:pt x="77" y="106"/>
                      <a:pt x="77" y="107"/>
                      <a:pt x="77" y="108"/>
                    </a:cubicBezTo>
                    <a:cubicBezTo>
                      <a:pt x="76" y="109"/>
                      <a:pt x="76" y="109"/>
                      <a:pt x="75" y="109"/>
                    </a:cubicBezTo>
                    <a:cubicBezTo>
                      <a:pt x="75" y="110"/>
                      <a:pt x="75" y="112"/>
                      <a:pt x="75" y="113"/>
                    </a:cubicBezTo>
                    <a:cubicBezTo>
                      <a:pt x="75" y="115"/>
                      <a:pt x="74" y="117"/>
                      <a:pt x="74" y="118"/>
                    </a:cubicBezTo>
                    <a:cubicBezTo>
                      <a:pt x="74" y="120"/>
                      <a:pt x="74" y="122"/>
                      <a:pt x="73" y="123"/>
                    </a:cubicBezTo>
                    <a:cubicBezTo>
                      <a:pt x="72" y="125"/>
                      <a:pt x="71" y="126"/>
                      <a:pt x="70" y="126"/>
                    </a:cubicBezTo>
                    <a:cubicBezTo>
                      <a:pt x="70" y="127"/>
                      <a:pt x="70" y="127"/>
                      <a:pt x="69" y="128"/>
                    </a:cubicBezTo>
                    <a:cubicBezTo>
                      <a:pt x="68" y="128"/>
                      <a:pt x="68" y="128"/>
                      <a:pt x="68" y="128"/>
                    </a:cubicBezTo>
                    <a:cubicBezTo>
                      <a:pt x="67" y="128"/>
                      <a:pt x="67" y="128"/>
                      <a:pt x="67" y="129"/>
                    </a:cubicBezTo>
                    <a:cubicBezTo>
                      <a:pt x="66" y="129"/>
                      <a:pt x="66" y="132"/>
                      <a:pt x="64" y="132"/>
                    </a:cubicBezTo>
                    <a:cubicBezTo>
                      <a:pt x="64" y="132"/>
                      <a:pt x="64" y="132"/>
                      <a:pt x="64" y="133"/>
                    </a:cubicBezTo>
                    <a:cubicBezTo>
                      <a:pt x="62" y="133"/>
                      <a:pt x="63" y="134"/>
                      <a:pt x="62" y="135"/>
                    </a:cubicBezTo>
                    <a:cubicBezTo>
                      <a:pt x="61" y="136"/>
                      <a:pt x="60" y="136"/>
                      <a:pt x="59" y="137"/>
                    </a:cubicBezTo>
                    <a:cubicBezTo>
                      <a:pt x="59" y="138"/>
                      <a:pt x="59" y="139"/>
                      <a:pt x="59" y="139"/>
                    </a:cubicBezTo>
                    <a:cubicBezTo>
                      <a:pt x="59" y="140"/>
                      <a:pt x="58" y="140"/>
                      <a:pt x="58" y="141"/>
                    </a:cubicBezTo>
                    <a:cubicBezTo>
                      <a:pt x="57" y="142"/>
                      <a:pt x="56" y="143"/>
                      <a:pt x="55" y="145"/>
                    </a:cubicBezTo>
                    <a:cubicBezTo>
                      <a:pt x="55" y="146"/>
                      <a:pt x="54" y="148"/>
                      <a:pt x="54" y="149"/>
                    </a:cubicBezTo>
                    <a:cubicBezTo>
                      <a:pt x="54" y="149"/>
                      <a:pt x="55" y="150"/>
                      <a:pt x="54" y="151"/>
                    </a:cubicBezTo>
                    <a:cubicBezTo>
                      <a:pt x="54" y="151"/>
                      <a:pt x="53" y="151"/>
                      <a:pt x="53" y="152"/>
                    </a:cubicBezTo>
                    <a:cubicBezTo>
                      <a:pt x="53" y="152"/>
                      <a:pt x="53" y="153"/>
                      <a:pt x="52" y="154"/>
                    </a:cubicBezTo>
                    <a:cubicBezTo>
                      <a:pt x="52" y="154"/>
                      <a:pt x="51" y="155"/>
                      <a:pt x="51" y="155"/>
                    </a:cubicBezTo>
                    <a:cubicBezTo>
                      <a:pt x="50" y="156"/>
                      <a:pt x="50" y="157"/>
                      <a:pt x="49" y="158"/>
                    </a:cubicBezTo>
                    <a:cubicBezTo>
                      <a:pt x="49" y="159"/>
                      <a:pt x="48" y="159"/>
                      <a:pt x="48" y="159"/>
                    </a:cubicBezTo>
                    <a:cubicBezTo>
                      <a:pt x="48" y="158"/>
                      <a:pt x="47" y="161"/>
                      <a:pt x="47" y="161"/>
                    </a:cubicBezTo>
                    <a:cubicBezTo>
                      <a:pt x="46" y="161"/>
                      <a:pt x="46" y="162"/>
                      <a:pt x="46" y="162"/>
                    </a:cubicBezTo>
                    <a:cubicBezTo>
                      <a:pt x="46" y="162"/>
                      <a:pt x="45" y="163"/>
                      <a:pt x="46" y="163"/>
                    </a:cubicBezTo>
                    <a:cubicBezTo>
                      <a:pt x="45" y="164"/>
                      <a:pt x="45" y="165"/>
                      <a:pt x="43" y="166"/>
                    </a:cubicBezTo>
                    <a:cubicBezTo>
                      <a:pt x="42" y="166"/>
                      <a:pt x="40" y="166"/>
                      <a:pt x="38" y="166"/>
                    </a:cubicBezTo>
                    <a:cubicBezTo>
                      <a:pt x="37" y="166"/>
                      <a:pt x="36" y="166"/>
                      <a:pt x="34" y="165"/>
                    </a:cubicBezTo>
                    <a:cubicBezTo>
                      <a:pt x="33" y="164"/>
                      <a:pt x="32" y="164"/>
                      <a:pt x="31" y="164"/>
                    </a:cubicBezTo>
                    <a:cubicBezTo>
                      <a:pt x="28" y="164"/>
                      <a:pt x="27" y="167"/>
                      <a:pt x="26" y="168"/>
                    </a:cubicBezTo>
                    <a:cubicBezTo>
                      <a:pt x="22" y="177"/>
                      <a:pt x="12" y="171"/>
                      <a:pt x="5" y="172"/>
                    </a:cubicBezTo>
                    <a:cubicBezTo>
                      <a:pt x="4" y="172"/>
                      <a:pt x="4" y="173"/>
                      <a:pt x="2" y="173"/>
                    </a:cubicBezTo>
                    <a:cubicBezTo>
                      <a:pt x="2" y="173"/>
                      <a:pt x="1" y="173"/>
                      <a:pt x="0" y="173"/>
                    </a:cubicBezTo>
                    <a:cubicBezTo>
                      <a:pt x="5" y="182"/>
                      <a:pt x="5" y="182"/>
                      <a:pt x="5" y="182"/>
                    </a:cubicBezTo>
                    <a:cubicBezTo>
                      <a:pt x="5" y="184"/>
                      <a:pt x="4" y="186"/>
                      <a:pt x="6" y="188"/>
                    </a:cubicBezTo>
                    <a:cubicBezTo>
                      <a:pt x="6" y="189"/>
                      <a:pt x="7" y="189"/>
                      <a:pt x="8" y="189"/>
                    </a:cubicBezTo>
                    <a:cubicBezTo>
                      <a:pt x="10" y="190"/>
                      <a:pt x="13" y="190"/>
                      <a:pt x="14" y="193"/>
                    </a:cubicBezTo>
                    <a:cubicBezTo>
                      <a:pt x="14" y="195"/>
                      <a:pt x="14" y="194"/>
                      <a:pt x="16" y="195"/>
                    </a:cubicBezTo>
                    <a:cubicBezTo>
                      <a:pt x="17" y="195"/>
                      <a:pt x="18" y="196"/>
                      <a:pt x="18" y="197"/>
                    </a:cubicBezTo>
                    <a:cubicBezTo>
                      <a:pt x="19" y="198"/>
                      <a:pt x="18" y="198"/>
                      <a:pt x="19" y="199"/>
                    </a:cubicBezTo>
                    <a:cubicBezTo>
                      <a:pt x="19" y="199"/>
                      <a:pt x="20" y="200"/>
                      <a:pt x="20" y="200"/>
                    </a:cubicBezTo>
                    <a:cubicBezTo>
                      <a:pt x="20" y="201"/>
                      <a:pt x="21" y="203"/>
                      <a:pt x="22" y="203"/>
                    </a:cubicBezTo>
                    <a:cubicBezTo>
                      <a:pt x="23" y="203"/>
                      <a:pt x="23" y="202"/>
                      <a:pt x="24" y="202"/>
                    </a:cubicBezTo>
                    <a:cubicBezTo>
                      <a:pt x="24" y="201"/>
                      <a:pt x="25" y="202"/>
                      <a:pt x="26" y="202"/>
                    </a:cubicBezTo>
                    <a:cubicBezTo>
                      <a:pt x="27" y="202"/>
                      <a:pt x="28" y="202"/>
                      <a:pt x="29" y="203"/>
                    </a:cubicBezTo>
                    <a:cubicBezTo>
                      <a:pt x="30" y="205"/>
                      <a:pt x="29" y="208"/>
                      <a:pt x="29" y="210"/>
                    </a:cubicBezTo>
                    <a:cubicBezTo>
                      <a:pt x="29" y="211"/>
                      <a:pt x="29" y="213"/>
                      <a:pt x="29" y="214"/>
                    </a:cubicBezTo>
                    <a:cubicBezTo>
                      <a:pt x="29" y="215"/>
                      <a:pt x="28" y="215"/>
                      <a:pt x="28" y="216"/>
                    </a:cubicBezTo>
                    <a:cubicBezTo>
                      <a:pt x="27" y="218"/>
                      <a:pt x="28" y="222"/>
                      <a:pt x="30" y="222"/>
                    </a:cubicBezTo>
                    <a:cubicBezTo>
                      <a:pt x="31" y="223"/>
                      <a:pt x="28" y="225"/>
                      <a:pt x="27" y="226"/>
                    </a:cubicBezTo>
                    <a:cubicBezTo>
                      <a:pt x="27" y="227"/>
                      <a:pt x="27" y="228"/>
                      <a:pt x="28" y="229"/>
                    </a:cubicBezTo>
                    <a:cubicBezTo>
                      <a:pt x="28" y="231"/>
                      <a:pt x="29" y="231"/>
                      <a:pt x="31" y="231"/>
                    </a:cubicBezTo>
                    <a:cubicBezTo>
                      <a:pt x="34" y="232"/>
                      <a:pt x="34" y="232"/>
                      <a:pt x="34" y="235"/>
                    </a:cubicBezTo>
                    <a:cubicBezTo>
                      <a:pt x="34" y="236"/>
                      <a:pt x="34" y="237"/>
                      <a:pt x="34" y="238"/>
                    </a:cubicBezTo>
                    <a:cubicBezTo>
                      <a:pt x="35" y="239"/>
                      <a:pt x="36" y="240"/>
                      <a:pt x="38" y="241"/>
                    </a:cubicBezTo>
                    <a:cubicBezTo>
                      <a:pt x="44" y="243"/>
                      <a:pt x="50" y="243"/>
                      <a:pt x="57" y="243"/>
                    </a:cubicBezTo>
                    <a:cubicBezTo>
                      <a:pt x="58" y="243"/>
                      <a:pt x="59" y="243"/>
                      <a:pt x="60" y="244"/>
                    </a:cubicBezTo>
                    <a:cubicBezTo>
                      <a:pt x="61" y="245"/>
                      <a:pt x="61" y="245"/>
                      <a:pt x="61" y="246"/>
                    </a:cubicBezTo>
                    <a:cubicBezTo>
                      <a:pt x="62" y="246"/>
                      <a:pt x="63" y="246"/>
                      <a:pt x="63" y="247"/>
                    </a:cubicBezTo>
                    <a:cubicBezTo>
                      <a:pt x="64" y="248"/>
                      <a:pt x="63" y="248"/>
                      <a:pt x="62" y="249"/>
                    </a:cubicBezTo>
                    <a:cubicBezTo>
                      <a:pt x="62" y="250"/>
                      <a:pt x="62" y="251"/>
                      <a:pt x="63" y="252"/>
                    </a:cubicBezTo>
                    <a:cubicBezTo>
                      <a:pt x="64" y="253"/>
                      <a:pt x="65" y="253"/>
                      <a:pt x="65" y="254"/>
                    </a:cubicBezTo>
                    <a:cubicBezTo>
                      <a:pt x="65" y="255"/>
                      <a:pt x="64" y="256"/>
                      <a:pt x="63" y="257"/>
                    </a:cubicBezTo>
                    <a:cubicBezTo>
                      <a:pt x="62" y="258"/>
                      <a:pt x="61" y="258"/>
                      <a:pt x="61" y="260"/>
                    </a:cubicBezTo>
                    <a:cubicBezTo>
                      <a:pt x="61" y="260"/>
                      <a:pt x="61" y="261"/>
                      <a:pt x="60" y="261"/>
                    </a:cubicBezTo>
                    <a:cubicBezTo>
                      <a:pt x="60" y="262"/>
                      <a:pt x="60" y="262"/>
                      <a:pt x="60" y="262"/>
                    </a:cubicBezTo>
                    <a:cubicBezTo>
                      <a:pt x="59" y="263"/>
                      <a:pt x="58" y="263"/>
                      <a:pt x="58" y="264"/>
                    </a:cubicBezTo>
                    <a:cubicBezTo>
                      <a:pt x="57" y="265"/>
                      <a:pt x="58" y="268"/>
                      <a:pt x="59" y="269"/>
                    </a:cubicBezTo>
                    <a:cubicBezTo>
                      <a:pt x="60" y="270"/>
                      <a:pt x="62" y="270"/>
                      <a:pt x="63" y="271"/>
                    </a:cubicBezTo>
                    <a:cubicBezTo>
                      <a:pt x="63" y="271"/>
                      <a:pt x="64" y="272"/>
                      <a:pt x="65" y="273"/>
                    </a:cubicBezTo>
                    <a:cubicBezTo>
                      <a:pt x="66" y="274"/>
                      <a:pt x="67" y="277"/>
                      <a:pt x="65" y="278"/>
                    </a:cubicBezTo>
                    <a:cubicBezTo>
                      <a:pt x="64" y="278"/>
                      <a:pt x="62" y="277"/>
                      <a:pt x="60" y="278"/>
                    </a:cubicBezTo>
                    <a:cubicBezTo>
                      <a:pt x="59" y="278"/>
                      <a:pt x="59" y="279"/>
                      <a:pt x="58" y="280"/>
                    </a:cubicBezTo>
                    <a:cubicBezTo>
                      <a:pt x="57" y="281"/>
                      <a:pt x="56" y="281"/>
                      <a:pt x="57" y="282"/>
                    </a:cubicBezTo>
                    <a:cubicBezTo>
                      <a:pt x="57" y="283"/>
                      <a:pt x="57" y="284"/>
                      <a:pt x="58" y="285"/>
                    </a:cubicBezTo>
                    <a:cubicBezTo>
                      <a:pt x="59" y="285"/>
                      <a:pt x="60" y="285"/>
                      <a:pt x="61" y="285"/>
                    </a:cubicBezTo>
                    <a:cubicBezTo>
                      <a:pt x="62" y="285"/>
                      <a:pt x="65" y="285"/>
                      <a:pt x="65" y="285"/>
                    </a:cubicBezTo>
                    <a:cubicBezTo>
                      <a:pt x="66" y="286"/>
                      <a:pt x="66" y="286"/>
                      <a:pt x="66" y="287"/>
                    </a:cubicBezTo>
                    <a:cubicBezTo>
                      <a:pt x="66" y="287"/>
                      <a:pt x="67" y="288"/>
                      <a:pt x="67" y="288"/>
                    </a:cubicBezTo>
                    <a:cubicBezTo>
                      <a:pt x="67" y="289"/>
                      <a:pt x="67" y="289"/>
                      <a:pt x="67" y="290"/>
                    </a:cubicBezTo>
                    <a:cubicBezTo>
                      <a:pt x="68" y="291"/>
                      <a:pt x="69" y="291"/>
                      <a:pt x="70" y="292"/>
                    </a:cubicBezTo>
                    <a:cubicBezTo>
                      <a:pt x="70" y="292"/>
                      <a:pt x="71" y="292"/>
                      <a:pt x="71" y="292"/>
                    </a:cubicBezTo>
                    <a:cubicBezTo>
                      <a:pt x="71" y="292"/>
                      <a:pt x="71" y="292"/>
                      <a:pt x="71" y="292"/>
                    </a:cubicBezTo>
                    <a:cubicBezTo>
                      <a:pt x="74" y="293"/>
                      <a:pt x="77" y="294"/>
                      <a:pt x="80" y="295"/>
                    </a:cubicBezTo>
                    <a:cubicBezTo>
                      <a:pt x="83" y="296"/>
                      <a:pt x="85" y="298"/>
                      <a:pt x="87" y="300"/>
                    </a:cubicBezTo>
                    <a:cubicBezTo>
                      <a:pt x="88" y="300"/>
                      <a:pt x="89" y="301"/>
                      <a:pt x="90" y="301"/>
                    </a:cubicBezTo>
                    <a:cubicBezTo>
                      <a:pt x="91" y="302"/>
                      <a:pt x="92" y="302"/>
                      <a:pt x="93" y="303"/>
                    </a:cubicBezTo>
                    <a:cubicBezTo>
                      <a:pt x="93" y="303"/>
                      <a:pt x="93" y="305"/>
                      <a:pt x="94" y="305"/>
                    </a:cubicBezTo>
                    <a:cubicBezTo>
                      <a:pt x="94" y="307"/>
                      <a:pt x="94" y="307"/>
                      <a:pt x="96" y="307"/>
                    </a:cubicBezTo>
                    <a:cubicBezTo>
                      <a:pt x="99" y="308"/>
                      <a:pt x="100" y="308"/>
                      <a:pt x="102" y="306"/>
                    </a:cubicBezTo>
                    <a:cubicBezTo>
                      <a:pt x="103" y="305"/>
                      <a:pt x="103" y="306"/>
                      <a:pt x="104" y="304"/>
                    </a:cubicBezTo>
                    <a:cubicBezTo>
                      <a:pt x="104" y="304"/>
                      <a:pt x="104" y="303"/>
                      <a:pt x="104" y="303"/>
                    </a:cubicBezTo>
                    <a:cubicBezTo>
                      <a:pt x="105" y="302"/>
                      <a:pt x="105" y="301"/>
                      <a:pt x="105" y="301"/>
                    </a:cubicBezTo>
                    <a:cubicBezTo>
                      <a:pt x="106" y="300"/>
                      <a:pt x="106" y="299"/>
                      <a:pt x="107" y="299"/>
                    </a:cubicBezTo>
                    <a:cubicBezTo>
                      <a:pt x="109" y="297"/>
                      <a:pt x="109" y="294"/>
                      <a:pt x="112" y="293"/>
                    </a:cubicBezTo>
                    <a:cubicBezTo>
                      <a:pt x="115" y="292"/>
                      <a:pt x="117" y="295"/>
                      <a:pt x="120" y="296"/>
                    </a:cubicBezTo>
                    <a:cubicBezTo>
                      <a:pt x="123" y="298"/>
                      <a:pt x="125" y="298"/>
                      <a:pt x="128" y="300"/>
                    </a:cubicBezTo>
                    <a:cubicBezTo>
                      <a:pt x="130" y="301"/>
                      <a:pt x="133" y="302"/>
                      <a:pt x="132" y="305"/>
                    </a:cubicBezTo>
                    <a:cubicBezTo>
                      <a:pt x="131" y="307"/>
                      <a:pt x="128" y="307"/>
                      <a:pt x="125" y="307"/>
                    </a:cubicBezTo>
                    <a:cubicBezTo>
                      <a:pt x="124" y="308"/>
                      <a:pt x="123" y="308"/>
                      <a:pt x="122" y="309"/>
                    </a:cubicBezTo>
                    <a:cubicBezTo>
                      <a:pt x="121" y="309"/>
                      <a:pt x="121" y="309"/>
                      <a:pt x="120" y="310"/>
                    </a:cubicBezTo>
                    <a:cubicBezTo>
                      <a:pt x="120" y="310"/>
                      <a:pt x="118" y="310"/>
                      <a:pt x="118" y="311"/>
                    </a:cubicBezTo>
                    <a:cubicBezTo>
                      <a:pt x="118" y="312"/>
                      <a:pt x="118" y="312"/>
                      <a:pt x="118" y="313"/>
                    </a:cubicBezTo>
                    <a:cubicBezTo>
                      <a:pt x="117" y="313"/>
                      <a:pt x="117" y="313"/>
                      <a:pt x="116" y="314"/>
                    </a:cubicBezTo>
                    <a:cubicBezTo>
                      <a:pt x="116" y="315"/>
                      <a:pt x="117" y="315"/>
                      <a:pt x="117" y="316"/>
                    </a:cubicBezTo>
                    <a:cubicBezTo>
                      <a:pt x="117" y="317"/>
                      <a:pt x="118" y="318"/>
                      <a:pt x="119" y="318"/>
                    </a:cubicBezTo>
                    <a:cubicBezTo>
                      <a:pt x="119" y="319"/>
                      <a:pt x="118" y="321"/>
                      <a:pt x="119" y="322"/>
                    </a:cubicBezTo>
                    <a:cubicBezTo>
                      <a:pt x="120" y="323"/>
                      <a:pt x="121" y="323"/>
                      <a:pt x="122" y="324"/>
                    </a:cubicBezTo>
                    <a:cubicBezTo>
                      <a:pt x="122" y="324"/>
                      <a:pt x="123" y="325"/>
                      <a:pt x="123" y="326"/>
                    </a:cubicBezTo>
                    <a:cubicBezTo>
                      <a:pt x="125" y="327"/>
                      <a:pt x="126" y="329"/>
                      <a:pt x="126" y="331"/>
                    </a:cubicBezTo>
                    <a:cubicBezTo>
                      <a:pt x="126" y="332"/>
                      <a:pt x="126" y="333"/>
                      <a:pt x="126" y="334"/>
                    </a:cubicBezTo>
                    <a:cubicBezTo>
                      <a:pt x="128" y="334"/>
                      <a:pt x="130" y="335"/>
                      <a:pt x="132" y="335"/>
                    </a:cubicBezTo>
                    <a:cubicBezTo>
                      <a:pt x="134" y="336"/>
                      <a:pt x="135" y="337"/>
                      <a:pt x="136" y="338"/>
                    </a:cubicBezTo>
                    <a:cubicBezTo>
                      <a:pt x="139" y="340"/>
                      <a:pt x="144" y="341"/>
                      <a:pt x="145" y="344"/>
                    </a:cubicBezTo>
                    <a:cubicBezTo>
                      <a:pt x="146" y="347"/>
                      <a:pt x="143" y="348"/>
                      <a:pt x="141" y="349"/>
                    </a:cubicBezTo>
                    <a:cubicBezTo>
                      <a:pt x="140" y="350"/>
                      <a:pt x="138" y="351"/>
                      <a:pt x="137" y="352"/>
                    </a:cubicBezTo>
                    <a:cubicBezTo>
                      <a:pt x="136" y="352"/>
                      <a:pt x="136" y="355"/>
                      <a:pt x="136" y="356"/>
                    </a:cubicBezTo>
                    <a:cubicBezTo>
                      <a:pt x="136" y="358"/>
                      <a:pt x="136" y="363"/>
                      <a:pt x="138" y="365"/>
                    </a:cubicBezTo>
                    <a:cubicBezTo>
                      <a:pt x="140" y="366"/>
                      <a:pt x="141" y="366"/>
                      <a:pt x="143" y="366"/>
                    </a:cubicBezTo>
                    <a:cubicBezTo>
                      <a:pt x="145" y="366"/>
                      <a:pt x="146" y="367"/>
                      <a:pt x="148" y="367"/>
                    </a:cubicBezTo>
                    <a:cubicBezTo>
                      <a:pt x="151" y="368"/>
                      <a:pt x="153" y="364"/>
                      <a:pt x="157" y="364"/>
                    </a:cubicBezTo>
                    <a:cubicBezTo>
                      <a:pt x="162" y="364"/>
                      <a:pt x="166" y="365"/>
                      <a:pt x="171" y="365"/>
                    </a:cubicBezTo>
                    <a:cubicBezTo>
                      <a:pt x="174" y="365"/>
                      <a:pt x="177" y="365"/>
                      <a:pt x="180" y="367"/>
                    </a:cubicBezTo>
                    <a:cubicBezTo>
                      <a:pt x="182" y="367"/>
                      <a:pt x="183" y="368"/>
                      <a:pt x="185" y="369"/>
                    </a:cubicBezTo>
                    <a:cubicBezTo>
                      <a:pt x="186" y="369"/>
                      <a:pt x="188" y="369"/>
                      <a:pt x="189" y="370"/>
                    </a:cubicBezTo>
                    <a:cubicBezTo>
                      <a:pt x="192" y="371"/>
                      <a:pt x="194" y="372"/>
                      <a:pt x="197" y="373"/>
                    </a:cubicBezTo>
                    <a:cubicBezTo>
                      <a:pt x="198" y="374"/>
                      <a:pt x="200" y="375"/>
                      <a:pt x="201" y="375"/>
                    </a:cubicBezTo>
                    <a:cubicBezTo>
                      <a:pt x="202" y="375"/>
                      <a:pt x="202" y="374"/>
                      <a:pt x="203" y="374"/>
                    </a:cubicBezTo>
                    <a:cubicBezTo>
                      <a:pt x="207" y="374"/>
                      <a:pt x="209" y="378"/>
                      <a:pt x="213" y="379"/>
                    </a:cubicBezTo>
                    <a:cubicBezTo>
                      <a:pt x="215" y="379"/>
                      <a:pt x="219" y="379"/>
                      <a:pt x="221" y="378"/>
                    </a:cubicBezTo>
                    <a:cubicBezTo>
                      <a:pt x="223" y="377"/>
                      <a:pt x="225" y="375"/>
                      <a:pt x="228" y="375"/>
                    </a:cubicBezTo>
                    <a:cubicBezTo>
                      <a:pt x="232" y="374"/>
                      <a:pt x="236" y="375"/>
                      <a:pt x="240" y="376"/>
                    </a:cubicBezTo>
                    <a:cubicBezTo>
                      <a:pt x="242" y="376"/>
                      <a:pt x="244" y="376"/>
                      <a:pt x="246" y="375"/>
                    </a:cubicBezTo>
                    <a:cubicBezTo>
                      <a:pt x="248" y="374"/>
                      <a:pt x="248" y="373"/>
                      <a:pt x="251" y="374"/>
                    </a:cubicBezTo>
                    <a:cubicBezTo>
                      <a:pt x="253" y="375"/>
                      <a:pt x="255" y="378"/>
                      <a:pt x="257" y="378"/>
                    </a:cubicBezTo>
                    <a:cubicBezTo>
                      <a:pt x="259" y="378"/>
                      <a:pt x="261" y="378"/>
                      <a:pt x="263" y="378"/>
                    </a:cubicBezTo>
                    <a:cubicBezTo>
                      <a:pt x="266" y="379"/>
                      <a:pt x="269" y="380"/>
                      <a:pt x="271" y="381"/>
                    </a:cubicBezTo>
                    <a:cubicBezTo>
                      <a:pt x="272" y="381"/>
                      <a:pt x="273" y="382"/>
                      <a:pt x="274" y="382"/>
                    </a:cubicBezTo>
                    <a:cubicBezTo>
                      <a:pt x="275" y="382"/>
                      <a:pt x="275" y="382"/>
                      <a:pt x="275" y="382"/>
                    </a:cubicBezTo>
                    <a:cubicBezTo>
                      <a:pt x="278" y="382"/>
                      <a:pt x="281" y="384"/>
                      <a:pt x="283" y="384"/>
                    </a:cubicBezTo>
                    <a:cubicBezTo>
                      <a:pt x="285" y="384"/>
                      <a:pt x="285" y="384"/>
                      <a:pt x="286" y="383"/>
                    </a:cubicBezTo>
                    <a:cubicBezTo>
                      <a:pt x="288" y="382"/>
                      <a:pt x="289" y="382"/>
                      <a:pt x="290" y="381"/>
                    </a:cubicBezTo>
                    <a:cubicBezTo>
                      <a:pt x="292" y="379"/>
                      <a:pt x="293" y="379"/>
                      <a:pt x="295" y="379"/>
                    </a:cubicBezTo>
                    <a:cubicBezTo>
                      <a:pt x="297" y="379"/>
                      <a:pt x="299" y="380"/>
                      <a:pt x="300" y="378"/>
                    </a:cubicBezTo>
                    <a:cubicBezTo>
                      <a:pt x="301" y="377"/>
                      <a:pt x="300" y="376"/>
                      <a:pt x="300" y="375"/>
                    </a:cubicBezTo>
                    <a:cubicBezTo>
                      <a:pt x="301" y="373"/>
                      <a:pt x="304" y="372"/>
                      <a:pt x="305" y="371"/>
                    </a:cubicBezTo>
                    <a:cubicBezTo>
                      <a:pt x="307" y="370"/>
                      <a:pt x="308" y="369"/>
                      <a:pt x="308" y="367"/>
                    </a:cubicBezTo>
                    <a:cubicBezTo>
                      <a:pt x="308" y="366"/>
                      <a:pt x="308" y="365"/>
                      <a:pt x="308" y="364"/>
                    </a:cubicBezTo>
                    <a:cubicBezTo>
                      <a:pt x="309" y="363"/>
                      <a:pt x="311" y="362"/>
                      <a:pt x="313" y="361"/>
                    </a:cubicBezTo>
                    <a:cubicBezTo>
                      <a:pt x="314" y="360"/>
                      <a:pt x="315" y="359"/>
                      <a:pt x="316" y="359"/>
                    </a:cubicBezTo>
                    <a:cubicBezTo>
                      <a:pt x="318" y="357"/>
                      <a:pt x="321" y="357"/>
                      <a:pt x="324" y="356"/>
                    </a:cubicBezTo>
                    <a:cubicBezTo>
                      <a:pt x="326" y="355"/>
                      <a:pt x="328" y="355"/>
                      <a:pt x="331" y="355"/>
                    </a:cubicBezTo>
                    <a:cubicBezTo>
                      <a:pt x="333" y="354"/>
                      <a:pt x="334" y="354"/>
                      <a:pt x="335" y="353"/>
                    </a:cubicBezTo>
                    <a:cubicBezTo>
                      <a:pt x="338" y="352"/>
                      <a:pt x="341" y="350"/>
                      <a:pt x="344" y="350"/>
                    </a:cubicBezTo>
                    <a:cubicBezTo>
                      <a:pt x="346" y="350"/>
                      <a:pt x="349" y="350"/>
                      <a:pt x="351" y="350"/>
                    </a:cubicBezTo>
                    <a:cubicBezTo>
                      <a:pt x="354" y="350"/>
                      <a:pt x="356" y="350"/>
                      <a:pt x="358" y="349"/>
                    </a:cubicBezTo>
                    <a:cubicBezTo>
                      <a:pt x="361" y="348"/>
                      <a:pt x="363" y="347"/>
                      <a:pt x="366" y="345"/>
                    </a:cubicBezTo>
                    <a:cubicBezTo>
                      <a:pt x="368" y="344"/>
                      <a:pt x="370" y="342"/>
                      <a:pt x="373" y="343"/>
                    </a:cubicBezTo>
                    <a:cubicBezTo>
                      <a:pt x="374" y="343"/>
                      <a:pt x="376" y="344"/>
                      <a:pt x="377" y="345"/>
                    </a:cubicBezTo>
                    <a:cubicBezTo>
                      <a:pt x="378" y="345"/>
                      <a:pt x="380" y="346"/>
                      <a:pt x="382" y="347"/>
                    </a:cubicBezTo>
                    <a:cubicBezTo>
                      <a:pt x="383" y="348"/>
                      <a:pt x="383" y="349"/>
                      <a:pt x="384" y="350"/>
                    </a:cubicBezTo>
                    <a:cubicBezTo>
                      <a:pt x="385" y="351"/>
                      <a:pt x="386" y="351"/>
                      <a:pt x="387" y="352"/>
                    </a:cubicBezTo>
                    <a:cubicBezTo>
                      <a:pt x="388" y="352"/>
                      <a:pt x="389" y="353"/>
                      <a:pt x="390" y="353"/>
                    </a:cubicBezTo>
                    <a:cubicBezTo>
                      <a:pt x="390" y="353"/>
                      <a:pt x="392" y="353"/>
                      <a:pt x="393" y="353"/>
                    </a:cubicBezTo>
                    <a:cubicBezTo>
                      <a:pt x="394" y="353"/>
                      <a:pt x="396" y="354"/>
                      <a:pt x="397" y="355"/>
                    </a:cubicBezTo>
                    <a:cubicBezTo>
                      <a:pt x="398" y="355"/>
                      <a:pt x="398" y="355"/>
                      <a:pt x="399" y="355"/>
                    </a:cubicBezTo>
                    <a:cubicBezTo>
                      <a:pt x="399" y="355"/>
                      <a:pt x="401" y="354"/>
                      <a:pt x="401" y="354"/>
                    </a:cubicBezTo>
                    <a:cubicBezTo>
                      <a:pt x="402" y="354"/>
                      <a:pt x="403" y="354"/>
                      <a:pt x="404" y="354"/>
                    </a:cubicBezTo>
                    <a:cubicBezTo>
                      <a:pt x="407" y="354"/>
                      <a:pt x="406" y="354"/>
                      <a:pt x="407" y="356"/>
                    </a:cubicBezTo>
                    <a:cubicBezTo>
                      <a:pt x="407" y="357"/>
                      <a:pt x="408" y="357"/>
                      <a:pt x="408" y="358"/>
                    </a:cubicBezTo>
                    <a:cubicBezTo>
                      <a:pt x="409" y="358"/>
                      <a:pt x="410" y="360"/>
                      <a:pt x="410" y="360"/>
                    </a:cubicBezTo>
                    <a:cubicBezTo>
                      <a:pt x="411" y="360"/>
                      <a:pt x="413" y="360"/>
                      <a:pt x="414" y="360"/>
                    </a:cubicBezTo>
                    <a:cubicBezTo>
                      <a:pt x="415" y="359"/>
                      <a:pt x="420" y="355"/>
                      <a:pt x="421" y="357"/>
                    </a:cubicBezTo>
                    <a:cubicBezTo>
                      <a:pt x="421" y="358"/>
                      <a:pt x="421" y="358"/>
                      <a:pt x="421" y="359"/>
                    </a:cubicBezTo>
                    <a:cubicBezTo>
                      <a:pt x="421" y="359"/>
                      <a:pt x="421" y="360"/>
                      <a:pt x="422" y="360"/>
                    </a:cubicBezTo>
                    <a:cubicBezTo>
                      <a:pt x="423" y="362"/>
                      <a:pt x="423" y="362"/>
                      <a:pt x="423" y="364"/>
                    </a:cubicBezTo>
                    <a:cubicBezTo>
                      <a:pt x="424" y="365"/>
                      <a:pt x="423" y="366"/>
                      <a:pt x="424" y="367"/>
                    </a:cubicBezTo>
                    <a:cubicBezTo>
                      <a:pt x="425" y="368"/>
                      <a:pt x="425" y="368"/>
                      <a:pt x="426" y="368"/>
                    </a:cubicBezTo>
                    <a:cubicBezTo>
                      <a:pt x="426" y="368"/>
                      <a:pt x="426" y="369"/>
                      <a:pt x="426" y="369"/>
                    </a:cubicBezTo>
                    <a:cubicBezTo>
                      <a:pt x="427" y="370"/>
                      <a:pt x="428" y="370"/>
                      <a:pt x="428" y="372"/>
                    </a:cubicBezTo>
                    <a:cubicBezTo>
                      <a:pt x="429" y="372"/>
                      <a:pt x="428" y="373"/>
                      <a:pt x="429" y="373"/>
                    </a:cubicBezTo>
                    <a:cubicBezTo>
                      <a:pt x="429" y="374"/>
                      <a:pt x="430" y="375"/>
                      <a:pt x="431" y="375"/>
                    </a:cubicBezTo>
                    <a:cubicBezTo>
                      <a:pt x="433" y="376"/>
                      <a:pt x="436" y="376"/>
                      <a:pt x="439" y="377"/>
                    </a:cubicBezTo>
                    <a:cubicBezTo>
                      <a:pt x="441" y="377"/>
                      <a:pt x="443" y="378"/>
                      <a:pt x="446" y="379"/>
                    </a:cubicBezTo>
                    <a:cubicBezTo>
                      <a:pt x="449" y="379"/>
                      <a:pt x="452" y="379"/>
                      <a:pt x="456" y="379"/>
                    </a:cubicBezTo>
                    <a:cubicBezTo>
                      <a:pt x="456" y="379"/>
                      <a:pt x="456" y="379"/>
                      <a:pt x="456" y="379"/>
                    </a:cubicBezTo>
                    <a:cubicBezTo>
                      <a:pt x="456" y="379"/>
                      <a:pt x="455" y="379"/>
                      <a:pt x="455" y="379"/>
                    </a:cubicBezTo>
                    <a:cubicBezTo>
                      <a:pt x="456" y="379"/>
                      <a:pt x="456" y="379"/>
                      <a:pt x="456" y="379"/>
                    </a:cubicBezTo>
                    <a:cubicBezTo>
                      <a:pt x="456" y="378"/>
                      <a:pt x="456" y="377"/>
                      <a:pt x="456" y="376"/>
                    </a:cubicBezTo>
                    <a:cubicBezTo>
                      <a:pt x="457" y="372"/>
                      <a:pt x="458" y="369"/>
                      <a:pt x="458" y="366"/>
                    </a:cubicBezTo>
                    <a:cubicBezTo>
                      <a:pt x="458" y="362"/>
                      <a:pt x="458" y="359"/>
                      <a:pt x="458" y="356"/>
                    </a:cubicBezTo>
                    <a:cubicBezTo>
                      <a:pt x="458" y="347"/>
                      <a:pt x="457" y="340"/>
                      <a:pt x="462" y="332"/>
                    </a:cubicBezTo>
                    <a:cubicBezTo>
                      <a:pt x="465" y="330"/>
                      <a:pt x="466" y="328"/>
                      <a:pt x="466" y="325"/>
                    </a:cubicBezTo>
                    <a:cubicBezTo>
                      <a:pt x="466" y="323"/>
                      <a:pt x="466" y="322"/>
                      <a:pt x="466" y="321"/>
                    </a:cubicBezTo>
                    <a:cubicBezTo>
                      <a:pt x="466" y="321"/>
                      <a:pt x="467" y="319"/>
                      <a:pt x="467" y="319"/>
                    </a:cubicBezTo>
                    <a:cubicBezTo>
                      <a:pt x="467" y="318"/>
                      <a:pt x="467" y="317"/>
                      <a:pt x="468" y="316"/>
                    </a:cubicBezTo>
                    <a:cubicBezTo>
                      <a:pt x="469" y="314"/>
                      <a:pt x="469" y="312"/>
                      <a:pt x="469" y="309"/>
                    </a:cubicBezTo>
                    <a:cubicBezTo>
                      <a:pt x="469" y="308"/>
                      <a:pt x="468" y="306"/>
                      <a:pt x="467" y="305"/>
                    </a:cubicBezTo>
                    <a:cubicBezTo>
                      <a:pt x="466" y="304"/>
                      <a:pt x="465" y="304"/>
                      <a:pt x="464" y="302"/>
                    </a:cubicBezTo>
                    <a:cubicBezTo>
                      <a:pt x="466" y="302"/>
                      <a:pt x="468" y="302"/>
                      <a:pt x="470" y="302"/>
                    </a:cubicBezTo>
                    <a:cubicBezTo>
                      <a:pt x="472" y="302"/>
                      <a:pt x="472" y="301"/>
                      <a:pt x="474" y="299"/>
                    </a:cubicBezTo>
                    <a:cubicBezTo>
                      <a:pt x="475" y="297"/>
                      <a:pt x="476" y="296"/>
                      <a:pt x="476" y="294"/>
                    </a:cubicBezTo>
                    <a:cubicBezTo>
                      <a:pt x="476" y="291"/>
                      <a:pt x="473" y="290"/>
                      <a:pt x="472" y="288"/>
                    </a:cubicBezTo>
                    <a:cubicBezTo>
                      <a:pt x="471" y="284"/>
                      <a:pt x="472" y="279"/>
                      <a:pt x="475" y="278"/>
                    </a:cubicBezTo>
                    <a:cubicBezTo>
                      <a:pt x="477" y="277"/>
                      <a:pt x="479" y="278"/>
                      <a:pt x="481" y="277"/>
                    </a:cubicBezTo>
                    <a:cubicBezTo>
                      <a:pt x="483" y="277"/>
                      <a:pt x="482" y="274"/>
                      <a:pt x="484" y="274"/>
                    </a:cubicBezTo>
                    <a:cubicBezTo>
                      <a:pt x="485" y="279"/>
                      <a:pt x="479" y="280"/>
                      <a:pt x="478" y="285"/>
                    </a:cubicBezTo>
                    <a:cubicBezTo>
                      <a:pt x="477" y="290"/>
                      <a:pt x="488" y="288"/>
                      <a:pt x="491" y="289"/>
                    </a:cubicBezTo>
                    <a:cubicBezTo>
                      <a:pt x="492" y="289"/>
                      <a:pt x="493" y="288"/>
                      <a:pt x="494" y="289"/>
                    </a:cubicBezTo>
                    <a:cubicBezTo>
                      <a:pt x="494" y="290"/>
                      <a:pt x="494" y="291"/>
                      <a:pt x="494" y="292"/>
                    </a:cubicBezTo>
                    <a:cubicBezTo>
                      <a:pt x="496" y="293"/>
                      <a:pt x="500" y="292"/>
                      <a:pt x="502" y="292"/>
                    </a:cubicBezTo>
                    <a:cubicBezTo>
                      <a:pt x="507" y="292"/>
                      <a:pt x="512" y="292"/>
                      <a:pt x="515" y="288"/>
                    </a:cubicBezTo>
                    <a:cubicBezTo>
                      <a:pt x="516" y="287"/>
                      <a:pt x="516" y="286"/>
                      <a:pt x="517" y="285"/>
                    </a:cubicBezTo>
                    <a:cubicBezTo>
                      <a:pt x="517" y="284"/>
                      <a:pt x="517" y="281"/>
                      <a:pt x="518" y="280"/>
                    </a:cubicBezTo>
                    <a:cubicBezTo>
                      <a:pt x="518" y="278"/>
                      <a:pt x="518" y="276"/>
                      <a:pt x="518" y="274"/>
                    </a:cubicBezTo>
                    <a:cubicBezTo>
                      <a:pt x="518" y="271"/>
                      <a:pt x="520" y="268"/>
                      <a:pt x="521" y="265"/>
                    </a:cubicBezTo>
                    <a:cubicBezTo>
                      <a:pt x="521" y="262"/>
                      <a:pt x="522" y="259"/>
                      <a:pt x="523" y="257"/>
                    </a:cubicBezTo>
                    <a:cubicBezTo>
                      <a:pt x="523" y="257"/>
                      <a:pt x="525" y="255"/>
                      <a:pt x="525" y="25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86" name="Freeform 35">
                <a:extLst>
                  <a:ext uri="{FF2B5EF4-FFF2-40B4-BE49-F238E27FC236}">
                    <a16:creationId xmlns:a16="http://schemas.microsoft.com/office/drawing/2014/main" id="{9CE5489C-E4F8-4C1E-A31B-BC95C8BB94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25" y="4779963"/>
                <a:ext cx="336550" cy="477838"/>
              </a:xfrm>
              <a:custGeom>
                <a:avLst/>
                <a:gdLst/>
                <a:ahLst/>
                <a:cxnLst>
                  <a:cxn ang="0">
                    <a:pos x="169" y="144"/>
                  </a:cxn>
                  <a:cxn ang="0">
                    <a:pos x="163" y="133"/>
                  </a:cxn>
                  <a:cxn ang="0">
                    <a:pos x="158" y="123"/>
                  </a:cxn>
                  <a:cxn ang="0">
                    <a:pos x="159" y="115"/>
                  </a:cxn>
                  <a:cxn ang="0">
                    <a:pos x="160" y="101"/>
                  </a:cxn>
                  <a:cxn ang="0">
                    <a:pos x="150" y="101"/>
                  </a:cxn>
                  <a:cxn ang="0">
                    <a:pos x="144" y="96"/>
                  </a:cxn>
                  <a:cxn ang="0">
                    <a:pos x="136" y="85"/>
                  </a:cxn>
                  <a:cxn ang="0">
                    <a:pos x="139" y="74"/>
                  </a:cxn>
                  <a:cxn ang="0">
                    <a:pos x="141" y="63"/>
                  </a:cxn>
                  <a:cxn ang="0">
                    <a:pos x="141" y="56"/>
                  </a:cxn>
                  <a:cxn ang="0">
                    <a:pos x="141" y="48"/>
                  </a:cxn>
                  <a:cxn ang="0">
                    <a:pos x="130" y="48"/>
                  </a:cxn>
                  <a:cxn ang="0">
                    <a:pos x="121" y="45"/>
                  </a:cxn>
                  <a:cxn ang="0">
                    <a:pos x="115" y="35"/>
                  </a:cxn>
                  <a:cxn ang="0">
                    <a:pos x="107" y="31"/>
                  </a:cxn>
                  <a:cxn ang="0">
                    <a:pos x="97" y="37"/>
                  </a:cxn>
                  <a:cxn ang="0">
                    <a:pos x="95" y="29"/>
                  </a:cxn>
                  <a:cxn ang="0">
                    <a:pos x="92" y="24"/>
                  </a:cxn>
                  <a:cxn ang="0">
                    <a:pos x="80" y="23"/>
                  </a:cxn>
                  <a:cxn ang="0">
                    <a:pos x="75" y="18"/>
                  </a:cxn>
                  <a:cxn ang="0">
                    <a:pos x="60" y="7"/>
                  </a:cxn>
                  <a:cxn ang="0">
                    <a:pos x="48" y="4"/>
                  </a:cxn>
                  <a:cxn ang="0">
                    <a:pos x="36" y="6"/>
                  </a:cxn>
                  <a:cxn ang="0">
                    <a:pos x="25" y="11"/>
                  </a:cxn>
                  <a:cxn ang="0">
                    <a:pos x="12" y="13"/>
                  </a:cxn>
                  <a:cxn ang="0">
                    <a:pos x="4" y="7"/>
                  </a:cxn>
                  <a:cxn ang="0">
                    <a:pos x="2" y="18"/>
                  </a:cxn>
                  <a:cxn ang="0">
                    <a:pos x="11" y="33"/>
                  </a:cxn>
                  <a:cxn ang="0">
                    <a:pos x="34" y="65"/>
                  </a:cxn>
                  <a:cxn ang="0">
                    <a:pos x="38" y="84"/>
                  </a:cxn>
                  <a:cxn ang="0">
                    <a:pos x="51" y="98"/>
                  </a:cxn>
                  <a:cxn ang="0">
                    <a:pos x="67" y="125"/>
                  </a:cxn>
                  <a:cxn ang="0">
                    <a:pos x="84" y="157"/>
                  </a:cxn>
                  <a:cxn ang="0">
                    <a:pos x="77" y="227"/>
                  </a:cxn>
                  <a:cxn ang="0">
                    <a:pos x="88" y="252"/>
                  </a:cxn>
                  <a:cxn ang="0">
                    <a:pos x="98" y="253"/>
                  </a:cxn>
                  <a:cxn ang="0">
                    <a:pos x="99" y="244"/>
                  </a:cxn>
                  <a:cxn ang="0">
                    <a:pos x="101" y="234"/>
                  </a:cxn>
                  <a:cxn ang="0">
                    <a:pos x="108" y="228"/>
                  </a:cxn>
                  <a:cxn ang="0">
                    <a:pos x="126" y="211"/>
                  </a:cxn>
                  <a:cxn ang="0">
                    <a:pos x="128" y="195"/>
                  </a:cxn>
                  <a:cxn ang="0">
                    <a:pos x="126" y="182"/>
                  </a:cxn>
                  <a:cxn ang="0">
                    <a:pos x="127" y="172"/>
                  </a:cxn>
                  <a:cxn ang="0">
                    <a:pos x="143" y="169"/>
                  </a:cxn>
                  <a:cxn ang="0">
                    <a:pos x="142" y="180"/>
                  </a:cxn>
                  <a:cxn ang="0">
                    <a:pos x="146" y="171"/>
                  </a:cxn>
                  <a:cxn ang="0">
                    <a:pos x="155" y="176"/>
                  </a:cxn>
                  <a:cxn ang="0">
                    <a:pos x="163" y="185"/>
                  </a:cxn>
                  <a:cxn ang="0">
                    <a:pos x="171" y="172"/>
                  </a:cxn>
                  <a:cxn ang="0">
                    <a:pos x="178" y="165"/>
                  </a:cxn>
                </a:cxnLst>
                <a:rect l="0" t="0" r="r" b="b"/>
                <a:pathLst>
                  <a:path w="180" h="256">
                    <a:moveTo>
                      <a:pt x="180" y="147"/>
                    </a:moveTo>
                    <a:cubicBezTo>
                      <a:pt x="180" y="144"/>
                      <a:pt x="178" y="144"/>
                      <a:pt x="176" y="143"/>
                    </a:cubicBezTo>
                    <a:cubicBezTo>
                      <a:pt x="175" y="142"/>
                      <a:pt x="174" y="141"/>
                      <a:pt x="173" y="142"/>
                    </a:cubicBezTo>
                    <a:cubicBezTo>
                      <a:pt x="171" y="143"/>
                      <a:pt x="170" y="143"/>
                      <a:pt x="169" y="144"/>
                    </a:cubicBezTo>
                    <a:cubicBezTo>
                      <a:pt x="168" y="144"/>
                      <a:pt x="168" y="144"/>
                      <a:pt x="167" y="143"/>
                    </a:cubicBezTo>
                    <a:cubicBezTo>
                      <a:pt x="167" y="141"/>
                      <a:pt x="165" y="138"/>
                      <a:pt x="165" y="136"/>
                    </a:cubicBezTo>
                    <a:cubicBezTo>
                      <a:pt x="165" y="135"/>
                      <a:pt x="165" y="135"/>
                      <a:pt x="164" y="134"/>
                    </a:cubicBezTo>
                    <a:cubicBezTo>
                      <a:pt x="164" y="134"/>
                      <a:pt x="163" y="133"/>
                      <a:pt x="163" y="133"/>
                    </a:cubicBezTo>
                    <a:cubicBezTo>
                      <a:pt x="163" y="132"/>
                      <a:pt x="163" y="130"/>
                      <a:pt x="164" y="128"/>
                    </a:cubicBezTo>
                    <a:cubicBezTo>
                      <a:pt x="164" y="128"/>
                      <a:pt x="164" y="127"/>
                      <a:pt x="164" y="126"/>
                    </a:cubicBezTo>
                    <a:cubicBezTo>
                      <a:pt x="164" y="126"/>
                      <a:pt x="164" y="124"/>
                      <a:pt x="163" y="123"/>
                    </a:cubicBezTo>
                    <a:cubicBezTo>
                      <a:pt x="162" y="123"/>
                      <a:pt x="159" y="123"/>
                      <a:pt x="158" y="123"/>
                    </a:cubicBezTo>
                    <a:cubicBezTo>
                      <a:pt x="156" y="123"/>
                      <a:pt x="152" y="122"/>
                      <a:pt x="154" y="120"/>
                    </a:cubicBezTo>
                    <a:cubicBezTo>
                      <a:pt x="155" y="118"/>
                      <a:pt x="156" y="119"/>
                      <a:pt x="158" y="120"/>
                    </a:cubicBezTo>
                    <a:cubicBezTo>
                      <a:pt x="157" y="119"/>
                      <a:pt x="157" y="118"/>
                      <a:pt x="157" y="117"/>
                    </a:cubicBezTo>
                    <a:cubicBezTo>
                      <a:pt x="158" y="115"/>
                      <a:pt x="158" y="116"/>
                      <a:pt x="159" y="115"/>
                    </a:cubicBezTo>
                    <a:cubicBezTo>
                      <a:pt x="159" y="114"/>
                      <a:pt x="159" y="114"/>
                      <a:pt x="159" y="113"/>
                    </a:cubicBezTo>
                    <a:cubicBezTo>
                      <a:pt x="159" y="113"/>
                      <a:pt x="159" y="112"/>
                      <a:pt x="159" y="112"/>
                    </a:cubicBezTo>
                    <a:cubicBezTo>
                      <a:pt x="158" y="109"/>
                      <a:pt x="160" y="109"/>
                      <a:pt x="161" y="107"/>
                    </a:cubicBezTo>
                    <a:cubicBezTo>
                      <a:pt x="162" y="105"/>
                      <a:pt x="160" y="103"/>
                      <a:pt x="160" y="101"/>
                    </a:cubicBezTo>
                    <a:cubicBezTo>
                      <a:pt x="160" y="99"/>
                      <a:pt x="160" y="98"/>
                      <a:pt x="160" y="97"/>
                    </a:cubicBezTo>
                    <a:cubicBezTo>
                      <a:pt x="159" y="97"/>
                      <a:pt x="158" y="97"/>
                      <a:pt x="157" y="98"/>
                    </a:cubicBezTo>
                    <a:cubicBezTo>
                      <a:pt x="157" y="98"/>
                      <a:pt x="156" y="98"/>
                      <a:pt x="156" y="98"/>
                    </a:cubicBezTo>
                    <a:cubicBezTo>
                      <a:pt x="154" y="100"/>
                      <a:pt x="153" y="103"/>
                      <a:pt x="150" y="101"/>
                    </a:cubicBezTo>
                    <a:cubicBezTo>
                      <a:pt x="149" y="101"/>
                      <a:pt x="148" y="100"/>
                      <a:pt x="147" y="100"/>
                    </a:cubicBezTo>
                    <a:cubicBezTo>
                      <a:pt x="146" y="99"/>
                      <a:pt x="146" y="97"/>
                      <a:pt x="146" y="96"/>
                    </a:cubicBezTo>
                    <a:cubicBezTo>
                      <a:pt x="146" y="96"/>
                      <a:pt x="145" y="95"/>
                      <a:pt x="145" y="94"/>
                    </a:cubicBezTo>
                    <a:cubicBezTo>
                      <a:pt x="145" y="95"/>
                      <a:pt x="144" y="96"/>
                      <a:pt x="144" y="96"/>
                    </a:cubicBezTo>
                    <a:cubicBezTo>
                      <a:pt x="143" y="96"/>
                      <a:pt x="141" y="95"/>
                      <a:pt x="141" y="94"/>
                    </a:cubicBezTo>
                    <a:cubicBezTo>
                      <a:pt x="141" y="93"/>
                      <a:pt x="141" y="92"/>
                      <a:pt x="140" y="91"/>
                    </a:cubicBezTo>
                    <a:cubicBezTo>
                      <a:pt x="139" y="90"/>
                      <a:pt x="139" y="89"/>
                      <a:pt x="138" y="89"/>
                    </a:cubicBezTo>
                    <a:cubicBezTo>
                      <a:pt x="137" y="88"/>
                      <a:pt x="137" y="86"/>
                      <a:pt x="136" y="85"/>
                    </a:cubicBezTo>
                    <a:cubicBezTo>
                      <a:pt x="135" y="84"/>
                      <a:pt x="135" y="84"/>
                      <a:pt x="135" y="84"/>
                    </a:cubicBezTo>
                    <a:cubicBezTo>
                      <a:pt x="135" y="83"/>
                      <a:pt x="135" y="82"/>
                      <a:pt x="135" y="81"/>
                    </a:cubicBezTo>
                    <a:cubicBezTo>
                      <a:pt x="134" y="80"/>
                      <a:pt x="134" y="79"/>
                      <a:pt x="135" y="78"/>
                    </a:cubicBezTo>
                    <a:cubicBezTo>
                      <a:pt x="136" y="76"/>
                      <a:pt x="139" y="76"/>
                      <a:pt x="139" y="74"/>
                    </a:cubicBezTo>
                    <a:cubicBezTo>
                      <a:pt x="139" y="74"/>
                      <a:pt x="139" y="73"/>
                      <a:pt x="139" y="72"/>
                    </a:cubicBezTo>
                    <a:cubicBezTo>
                      <a:pt x="139" y="71"/>
                      <a:pt x="139" y="70"/>
                      <a:pt x="139" y="70"/>
                    </a:cubicBezTo>
                    <a:cubicBezTo>
                      <a:pt x="140" y="68"/>
                      <a:pt x="140" y="67"/>
                      <a:pt x="140" y="66"/>
                    </a:cubicBezTo>
                    <a:cubicBezTo>
                      <a:pt x="140" y="65"/>
                      <a:pt x="141" y="64"/>
                      <a:pt x="141" y="63"/>
                    </a:cubicBezTo>
                    <a:cubicBezTo>
                      <a:pt x="142" y="63"/>
                      <a:pt x="143" y="63"/>
                      <a:pt x="142" y="62"/>
                    </a:cubicBezTo>
                    <a:cubicBezTo>
                      <a:pt x="141" y="61"/>
                      <a:pt x="140" y="61"/>
                      <a:pt x="140" y="60"/>
                    </a:cubicBezTo>
                    <a:cubicBezTo>
                      <a:pt x="140" y="60"/>
                      <a:pt x="140" y="59"/>
                      <a:pt x="140" y="59"/>
                    </a:cubicBezTo>
                    <a:cubicBezTo>
                      <a:pt x="141" y="58"/>
                      <a:pt x="141" y="58"/>
                      <a:pt x="141" y="56"/>
                    </a:cubicBezTo>
                    <a:cubicBezTo>
                      <a:pt x="141" y="56"/>
                      <a:pt x="141" y="55"/>
                      <a:pt x="141" y="55"/>
                    </a:cubicBezTo>
                    <a:cubicBezTo>
                      <a:pt x="141" y="54"/>
                      <a:pt x="141" y="54"/>
                      <a:pt x="142" y="53"/>
                    </a:cubicBezTo>
                    <a:cubicBezTo>
                      <a:pt x="142" y="53"/>
                      <a:pt x="142" y="53"/>
                      <a:pt x="142" y="52"/>
                    </a:cubicBezTo>
                    <a:cubicBezTo>
                      <a:pt x="143" y="51"/>
                      <a:pt x="143" y="49"/>
                      <a:pt x="141" y="48"/>
                    </a:cubicBezTo>
                    <a:cubicBezTo>
                      <a:pt x="141" y="48"/>
                      <a:pt x="140" y="48"/>
                      <a:pt x="139" y="48"/>
                    </a:cubicBezTo>
                    <a:cubicBezTo>
                      <a:pt x="138" y="47"/>
                      <a:pt x="137" y="47"/>
                      <a:pt x="136" y="46"/>
                    </a:cubicBezTo>
                    <a:cubicBezTo>
                      <a:pt x="135" y="46"/>
                      <a:pt x="133" y="45"/>
                      <a:pt x="132" y="46"/>
                    </a:cubicBezTo>
                    <a:cubicBezTo>
                      <a:pt x="131" y="47"/>
                      <a:pt x="131" y="48"/>
                      <a:pt x="130" y="48"/>
                    </a:cubicBezTo>
                    <a:cubicBezTo>
                      <a:pt x="130" y="48"/>
                      <a:pt x="129" y="48"/>
                      <a:pt x="129" y="48"/>
                    </a:cubicBezTo>
                    <a:cubicBezTo>
                      <a:pt x="128" y="48"/>
                      <a:pt x="126" y="48"/>
                      <a:pt x="125" y="48"/>
                    </a:cubicBezTo>
                    <a:cubicBezTo>
                      <a:pt x="124" y="47"/>
                      <a:pt x="125" y="47"/>
                      <a:pt x="124" y="46"/>
                    </a:cubicBezTo>
                    <a:cubicBezTo>
                      <a:pt x="123" y="45"/>
                      <a:pt x="123" y="45"/>
                      <a:pt x="121" y="45"/>
                    </a:cubicBezTo>
                    <a:cubicBezTo>
                      <a:pt x="120" y="45"/>
                      <a:pt x="120" y="43"/>
                      <a:pt x="119" y="42"/>
                    </a:cubicBezTo>
                    <a:cubicBezTo>
                      <a:pt x="117" y="40"/>
                      <a:pt x="117" y="40"/>
                      <a:pt x="117" y="38"/>
                    </a:cubicBezTo>
                    <a:cubicBezTo>
                      <a:pt x="117" y="37"/>
                      <a:pt x="118" y="35"/>
                      <a:pt x="117" y="35"/>
                    </a:cubicBezTo>
                    <a:cubicBezTo>
                      <a:pt x="116" y="34"/>
                      <a:pt x="116" y="35"/>
                      <a:pt x="115" y="35"/>
                    </a:cubicBezTo>
                    <a:cubicBezTo>
                      <a:pt x="114" y="34"/>
                      <a:pt x="114" y="33"/>
                      <a:pt x="113" y="33"/>
                    </a:cubicBezTo>
                    <a:cubicBezTo>
                      <a:pt x="112" y="32"/>
                      <a:pt x="113" y="32"/>
                      <a:pt x="111" y="32"/>
                    </a:cubicBezTo>
                    <a:cubicBezTo>
                      <a:pt x="111" y="32"/>
                      <a:pt x="110" y="32"/>
                      <a:pt x="109" y="32"/>
                    </a:cubicBezTo>
                    <a:cubicBezTo>
                      <a:pt x="109" y="32"/>
                      <a:pt x="108" y="31"/>
                      <a:pt x="107" y="31"/>
                    </a:cubicBezTo>
                    <a:cubicBezTo>
                      <a:pt x="106" y="30"/>
                      <a:pt x="105" y="30"/>
                      <a:pt x="104" y="30"/>
                    </a:cubicBezTo>
                    <a:cubicBezTo>
                      <a:pt x="103" y="30"/>
                      <a:pt x="100" y="29"/>
                      <a:pt x="99" y="30"/>
                    </a:cubicBezTo>
                    <a:cubicBezTo>
                      <a:pt x="99" y="31"/>
                      <a:pt x="99" y="33"/>
                      <a:pt x="99" y="34"/>
                    </a:cubicBezTo>
                    <a:cubicBezTo>
                      <a:pt x="99" y="35"/>
                      <a:pt x="98" y="37"/>
                      <a:pt x="97" y="37"/>
                    </a:cubicBezTo>
                    <a:cubicBezTo>
                      <a:pt x="97" y="37"/>
                      <a:pt x="97" y="36"/>
                      <a:pt x="97" y="35"/>
                    </a:cubicBezTo>
                    <a:cubicBezTo>
                      <a:pt x="96" y="35"/>
                      <a:pt x="96" y="35"/>
                      <a:pt x="95" y="35"/>
                    </a:cubicBezTo>
                    <a:cubicBezTo>
                      <a:pt x="95" y="35"/>
                      <a:pt x="95" y="33"/>
                      <a:pt x="95" y="32"/>
                    </a:cubicBezTo>
                    <a:cubicBezTo>
                      <a:pt x="95" y="32"/>
                      <a:pt x="95" y="30"/>
                      <a:pt x="95" y="29"/>
                    </a:cubicBezTo>
                    <a:cubicBezTo>
                      <a:pt x="94" y="29"/>
                      <a:pt x="93" y="31"/>
                      <a:pt x="92" y="31"/>
                    </a:cubicBezTo>
                    <a:cubicBezTo>
                      <a:pt x="91" y="31"/>
                      <a:pt x="90" y="32"/>
                      <a:pt x="89" y="31"/>
                    </a:cubicBezTo>
                    <a:cubicBezTo>
                      <a:pt x="89" y="30"/>
                      <a:pt x="90" y="30"/>
                      <a:pt x="91" y="29"/>
                    </a:cubicBezTo>
                    <a:cubicBezTo>
                      <a:pt x="92" y="28"/>
                      <a:pt x="93" y="26"/>
                      <a:pt x="92" y="24"/>
                    </a:cubicBezTo>
                    <a:cubicBezTo>
                      <a:pt x="91" y="22"/>
                      <a:pt x="90" y="23"/>
                      <a:pt x="88" y="23"/>
                    </a:cubicBezTo>
                    <a:cubicBezTo>
                      <a:pt x="87" y="24"/>
                      <a:pt x="86" y="23"/>
                      <a:pt x="84" y="23"/>
                    </a:cubicBezTo>
                    <a:cubicBezTo>
                      <a:pt x="84" y="24"/>
                      <a:pt x="83" y="24"/>
                      <a:pt x="83" y="25"/>
                    </a:cubicBezTo>
                    <a:cubicBezTo>
                      <a:pt x="82" y="25"/>
                      <a:pt x="80" y="24"/>
                      <a:pt x="80" y="23"/>
                    </a:cubicBezTo>
                    <a:cubicBezTo>
                      <a:pt x="79" y="22"/>
                      <a:pt x="80" y="22"/>
                      <a:pt x="79" y="21"/>
                    </a:cubicBezTo>
                    <a:cubicBezTo>
                      <a:pt x="77" y="21"/>
                      <a:pt x="77" y="22"/>
                      <a:pt x="77" y="20"/>
                    </a:cubicBezTo>
                    <a:cubicBezTo>
                      <a:pt x="77" y="20"/>
                      <a:pt x="77" y="19"/>
                      <a:pt x="77" y="19"/>
                    </a:cubicBezTo>
                    <a:cubicBezTo>
                      <a:pt x="77" y="18"/>
                      <a:pt x="76" y="18"/>
                      <a:pt x="75" y="18"/>
                    </a:cubicBezTo>
                    <a:cubicBezTo>
                      <a:pt x="73" y="17"/>
                      <a:pt x="71" y="14"/>
                      <a:pt x="69" y="13"/>
                    </a:cubicBezTo>
                    <a:cubicBezTo>
                      <a:pt x="68" y="12"/>
                      <a:pt x="66" y="12"/>
                      <a:pt x="64" y="11"/>
                    </a:cubicBezTo>
                    <a:cubicBezTo>
                      <a:pt x="63" y="10"/>
                      <a:pt x="62" y="9"/>
                      <a:pt x="61" y="8"/>
                    </a:cubicBezTo>
                    <a:cubicBezTo>
                      <a:pt x="61" y="8"/>
                      <a:pt x="60" y="8"/>
                      <a:pt x="60" y="7"/>
                    </a:cubicBezTo>
                    <a:cubicBezTo>
                      <a:pt x="58" y="6"/>
                      <a:pt x="59" y="6"/>
                      <a:pt x="57" y="6"/>
                    </a:cubicBezTo>
                    <a:cubicBezTo>
                      <a:pt x="56" y="6"/>
                      <a:pt x="54" y="6"/>
                      <a:pt x="54" y="5"/>
                    </a:cubicBezTo>
                    <a:cubicBezTo>
                      <a:pt x="53" y="5"/>
                      <a:pt x="51" y="0"/>
                      <a:pt x="49" y="2"/>
                    </a:cubicBezTo>
                    <a:cubicBezTo>
                      <a:pt x="48" y="2"/>
                      <a:pt x="48" y="4"/>
                      <a:pt x="48" y="4"/>
                    </a:cubicBezTo>
                    <a:cubicBezTo>
                      <a:pt x="48" y="7"/>
                      <a:pt x="45" y="9"/>
                      <a:pt x="42" y="10"/>
                    </a:cubicBezTo>
                    <a:cubicBezTo>
                      <a:pt x="41" y="10"/>
                      <a:pt x="40" y="10"/>
                      <a:pt x="39" y="9"/>
                    </a:cubicBezTo>
                    <a:cubicBezTo>
                      <a:pt x="38" y="8"/>
                      <a:pt x="38" y="7"/>
                      <a:pt x="37" y="7"/>
                    </a:cubicBezTo>
                    <a:cubicBezTo>
                      <a:pt x="37" y="6"/>
                      <a:pt x="36" y="5"/>
                      <a:pt x="36" y="6"/>
                    </a:cubicBezTo>
                    <a:cubicBezTo>
                      <a:pt x="35" y="6"/>
                      <a:pt x="35" y="7"/>
                      <a:pt x="35" y="8"/>
                    </a:cubicBezTo>
                    <a:cubicBezTo>
                      <a:pt x="34" y="9"/>
                      <a:pt x="33" y="9"/>
                      <a:pt x="32" y="10"/>
                    </a:cubicBezTo>
                    <a:cubicBezTo>
                      <a:pt x="31" y="11"/>
                      <a:pt x="28" y="12"/>
                      <a:pt x="26" y="12"/>
                    </a:cubicBezTo>
                    <a:cubicBezTo>
                      <a:pt x="25" y="12"/>
                      <a:pt x="25" y="12"/>
                      <a:pt x="25" y="11"/>
                    </a:cubicBezTo>
                    <a:cubicBezTo>
                      <a:pt x="24" y="9"/>
                      <a:pt x="23" y="8"/>
                      <a:pt x="21" y="8"/>
                    </a:cubicBezTo>
                    <a:cubicBezTo>
                      <a:pt x="19" y="7"/>
                      <a:pt x="19" y="7"/>
                      <a:pt x="19" y="9"/>
                    </a:cubicBezTo>
                    <a:cubicBezTo>
                      <a:pt x="18" y="11"/>
                      <a:pt x="18" y="12"/>
                      <a:pt x="15" y="13"/>
                    </a:cubicBezTo>
                    <a:cubicBezTo>
                      <a:pt x="14" y="14"/>
                      <a:pt x="13" y="14"/>
                      <a:pt x="12" y="13"/>
                    </a:cubicBezTo>
                    <a:cubicBezTo>
                      <a:pt x="12" y="12"/>
                      <a:pt x="12" y="11"/>
                      <a:pt x="11" y="11"/>
                    </a:cubicBezTo>
                    <a:cubicBezTo>
                      <a:pt x="10" y="10"/>
                      <a:pt x="9" y="11"/>
                      <a:pt x="8" y="10"/>
                    </a:cubicBezTo>
                    <a:cubicBezTo>
                      <a:pt x="6" y="10"/>
                      <a:pt x="7" y="7"/>
                      <a:pt x="6" y="7"/>
                    </a:cubicBezTo>
                    <a:cubicBezTo>
                      <a:pt x="5" y="7"/>
                      <a:pt x="4" y="7"/>
                      <a:pt x="4" y="7"/>
                    </a:cubicBezTo>
                    <a:cubicBezTo>
                      <a:pt x="2" y="8"/>
                      <a:pt x="1" y="8"/>
                      <a:pt x="1" y="10"/>
                    </a:cubicBezTo>
                    <a:cubicBezTo>
                      <a:pt x="1" y="11"/>
                      <a:pt x="1" y="12"/>
                      <a:pt x="1" y="13"/>
                    </a:cubicBezTo>
                    <a:cubicBezTo>
                      <a:pt x="1" y="14"/>
                      <a:pt x="2" y="14"/>
                      <a:pt x="2" y="15"/>
                    </a:cubicBezTo>
                    <a:cubicBezTo>
                      <a:pt x="2" y="16"/>
                      <a:pt x="2" y="17"/>
                      <a:pt x="2" y="18"/>
                    </a:cubicBezTo>
                    <a:cubicBezTo>
                      <a:pt x="1" y="19"/>
                      <a:pt x="1" y="19"/>
                      <a:pt x="0" y="20"/>
                    </a:cubicBezTo>
                    <a:cubicBezTo>
                      <a:pt x="0" y="20"/>
                      <a:pt x="0" y="20"/>
                      <a:pt x="0" y="21"/>
                    </a:cubicBezTo>
                    <a:cubicBezTo>
                      <a:pt x="1" y="21"/>
                      <a:pt x="2" y="21"/>
                      <a:pt x="3" y="21"/>
                    </a:cubicBezTo>
                    <a:cubicBezTo>
                      <a:pt x="7" y="23"/>
                      <a:pt x="8" y="29"/>
                      <a:pt x="11" y="33"/>
                    </a:cubicBezTo>
                    <a:cubicBezTo>
                      <a:pt x="13" y="36"/>
                      <a:pt x="15" y="38"/>
                      <a:pt x="18" y="41"/>
                    </a:cubicBezTo>
                    <a:cubicBezTo>
                      <a:pt x="20" y="45"/>
                      <a:pt x="24" y="46"/>
                      <a:pt x="25" y="51"/>
                    </a:cubicBezTo>
                    <a:cubicBezTo>
                      <a:pt x="26" y="53"/>
                      <a:pt x="26" y="55"/>
                      <a:pt x="27" y="56"/>
                    </a:cubicBezTo>
                    <a:cubicBezTo>
                      <a:pt x="29" y="59"/>
                      <a:pt x="32" y="61"/>
                      <a:pt x="34" y="65"/>
                    </a:cubicBezTo>
                    <a:cubicBezTo>
                      <a:pt x="36" y="68"/>
                      <a:pt x="36" y="72"/>
                      <a:pt x="36" y="76"/>
                    </a:cubicBezTo>
                    <a:cubicBezTo>
                      <a:pt x="36" y="77"/>
                      <a:pt x="35" y="78"/>
                      <a:pt x="36" y="79"/>
                    </a:cubicBezTo>
                    <a:cubicBezTo>
                      <a:pt x="36" y="81"/>
                      <a:pt x="37" y="81"/>
                      <a:pt x="37" y="82"/>
                    </a:cubicBezTo>
                    <a:cubicBezTo>
                      <a:pt x="38" y="83"/>
                      <a:pt x="37" y="84"/>
                      <a:pt x="38" y="84"/>
                    </a:cubicBezTo>
                    <a:cubicBezTo>
                      <a:pt x="39" y="85"/>
                      <a:pt x="40" y="85"/>
                      <a:pt x="40" y="86"/>
                    </a:cubicBezTo>
                    <a:cubicBezTo>
                      <a:pt x="41" y="86"/>
                      <a:pt x="40" y="87"/>
                      <a:pt x="40" y="87"/>
                    </a:cubicBezTo>
                    <a:cubicBezTo>
                      <a:pt x="42" y="89"/>
                      <a:pt x="45" y="89"/>
                      <a:pt x="47" y="91"/>
                    </a:cubicBezTo>
                    <a:cubicBezTo>
                      <a:pt x="49" y="92"/>
                      <a:pt x="49" y="96"/>
                      <a:pt x="51" y="98"/>
                    </a:cubicBezTo>
                    <a:cubicBezTo>
                      <a:pt x="52" y="100"/>
                      <a:pt x="53" y="102"/>
                      <a:pt x="54" y="103"/>
                    </a:cubicBezTo>
                    <a:cubicBezTo>
                      <a:pt x="55" y="104"/>
                      <a:pt x="57" y="105"/>
                      <a:pt x="58" y="106"/>
                    </a:cubicBezTo>
                    <a:cubicBezTo>
                      <a:pt x="60" y="109"/>
                      <a:pt x="60" y="110"/>
                      <a:pt x="62" y="111"/>
                    </a:cubicBezTo>
                    <a:cubicBezTo>
                      <a:pt x="65" y="115"/>
                      <a:pt x="66" y="120"/>
                      <a:pt x="67" y="125"/>
                    </a:cubicBezTo>
                    <a:cubicBezTo>
                      <a:pt x="67" y="128"/>
                      <a:pt x="66" y="131"/>
                      <a:pt x="68" y="134"/>
                    </a:cubicBezTo>
                    <a:cubicBezTo>
                      <a:pt x="70" y="138"/>
                      <a:pt x="73" y="140"/>
                      <a:pt x="77" y="140"/>
                    </a:cubicBezTo>
                    <a:cubicBezTo>
                      <a:pt x="80" y="140"/>
                      <a:pt x="78" y="144"/>
                      <a:pt x="80" y="147"/>
                    </a:cubicBezTo>
                    <a:cubicBezTo>
                      <a:pt x="80" y="149"/>
                      <a:pt x="84" y="155"/>
                      <a:pt x="84" y="157"/>
                    </a:cubicBezTo>
                    <a:cubicBezTo>
                      <a:pt x="84" y="160"/>
                      <a:pt x="82" y="165"/>
                      <a:pt x="83" y="167"/>
                    </a:cubicBezTo>
                    <a:cubicBezTo>
                      <a:pt x="85" y="170"/>
                      <a:pt x="84" y="178"/>
                      <a:pt x="83" y="180"/>
                    </a:cubicBezTo>
                    <a:cubicBezTo>
                      <a:pt x="79" y="190"/>
                      <a:pt x="77" y="194"/>
                      <a:pt x="76" y="204"/>
                    </a:cubicBezTo>
                    <a:cubicBezTo>
                      <a:pt x="76" y="210"/>
                      <a:pt x="75" y="223"/>
                      <a:pt x="77" y="227"/>
                    </a:cubicBezTo>
                    <a:cubicBezTo>
                      <a:pt x="79" y="230"/>
                      <a:pt x="79" y="238"/>
                      <a:pt x="78" y="242"/>
                    </a:cubicBezTo>
                    <a:cubicBezTo>
                      <a:pt x="75" y="249"/>
                      <a:pt x="78" y="252"/>
                      <a:pt x="82" y="256"/>
                    </a:cubicBezTo>
                    <a:cubicBezTo>
                      <a:pt x="83" y="256"/>
                      <a:pt x="84" y="255"/>
                      <a:pt x="85" y="254"/>
                    </a:cubicBezTo>
                    <a:cubicBezTo>
                      <a:pt x="86" y="253"/>
                      <a:pt x="87" y="252"/>
                      <a:pt x="88" y="252"/>
                    </a:cubicBezTo>
                    <a:cubicBezTo>
                      <a:pt x="91" y="249"/>
                      <a:pt x="91" y="256"/>
                      <a:pt x="94" y="256"/>
                    </a:cubicBezTo>
                    <a:cubicBezTo>
                      <a:pt x="95" y="256"/>
                      <a:pt x="95" y="256"/>
                      <a:pt x="96" y="255"/>
                    </a:cubicBezTo>
                    <a:cubicBezTo>
                      <a:pt x="96" y="255"/>
                      <a:pt x="96" y="254"/>
                      <a:pt x="97" y="254"/>
                    </a:cubicBezTo>
                    <a:cubicBezTo>
                      <a:pt x="97" y="253"/>
                      <a:pt x="98" y="253"/>
                      <a:pt x="98" y="253"/>
                    </a:cubicBezTo>
                    <a:cubicBezTo>
                      <a:pt x="98" y="252"/>
                      <a:pt x="98" y="251"/>
                      <a:pt x="98" y="250"/>
                    </a:cubicBezTo>
                    <a:cubicBezTo>
                      <a:pt x="98" y="250"/>
                      <a:pt x="98" y="249"/>
                      <a:pt x="99" y="248"/>
                    </a:cubicBezTo>
                    <a:cubicBezTo>
                      <a:pt x="99" y="247"/>
                      <a:pt x="99" y="246"/>
                      <a:pt x="99" y="245"/>
                    </a:cubicBezTo>
                    <a:cubicBezTo>
                      <a:pt x="99" y="245"/>
                      <a:pt x="99" y="244"/>
                      <a:pt x="99" y="244"/>
                    </a:cubicBezTo>
                    <a:cubicBezTo>
                      <a:pt x="99" y="244"/>
                      <a:pt x="100" y="243"/>
                      <a:pt x="100" y="243"/>
                    </a:cubicBezTo>
                    <a:cubicBezTo>
                      <a:pt x="101" y="241"/>
                      <a:pt x="99" y="240"/>
                      <a:pt x="99" y="238"/>
                    </a:cubicBezTo>
                    <a:cubicBezTo>
                      <a:pt x="99" y="237"/>
                      <a:pt x="99" y="236"/>
                      <a:pt x="99" y="235"/>
                    </a:cubicBezTo>
                    <a:cubicBezTo>
                      <a:pt x="99" y="234"/>
                      <a:pt x="100" y="234"/>
                      <a:pt x="101" y="234"/>
                    </a:cubicBezTo>
                    <a:cubicBezTo>
                      <a:pt x="102" y="233"/>
                      <a:pt x="102" y="233"/>
                      <a:pt x="102" y="232"/>
                    </a:cubicBezTo>
                    <a:cubicBezTo>
                      <a:pt x="102" y="231"/>
                      <a:pt x="103" y="230"/>
                      <a:pt x="104" y="230"/>
                    </a:cubicBezTo>
                    <a:cubicBezTo>
                      <a:pt x="104" y="229"/>
                      <a:pt x="105" y="229"/>
                      <a:pt x="106" y="228"/>
                    </a:cubicBezTo>
                    <a:cubicBezTo>
                      <a:pt x="107" y="228"/>
                      <a:pt x="107" y="228"/>
                      <a:pt x="108" y="228"/>
                    </a:cubicBezTo>
                    <a:cubicBezTo>
                      <a:pt x="109" y="228"/>
                      <a:pt x="110" y="227"/>
                      <a:pt x="111" y="227"/>
                    </a:cubicBezTo>
                    <a:cubicBezTo>
                      <a:pt x="113" y="225"/>
                      <a:pt x="112" y="223"/>
                      <a:pt x="111" y="221"/>
                    </a:cubicBezTo>
                    <a:cubicBezTo>
                      <a:pt x="110" y="219"/>
                      <a:pt x="113" y="217"/>
                      <a:pt x="115" y="216"/>
                    </a:cubicBezTo>
                    <a:cubicBezTo>
                      <a:pt x="118" y="214"/>
                      <a:pt x="122" y="213"/>
                      <a:pt x="126" y="211"/>
                    </a:cubicBezTo>
                    <a:cubicBezTo>
                      <a:pt x="127" y="210"/>
                      <a:pt x="128" y="210"/>
                      <a:pt x="128" y="209"/>
                    </a:cubicBezTo>
                    <a:cubicBezTo>
                      <a:pt x="128" y="208"/>
                      <a:pt x="127" y="207"/>
                      <a:pt x="126" y="206"/>
                    </a:cubicBezTo>
                    <a:cubicBezTo>
                      <a:pt x="125" y="204"/>
                      <a:pt x="127" y="202"/>
                      <a:pt x="128" y="200"/>
                    </a:cubicBezTo>
                    <a:cubicBezTo>
                      <a:pt x="129" y="198"/>
                      <a:pt x="129" y="197"/>
                      <a:pt x="128" y="195"/>
                    </a:cubicBezTo>
                    <a:cubicBezTo>
                      <a:pt x="128" y="194"/>
                      <a:pt x="128" y="194"/>
                      <a:pt x="127" y="193"/>
                    </a:cubicBezTo>
                    <a:cubicBezTo>
                      <a:pt x="126" y="193"/>
                      <a:pt x="124" y="194"/>
                      <a:pt x="124" y="193"/>
                    </a:cubicBezTo>
                    <a:cubicBezTo>
                      <a:pt x="123" y="192"/>
                      <a:pt x="125" y="189"/>
                      <a:pt x="125" y="188"/>
                    </a:cubicBezTo>
                    <a:cubicBezTo>
                      <a:pt x="126" y="186"/>
                      <a:pt x="126" y="184"/>
                      <a:pt x="126" y="182"/>
                    </a:cubicBezTo>
                    <a:cubicBezTo>
                      <a:pt x="126" y="181"/>
                      <a:pt x="127" y="180"/>
                      <a:pt x="127" y="179"/>
                    </a:cubicBezTo>
                    <a:cubicBezTo>
                      <a:pt x="126" y="177"/>
                      <a:pt x="125" y="178"/>
                      <a:pt x="124" y="177"/>
                    </a:cubicBezTo>
                    <a:cubicBezTo>
                      <a:pt x="124" y="176"/>
                      <a:pt x="125" y="174"/>
                      <a:pt x="125" y="174"/>
                    </a:cubicBezTo>
                    <a:cubicBezTo>
                      <a:pt x="126" y="172"/>
                      <a:pt x="126" y="172"/>
                      <a:pt x="127" y="172"/>
                    </a:cubicBezTo>
                    <a:cubicBezTo>
                      <a:pt x="129" y="171"/>
                      <a:pt x="130" y="170"/>
                      <a:pt x="131" y="170"/>
                    </a:cubicBezTo>
                    <a:cubicBezTo>
                      <a:pt x="132" y="170"/>
                      <a:pt x="133" y="170"/>
                      <a:pt x="134" y="169"/>
                    </a:cubicBezTo>
                    <a:cubicBezTo>
                      <a:pt x="135" y="169"/>
                      <a:pt x="134" y="169"/>
                      <a:pt x="135" y="168"/>
                    </a:cubicBezTo>
                    <a:cubicBezTo>
                      <a:pt x="137" y="166"/>
                      <a:pt x="143" y="164"/>
                      <a:pt x="143" y="169"/>
                    </a:cubicBezTo>
                    <a:cubicBezTo>
                      <a:pt x="143" y="171"/>
                      <a:pt x="142" y="172"/>
                      <a:pt x="141" y="174"/>
                    </a:cubicBezTo>
                    <a:cubicBezTo>
                      <a:pt x="139" y="176"/>
                      <a:pt x="139" y="177"/>
                      <a:pt x="139" y="179"/>
                    </a:cubicBezTo>
                    <a:cubicBezTo>
                      <a:pt x="140" y="180"/>
                      <a:pt x="140" y="183"/>
                      <a:pt x="141" y="182"/>
                    </a:cubicBezTo>
                    <a:cubicBezTo>
                      <a:pt x="142" y="181"/>
                      <a:pt x="142" y="180"/>
                      <a:pt x="142" y="180"/>
                    </a:cubicBezTo>
                    <a:cubicBezTo>
                      <a:pt x="142" y="179"/>
                      <a:pt x="143" y="179"/>
                      <a:pt x="143" y="178"/>
                    </a:cubicBezTo>
                    <a:cubicBezTo>
                      <a:pt x="144" y="177"/>
                      <a:pt x="144" y="176"/>
                      <a:pt x="144" y="175"/>
                    </a:cubicBezTo>
                    <a:cubicBezTo>
                      <a:pt x="144" y="172"/>
                      <a:pt x="145" y="169"/>
                      <a:pt x="146" y="168"/>
                    </a:cubicBezTo>
                    <a:cubicBezTo>
                      <a:pt x="147" y="169"/>
                      <a:pt x="146" y="170"/>
                      <a:pt x="146" y="171"/>
                    </a:cubicBezTo>
                    <a:cubicBezTo>
                      <a:pt x="146" y="172"/>
                      <a:pt x="147" y="176"/>
                      <a:pt x="148" y="177"/>
                    </a:cubicBezTo>
                    <a:cubicBezTo>
                      <a:pt x="149" y="176"/>
                      <a:pt x="151" y="171"/>
                      <a:pt x="154" y="172"/>
                    </a:cubicBezTo>
                    <a:cubicBezTo>
                      <a:pt x="155" y="172"/>
                      <a:pt x="155" y="173"/>
                      <a:pt x="155" y="174"/>
                    </a:cubicBezTo>
                    <a:cubicBezTo>
                      <a:pt x="155" y="175"/>
                      <a:pt x="155" y="175"/>
                      <a:pt x="155" y="176"/>
                    </a:cubicBezTo>
                    <a:cubicBezTo>
                      <a:pt x="156" y="176"/>
                      <a:pt x="157" y="177"/>
                      <a:pt x="158" y="177"/>
                    </a:cubicBezTo>
                    <a:cubicBezTo>
                      <a:pt x="158" y="178"/>
                      <a:pt x="159" y="179"/>
                      <a:pt x="159" y="180"/>
                    </a:cubicBezTo>
                    <a:cubicBezTo>
                      <a:pt x="159" y="180"/>
                      <a:pt x="160" y="181"/>
                      <a:pt x="160" y="182"/>
                    </a:cubicBezTo>
                    <a:cubicBezTo>
                      <a:pt x="161" y="183"/>
                      <a:pt x="162" y="184"/>
                      <a:pt x="163" y="185"/>
                    </a:cubicBezTo>
                    <a:cubicBezTo>
                      <a:pt x="163" y="185"/>
                      <a:pt x="165" y="185"/>
                      <a:pt x="166" y="185"/>
                    </a:cubicBezTo>
                    <a:cubicBezTo>
                      <a:pt x="166" y="182"/>
                      <a:pt x="166" y="180"/>
                      <a:pt x="168" y="178"/>
                    </a:cubicBezTo>
                    <a:cubicBezTo>
                      <a:pt x="169" y="177"/>
                      <a:pt x="170" y="176"/>
                      <a:pt x="170" y="175"/>
                    </a:cubicBezTo>
                    <a:cubicBezTo>
                      <a:pt x="171" y="174"/>
                      <a:pt x="170" y="173"/>
                      <a:pt x="171" y="172"/>
                    </a:cubicBezTo>
                    <a:cubicBezTo>
                      <a:pt x="172" y="171"/>
                      <a:pt x="172" y="171"/>
                      <a:pt x="173" y="170"/>
                    </a:cubicBezTo>
                    <a:cubicBezTo>
                      <a:pt x="173" y="170"/>
                      <a:pt x="173" y="169"/>
                      <a:pt x="173" y="168"/>
                    </a:cubicBezTo>
                    <a:cubicBezTo>
                      <a:pt x="175" y="167"/>
                      <a:pt x="176" y="169"/>
                      <a:pt x="178" y="168"/>
                    </a:cubicBezTo>
                    <a:cubicBezTo>
                      <a:pt x="179" y="167"/>
                      <a:pt x="178" y="166"/>
                      <a:pt x="178" y="165"/>
                    </a:cubicBezTo>
                    <a:cubicBezTo>
                      <a:pt x="178" y="163"/>
                      <a:pt x="179" y="161"/>
                      <a:pt x="179" y="160"/>
                    </a:cubicBezTo>
                    <a:cubicBezTo>
                      <a:pt x="180" y="156"/>
                      <a:pt x="180" y="151"/>
                      <a:pt x="180" y="147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87" name="Freeform 36">
                <a:extLst>
                  <a:ext uri="{FF2B5EF4-FFF2-40B4-BE49-F238E27FC236}">
                    <a16:creationId xmlns:a16="http://schemas.microsoft.com/office/drawing/2014/main" id="{17E06AA9-95CC-40BC-B3A3-E86FD34AF3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0050" y="3663950"/>
                <a:ext cx="346075" cy="179388"/>
              </a:xfrm>
              <a:custGeom>
                <a:avLst/>
                <a:gdLst/>
                <a:ahLst/>
                <a:cxnLst>
                  <a:cxn ang="0">
                    <a:pos x="184" y="94"/>
                  </a:cxn>
                  <a:cxn ang="0">
                    <a:pos x="182" y="91"/>
                  </a:cxn>
                  <a:cxn ang="0">
                    <a:pos x="175" y="87"/>
                  </a:cxn>
                  <a:cxn ang="0">
                    <a:pos x="163" y="83"/>
                  </a:cxn>
                  <a:cxn ang="0">
                    <a:pos x="161" y="81"/>
                  </a:cxn>
                  <a:cxn ang="0">
                    <a:pos x="160" y="75"/>
                  </a:cxn>
                  <a:cxn ang="0">
                    <a:pos x="163" y="61"/>
                  </a:cxn>
                  <a:cxn ang="0">
                    <a:pos x="171" y="47"/>
                  </a:cxn>
                  <a:cxn ang="0">
                    <a:pos x="169" y="38"/>
                  </a:cxn>
                  <a:cxn ang="0">
                    <a:pos x="163" y="31"/>
                  </a:cxn>
                  <a:cxn ang="0">
                    <a:pos x="158" y="23"/>
                  </a:cxn>
                  <a:cxn ang="0">
                    <a:pos x="151" y="22"/>
                  </a:cxn>
                  <a:cxn ang="0">
                    <a:pos x="139" y="20"/>
                  </a:cxn>
                  <a:cxn ang="0">
                    <a:pos x="132" y="22"/>
                  </a:cxn>
                  <a:cxn ang="0">
                    <a:pos x="127" y="22"/>
                  </a:cxn>
                  <a:cxn ang="0">
                    <a:pos x="122" y="20"/>
                  </a:cxn>
                  <a:cxn ang="0">
                    <a:pos x="115" y="17"/>
                  </a:cxn>
                  <a:cxn ang="0">
                    <a:pos x="110" y="15"/>
                  </a:cxn>
                  <a:cxn ang="0">
                    <a:pos x="101" y="12"/>
                  </a:cxn>
                  <a:cxn ang="0">
                    <a:pos x="90" y="1"/>
                  </a:cxn>
                  <a:cxn ang="0">
                    <a:pos x="82" y="3"/>
                  </a:cxn>
                  <a:cxn ang="0">
                    <a:pos x="83" y="9"/>
                  </a:cxn>
                  <a:cxn ang="0">
                    <a:pos x="76" y="12"/>
                  </a:cxn>
                  <a:cxn ang="0">
                    <a:pos x="76" y="20"/>
                  </a:cxn>
                  <a:cxn ang="0">
                    <a:pos x="76" y="36"/>
                  </a:cxn>
                  <a:cxn ang="0">
                    <a:pos x="74" y="40"/>
                  </a:cxn>
                  <a:cxn ang="0">
                    <a:pos x="62" y="33"/>
                  </a:cxn>
                  <a:cxn ang="0">
                    <a:pos x="48" y="39"/>
                  </a:cxn>
                  <a:cxn ang="0">
                    <a:pos x="33" y="45"/>
                  </a:cxn>
                  <a:cxn ang="0">
                    <a:pos x="14" y="52"/>
                  </a:cxn>
                  <a:cxn ang="0">
                    <a:pos x="28" y="56"/>
                  </a:cxn>
                  <a:cxn ang="0">
                    <a:pos x="28" y="62"/>
                  </a:cxn>
                  <a:cxn ang="0">
                    <a:pos x="22" y="65"/>
                  </a:cxn>
                  <a:cxn ang="0">
                    <a:pos x="15" y="66"/>
                  </a:cxn>
                  <a:cxn ang="0">
                    <a:pos x="11" y="71"/>
                  </a:cxn>
                  <a:cxn ang="0">
                    <a:pos x="0" y="78"/>
                  </a:cxn>
                  <a:cxn ang="0">
                    <a:pos x="2" y="84"/>
                  </a:cxn>
                  <a:cxn ang="0">
                    <a:pos x="6" y="83"/>
                  </a:cxn>
                  <a:cxn ang="0">
                    <a:pos x="76" y="88"/>
                  </a:cxn>
                  <a:cxn ang="0">
                    <a:pos x="137" y="89"/>
                  </a:cxn>
                  <a:cxn ang="0">
                    <a:pos x="164" y="89"/>
                  </a:cxn>
                  <a:cxn ang="0">
                    <a:pos x="184" y="96"/>
                  </a:cxn>
                </a:cxnLst>
                <a:rect l="0" t="0" r="r" b="b"/>
                <a:pathLst>
                  <a:path w="185" h="96">
                    <a:moveTo>
                      <a:pt x="185" y="96"/>
                    </a:moveTo>
                    <a:cubicBezTo>
                      <a:pt x="185" y="96"/>
                      <a:pt x="184" y="95"/>
                      <a:pt x="184" y="94"/>
                    </a:cubicBezTo>
                    <a:cubicBezTo>
                      <a:pt x="183" y="94"/>
                      <a:pt x="184" y="93"/>
                      <a:pt x="183" y="92"/>
                    </a:cubicBezTo>
                    <a:cubicBezTo>
                      <a:pt x="183" y="92"/>
                      <a:pt x="182" y="91"/>
                      <a:pt x="182" y="91"/>
                    </a:cubicBezTo>
                    <a:cubicBezTo>
                      <a:pt x="181" y="90"/>
                      <a:pt x="180" y="89"/>
                      <a:pt x="179" y="88"/>
                    </a:cubicBezTo>
                    <a:cubicBezTo>
                      <a:pt x="178" y="87"/>
                      <a:pt x="177" y="87"/>
                      <a:pt x="175" y="87"/>
                    </a:cubicBezTo>
                    <a:cubicBezTo>
                      <a:pt x="173" y="87"/>
                      <a:pt x="171" y="86"/>
                      <a:pt x="169" y="85"/>
                    </a:cubicBezTo>
                    <a:cubicBezTo>
                      <a:pt x="167" y="85"/>
                      <a:pt x="165" y="84"/>
                      <a:pt x="163" y="83"/>
                    </a:cubicBezTo>
                    <a:cubicBezTo>
                      <a:pt x="163" y="82"/>
                      <a:pt x="163" y="82"/>
                      <a:pt x="162" y="82"/>
                    </a:cubicBezTo>
                    <a:cubicBezTo>
                      <a:pt x="162" y="81"/>
                      <a:pt x="161" y="81"/>
                      <a:pt x="161" y="81"/>
                    </a:cubicBezTo>
                    <a:cubicBezTo>
                      <a:pt x="160" y="81"/>
                      <a:pt x="160" y="81"/>
                      <a:pt x="160" y="80"/>
                    </a:cubicBezTo>
                    <a:cubicBezTo>
                      <a:pt x="160" y="78"/>
                      <a:pt x="160" y="76"/>
                      <a:pt x="160" y="75"/>
                    </a:cubicBezTo>
                    <a:cubicBezTo>
                      <a:pt x="160" y="73"/>
                      <a:pt x="161" y="72"/>
                      <a:pt x="161" y="71"/>
                    </a:cubicBezTo>
                    <a:cubicBezTo>
                      <a:pt x="161" y="67"/>
                      <a:pt x="162" y="64"/>
                      <a:pt x="163" y="61"/>
                    </a:cubicBezTo>
                    <a:cubicBezTo>
                      <a:pt x="163" y="58"/>
                      <a:pt x="163" y="57"/>
                      <a:pt x="165" y="55"/>
                    </a:cubicBezTo>
                    <a:cubicBezTo>
                      <a:pt x="167" y="53"/>
                      <a:pt x="169" y="50"/>
                      <a:pt x="171" y="47"/>
                    </a:cubicBezTo>
                    <a:cubicBezTo>
                      <a:pt x="172" y="47"/>
                      <a:pt x="172" y="46"/>
                      <a:pt x="172" y="45"/>
                    </a:cubicBezTo>
                    <a:cubicBezTo>
                      <a:pt x="172" y="42"/>
                      <a:pt x="169" y="40"/>
                      <a:pt x="169" y="38"/>
                    </a:cubicBezTo>
                    <a:cubicBezTo>
                      <a:pt x="168" y="37"/>
                      <a:pt x="168" y="35"/>
                      <a:pt x="167" y="33"/>
                    </a:cubicBezTo>
                    <a:cubicBezTo>
                      <a:pt x="166" y="32"/>
                      <a:pt x="164" y="32"/>
                      <a:pt x="163" y="31"/>
                    </a:cubicBezTo>
                    <a:cubicBezTo>
                      <a:pt x="162" y="30"/>
                      <a:pt x="159" y="28"/>
                      <a:pt x="159" y="27"/>
                    </a:cubicBezTo>
                    <a:cubicBezTo>
                      <a:pt x="158" y="26"/>
                      <a:pt x="159" y="25"/>
                      <a:pt x="158" y="23"/>
                    </a:cubicBezTo>
                    <a:cubicBezTo>
                      <a:pt x="157" y="22"/>
                      <a:pt x="155" y="20"/>
                      <a:pt x="154" y="20"/>
                    </a:cubicBezTo>
                    <a:cubicBezTo>
                      <a:pt x="152" y="20"/>
                      <a:pt x="152" y="21"/>
                      <a:pt x="151" y="22"/>
                    </a:cubicBezTo>
                    <a:cubicBezTo>
                      <a:pt x="150" y="22"/>
                      <a:pt x="149" y="22"/>
                      <a:pt x="148" y="22"/>
                    </a:cubicBezTo>
                    <a:cubicBezTo>
                      <a:pt x="144" y="22"/>
                      <a:pt x="142" y="21"/>
                      <a:pt x="139" y="20"/>
                    </a:cubicBezTo>
                    <a:cubicBezTo>
                      <a:pt x="137" y="19"/>
                      <a:pt x="136" y="19"/>
                      <a:pt x="134" y="20"/>
                    </a:cubicBezTo>
                    <a:cubicBezTo>
                      <a:pt x="133" y="21"/>
                      <a:pt x="132" y="22"/>
                      <a:pt x="132" y="22"/>
                    </a:cubicBezTo>
                    <a:cubicBezTo>
                      <a:pt x="131" y="23"/>
                      <a:pt x="132" y="24"/>
                      <a:pt x="130" y="24"/>
                    </a:cubicBezTo>
                    <a:cubicBezTo>
                      <a:pt x="129" y="24"/>
                      <a:pt x="128" y="22"/>
                      <a:pt x="127" y="22"/>
                    </a:cubicBezTo>
                    <a:cubicBezTo>
                      <a:pt x="126" y="21"/>
                      <a:pt x="125" y="18"/>
                      <a:pt x="124" y="19"/>
                    </a:cubicBezTo>
                    <a:cubicBezTo>
                      <a:pt x="123" y="19"/>
                      <a:pt x="123" y="20"/>
                      <a:pt x="122" y="20"/>
                    </a:cubicBezTo>
                    <a:cubicBezTo>
                      <a:pt x="121" y="20"/>
                      <a:pt x="121" y="19"/>
                      <a:pt x="120" y="18"/>
                    </a:cubicBezTo>
                    <a:cubicBezTo>
                      <a:pt x="119" y="17"/>
                      <a:pt x="116" y="18"/>
                      <a:pt x="115" y="17"/>
                    </a:cubicBezTo>
                    <a:cubicBezTo>
                      <a:pt x="114" y="17"/>
                      <a:pt x="113" y="16"/>
                      <a:pt x="112" y="15"/>
                    </a:cubicBezTo>
                    <a:cubicBezTo>
                      <a:pt x="111" y="15"/>
                      <a:pt x="110" y="15"/>
                      <a:pt x="110" y="15"/>
                    </a:cubicBezTo>
                    <a:cubicBezTo>
                      <a:pt x="109" y="14"/>
                      <a:pt x="108" y="14"/>
                      <a:pt x="107" y="13"/>
                    </a:cubicBezTo>
                    <a:cubicBezTo>
                      <a:pt x="105" y="13"/>
                      <a:pt x="103" y="12"/>
                      <a:pt x="101" y="12"/>
                    </a:cubicBezTo>
                    <a:cubicBezTo>
                      <a:pt x="99" y="12"/>
                      <a:pt x="98" y="10"/>
                      <a:pt x="97" y="9"/>
                    </a:cubicBezTo>
                    <a:cubicBezTo>
                      <a:pt x="95" y="6"/>
                      <a:pt x="93" y="2"/>
                      <a:pt x="90" y="1"/>
                    </a:cubicBezTo>
                    <a:cubicBezTo>
                      <a:pt x="88" y="0"/>
                      <a:pt x="87" y="1"/>
                      <a:pt x="85" y="2"/>
                    </a:cubicBezTo>
                    <a:cubicBezTo>
                      <a:pt x="85" y="2"/>
                      <a:pt x="83" y="3"/>
                      <a:pt x="82" y="3"/>
                    </a:cubicBezTo>
                    <a:cubicBezTo>
                      <a:pt x="82" y="4"/>
                      <a:pt x="82" y="4"/>
                      <a:pt x="83" y="5"/>
                    </a:cubicBezTo>
                    <a:cubicBezTo>
                      <a:pt x="83" y="7"/>
                      <a:pt x="84" y="8"/>
                      <a:pt x="83" y="9"/>
                    </a:cubicBezTo>
                    <a:cubicBezTo>
                      <a:pt x="82" y="10"/>
                      <a:pt x="80" y="10"/>
                      <a:pt x="79" y="10"/>
                    </a:cubicBezTo>
                    <a:cubicBezTo>
                      <a:pt x="77" y="10"/>
                      <a:pt x="76" y="10"/>
                      <a:pt x="76" y="12"/>
                    </a:cubicBezTo>
                    <a:cubicBezTo>
                      <a:pt x="76" y="13"/>
                      <a:pt x="76" y="14"/>
                      <a:pt x="76" y="15"/>
                    </a:cubicBezTo>
                    <a:cubicBezTo>
                      <a:pt x="76" y="16"/>
                      <a:pt x="76" y="18"/>
                      <a:pt x="76" y="20"/>
                    </a:cubicBezTo>
                    <a:cubicBezTo>
                      <a:pt x="76" y="22"/>
                      <a:pt x="76" y="25"/>
                      <a:pt x="76" y="27"/>
                    </a:cubicBezTo>
                    <a:cubicBezTo>
                      <a:pt x="76" y="30"/>
                      <a:pt x="76" y="33"/>
                      <a:pt x="76" y="36"/>
                    </a:cubicBezTo>
                    <a:cubicBezTo>
                      <a:pt x="76" y="37"/>
                      <a:pt x="77" y="38"/>
                      <a:pt x="76" y="39"/>
                    </a:cubicBezTo>
                    <a:cubicBezTo>
                      <a:pt x="75" y="39"/>
                      <a:pt x="75" y="40"/>
                      <a:pt x="74" y="40"/>
                    </a:cubicBezTo>
                    <a:cubicBezTo>
                      <a:pt x="73" y="40"/>
                      <a:pt x="72" y="40"/>
                      <a:pt x="71" y="39"/>
                    </a:cubicBezTo>
                    <a:cubicBezTo>
                      <a:pt x="68" y="37"/>
                      <a:pt x="66" y="34"/>
                      <a:pt x="62" y="33"/>
                    </a:cubicBezTo>
                    <a:cubicBezTo>
                      <a:pt x="58" y="33"/>
                      <a:pt x="54" y="30"/>
                      <a:pt x="50" y="31"/>
                    </a:cubicBezTo>
                    <a:cubicBezTo>
                      <a:pt x="47" y="32"/>
                      <a:pt x="48" y="36"/>
                      <a:pt x="48" y="39"/>
                    </a:cubicBezTo>
                    <a:cubicBezTo>
                      <a:pt x="45" y="39"/>
                      <a:pt x="40" y="36"/>
                      <a:pt x="37" y="39"/>
                    </a:cubicBezTo>
                    <a:cubicBezTo>
                      <a:pt x="35" y="40"/>
                      <a:pt x="35" y="44"/>
                      <a:pt x="33" y="45"/>
                    </a:cubicBezTo>
                    <a:cubicBezTo>
                      <a:pt x="28" y="48"/>
                      <a:pt x="23" y="49"/>
                      <a:pt x="18" y="50"/>
                    </a:cubicBezTo>
                    <a:cubicBezTo>
                      <a:pt x="17" y="50"/>
                      <a:pt x="15" y="51"/>
                      <a:pt x="14" y="52"/>
                    </a:cubicBezTo>
                    <a:cubicBezTo>
                      <a:pt x="14" y="54"/>
                      <a:pt x="17" y="55"/>
                      <a:pt x="19" y="56"/>
                    </a:cubicBezTo>
                    <a:cubicBezTo>
                      <a:pt x="22" y="56"/>
                      <a:pt x="25" y="56"/>
                      <a:pt x="28" y="56"/>
                    </a:cubicBezTo>
                    <a:cubicBezTo>
                      <a:pt x="30" y="56"/>
                      <a:pt x="33" y="56"/>
                      <a:pt x="34" y="57"/>
                    </a:cubicBezTo>
                    <a:cubicBezTo>
                      <a:pt x="37" y="60"/>
                      <a:pt x="30" y="61"/>
                      <a:pt x="28" y="62"/>
                    </a:cubicBezTo>
                    <a:cubicBezTo>
                      <a:pt x="26" y="62"/>
                      <a:pt x="25" y="63"/>
                      <a:pt x="24" y="64"/>
                    </a:cubicBezTo>
                    <a:cubicBezTo>
                      <a:pt x="23" y="64"/>
                      <a:pt x="22" y="64"/>
                      <a:pt x="22" y="65"/>
                    </a:cubicBezTo>
                    <a:cubicBezTo>
                      <a:pt x="21" y="66"/>
                      <a:pt x="21" y="67"/>
                      <a:pt x="20" y="67"/>
                    </a:cubicBezTo>
                    <a:cubicBezTo>
                      <a:pt x="17" y="68"/>
                      <a:pt x="17" y="67"/>
                      <a:pt x="15" y="66"/>
                    </a:cubicBezTo>
                    <a:cubicBezTo>
                      <a:pt x="14" y="65"/>
                      <a:pt x="13" y="65"/>
                      <a:pt x="12" y="66"/>
                    </a:cubicBezTo>
                    <a:cubicBezTo>
                      <a:pt x="10" y="67"/>
                      <a:pt x="11" y="68"/>
                      <a:pt x="11" y="71"/>
                    </a:cubicBezTo>
                    <a:cubicBezTo>
                      <a:pt x="10" y="75"/>
                      <a:pt x="6" y="72"/>
                      <a:pt x="4" y="73"/>
                    </a:cubicBezTo>
                    <a:cubicBezTo>
                      <a:pt x="2" y="73"/>
                      <a:pt x="1" y="76"/>
                      <a:pt x="0" y="78"/>
                    </a:cubicBezTo>
                    <a:cubicBezTo>
                      <a:pt x="0" y="80"/>
                      <a:pt x="1" y="80"/>
                      <a:pt x="2" y="82"/>
                    </a:cubicBezTo>
                    <a:cubicBezTo>
                      <a:pt x="2" y="83"/>
                      <a:pt x="2" y="83"/>
                      <a:pt x="2" y="84"/>
                    </a:cubicBezTo>
                    <a:cubicBezTo>
                      <a:pt x="2" y="83"/>
                      <a:pt x="3" y="83"/>
                      <a:pt x="3" y="82"/>
                    </a:cubicBezTo>
                    <a:cubicBezTo>
                      <a:pt x="4" y="82"/>
                      <a:pt x="5" y="82"/>
                      <a:pt x="6" y="83"/>
                    </a:cubicBezTo>
                    <a:cubicBezTo>
                      <a:pt x="13" y="84"/>
                      <a:pt x="20" y="85"/>
                      <a:pt x="27" y="86"/>
                    </a:cubicBezTo>
                    <a:cubicBezTo>
                      <a:pt x="43" y="87"/>
                      <a:pt x="59" y="88"/>
                      <a:pt x="76" y="88"/>
                    </a:cubicBezTo>
                    <a:cubicBezTo>
                      <a:pt x="88" y="89"/>
                      <a:pt x="100" y="88"/>
                      <a:pt x="112" y="88"/>
                    </a:cubicBezTo>
                    <a:cubicBezTo>
                      <a:pt x="120" y="88"/>
                      <a:pt x="129" y="89"/>
                      <a:pt x="137" y="89"/>
                    </a:cubicBezTo>
                    <a:cubicBezTo>
                      <a:pt x="144" y="89"/>
                      <a:pt x="150" y="89"/>
                      <a:pt x="157" y="89"/>
                    </a:cubicBezTo>
                    <a:cubicBezTo>
                      <a:pt x="159" y="89"/>
                      <a:pt x="162" y="89"/>
                      <a:pt x="164" y="89"/>
                    </a:cubicBezTo>
                    <a:cubicBezTo>
                      <a:pt x="166" y="89"/>
                      <a:pt x="168" y="90"/>
                      <a:pt x="170" y="90"/>
                    </a:cubicBezTo>
                    <a:cubicBezTo>
                      <a:pt x="175" y="92"/>
                      <a:pt x="179" y="95"/>
                      <a:pt x="184" y="96"/>
                    </a:cubicBezTo>
                    <a:cubicBezTo>
                      <a:pt x="184" y="96"/>
                      <a:pt x="185" y="96"/>
                      <a:pt x="185" y="96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88" name="Freeform 37">
                <a:extLst>
                  <a:ext uri="{FF2B5EF4-FFF2-40B4-BE49-F238E27FC236}">
                    <a16:creationId xmlns:a16="http://schemas.microsoft.com/office/drawing/2014/main" id="{6B861F58-EF48-4FCE-B6D0-D4D018B08A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7050" y="3459163"/>
                <a:ext cx="592138" cy="452438"/>
              </a:xfrm>
              <a:custGeom>
                <a:avLst/>
                <a:gdLst/>
                <a:ahLst/>
                <a:cxnLst>
                  <a:cxn ang="0">
                    <a:pos x="305" y="111"/>
                  </a:cxn>
                  <a:cxn ang="0">
                    <a:pos x="303" y="97"/>
                  </a:cxn>
                  <a:cxn ang="0">
                    <a:pos x="309" y="76"/>
                  </a:cxn>
                  <a:cxn ang="0">
                    <a:pos x="291" y="69"/>
                  </a:cxn>
                  <a:cxn ang="0">
                    <a:pos x="278" y="50"/>
                  </a:cxn>
                  <a:cxn ang="0">
                    <a:pos x="252" y="32"/>
                  </a:cxn>
                  <a:cxn ang="0">
                    <a:pos x="229" y="29"/>
                  </a:cxn>
                  <a:cxn ang="0">
                    <a:pos x="213" y="9"/>
                  </a:cxn>
                  <a:cxn ang="0">
                    <a:pos x="208" y="2"/>
                  </a:cxn>
                  <a:cxn ang="0">
                    <a:pos x="200" y="11"/>
                  </a:cxn>
                  <a:cxn ang="0">
                    <a:pos x="189" y="18"/>
                  </a:cxn>
                  <a:cxn ang="0">
                    <a:pos x="168" y="16"/>
                  </a:cxn>
                  <a:cxn ang="0">
                    <a:pos x="154" y="13"/>
                  </a:cxn>
                  <a:cxn ang="0">
                    <a:pos x="137" y="10"/>
                  </a:cxn>
                  <a:cxn ang="0">
                    <a:pos x="121" y="10"/>
                  </a:cxn>
                  <a:cxn ang="0">
                    <a:pos x="112" y="6"/>
                  </a:cxn>
                  <a:cxn ang="0">
                    <a:pos x="101" y="7"/>
                  </a:cxn>
                  <a:cxn ang="0">
                    <a:pos x="78" y="5"/>
                  </a:cxn>
                  <a:cxn ang="0">
                    <a:pos x="53" y="3"/>
                  </a:cxn>
                  <a:cxn ang="0">
                    <a:pos x="36" y="13"/>
                  </a:cxn>
                  <a:cxn ang="0">
                    <a:pos x="20" y="23"/>
                  </a:cxn>
                  <a:cxn ang="0">
                    <a:pos x="12" y="27"/>
                  </a:cxn>
                  <a:cxn ang="0">
                    <a:pos x="8" y="34"/>
                  </a:cxn>
                  <a:cxn ang="0">
                    <a:pos x="1" y="51"/>
                  </a:cxn>
                  <a:cxn ang="0">
                    <a:pos x="3" y="65"/>
                  </a:cxn>
                  <a:cxn ang="0">
                    <a:pos x="8" y="74"/>
                  </a:cxn>
                  <a:cxn ang="0">
                    <a:pos x="9" y="90"/>
                  </a:cxn>
                  <a:cxn ang="0">
                    <a:pos x="15" y="106"/>
                  </a:cxn>
                  <a:cxn ang="0">
                    <a:pos x="22" y="110"/>
                  </a:cxn>
                  <a:cxn ang="0">
                    <a:pos x="42" y="124"/>
                  </a:cxn>
                  <a:cxn ang="0">
                    <a:pos x="54" y="129"/>
                  </a:cxn>
                  <a:cxn ang="0">
                    <a:pos x="64" y="131"/>
                  </a:cxn>
                  <a:cxn ang="0">
                    <a:pos x="83" y="131"/>
                  </a:cxn>
                  <a:cxn ang="0">
                    <a:pos x="95" y="140"/>
                  </a:cxn>
                  <a:cxn ang="0">
                    <a:pos x="103" y="156"/>
                  </a:cxn>
                  <a:cxn ang="0">
                    <a:pos x="92" y="184"/>
                  </a:cxn>
                  <a:cxn ang="0">
                    <a:pos x="95" y="192"/>
                  </a:cxn>
                  <a:cxn ang="0">
                    <a:pos x="114" y="200"/>
                  </a:cxn>
                  <a:cxn ang="0">
                    <a:pos x="128" y="207"/>
                  </a:cxn>
                  <a:cxn ang="0">
                    <a:pos x="138" y="221"/>
                  </a:cxn>
                  <a:cxn ang="0">
                    <a:pos x="137" y="237"/>
                  </a:cxn>
                  <a:cxn ang="0">
                    <a:pos x="144" y="235"/>
                  </a:cxn>
                  <a:cxn ang="0">
                    <a:pos x="159" y="236"/>
                  </a:cxn>
                  <a:cxn ang="0">
                    <a:pos x="185" y="240"/>
                  </a:cxn>
                  <a:cxn ang="0">
                    <a:pos x="195" y="232"/>
                  </a:cxn>
                  <a:cxn ang="0">
                    <a:pos x="203" y="234"/>
                  </a:cxn>
                  <a:cxn ang="0">
                    <a:pos x="207" y="222"/>
                  </a:cxn>
                  <a:cxn ang="0">
                    <a:pos x="223" y="220"/>
                  </a:cxn>
                  <a:cxn ang="0">
                    <a:pos x="237" y="204"/>
                  </a:cxn>
                  <a:cxn ang="0">
                    <a:pos x="247" y="212"/>
                  </a:cxn>
                  <a:cxn ang="0">
                    <a:pos x="259" y="217"/>
                  </a:cxn>
                  <a:cxn ang="0">
                    <a:pos x="251" y="202"/>
                  </a:cxn>
                  <a:cxn ang="0">
                    <a:pos x="251" y="191"/>
                  </a:cxn>
                  <a:cxn ang="0">
                    <a:pos x="258" y="164"/>
                  </a:cxn>
                  <a:cxn ang="0">
                    <a:pos x="261" y="149"/>
                  </a:cxn>
                  <a:cxn ang="0">
                    <a:pos x="274" y="142"/>
                  </a:cxn>
                  <a:cxn ang="0">
                    <a:pos x="283" y="135"/>
                  </a:cxn>
                  <a:cxn ang="0">
                    <a:pos x="289" y="129"/>
                  </a:cxn>
                  <a:cxn ang="0">
                    <a:pos x="304" y="123"/>
                  </a:cxn>
                  <a:cxn ang="0">
                    <a:pos x="312" y="116"/>
                  </a:cxn>
                </a:cxnLst>
                <a:rect l="0" t="0" r="r" b="b"/>
                <a:pathLst>
                  <a:path w="317" h="242">
                    <a:moveTo>
                      <a:pt x="316" y="111"/>
                    </a:moveTo>
                    <a:cubicBezTo>
                      <a:pt x="314" y="110"/>
                      <a:pt x="310" y="110"/>
                      <a:pt x="308" y="110"/>
                    </a:cubicBezTo>
                    <a:cubicBezTo>
                      <a:pt x="308" y="110"/>
                      <a:pt x="307" y="110"/>
                      <a:pt x="306" y="110"/>
                    </a:cubicBezTo>
                    <a:cubicBezTo>
                      <a:pt x="306" y="110"/>
                      <a:pt x="305" y="111"/>
                      <a:pt x="305" y="111"/>
                    </a:cubicBezTo>
                    <a:cubicBezTo>
                      <a:pt x="303" y="111"/>
                      <a:pt x="302" y="109"/>
                      <a:pt x="301" y="108"/>
                    </a:cubicBezTo>
                    <a:cubicBezTo>
                      <a:pt x="300" y="106"/>
                      <a:pt x="300" y="106"/>
                      <a:pt x="301" y="105"/>
                    </a:cubicBezTo>
                    <a:cubicBezTo>
                      <a:pt x="302" y="103"/>
                      <a:pt x="304" y="102"/>
                      <a:pt x="304" y="100"/>
                    </a:cubicBezTo>
                    <a:cubicBezTo>
                      <a:pt x="304" y="98"/>
                      <a:pt x="304" y="98"/>
                      <a:pt x="303" y="97"/>
                    </a:cubicBezTo>
                    <a:cubicBezTo>
                      <a:pt x="302" y="96"/>
                      <a:pt x="300" y="97"/>
                      <a:pt x="301" y="94"/>
                    </a:cubicBezTo>
                    <a:cubicBezTo>
                      <a:pt x="301" y="94"/>
                      <a:pt x="301" y="93"/>
                      <a:pt x="302" y="92"/>
                    </a:cubicBezTo>
                    <a:cubicBezTo>
                      <a:pt x="304" y="91"/>
                      <a:pt x="305" y="89"/>
                      <a:pt x="306" y="87"/>
                    </a:cubicBezTo>
                    <a:cubicBezTo>
                      <a:pt x="307" y="85"/>
                      <a:pt x="312" y="78"/>
                      <a:pt x="309" y="76"/>
                    </a:cubicBezTo>
                    <a:cubicBezTo>
                      <a:pt x="308" y="75"/>
                      <a:pt x="306" y="75"/>
                      <a:pt x="305" y="75"/>
                    </a:cubicBezTo>
                    <a:cubicBezTo>
                      <a:pt x="303" y="75"/>
                      <a:pt x="301" y="74"/>
                      <a:pt x="299" y="74"/>
                    </a:cubicBezTo>
                    <a:cubicBezTo>
                      <a:pt x="297" y="73"/>
                      <a:pt x="293" y="73"/>
                      <a:pt x="292" y="72"/>
                    </a:cubicBezTo>
                    <a:cubicBezTo>
                      <a:pt x="291" y="71"/>
                      <a:pt x="291" y="70"/>
                      <a:pt x="291" y="69"/>
                    </a:cubicBezTo>
                    <a:cubicBezTo>
                      <a:pt x="290" y="67"/>
                      <a:pt x="288" y="65"/>
                      <a:pt x="287" y="63"/>
                    </a:cubicBezTo>
                    <a:cubicBezTo>
                      <a:pt x="286" y="62"/>
                      <a:pt x="285" y="61"/>
                      <a:pt x="285" y="60"/>
                    </a:cubicBezTo>
                    <a:cubicBezTo>
                      <a:pt x="284" y="60"/>
                      <a:pt x="284" y="59"/>
                      <a:pt x="284" y="58"/>
                    </a:cubicBezTo>
                    <a:cubicBezTo>
                      <a:pt x="283" y="55"/>
                      <a:pt x="280" y="52"/>
                      <a:pt x="278" y="50"/>
                    </a:cubicBezTo>
                    <a:cubicBezTo>
                      <a:pt x="275" y="48"/>
                      <a:pt x="273" y="46"/>
                      <a:pt x="270" y="44"/>
                    </a:cubicBezTo>
                    <a:cubicBezTo>
                      <a:pt x="267" y="42"/>
                      <a:pt x="265" y="40"/>
                      <a:pt x="262" y="39"/>
                    </a:cubicBezTo>
                    <a:cubicBezTo>
                      <a:pt x="260" y="37"/>
                      <a:pt x="258" y="36"/>
                      <a:pt x="255" y="35"/>
                    </a:cubicBezTo>
                    <a:cubicBezTo>
                      <a:pt x="254" y="34"/>
                      <a:pt x="253" y="32"/>
                      <a:pt x="252" y="32"/>
                    </a:cubicBezTo>
                    <a:cubicBezTo>
                      <a:pt x="250" y="30"/>
                      <a:pt x="248" y="30"/>
                      <a:pt x="246" y="30"/>
                    </a:cubicBezTo>
                    <a:cubicBezTo>
                      <a:pt x="243" y="30"/>
                      <a:pt x="239" y="31"/>
                      <a:pt x="236" y="29"/>
                    </a:cubicBezTo>
                    <a:cubicBezTo>
                      <a:pt x="235" y="29"/>
                      <a:pt x="234" y="27"/>
                      <a:pt x="233" y="27"/>
                    </a:cubicBezTo>
                    <a:cubicBezTo>
                      <a:pt x="232" y="26"/>
                      <a:pt x="229" y="27"/>
                      <a:pt x="229" y="29"/>
                    </a:cubicBezTo>
                    <a:cubicBezTo>
                      <a:pt x="227" y="29"/>
                      <a:pt x="226" y="26"/>
                      <a:pt x="226" y="25"/>
                    </a:cubicBezTo>
                    <a:cubicBezTo>
                      <a:pt x="223" y="24"/>
                      <a:pt x="222" y="22"/>
                      <a:pt x="221" y="19"/>
                    </a:cubicBezTo>
                    <a:cubicBezTo>
                      <a:pt x="219" y="16"/>
                      <a:pt x="217" y="14"/>
                      <a:pt x="216" y="11"/>
                    </a:cubicBezTo>
                    <a:cubicBezTo>
                      <a:pt x="215" y="10"/>
                      <a:pt x="214" y="9"/>
                      <a:pt x="213" y="9"/>
                    </a:cubicBezTo>
                    <a:cubicBezTo>
                      <a:pt x="213" y="8"/>
                      <a:pt x="213" y="8"/>
                      <a:pt x="213" y="7"/>
                    </a:cubicBezTo>
                    <a:cubicBezTo>
                      <a:pt x="214" y="6"/>
                      <a:pt x="213" y="6"/>
                      <a:pt x="214" y="5"/>
                    </a:cubicBezTo>
                    <a:cubicBezTo>
                      <a:pt x="217" y="3"/>
                      <a:pt x="217" y="3"/>
                      <a:pt x="217" y="3"/>
                    </a:cubicBezTo>
                    <a:cubicBezTo>
                      <a:pt x="217" y="0"/>
                      <a:pt x="210" y="0"/>
                      <a:pt x="208" y="2"/>
                    </a:cubicBezTo>
                    <a:cubicBezTo>
                      <a:pt x="208" y="2"/>
                      <a:pt x="208" y="3"/>
                      <a:pt x="207" y="3"/>
                    </a:cubicBezTo>
                    <a:cubicBezTo>
                      <a:pt x="207" y="4"/>
                      <a:pt x="206" y="4"/>
                      <a:pt x="205" y="4"/>
                    </a:cubicBezTo>
                    <a:cubicBezTo>
                      <a:pt x="204" y="5"/>
                      <a:pt x="202" y="6"/>
                      <a:pt x="201" y="7"/>
                    </a:cubicBezTo>
                    <a:cubicBezTo>
                      <a:pt x="200" y="8"/>
                      <a:pt x="200" y="10"/>
                      <a:pt x="200" y="11"/>
                    </a:cubicBezTo>
                    <a:cubicBezTo>
                      <a:pt x="200" y="12"/>
                      <a:pt x="200" y="13"/>
                      <a:pt x="200" y="14"/>
                    </a:cubicBezTo>
                    <a:cubicBezTo>
                      <a:pt x="199" y="14"/>
                      <a:pt x="198" y="14"/>
                      <a:pt x="197" y="14"/>
                    </a:cubicBezTo>
                    <a:cubicBezTo>
                      <a:pt x="196" y="15"/>
                      <a:pt x="196" y="16"/>
                      <a:pt x="195" y="17"/>
                    </a:cubicBezTo>
                    <a:cubicBezTo>
                      <a:pt x="193" y="18"/>
                      <a:pt x="190" y="18"/>
                      <a:pt x="189" y="18"/>
                    </a:cubicBezTo>
                    <a:cubicBezTo>
                      <a:pt x="184" y="17"/>
                      <a:pt x="179" y="15"/>
                      <a:pt x="175" y="18"/>
                    </a:cubicBezTo>
                    <a:cubicBezTo>
                      <a:pt x="174" y="18"/>
                      <a:pt x="173" y="20"/>
                      <a:pt x="171" y="20"/>
                    </a:cubicBezTo>
                    <a:cubicBezTo>
                      <a:pt x="170" y="20"/>
                      <a:pt x="169" y="20"/>
                      <a:pt x="169" y="19"/>
                    </a:cubicBezTo>
                    <a:cubicBezTo>
                      <a:pt x="168" y="18"/>
                      <a:pt x="169" y="17"/>
                      <a:pt x="168" y="16"/>
                    </a:cubicBezTo>
                    <a:cubicBezTo>
                      <a:pt x="168" y="15"/>
                      <a:pt x="166" y="15"/>
                      <a:pt x="165" y="15"/>
                    </a:cubicBezTo>
                    <a:cubicBezTo>
                      <a:pt x="163" y="14"/>
                      <a:pt x="161" y="13"/>
                      <a:pt x="159" y="12"/>
                    </a:cubicBezTo>
                    <a:cubicBezTo>
                      <a:pt x="158" y="11"/>
                      <a:pt x="157" y="10"/>
                      <a:pt x="156" y="10"/>
                    </a:cubicBezTo>
                    <a:cubicBezTo>
                      <a:pt x="154" y="10"/>
                      <a:pt x="155" y="13"/>
                      <a:pt x="154" y="13"/>
                    </a:cubicBezTo>
                    <a:cubicBezTo>
                      <a:pt x="153" y="12"/>
                      <a:pt x="153" y="10"/>
                      <a:pt x="153" y="9"/>
                    </a:cubicBezTo>
                    <a:cubicBezTo>
                      <a:pt x="150" y="8"/>
                      <a:pt x="148" y="8"/>
                      <a:pt x="145" y="9"/>
                    </a:cubicBezTo>
                    <a:cubicBezTo>
                      <a:pt x="144" y="9"/>
                      <a:pt x="143" y="10"/>
                      <a:pt x="142" y="10"/>
                    </a:cubicBezTo>
                    <a:cubicBezTo>
                      <a:pt x="140" y="10"/>
                      <a:pt x="138" y="10"/>
                      <a:pt x="137" y="10"/>
                    </a:cubicBezTo>
                    <a:cubicBezTo>
                      <a:pt x="135" y="9"/>
                      <a:pt x="134" y="8"/>
                      <a:pt x="132" y="8"/>
                    </a:cubicBezTo>
                    <a:cubicBezTo>
                      <a:pt x="131" y="8"/>
                      <a:pt x="129" y="7"/>
                      <a:pt x="128" y="7"/>
                    </a:cubicBezTo>
                    <a:cubicBezTo>
                      <a:pt x="127" y="8"/>
                      <a:pt x="127" y="10"/>
                      <a:pt x="125" y="10"/>
                    </a:cubicBezTo>
                    <a:cubicBezTo>
                      <a:pt x="124" y="10"/>
                      <a:pt x="122" y="9"/>
                      <a:pt x="121" y="10"/>
                    </a:cubicBezTo>
                    <a:cubicBezTo>
                      <a:pt x="121" y="12"/>
                      <a:pt x="117" y="14"/>
                      <a:pt x="115" y="14"/>
                    </a:cubicBezTo>
                    <a:cubicBezTo>
                      <a:pt x="113" y="13"/>
                      <a:pt x="113" y="10"/>
                      <a:pt x="113" y="9"/>
                    </a:cubicBezTo>
                    <a:cubicBezTo>
                      <a:pt x="113" y="8"/>
                      <a:pt x="112" y="8"/>
                      <a:pt x="112" y="8"/>
                    </a:cubicBezTo>
                    <a:cubicBezTo>
                      <a:pt x="112" y="7"/>
                      <a:pt x="112" y="6"/>
                      <a:pt x="112" y="6"/>
                    </a:cubicBezTo>
                    <a:cubicBezTo>
                      <a:pt x="112" y="5"/>
                      <a:pt x="110" y="6"/>
                      <a:pt x="110" y="6"/>
                    </a:cubicBezTo>
                    <a:cubicBezTo>
                      <a:pt x="109" y="5"/>
                      <a:pt x="107" y="5"/>
                      <a:pt x="106" y="5"/>
                    </a:cubicBezTo>
                    <a:cubicBezTo>
                      <a:pt x="105" y="5"/>
                      <a:pt x="104" y="5"/>
                      <a:pt x="103" y="5"/>
                    </a:cubicBezTo>
                    <a:cubicBezTo>
                      <a:pt x="102" y="6"/>
                      <a:pt x="102" y="7"/>
                      <a:pt x="101" y="7"/>
                    </a:cubicBezTo>
                    <a:cubicBezTo>
                      <a:pt x="100" y="7"/>
                      <a:pt x="99" y="7"/>
                      <a:pt x="99" y="7"/>
                    </a:cubicBezTo>
                    <a:cubicBezTo>
                      <a:pt x="97" y="7"/>
                      <a:pt x="96" y="7"/>
                      <a:pt x="94" y="7"/>
                    </a:cubicBezTo>
                    <a:cubicBezTo>
                      <a:pt x="91" y="7"/>
                      <a:pt x="89" y="7"/>
                      <a:pt x="86" y="6"/>
                    </a:cubicBezTo>
                    <a:cubicBezTo>
                      <a:pt x="83" y="5"/>
                      <a:pt x="81" y="5"/>
                      <a:pt x="78" y="5"/>
                    </a:cubicBezTo>
                    <a:cubicBezTo>
                      <a:pt x="75" y="5"/>
                      <a:pt x="71" y="5"/>
                      <a:pt x="67" y="4"/>
                    </a:cubicBezTo>
                    <a:cubicBezTo>
                      <a:pt x="66" y="4"/>
                      <a:pt x="65" y="3"/>
                      <a:pt x="64" y="3"/>
                    </a:cubicBezTo>
                    <a:cubicBezTo>
                      <a:pt x="63" y="3"/>
                      <a:pt x="62" y="2"/>
                      <a:pt x="61" y="2"/>
                    </a:cubicBezTo>
                    <a:cubicBezTo>
                      <a:pt x="60" y="1"/>
                      <a:pt x="54" y="1"/>
                      <a:pt x="53" y="3"/>
                    </a:cubicBezTo>
                    <a:cubicBezTo>
                      <a:pt x="52" y="5"/>
                      <a:pt x="54" y="7"/>
                      <a:pt x="50" y="7"/>
                    </a:cubicBezTo>
                    <a:cubicBezTo>
                      <a:pt x="49" y="7"/>
                      <a:pt x="48" y="7"/>
                      <a:pt x="47" y="8"/>
                    </a:cubicBezTo>
                    <a:cubicBezTo>
                      <a:pt x="45" y="8"/>
                      <a:pt x="42" y="9"/>
                      <a:pt x="41" y="10"/>
                    </a:cubicBezTo>
                    <a:cubicBezTo>
                      <a:pt x="39" y="12"/>
                      <a:pt x="39" y="13"/>
                      <a:pt x="36" y="13"/>
                    </a:cubicBezTo>
                    <a:cubicBezTo>
                      <a:pt x="33" y="13"/>
                      <a:pt x="31" y="12"/>
                      <a:pt x="29" y="14"/>
                    </a:cubicBezTo>
                    <a:cubicBezTo>
                      <a:pt x="28" y="14"/>
                      <a:pt x="26" y="16"/>
                      <a:pt x="25" y="17"/>
                    </a:cubicBezTo>
                    <a:cubicBezTo>
                      <a:pt x="23" y="17"/>
                      <a:pt x="22" y="17"/>
                      <a:pt x="21" y="19"/>
                    </a:cubicBezTo>
                    <a:cubicBezTo>
                      <a:pt x="21" y="20"/>
                      <a:pt x="21" y="22"/>
                      <a:pt x="20" y="23"/>
                    </a:cubicBezTo>
                    <a:cubicBezTo>
                      <a:pt x="19" y="23"/>
                      <a:pt x="18" y="24"/>
                      <a:pt x="17" y="24"/>
                    </a:cubicBezTo>
                    <a:cubicBezTo>
                      <a:pt x="16" y="24"/>
                      <a:pt x="15" y="25"/>
                      <a:pt x="15" y="25"/>
                    </a:cubicBezTo>
                    <a:cubicBezTo>
                      <a:pt x="15" y="25"/>
                      <a:pt x="14" y="26"/>
                      <a:pt x="14" y="26"/>
                    </a:cubicBezTo>
                    <a:cubicBezTo>
                      <a:pt x="14" y="26"/>
                      <a:pt x="12" y="26"/>
                      <a:pt x="12" y="27"/>
                    </a:cubicBezTo>
                    <a:cubicBezTo>
                      <a:pt x="11" y="27"/>
                      <a:pt x="12" y="28"/>
                      <a:pt x="12" y="28"/>
                    </a:cubicBezTo>
                    <a:cubicBezTo>
                      <a:pt x="12" y="29"/>
                      <a:pt x="11" y="29"/>
                      <a:pt x="11" y="29"/>
                    </a:cubicBezTo>
                    <a:cubicBezTo>
                      <a:pt x="11" y="30"/>
                      <a:pt x="10" y="31"/>
                      <a:pt x="10" y="31"/>
                    </a:cubicBezTo>
                    <a:cubicBezTo>
                      <a:pt x="9" y="32"/>
                      <a:pt x="9" y="33"/>
                      <a:pt x="8" y="34"/>
                    </a:cubicBezTo>
                    <a:cubicBezTo>
                      <a:pt x="7" y="34"/>
                      <a:pt x="6" y="33"/>
                      <a:pt x="5" y="34"/>
                    </a:cubicBezTo>
                    <a:cubicBezTo>
                      <a:pt x="3" y="35"/>
                      <a:pt x="3" y="38"/>
                      <a:pt x="3" y="40"/>
                    </a:cubicBezTo>
                    <a:cubicBezTo>
                      <a:pt x="2" y="43"/>
                      <a:pt x="2" y="46"/>
                      <a:pt x="2" y="49"/>
                    </a:cubicBezTo>
                    <a:cubicBezTo>
                      <a:pt x="2" y="50"/>
                      <a:pt x="2" y="50"/>
                      <a:pt x="1" y="51"/>
                    </a:cubicBezTo>
                    <a:cubicBezTo>
                      <a:pt x="0" y="52"/>
                      <a:pt x="0" y="53"/>
                      <a:pt x="0" y="55"/>
                    </a:cubicBezTo>
                    <a:cubicBezTo>
                      <a:pt x="0" y="57"/>
                      <a:pt x="0" y="61"/>
                      <a:pt x="1" y="63"/>
                    </a:cubicBezTo>
                    <a:cubicBezTo>
                      <a:pt x="1" y="63"/>
                      <a:pt x="2" y="63"/>
                      <a:pt x="2" y="64"/>
                    </a:cubicBezTo>
                    <a:cubicBezTo>
                      <a:pt x="2" y="64"/>
                      <a:pt x="3" y="65"/>
                      <a:pt x="3" y="65"/>
                    </a:cubicBezTo>
                    <a:cubicBezTo>
                      <a:pt x="4" y="67"/>
                      <a:pt x="5" y="67"/>
                      <a:pt x="5" y="69"/>
                    </a:cubicBezTo>
                    <a:cubicBezTo>
                      <a:pt x="5" y="68"/>
                      <a:pt x="6" y="70"/>
                      <a:pt x="6" y="70"/>
                    </a:cubicBezTo>
                    <a:cubicBezTo>
                      <a:pt x="6" y="70"/>
                      <a:pt x="7" y="70"/>
                      <a:pt x="7" y="71"/>
                    </a:cubicBezTo>
                    <a:cubicBezTo>
                      <a:pt x="8" y="72"/>
                      <a:pt x="7" y="73"/>
                      <a:pt x="8" y="74"/>
                    </a:cubicBezTo>
                    <a:cubicBezTo>
                      <a:pt x="8" y="76"/>
                      <a:pt x="8" y="76"/>
                      <a:pt x="8" y="78"/>
                    </a:cubicBezTo>
                    <a:cubicBezTo>
                      <a:pt x="9" y="81"/>
                      <a:pt x="8" y="84"/>
                      <a:pt x="8" y="88"/>
                    </a:cubicBezTo>
                    <a:cubicBezTo>
                      <a:pt x="8" y="88"/>
                      <a:pt x="8" y="89"/>
                      <a:pt x="8" y="89"/>
                    </a:cubicBezTo>
                    <a:cubicBezTo>
                      <a:pt x="9" y="90"/>
                      <a:pt x="9" y="90"/>
                      <a:pt x="9" y="90"/>
                    </a:cubicBezTo>
                    <a:cubicBezTo>
                      <a:pt x="10" y="92"/>
                      <a:pt x="12" y="95"/>
                      <a:pt x="12" y="97"/>
                    </a:cubicBezTo>
                    <a:cubicBezTo>
                      <a:pt x="12" y="99"/>
                      <a:pt x="12" y="101"/>
                      <a:pt x="12" y="102"/>
                    </a:cubicBezTo>
                    <a:cubicBezTo>
                      <a:pt x="12" y="103"/>
                      <a:pt x="12" y="104"/>
                      <a:pt x="13" y="105"/>
                    </a:cubicBezTo>
                    <a:cubicBezTo>
                      <a:pt x="13" y="105"/>
                      <a:pt x="14" y="105"/>
                      <a:pt x="15" y="106"/>
                    </a:cubicBezTo>
                    <a:cubicBezTo>
                      <a:pt x="15" y="107"/>
                      <a:pt x="15" y="107"/>
                      <a:pt x="15" y="108"/>
                    </a:cubicBezTo>
                    <a:cubicBezTo>
                      <a:pt x="16" y="109"/>
                      <a:pt x="18" y="109"/>
                      <a:pt x="19" y="110"/>
                    </a:cubicBezTo>
                    <a:cubicBezTo>
                      <a:pt x="19" y="111"/>
                      <a:pt x="19" y="111"/>
                      <a:pt x="19" y="111"/>
                    </a:cubicBezTo>
                    <a:cubicBezTo>
                      <a:pt x="20" y="110"/>
                      <a:pt x="20" y="109"/>
                      <a:pt x="22" y="110"/>
                    </a:cubicBezTo>
                    <a:cubicBezTo>
                      <a:pt x="25" y="111"/>
                      <a:pt x="27" y="115"/>
                      <a:pt x="29" y="118"/>
                    </a:cubicBezTo>
                    <a:cubicBezTo>
                      <a:pt x="30" y="119"/>
                      <a:pt x="31" y="121"/>
                      <a:pt x="33" y="121"/>
                    </a:cubicBezTo>
                    <a:cubicBezTo>
                      <a:pt x="35" y="121"/>
                      <a:pt x="37" y="122"/>
                      <a:pt x="39" y="122"/>
                    </a:cubicBezTo>
                    <a:cubicBezTo>
                      <a:pt x="40" y="123"/>
                      <a:pt x="41" y="123"/>
                      <a:pt x="42" y="124"/>
                    </a:cubicBezTo>
                    <a:cubicBezTo>
                      <a:pt x="42" y="124"/>
                      <a:pt x="43" y="124"/>
                      <a:pt x="44" y="124"/>
                    </a:cubicBezTo>
                    <a:cubicBezTo>
                      <a:pt x="45" y="125"/>
                      <a:pt x="46" y="126"/>
                      <a:pt x="47" y="126"/>
                    </a:cubicBezTo>
                    <a:cubicBezTo>
                      <a:pt x="48" y="127"/>
                      <a:pt x="51" y="126"/>
                      <a:pt x="52" y="127"/>
                    </a:cubicBezTo>
                    <a:cubicBezTo>
                      <a:pt x="53" y="128"/>
                      <a:pt x="53" y="129"/>
                      <a:pt x="54" y="129"/>
                    </a:cubicBezTo>
                    <a:cubicBezTo>
                      <a:pt x="55" y="129"/>
                      <a:pt x="55" y="128"/>
                      <a:pt x="56" y="128"/>
                    </a:cubicBezTo>
                    <a:cubicBezTo>
                      <a:pt x="57" y="127"/>
                      <a:pt x="58" y="130"/>
                      <a:pt x="59" y="131"/>
                    </a:cubicBezTo>
                    <a:cubicBezTo>
                      <a:pt x="60" y="131"/>
                      <a:pt x="61" y="133"/>
                      <a:pt x="62" y="133"/>
                    </a:cubicBezTo>
                    <a:cubicBezTo>
                      <a:pt x="64" y="133"/>
                      <a:pt x="63" y="132"/>
                      <a:pt x="64" y="131"/>
                    </a:cubicBezTo>
                    <a:cubicBezTo>
                      <a:pt x="64" y="131"/>
                      <a:pt x="65" y="130"/>
                      <a:pt x="66" y="129"/>
                    </a:cubicBezTo>
                    <a:cubicBezTo>
                      <a:pt x="68" y="128"/>
                      <a:pt x="69" y="128"/>
                      <a:pt x="71" y="129"/>
                    </a:cubicBezTo>
                    <a:cubicBezTo>
                      <a:pt x="74" y="130"/>
                      <a:pt x="76" y="131"/>
                      <a:pt x="80" y="131"/>
                    </a:cubicBezTo>
                    <a:cubicBezTo>
                      <a:pt x="81" y="131"/>
                      <a:pt x="82" y="131"/>
                      <a:pt x="83" y="131"/>
                    </a:cubicBezTo>
                    <a:cubicBezTo>
                      <a:pt x="84" y="130"/>
                      <a:pt x="84" y="129"/>
                      <a:pt x="86" y="129"/>
                    </a:cubicBezTo>
                    <a:cubicBezTo>
                      <a:pt x="87" y="129"/>
                      <a:pt x="89" y="131"/>
                      <a:pt x="90" y="132"/>
                    </a:cubicBezTo>
                    <a:cubicBezTo>
                      <a:pt x="91" y="134"/>
                      <a:pt x="90" y="135"/>
                      <a:pt x="91" y="136"/>
                    </a:cubicBezTo>
                    <a:cubicBezTo>
                      <a:pt x="91" y="137"/>
                      <a:pt x="94" y="139"/>
                      <a:pt x="95" y="140"/>
                    </a:cubicBezTo>
                    <a:cubicBezTo>
                      <a:pt x="96" y="141"/>
                      <a:pt x="98" y="141"/>
                      <a:pt x="99" y="142"/>
                    </a:cubicBezTo>
                    <a:cubicBezTo>
                      <a:pt x="100" y="144"/>
                      <a:pt x="100" y="146"/>
                      <a:pt x="101" y="147"/>
                    </a:cubicBezTo>
                    <a:cubicBezTo>
                      <a:pt x="101" y="149"/>
                      <a:pt x="104" y="151"/>
                      <a:pt x="104" y="154"/>
                    </a:cubicBezTo>
                    <a:cubicBezTo>
                      <a:pt x="104" y="155"/>
                      <a:pt x="104" y="156"/>
                      <a:pt x="103" y="156"/>
                    </a:cubicBezTo>
                    <a:cubicBezTo>
                      <a:pt x="101" y="159"/>
                      <a:pt x="99" y="162"/>
                      <a:pt x="97" y="164"/>
                    </a:cubicBezTo>
                    <a:cubicBezTo>
                      <a:pt x="95" y="166"/>
                      <a:pt x="95" y="167"/>
                      <a:pt x="95" y="170"/>
                    </a:cubicBezTo>
                    <a:cubicBezTo>
                      <a:pt x="94" y="173"/>
                      <a:pt x="93" y="176"/>
                      <a:pt x="93" y="180"/>
                    </a:cubicBezTo>
                    <a:cubicBezTo>
                      <a:pt x="93" y="181"/>
                      <a:pt x="92" y="182"/>
                      <a:pt x="92" y="184"/>
                    </a:cubicBezTo>
                    <a:cubicBezTo>
                      <a:pt x="92" y="185"/>
                      <a:pt x="92" y="187"/>
                      <a:pt x="92" y="189"/>
                    </a:cubicBezTo>
                    <a:cubicBezTo>
                      <a:pt x="92" y="190"/>
                      <a:pt x="92" y="190"/>
                      <a:pt x="93" y="190"/>
                    </a:cubicBezTo>
                    <a:cubicBezTo>
                      <a:pt x="93" y="190"/>
                      <a:pt x="94" y="190"/>
                      <a:pt x="94" y="191"/>
                    </a:cubicBezTo>
                    <a:cubicBezTo>
                      <a:pt x="95" y="191"/>
                      <a:pt x="95" y="191"/>
                      <a:pt x="95" y="192"/>
                    </a:cubicBezTo>
                    <a:cubicBezTo>
                      <a:pt x="97" y="193"/>
                      <a:pt x="99" y="194"/>
                      <a:pt x="101" y="194"/>
                    </a:cubicBezTo>
                    <a:cubicBezTo>
                      <a:pt x="103" y="195"/>
                      <a:pt x="105" y="196"/>
                      <a:pt x="107" y="196"/>
                    </a:cubicBezTo>
                    <a:cubicBezTo>
                      <a:pt x="109" y="196"/>
                      <a:pt x="110" y="196"/>
                      <a:pt x="111" y="197"/>
                    </a:cubicBezTo>
                    <a:cubicBezTo>
                      <a:pt x="112" y="198"/>
                      <a:pt x="113" y="199"/>
                      <a:pt x="114" y="200"/>
                    </a:cubicBezTo>
                    <a:cubicBezTo>
                      <a:pt x="114" y="200"/>
                      <a:pt x="115" y="201"/>
                      <a:pt x="115" y="201"/>
                    </a:cubicBezTo>
                    <a:cubicBezTo>
                      <a:pt x="116" y="202"/>
                      <a:pt x="115" y="203"/>
                      <a:pt x="116" y="203"/>
                    </a:cubicBezTo>
                    <a:cubicBezTo>
                      <a:pt x="116" y="204"/>
                      <a:pt x="117" y="205"/>
                      <a:pt x="117" y="205"/>
                    </a:cubicBezTo>
                    <a:cubicBezTo>
                      <a:pt x="121" y="206"/>
                      <a:pt x="125" y="205"/>
                      <a:pt x="128" y="207"/>
                    </a:cubicBezTo>
                    <a:cubicBezTo>
                      <a:pt x="129" y="208"/>
                      <a:pt x="131" y="210"/>
                      <a:pt x="132" y="210"/>
                    </a:cubicBezTo>
                    <a:cubicBezTo>
                      <a:pt x="132" y="211"/>
                      <a:pt x="132" y="212"/>
                      <a:pt x="132" y="213"/>
                    </a:cubicBezTo>
                    <a:cubicBezTo>
                      <a:pt x="132" y="215"/>
                      <a:pt x="134" y="216"/>
                      <a:pt x="134" y="217"/>
                    </a:cubicBezTo>
                    <a:cubicBezTo>
                      <a:pt x="135" y="218"/>
                      <a:pt x="137" y="219"/>
                      <a:pt x="138" y="221"/>
                    </a:cubicBezTo>
                    <a:cubicBezTo>
                      <a:pt x="139" y="223"/>
                      <a:pt x="139" y="228"/>
                      <a:pt x="138" y="230"/>
                    </a:cubicBezTo>
                    <a:cubicBezTo>
                      <a:pt x="138" y="231"/>
                      <a:pt x="137" y="230"/>
                      <a:pt x="137" y="231"/>
                    </a:cubicBezTo>
                    <a:cubicBezTo>
                      <a:pt x="136" y="232"/>
                      <a:pt x="137" y="233"/>
                      <a:pt x="137" y="233"/>
                    </a:cubicBezTo>
                    <a:cubicBezTo>
                      <a:pt x="137" y="234"/>
                      <a:pt x="136" y="236"/>
                      <a:pt x="137" y="237"/>
                    </a:cubicBezTo>
                    <a:cubicBezTo>
                      <a:pt x="137" y="238"/>
                      <a:pt x="137" y="239"/>
                      <a:pt x="138" y="240"/>
                    </a:cubicBezTo>
                    <a:cubicBezTo>
                      <a:pt x="138" y="240"/>
                      <a:pt x="138" y="240"/>
                      <a:pt x="139" y="239"/>
                    </a:cubicBezTo>
                    <a:cubicBezTo>
                      <a:pt x="139" y="238"/>
                      <a:pt x="140" y="237"/>
                      <a:pt x="141" y="237"/>
                    </a:cubicBezTo>
                    <a:cubicBezTo>
                      <a:pt x="142" y="235"/>
                      <a:pt x="142" y="235"/>
                      <a:pt x="144" y="235"/>
                    </a:cubicBezTo>
                    <a:cubicBezTo>
                      <a:pt x="147" y="234"/>
                      <a:pt x="149" y="234"/>
                      <a:pt x="152" y="234"/>
                    </a:cubicBezTo>
                    <a:cubicBezTo>
                      <a:pt x="153" y="234"/>
                      <a:pt x="154" y="234"/>
                      <a:pt x="155" y="234"/>
                    </a:cubicBezTo>
                    <a:cubicBezTo>
                      <a:pt x="156" y="235"/>
                      <a:pt x="156" y="235"/>
                      <a:pt x="157" y="235"/>
                    </a:cubicBezTo>
                    <a:cubicBezTo>
                      <a:pt x="158" y="236"/>
                      <a:pt x="159" y="236"/>
                      <a:pt x="159" y="236"/>
                    </a:cubicBezTo>
                    <a:cubicBezTo>
                      <a:pt x="161" y="236"/>
                      <a:pt x="166" y="238"/>
                      <a:pt x="167" y="236"/>
                    </a:cubicBezTo>
                    <a:cubicBezTo>
                      <a:pt x="167" y="236"/>
                      <a:pt x="167" y="237"/>
                      <a:pt x="167" y="237"/>
                    </a:cubicBezTo>
                    <a:cubicBezTo>
                      <a:pt x="170" y="238"/>
                      <a:pt x="174" y="237"/>
                      <a:pt x="176" y="238"/>
                    </a:cubicBezTo>
                    <a:cubicBezTo>
                      <a:pt x="179" y="239"/>
                      <a:pt x="182" y="242"/>
                      <a:pt x="185" y="240"/>
                    </a:cubicBezTo>
                    <a:cubicBezTo>
                      <a:pt x="187" y="240"/>
                      <a:pt x="187" y="239"/>
                      <a:pt x="188" y="237"/>
                    </a:cubicBezTo>
                    <a:cubicBezTo>
                      <a:pt x="189" y="236"/>
                      <a:pt x="190" y="236"/>
                      <a:pt x="192" y="235"/>
                    </a:cubicBezTo>
                    <a:cubicBezTo>
                      <a:pt x="192" y="235"/>
                      <a:pt x="193" y="234"/>
                      <a:pt x="194" y="234"/>
                    </a:cubicBezTo>
                    <a:cubicBezTo>
                      <a:pt x="194" y="233"/>
                      <a:pt x="195" y="233"/>
                      <a:pt x="195" y="232"/>
                    </a:cubicBezTo>
                    <a:cubicBezTo>
                      <a:pt x="196" y="232"/>
                      <a:pt x="197" y="232"/>
                      <a:pt x="197" y="232"/>
                    </a:cubicBezTo>
                    <a:cubicBezTo>
                      <a:pt x="198" y="231"/>
                      <a:pt x="199" y="230"/>
                      <a:pt x="200" y="230"/>
                    </a:cubicBezTo>
                    <a:cubicBezTo>
                      <a:pt x="201" y="232"/>
                      <a:pt x="198" y="236"/>
                      <a:pt x="202" y="234"/>
                    </a:cubicBezTo>
                    <a:cubicBezTo>
                      <a:pt x="202" y="234"/>
                      <a:pt x="203" y="234"/>
                      <a:pt x="203" y="234"/>
                    </a:cubicBezTo>
                    <a:cubicBezTo>
                      <a:pt x="204" y="233"/>
                      <a:pt x="204" y="233"/>
                      <a:pt x="205" y="232"/>
                    </a:cubicBezTo>
                    <a:cubicBezTo>
                      <a:pt x="206" y="231"/>
                      <a:pt x="207" y="232"/>
                      <a:pt x="208" y="231"/>
                    </a:cubicBezTo>
                    <a:cubicBezTo>
                      <a:pt x="209" y="229"/>
                      <a:pt x="207" y="228"/>
                      <a:pt x="207" y="226"/>
                    </a:cubicBezTo>
                    <a:cubicBezTo>
                      <a:pt x="207" y="225"/>
                      <a:pt x="207" y="223"/>
                      <a:pt x="207" y="222"/>
                    </a:cubicBezTo>
                    <a:cubicBezTo>
                      <a:pt x="207" y="221"/>
                      <a:pt x="208" y="218"/>
                      <a:pt x="210" y="218"/>
                    </a:cubicBezTo>
                    <a:cubicBezTo>
                      <a:pt x="211" y="217"/>
                      <a:pt x="214" y="216"/>
                      <a:pt x="216" y="216"/>
                    </a:cubicBezTo>
                    <a:cubicBezTo>
                      <a:pt x="217" y="217"/>
                      <a:pt x="217" y="219"/>
                      <a:pt x="219" y="219"/>
                    </a:cubicBezTo>
                    <a:cubicBezTo>
                      <a:pt x="220" y="220"/>
                      <a:pt x="222" y="220"/>
                      <a:pt x="223" y="220"/>
                    </a:cubicBezTo>
                    <a:cubicBezTo>
                      <a:pt x="228" y="220"/>
                      <a:pt x="227" y="215"/>
                      <a:pt x="227" y="212"/>
                    </a:cubicBezTo>
                    <a:cubicBezTo>
                      <a:pt x="227" y="208"/>
                      <a:pt x="231" y="204"/>
                      <a:pt x="235" y="205"/>
                    </a:cubicBezTo>
                    <a:cubicBezTo>
                      <a:pt x="236" y="205"/>
                      <a:pt x="236" y="205"/>
                      <a:pt x="236" y="205"/>
                    </a:cubicBezTo>
                    <a:cubicBezTo>
                      <a:pt x="237" y="205"/>
                      <a:pt x="237" y="205"/>
                      <a:pt x="237" y="204"/>
                    </a:cubicBezTo>
                    <a:cubicBezTo>
                      <a:pt x="238" y="204"/>
                      <a:pt x="238" y="204"/>
                      <a:pt x="238" y="204"/>
                    </a:cubicBezTo>
                    <a:cubicBezTo>
                      <a:pt x="241" y="204"/>
                      <a:pt x="244" y="204"/>
                      <a:pt x="246" y="204"/>
                    </a:cubicBezTo>
                    <a:cubicBezTo>
                      <a:pt x="246" y="206"/>
                      <a:pt x="248" y="206"/>
                      <a:pt x="248" y="208"/>
                    </a:cubicBezTo>
                    <a:cubicBezTo>
                      <a:pt x="248" y="210"/>
                      <a:pt x="247" y="210"/>
                      <a:pt x="247" y="212"/>
                    </a:cubicBezTo>
                    <a:cubicBezTo>
                      <a:pt x="246" y="213"/>
                      <a:pt x="246" y="215"/>
                      <a:pt x="246" y="216"/>
                    </a:cubicBezTo>
                    <a:cubicBezTo>
                      <a:pt x="246" y="218"/>
                      <a:pt x="246" y="218"/>
                      <a:pt x="248" y="219"/>
                    </a:cubicBezTo>
                    <a:cubicBezTo>
                      <a:pt x="250" y="219"/>
                      <a:pt x="254" y="219"/>
                      <a:pt x="256" y="219"/>
                    </a:cubicBezTo>
                    <a:cubicBezTo>
                      <a:pt x="257" y="219"/>
                      <a:pt x="259" y="218"/>
                      <a:pt x="259" y="217"/>
                    </a:cubicBezTo>
                    <a:cubicBezTo>
                      <a:pt x="261" y="214"/>
                      <a:pt x="259" y="211"/>
                      <a:pt x="257" y="209"/>
                    </a:cubicBezTo>
                    <a:cubicBezTo>
                      <a:pt x="257" y="208"/>
                      <a:pt x="256" y="207"/>
                      <a:pt x="255" y="207"/>
                    </a:cubicBezTo>
                    <a:cubicBezTo>
                      <a:pt x="254" y="206"/>
                      <a:pt x="253" y="205"/>
                      <a:pt x="252" y="204"/>
                    </a:cubicBezTo>
                    <a:cubicBezTo>
                      <a:pt x="252" y="204"/>
                      <a:pt x="252" y="202"/>
                      <a:pt x="251" y="202"/>
                    </a:cubicBezTo>
                    <a:cubicBezTo>
                      <a:pt x="250" y="200"/>
                      <a:pt x="249" y="201"/>
                      <a:pt x="249" y="199"/>
                    </a:cubicBezTo>
                    <a:cubicBezTo>
                      <a:pt x="249" y="198"/>
                      <a:pt x="249" y="197"/>
                      <a:pt x="249" y="196"/>
                    </a:cubicBezTo>
                    <a:cubicBezTo>
                      <a:pt x="249" y="195"/>
                      <a:pt x="249" y="194"/>
                      <a:pt x="250" y="193"/>
                    </a:cubicBezTo>
                    <a:cubicBezTo>
                      <a:pt x="250" y="192"/>
                      <a:pt x="251" y="191"/>
                      <a:pt x="251" y="191"/>
                    </a:cubicBezTo>
                    <a:cubicBezTo>
                      <a:pt x="252" y="189"/>
                      <a:pt x="253" y="188"/>
                      <a:pt x="254" y="186"/>
                    </a:cubicBezTo>
                    <a:cubicBezTo>
                      <a:pt x="255" y="184"/>
                      <a:pt x="256" y="183"/>
                      <a:pt x="257" y="180"/>
                    </a:cubicBezTo>
                    <a:cubicBezTo>
                      <a:pt x="257" y="179"/>
                      <a:pt x="258" y="177"/>
                      <a:pt x="258" y="176"/>
                    </a:cubicBezTo>
                    <a:cubicBezTo>
                      <a:pt x="259" y="172"/>
                      <a:pt x="258" y="168"/>
                      <a:pt x="258" y="164"/>
                    </a:cubicBezTo>
                    <a:cubicBezTo>
                      <a:pt x="258" y="161"/>
                      <a:pt x="258" y="158"/>
                      <a:pt x="258" y="155"/>
                    </a:cubicBezTo>
                    <a:cubicBezTo>
                      <a:pt x="258" y="155"/>
                      <a:pt x="258" y="154"/>
                      <a:pt x="258" y="154"/>
                    </a:cubicBezTo>
                    <a:cubicBezTo>
                      <a:pt x="259" y="153"/>
                      <a:pt x="259" y="153"/>
                      <a:pt x="259" y="152"/>
                    </a:cubicBezTo>
                    <a:cubicBezTo>
                      <a:pt x="260" y="150"/>
                      <a:pt x="260" y="150"/>
                      <a:pt x="261" y="149"/>
                    </a:cubicBezTo>
                    <a:cubicBezTo>
                      <a:pt x="263" y="148"/>
                      <a:pt x="264" y="148"/>
                      <a:pt x="265" y="148"/>
                    </a:cubicBezTo>
                    <a:cubicBezTo>
                      <a:pt x="266" y="147"/>
                      <a:pt x="268" y="146"/>
                      <a:pt x="269" y="145"/>
                    </a:cubicBezTo>
                    <a:cubicBezTo>
                      <a:pt x="269" y="145"/>
                      <a:pt x="269" y="144"/>
                      <a:pt x="270" y="144"/>
                    </a:cubicBezTo>
                    <a:cubicBezTo>
                      <a:pt x="271" y="143"/>
                      <a:pt x="273" y="143"/>
                      <a:pt x="274" y="142"/>
                    </a:cubicBezTo>
                    <a:cubicBezTo>
                      <a:pt x="276" y="142"/>
                      <a:pt x="277" y="142"/>
                      <a:pt x="279" y="142"/>
                    </a:cubicBezTo>
                    <a:cubicBezTo>
                      <a:pt x="281" y="142"/>
                      <a:pt x="281" y="142"/>
                      <a:pt x="282" y="141"/>
                    </a:cubicBezTo>
                    <a:cubicBezTo>
                      <a:pt x="282" y="140"/>
                      <a:pt x="283" y="139"/>
                      <a:pt x="283" y="138"/>
                    </a:cubicBezTo>
                    <a:cubicBezTo>
                      <a:pt x="283" y="137"/>
                      <a:pt x="283" y="136"/>
                      <a:pt x="283" y="135"/>
                    </a:cubicBezTo>
                    <a:cubicBezTo>
                      <a:pt x="283" y="135"/>
                      <a:pt x="284" y="135"/>
                      <a:pt x="284" y="134"/>
                    </a:cubicBezTo>
                    <a:cubicBezTo>
                      <a:pt x="284" y="134"/>
                      <a:pt x="284" y="134"/>
                      <a:pt x="284" y="133"/>
                    </a:cubicBezTo>
                    <a:cubicBezTo>
                      <a:pt x="285" y="133"/>
                      <a:pt x="285" y="132"/>
                      <a:pt x="285" y="132"/>
                    </a:cubicBezTo>
                    <a:cubicBezTo>
                      <a:pt x="287" y="131"/>
                      <a:pt x="288" y="130"/>
                      <a:pt x="289" y="129"/>
                    </a:cubicBezTo>
                    <a:cubicBezTo>
                      <a:pt x="291" y="129"/>
                      <a:pt x="293" y="128"/>
                      <a:pt x="294" y="127"/>
                    </a:cubicBezTo>
                    <a:cubicBezTo>
                      <a:pt x="295" y="126"/>
                      <a:pt x="295" y="126"/>
                      <a:pt x="296" y="125"/>
                    </a:cubicBezTo>
                    <a:cubicBezTo>
                      <a:pt x="298" y="125"/>
                      <a:pt x="299" y="124"/>
                      <a:pt x="301" y="124"/>
                    </a:cubicBezTo>
                    <a:cubicBezTo>
                      <a:pt x="302" y="123"/>
                      <a:pt x="303" y="124"/>
                      <a:pt x="304" y="123"/>
                    </a:cubicBezTo>
                    <a:cubicBezTo>
                      <a:pt x="305" y="123"/>
                      <a:pt x="305" y="122"/>
                      <a:pt x="306" y="122"/>
                    </a:cubicBezTo>
                    <a:cubicBezTo>
                      <a:pt x="307" y="121"/>
                      <a:pt x="308" y="121"/>
                      <a:pt x="309" y="120"/>
                    </a:cubicBezTo>
                    <a:cubicBezTo>
                      <a:pt x="310" y="118"/>
                      <a:pt x="309" y="118"/>
                      <a:pt x="311" y="117"/>
                    </a:cubicBezTo>
                    <a:cubicBezTo>
                      <a:pt x="311" y="117"/>
                      <a:pt x="312" y="117"/>
                      <a:pt x="312" y="116"/>
                    </a:cubicBezTo>
                    <a:cubicBezTo>
                      <a:pt x="313" y="116"/>
                      <a:pt x="313" y="116"/>
                      <a:pt x="314" y="116"/>
                    </a:cubicBezTo>
                    <a:cubicBezTo>
                      <a:pt x="316" y="115"/>
                      <a:pt x="317" y="113"/>
                      <a:pt x="316" y="11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89" name="Freeform 38">
                <a:extLst>
                  <a:ext uri="{FF2B5EF4-FFF2-40B4-BE49-F238E27FC236}">
                    <a16:creationId xmlns:a16="http://schemas.microsoft.com/office/drawing/2014/main" id="{4AD9B0E3-FB06-4624-9764-CC85182BA7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46763" y="3511550"/>
                <a:ext cx="947738" cy="849313"/>
              </a:xfrm>
              <a:custGeom>
                <a:avLst/>
                <a:gdLst/>
                <a:ahLst/>
                <a:cxnLst>
                  <a:cxn ang="0">
                    <a:pos x="493" y="252"/>
                  </a:cxn>
                  <a:cxn ang="0">
                    <a:pos x="479" y="230"/>
                  </a:cxn>
                  <a:cxn ang="0">
                    <a:pos x="455" y="220"/>
                  </a:cxn>
                  <a:cxn ang="0">
                    <a:pos x="426" y="174"/>
                  </a:cxn>
                  <a:cxn ang="0">
                    <a:pos x="418" y="142"/>
                  </a:cxn>
                  <a:cxn ang="0">
                    <a:pos x="406" y="117"/>
                  </a:cxn>
                  <a:cxn ang="0">
                    <a:pos x="412" y="91"/>
                  </a:cxn>
                  <a:cxn ang="0">
                    <a:pos x="408" y="69"/>
                  </a:cxn>
                  <a:cxn ang="0">
                    <a:pos x="383" y="37"/>
                  </a:cxn>
                  <a:cxn ang="0">
                    <a:pos x="354" y="34"/>
                  </a:cxn>
                  <a:cxn ang="0">
                    <a:pos x="329" y="44"/>
                  </a:cxn>
                  <a:cxn ang="0">
                    <a:pos x="294" y="18"/>
                  </a:cxn>
                  <a:cxn ang="0">
                    <a:pos x="256" y="8"/>
                  </a:cxn>
                  <a:cxn ang="0">
                    <a:pos x="210" y="33"/>
                  </a:cxn>
                  <a:cxn ang="0">
                    <a:pos x="185" y="47"/>
                  </a:cxn>
                  <a:cxn ang="0">
                    <a:pos x="173" y="66"/>
                  </a:cxn>
                  <a:cxn ang="0">
                    <a:pos x="178" y="82"/>
                  </a:cxn>
                  <a:cxn ang="0">
                    <a:pos x="181" y="92"/>
                  </a:cxn>
                  <a:cxn ang="0">
                    <a:pos x="161" y="101"/>
                  </a:cxn>
                  <a:cxn ang="0">
                    <a:pos x="154" y="113"/>
                  </a:cxn>
                  <a:cxn ang="0">
                    <a:pos x="133" y="121"/>
                  </a:cxn>
                  <a:cxn ang="0">
                    <a:pos x="129" y="152"/>
                  </a:cxn>
                  <a:cxn ang="0">
                    <a:pos x="123" y="174"/>
                  </a:cxn>
                  <a:cxn ang="0">
                    <a:pos x="120" y="191"/>
                  </a:cxn>
                  <a:cxn ang="0">
                    <a:pos x="109" y="176"/>
                  </a:cxn>
                  <a:cxn ang="0">
                    <a:pos x="88" y="188"/>
                  </a:cxn>
                  <a:cxn ang="0">
                    <a:pos x="75" y="206"/>
                  </a:cxn>
                  <a:cxn ang="0">
                    <a:pos x="64" y="207"/>
                  </a:cxn>
                  <a:cxn ang="0">
                    <a:pos x="31" y="208"/>
                  </a:cxn>
                  <a:cxn ang="0">
                    <a:pos x="11" y="211"/>
                  </a:cxn>
                  <a:cxn ang="0">
                    <a:pos x="22" y="253"/>
                  </a:cxn>
                  <a:cxn ang="0">
                    <a:pos x="38" y="294"/>
                  </a:cxn>
                  <a:cxn ang="0">
                    <a:pos x="40" y="316"/>
                  </a:cxn>
                  <a:cxn ang="0">
                    <a:pos x="20" y="331"/>
                  </a:cxn>
                  <a:cxn ang="0">
                    <a:pos x="4" y="360"/>
                  </a:cxn>
                  <a:cxn ang="0">
                    <a:pos x="23" y="380"/>
                  </a:cxn>
                  <a:cxn ang="0">
                    <a:pos x="13" y="404"/>
                  </a:cxn>
                  <a:cxn ang="0">
                    <a:pos x="43" y="408"/>
                  </a:cxn>
                  <a:cxn ang="0">
                    <a:pos x="69" y="393"/>
                  </a:cxn>
                  <a:cxn ang="0">
                    <a:pos x="118" y="394"/>
                  </a:cxn>
                  <a:cxn ang="0">
                    <a:pos x="148" y="398"/>
                  </a:cxn>
                  <a:cxn ang="0">
                    <a:pos x="200" y="407"/>
                  </a:cxn>
                  <a:cxn ang="0">
                    <a:pos x="215" y="420"/>
                  </a:cxn>
                  <a:cxn ang="0">
                    <a:pos x="242" y="423"/>
                  </a:cxn>
                  <a:cxn ang="0">
                    <a:pos x="272" y="425"/>
                  </a:cxn>
                  <a:cxn ang="0">
                    <a:pos x="296" y="425"/>
                  </a:cxn>
                  <a:cxn ang="0">
                    <a:pos x="322" y="435"/>
                  </a:cxn>
                  <a:cxn ang="0">
                    <a:pos x="370" y="445"/>
                  </a:cxn>
                  <a:cxn ang="0">
                    <a:pos x="391" y="406"/>
                  </a:cxn>
                  <a:cxn ang="0">
                    <a:pos x="406" y="384"/>
                  </a:cxn>
                  <a:cxn ang="0">
                    <a:pos x="427" y="375"/>
                  </a:cxn>
                  <a:cxn ang="0">
                    <a:pos x="443" y="363"/>
                  </a:cxn>
                  <a:cxn ang="0">
                    <a:pos x="436" y="319"/>
                  </a:cxn>
                  <a:cxn ang="0">
                    <a:pos x="444" y="280"/>
                  </a:cxn>
                  <a:cxn ang="0">
                    <a:pos x="483" y="284"/>
                  </a:cxn>
                  <a:cxn ang="0">
                    <a:pos x="500" y="270"/>
                  </a:cxn>
                </a:cxnLst>
                <a:rect l="0" t="0" r="r" b="b"/>
                <a:pathLst>
                  <a:path w="507" h="454">
                    <a:moveTo>
                      <a:pt x="9" y="209"/>
                    </a:moveTo>
                    <a:cubicBezTo>
                      <a:pt x="9" y="210"/>
                      <a:pt x="9" y="210"/>
                      <a:pt x="9" y="211"/>
                    </a:cubicBezTo>
                    <a:cubicBezTo>
                      <a:pt x="9" y="210"/>
                      <a:pt x="9" y="210"/>
                      <a:pt x="9" y="209"/>
                    </a:cubicBezTo>
                    <a:moveTo>
                      <a:pt x="505" y="257"/>
                    </a:moveTo>
                    <a:cubicBezTo>
                      <a:pt x="503" y="254"/>
                      <a:pt x="502" y="255"/>
                      <a:pt x="498" y="255"/>
                    </a:cubicBezTo>
                    <a:cubicBezTo>
                      <a:pt x="496" y="255"/>
                      <a:pt x="495" y="255"/>
                      <a:pt x="493" y="252"/>
                    </a:cubicBezTo>
                    <a:cubicBezTo>
                      <a:pt x="491" y="249"/>
                      <a:pt x="491" y="246"/>
                      <a:pt x="491" y="242"/>
                    </a:cubicBezTo>
                    <a:cubicBezTo>
                      <a:pt x="491" y="241"/>
                      <a:pt x="490" y="239"/>
                      <a:pt x="490" y="238"/>
                    </a:cubicBezTo>
                    <a:cubicBezTo>
                      <a:pt x="490" y="236"/>
                      <a:pt x="492" y="232"/>
                      <a:pt x="491" y="230"/>
                    </a:cubicBezTo>
                    <a:cubicBezTo>
                      <a:pt x="489" y="229"/>
                      <a:pt x="487" y="232"/>
                      <a:pt x="484" y="232"/>
                    </a:cubicBezTo>
                    <a:cubicBezTo>
                      <a:pt x="483" y="232"/>
                      <a:pt x="483" y="231"/>
                      <a:pt x="482" y="231"/>
                    </a:cubicBezTo>
                    <a:cubicBezTo>
                      <a:pt x="481" y="230"/>
                      <a:pt x="480" y="231"/>
                      <a:pt x="479" y="230"/>
                    </a:cubicBezTo>
                    <a:cubicBezTo>
                      <a:pt x="478" y="230"/>
                      <a:pt x="478" y="231"/>
                      <a:pt x="476" y="229"/>
                    </a:cubicBezTo>
                    <a:cubicBezTo>
                      <a:pt x="475" y="228"/>
                      <a:pt x="475" y="227"/>
                      <a:pt x="474" y="226"/>
                    </a:cubicBezTo>
                    <a:cubicBezTo>
                      <a:pt x="472" y="225"/>
                      <a:pt x="468" y="226"/>
                      <a:pt x="466" y="225"/>
                    </a:cubicBezTo>
                    <a:cubicBezTo>
                      <a:pt x="462" y="225"/>
                      <a:pt x="457" y="227"/>
                      <a:pt x="453" y="227"/>
                    </a:cubicBezTo>
                    <a:cubicBezTo>
                      <a:pt x="452" y="225"/>
                      <a:pt x="453" y="225"/>
                      <a:pt x="454" y="224"/>
                    </a:cubicBezTo>
                    <a:cubicBezTo>
                      <a:pt x="454" y="223"/>
                      <a:pt x="454" y="221"/>
                      <a:pt x="455" y="220"/>
                    </a:cubicBezTo>
                    <a:cubicBezTo>
                      <a:pt x="457" y="215"/>
                      <a:pt x="458" y="211"/>
                      <a:pt x="458" y="206"/>
                    </a:cubicBezTo>
                    <a:cubicBezTo>
                      <a:pt x="457" y="204"/>
                      <a:pt x="456" y="203"/>
                      <a:pt x="456" y="201"/>
                    </a:cubicBezTo>
                    <a:cubicBezTo>
                      <a:pt x="455" y="199"/>
                      <a:pt x="454" y="198"/>
                      <a:pt x="453" y="197"/>
                    </a:cubicBezTo>
                    <a:cubicBezTo>
                      <a:pt x="446" y="193"/>
                      <a:pt x="438" y="200"/>
                      <a:pt x="435" y="190"/>
                    </a:cubicBezTo>
                    <a:cubicBezTo>
                      <a:pt x="434" y="188"/>
                      <a:pt x="434" y="185"/>
                      <a:pt x="432" y="182"/>
                    </a:cubicBezTo>
                    <a:cubicBezTo>
                      <a:pt x="431" y="179"/>
                      <a:pt x="428" y="177"/>
                      <a:pt x="426" y="174"/>
                    </a:cubicBezTo>
                    <a:cubicBezTo>
                      <a:pt x="425" y="171"/>
                      <a:pt x="425" y="167"/>
                      <a:pt x="422" y="165"/>
                    </a:cubicBezTo>
                    <a:cubicBezTo>
                      <a:pt x="421" y="164"/>
                      <a:pt x="417" y="165"/>
                      <a:pt x="416" y="163"/>
                    </a:cubicBezTo>
                    <a:cubicBezTo>
                      <a:pt x="415" y="161"/>
                      <a:pt x="416" y="160"/>
                      <a:pt x="417" y="159"/>
                    </a:cubicBezTo>
                    <a:cubicBezTo>
                      <a:pt x="419" y="156"/>
                      <a:pt x="421" y="154"/>
                      <a:pt x="422" y="150"/>
                    </a:cubicBezTo>
                    <a:cubicBezTo>
                      <a:pt x="423" y="149"/>
                      <a:pt x="422" y="147"/>
                      <a:pt x="422" y="145"/>
                    </a:cubicBezTo>
                    <a:cubicBezTo>
                      <a:pt x="421" y="142"/>
                      <a:pt x="420" y="142"/>
                      <a:pt x="418" y="142"/>
                    </a:cubicBezTo>
                    <a:cubicBezTo>
                      <a:pt x="415" y="142"/>
                      <a:pt x="414" y="143"/>
                      <a:pt x="413" y="141"/>
                    </a:cubicBezTo>
                    <a:cubicBezTo>
                      <a:pt x="411" y="140"/>
                      <a:pt x="411" y="139"/>
                      <a:pt x="409" y="138"/>
                    </a:cubicBezTo>
                    <a:cubicBezTo>
                      <a:pt x="406" y="136"/>
                      <a:pt x="402" y="137"/>
                      <a:pt x="401" y="132"/>
                    </a:cubicBezTo>
                    <a:cubicBezTo>
                      <a:pt x="399" y="129"/>
                      <a:pt x="403" y="126"/>
                      <a:pt x="402" y="123"/>
                    </a:cubicBezTo>
                    <a:cubicBezTo>
                      <a:pt x="402" y="121"/>
                      <a:pt x="400" y="120"/>
                      <a:pt x="402" y="118"/>
                    </a:cubicBezTo>
                    <a:cubicBezTo>
                      <a:pt x="403" y="117"/>
                      <a:pt x="405" y="117"/>
                      <a:pt x="406" y="117"/>
                    </a:cubicBezTo>
                    <a:cubicBezTo>
                      <a:pt x="406" y="116"/>
                      <a:pt x="407" y="115"/>
                      <a:pt x="408" y="115"/>
                    </a:cubicBezTo>
                    <a:cubicBezTo>
                      <a:pt x="408" y="114"/>
                      <a:pt x="408" y="112"/>
                      <a:pt x="408" y="111"/>
                    </a:cubicBezTo>
                    <a:cubicBezTo>
                      <a:pt x="410" y="111"/>
                      <a:pt x="411" y="110"/>
                      <a:pt x="412" y="109"/>
                    </a:cubicBezTo>
                    <a:cubicBezTo>
                      <a:pt x="412" y="108"/>
                      <a:pt x="412" y="106"/>
                      <a:pt x="412" y="105"/>
                    </a:cubicBezTo>
                    <a:cubicBezTo>
                      <a:pt x="411" y="102"/>
                      <a:pt x="411" y="102"/>
                      <a:pt x="412" y="100"/>
                    </a:cubicBezTo>
                    <a:cubicBezTo>
                      <a:pt x="413" y="97"/>
                      <a:pt x="412" y="94"/>
                      <a:pt x="412" y="91"/>
                    </a:cubicBezTo>
                    <a:cubicBezTo>
                      <a:pt x="410" y="91"/>
                      <a:pt x="406" y="89"/>
                      <a:pt x="405" y="88"/>
                    </a:cubicBezTo>
                    <a:cubicBezTo>
                      <a:pt x="404" y="86"/>
                      <a:pt x="405" y="87"/>
                      <a:pt x="405" y="85"/>
                    </a:cubicBezTo>
                    <a:cubicBezTo>
                      <a:pt x="405" y="83"/>
                      <a:pt x="405" y="81"/>
                      <a:pt x="406" y="80"/>
                    </a:cubicBezTo>
                    <a:cubicBezTo>
                      <a:pt x="407" y="79"/>
                      <a:pt x="408" y="79"/>
                      <a:pt x="408" y="78"/>
                    </a:cubicBezTo>
                    <a:cubicBezTo>
                      <a:pt x="408" y="77"/>
                      <a:pt x="408" y="76"/>
                      <a:pt x="408" y="76"/>
                    </a:cubicBezTo>
                    <a:cubicBezTo>
                      <a:pt x="408" y="73"/>
                      <a:pt x="408" y="71"/>
                      <a:pt x="408" y="69"/>
                    </a:cubicBezTo>
                    <a:cubicBezTo>
                      <a:pt x="408" y="64"/>
                      <a:pt x="410" y="63"/>
                      <a:pt x="411" y="58"/>
                    </a:cubicBezTo>
                    <a:cubicBezTo>
                      <a:pt x="411" y="57"/>
                      <a:pt x="411" y="54"/>
                      <a:pt x="409" y="54"/>
                    </a:cubicBezTo>
                    <a:cubicBezTo>
                      <a:pt x="407" y="53"/>
                      <a:pt x="404" y="54"/>
                      <a:pt x="402" y="54"/>
                    </a:cubicBezTo>
                    <a:cubicBezTo>
                      <a:pt x="396" y="54"/>
                      <a:pt x="399" y="49"/>
                      <a:pt x="397" y="45"/>
                    </a:cubicBezTo>
                    <a:cubicBezTo>
                      <a:pt x="396" y="43"/>
                      <a:pt x="393" y="42"/>
                      <a:pt x="391" y="41"/>
                    </a:cubicBezTo>
                    <a:cubicBezTo>
                      <a:pt x="388" y="39"/>
                      <a:pt x="386" y="38"/>
                      <a:pt x="383" y="37"/>
                    </a:cubicBezTo>
                    <a:cubicBezTo>
                      <a:pt x="381" y="37"/>
                      <a:pt x="379" y="36"/>
                      <a:pt x="377" y="34"/>
                    </a:cubicBezTo>
                    <a:cubicBezTo>
                      <a:pt x="376" y="33"/>
                      <a:pt x="375" y="31"/>
                      <a:pt x="374" y="29"/>
                    </a:cubicBezTo>
                    <a:cubicBezTo>
                      <a:pt x="371" y="26"/>
                      <a:pt x="365" y="30"/>
                      <a:pt x="362" y="32"/>
                    </a:cubicBezTo>
                    <a:cubicBezTo>
                      <a:pt x="362" y="32"/>
                      <a:pt x="362" y="33"/>
                      <a:pt x="362" y="33"/>
                    </a:cubicBezTo>
                    <a:cubicBezTo>
                      <a:pt x="360" y="33"/>
                      <a:pt x="359" y="32"/>
                      <a:pt x="357" y="32"/>
                    </a:cubicBezTo>
                    <a:cubicBezTo>
                      <a:pt x="355" y="32"/>
                      <a:pt x="355" y="32"/>
                      <a:pt x="354" y="34"/>
                    </a:cubicBezTo>
                    <a:cubicBezTo>
                      <a:pt x="351" y="36"/>
                      <a:pt x="352" y="39"/>
                      <a:pt x="350" y="42"/>
                    </a:cubicBezTo>
                    <a:cubicBezTo>
                      <a:pt x="348" y="41"/>
                      <a:pt x="346" y="39"/>
                      <a:pt x="343" y="39"/>
                    </a:cubicBezTo>
                    <a:cubicBezTo>
                      <a:pt x="342" y="39"/>
                      <a:pt x="341" y="40"/>
                      <a:pt x="340" y="41"/>
                    </a:cubicBezTo>
                    <a:cubicBezTo>
                      <a:pt x="338" y="43"/>
                      <a:pt x="339" y="43"/>
                      <a:pt x="337" y="44"/>
                    </a:cubicBezTo>
                    <a:cubicBezTo>
                      <a:pt x="337" y="44"/>
                      <a:pt x="336" y="44"/>
                      <a:pt x="335" y="45"/>
                    </a:cubicBezTo>
                    <a:cubicBezTo>
                      <a:pt x="334" y="45"/>
                      <a:pt x="330" y="45"/>
                      <a:pt x="329" y="44"/>
                    </a:cubicBezTo>
                    <a:cubicBezTo>
                      <a:pt x="327" y="43"/>
                      <a:pt x="328" y="36"/>
                      <a:pt x="328" y="35"/>
                    </a:cubicBezTo>
                    <a:cubicBezTo>
                      <a:pt x="328" y="33"/>
                      <a:pt x="328" y="31"/>
                      <a:pt x="328" y="29"/>
                    </a:cubicBezTo>
                    <a:cubicBezTo>
                      <a:pt x="329" y="28"/>
                      <a:pt x="330" y="27"/>
                      <a:pt x="330" y="25"/>
                    </a:cubicBezTo>
                    <a:cubicBezTo>
                      <a:pt x="329" y="18"/>
                      <a:pt x="321" y="16"/>
                      <a:pt x="315" y="16"/>
                    </a:cubicBezTo>
                    <a:cubicBezTo>
                      <a:pt x="311" y="16"/>
                      <a:pt x="306" y="16"/>
                      <a:pt x="302" y="18"/>
                    </a:cubicBezTo>
                    <a:cubicBezTo>
                      <a:pt x="299" y="19"/>
                      <a:pt x="297" y="21"/>
                      <a:pt x="294" y="18"/>
                    </a:cubicBezTo>
                    <a:cubicBezTo>
                      <a:pt x="291" y="17"/>
                      <a:pt x="290" y="13"/>
                      <a:pt x="289" y="10"/>
                    </a:cubicBezTo>
                    <a:cubicBezTo>
                      <a:pt x="287" y="6"/>
                      <a:pt x="286" y="4"/>
                      <a:pt x="282" y="6"/>
                    </a:cubicBezTo>
                    <a:cubicBezTo>
                      <a:pt x="278" y="7"/>
                      <a:pt x="274" y="9"/>
                      <a:pt x="270" y="8"/>
                    </a:cubicBezTo>
                    <a:cubicBezTo>
                      <a:pt x="269" y="8"/>
                      <a:pt x="265" y="7"/>
                      <a:pt x="264" y="6"/>
                    </a:cubicBezTo>
                    <a:cubicBezTo>
                      <a:pt x="264" y="6"/>
                      <a:pt x="264" y="2"/>
                      <a:pt x="263" y="1"/>
                    </a:cubicBezTo>
                    <a:cubicBezTo>
                      <a:pt x="262" y="0"/>
                      <a:pt x="257" y="6"/>
                      <a:pt x="256" y="8"/>
                    </a:cubicBezTo>
                    <a:cubicBezTo>
                      <a:pt x="253" y="11"/>
                      <a:pt x="249" y="16"/>
                      <a:pt x="245" y="16"/>
                    </a:cubicBezTo>
                    <a:cubicBezTo>
                      <a:pt x="240" y="17"/>
                      <a:pt x="237" y="19"/>
                      <a:pt x="236" y="24"/>
                    </a:cubicBezTo>
                    <a:cubicBezTo>
                      <a:pt x="235" y="28"/>
                      <a:pt x="238" y="33"/>
                      <a:pt x="234" y="36"/>
                    </a:cubicBezTo>
                    <a:cubicBezTo>
                      <a:pt x="230" y="39"/>
                      <a:pt x="227" y="34"/>
                      <a:pt x="223" y="35"/>
                    </a:cubicBezTo>
                    <a:cubicBezTo>
                      <a:pt x="220" y="35"/>
                      <a:pt x="217" y="35"/>
                      <a:pt x="215" y="35"/>
                    </a:cubicBezTo>
                    <a:cubicBezTo>
                      <a:pt x="212" y="34"/>
                      <a:pt x="212" y="34"/>
                      <a:pt x="210" y="33"/>
                    </a:cubicBezTo>
                    <a:cubicBezTo>
                      <a:pt x="207" y="31"/>
                      <a:pt x="203" y="33"/>
                      <a:pt x="201" y="35"/>
                    </a:cubicBezTo>
                    <a:cubicBezTo>
                      <a:pt x="200" y="35"/>
                      <a:pt x="200" y="37"/>
                      <a:pt x="199" y="37"/>
                    </a:cubicBezTo>
                    <a:cubicBezTo>
                      <a:pt x="198" y="37"/>
                      <a:pt x="197" y="37"/>
                      <a:pt x="196" y="38"/>
                    </a:cubicBezTo>
                    <a:cubicBezTo>
                      <a:pt x="195" y="38"/>
                      <a:pt x="193" y="39"/>
                      <a:pt x="193" y="40"/>
                    </a:cubicBezTo>
                    <a:cubicBezTo>
                      <a:pt x="191" y="41"/>
                      <a:pt x="190" y="44"/>
                      <a:pt x="189" y="45"/>
                    </a:cubicBezTo>
                    <a:cubicBezTo>
                      <a:pt x="188" y="47"/>
                      <a:pt x="187" y="47"/>
                      <a:pt x="185" y="47"/>
                    </a:cubicBezTo>
                    <a:cubicBezTo>
                      <a:pt x="183" y="47"/>
                      <a:pt x="181" y="46"/>
                      <a:pt x="180" y="46"/>
                    </a:cubicBezTo>
                    <a:cubicBezTo>
                      <a:pt x="179" y="47"/>
                      <a:pt x="179" y="47"/>
                      <a:pt x="178" y="47"/>
                    </a:cubicBezTo>
                    <a:cubicBezTo>
                      <a:pt x="179" y="47"/>
                      <a:pt x="181" y="47"/>
                      <a:pt x="181" y="48"/>
                    </a:cubicBezTo>
                    <a:cubicBezTo>
                      <a:pt x="184" y="50"/>
                      <a:pt x="179" y="57"/>
                      <a:pt x="178" y="59"/>
                    </a:cubicBezTo>
                    <a:cubicBezTo>
                      <a:pt x="177" y="61"/>
                      <a:pt x="176" y="63"/>
                      <a:pt x="174" y="64"/>
                    </a:cubicBezTo>
                    <a:cubicBezTo>
                      <a:pt x="173" y="65"/>
                      <a:pt x="173" y="66"/>
                      <a:pt x="173" y="66"/>
                    </a:cubicBezTo>
                    <a:cubicBezTo>
                      <a:pt x="172" y="69"/>
                      <a:pt x="174" y="68"/>
                      <a:pt x="175" y="69"/>
                    </a:cubicBezTo>
                    <a:cubicBezTo>
                      <a:pt x="176" y="70"/>
                      <a:pt x="176" y="70"/>
                      <a:pt x="176" y="72"/>
                    </a:cubicBezTo>
                    <a:cubicBezTo>
                      <a:pt x="176" y="74"/>
                      <a:pt x="174" y="75"/>
                      <a:pt x="173" y="77"/>
                    </a:cubicBezTo>
                    <a:cubicBezTo>
                      <a:pt x="172" y="78"/>
                      <a:pt x="172" y="78"/>
                      <a:pt x="173" y="80"/>
                    </a:cubicBezTo>
                    <a:cubicBezTo>
                      <a:pt x="174" y="81"/>
                      <a:pt x="175" y="83"/>
                      <a:pt x="177" y="83"/>
                    </a:cubicBezTo>
                    <a:cubicBezTo>
                      <a:pt x="177" y="83"/>
                      <a:pt x="178" y="82"/>
                      <a:pt x="178" y="82"/>
                    </a:cubicBezTo>
                    <a:cubicBezTo>
                      <a:pt x="179" y="82"/>
                      <a:pt x="180" y="82"/>
                      <a:pt x="180" y="82"/>
                    </a:cubicBezTo>
                    <a:cubicBezTo>
                      <a:pt x="182" y="82"/>
                      <a:pt x="186" y="82"/>
                      <a:pt x="188" y="83"/>
                    </a:cubicBezTo>
                    <a:cubicBezTo>
                      <a:pt x="189" y="85"/>
                      <a:pt x="188" y="87"/>
                      <a:pt x="186" y="88"/>
                    </a:cubicBezTo>
                    <a:cubicBezTo>
                      <a:pt x="185" y="88"/>
                      <a:pt x="185" y="88"/>
                      <a:pt x="184" y="88"/>
                    </a:cubicBezTo>
                    <a:cubicBezTo>
                      <a:pt x="184" y="89"/>
                      <a:pt x="183" y="89"/>
                      <a:pt x="183" y="89"/>
                    </a:cubicBezTo>
                    <a:cubicBezTo>
                      <a:pt x="181" y="90"/>
                      <a:pt x="182" y="90"/>
                      <a:pt x="181" y="92"/>
                    </a:cubicBezTo>
                    <a:cubicBezTo>
                      <a:pt x="180" y="93"/>
                      <a:pt x="179" y="93"/>
                      <a:pt x="178" y="94"/>
                    </a:cubicBezTo>
                    <a:cubicBezTo>
                      <a:pt x="177" y="94"/>
                      <a:pt x="177" y="95"/>
                      <a:pt x="176" y="95"/>
                    </a:cubicBezTo>
                    <a:cubicBezTo>
                      <a:pt x="175" y="96"/>
                      <a:pt x="174" y="95"/>
                      <a:pt x="173" y="96"/>
                    </a:cubicBezTo>
                    <a:cubicBezTo>
                      <a:pt x="171" y="96"/>
                      <a:pt x="170" y="97"/>
                      <a:pt x="168" y="97"/>
                    </a:cubicBezTo>
                    <a:cubicBezTo>
                      <a:pt x="167" y="98"/>
                      <a:pt x="167" y="98"/>
                      <a:pt x="166" y="99"/>
                    </a:cubicBezTo>
                    <a:cubicBezTo>
                      <a:pt x="165" y="100"/>
                      <a:pt x="163" y="101"/>
                      <a:pt x="161" y="101"/>
                    </a:cubicBezTo>
                    <a:cubicBezTo>
                      <a:pt x="160" y="102"/>
                      <a:pt x="159" y="103"/>
                      <a:pt x="157" y="104"/>
                    </a:cubicBezTo>
                    <a:cubicBezTo>
                      <a:pt x="157" y="104"/>
                      <a:pt x="157" y="105"/>
                      <a:pt x="156" y="105"/>
                    </a:cubicBezTo>
                    <a:cubicBezTo>
                      <a:pt x="156" y="106"/>
                      <a:pt x="156" y="106"/>
                      <a:pt x="156" y="106"/>
                    </a:cubicBezTo>
                    <a:cubicBezTo>
                      <a:pt x="156" y="107"/>
                      <a:pt x="155" y="107"/>
                      <a:pt x="155" y="107"/>
                    </a:cubicBezTo>
                    <a:cubicBezTo>
                      <a:pt x="155" y="108"/>
                      <a:pt x="155" y="109"/>
                      <a:pt x="155" y="110"/>
                    </a:cubicBezTo>
                    <a:cubicBezTo>
                      <a:pt x="155" y="111"/>
                      <a:pt x="154" y="112"/>
                      <a:pt x="154" y="113"/>
                    </a:cubicBezTo>
                    <a:cubicBezTo>
                      <a:pt x="153" y="114"/>
                      <a:pt x="153" y="114"/>
                      <a:pt x="151" y="114"/>
                    </a:cubicBezTo>
                    <a:cubicBezTo>
                      <a:pt x="149" y="114"/>
                      <a:pt x="148" y="114"/>
                      <a:pt x="146" y="114"/>
                    </a:cubicBezTo>
                    <a:cubicBezTo>
                      <a:pt x="145" y="115"/>
                      <a:pt x="143" y="115"/>
                      <a:pt x="142" y="116"/>
                    </a:cubicBezTo>
                    <a:cubicBezTo>
                      <a:pt x="141" y="116"/>
                      <a:pt x="141" y="117"/>
                      <a:pt x="141" y="117"/>
                    </a:cubicBezTo>
                    <a:cubicBezTo>
                      <a:pt x="140" y="118"/>
                      <a:pt x="138" y="119"/>
                      <a:pt x="137" y="120"/>
                    </a:cubicBezTo>
                    <a:cubicBezTo>
                      <a:pt x="136" y="120"/>
                      <a:pt x="135" y="120"/>
                      <a:pt x="133" y="121"/>
                    </a:cubicBezTo>
                    <a:cubicBezTo>
                      <a:pt x="132" y="122"/>
                      <a:pt x="132" y="122"/>
                      <a:pt x="131" y="124"/>
                    </a:cubicBezTo>
                    <a:cubicBezTo>
                      <a:pt x="131" y="125"/>
                      <a:pt x="131" y="125"/>
                      <a:pt x="130" y="126"/>
                    </a:cubicBezTo>
                    <a:cubicBezTo>
                      <a:pt x="130" y="126"/>
                      <a:pt x="130" y="127"/>
                      <a:pt x="130" y="127"/>
                    </a:cubicBezTo>
                    <a:cubicBezTo>
                      <a:pt x="130" y="130"/>
                      <a:pt x="130" y="133"/>
                      <a:pt x="130" y="136"/>
                    </a:cubicBezTo>
                    <a:cubicBezTo>
                      <a:pt x="130" y="140"/>
                      <a:pt x="131" y="144"/>
                      <a:pt x="130" y="148"/>
                    </a:cubicBezTo>
                    <a:cubicBezTo>
                      <a:pt x="130" y="149"/>
                      <a:pt x="129" y="151"/>
                      <a:pt x="129" y="152"/>
                    </a:cubicBezTo>
                    <a:cubicBezTo>
                      <a:pt x="128" y="155"/>
                      <a:pt x="127" y="156"/>
                      <a:pt x="126" y="158"/>
                    </a:cubicBezTo>
                    <a:cubicBezTo>
                      <a:pt x="125" y="160"/>
                      <a:pt x="124" y="161"/>
                      <a:pt x="123" y="163"/>
                    </a:cubicBezTo>
                    <a:cubicBezTo>
                      <a:pt x="123" y="163"/>
                      <a:pt x="122" y="164"/>
                      <a:pt x="122" y="165"/>
                    </a:cubicBezTo>
                    <a:cubicBezTo>
                      <a:pt x="121" y="166"/>
                      <a:pt x="121" y="167"/>
                      <a:pt x="121" y="168"/>
                    </a:cubicBezTo>
                    <a:cubicBezTo>
                      <a:pt x="121" y="169"/>
                      <a:pt x="121" y="170"/>
                      <a:pt x="121" y="171"/>
                    </a:cubicBezTo>
                    <a:cubicBezTo>
                      <a:pt x="121" y="173"/>
                      <a:pt x="122" y="172"/>
                      <a:pt x="123" y="174"/>
                    </a:cubicBezTo>
                    <a:cubicBezTo>
                      <a:pt x="124" y="174"/>
                      <a:pt x="124" y="176"/>
                      <a:pt x="124" y="176"/>
                    </a:cubicBezTo>
                    <a:cubicBezTo>
                      <a:pt x="125" y="177"/>
                      <a:pt x="126" y="178"/>
                      <a:pt x="127" y="179"/>
                    </a:cubicBezTo>
                    <a:cubicBezTo>
                      <a:pt x="128" y="179"/>
                      <a:pt x="129" y="180"/>
                      <a:pt x="129" y="181"/>
                    </a:cubicBezTo>
                    <a:cubicBezTo>
                      <a:pt x="131" y="183"/>
                      <a:pt x="133" y="186"/>
                      <a:pt x="131" y="189"/>
                    </a:cubicBezTo>
                    <a:cubicBezTo>
                      <a:pt x="131" y="190"/>
                      <a:pt x="129" y="191"/>
                      <a:pt x="128" y="191"/>
                    </a:cubicBezTo>
                    <a:cubicBezTo>
                      <a:pt x="126" y="191"/>
                      <a:pt x="122" y="191"/>
                      <a:pt x="120" y="191"/>
                    </a:cubicBezTo>
                    <a:cubicBezTo>
                      <a:pt x="118" y="190"/>
                      <a:pt x="118" y="190"/>
                      <a:pt x="118" y="188"/>
                    </a:cubicBezTo>
                    <a:cubicBezTo>
                      <a:pt x="118" y="187"/>
                      <a:pt x="118" y="185"/>
                      <a:pt x="119" y="184"/>
                    </a:cubicBezTo>
                    <a:cubicBezTo>
                      <a:pt x="119" y="182"/>
                      <a:pt x="120" y="182"/>
                      <a:pt x="120" y="180"/>
                    </a:cubicBezTo>
                    <a:cubicBezTo>
                      <a:pt x="120" y="178"/>
                      <a:pt x="118" y="178"/>
                      <a:pt x="118" y="176"/>
                    </a:cubicBezTo>
                    <a:cubicBezTo>
                      <a:pt x="116" y="176"/>
                      <a:pt x="113" y="176"/>
                      <a:pt x="110" y="176"/>
                    </a:cubicBezTo>
                    <a:cubicBezTo>
                      <a:pt x="110" y="176"/>
                      <a:pt x="110" y="176"/>
                      <a:pt x="109" y="176"/>
                    </a:cubicBezTo>
                    <a:cubicBezTo>
                      <a:pt x="109" y="177"/>
                      <a:pt x="109" y="177"/>
                      <a:pt x="108" y="177"/>
                    </a:cubicBezTo>
                    <a:cubicBezTo>
                      <a:pt x="108" y="177"/>
                      <a:pt x="108" y="177"/>
                      <a:pt x="107" y="177"/>
                    </a:cubicBezTo>
                    <a:cubicBezTo>
                      <a:pt x="103" y="176"/>
                      <a:pt x="99" y="180"/>
                      <a:pt x="99" y="184"/>
                    </a:cubicBezTo>
                    <a:cubicBezTo>
                      <a:pt x="99" y="187"/>
                      <a:pt x="100" y="192"/>
                      <a:pt x="95" y="192"/>
                    </a:cubicBezTo>
                    <a:cubicBezTo>
                      <a:pt x="94" y="192"/>
                      <a:pt x="92" y="192"/>
                      <a:pt x="91" y="191"/>
                    </a:cubicBezTo>
                    <a:cubicBezTo>
                      <a:pt x="89" y="191"/>
                      <a:pt x="89" y="189"/>
                      <a:pt x="88" y="188"/>
                    </a:cubicBezTo>
                    <a:cubicBezTo>
                      <a:pt x="86" y="188"/>
                      <a:pt x="83" y="189"/>
                      <a:pt x="82" y="190"/>
                    </a:cubicBezTo>
                    <a:cubicBezTo>
                      <a:pt x="80" y="190"/>
                      <a:pt x="79" y="193"/>
                      <a:pt x="79" y="194"/>
                    </a:cubicBezTo>
                    <a:cubicBezTo>
                      <a:pt x="79" y="195"/>
                      <a:pt x="79" y="197"/>
                      <a:pt x="79" y="198"/>
                    </a:cubicBezTo>
                    <a:cubicBezTo>
                      <a:pt x="79" y="200"/>
                      <a:pt x="81" y="201"/>
                      <a:pt x="80" y="203"/>
                    </a:cubicBezTo>
                    <a:cubicBezTo>
                      <a:pt x="79" y="204"/>
                      <a:pt x="78" y="203"/>
                      <a:pt x="77" y="204"/>
                    </a:cubicBezTo>
                    <a:cubicBezTo>
                      <a:pt x="76" y="205"/>
                      <a:pt x="76" y="205"/>
                      <a:pt x="75" y="206"/>
                    </a:cubicBezTo>
                    <a:cubicBezTo>
                      <a:pt x="75" y="206"/>
                      <a:pt x="74" y="206"/>
                      <a:pt x="74" y="206"/>
                    </a:cubicBezTo>
                    <a:cubicBezTo>
                      <a:pt x="70" y="208"/>
                      <a:pt x="73" y="204"/>
                      <a:pt x="72" y="202"/>
                    </a:cubicBezTo>
                    <a:cubicBezTo>
                      <a:pt x="71" y="202"/>
                      <a:pt x="70" y="203"/>
                      <a:pt x="69" y="204"/>
                    </a:cubicBezTo>
                    <a:cubicBezTo>
                      <a:pt x="69" y="204"/>
                      <a:pt x="68" y="204"/>
                      <a:pt x="67" y="204"/>
                    </a:cubicBezTo>
                    <a:cubicBezTo>
                      <a:pt x="67" y="205"/>
                      <a:pt x="66" y="205"/>
                      <a:pt x="66" y="206"/>
                    </a:cubicBezTo>
                    <a:cubicBezTo>
                      <a:pt x="65" y="206"/>
                      <a:pt x="64" y="207"/>
                      <a:pt x="64" y="207"/>
                    </a:cubicBezTo>
                    <a:cubicBezTo>
                      <a:pt x="62" y="208"/>
                      <a:pt x="61" y="208"/>
                      <a:pt x="60" y="209"/>
                    </a:cubicBezTo>
                    <a:cubicBezTo>
                      <a:pt x="59" y="211"/>
                      <a:pt x="59" y="212"/>
                      <a:pt x="57" y="212"/>
                    </a:cubicBezTo>
                    <a:cubicBezTo>
                      <a:pt x="54" y="214"/>
                      <a:pt x="51" y="211"/>
                      <a:pt x="48" y="210"/>
                    </a:cubicBezTo>
                    <a:cubicBezTo>
                      <a:pt x="46" y="209"/>
                      <a:pt x="42" y="210"/>
                      <a:pt x="39" y="209"/>
                    </a:cubicBezTo>
                    <a:cubicBezTo>
                      <a:pt x="39" y="209"/>
                      <a:pt x="39" y="208"/>
                      <a:pt x="39" y="208"/>
                    </a:cubicBezTo>
                    <a:cubicBezTo>
                      <a:pt x="38" y="210"/>
                      <a:pt x="33" y="208"/>
                      <a:pt x="31" y="208"/>
                    </a:cubicBezTo>
                    <a:cubicBezTo>
                      <a:pt x="31" y="208"/>
                      <a:pt x="30" y="208"/>
                      <a:pt x="29" y="207"/>
                    </a:cubicBezTo>
                    <a:cubicBezTo>
                      <a:pt x="28" y="207"/>
                      <a:pt x="28" y="207"/>
                      <a:pt x="27" y="206"/>
                    </a:cubicBezTo>
                    <a:cubicBezTo>
                      <a:pt x="26" y="206"/>
                      <a:pt x="25" y="206"/>
                      <a:pt x="24" y="206"/>
                    </a:cubicBezTo>
                    <a:cubicBezTo>
                      <a:pt x="21" y="206"/>
                      <a:pt x="19" y="206"/>
                      <a:pt x="16" y="207"/>
                    </a:cubicBezTo>
                    <a:cubicBezTo>
                      <a:pt x="14" y="207"/>
                      <a:pt x="14" y="207"/>
                      <a:pt x="13" y="209"/>
                    </a:cubicBezTo>
                    <a:cubicBezTo>
                      <a:pt x="12" y="209"/>
                      <a:pt x="11" y="210"/>
                      <a:pt x="11" y="211"/>
                    </a:cubicBezTo>
                    <a:cubicBezTo>
                      <a:pt x="10" y="212"/>
                      <a:pt x="10" y="212"/>
                      <a:pt x="10" y="212"/>
                    </a:cubicBezTo>
                    <a:cubicBezTo>
                      <a:pt x="11" y="215"/>
                      <a:pt x="13" y="217"/>
                      <a:pt x="14" y="220"/>
                    </a:cubicBezTo>
                    <a:cubicBezTo>
                      <a:pt x="14" y="222"/>
                      <a:pt x="13" y="223"/>
                      <a:pt x="12" y="225"/>
                    </a:cubicBezTo>
                    <a:cubicBezTo>
                      <a:pt x="11" y="227"/>
                      <a:pt x="11" y="227"/>
                      <a:pt x="11" y="230"/>
                    </a:cubicBezTo>
                    <a:cubicBezTo>
                      <a:pt x="11" y="234"/>
                      <a:pt x="14" y="236"/>
                      <a:pt x="15" y="239"/>
                    </a:cubicBezTo>
                    <a:cubicBezTo>
                      <a:pt x="17" y="244"/>
                      <a:pt x="20" y="248"/>
                      <a:pt x="22" y="253"/>
                    </a:cubicBezTo>
                    <a:cubicBezTo>
                      <a:pt x="25" y="259"/>
                      <a:pt x="26" y="264"/>
                      <a:pt x="28" y="270"/>
                    </a:cubicBezTo>
                    <a:cubicBezTo>
                      <a:pt x="30" y="273"/>
                      <a:pt x="31" y="277"/>
                      <a:pt x="33" y="279"/>
                    </a:cubicBezTo>
                    <a:cubicBezTo>
                      <a:pt x="33" y="281"/>
                      <a:pt x="34" y="281"/>
                      <a:pt x="35" y="282"/>
                    </a:cubicBezTo>
                    <a:cubicBezTo>
                      <a:pt x="35" y="284"/>
                      <a:pt x="34" y="287"/>
                      <a:pt x="34" y="289"/>
                    </a:cubicBezTo>
                    <a:cubicBezTo>
                      <a:pt x="35" y="291"/>
                      <a:pt x="35" y="291"/>
                      <a:pt x="36" y="293"/>
                    </a:cubicBezTo>
                    <a:cubicBezTo>
                      <a:pt x="37" y="293"/>
                      <a:pt x="37" y="294"/>
                      <a:pt x="38" y="294"/>
                    </a:cubicBezTo>
                    <a:cubicBezTo>
                      <a:pt x="39" y="295"/>
                      <a:pt x="39" y="293"/>
                      <a:pt x="40" y="293"/>
                    </a:cubicBezTo>
                    <a:cubicBezTo>
                      <a:pt x="44" y="292"/>
                      <a:pt x="43" y="296"/>
                      <a:pt x="43" y="298"/>
                    </a:cubicBezTo>
                    <a:cubicBezTo>
                      <a:pt x="43" y="300"/>
                      <a:pt x="43" y="302"/>
                      <a:pt x="43" y="304"/>
                    </a:cubicBezTo>
                    <a:cubicBezTo>
                      <a:pt x="43" y="306"/>
                      <a:pt x="43" y="307"/>
                      <a:pt x="42" y="309"/>
                    </a:cubicBezTo>
                    <a:cubicBezTo>
                      <a:pt x="42" y="310"/>
                      <a:pt x="41" y="311"/>
                      <a:pt x="40" y="312"/>
                    </a:cubicBezTo>
                    <a:cubicBezTo>
                      <a:pt x="40" y="313"/>
                      <a:pt x="40" y="315"/>
                      <a:pt x="40" y="316"/>
                    </a:cubicBezTo>
                    <a:cubicBezTo>
                      <a:pt x="40" y="318"/>
                      <a:pt x="39" y="320"/>
                      <a:pt x="38" y="321"/>
                    </a:cubicBezTo>
                    <a:cubicBezTo>
                      <a:pt x="37" y="323"/>
                      <a:pt x="38" y="323"/>
                      <a:pt x="35" y="324"/>
                    </a:cubicBezTo>
                    <a:cubicBezTo>
                      <a:pt x="32" y="324"/>
                      <a:pt x="30" y="323"/>
                      <a:pt x="27" y="324"/>
                    </a:cubicBezTo>
                    <a:cubicBezTo>
                      <a:pt x="25" y="325"/>
                      <a:pt x="24" y="326"/>
                      <a:pt x="23" y="327"/>
                    </a:cubicBezTo>
                    <a:cubicBezTo>
                      <a:pt x="22" y="328"/>
                      <a:pt x="21" y="328"/>
                      <a:pt x="21" y="329"/>
                    </a:cubicBezTo>
                    <a:cubicBezTo>
                      <a:pt x="20" y="329"/>
                      <a:pt x="20" y="331"/>
                      <a:pt x="20" y="331"/>
                    </a:cubicBezTo>
                    <a:cubicBezTo>
                      <a:pt x="19" y="333"/>
                      <a:pt x="19" y="334"/>
                      <a:pt x="18" y="336"/>
                    </a:cubicBezTo>
                    <a:cubicBezTo>
                      <a:pt x="17" y="338"/>
                      <a:pt x="18" y="337"/>
                      <a:pt x="16" y="338"/>
                    </a:cubicBezTo>
                    <a:cubicBezTo>
                      <a:pt x="14" y="341"/>
                      <a:pt x="11" y="342"/>
                      <a:pt x="8" y="344"/>
                    </a:cubicBezTo>
                    <a:cubicBezTo>
                      <a:pt x="6" y="345"/>
                      <a:pt x="4" y="346"/>
                      <a:pt x="3" y="347"/>
                    </a:cubicBezTo>
                    <a:cubicBezTo>
                      <a:pt x="3" y="349"/>
                      <a:pt x="3" y="351"/>
                      <a:pt x="2" y="352"/>
                    </a:cubicBezTo>
                    <a:cubicBezTo>
                      <a:pt x="1" y="355"/>
                      <a:pt x="0" y="360"/>
                      <a:pt x="4" y="360"/>
                    </a:cubicBezTo>
                    <a:cubicBezTo>
                      <a:pt x="8" y="359"/>
                      <a:pt x="8" y="360"/>
                      <a:pt x="10" y="363"/>
                    </a:cubicBezTo>
                    <a:cubicBezTo>
                      <a:pt x="11" y="365"/>
                      <a:pt x="12" y="367"/>
                      <a:pt x="14" y="368"/>
                    </a:cubicBezTo>
                    <a:cubicBezTo>
                      <a:pt x="16" y="368"/>
                      <a:pt x="16" y="368"/>
                      <a:pt x="18" y="370"/>
                    </a:cubicBezTo>
                    <a:cubicBezTo>
                      <a:pt x="19" y="371"/>
                      <a:pt x="20" y="372"/>
                      <a:pt x="21" y="373"/>
                    </a:cubicBezTo>
                    <a:cubicBezTo>
                      <a:pt x="22" y="375"/>
                      <a:pt x="23" y="375"/>
                      <a:pt x="23" y="377"/>
                    </a:cubicBezTo>
                    <a:cubicBezTo>
                      <a:pt x="23" y="377"/>
                      <a:pt x="23" y="379"/>
                      <a:pt x="23" y="380"/>
                    </a:cubicBezTo>
                    <a:cubicBezTo>
                      <a:pt x="23" y="381"/>
                      <a:pt x="22" y="380"/>
                      <a:pt x="22" y="381"/>
                    </a:cubicBezTo>
                    <a:cubicBezTo>
                      <a:pt x="20" y="382"/>
                      <a:pt x="21" y="383"/>
                      <a:pt x="21" y="385"/>
                    </a:cubicBezTo>
                    <a:cubicBezTo>
                      <a:pt x="20" y="388"/>
                      <a:pt x="19" y="390"/>
                      <a:pt x="18" y="392"/>
                    </a:cubicBezTo>
                    <a:cubicBezTo>
                      <a:pt x="17" y="394"/>
                      <a:pt x="17" y="394"/>
                      <a:pt x="16" y="396"/>
                    </a:cubicBezTo>
                    <a:cubicBezTo>
                      <a:pt x="16" y="397"/>
                      <a:pt x="16" y="399"/>
                      <a:pt x="16" y="400"/>
                    </a:cubicBezTo>
                    <a:cubicBezTo>
                      <a:pt x="15" y="402"/>
                      <a:pt x="14" y="402"/>
                      <a:pt x="13" y="404"/>
                    </a:cubicBezTo>
                    <a:cubicBezTo>
                      <a:pt x="13" y="406"/>
                      <a:pt x="13" y="408"/>
                      <a:pt x="13" y="410"/>
                    </a:cubicBezTo>
                    <a:cubicBezTo>
                      <a:pt x="13" y="413"/>
                      <a:pt x="12" y="416"/>
                      <a:pt x="15" y="417"/>
                    </a:cubicBezTo>
                    <a:cubicBezTo>
                      <a:pt x="17" y="418"/>
                      <a:pt x="17" y="416"/>
                      <a:pt x="19" y="418"/>
                    </a:cubicBezTo>
                    <a:cubicBezTo>
                      <a:pt x="22" y="418"/>
                      <a:pt x="25" y="417"/>
                      <a:pt x="28" y="416"/>
                    </a:cubicBezTo>
                    <a:cubicBezTo>
                      <a:pt x="31" y="416"/>
                      <a:pt x="32" y="416"/>
                      <a:pt x="35" y="414"/>
                    </a:cubicBezTo>
                    <a:cubicBezTo>
                      <a:pt x="37" y="412"/>
                      <a:pt x="42" y="412"/>
                      <a:pt x="43" y="408"/>
                    </a:cubicBezTo>
                    <a:cubicBezTo>
                      <a:pt x="45" y="405"/>
                      <a:pt x="43" y="402"/>
                      <a:pt x="46" y="399"/>
                    </a:cubicBezTo>
                    <a:cubicBezTo>
                      <a:pt x="47" y="397"/>
                      <a:pt x="49" y="396"/>
                      <a:pt x="50" y="396"/>
                    </a:cubicBezTo>
                    <a:cubicBezTo>
                      <a:pt x="51" y="396"/>
                      <a:pt x="52" y="396"/>
                      <a:pt x="53" y="396"/>
                    </a:cubicBezTo>
                    <a:cubicBezTo>
                      <a:pt x="53" y="396"/>
                      <a:pt x="55" y="394"/>
                      <a:pt x="55" y="394"/>
                    </a:cubicBezTo>
                    <a:cubicBezTo>
                      <a:pt x="57" y="392"/>
                      <a:pt x="60" y="391"/>
                      <a:pt x="63" y="392"/>
                    </a:cubicBezTo>
                    <a:cubicBezTo>
                      <a:pt x="65" y="392"/>
                      <a:pt x="67" y="392"/>
                      <a:pt x="69" y="393"/>
                    </a:cubicBezTo>
                    <a:cubicBezTo>
                      <a:pt x="71" y="393"/>
                      <a:pt x="73" y="395"/>
                      <a:pt x="75" y="395"/>
                    </a:cubicBezTo>
                    <a:cubicBezTo>
                      <a:pt x="76" y="395"/>
                      <a:pt x="78" y="395"/>
                      <a:pt x="80" y="394"/>
                    </a:cubicBezTo>
                    <a:cubicBezTo>
                      <a:pt x="83" y="394"/>
                      <a:pt x="86" y="391"/>
                      <a:pt x="89" y="392"/>
                    </a:cubicBezTo>
                    <a:cubicBezTo>
                      <a:pt x="91" y="392"/>
                      <a:pt x="92" y="392"/>
                      <a:pt x="94" y="392"/>
                    </a:cubicBezTo>
                    <a:cubicBezTo>
                      <a:pt x="98" y="392"/>
                      <a:pt x="102" y="393"/>
                      <a:pt x="106" y="393"/>
                    </a:cubicBezTo>
                    <a:cubicBezTo>
                      <a:pt x="110" y="393"/>
                      <a:pt x="114" y="394"/>
                      <a:pt x="118" y="394"/>
                    </a:cubicBezTo>
                    <a:cubicBezTo>
                      <a:pt x="120" y="394"/>
                      <a:pt x="123" y="393"/>
                      <a:pt x="124" y="394"/>
                    </a:cubicBezTo>
                    <a:cubicBezTo>
                      <a:pt x="125" y="394"/>
                      <a:pt x="126" y="395"/>
                      <a:pt x="127" y="395"/>
                    </a:cubicBezTo>
                    <a:cubicBezTo>
                      <a:pt x="128" y="396"/>
                      <a:pt x="130" y="396"/>
                      <a:pt x="131" y="396"/>
                    </a:cubicBezTo>
                    <a:cubicBezTo>
                      <a:pt x="133" y="396"/>
                      <a:pt x="135" y="396"/>
                      <a:pt x="138" y="397"/>
                    </a:cubicBezTo>
                    <a:cubicBezTo>
                      <a:pt x="139" y="397"/>
                      <a:pt x="141" y="398"/>
                      <a:pt x="143" y="398"/>
                    </a:cubicBezTo>
                    <a:cubicBezTo>
                      <a:pt x="144" y="398"/>
                      <a:pt x="147" y="397"/>
                      <a:pt x="148" y="398"/>
                    </a:cubicBezTo>
                    <a:cubicBezTo>
                      <a:pt x="151" y="399"/>
                      <a:pt x="150" y="402"/>
                      <a:pt x="152" y="403"/>
                    </a:cubicBezTo>
                    <a:cubicBezTo>
                      <a:pt x="154" y="404"/>
                      <a:pt x="157" y="403"/>
                      <a:pt x="159" y="402"/>
                    </a:cubicBezTo>
                    <a:cubicBezTo>
                      <a:pt x="163" y="402"/>
                      <a:pt x="166" y="402"/>
                      <a:pt x="169" y="402"/>
                    </a:cubicBezTo>
                    <a:cubicBezTo>
                      <a:pt x="171" y="403"/>
                      <a:pt x="174" y="404"/>
                      <a:pt x="176" y="405"/>
                    </a:cubicBezTo>
                    <a:cubicBezTo>
                      <a:pt x="178" y="406"/>
                      <a:pt x="180" y="408"/>
                      <a:pt x="183" y="409"/>
                    </a:cubicBezTo>
                    <a:cubicBezTo>
                      <a:pt x="188" y="410"/>
                      <a:pt x="195" y="401"/>
                      <a:pt x="200" y="407"/>
                    </a:cubicBezTo>
                    <a:cubicBezTo>
                      <a:pt x="201" y="408"/>
                      <a:pt x="201" y="410"/>
                      <a:pt x="202" y="412"/>
                    </a:cubicBezTo>
                    <a:cubicBezTo>
                      <a:pt x="202" y="412"/>
                      <a:pt x="203" y="413"/>
                      <a:pt x="203" y="414"/>
                    </a:cubicBezTo>
                    <a:cubicBezTo>
                      <a:pt x="204" y="415"/>
                      <a:pt x="204" y="415"/>
                      <a:pt x="204" y="416"/>
                    </a:cubicBezTo>
                    <a:cubicBezTo>
                      <a:pt x="205" y="418"/>
                      <a:pt x="205" y="418"/>
                      <a:pt x="206" y="419"/>
                    </a:cubicBezTo>
                    <a:cubicBezTo>
                      <a:pt x="206" y="420"/>
                      <a:pt x="206" y="421"/>
                      <a:pt x="207" y="422"/>
                    </a:cubicBezTo>
                    <a:cubicBezTo>
                      <a:pt x="209" y="423"/>
                      <a:pt x="212" y="420"/>
                      <a:pt x="215" y="420"/>
                    </a:cubicBezTo>
                    <a:cubicBezTo>
                      <a:pt x="218" y="420"/>
                      <a:pt x="221" y="420"/>
                      <a:pt x="222" y="423"/>
                    </a:cubicBezTo>
                    <a:cubicBezTo>
                      <a:pt x="223" y="426"/>
                      <a:pt x="224" y="429"/>
                      <a:pt x="225" y="431"/>
                    </a:cubicBezTo>
                    <a:cubicBezTo>
                      <a:pt x="227" y="434"/>
                      <a:pt x="228" y="434"/>
                      <a:pt x="231" y="432"/>
                    </a:cubicBezTo>
                    <a:cubicBezTo>
                      <a:pt x="233" y="430"/>
                      <a:pt x="234" y="429"/>
                      <a:pt x="235" y="427"/>
                    </a:cubicBezTo>
                    <a:cubicBezTo>
                      <a:pt x="235" y="425"/>
                      <a:pt x="234" y="422"/>
                      <a:pt x="236" y="421"/>
                    </a:cubicBezTo>
                    <a:cubicBezTo>
                      <a:pt x="237" y="420"/>
                      <a:pt x="240" y="423"/>
                      <a:pt x="242" y="423"/>
                    </a:cubicBezTo>
                    <a:cubicBezTo>
                      <a:pt x="245" y="423"/>
                      <a:pt x="246" y="422"/>
                      <a:pt x="247" y="420"/>
                    </a:cubicBezTo>
                    <a:cubicBezTo>
                      <a:pt x="247" y="418"/>
                      <a:pt x="248" y="413"/>
                      <a:pt x="251" y="414"/>
                    </a:cubicBezTo>
                    <a:cubicBezTo>
                      <a:pt x="255" y="414"/>
                      <a:pt x="257" y="423"/>
                      <a:pt x="258" y="426"/>
                    </a:cubicBezTo>
                    <a:cubicBezTo>
                      <a:pt x="260" y="429"/>
                      <a:pt x="261" y="430"/>
                      <a:pt x="263" y="429"/>
                    </a:cubicBezTo>
                    <a:cubicBezTo>
                      <a:pt x="264" y="428"/>
                      <a:pt x="265" y="426"/>
                      <a:pt x="267" y="425"/>
                    </a:cubicBezTo>
                    <a:cubicBezTo>
                      <a:pt x="268" y="425"/>
                      <a:pt x="271" y="425"/>
                      <a:pt x="272" y="425"/>
                    </a:cubicBezTo>
                    <a:cubicBezTo>
                      <a:pt x="278" y="427"/>
                      <a:pt x="276" y="436"/>
                      <a:pt x="276" y="441"/>
                    </a:cubicBezTo>
                    <a:cubicBezTo>
                      <a:pt x="278" y="441"/>
                      <a:pt x="281" y="441"/>
                      <a:pt x="282" y="440"/>
                    </a:cubicBezTo>
                    <a:cubicBezTo>
                      <a:pt x="284" y="439"/>
                      <a:pt x="282" y="434"/>
                      <a:pt x="282" y="432"/>
                    </a:cubicBezTo>
                    <a:cubicBezTo>
                      <a:pt x="283" y="430"/>
                      <a:pt x="283" y="431"/>
                      <a:pt x="286" y="430"/>
                    </a:cubicBezTo>
                    <a:cubicBezTo>
                      <a:pt x="288" y="429"/>
                      <a:pt x="289" y="429"/>
                      <a:pt x="291" y="428"/>
                    </a:cubicBezTo>
                    <a:cubicBezTo>
                      <a:pt x="293" y="428"/>
                      <a:pt x="295" y="427"/>
                      <a:pt x="296" y="425"/>
                    </a:cubicBezTo>
                    <a:cubicBezTo>
                      <a:pt x="297" y="424"/>
                      <a:pt x="297" y="422"/>
                      <a:pt x="299" y="421"/>
                    </a:cubicBezTo>
                    <a:cubicBezTo>
                      <a:pt x="304" y="419"/>
                      <a:pt x="306" y="424"/>
                      <a:pt x="307" y="427"/>
                    </a:cubicBezTo>
                    <a:cubicBezTo>
                      <a:pt x="307" y="431"/>
                      <a:pt x="309" y="438"/>
                      <a:pt x="312" y="441"/>
                    </a:cubicBezTo>
                    <a:cubicBezTo>
                      <a:pt x="313" y="442"/>
                      <a:pt x="316" y="443"/>
                      <a:pt x="318" y="443"/>
                    </a:cubicBezTo>
                    <a:cubicBezTo>
                      <a:pt x="320" y="442"/>
                      <a:pt x="320" y="441"/>
                      <a:pt x="321" y="440"/>
                    </a:cubicBezTo>
                    <a:cubicBezTo>
                      <a:pt x="322" y="438"/>
                      <a:pt x="322" y="437"/>
                      <a:pt x="322" y="435"/>
                    </a:cubicBezTo>
                    <a:cubicBezTo>
                      <a:pt x="323" y="430"/>
                      <a:pt x="328" y="427"/>
                      <a:pt x="332" y="429"/>
                    </a:cubicBezTo>
                    <a:cubicBezTo>
                      <a:pt x="335" y="430"/>
                      <a:pt x="336" y="433"/>
                      <a:pt x="336" y="436"/>
                    </a:cubicBezTo>
                    <a:cubicBezTo>
                      <a:pt x="339" y="436"/>
                      <a:pt x="343" y="436"/>
                      <a:pt x="346" y="436"/>
                    </a:cubicBezTo>
                    <a:cubicBezTo>
                      <a:pt x="350" y="435"/>
                      <a:pt x="354" y="431"/>
                      <a:pt x="357" y="433"/>
                    </a:cubicBezTo>
                    <a:cubicBezTo>
                      <a:pt x="360" y="434"/>
                      <a:pt x="361" y="439"/>
                      <a:pt x="363" y="440"/>
                    </a:cubicBezTo>
                    <a:cubicBezTo>
                      <a:pt x="365" y="442"/>
                      <a:pt x="368" y="442"/>
                      <a:pt x="370" y="445"/>
                    </a:cubicBezTo>
                    <a:cubicBezTo>
                      <a:pt x="372" y="447"/>
                      <a:pt x="374" y="449"/>
                      <a:pt x="376" y="451"/>
                    </a:cubicBezTo>
                    <a:cubicBezTo>
                      <a:pt x="377" y="452"/>
                      <a:pt x="378" y="453"/>
                      <a:pt x="380" y="453"/>
                    </a:cubicBezTo>
                    <a:cubicBezTo>
                      <a:pt x="383" y="454"/>
                      <a:pt x="385" y="451"/>
                      <a:pt x="386" y="449"/>
                    </a:cubicBezTo>
                    <a:cubicBezTo>
                      <a:pt x="387" y="446"/>
                      <a:pt x="385" y="443"/>
                      <a:pt x="384" y="440"/>
                    </a:cubicBezTo>
                    <a:cubicBezTo>
                      <a:pt x="382" y="432"/>
                      <a:pt x="380" y="423"/>
                      <a:pt x="385" y="415"/>
                    </a:cubicBezTo>
                    <a:cubicBezTo>
                      <a:pt x="387" y="412"/>
                      <a:pt x="389" y="409"/>
                      <a:pt x="391" y="406"/>
                    </a:cubicBezTo>
                    <a:cubicBezTo>
                      <a:pt x="392" y="404"/>
                      <a:pt x="392" y="403"/>
                      <a:pt x="394" y="402"/>
                    </a:cubicBezTo>
                    <a:cubicBezTo>
                      <a:pt x="394" y="401"/>
                      <a:pt x="395" y="401"/>
                      <a:pt x="396" y="400"/>
                    </a:cubicBezTo>
                    <a:cubicBezTo>
                      <a:pt x="397" y="399"/>
                      <a:pt x="399" y="396"/>
                      <a:pt x="400" y="394"/>
                    </a:cubicBezTo>
                    <a:cubicBezTo>
                      <a:pt x="401" y="393"/>
                      <a:pt x="401" y="392"/>
                      <a:pt x="402" y="391"/>
                    </a:cubicBezTo>
                    <a:cubicBezTo>
                      <a:pt x="403" y="390"/>
                      <a:pt x="403" y="390"/>
                      <a:pt x="404" y="390"/>
                    </a:cubicBezTo>
                    <a:cubicBezTo>
                      <a:pt x="405" y="388"/>
                      <a:pt x="406" y="386"/>
                      <a:pt x="406" y="384"/>
                    </a:cubicBezTo>
                    <a:cubicBezTo>
                      <a:pt x="406" y="383"/>
                      <a:pt x="405" y="380"/>
                      <a:pt x="406" y="379"/>
                    </a:cubicBezTo>
                    <a:cubicBezTo>
                      <a:pt x="408" y="377"/>
                      <a:pt x="409" y="380"/>
                      <a:pt x="410" y="381"/>
                    </a:cubicBezTo>
                    <a:cubicBezTo>
                      <a:pt x="411" y="382"/>
                      <a:pt x="410" y="382"/>
                      <a:pt x="412" y="383"/>
                    </a:cubicBezTo>
                    <a:cubicBezTo>
                      <a:pt x="414" y="384"/>
                      <a:pt x="418" y="383"/>
                      <a:pt x="420" y="383"/>
                    </a:cubicBezTo>
                    <a:cubicBezTo>
                      <a:pt x="421" y="382"/>
                      <a:pt x="423" y="379"/>
                      <a:pt x="424" y="377"/>
                    </a:cubicBezTo>
                    <a:cubicBezTo>
                      <a:pt x="425" y="375"/>
                      <a:pt x="425" y="375"/>
                      <a:pt x="427" y="375"/>
                    </a:cubicBezTo>
                    <a:cubicBezTo>
                      <a:pt x="434" y="375"/>
                      <a:pt x="441" y="377"/>
                      <a:pt x="447" y="378"/>
                    </a:cubicBezTo>
                    <a:cubicBezTo>
                      <a:pt x="449" y="379"/>
                      <a:pt x="452" y="381"/>
                      <a:pt x="453" y="379"/>
                    </a:cubicBezTo>
                    <a:cubicBezTo>
                      <a:pt x="454" y="377"/>
                      <a:pt x="452" y="376"/>
                      <a:pt x="452" y="375"/>
                    </a:cubicBezTo>
                    <a:cubicBezTo>
                      <a:pt x="450" y="372"/>
                      <a:pt x="450" y="371"/>
                      <a:pt x="449" y="368"/>
                    </a:cubicBezTo>
                    <a:cubicBezTo>
                      <a:pt x="448" y="366"/>
                      <a:pt x="448" y="366"/>
                      <a:pt x="446" y="365"/>
                    </a:cubicBezTo>
                    <a:cubicBezTo>
                      <a:pt x="445" y="365"/>
                      <a:pt x="444" y="364"/>
                      <a:pt x="443" y="363"/>
                    </a:cubicBezTo>
                    <a:cubicBezTo>
                      <a:pt x="440" y="361"/>
                      <a:pt x="442" y="360"/>
                      <a:pt x="442" y="357"/>
                    </a:cubicBezTo>
                    <a:cubicBezTo>
                      <a:pt x="442" y="354"/>
                      <a:pt x="439" y="351"/>
                      <a:pt x="439" y="347"/>
                    </a:cubicBezTo>
                    <a:cubicBezTo>
                      <a:pt x="439" y="346"/>
                      <a:pt x="439" y="345"/>
                      <a:pt x="439" y="344"/>
                    </a:cubicBezTo>
                    <a:cubicBezTo>
                      <a:pt x="440" y="342"/>
                      <a:pt x="441" y="343"/>
                      <a:pt x="442" y="341"/>
                    </a:cubicBezTo>
                    <a:cubicBezTo>
                      <a:pt x="445" y="337"/>
                      <a:pt x="439" y="334"/>
                      <a:pt x="437" y="331"/>
                    </a:cubicBezTo>
                    <a:cubicBezTo>
                      <a:pt x="436" y="328"/>
                      <a:pt x="436" y="323"/>
                      <a:pt x="436" y="319"/>
                    </a:cubicBezTo>
                    <a:cubicBezTo>
                      <a:pt x="436" y="313"/>
                      <a:pt x="434" y="309"/>
                      <a:pt x="430" y="304"/>
                    </a:cubicBezTo>
                    <a:cubicBezTo>
                      <a:pt x="427" y="300"/>
                      <a:pt x="423" y="296"/>
                      <a:pt x="428" y="293"/>
                    </a:cubicBezTo>
                    <a:cubicBezTo>
                      <a:pt x="431" y="291"/>
                      <a:pt x="430" y="291"/>
                      <a:pt x="430" y="288"/>
                    </a:cubicBezTo>
                    <a:cubicBezTo>
                      <a:pt x="430" y="286"/>
                      <a:pt x="429" y="281"/>
                      <a:pt x="430" y="280"/>
                    </a:cubicBezTo>
                    <a:cubicBezTo>
                      <a:pt x="432" y="278"/>
                      <a:pt x="436" y="280"/>
                      <a:pt x="438" y="280"/>
                    </a:cubicBezTo>
                    <a:cubicBezTo>
                      <a:pt x="440" y="280"/>
                      <a:pt x="442" y="279"/>
                      <a:pt x="444" y="280"/>
                    </a:cubicBezTo>
                    <a:cubicBezTo>
                      <a:pt x="447" y="281"/>
                      <a:pt x="448" y="283"/>
                      <a:pt x="450" y="285"/>
                    </a:cubicBezTo>
                    <a:cubicBezTo>
                      <a:pt x="451" y="285"/>
                      <a:pt x="453" y="285"/>
                      <a:pt x="453" y="286"/>
                    </a:cubicBezTo>
                    <a:cubicBezTo>
                      <a:pt x="454" y="286"/>
                      <a:pt x="454" y="286"/>
                      <a:pt x="454" y="287"/>
                    </a:cubicBezTo>
                    <a:cubicBezTo>
                      <a:pt x="455" y="287"/>
                      <a:pt x="456" y="288"/>
                      <a:pt x="457" y="288"/>
                    </a:cubicBezTo>
                    <a:cubicBezTo>
                      <a:pt x="463" y="289"/>
                      <a:pt x="471" y="289"/>
                      <a:pt x="477" y="288"/>
                    </a:cubicBezTo>
                    <a:cubicBezTo>
                      <a:pt x="479" y="287"/>
                      <a:pt x="481" y="286"/>
                      <a:pt x="483" y="284"/>
                    </a:cubicBezTo>
                    <a:cubicBezTo>
                      <a:pt x="483" y="283"/>
                      <a:pt x="483" y="282"/>
                      <a:pt x="484" y="281"/>
                    </a:cubicBezTo>
                    <a:cubicBezTo>
                      <a:pt x="485" y="280"/>
                      <a:pt x="486" y="280"/>
                      <a:pt x="487" y="279"/>
                    </a:cubicBezTo>
                    <a:cubicBezTo>
                      <a:pt x="488" y="278"/>
                      <a:pt x="489" y="277"/>
                      <a:pt x="490" y="276"/>
                    </a:cubicBezTo>
                    <a:cubicBezTo>
                      <a:pt x="492" y="275"/>
                      <a:pt x="493" y="275"/>
                      <a:pt x="494" y="274"/>
                    </a:cubicBezTo>
                    <a:cubicBezTo>
                      <a:pt x="496" y="273"/>
                      <a:pt x="496" y="271"/>
                      <a:pt x="497" y="270"/>
                    </a:cubicBezTo>
                    <a:cubicBezTo>
                      <a:pt x="498" y="269"/>
                      <a:pt x="499" y="270"/>
                      <a:pt x="500" y="270"/>
                    </a:cubicBezTo>
                    <a:cubicBezTo>
                      <a:pt x="502" y="269"/>
                      <a:pt x="501" y="269"/>
                      <a:pt x="502" y="268"/>
                    </a:cubicBezTo>
                    <a:cubicBezTo>
                      <a:pt x="504" y="266"/>
                      <a:pt x="504" y="266"/>
                      <a:pt x="505" y="263"/>
                    </a:cubicBezTo>
                    <a:cubicBezTo>
                      <a:pt x="505" y="262"/>
                      <a:pt x="506" y="261"/>
                      <a:pt x="506" y="260"/>
                    </a:cubicBezTo>
                    <a:cubicBezTo>
                      <a:pt x="507" y="258"/>
                      <a:pt x="506" y="258"/>
                      <a:pt x="505" y="257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90" name="Freeform 39">
                <a:extLst>
                  <a:ext uri="{FF2B5EF4-FFF2-40B4-BE49-F238E27FC236}">
                    <a16:creationId xmlns:a16="http://schemas.microsoft.com/office/drawing/2014/main" id="{121A94D1-FD83-4712-B538-AA5846F28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2763" y="3159125"/>
                <a:ext cx="746125" cy="441325"/>
              </a:xfrm>
              <a:custGeom>
                <a:avLst/>
                <a:gdLst/>
                <a:ahLst/>
                <a:cxnLst>
                  <a:cxn ang="0">
                    <a:pos x="394" y="150"/>
                  </a:cxn>
                  <a:cxn ang="0">
                    <a:pos x="386" y="137"/>
                  </a:cxn>
                  <a:cxn ang="0">
                    <a:pos x="375" y="124"/>
                  </a:cxn>
                  <a:cxn ang="0">
                    <a:pos x="376" y="94"/>
                  </a:cxn>
                  <a:cxn ang="0">
                    <a:pos x="378" y="77"/>
                  </a:cxn>
                  <a:cxn ang="0">
                    <a:pos x="359" y="56"/>
                  </a:cxn>
                  <a:cxn ang="0">
                    <a:pos x="349" y="50"/>
                  </a:cxn>
                  <a:cxn ang="0">
                    <a:pos x="332" y="49"/>
                  </a:cxn>
                  <a:cxn ang="0">
                    <a:pos x="311" y="53"/>
                  </a:cxn>
                  <a:cxn ang="0">
                    <a:pos x="294" y="48"/>
                  </a:cxn>
                  <a:cxn ang="0">
                    <a:pos x="279" y="32"/>
                  </a:cxn>
                  <a:cxn ang="0">
                    <a:pos x="255" y="15"/>
                  </a:cxn>
                  <a:cxn ang="0">
                    <a:pos x="237" y="7"/>
                  </a:cxn>
                  <a:cxn ang="0">
                    <a:pos x="219" y="10"/>
                  </a:cxn>
                  <a:cxn ang="0">
                    <a:pos x="192" y="22"/>
                  </a:cxn>
                  <a:cxn ang="0">
                    <a:pos x="189" y="60"/>
                  </a:cxn>
                  <a:cxn ang="0">
                    <a:pos x="174" y="94"/>
                  </a:cxn>
                  <a:cxn ang="0">
                    <a:pos x="146" y="109"/>
                  </a:cxn>
                  <a:cxn ang="0">
                    <a:pos x="127" y="96"/>
                  </a:cxn>
                  <a:cxn ang="0">
                    <a:pos x="124" y="77"/>
                  </a:cxn>
                  <a:cxn ang="0">
                    <a:pos x="110" y="64"/>
                  </a:cxn>
                  <a:cxn ang="0">
                    <a:pos x="96" y="50"/>
                  </a:cxn>
                  <a:cxn ang="0">
                    <a:pos x="93" y="33"/>
                  </a:cxn>
                  <a:cxn ang="0">
                    <a:pos x="75" y="38"/>
                  </a:cxn>
                  <a:cxn ang="0">
                    <a:pos x="57" y="51"/>
                  </a:cxn>
                  <a:cxn ang="0">
                    <a:pos x="39" y="58"/>
                  </a:cxn>
                  <a:cxn ang="0">
                    <a:pos x="28" y="75"/>
                  </a:cxn>
                  <a:cxn ang="0">
                    <a:pos x="17" y="117"/>
                  </a:cxn>
                  <a:cxn ang="0">
                    <a:pos x="8" y="131"/>
                  </a:cxn>
                  <a:cxn ang="0">
                    <a:pos x="1" y="189"/>
                  </a:cxn>
                  <a:cxn ang="0">
                    <a:pos x="10" y="204"/>
                  </a:cxn>
                  <a:cxn ang="0">
                    <a:pos x="18" y="192"/>
                  </a:cxn>
                  <a:cxn ang="0">
                    <a:pos x="22" y="187"/>
                  </a:cxn>
                  <a:cxn ang="0">
                    <a:pos x="29" y="180"/>
                  </a:cxn>
                  <a:cxn ang="0">
                    <a:pos x="49" y="171"/>
                  </a:cxn>
                  <a:cxn ang="0">
                    <a:pos x="69" y="163"/>
                  </a:cxn>
                  <a:cxn ang="0">
                    <a:pos x="94" y="167"/>
                  </a:cxn>
                  <a:cxn ang="0">
                    <a:pos x="111" y="166"/>
                  </a:cxn>
                  <a:cxn ang="0">
                    <a:pos x="120" y="169"/>
                  </a:cxn>
                  <a:cxn ang="0">
                    <a:pos x="133" y="171"/>
                  </a:cxn>
                  <a:cxn ang="0">
                    <a:pos x="150" y="171"/>
                  </a:cxn>
                  <a:cxn ang="0">
                    <a:pos x="164" y="171"/>
                  </a:cxn>
                  <a:cxn ang="0">
                    <a:pos x="177" y="180"/>
                  </a:cxn>
                  <a:cxn ang="0">
                    <a:pos x="203" y="178"/>
                  </a:cxn>
                  <a:cxn ang="0">
                    <a:pos x="209" y="168"/>
                  </a:cxn>
                  <a:cxn ang="0">
                    <a:pos x="225" y="164"/>
                  </a:cxn>
                  <a:cxn ang="0">
                    <a:pos x="224" y="172"/>
                  </a:cxn>
                  <a:cxn ang="0">
                    <a:pos x="241" y="188"/>
                  </a:cxn>
                  <a:cxn ang="0">
                    <a:pos x="263" y="196"/>
                  </a:cxn>
                  <a:cxn ang="0">
                    <a:pos x="292" y="219"/>
                  </a:cxn>
                  <a:cxn ang="0">
                    <a:pos x="300" y="233"/>
                  </a:cxn>
                  <a:cxn ang="0">
                    <a:pos x="316" y="235"/>
                  </a:cxn>
                  <a:cxn ang="0">
                    <a:pos x="332" y="227"/>
                  </a:cxn>
                  <a:cxn ang="0">
                    <a:pos x="351" y="224"/>
                  </a:cxn>
                  <a:cxn ang="0">
                    <a:pos x="381" y="205"/>
                  </a:cxn>
                  <a:cxn ang="0">
                    <a:pos x="399" y="173"/>
                  </a:cxn>
                </a:cxnLst>
                <a:rect l="0" t="0" r="r" b="b"/>
                <a:pathLst>
                  <a:path w="399" h="236">
                    <a:moveTo>
                      <a:pt x="399" y="162"/>
                    </a:moveTo>
                    <a:cubicBezTo>
                      <a:pt x="399" y="161"/>
                      <a:pt x="398" y="161"/>
                      <a:pt x="397" y="159"/>
                    </a:cubicBezTo>
                    <a:cubicBezTo>
                      <a:pt x="396" y="157"/>
                      <a:pt x="398" y="153"/>
                      <a:pt x="397" y="151"/>
                    </a:cubicBezTo>
                    <a:cubicBezTo>
                      <a:pt x="396" y="149"/>
                      <a:pt x="396" y="150"/>
                      <a:pt x="394" y="150"/>
                    </a:cubicBezTo>
                    <a:cubicBezTo>
                      <a:pt x="392" y="149"/>
                      <a:pt x="392" y="148"/>
                      <a:pt x="391" y="146"/>
                    </a:cubicBezTo>
                    <a:cubicBezTo>
                      <a:pt x="391" y="143"/>
                      <a:pt x="392" y="143"/>
                      <a:pt x="390" y="142"/>
                    </a:cubicBezTo>
                    <a:cubicBezTo>
                      <a:pt x="389" y="141"/>
                      <a:pt x="387" y="141"/>
                      <a:pt x="387" y="140"/>
                    </a:cubicBezTo>
                    <a:cubicBezTo>
                      <a:pt x="386" y="139"/>
                      <a:pt x="386" y="138"/>
                      <a:pt x="386" y="137"/>
                    </a:cubicBezTo>
                    <a:cubicBezTo>
                      <a:pt x="385" y="135"/>
                      <a:pt x="384" y="135"/>
                      <a:pt x="384" y="133"/>
                    </a:cubicBezTo>
                    <a:cubicBezTo>
                      <a:pt x="385" y="130"/>
                      <a:pt x="387" y="129"/>
                      <a:pt x="387" y="126"/>
                    </a:cubicBezTo>
                    <a:cubicBezTo>
                      <a:pt x="382" y="126"/>
                      <a:pt x="383" y="124"/>
                      <a:pt x="383" y="121"/>
                    </a:cubicBezTo>
                    <a:cubicBezTo>
                      <a:pt x="380" y="120"/>
                      <a:pt x="378" y="123"/>
                      <a:pt x="375" y="124"/>
                    </a:cubicBezTo>
                    <a:cubicBezTo>
                      <a:pt x="373" y="124"/>
                      <a:pt x="371" y="124"/>
                      <a:pt x="369" y="125"/>
                    </a:cubicBezTo>
                    <a:cubicBezTo>
                      <a:pt x="367" y="121"/>
                      <a:pt x="373" y="118"/>
                      <a:pt x="373" y="114"/>
                    </a:cubicBezTo>
                    <a:cubicBezTo>
                      <a:pt x="374" y="110"/>
                      <a:pt x="372" y="110"/>
                      <a:pt x="371" y="107"/>
                    </a:cubicBezTo>
                    <a:cubicBezTo>
                      <a:pt x="369" y="101"/>
                      <a:pt x="374" y="98"/>
                      <a:pt x="376" y="94"/>
                    </a:cubicBezTo>
                    <a:cubicBezTo>
                      <a:pt x="377" y="94"/>
                      <a:pt x="377" y="93"/>
                      <a:pt x="377" y="93"/>
                    </a:cubicBezTo>
                    <a:cubicBezTo>
                      <a:pt x="378" y="92"/>
                      <a:pt x="380" y="91"/>
                      <a:pt x="380" y="91"/>
                    </a:cubicBezTo>
                    <a:cubicBezTo>
                      <a:pt x="381" y="90"/>
                      <a:pt x="381" y="87"/>
                      <a:pt x="381" y="86"/>
                    </a:cubicBezTo>
                    <a:cubicBezTo>
                      <a:pt x="382" y="83"/>
                      <a:pt x="381" y="79"/>
                      <a:pt x="378" y="77"/>
                    </a:cubicBezTo>
                    <a:cubicBezTo>
                      <a:pt x="376" y="75"/>
                      <a:pt x="373" y="75"/>
                      <a:pt x="370" y="73"/>
                    </a:cubicBezTo>
                    <a:cubicBezTo>
                      <a:pt x="369" y="72"/>
                      <a:pt x="368" y="70"/>
                      <a:pt x="367" y="69"/>
                    </a:cubicBezTo>
                    <a:cubicBezTo>
                      <a:pt x="364" y="66"/>
                      <a:pt x="361" y="65"/>
                      <a:pt x="358" y="63"/>
                    </a:cubicBezTo>
                    <a:cubicBezTo>
                      <a:pt x="359" y="61"/>
                      <a:pt x="359" y="58"/>
                      <a:pt x="359" y="56"/>
                    </a:cubicBezTo>
                    <a:cubicBezTo>
                      <a:pt x="357" y="56"/>
                      <a:pt x="355" y="56"/>
                      <a:pt x="354" y="56"/>
                    </a:cubicBezTo>
                    <a:cubicBezTo>
                      <a:pt x="353" y="55"/>
                      <a:pt x="353" y="55"/>
                      <a:pt x="353" y="54"/>
                    </a:cubicBezTo>
                    <a:cubicBezTo>
                      <a:pt x="351" y="52"/>
                      <a:pt x="350" y="50"/>
                      <a:pt x="349" y="47"/>
                    </a:cubicBezTo>
                    <a:cubicBezTo>
                      <a:pt x="349" y="48"/>
                      <a:pt x="349" y="49"/>
                      <a:pt x="349" y="50"/>
                    </a:cubicBezTo>
                    <a:cubicBezTo>
                      <a:pt x="349" y="53"/>
                      <a:pt x="350" y="54"/>
                      <a:pt x="350" y="56"/>
                    </a:cubicBezTo>
                    <a:cubicBezTo>
                      <a:pt x="346" y="57"/>
                      <a:pt x="343" y="56"/>
                      <a:pt x="340" y="54"/>
                    </a:cubicBezTo>
                    <a:cubicBezTo>
                      <a:pt x="338" y="53"/>
                      <a:pt x="336" y="53"/>
                      <a:pt x="334" y="52"/>
                    </a:cubicBezTo>
                    <a:cubicBezTo>
                      <a:pt x="333" y="51"/>
                      <a:pt x="333" y="50"/>
                      <a:pt x="332" y="49"/>
                    </a:cubicBezTo>
                    <a:cubicBezTo>
                      <a:pt x="331" y="48"/>
                      <a:pt x="329" y="48"/>
                      <a:pt x="327" y="48"/>
                    </a:cubicBezTo>
                    <a:cubicBezTo>
                      <a:pt x="326" y="47"/>
                      <a:pt x="327" y="47"/>
                      <a:pt x="325" y="47"/>
                    </a:cubicBezTo>
                    <a:cubicBezTo>
                      <a:pt x="324" y="46"/>
                      <a:pt x="320" y="46"/>
                      <a:pt x="319" y="47"/>
                    </a:cubicBezTo>
                    <a:cubicBezTo>
                      <a:pt x="314" y="48"/>
                      <a:pt x="315" y="52"/>
                      <a:pt x="311" y="53"/>
                    </a:cubicBezTo>
                    <a:cubicBezTo>
                      <a:pt x="310" y="53"/>
                      <a:pt x="309" y="53"/>
                      <a:pt x="308" y="53"/>
                    </a:cubicBezTo>
                    <a:cubicBezTo>
                      <a:pt x="306" y="52"/>
                      <a:pt x="303" y="52"/>
                      <a:pt x="301" y="51"/>
                    </a:cubicBezTo>
                    <a:cubicBezTo>
                      <a:pt x="300" y="51"/>
                      <a:pt x="300" y="50"/>
                      <a:pt x="299" y="50"/>
                    </a:cubicBezTo>
                    <a:cubicBezTo>
                      <a:pt x="297" y="49"/>
                      <a:pt x="296" y="48"/>
                      <a:pt x="294" y="48"/>
                    </a:cubicBezTo>
                    <a:cubicBezTo>
                      <a:pt x="294" y="48"/>
                      <a:pt x="292" y="49"/>
                      <a:pt x="291" y="48"/>
                    </a:cubicBezTo>
                    <a:cubicBezTo>
                      <a:pt x="289" y="48"/>
                      <a:pt x="288" y="45"/>
                      <a:pt x="287" y="43"/>
                    </a:cubicBezTo>
                    <a:cubicBezTo>
                      <a:pt x="285" y="41"/>
                      <a:pt x="284" y="39"/>
                      <a:pt x="282" y="36"/>
                    </a:cubicBezTo>
                    <a:cubicBezTo>
                      <a:pt x="281" y="34"/>
                      <a:pt x="281" y="33"/>
                      <a:pt x="279" y="32"/>
                    </a:cubicBezTo>
                    <a:cubicBezTo>
                      <a:pt x="276" y="31"/>
                      <a:pt x="276" y="31"/>
                      <a:pt x="276" y="28"/>
                    </a:cubicBezTo>
                    <a:cubicBezTo>
                      <a:pt x="275" y="25"/>
                      <a:pt x="277" y="24"/>
                      <a:pt x="274" y="22"/>
                    </a:cubicBezTo>
                    <a:cubicBezTo>
                      <a:pt x="271" y="21"/>
                      <a:pt x="268" y="22"/>
                      <a:pt x="266" y="20"/>
                    </a:cubicBezTo>
                    <a:cubicBezTo>
                      <a:pt x="262" y="17"/>
                      <a:pt x="262" y="13"/>
                      <a:pt x="255" y="15"/>
                    </a:cubicBezTo>
                    <a:cubicBezTo>
                      <a:pt x="256" y="10"/>
                      <a:pt x="251" y="7"/>
                      <a:pt x="247" y="5"/>
                    </a:cubicBezTo>
                    <a:cubicBezTo>
                      <a:pt x="245" y="5"/>
                      <a:pt x="244" y="4"/>
                      <a:pt x="243" y="4"/>
                    </a:cubicBezTo>
                    <a:cubicBezTo>
                      <a:pt x="241" y="2"/>
                      <a:pt x="240" y="0"/>
                      <a:pt x="237" y="0"/>
                    </a:cubicBezTo>
                    <a:cubicBezTo>
                      <a:pt x="237" y="2"/>
                      <a:pt x="237" y="5"/>
                      <a:pt x="237" y="7"/>
                    </a:cubicBezTo>
                    <a:cubicBezTo>
                      <a:pt x="232" y="8"/>
                      <a:pt x="235" y="2"/>
                      <a:pt x="233" y="1"/>
                    </a:cubicBezTo>
                    <a:cubicBezTo>
                      <a:pt x="231" y="0"/>
                      <a:pt x="226" y="4"/>
                      <a:pt x="224" y="5"/>
                    </a:cubicBezTo>
                    <a:cubicBezTo>
                      <a:pt x="223" y="6"/>
                      <a:pt x="222" y="6"/>
                      <a:pt x="221" y="7"/>
                    </a:cubicBezTo>
                    <a:cubicBezTo>
                      <a:pt x="220" y="8"/>
                      <a:pt x="219" y="9"/>
                      <a:pt x="219" y="10"/>
                    </a:cubicBezTo>
                    <a:cubicBezTo>
                      <a:pt x="215" y="13"/>
                      <a:pt x="209" y="12"/>
                      <a:pt x="204" y="13"/>
                    </a:cubicBezTo>
                    <a:cubicBezTo>
                      <a:pt x="201" y="13"/>
                      <a:pt x="202" y="13"/>
                      <a:pt x="201" y="15"/>
                    </a:cubicBezTo>
                    <a:cubicBezTo>
                      <a:pt x="199" y="17"/>
                      <a:pt x="198" y="18"/>
                      <a:pt x="196" y="20"/>
                    </a:cubicBezTo>
                    <a:cubicBezTo>
                      <a:pt x="195" y="20"/>
                      <a:pt x="193" y="22"/>
                      <a:pt x="192" y="22"/>
                    </a:cubicBezTo>
                    <a:cubicBezTo>
                      <a:pt x="189" y="23"/>
                      <a:pt x="188" y="22"/>
                      <a:pt x="188" y="21"/>
                    </a:cubicBezTo>
                    <a:cubicBezTo>
                      <a:pt x="188" y="23"/>
                      <a:pt x="188" y="25"/>
                      <a:pt x="188" y="27"/>
                    </a:cubicBezTo>
                    <a:cubicBezTo>
                      <a:pt x="188" y="30"/>
                      <a:pt x="189" y="34"/>
                      <a:pt x="189" y="37"/>
                    </a:cubicBezTo>
                    <a:cubicBezTo>
                      <a:pt x="189" y="45"/>
                      <a:pt x="189" y="52"/>
                      <a:pt x="189" y="60"/>
                    </a:cubicBezTo>
                    <a:cubicBezTo>
                      <a:pt x="189" y="68"/>
                      <a:pt x="190" y="77"/>
                      <a:pt x="189" y="85"/>
                    </a:cubicBezTo>
                    <a:cubicBezTo>
                      <a:pt x="188" y="90"/>
                      <a:pt x="185" y="91"/>
                      <a:pt x="181" y="92"/>
                    </a:cubicBezTo>
                    <a:cubicBezTo>
                      <a:pt x="179" y="93"/>
                      <a:pt x="178" y="94"/>
                      <a:pt x="176" y="94"/>
                    </a:cubicBezTo>
                    <a:cubicBezTo>
                      <a:pt x="175" y="94"/>
                      <a:pt x="174" y="94"/>
                      <a:pt x="174" y="94"/>
                    </a:cubicBezTo>
                    <a:cubicBezTo>
                      <a:pt x="173" y="93"/>
                      <a:pt x="173" y="92"/>
                      <a:pt x="172" y="92"/>
                    </a:cubicBezTo>
                    <a:cubicBezTo>
                      <a:pt x="165" y="90"/>
                      <a:pt x="163" y="102"/>
                      <a:pt x="159" y="105"/>
                    </a:cubicBezTo>
                    <a:cubicBezTo>
                      <a:pt x="158" y="106"/>
                      <a:pt x="156" y="106"/>
                      <a:pt x="154" y="107"/>
                    </a:cubicBezTo>
                    <a:cubicBezTo>
                      <a:pt x="151" y="108"/>
                      <a:pt x="148" y="109"/>
                      <a:pt x="146" y="109"/>
                    </a:cubicBezTo>
                    <a:cubicBezTo>
                      <a:pt x="142" y="110"/>
                      <a:pt x="140" y="108"/>
                      <a:pt x="140" y="104"/>
                    </a:cubicBezTo>
                    <a:cubicBezTo>
                      <a:pt x="138" y="104"/>
                      <a:pt x="135" y="105"/>
                      <a:pt x="133" y="104"/>
                    </a:cubicBezTo>
                    <a:cubicBezTo>
                      <a:pt x="131" y="103"/>
                      <a:pt x="131" y="103"/>
                      <a:pt x="131" y="101"/>
                    </a:cubicBezTo>
                    <a:cubicBezTo>
                      <a:pt x="129" y="99"/>
                      <a:pt x="128" y="98"/>
                      <a:pt x="127" y="96"/>
                    </a:cubicBezTo>
                    <a:cubicBezTo>
                      <a:pt x="127" y="96"/>
                      <a:pt x="127" y="95"/>
                      <a:pt x="127" y="95"/>
                    </a:cubicBezTo>
                    <a:cubicBezTo>
                      <a:pt x="126" y="94"/>
                      <a:pt x="125" y="93"/>
                      <a:pt x="125" y="92"/>
                    </a:cubicBezTo>
                    <a:cubicBezTo>
                      <a:pt x="124" y="91"/>
                      <a:pt x="124" y="90"/>
                      <a:pt x="124" y="88"/>
                    </a:cubicBezTo>
                    <a:cubicBezTo>
                      <a:pt x="124" y="85"/>
                      <a:pt x="124" y="81"/>
                      <a:pt x="124" y="77"/>
                    </a:cubicBezTo>
                    <a:cubicBezTo>
                      <a:pt x="124" y="73"/>
                      <a:pt x="125" y="72"/>
                      <a:pt x="121" y="71"/>
                    </a:cubicBezTo>
                    <a:cubicBezTo>
                      <a:pt x="118" y="70"/>
                      <a:pt x="114" y="70"/>
                      <a:pt x="112" y="68"/>
                    </a:cubicBezTo>
                    <a:cubicBezTo>
                      <a:pt x="111" y="67"/>
                      <a:pt x="110" y="67"/>
                      <a:pt x="110" y="66"/>
                    </a:cubicBezTo>
                    <a:cubicBezTo>
                      <a:pt x="110" y="65"/>
                      <a:pt x="110" y="64"/>
                      <a:pt x="110" y="64"/>
                    </a:cubicBezTo>
                    <a:cubicBezTo>
                      <a:pt x="110" y="63"/>
                      <a:pt x="109" y="62"/>
                      <a:pt x="108" y="62"/>
                    </a:cubicBezTo>
                    <a:cubicBezTo>
                      <a:pt x="107" y="61"/>
                      <a:pt x="105" y="59"/>
                      <a:pt x="105" y="57"/>
                    </a:cubicBezTo>
                    <a:cubicBezTo>
                      <a:pt x="103" y="57"/>
                      <a:pt x="101" y="58"/>
                      <a:pt x="99" y="56"/>
                    </a:cubicBezTo>
                    <a:cubicBezTo>
                      <a:pt x="98" y="54"/>
                      <a:pt x="98" y="52"/>
                      <a:pt x="96" y="50"/>
                    </a:cubicBezTo>
                    <a:cubicBezTo>
                      <a:pt x="96" y="49"/>
                      <a:pt x="95" y="49"/>
                      <a:pt x="94" y="48"/>
                    </a:cubicBezTo>
                    <a:cubicBezTo>
                      <a:pt x="92" y="47"/>
                      <a:pt x="92" y="48"/>
                      <a:pt x="92" y="45"/>
                    </a:cubicBezTo>
                    <a:cubicBezTo>
                      <a:pt x="92" y="43"/>
                      <a:pt x="92" y="41"/>
                      <a:pt x="92" y="39"/>
                    </a:cubicBezTo>
                    <a:cubicBezTo>
                      <a:pt x="92" y="38"/>
                      <a:pt x="93" y="35"/>
                      <a:pt x="93" y="33"/>
                    </a:cubicBezTo>
                    <a:cubicBezTo>
                      <a:pt x="92" y="32"/>
                      <a:pt x="91" y="32"/>
                      <a:pt x="91" y="30"/>
                    </a:cubicBezTo>
                    <a:cubicBezTo>
                      <a:pt x="90" y="30"/>
                      <a:pt x="88" y="32"/>
                      <a:pt x="87" y="33"/>
                    </a:cubicBezTo>
                    <a:cubicBezTo>
                      <a:pt x="85" y="35"/>
                      <a:pt x="86" y="35"/>
                      <a:pt x="84" y="35"/>
                    </a:cubicBezTo>
                    <a:cubicBezTo>
                      <a:pt x="81" y="36"/>
                      <a:pt x="78" y="37"/>
                      <a:pt x="75" y="38"/>
                    </a:cubicBezTo>
                    <a:cubicBezTo>
                      <a:pt x="73" y="39"/>
                      <a:pt x="72" y="40"/>
                      <a:pt x="70" y="41"/>
                    </a:cubicBezTo>
                    <a:cubicBezTo>
                      <a:pt x="68" y="43"/>
                      <a:pt x="67" y="42"/>
                      <a:pt x="65" y="43"/>
                    </a:cubicBezTo>
                    <a:cubicBezTo>
                      <a:pt x="61" y="45"/>
                      <a:pt x="61" y="48"/>
                      <a:pt x="61" y="51"/>
                    </a:cubicBezTo>
                    <a:cubicBezTo>
                      <a:pt x="59" y="51"/>
                      <a:pt x="58" y="51"/>
                      <a:pt x="57" y="51"/>
                    </a:cubicBezTo>
                    <a:cubicBezTo>
                      <a:pt x="57" y="51"/>
                      <a:pt x="55" y="50"/>
                      <a:pt x="55" y="50"/>
                    </a:cubicBezTo>
                    <a:cubicBezTo>
                      <a:pt x="54" y="49"/>
                      <a:pt x="52" y="49"/>
                      <a:pt x="50" y="49"/>
                    </a:cubicBezTo>
                    <a:cubicBezTo>
                      <a:pt x="47" y="49"/>
                      <a:pt x="44" y="51"/>
                      <a:pt x="42" y="53"/>
                    </a:cubicBezTo>
                    <a:cubicBezTo>
                      <a:pt x="41" y="55"/>
                      <a:pt x="40" y="56"/>
                      <a:pt x="39" y="58"/>
                    </a:cubicBezTo>
                    <a:cubicBezTo>
                      <a:pt x="37" y="59"/>
                      <a:pt x="37" y="62"/>
                      <a:pt x="36" y="64"/>
                    </a:cubicBezTo>
                    <a:cubicBezTo>
                      <a:pt x="34" y="66"/>
                      <a:pt x="33" y="67"/>
                      <a:pt x="32" y="69"/>
                    </a:cubicBezTo>
                    <a:cubicBezTo>
                      <a:pt x="31" y="70"/>
                      <a:pt x="31" y="71"/>
                      <a:pt x="30" y="72"/>
                    </a:cubicBezTo>
                    <a:cubicBezTo>
                      <a:pt x="30" y="73"/>
                      <a:pt x="28" y="74"/>
                      <a:pt x="28" y="75"/>
                    </a:cubicBezTo>
                    <a:cubicBezTo>
                      <a:pt x="27" y="77"/>
                      <a:pt x="26" y="80"/>
                      <a:pt x="25" y="83"/>
                    </a:cubicBezTo>
                    <a:cubicBezTo>
                      <a:pt x="24" y="88"/>
                      <a:pt x="26" y="94"/>
                      <a:pt x="25" y="99"/>
                    </a:cubicBezTo>
                    <a:cubicBezTo>
                      <a:pt x="24" y="103"/>
                      <a:pt x="23" y="107"/>
                      <a:pt x="22" y="110"/>
                    </a:cubicBezTo>
                    <a:cubicBezTo>
                      <a:pt x="21" y="113"/>
                      <a:pt x="19" y="115"/>
                      <a:pt x="17" y="117"/>
                    </a:cubicBezTo>
                    <a:cubicBezTo>
                      <a:pt x="17" y="117"/>
                      <a:pt x="15" y="118"/>
                      <a:pt x="15" y="119"/>
                    </a:cubicBezTo>
                    <a:cubicBezTo>
                      <a:pt x="14" y="120"/>
                      <a:pt x="14" y="120"/>
                      <a:pt x="14" y="122"/>
                    </a:cubicBezTo>
                    <a:cubicBezTo>
                      <a:pt x="13" y="123"/>
                      <a:pt x="12" y="125"/>
                      <a:pt x="11" y="126"/>
                    </a:cubicBezTo>
                    <a:cubicBezTo>
                      <a:pt x="10" y="128"/>
                      <a:pt x="9" y="130"/>
                      <a:pt x="8" y="131"/>
                    </a:cubicBezTo>
                    <a:cubicBezTo>
                      <a:pt x="7" y="135"/>
                      <a:pt x="8" y="141"/>
                      <a:pt x="6" y="146"/>
                    </a:cubicBezTo>
                    <a:cubicBezTo>
                      <a:pt x="5" y="149"/>
                      <a:pt x="2" y="152"/>
                      <a:pt x="1" y="156"/>
                    </a:cubicBezTo>
                    <a:cubicBezTo>
                      <a:pt x="0" y="160"/>
                      <a:pt x="0" y="164"/>
                      <a:pt x="0" y="168"/>
                    </a:cubicBezTo>
                    <a:cubicBezTo>
                      <a:pt x="0" y="175"/>
                      <a:pt x="0" y="182"/>
                      <a:pt x="1" y="189"/>
                    </a:cubicBezTo>
                    <a:cubicBezTo>
                      <a:pt x="1" y="191"/>
                      <a:pt x="0" y="191"/>
                      <a:pt x="2" y="193"/>
                    </a:cubicBezTo>
                    <a:cubicBezTo>
                      <a:pt x="2" y="194"/>
                      <a:pt x="3" y="194"/>
                      <a:pt x="4" y="195"/>
                    </a:cubicBezTo>
                    <a:cubicBezTo>
                      <a:pt x="5" y="196"/>
                      <a:pt x="6" y="198"/>
                      <a:pt x="6" y="199"/>
                    </a:cubicBezTo>
                    <a:cubicBezTo>
                      <a:pt x="7" y="201"/>
                      <a:pt x="9" y="202"/>
                      <a:pt x="10" y="204"/>
                    </a:cubicBezTo>
                    <a:cubicBezTo>
                      <a:pt x="11" y="203"/>
                      <a:pt x="11" y="202"/>
                      <a:pt x="11" y="201"/>
                    </a:cubicBezTo>
                    <a:cubicBezTo>
                      <a:pt x="11" y="199"/>
                      <a:pt x="11" y="196"/>
                      <a:pt x="13" y="195"/>
                    </a:cubicBezTo>
                    <a:cubicBezTo>
                      <a:pt x="14" y="194"/>
                      <a:pt x="15" y="195"/>
                      <a:pt x="16" y="195"/>
                    </a:cubicBezTo>
                    <a:cubicBezTo>
                      <a:pt x="17" y="194"/>
                      <a:pt x="17" y="193"/>
                      <a:pt x="18" y="192"/>
                    </a:cubicBezTo>
                    <a:cubicBezTo>
                      <a:pt x="18" y="192"/>
                      <a:pt x="19" y="191"/>
                      <a:pt x="19" y="190"/>
                    </a:cubicBezTo>
                    <a:cubicBezTo>
                      <a:pt x="19" y="190"/>
                      <a:pt x="20" y="190"/>
                      <a:pt x="20" y="189"/>
                    </a:cubicBezTo>
                    <a:cubicBezTo>
                      <a:pt x="20" y="189"/>
                      <a:pt x="19" y="188"/>
                      <a:pt x="20" y="188"/>
                    </a:cubicBezTo>
                    <a:cubicBezTo>
                      <a:pt x="20" y="187"/>
                      <a:pt x="22" y="187"/>
                      <a:pt x="22" y="187"/>
                    </a:cubicBezTo>
                    <a:cubicBezTo>
                      <a:pt x="22" y="187"/>
                      <a:pt x="23" y="186"/>
                      <a:pt x="23" y="186"/>
                    </a:cubicBezTo>
                    <a:cubicBezTo>
                      <a:pt x="23" y="186"/>
                      <a:pt x="24" y="185"/>
                      <a:pt x="25" y="185"/>
                    </a:cubicBezTo>
                    <a:cubicBezTo>
                      <a:pt x="26" y="185"/>
                      <a:pt x="27" y="184"/>
                      <a:pt x="28" y="184"/>
                    </a:cubicBezTo>
                    <a:cubicBezTo>
                      <a:pt x="29" y="183"/>
                      <a:pt x="29" y="181"/>
                      <a:pt x="29" y="180"/>
                    </a:cubicBezTo>
                    <a:cubicBezTo>
                      <a:pt x="30" y="178"/>
                      <a:pt x="31" y="178"/>
                      <a:pt x="33" y="178"/>
                    </a:cubicBezTo>
                    <a:cubicBezTo>
                      <a:pt x="34" y="177"/>
                      <a:pt x="36" y="175"/>
                      <a:pt x="37" y="175"/>
                    </a:cubicBezTo>
                    <a:cubicBezTo>
                      <a:pt x="39" y="173"/>
                      <a:pt x="41" y="174"/>
                      <a:pt x="44" y="174"/>
                    </a:cubicBezTo>
                    <a:cubicBezTo>
                      <a:pt x="47" y="174"/>
                      <a:pt x="47" y="173"/>
                      <a:pt x="49" y="171"/>
                    </a:cubicBezTo>
                    <a:cubicBezTo>
                      <a:pt x="50" y="170"/>
                      <a:pt x="53" y="169"/>
                      <a:pt x="55" y="169"/>
                    </a:cubicBezTo>
                    <a:cubicBezTo>
                      <a:pt x="56" y="168"/>
                      <a:pt x="57" y="168"/>
                      <a:pt x="58" y="168"/>
                    </a:cubicBezTo>
                    <a:cubicBezTo>
                      <a:pt x="62" y="168"/>
                      <a:pt x="60" y="166"/>
                      <a:pt x="61" y="164"/>
                    </a:cubicBezTo>
                    <a:cubicBezTo>
                      <a:pt x="62" y="162"/>
                      <a:pt x="68" y="162"/>
                      <a:pt x="69" y="163"/>
                    </a:cubicBezTo>
                    <a:cubicBezTo>
                      <a:pt x="70" y="163"/>
                      <a:pt x="71" y="164"/>
                      <a:pt x="72" y="164"/>
                    </a:cubicBezTo>
                    <a:cubicBezTo>
                      <a:pt x="73" y="164"/>
                      <a:pt x="74" y="165"/>
                      <a:pt x="75" y="165"/>
                    </a:cubicBezTo>
                    <a:cubicBezTo>
                      <a:pt x="79" y="166"/>
                      <a:pt x="83" y="166"/>
                      <a:pt x="86" y="166"/>
                    </a:cubicBezTo>
                    <a:cubicBezTo>
                      <a:pt x="89" y="166"/>
                      <a:pt x="91" y="166"/>
                      <a:pt x="94" y="167"/>
                    </a:cubicBezTo>
                    <a:cubicBezTo>
                      <a:pt x="97" y="168"/>
                      <a:pt x="99" y="168"/>
                      <a:pt x="102" y="168"/>
                    </a:cubicBezTo>
                    <a:cubicBezTo>
                      <a:pt x="104" y="168"/>
                      <a:pt x="105" y="168"/>
                      <a:pt x="107" y="168"/>
                    </a:cubicBezTo>
                    <a:cubicBezTo>
                      <a:pt x="107" y="168"/>
                      <a:pt x="108" y="168"/>
                      <a:pt x="109" y="168"/>
                    </a:cubicBezTo>
                    <a:cubicBezTo>
                      <a:pt x="110" y="168"/>
                      <a:pt x="110" y="167"/>
                      <a:pt x="111" y="166"/>
                    </a:cubicBezTo>
                    <a:cubicBezTo>
                      <a:pt x="112" y="166"/>
                      <a:pt x="113" y="166"/>
                      <a:pt x="114" y="166"/>
                    </a:cubicBezTo>
                    <a:cubicBezTo>
                      <a:pt x="115" y="166"/>
                      <a:pt x="117" y="166"/>
                      <a:pt x="118" y="167"/>
                    </a:cubicBezTo>
                    <a:cubicBezTo>
                      <a:pt x="118" y="167"/>
                      <a:pt x="120" y="166"/>
                      <a:pt x="120" y="167"/>
                    </a:cubicBezTo>
                    <a:cubicBezTo>
                      <a:pt x="120" y="167"/>
                      <a:pt x="120" y="168"/>
                      <a:pt x="120" y="169"/>
                    </a:cubicBezTo>
                    <a:cubicBezTo>
                      <a:pt x="120" y="169"/>
                      <a:pt x="121" y="169"/>
                      <a:pt x="121" y="170"/>
                    </a:cubicBezTo>
                    <a:cubicBezTo>
                      <a:pt x="121" y="171"/>
                      <a:pt x="121" y="174"/>
                      <a:pt x="123" y="175"/>
                    </a:cubicBezTo>
                    <a:cubicBezTo>
                      <a:pt x="125" y="175"/>
                      <a:pt x="129" y="173"/>
                      <a:pt x="129" y="171"/>
                    </a:cubicBezTo>
                    <a:cubicBezTo>
                      <a:pt x="130" y="170"/>
                      <a:pt x="132" y="171"/>
                      <a:pt x="133" y="171"/>
                    </a:cubicBezTo>
                    <a:cubicBezTo>
                      <a:pt x="135" y="171"/>
                      <a:pt x="135" y="169"/>
                      <a:pt x="136" y="168"/>
                    </a:cubicBezTo>
                    <a:cubicBezTo>
                      <a:pt x="137" y="168"/>
                      <a:pt x="139" y="169"/>
                      <a:pt x="140" y="169"/>
                    </a:cubicBezTo>
                    <a:cubicBezTo>
                      <a:pt x="142" y="169"/>
                      <a:pt x="143" y="170"/>
                      <a:pt x="145" y="171"/>
                    </a:cubicBezTo>
                    <a:cubicBezTo>
                      <a:pt x="146" y="171"/>
                      <a:pt x="148" y="171"/>
                      <a:pt x="150" y="171"/>
                    </a:cubicBezTo>
                    <a:cubicBezTo>
                      <a:pt x="151" y="171"/>
                      <a:pt x="152" y="170"/>
                      <a:pt x="153" y="170"/>
                    </a:cubicBezTo>
                    <a:cubicBezTo>
                      <a:pt x="156" y="169"/>
                      <a:pt x="158" y="169"/>
                      <a:pt x="161" y="170"/>
                    </a:cubicBezTo>
                    <a:cubicBezTo>
                      <a:pt x="161" y="171"/>
                      <a:pt x="161" y="173"/>
                      <a:pt x="162" y="174"/>
                    </a:cubicBezTo>
                    <a:cubicBezTo>
                      <a:pt x="163" y="174"/>
                      <a:pt x="162" y="171"/>
                      <a:pt x="164" y="171"/>
                    </a:cubicBezTo>
                    <a:cubicBezTo>
                      <a:pt x="165" y="171"/>
                      <a:pt x="166" y="172"/>
                      <a:pt x="167" y="173"/>
                    </a:cubicBezTo>
                    <a:cubicBezTo>
                      <a:pt x="169" y="174"/>
                      <a:pt x="171" y="175"/>
                      <a:pt x="173" y="176"/>
                    </a:cubicBezTo>
                    <a:cubicBezTo>
                      <a:pt x="174" y="176"/>
                      <a:pt x="176" y="176"/>
                      <a:pt x="176" y="177"/>
                    </a:cubicBezTo>
                    <a:cubicBezTo>
                      <a:pt x="177" y="178"/>
                      <a:pt x="176" y="179"/>
                      <a:pt x="177" y="180"/>
                    </a:cubicBezTo>
                    <a:cubicBezTo>
                      <a:pt x="177" y="181"/>
                      <a:pt x="178" y="181"/>
                      <a:pt x="179" y="181"/>
                    </a:cubicBezTo>
                    <a:cubicBezTo>
                      <a:pt x="181" y="181"/>
                      <a:pt x="182" y="179"/>
                      <a:pt x="183" y="179"/>
                    </a:cubicBezTo>
                    <a:cubicBezTo>
                      <a:pt x="187" y="176"/>
                      <a:pt x="192" y="178"/>
                      <a:pt x="197" y="179"/>
                    </a:cubicBezTo>
                    <a:cubicBezTo>
                      <a:pt x="198" y="179"/>
                      <a:pt x="201" y="179"/>
                      <a:pt x="203" y="178"/>
                    </a:cubicBezTo>
                    <a:cubicBezTo>
                      <a:pt x="204" y="177"/>
                      <a:pt x="204" y="176"/>
                      <a:pt x="205" y="175"/>
                    </a:cubicBezTo>
                    <a:cubicBezTo>
                      <a:pt x="206" y="175"/>
                      <a:pt x="207" y="175"/>
                      <a:pt x="208" y="175"/>
                    </a:cubicBezTo>
                    <a:cubicBezTo>
                      <a:pt x="208" y="174"/>
                      <a:pt x="208" y="173"/>
                      <a:pt x="208" y="172"/>
                    </a:cubicBezTo>
                    <a:cubicBezTo>
                      <a:pt x="208" y="171"/>
                      <a:pt x="208" y="169"/>
                      <a:pt x="209" y="168"/>
                    </a:cubicBezTo>
                    <a:cubicBezTo>
                      <a:pt x="210" y="167"/>
                      <a:pt x="212" y="166"/>
                      <a:pt x="213" y="165"/>
                    </a:cubicBezTo>
                    <a:cubicBezTo>
                      <a:pt x="214" y="165"/>
                      <a:pt x="215" y="165"/>
                      <a:pt x="215" y="164"/>
                    </a:cubicBezTo>
                    <a:cubicBezTo>
                      <a:pt x="216" y="164"/>
                      <a:pt x="216" y="163"/>
                      <a:pt x="216" y="163"/>
                    </a:cubicBezTo>
                    <a:cubicBezTo>
                      <a:pt x="218" y="161"/>
                      <a:pt x="225" y="161"/>
                      <a:pt x="225" y="164"/>
                    </a:cubicBezTo>
                    <a:cubicBezTo>
                      <a:pt x="222" y="166"/>
                      <a:pt x="222" y="166"/>
                      <a:pt x="222" y="166"/>
                    </a:cubicBezTo>
                    <a:cubicBezTo>
                      <a:pt x="221" y="167"/>
                      <a:pt x="222" y="167"/>
                      <a:pt x="221" y="168"/>
                    </a:cubicBezTo>
                    <a:cubicBezTo>
                      <a:pt x="221" y="169"/>
                      <a:pt x="221" y="169"/>
                      <a:pt x="221" y="170"/>
                    </a:cubicBezTo>
                    <a:cubicBezTo>
                      <a:pt x="222" y="170"/>
                      <a:pt x="223" y="171"/>
                      <a:pt x="224" y="172"/>
                    </a:cubicBezTo>
                    <a:cubicBezTo>
                      <a:pt x="225" y="175"/>
                      <a:pt x="227" y="177"/>
                      <a:pt x="229" y="180"/>
                    </a:cubicBezTo>
                    <a:cubicBezTo>
                      <a:pt x="230" y="183"/>
                      <a:pt x="231" y="185"/>
                      <a:pt x="234" y="186"/>
                    </a:cubicBezTo>
                    <a:cubicBezTo>
                      <a:pt x="234" y="187"/>
                      <a:pt x="235" y="190"/>
                      <a:pt x="237" y="190"/>
                    </a:cubicBezTo>
                    <a:cubicBezTo>
                      <a:pt x="237" y="188"/>
                      <a:pt x="240" y="187"/>
                      <a:pt x="241" y="188"/>
                    </a:cubicBezTo>
                    <a:cubicBezTo>
                      <a:pt x="242" y="188"/>
                      <a:pt x="243" y="190"/>
                      <a:pt x="244" y="190"/>
                    </a:cubicBezTo>
                    <a:cubicBezTo>
                      <a:pt x="247" y="192"/>
                      <a:pt x="251" y="191"/>
                      <a:pt x="254" y="191"/>
                    </a:cubicBezTo>
                    <a:cubicBezTo>
                      <a:pt x="256" y="191"/>
                      <a:pt x="258" y="191"/>
                      <a:pt x="260" y="193"/>
                    </a:cubicBezTo>
                    <a:cubicBezTo>
                      <a:pt x="261" y="193"/>
                      <a:pt x="262" y="195"/>
                      <a:pt x="263" y="196"/>
                    </a:cubicBezTo>
                    <a:cubicBezTo>
                      <a:pt x="266" y="197"/>
                      <a:pt x="268" y="198"/>
                      <a:pt x="270" y="200"/>
                    </a:cubicBezTo>
                    <a:cubicBezTo>
                      <a:pt x="273" y="201"/>
                      <a:pt x="275" y="203"/>
                      <a:pt x="278" y="205"/>
                    </a:cubicBezTo>
                    <a:cubicBezTo>
                      <a:pt x="281" y="207"/>
                      <a:pt x="283" y="209"/>
                      <a:pt x="286" y="211"/>
                    </a:cubicBezTo>
                    <a:cubicBezTo>
                      <a:pt x="288" y="213"/>
                      <a:pt x="291" y="216"/>
                      <a:pt x="292" y="219"/>
                    </a:cubicBezTo>
                    <a:cubicBezTo>
                      <a:pt x="292" y="220"/>
                      <a:pt x="292" y="221"/>
                      <a:pt x="293" y="221"/>
                    </a:cubicBezTo>
                    <a:cubicBezTo>
                      <a:pt x="293" y="222"/>
                      <a:pt x="294" y="223"/>
                      <a:pt x="295" y="224"/>
                    </a:cubicBezTo>
                    <a:cubicBezTo>
                      <a:pt x="296" y="226"/>
                      <a:pt x="298" y="228"/>
                      <a:pt x="299" y="230"/>
                    </a:cubicBezTo>
                    <a:cubicBezTo>
                      <a:pt x="299" y="231"/>
                      <a:pt x="299" y="232"/>
                      <a:pt x="300" y="233"/>
                    </a:cubicBezTo>
                    <a:cubicBezTo>
                      <a:pt x="301" y="234"/>
                      <a:pt x="305" y="234"/>
                      <a:pt x="307" y="235"/>
                    </a:cubicBezTo>
                    <a:cubicBezTo>
                      <a:pt x="309" y="235"/>
                      <a:pt x="311" y="236"/>
                      <a:pt x="313" y="236"/>
                    </a:cubicBezTo>
                    <a:cubicBezTo>
                      <a:pt x="313" y="236"/>
                      <a:pt x="313" y="236"/>
                      <a:pt x="314" y="236"/>
                    </a:cubicBezTo>
                    <a:cubicBezTo>
                      <a:pt x="315" y="236"/>
                      <a:pt x="315" y="236"/>
                      <a:pt x="316" y="235"/>
                    </a:cubicBezTo>
                    <a:cubicBezTo>
                      <a:pt x="317" y="235"/>
                      <a:pt x="319" y="236"/>
                      <a:pt x="321" y="236"/>
                    </a:cubicBezTo>
                    <a:cubicBezTo>
                      <a:pt x="323" y="236"/>
                      <a:pt x="324" y="236"/>
                      <a:pt x="325" y="234"/>
                    </a:cubicBezTo>
                    <a:cubicBezTo>
                      <a:pt x="326" y="233"/>
                      <a:pt x="327" y="230"/>
                      <a:pt x="329" y="229"/>
                    </a:cubicBezTo>
                    <a:cubicBezTo>
                      <a:pt x="329" y="228"/>
                      <a:pt x="331" y="227"/>
                      <a:pt x="332" y="227"/>
                    </a:cubicBezTo>
                    <a:cubicBezTo>
                      <a:pt x="333" y="226"/>
                      <a:pt x="334" y="226"/>
                      <a:pt x="335" y="226"/>
                    </a:cubicBezTo>
                    <a:cubicBezTo>
                      <a:pt x="336" y="226"/>
                      <a:pt x="336" y="224"/>
                      <a:pt x="337" y="224"/>
                    </a:cubicBezTo>
                    <a:cubicBezTo>
                      <a:pt x="339" y="222"/>
                      <a:pt x="343" y="220"/>
                      <a:pt x="346" y="222"/>
                    </a:cubicBezTo>
                    <a:cubicBezTo>
                      <a:pt x="348" y="223"/>
                      <a:pt x="348" y="223"/>
                      <a:pt x="351" y="224"/>
                    </a:cubicBezTo>
                    <a:cubicBezTo>
                      <a:pt x="353" y="224"/>
                      <a:pt x="356" y="224"/>
                      <a:pt x="359" y="224"/>
                    </a:cubicBezTo>
                    <a:cubicBezTo>
                      <a:pt x="363" y="223"/>
                      <a:pt x="366" y="228"/>
                      <a:pt x="370" y="225"/>
                    </a:cubicBezTo>
                    <a:cubicBezTo>
                      <a:pt x="374" y="222"/>
                      <a:pt x="371" y="217"/>
                      <a:pt x="372" y="213"/>
                    </a:cubicBezTo>
                    <a:cubicBezTo>
                      <a:pt x="373" y="208"/>
                      <a:pt x="376" y="206"/>
                      <a:pt x="381" y="205"/>
                    </a:cubicBezTo>
                    <a:cubicBezTo>
                      <a:pt x="385" y="205"/>
                      <a:pt x="389" y="200"/>
                      <a:pt x="392" y="197"/>
                    </a:cubicBezTo>
                    <a:cubicBezTo>
                      <a:pt x="392" y="196"/>
                      <a:pt x="393" y="195"/>
                      <a:pt x="394" y="194"/>
                    </a:cubicBezTo>
                    <a:cubicBezTo>
                      <a:pt x="394" y="191"/>
                      <a:pt x="395" y="188"/>
                      <a:pt x="395" y="187"/>
                    </a:cubicBezTo>
                    <a:cubicBezTo>
                      <a:pt x="396" y="182"/>
                      <a:pt x="398" y="177"/>
                      <a:pt x="399" y="173"/>
                    </a:cubicBezTo>
                    <a:cubicBezTo>
                      <a:pt x="399" y="170"/>
                      <a:pt x="399" y="167"/>
                      <a:pt x="399" y="165"/>
                    </a:cubicBezTo>
                    <a:cubicBezTo>
                      <a:pt x="399" y="164"/>
                      <a:pt x="399" y="162"/>
                      <a:pt x="399" y="16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91" name="Freeform 40">
                <a:extLst>
                  <a:ext uri="{FF2B5EF4-FFF2-40B4-BE49-F238E27FC236}">
                    <a16:creationId xmlns:a16="http://schemas.microsoft.com/office/drawing/2014/main" id="{2D9C36C8-FFA7-441C-835B-9307E61F5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2950" y="2852738"/>
                <a:ext cx="508000" cy="412750"/>
              </a:xfrm>
              <a:custGeom>
                <a:avLst/>
                <a:gdLst/>
                <a:ahLst/>
                <a:cxnLst>
                  <a:cxn ang="0">
                    <a:pos x="269" y="22"/>
                  </a:cxn>
                  <a:cxn ang="0">
                    <a:pos x="268" y="32"/>
                  </a:cxn>
                  <a:cxn ang="0">
                    <a:pos x="255" y="49"/>
                  </a:cxn>
                  <a:cxn ang="0">
                    <a:pos x="252" y="66"/>
                  </a:cxn>
                  <a:cxn ang="0">
                    <a:pos x="234" y="69"/>
                  </a:cxn>
                  <a:cxn ang="0">
                    <a:pos x="209" y="77"/>
                  </a:cxn>
                  <a:cxn ang="0">
                    <a:pos x="212" y="94"/>
                  </a:cxn>
                  <a:cxn ang="0">
                    <a:pos x="219" y="119"/>
                  </a:cxn>
                  <a:cxn ang="0">
                    <a:pos x="240" y="136"/>
                  </a:cxn>
                  <a:cxn ang="0">
                    <a:pos x="237" y="157"/>
                  </a:cxn>
                  <a:cxn ang="0">
                    <a:pos x="242" y="171"/>
                  </a:cxn>
                  <a:cxn ang="0">
                    <a:pos x="248" y="184"/>
                  </a:cxn>
                  <a:cxn ang="0">
                    <a:pos x="236" y="187"/>
                  </a:cxn>
                  <a:cxn ang="0">
                    <a:pos x="232" y="195"/>
                  </a:cxn>
                  <a:cxn ang="0">
                    <a:pos x="228" y="209"/>
                  </a:cxn>
                  <a:cxn ang="0">
                    <a:pos x="217" y="218"/>
                  </a:cxn>
                  <a:cxn ang="0">
                    <a:pos x="204" y="212"/>
                  </a:cxn>
                  <a:cxn ang="0">
                    <a:pos x="188" y="217"/>
                  </a:cxn>
                  <a:cxn ang="0">
                    <a:pos x="176" y="214"/>
                  </a:cxn>
                  <a:cxn ang="0">
                    <a:pos x="164" y="207"/>
                  </a:cxn>
                  <a:cxn ang="0">
                    <a:pos x="153" y="192"/>
                  </a:cxn>
                  <a:cxn ang="0">
                    <a:pos x="132" y="179"/>
                  </a:cxn>
                  <a:cxn ang="0">
                    <a:pos x="114" y="164"/>
                  </a:cxn>
                  <a:cxn ang="0">
                    <a:pos x="101" y="169"/>
                  </a:cxn>
                  <a:cxn ang="0">
                    <a:pos x="81" y="177"/>
                  </a:cxn>
                  <a:cxn ang="0">
                    <a:pos x="69" y="186"/>
                  </a:cxn>
                  <a:cxn ang="0">
                    <a:pos x="70" y="159"/>
                  </a:cxn>
                  <a:cxn ang="0">
                    <a:pos x="78" y="138"/>
                  </a:cxn>
                  <a:cxn ang="0">
                    <a:pos x="44" y="143"/>
                  </a:cxn>
                  <a:cxn ang="0">
                    <a:pos x="23" y="119"/>
                  </a:cxn>
                  <a:cxn ang="0">
                    <a:pos x="21" y="107"/>
                  </a:cxn>
                  <a:cxn ang="0">
                    <a:pos x="28" y="96"/>
                  </a:cxn>
                  <a:cxn ang="0">
                    <a:pos x="22" y="87"/>
                  </a:cxn>
                  <a:cxn ang="0">
                    <a:pos x="20" y="68"/>
                  </a:cxn>
                  <a:cxn ang="0">
                    <a:pos x="3" y="63"/>
                  </a:cxn>
                  <a:cxn ang="0">
                    <a:pos x="13" y="59"/>
                  </a:cxn>
                  <a:cxn ang="0">
                    <a:pos x="17" y="44"/>
                  </a:cxn>
                  <a:cxn ang="0">
                    <a:pos x="29" y="39"/>
                  </a:cxn>
                  <a:cxn ang="0">
                    <a:pos x="46" y="32"/>
                  </a:cxn>
                  <a:cxn ang="0">
                    <a:pos x="58" y="25"/>
                  </a:cxn>
                  <a:cxn ang="0">
                    <a:pos x="81" y="18"/>
                  </a:cxn>
                  <a:cxn ang="0">
                    <a:pos x="97" y="8"/>
                  </a:cxn>
                  <a:cxn ang="0">
                    <a:pos x="109" y="14"/>
                  </a:cxn>
                  <a:cxn ang="0">
                    <a:pos x="128" y="5"/>
                  </a:cxn>
                  <a:cxn ang="0">
                    <a:pos x="136" y="4"/>
                  </a:cxn>
                  <a:cxn ang="0">
                    <a:pos x="153" y="6"/>
                  </a:cxn>
                  <a:cxn ang="0">
                    <a:pos x="167" y="6"/>
                  </a:cxn>
                  <a:cxn ang="0">
                    <a:pos x="183" y="12"/>
                  </a:cxn>
                  <a:cxn ang="0">
                    <a:pos x="195" y="14"/>
                  </a:cxn>
                  <a:cxn ang="0">
                    <a:pos x="227" y="23"/>
                  </a:cxn>
                  <a:cxn ang="0">
                    <a:pos x="247" y="19"/>
                  </a:cxn>
                </a:cxnLst>
                <a:rect l="0" t="0" r="r" b="b"/>
                <a:pathLst>
                  <a:path w="272" h="221">
                    <a:moveTo>
                      <a:pt x="264" y="14"/>
                    </a:moveTo>
                    <a:cubicBezTo>
                      <a:pt x="264" y="14"/>
                      <a:pt x="264" y="15"/>
                      <a:pt x="264" y="15"/>
                    </a:cubicBezTo>
                    <a:cubicBezTo>
                      <a:pt x="265" y="18"/>
                      <a:pt x="267" y="20"/>
                      <a:pt x="269" y="22"/>
                    </a:cubicBezTo>
                    <a:cubicBezTo>
                      <a:pt x="270" y="23"/>
                      <a:pt x="271" y="24"/>
                      <a:pt x="271" y="26"/>
                    </a:cubicBezTo>
                    <a:cubicBezTo>
                      <a:pt x="272" y="28"/>
                      <a:pt x="271" y="27"/>
                      <a:pt x="270" y="29"/>
                    </a:cubicBezTo>
                    <a:cubicBezTo>
                      <a:pt x="269" y="30"/>
                      <a:pt x="269" y="31"/>
                      <a:pt x="268" y="32"/>
                    </a:cubicBezTo>
                    <a:cubicBezTo>
                      <a:pt x="267" y="35"/>
                      <a:pt x="265" y="34"/>
                      <a:pt x="264" y="35"/>
                    </a:cubicBezTo>
                    <a:cubicBezTo>
                      <a:pt x="260" y="37"/>
                      <a:pt x="257" y="41"/>
                      <a:pt x="256" y="45"/>
                    </a:cubicBezTo>
                    <a:cubicBezTo>
                      <a:pt x="255" y="46"/>
                      <a:pt x="255" y="48"/>
                      <a:pt x="255" y="49"/>
                    </a:cubicBezTo>
                    <a:cubicBezTo>
                      <a:pt x="254" y="51"/>
                      <a:pt x="254" y="53"/>
                      <a:pt x="254" y="54"/>
                    </a:cubicBezTo>
                    <a:cubicBezTo>
                      <a:pt x="254" y="57"/>
                      <a:pt x="253" y="58"/>
                      <a:pt x="253" y="60"/>
                    </a:cubicBezTo>
                    <a:cubicBezTo>
                      <a:pt x="252" y="62"/>
                      <a:pt x="253" y="64"/>
                      <a:pt x="252" y="66"/>
                    </a:cubicBezTo>
                    <a:cubicBezTo>
                      <a:pt x="251" y="69"/>
                      <a:pt x="248" y="71"/>
                      <a:pt x="245" y="71"/>
                    </a:cubicBezTo>
                    <a:cubicBezTo>
                      <a:pt x="242" y="71"/>
                      <a:pt x="242" y="70"/>
                      <a:pt x="240" y="69"/>
                    </a:cubicBezTo>
                    <a:cubicBezTo>
                      <a:pt x="238" y="68"/>
                      <a:pt x="236" y="69"/>
                      <a:pt x="234" y="69"/>
                    </a:cubicBezTo>
                    <a:cubicBezTo>
                      <a:pt x="230" y="69"/>
                      <a:pt x="227" y="71"/>
                      <a:pt x="223" y="72"/>
                    </a:cubicBezTo>
                    <a:cubicBezTo>
                      <a:pt x="220" y="73"/>
                      <a:pt x="218" y="73"/>
                      <a:pt x="215" y="74"/>
                    </a:cubicBezTo>
                    <a:cubicBezTo>
                      <a:pt x="213" y="75"/>
                      <a:pt x="211" y="76"/>
                      <a:pt x="209" y="77"/>
                    </a:cubicBezTo>
                    <a:cubicBezTo>
                      <a:pt x="206" y="79"/>
                      <a:pt x="202" y="80"/>
                      <a:pt x="203" y="84"/>
                    </a:cubicBezTo>
                    <a:cubicBezTo>
                      <a:pt x="204" y="86"/>
                      <a:pt x="207" y="89"/>
                      <a:pt x="209" y="91"/>
                    </a:cubicBezTo>
                    <a:cubicBezTo>
                      <a:pt x="210" y="92"/>
                      <a:pt x="211" y="93"/>
                      <a:pt x="212" y="94"/>
                    </a:cubicBezTo>
                    <a:cubicBezTo>
                      <a:pt x="215" y="97"/>
                      <a:pt x="215" y="101"/>
                      <a:pt x="216" y="105"/>
                    </a:cubicBezTo>
                    <a:cubicBezTo>
                      <a:pt x="216" y="108"/>
                      <a:pt x="216" y="111"/>
                      <a:pt x="216" y="114"/>
                    </a:cubicBezTo>
                    <a:cubicBezTo>
                      <a:pt x="217" y="116"/>
                      <a:pt x="218" y="117"/>
                      <a:pt x="219" y="119"/>
                    </a:cubicBezTo>
                    <a:cubicBezTo>
                      <a:pt x="220" y="123"/>
                      <a:pt x="219" y="126"/>
                      <a:pt x="222" y="129"/>
                    </a:cubicBezTo>
                    <a:cubicBezTo>
                      <a:pt x="224" y="130"/>
                      <a:pt x="229" y="131"/>
                      <a:pt x="229" y="135"/>
                    </a:cubicBezTo>
                    <a:cubicBezTo>
                      <a:pt x="232" y="136"/>
                      <a:pt x="237" y="134"/>
                      <a:pt x="240" y="136"/>
                    </a:cubicBezTo>
                    <a:cubicBezTo>
                      <a:pt x="243" y="140"/>
                      <a:pt x="237" y="140"/>
                      <a:pt x="236" y="141"/>
                    </a:cubicBezTo>
                    <a:cubicBezTo>
                      <a:pt x="235" y="142"/>
                      <a:pt x="235" y="144"/>
                      <a:pt x="235" y="146"/>
                    </a:cubicBezTo>
                    <a:cubicBezTo>
                      <a:pt x="235" y="151"/>
                      <a:pt x="234" y="154"/>
                      <a:pt x="237" y="157"/>
                    </a:cubicBezTo>
                    <a:cubicBezTo>
                      <a:pt x="238" y="159"/>
                      <a:pt x="239" y="161"/>
                      <a:pt x="240" y="163"/>
                    </a:cubicBezTo>
                    <a:cubicBezTo>
                      <a:pt x="241" y="165"/>
                      <a:pt x="242" y="166"/>
                      <a:pt x="242" y="168"/>
                    </a:cubicBezTo>
                    <a:cubicBezTo>
                      <a:pt x="242" y="169"/>
                      <a:pt x="242" y="170"/>
                      <a:pt x="242" y="171"/>
                    </a:cubicBezTo>
                    <a:cubicBezTo>
                      <a:pt x="242" y="172"/>
                      <a:pt x="244" y="173"/>
                      <a:pt x="244" y="174"/>
                    </a:cubicBezTo>
                    <a:cubicBezTo>
                      <a:pt x="245" y="174"/>
                      <a:pt x="245" y="177"/>
                      <a:pt x="245" y="178"/>
                    </a:cubicBezTo>
                    <a:cubicBezTo>
                      <a:pt x="245" y="180"/>
                      <a:pt x="246" y="182"/>
                      <a:pt x="248" y="184"/>
                    </a:cubicBezTo>
                    <a:cubicBezTo>
                      <a:pt x="248" y="185"/>
                      <a:pt x="250" y="184"/>
                      <a:pt x="250" y="186"/>
                    </a:cubicBezTo>
                    <a:cubicBezTo>
                      <a:pt x="249" y="188"/>
                      <a:pt x="248" y="187"/>
                      <a:pt x="247" y="187"/>
                    </a:cubicBezTo>
                    <a:cubicBezTo>
                      <a:pt x="244" y="188"/>
                      <a:pt x="239" y="186"/>
                      <a:pt x="236" y="187"/>
                    </a:cubicBezTo>
                    <a:cubicBezTo>
                      <a:pt x="234" y="188"/>
                      <a:pt x="235" y="189"/>
                      <a:pt x="234" y="191"/>
                    </a:cubicBezTo>
                    <a:cubicBezTo>
                      <a:pt x="233" y="192"/>
                      <a:pt x="232" y="191"/>
                      <a:pt x="232" y="193"/>
                    </a:cubicBezTo>
                    <a:cubicBezTo>
                      <a:pt x="232" y="194"/>
                      <a:pt x="232" y="195"/>
                      <a:pt x="232" y="195"/>
                    </a:cubicBezTo>
                    <a:cubicBezTo>
                      <a:pt x="234" y="198"/>
                      <a:pt x="234" y="197"/>
                      <a:pt x="234" y="200"/>
                    </a:cubicBezTo>
                    <a:cubicBezTo>
                      <a:pt x="234" y="200"/>
                      <a:pt x="235" y="203"/>
                      <a:pt x="234" y="204"/>
                    </a:cubicBezTo>
                    <a:cubicBezTo>
                      <a:pt x="233" y="207"/>
                      <a:pt x="230" y="207"/>
                      <a:pt x="228" y="209"/>
                    </a:cubicBezTo>
                    <a:cubicBezTo>
                      <a:pt x="226" y="210"/>
                      <a:pt x="226" y="211"/>
                      <a:pt x="226" y="214"/>
                    </a:cubicBezTo>
                    <a:cubicBezTo>
                      <a:pt x="226" y="217"/>
                      <a:pt x="227" y="218"/>
                      <a:pt x="227" y="220"/>
                    </a:cubicBezTo>
                    <a:cubicBezTo>
                      <a:pt x="223" y="221"/>
                      <a:pt x="220" y="220"/>
                      <a:pt x="217" y="218"/>
                    </a:cubicBezTo>
                    <a:cubicBezTo>
                      <a:pt x="215" y="217"/>
                      <a:pt x="213" y="217"/>
                      <a:pt x="211" y="216"/>
                    </a:cubicBezTo>
                    <a:cubicBezTo>
                      <a:pt x="210" y="215"/>
                      <a:pt x="210" y="214"/>
                      <a:pt x="209" y="213"/>
                    </a:cubicBezTo>
                    <a:cubicBezTo>
                      <a:pt x="208" y="212"/>
                      <a:pt x="206" y="212"/>
                      <a:pt x="204" y="212"/>
                    </a:cubicBezTo>
                    <a:cubicBezTo>
                      <a:pt x="203" y="211"/>
                      <a:pt x="204" y="211"/>
                      <a:pt x="202" y="211"/>
                    </a:cubicBezTo>
                    <a:cubicBezTo>
                      <a:pt x="201" y="210"/>
                      <a:pt x="197" y="210"/>
                      <a:pt x="196" y="211"/>
                    </a:cubicBezTo>
                    <a:cubicBezTo>
                      <a:pt x="191" y="212"/>
                      <a:pt x="192" y="216"/>
                      <a:pt x="188" y="217"/>
                    </a:cubicBezTo>
                    <a:cubicBezTo>
                      <a:pt x="187" y="217"/>
                      <a:pt x="186" y="217"/>
                      <a:pt x="185" y="217"/>
                    </a:cubicBezTo>
                    <a:cubicBezTo>
                      <a:pt x="183" y="216"/>
                      <a:pt x="180" y="216"/>
                      <a:pt x="178" y="215"/>
                    </a:cubicBezTo>
                    <a:cubicBezTo>
                      <a:pt x="177" y="215"/>
                      <a:pt x="177" y="214"/>
                      <a:pt x="176" y="214"/>
                    </a:cubicBezTo>
                    <a:cubicBezTo>
                      <a:pt x="174" y="213"/>
                      <a:pt x="173" y="212"/>
                      <a:pt x="171" y="212"/>
                    </a:cubicBezTo>
                    <a:cubicBezTo>
                      <a:pt x="171" y="212"/>
                      <a:pt x="169" y="213"/>
                      <a:pt x="168" y="212"/>
                    </a:cubicBezTo>
                    <a:cubicBezTo>
                      <a:pt x="166" y="212"/>
                      <a:pt x="165" y="209"/>
                      <a:pt x="164" y="207"/>
                    </a:cubicBezTo>
                    <a:cubicBezTo>
                      <a:pt x="162" y="205"/>
                      <a:pt x="161" y="203"/>
                      <a:pt x="159" y="200"/>
                    </a:cubicBezTo>
                    <a:cubicBezTo>
                      <a:pt x="158" y="198"/>
                      <a:pt x="158" y="197"/>
                      <a:pt x="156" y="196"/>
                    </a:cubicBezTo>
                    <a:cubicBezTo>
                      <a:pt x="153" y="195"/>
                      <a:pt x="153" y="195"/>
                      <a:pt x="153" y="192"/>
                    </a:cubicBezTo>
                    <a:cubicBezTo>
                      <a:pt x="152" y="189"/>
                      <a:pt x="154" y="188"/>
                      <a:pt x="151" y="186"/>
                    </a:cubicBezTo>
                    <a:cubicBezTo>
                      <a:pt x="148" y="185"/>
                      <a:pt x="145" y="186"/>
                      <a:pt x="143" y="184"/>
                    </a:cubicBezTo>
                    <a:cubicBezTo>
                      <a:pt x="139" y="181"/>
                      <a:pt x="139" y="177"/>
                      <a:pt x="132" y="179"/>
                    </a:cubicBezTo>
                    <a:cubicBezTo>
                      <a:pt x="133" y="174"/>
                      <a:pt x="128" y="171"/>
                      <a:pt x="124" y="169"/>
                    </a:cubicBezTo>
                    <a:cubicBezTo>
                      <a:pt x="122" y="169"/>
                      <a:pt x="121" y="168"/>
                      <a:pt x="120" y="168"/>
                    </a:cubicBezTo>
                    <a:cubicBezTo>
                      <a:pt x="118" y="166"/>
                      <a:pt x="117" y="164"/>
                      <a:pt x="114" y="164"/>
                    </a:cubicBezTo>
                    <a:cubicBezTo>
                      <a:pt x="114" y="166"/>
                      <a:pt x="114" y="169"/>
                      <a:pt x="114" y="171"/>
                    </a:cubicBezTo>
                    <a:cubicBezTo>
                      <a:pt x="109" y="172"/>
                      <a:pt x="112" y="166"/>
                      <a:pt x="110" y="165"/>
                    </a:cubicBezTo>
                    <a:cubicBezTo>
                      <a:pt x="108" y="164"/>
                      <a:pt x="103" y="168"/>
                      <a:pt x="101" y="169"/>
                    </a:cubicBezTo>
                    <a:cubicBezTo>
                      <a:pt x="100" y="170"/>
                      <a:pt x="99" y="170"/>
                      <a:pt x="98" y="171"/>
                    </a:cubicBezTo>
                    <a:cubicBezTo>
                      <a:pt x="97" y="172"/>
                      <a:pt x="96" y="173"/>
                      <a:pt x="96" y="174"/>
                    </a:cubicBezTo>
                    <a:cubicBezTo>
                      <a:pt x="92" y="177"/>
                      <a:pt x="86" y="176"/>
                      <a:pt x="81" y="177"/>
                    </a:cubicBezTo>
                    <a:cubicBezTo>
                      <a:pt x="78" y="177"/>
                      <a:pt x="79" y="177"/>
                      <a:pt x="78" y="179"/>
                    </a:cubicBezTo>
                    <a:cubicBezTo>
                      <a:pt x="76" y="181"/>
                      <a:pt x="75" y="182"/>
                      <a:pt x="73" y="184"/>
                    </a:cubicBezTo>
                    <a:cubicBezTo>
                      <a:pt x="72" y="184"/>
                      <a:pt x="70" y="186"/>
                      <a:pt x="69" y="186"/>
                    </a:cubicBezTo>
                    <a:cubicBezTo>
                      <a:pt x="65" y="188"/>
                      <a:pt x="65" y="185"/>
                      <a:pt x="64" y="182"/>
                    </a:cubicBezTo>
                    <a:cubicBezTo>
                      <a:pt x="63" y="176"/>
                      <a:pt x="67" y="174"/>
                      <a:pt x="68" y="169"/>
                    </a:cubicBezTo>
                    <a:cubicBezTo>
                      <a:pt x="70" y="165"/>
                      <a:pt x="71" y="163"/>
                      <a:pt x="70" y="159"/>
                    </a:cubicBezTo>
                    <a:cubicBezTo>
                      <a:pt x="70" y="157"/>
                      <a:pt x="70" y="156"/>
                      <a:pt x="69" y="154"/>
                    </a:cubicBezTo>
                    <a:cubicBezTo>
                      <a:pt x="69" y="150"/>
                      <a:pt x="70" y="145"/>
                      <a:pt x="73" y="142"/>
                    </a:cubicBezTo>
                    <a:cubicBezTo>
                      <a:pt x="74" y="140"/>
                      <a:pt x="77" y="140"/>
                      <a:pt x="78" y="138"/>
                    </a:cubicBezTo>
                    <a:cubicBezTo>
                      <a:pt x="76" y="135"/>
                      <a:pt x="64" y="134"/>
                      <a:pt x="62" y="137"/>
                    </a:cubicBezTo>
                    <a:cubicBezTo>
                      <a:pt x="59" y="140"/>
                      <a:pt x="59" y="144"/>
                      <a:pt x="55" y="147"/>
                    </a:cubicBezTo>
                    <a:cubicBezTo>
                      <a:pt x="51" y="150"/>
                      <a:pt x="47" y="147"/>
                      <a:pt x="44" y="143"/>
                    </a:cubicBezTo>
                    <a:cubicBezTo>
                      <a:pt x="43" y="140"/>
                      <a:pt x="37" y="130"/>
                      <a:pt x="33" y="134"/>
                    </a:cubicBezTo>
                    <a:cubicBezTo>
                      <a:pt x="31" y="131"/>
                      <a:pt x="30" y="127"/>
                      <a:pt x="27" y="124"/>
                    </a:cubicBezTo>
                    <a:cubicBezTo>
                      <a:pt x="26" y="122"/>
                      <a:pt x="24" y="121"/>
                      <a:pt x="23" y="119"/>
                    </a:cubicBezTo>
                    <a:cubicBezTo>
                      <a:pt x="22" y="118"/>
                      <a:pt x="23" y="114"/>
                      <a:pt x="23" y="112"/>
                    </a:cubicBezTo>
                    <a:cubicBezTo>
                      <a:pt x="22" y="111"/>
                      <a:pt x="22" y="110"/>
                      <a:pt x="21" y="109"/>
                    </a:cubicBezTo>
                    <a:cubicBezTo>
                      <a:pt x="21" y="108"/>
                      <a:pt x="21" y="108"/>
                      <a:pt x="21" y="107"/>
                    </a:cubicBezTo>
                    <a:cubicBezTo>
                      <a:pt x="21" y="107"/>
                      <a:pt x="21" y="106"/>
                      <a:pt x="20" y="106"/>
                    </a:cubicBezTo>
                    <a:cubicBezTo>
                      <a:pt x="19" y="104"/>
                      <a:pt x="16" y="97"/>
                      <a:pt x="20" y="96"/>
                    </a:cubicBezTo>
                    <a:cubicBezTo>
                      <a:pt x="22" y="95"/>
                      <a:pt x="26" y="97"/>
                      <a:pt x="28" y="96"/>
                    </a:cubicBezTo>
                    <a:cubicBezTo>
                      <a:pt x="28" y="96"/>
                      <a:pt x="30" y="93"/>
                      <a:pt x="30" y="93"/>
                    </a:cubicBezTo>
                    <a:cubicBezTo>
                      <a:pt x="31" y="91"/>
                      <a:pt x="32" y="90"/>
                      <a:pt x="32" y="88"/>
                    </a:cubicBezTo>
                    <a:cubicBezTo>
                      <a:pt x="28" y="87"/>
                      <a:pt x="25" y="88"/>
                      <a:pt x="22" y="87"/>
                    </a:cubicBezTo>
                    <a:cubicBezTo>
                      <a:pt x="22" y="86"/>
                      <a:pt x="22" y="84"/>
                      <a:pt x="22" y="82"/>
                    </a:cubicBezTo>
                    <a:cubicBezTo>
                      <a:pt x="21" y="80"/>
                      <a:pt x="18" y="79"/>
                      <a:pt x="17" y="76"/>
                    </a:cubicBezTo>
                    <a:cubicBezTo>
                      <a:pt x="16" y="72"/>
                      <a:pt x="18" y="70"/>
                      <a:pt x="20" y="68"/>
                    </a:cubicBezTo>
                    <a:cubicBezTo>
                      <a:pt x="19" y="66"/>
                      <a:pt x="14" y="67"/>
                      <a:pt x="12" y="67"/>
                    </a:cubicBezTo>
                    <a:cubicBezTo>
                      <a:pt x="9" y="67"/>
                      <a:pt x="6" y="70"/>
                      <a:pt x="4" y="69"/>
                    </a:cubicBezTo>
                    <a:cubicBezTo>
                      <a:pt x="0" y="68"/>
                      <a:pt x="1" y="64"/>
                      <a:pt x="3" y="63"/>
                    </a:cubicBezTo>
                    <a:cubicBezTo>
                      <a:pt x="6" y="62"/>
                      <a:pt x="6" y="62"/>
                      <a:pt x="8" y="63"/>
                    </a:cubicBezTo>
                    <a:cubicBezTo>
                      <a:pt x="10" y="63"/>
                      <a:pt x="11" y="62"/>
                      <a:pt x="12" y="61"/>
                    </a:cubicBezTo>
                    <a:cubicBezTo>
                      <a:pt x="12" y="60"/>
                      <a:pt x="12" y="59"/>
                      <a:pt x="13" y="59"/>
                    </a:cubicBezTo>
                    <a:cubicBezTo>
                      <a:pt x="13" y="58"/>
                      <a:pt x="14" y="59"/>
                      <a:pt x="14" y="58"/>
                    </a:cubicBezTo>
                    <a:cubicBezTo>
                      <a:pt x="16" y="57"/>
                      <a:pt x="16" y="57"/>
                      <a:pt x="17" y="55"/>
                    </a:cubicBezTo>
                    <a:cubicBezTo>
                      <a:pt x="18" y="51"/>
                      <a:pt x="17" y="48"/>
                      <a:pt x="17" y="44"/>
                    </a:cubicBezTo>
                    <a:cubicBezTo>
                      <a:pt x="16" y="40"/>
                      <a:pt x="17" y="37"/>
                      <a:pt x="21" y="39"/>
                    </a:cubicBezTo>
                    <a:cubicBezTo>
                      <a:pt x="22" y="39"/>
                      <a:pt x="23" y="41"/>
                      <a:pt x="25" y="41"/>
                    </a:cubicBezTo>
                    <a:cubicBezTo>
                      <a:pt x="27" y="42"/>
                      <a:pt x="28" y="40"/>
                      <a:pt x="29" y="39"/>
                    </a:cubicBezTo>
                    <a:cubicBezTo>
                      <a:pt x="31" y="37"/>
                      <a:pt x="41" y="36"/>
                      <a:pt x="41" y="40"/>
                    </a:cubicBezTo>
                    <a:cubicBezTo>
                      <a:pt x="43" y="40"/>
                      <a:pt x="52" y="40"/>
                      <a:pt x="50" y="36"/>
                    </a:cubicBezTo>
                    <a:cubicBezTo>
                      <a:pt x="50" y="34"/>
                      <a:pt x="47" y="34"/>
                      <a:pt x="46" y="32"/>
                    </a:cubicBezTo>
                    <a:cubicBezTo>
                      <a:pt x="45" y="30"/>
                      <a:pt x="47" y="29"/>
                      <a:pt x="48" y="29"/>
                    </a:cubicBezTo>
                    <a:cubicBezTo>
                      <a:pt x="50" y="29"/>
                      <a:pt x="52" y="30"/>
                      <a:pt x="53" y="29"/>
                    </a:cubicBezTo>
                    <a:cubicBezTo>
                      <a:pt x="56" y="29"/>
                      <a:pt x="56" y="27"/>
                      <a:pt x="58" y="25"/>
                    </a:cubicBezTo>
                    <a:cubicBezTo>
                      <a:pt x="61" y="22"/>
                      <a:pt x="66" y="20"/>
                      <a:pt x="69" y="20"/>
                    </a:cubicBezTo>
                    <a:cubicBezTo>
                      <a:pt x="72" y="20"/>
                      <a:pt x="73" y="20"/>
                      <a:pt x="75" y="19"/>
                    </a:cubicBezTo>
                    <a:cubicBezTo>
                      <a:pt x="77" y="19"/>
                      <a:pt x="79" y="18"/>
                      <a:pt x="81" y="18"/>
                    </a:cubicBezTo>
                    <a:cubicBezTo>
                      <a:pt x="83" y="17"/>
                      <a:pt x="83" y="17"/>
                      <a:pt x="84" y="16"/>
                    </a:cubicBezTo>
                    <a:cubicBezTo>
                      <a:pt x="85" y="15"/>
                      <a:pt x="87" y="15"/>
                      <a:pt x="89" y="14"/>
                    </a:cubicBezTo>
                    <a:cubicBezTo>
                      <a:pt x="92" y="11"/>
                      <a:pt x="93" y="9"/>
                      <a:pt x="97" y="8"/>
                    </a:cubicBezTo>
                    <a:cubicBezTo>
                      <a:pt x="100" y="7"/>
                      <a:pt x="102" y="8"/>
                      <a:pt x="105" y="10"/>
                    </a:cubicBezTo>
                    <a:cubicBezTo>
                      <a:pt x="106" y="11"/>
                      <a:pt x="108" y="11"/>
                      <a:pt x="109" y="12"/>
                    </a:cubicBezTo>
                    <a:cubicBezTo>
                      <a:pt x="109" y="13"/>
                      <a:pt x="109" y="14"/>
                      <a:pt x="109" y="14"/>
                    </a:cubicBezTo>
                    <a:cubicBezTo>
                      <a:pt x="110" y="14"/>
                      <a:pt x="111" y="14"/>
                      <a:pt x="111" y="14"/>
                    </a:cubicBezTo>
                    <a:cubicBezTo>
                      <a:pt x="116" y="16"/>
                      <a:pt x="123" y="16"/>
                      <a:pt x="128" y="15"/>
                    </a:cubicBezTo>
                    <a:cubicBezTo>
                      <a:pt x="128" y="12"/>
                      <a:pt x="127" y="8"/>
                      <a:pt x="128" y="5"/>
                    </a:cubicBezTo>
                    <a:cubicBezTo>
                      <a:pt x="128" y="4"/>
                      <a:pt x="128" y="2"/>
                      <a:pt x="130" y="3"/>
                    </a:cubicBezTo>
                    <a:cubicBezTo>
                      <a:pt x="133" y="3"/>
                      <a:pt x="132" y="7"/>
                      <a:pt x="132" y="9"/>
                    </a:cubicBezTo>
                    <a:cubicBezTo>
                      <a:pt x="136" y="10"/>
                      <a:pt x="135" y="5"/>
                      <a:pt x="136" y="4"/>
                    </a:cubicBezTo>
                    <a:cubicBezTo>
                      <a:pt x="139" y="0"/>
                      <a:pt x="140" y="6"/>
                      <a:pt x="141" y="8"/>
                    </a:cubicBezTo>
                    <a:cubicBezTo>
                      <a:pt x="143" y="8"/>
                      <a:pt x="145" y="9"/>
                      <a:pt x="147" y="8"/>
                    </a:cubicBezTo>
                    <a:cubicBezTo>
                      <a:pt x="150" y="8"/>
                      <a:pt x="151" y="7"/>
                      <a:pt x="153" y="6"/>
                    </a:cubicBezTo>
                    <a:cubicBezTo>
                      <a:pt x="156" y="5"/>
                      <a:pt x="158" y="5"/>
                      <a:pt x="161" y="5"/>
                    </a:cubicBezTo>
                    <a:cubicBezTo>
                      <a:pt x="163" y="4"/>
                      <a:pt x="163" y="3"/>
                      <a:pt x="166" y="4"/>
                    </a:cubicBezTo>
                    <a:cubicBezTo>
                      <a:pt x="166" y="5"/>
                      <a:pt x="167" y="6"/>
                      <a:pt x="167" y="6"/>
                    </a:cubicBezTo>
                    <a:cubicBezTo>
                      <a:pt x="168" y="7"/>
                      <a:pt x="169" y="7"/>
                      <a:pt x="170" y="7"/>
                    </a:cubicBezTo>
                    <a:cubicBezTo>
                      <a:pt x="172" y="8"/>
                      <a:pt x="173" y="9"/>
                      <a:pt x="175" y="9"/>
                    </a:cubicBezTo>
                    <a:cubicBezTo>
                      <a:pt x="177" y="10"/>
                      <a:pt x="180" y="12"/>
                      <a:pt x="183" y="12"/>
                    </a:cubicBezTo>
                    <a:cubicBezTo>
                      <a:pt x="183" y="11"/>
                      <a:pt x="183" y="9"/>
                      <a:pt x="183" y="8"/>
                    </a:cubicBezTo>
                    <a:cubicBezTo>
                      <a:pt x="185" y="8"/>
                      <a:pt x="187" y="10"/>
                      <a:pt x="188" y="11"/>
                    </a:cubicBezTo>
                    <a:cubicBezTo>
                      <a:pt x="191" y="13"/>
                      <a:pt x="192" y="14"/>
                      <a:pt x="195" y="14"/>
                    </a:cubicBezTo>
                    <a:cubicBezTo>
                      <a:pt x="198" y="15"/>
                      <a:pt x="202" y="14"/>
                      <a:pt x="205" y="16"/>
                    </a:cubicBezTo>
                    <a:cubicBezTo>
                      <a:pt x="209" y="17"/>
                      <a:pt x="211" y="20"/>
                      <a:pt x="214" y="21"/>
                    </a:cubicBezTo>
                    <a:cubicBezTo>
                      <a:pt x="218" y="23"/>
                      <a:pt x="223" y="23"/>
                      <a:pt x="227" y="23"/>
                    </a:cubicBezTo>
                    <a:cubicBezTo>
                      <a:pt x="231" y="22"/>
                      <a:pt x="233" y="20"/>
                      <a:pt x="237" y="19"/>
                    </a:cubicBezTo>
                    <a:cubicBezTo>
                      <a:pt x="238" y="19"/>
                      <a:pt x="243" y="17"/>
                      <a:pt x="244" y="17"/>
                    </a:cubicBezTo>
                    <a:cubicBezTo>
                      <a:pt x="246" y="18"/>
                      <a:pt x="245" y="18"/>
                      <a:pt x="247" y="19"/>
                    </a:cubicBezTo>
                    <a:cubicBezTo>
                      <a:pt x="251" y="22"/>
                      <a:pt x="259" y="21"/>
                      <a:pt x="264" y="21"/>
                    </a:cubicBezTo>
                    <a:lnTo>
                      <a:pt x="264" y="14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92" name="Freeform 41">
                <a:extLst>
                  <a:ext uri="{FF2B5EF4-FFF2-40B4-BE49-F238E27FC236}">
                    <a16:creationId xmlns:a16="http://schemas.microsoft.com/office/drawing/2014/main" id="{8C07393A-5FD2-45EE-8AE7-D3D0BE2E12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250" y="3044825"/>
                <a:ext cx="171450" cy="144463"/>
              </a:xfrm>
              <a:custGeom>
                <a:avLst/>
                <a:gdLst/>
                <a:ahLst/>
                <a:cxnLst>
                  <a:cxn ang="0">
                    <a:pos x="83" y="0"/>
                  </a:cxn>
                  <a:cxn ang="0">
                    <a:pos x="76" y="1"/>
                  </a:cxn>
                  <a:cxn ang="0">
                    <a:pos x="75" y="8"/>
                  </a:cxn>
                  <a:cxn ang="0">
                    <a:pos x="75" y="11"/>
                  </a:cxn>
                  <a:cxn ang="0">
                    <a:pos x="72" y="9"/>
                  </a:cxn>
                  <a:cxn ang="0">
                    <a:pos x="69" y="8"/>
                  </a:cxn>
                  <a:cxn ang="0">
                    <a:pos x="66" y="6"/>
                  </a:cxn>
                  <a:cxn ang="0">
                    <a:pos x="62" y="6"/>
                  </a:cxn>
                  <a:cxn ang="0">
                    <a:pos x="59" y="4"/>
                  </a:cxn>
                  <a:cxn ang="0">
                    <a:pos x="55" y="9"/>
                  </a:cxn>
                  <a:cxn ang="0">
                    <a:pos x="49" y="9"/>
                  </a:cxn>
                  <a:cxn ang="0">
                    <a:pos x="46" y="7"/>
                  </a:cxn>
                  <a:cxn ang="0">
                    <a:pos x="42" y="7"/>
                  </a:cxn>
                  <a:cxn ang="0">
                    <a:pos x="38" y="3"/>
                  </a:cxn>
                  <a:cxn ang="0">
                    <a:pos x="36" y="7"/>
                  </a:cxn>
                  <a:cxn ang="0">
                    <a:pos x="32" y="9"/>
                  </a:cxn>
                  <a:cxn ang="0">
                    <a:pos x="28" y="20"/>
                  </a:cxn>
                  <a:cxn ang="0">
                    <a:pos x="22" y="18"/>
                  </a:cxn>
                  <a:cxn ang="0">
                    <a:pos x="22" y="13"/>
                  </a:cxn>
                  <a:cxn ang="0">
                    <a:pos x="16" y="25"/>
                  </a:cxn>
                  <a:cxn ang="0">
                    <a:pos x="7" y="17"/>
                  </a:cxn>
                  <a:cxn ang="0">
                    <a:pos x="1" y="20"/>
                  </a:cxn>
                  <a:cxn ang="0">
                    <a:pos x="7" y="27"/>
                  </a:cxn>
                  <a:cxn ang="0">
                    <a:pos x="5" y="31"/>
                  </a:cxn>
                  <a:cxn ang="0">
                    <a:pos x="9" y="36"/>
                  </a:cxn>
                  <a:cxn ang="0">
                    <a:pos x="3" y="39"/>
                  </a:cxn>
                  <a:cxn ang="0">
                    <a:pos x="10" y="42"/>
                  </a:cxn>
                  <a:cxn ang="0">
                    <a:pos x="19" y="51"/>
                  </a:cxn>
                  <a:cxn ang="0">
                    <a:pos x="20" y="59"/>
                  </a:cxn>
                  <a:cxn ang="0">
                    <a:pos x="14" y="63"/>
                  </a:cxn>
                  <a:cxn ang="0">
                    <a:pos x="18" y="77"/>
                  </a:cxn>
                  <a:cxn ang="0">
                    <a:pos x="22" y="75"/>
                  </a:cxn>
                  <a:cxn ang="0">
                    <a:pos x="23" y="69"/>
                  </a:cxn>
                  <a:cxn ang="0">
                    <a:pos x="22" y="64"/>
                  </a:cxn>
                  <a:cxn ang="0">
                    <a:pos x="21" y="59"/>
                  </a:cxn>
                  <a:cxn ang="0">
                    <a:pos x="24" y="53"/>
                  </a:cxn>
                  <a:cxn ang="0">
                    <a:pos x="27" y="49"/>
                  </a:cxn>
                  <a:cxn ang="0">
                    <a:pos x="28" y="48"/>
                  </a:cxn>
                  <a:cxn ang="0">
                    <a:pos x="31" y="50"/>
                  </a:cxn>
                  <a:cxn ang="0">
                    <a:pos x="34" y="48"/>
                  </a:cxn>
                  <a:cxn ang="0">
                    <a:pos x="39" y="50"/>
                  </a:cxn>
                  <a:cxn ang="0">
                    <a:pos x="48" y="45"/>
                  </a:cxn>
                  <a:cxn ang="0">
                    <a:pos x="56" y="44"/>
                  </a:cxn>
                  <a:cxn ang="0">
                    <a:pos x="57" y="38"/>
                  </a:cxn>
                  <a:cxn ang="0">
                    <a:pos x="62" y="37"/>
                  </a:cxn>
                  <a:cxn ang="0">
                    <a:pos x="68" y="31"/>
                  </a:cxn>
                  <a:cxn ang="0">
                    <a:pos x="72" y="27"/>
                  </a:cxn>
                  <a:cxn ang="0">
                    <a:pos x="80" y="20"/>
                  </a:cxn>
                  <a:cxn ang="0">
                    <a:pos x="75" y="17"/>
                  </a:cxn>
                  <a:cxn ang="0">
                    <a:pos x="72" y="13"/>
                  </a:cxn>
                  <a:cxn ang="0">
                    <a:pos x="90" y="12"/>
                  </a:cxn>
                  <a:cxn ang="0">
                    <a:pos x="82" y="1"/>
                  </a:cxn>
                  <a:cxn ang="0">
                    <a:pos x="83" y="0"/>
                  </a:cxn>
                </a:cxnLst>
                <a:rect l="0" t="0" r="r" b="b"/>
                <a:pathLst>
                  <a:path w="91" h="77">
                    <a:moveTo>
                      <a:pt x="83" y="0"/>
                    </a:moveTo>
                    <a:cubicBezTo>
                      <a:pt x="81" y="0"/>
                      <a:pt x="77" y="0"/>
                      <a:pt x="76" y="1"/>
                    </a:cubicBezTo>
                    <a:cubicBezTo>
                      <a:pt x="72" y="2"/>
                      <a:pt x="74" y="5"/>
                      <a:pt x="75" y="8"/>
                    </a:cubicBezTo>
                    <a:cubicBezTo>
                      <a:pt x="75" y="9"/>
                      <a:pt x="76" y="10"/>
                      <a:pt x="75" y="11"/>
                    </a:cubicBezTo>
                    <a:cubicBezTo>
                      <a:pt x="73" y="12"/>
                      <a:pt x="73" y="10"/>
                      <a:pt x="72" y="9"/>
                    </a:cubicBezTo>
                    <a:cubicBezTo>
                      <a:pt x="70" y="8"/>
                      <a:pt x="70" y="9"/>
                      <a:pt x="69" y="8"/>
                    </a:cubicBezTo>
                    <a:cubicBezTo>
                      <a:pt x="68" y="7"/>
                      <a:pt x="68" y="7"/>
                      <a:pt x="66" y="6"/>
                    </a:cubicBezTo>
                    <a:cubicBezTo>
                      <a:pt x="65" y="6"/>
                      <a:pt x="63" y="6"/>
                      <a:pt x="62" y="6"/>
                    </a:cubicBezTo>
                    <a:cubicBezTo>
                      <a:pt x="61" y="6"/>
                      <a:pt x="60" y="4"/>
                      <a:pt x="59" y="4"/>
                    </a:cubicBezTo>
                    <a:cubicBezTo>
                      <a:pt x="56" y="4"/>
                      <a:pt x="57" y="8"/>
                      <a:pt x="55" y="9"/>
                    </a:cubicBezTo>
                    <a:cubicBezTo>
                      <a:pt x="54" y="9"/>
                      <a:pt x="50" y="9"/>
                      <a:pt x="49" y="9"/>
                    </a:cubicBezTo>
                    <a:cubicBezTo>
                      <a:pt x="48" y="8"/>
                      <a:pt x="47" y="7"/>
                      <a:pt x="46" y="7"/>
                    </a:cubicBezTo>
                    <a:cubicBezTo>
                      <a:pt x="44" y="7"/>
                      <a:pt x="43" y="7"/>
                      <a:pt x="42" y="7"/>
                    </a:cubicBezTo>
                    <a:cubicBezTo>
                      <a:pt x="41" y="5"/>
                      <a:pt x="41" y="1"/>
                      <a:pt x="38" y="3"/>
                    </a:cubicBezTo>
                    <a:cubicBezTo>
                      <a:pt x="36" y="4"/>
                      <a:pt x="37" y="6"/>
                      <a:pt x="36" y="7"/>
                    </a:cubicBezTo>
                    <a:cubicBezTo>
                      <a:pt x="34" y="9"/>
                      <a:pt x="33" y="8"/>
                      <a:pt x="32" y="9"/>
                    </a:cubicBezTo>
                    <a:cubicBezTo>
                      <a:pt x="28" y="11"/>
                      <a:pt x="31" y="17"/>
                      <a:pt x="28" y="20"/>
                    </a:cubicBezTo>
                    <a:cubicBezTo>
                      <a:pt x="27" y="21"/>
                      <a:pt x="23" y="19"/>
                      <a:pt x="22" y="18"/>
                    </a:cubicBezTo>
                    <a:cubicBezTo>
                      <a:pt x="22" y="17"/>
                      <a:pt x="23" y="15"/>
                      <a:pt x="22" y="13"/>
                    </a:cubicBezTo>
                    <a:cubicBezTo>
                      <a:pt x="16" y="12"/>
                      <a:pt x="16" y="21"/>
                      <a:pt x="16" y="25"/>
                    </a:cubicBezTo>
                    <a:cubicBezTo>
                      <a:pt x="12" y="27"/>
                      <a:pt x="9" y="18"/>
                      <a:pt x="7" y="17"/>
                    </a:cubicBezTo>
                    <a:cubicBezTo>
                      <a:pt x="5" y="15"/>
                      <a:pt x="0" y="16"/>
                      <a:pt x="1" y="20"/>
                    </a:cubicBezTo>
                    <a:cubicBezTo>
                      <a:pt x="5" y="20"/>
                      <a:pt x="7" y="24"/>
                      <a:pt x="7" y="27"/>
                    </a:cubicBezTo>
                    <a:cubicBezTo>
                      <a:pt x="6" y="28"/>
                      <a:pt x="5" y="29"/>
                      <a:pt x="5" y="31"/>
                    </a:cubicBezTo>
                    <a:cubicBezTo>
                      <a:pt x="4" y="34"/>
                      <a:pt x="7" y="34"/>
                      <a:pt x="9" y="36"/>
                    </a:cubicBezTo>
                    <a:cubicBezTo>
                      <a:pt x="8" y="38"/>
                      <a:pt x="4" y="37"/>
                      <a:pt x="3" y="39"/>
                    </a:cubicBezTo>
                    <a:cubicBezTo>
                      <a:pt x="1" y="42"/>
                      <a:pt x="8" y="42"/>
                      <a:pt x="10" y="42"/>
                    </a:cubicBezTo>
                    <a:cubicBezTo>
                      <a:pt x="10" y="48"/>
                      <a:pt x="18" y="45"/>
                      <a:pt x="19" y="51"/>
                    </a:cubicBezTo>
                    <a:cubicBezTo>
                      <a:pt x="19" y="53"/>
                      <a:pt x="21" y="57"/>
                      <a:pt x="20" y="59"/>
                    </a:cubicBezTo>
                    <a:cubicBezTo>
                      <a:pt x="19" y="60"/>
                      <a:pt x="16" y="62"/>
                      <a:pt x="14" y="63"/>
                    </a:cubicBezTo>
                    <a:cubicBezTo>
                      <a:pt x="9" y="67"/>
                      <a:pt x="10" y="77"/>
                      <a:pt x="18" y="77"/>
                    </a:cubicBezTo>
                    <a:cubicBezTo>
                      <a:pt x="21" y="77"/>
                      <a:pt x="21" y="77"/>
                      <a:pt x="22" y="75"/>
                    </a:cubicBezTo>
                    <a:cubicBezTo>
                      <a:pt x="23" y="74"/>
                      <a:pt x="24" y="70"/>
                      <a:pt x="23" y="69"/>
                    </a:cubicBezTo>
                    <a:cubicBezTo>
                      <a:pt x="23" y="67"/>
                      <a:pt x="22" y="66"/>
                      <a:pt x="22" y="64"/>
                    </a:cubicBezTo>
                    <a:cubicBezTo>
                      <a:pt x="21" y="62"/>
                      <a:pt x="22" y="61"/>
                      <a:pt x="21" y="59"/>
                    </a:cubicBezTo>
                    <a:cubicBezTo>
                      <a:pt x="23" y="59"/>
                      <a:pt x="23" y="55"/>
                      <a:pt x="24" y="53"/>
                    </a:cubicBezTo>
                    <a:cubicBezTo>
                      <a:pt x="25" y="52"/>
                      <a:pt x="25" y="50"/>
                      <a:pt x="27" y="49"/>
                    </a:cubicBezTo>
                    <a:cubicBezTo>
                      <a:pt x="28" y="48"/>
                      <a:pt x="27" y="48"/>
                      <a:pt x="28" y="48"/>
                    </a:cubicBezTo>
                    <a:cubicBezTo>
                      <a:pt x="30" y="48"/>
                      <a:pt x="30" y="50"/>
                      <a:pt x="31" y="50"/>
                    </a:cubicBezTo>
                    <a:cubicBezTo>
                      <a:pt x="33" y="51"/>
                      <a:pt x="32" y="49"/>
                      <a:pt x="34" y="48"/>
                    </a:cubicBezTo>
                    <a:cubicBezTo>
                      <a:pt x="37" y="46"/>
                      <a:pt x="38" y="49"/>
                      <a:pt x="39" y="50"/>
                    </a:cubicBezTo>
                    <a:cubicBezTo>
                      <a:pt x="44" y="53"/>
                      <a:pt x="46" y="47"/>
                      <a:pt x="48" y="45"/>
                    </a:cubicBezTo>
                    <a:cubicBezTo>
                      <a:pt x="51" y="42"/>
                      <a:pt x="53" y="45"/>
                      <a:pt x="56" y="44"/>
                    </a:cubicBezTo>
                    <a:cubicBezTo>
                      <a:pt x="56" y="42"/>
                      <a:pt x="55" y="40"/>
                      <a:pt x="57" y="38"/>
                    </a:cubicBezTo>
                    <a:cubicBezTo>
                      <a:pt x="59" y="36"/>
                      <a:pt x="60" y="37"/>
                      <a:pt x="62" y="37"/>
                    </a:cubicBezTo>
                    <a:cubicBezTo>
                      <a:pt x="66" y="36"/>
                      <a:pt x="66" y="34"/>
                      <a:pt x="68" y="31"/>
                    </a:cubicBezTo>
                    <a:cubicBezTo>
                      <a:pt x="69" y="28"/>
                      <a:pt x="69" y="28"/>
                      <a:pt x="72" y="27"/>
                    </a:cubicBezTo>
                    <a:cubicBezTo>
                      <a:pt x="76" y="25"/>
                      <a:pt x="84" y="25"/>
                      <a:pt x="80" y="20"/>
                    </a:cubicBezTo>
                    <a:cubicBezTo>
                      <a:pt x="79" y="17"/>
                      <a:pt x="77" y="17"/>
                      <a:pt x="75" y="17"/>
                    </a:cubicBezTo>
                    <a:cubicBezTo>
                      <a:pt x="72" y="16"/>
                      <a:pt x="73" y="15"/>
                      <a:pt x="72" y="13"/>
                    </a:cubicBezTo>
                    <a:cubicBezTo>
                      <a:pt x="76" y="15"/>
                      <a:pt x="87" y="17"/>
                      <a:pt x="90" y="12"/>
                    </a:cubicBezTo>
                    <a:cubicBezTo>
                      <a:pt x="91" y="8"/>
                      <a:pt x="85" y="2"/>
                      <a:pt x="82" y="1"/>
                    </a:cubicBezTo>
                    <a:lnTo>
                      <a:pt x="83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93" name="Freeform 42">
                <a:extLst>
                  <a:ext uri="{FF2B5EF4-FFF2-40B4-BE49-F238E27FC236}">
                    <a16:creationId xmlns:a16="http://schemas.microsoft.com/office/drawing/2014/main" id="{536C1928-97E0-4599-A08C-673E92E376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413" y="2960688"/>
                <a:ext cx="101600" cy="79375"/>
              </a:xfrm>
              <a:custGeom>
                <a:avLst/>
                <a:gdLst/>
                <a:ahLst/>
                <a:cxnLst>
                  <a:cxn ang="0">
                    <a:pos x="50" y="21"/>
                  </a:cxn>
                  <a:cxn ang="0">
                    <a:pos x="53" y="27"/>
                  </a:cxn>
                  <a:cxn ang="0">
                    <a:pos x="44" y="26"/>
                  </a:cxn>
                  <a:cxn ang="0">
                    <a:pos x="36" y="25"/>
                  </a:cxn>
                  <a:cxn ang="0">
                    <a:pos x="37" y="34"/>
                  </a:cxn>
                  <a:cxn ang="0">
                    <a:pos x="38" y="39"/>
                  </a:cxn>
                  <a:cxn ang="0">
                    <a:pos x="31" y="38"/>
                  </a:cxn>
                  <a:cxn ang="0">
                    <a:pos x="29" y="36"/>
                  </a:cxn>
                  <a:cxn ang="0">
                    <a:pos x="28" y="40"/>
                  </a:cxn>
                  <a:cxn ang="0">
                    <a:pos x="23" y="41"/>
                  </a:cxn>
                  <a:cxn ang="0">
                    <a:pos x="20" y="36"/>
                  </a:cxn>
                  <a:cxn ang="0">
                    <a:pos x="14" y="25"/>
                  </a:cxn>
                  <a:cxn ang="0">
                    <a:pos x="3" y="24"/>
                  </a:cxn>
                  <a:cxn ang="0">
                    <a:pos x="1" y="19"/>
                  </a:cxn>
                  <a:cxn ang="0">
                    <a:pos x="1" y="16"/>
                  </a:cxn>
                  <a:cxn ang="0">
                    <a:pos x="10" y="17"/>
                  </a:cxn>
                  <a:cxn ang="0">
                    <a:pos x="12" y="16"/>
                  </a:cxn>
                  <a:cxn ang="0">
                    <a:pos x="16" y="17"/>
                  </a:cxn>
                  <a:cxn ang="0">
                    <a:pos x="20" y="6"/>
                  </a:cxn>
                  <a:cxn ang="0">
                    <a:pos x="28" y="4"/>
                  </a:cxn>
                  <a:cxn ang="0">
                    <a:pos x="34" y="0"/>
                  </a:cxn>
                  <a:cxn ang="0">
                    <a:pos x="35" y="9"/>
                  </a:cxn>
                  <a:cxn ang="0">
                    <a:pos x="41" y="10"/>
                  </a:cxn>
                  <a:cxn ang="0">
                    <a:pos x="43" y="15"/>
                  </a:cxn>
                  <a:cxn ang="0">
                    <a:pos x="53" y="17"/>
                  </a:cxn>
                  <a:cxn ang="0">
                    <a:pos x="53" y="23"/>
                  </a:cxn>
                  <a:cxn ang="0">
                    <a:pos x="50" y="21"/>
                  </a:cxn>
                </a:cxnLst>
                <a:rect l="0" t="0" r="r" b="b"/>
                <a:pathLst>
                  <a:path w="54" h="42">
                    <a:moveTo>
                      <a:pt x="50" y="21"/>
                    </a:moveTo>
                    <a:cubicBezTo>
                      <a:pt x="50" y="24"/>
                      <a:pt x="54" y="24"/>
                      <a:pt x="53" y="27"/>
                    </a:cubicBezTo>
                    <a:cubicBezTo>
                      <a:pt x="50" y="28"/>
                      <a:pt x="47" y="27"/>
                      <a:pt x="44" y="26"/>
                    </a:cubicBezTo>
                    <a:cubicBezTo>
                      <a:pt x="41" y="24"/>
                      <a:pt x="39" y="21"/>
                      <a:pt x="36" y="25"/>
                    </a:cubicBezTo>
                    <a:cubicBezTo>
                      <a:pt x="34" y="29"/>
                      <a:pt x="34" y="31"/>
                      <a:pt x="37" y="34"/>
                    </a:cubicBezTo>
                    <a:cubicBezTo>
                      <a:pt x="38" y="36"/>
                      <a:pt x="39" y="37"/>
                      <a:pt x="38" y="39"/>
                    </a:cubicBezTo>
                    <a:cubicBezTo>
                      <a:pt x="36" y="39"/>
                      <a:pt x="33" y="39"/>
                      <a:pt x="31" y="38"/>
                    </a:cubicBezTo>
                    <a:cubicBezTo>
                      <a:pt x="30" y="38"/>
                      <a:pt x="31" y="36"/>
                      <a:pt x="29" y="36"/>
                    </a:cubicBezTo>
                    <a:cubicBezTo>
                      <a:pt x="28" y="37"/>
                      <a:pt x="29" y="39"/>
                      <a:pt x="28" y="40"/>
                    </a:cubicBezTo>
                    <a:cubicBezTo>
                      <a:pt x="28" y="42"/>
                      <a:pt x="25" y="42"/>
                      <a:pt x="23" y="41"/>
                    </a:cubicBezTo>
                    <a:cubicBezTo>
                      <a:pt x="20" y="40"/>
                      <a:pt x="20" y="39"/>
                      <a:pt x="20" y="36"/>
                    </a:cubicBezTo>
                    <a:cubicBezTo>
                      <a:pt x="20" y="31"/>
                      <a:pt x="20" y="26"/>
                      <a:pt x="14" y="25"/>
                    </a:cubicBezTo>
                    <a:cubicBezTo>
                      <a:pt x="11" y="25"/>
                      <a:pt x="5" y="27"/>
                      <a:pt x="3" y="24"/>
                    </a:cubicBezTo>
                    <a:cubicBezTo>
                      <a:pt x="2" y="23"/>
                      <a:pt x="1" y="20"/>
                      <a:pt x="1" y="19"/>
                    </a:cubicBezTo>
                    <a:cubicBezTo>
                      <a:pt x="1" y="18"/>
                      <a:pt x="0" y="17"/>
                      <a:pt x="1" y="16"/>
                    </a:cubicBezTo>
                    <a:cubicBezTo>
                      <a:pt x="4" y="15"/>
                      <a:pt x="6" y="18"/>
                      <a:pt x="10" y="17"/>
                    </a:cubicBezTo>
                    <a:cubicBezTo>
                      <a:pt x="10" y="17"/>
                      <a:pt x="11" y="16"/>
                      <a:pt x="12" y="16"/>
                    </a:cubicBezTo>
                    <a:cubicBezTo>
                      <a:pt x="14" y="16"/>
                      <a:pt x="15" y="17"/>
                      <a:pt x="16" y="17"/>
                    </a:cubicBezTo>
                    <a:cubicBezTo>
                      <a:pt x="17" y="12"/>
                      <a:pt x="14" y="9"/>
                      <a:pt x="20" y="6"/>
                    </a:cubicBezTo>
                    <a:cubicBezTo>
                      <a:pt x="22" y="5"/>
                      <a:pt x="25" y="5"/>
                      <a:pt x="28" y="4"/>
                    </a:cubicBezTo>
                    <a:cubicBezTo>
                      <a:pt x="30" y="3"/>
                      <a:pt x="31" y="1"/>
                      <a:pt x="34" y="0"/>
                    </a:cubicBezTo>
                    <a:cubicBezTo>
                      <a:pt x="34" y="3"/>
                      <a:pt x="34" y="6"/>
                      <a:pt x="35" y="9"/>
                    </a:cubicBezTo>
                    <a:cubicBezTo>
                      <a:pt x="37" y="9"/>
                      <a:pt x="39" y="9"/>
                      <a:pt x="41" y="10"/>
                    </a:cubicBezTo>
                    <a:cubicBezTo>
                      <a:pt x="42" y="12"/>
                      <a:pt x="41" y="14"/>
                      <a:pt x="43" y="15"/>
                    </a:cubicBezTo>
                    <a:cubicBezTo>
                      <a:pt x="45" y="17"/>
                      <a:pt x="50" y="14"/>
                      <a:pt x="53" y="17"/>
                    </a:cubicBezTo>
                    <a:cubicBezTo>
                      <a:pt x="53" y="18"/>
                      <a:pt x="54" y="21"/>
                      <a:pt x="53" y="23"/>
                    </a:cubicBezTo>
                    <a:lnTo>
                      <a:pt x="50" y="2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94" name="Freeform 43">
                <a:extLst>
                  <a:ext uri="{FF2B5EF4-FFF2-40B4-BE49-F238E27FC236}">
                    <a16:creationId xmlns:a16="http://schemas.microsoft.com/office/drawing/2014/main" id="{27AA2642-7BDE-48F6-8488-16B0A8AC3C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0" y="5822950"/>
                <a:ext cx="688975" cy="779463"/>
              </a:xfrm>
              <a:custGeom>
                <a:avLst/>
                <a:gdLst/>
                <a:ahLst/>
                <a:cxnLst>
                  <a:cxn ang="0">
                    <a:pos x="116" y="274"/>
                  </a:cxn>
                  <a:cxn ang="0">
                    <a:pos x="84" y="265"/>
                  </a:cxn>
                  <a:cxn ang="0">
                    <a:pos x="52" y="293"/>
                  </a:cxn>
                  <a:cxn ang="0">
                    <a:pos x="79" y="343"/>
                  </a:cxn>
                  <a:cxn ang="0">
                    <a:pos x="77" y="372"/>
                  </a:cxn>
                  <a:cxn ang="0">
                    <a:pos x="109" y="379"/>
                  </a:cxn>
                  <a:cxn ang="0">
                    <a:pos x="139" y="385"/>
                  </a:cxn>
                  <a:cxn ang="0">
                    <a:pos x="154" y="408"/>
                  </a:cxn>
                  <a:cxn ang="0">
                    <a:pos x="155" y="380"/>
                  </a:cxn>
                  <a:cxn ang="0">
                    <a:pos x="142" y="334"/>
                  </a:cxn>
                  <a:cxn ang="0">
                    <a:pos x="160" y="334"/>
                  </a:cxn>
                  <a:cxn ang="0">
                    <a:pos x="171" y="346"/>
                  </a:cxn>
                  <a:cxn ang="0">
                    <a:pos x="183" y="335"/>
                  </a:cxn>
                  <a:cxn ang="0">
                    <a:pos x="160" y="315"/>
                  </a:cxn>
                  <a:cxn ang="0">
                    <a:pos x="158" y="293"/>
                  </a:cxn>
                  <a:cxn ang="0">
                    <a:pos x="18" y="191"/>
                  </a:cxn>
                  <a:cxn ang="0">
                    <a:pos x="48" y="216"/>
                  </a:cxn>
                  <a:cxn ang="0">
                    <a:pos x="24" y="239"/>
                  </a:cxn>
                  <a:cxn ang="0">
                    <a:pos x="40" y="236"/>
                  </a:cxn>
                  <a:cxn ang="0">
                    <a:pos x="69" y="257"/>
                  </a:cxn>
                  <a:cxn ang="0">
                    <a:pos x="120" y="261"/>
                  </a:cxn>
                  <a:cxn ang="0">
                    <a:pos x="155" y="271"/>
                  </a:cxn>
                  <a:cxn ang="0">
                    <a:pos x="152" y="289"/>
                  </a:cxn>
                  <a:cxn ang="0">
                    <a:pos x="180" y="295"/>
                  </a:cxn>
                  <a:cxn ang="0">
                    <a:pos x="211" y="312"/>
                  </a:cxn>
                  <a:cxn ang="0">
                    <a:pos x="216" y="287"/>
                  </a:cxn>
                  <a:cxn ang="0">
                    <a:pos x="247" y="294"/>
                  </a:cxn>
                  <a:cxn ang="0">
                    <a:pos x="224" y="248"/>
                  </a:cxn>
                  <a:cxn ang="0">
                    <a:pos x="168" y="210"/>
                  </a:cxn>
                  <a:cxn ang="0">
                    <a:pos x="162" y="230"/>
                  </a:cxn>
                  <a:cxn ang="0">
                    <a:pos x="176" y="249"/>
                  </a:cxn>
                  <a:cxn ang="0">
                    <a:pos x="149" y="219"/>
                  </a:cxn>
                  <a:cxn ang="0">
                    <a:pos x="166" y="201"/>
                  </a:cxn>
                  <a:cxn ang="0">
                    <a:pos x="155" y="166"/>
                  </a:cxn>
                  <a:cxn ang="0">
                    <a:pos x="132" y="116"/>
                  </a:cxn>
                  <a:cxn ang="0">
                    <a:pos x="156" y="96"/>
                  </a:cxn>
                  <a:cxn ang="0">
                    <a:pos x="178" y="138"/>
                  </a:cxn>
                  <a:cxn ang="0">
                    <a:pos x="196" y="124"/>
                  </a:cxn>
                  <a:cxn ang="0">
                    <a:pos x="208" y="110"/>
                  </a:cxn>
                  <a:cxn ang="0">
                    <a:pos x="238" y="121"/>
                  </a:cxn>
                  <a:cxn ang="0">
                    <a:pos x="210" y="92"/>
                  </a:cxn>
                  <a:cxn ang="0">
                    <a:pos x="228" y="72"/>
                  </a:cxn>
                  <a:cxn ang="0">
                    <a:pos x="275" y="53"/>
                  </a:cxn>
                  <a:cxn ang="0">
                    <a:pos x="333" y="79"/>
                  </a:cxn>
                  <a:cxn ang="0">
                    <a:pos x="366" y="22"/>
                  </a:cxn>
                  <a:cxn ang="0">
                    <a:pos x="338" y="13"/>
                  </a:cxn>
                  <a:cxn ang="0">
                    <a:pos x="320" y="33"/>
                  </a:cxn>
                  <a:cxn ang="0">
                    <a:pos x="283" y="36"/>
                  </a:cxn>
                  <a:cxn ang="0">
                    <a:pos x="258" y="27"/>
                  </a:cxn>
                  <a:cxn ang="0">
                    <a:pos x="239" y="13"/>
                  </a:cxn>
                  <a:cxn ang="0">
                    <a:pos x="214" y="17"/>
                  </a:cxn>
                  <a:cxn ang="0">
                    <a:pos x="180" y="25"/>
                  </a:cxn>
                  <a:cxn ang="0">
                    <a:pos x="155" y="22"/>
                  </a:cxn>
                  <a:cxn ang="0">
                    <a:pos x="144" y="40"/>
                  </a:cxn>
                  <a:cxn ang="0">
                    <a:pos x="118" y="37"/>
                  </a:cxn>
                  <a:cxn ang="0">
                    <a:pos x="93" y="52"/>
                  </a:cxn>
                  <a:cxn ang="0">
                    <a:pos x="70" y="57"/>
                  </a:cxn>
                  <a:cxn ang="0">
                    <a:pos x="50" y="82"/>
                  </a:cxn>
                  <a:cxn ang="0">
                    <a:pos x="33" y="100"/>
                  </a:cxn>
                  <a:cxn ang="0">
                    <a:pos x="22" y="120"/>
                  </a:cxn>
                  <a:cxn ang="0">
                    <a:pos x="12" y="140"/>
                  </a:cxn>
                  <a:cxn ang="0">
                    <a:pos x="2" y="153"/>
                  </a:cxn>
                </a:cxnLst>
                <a:rect l="0" t="0" r="r" b="b"/>
                <a:pathLst>
                  <a:path w="368" h="417">
                    <a:moveTo>
                      <a:pt x="155" y="296"/>
                    </a:moveTo>
                    <a:cubicBezTo>
                      <a:pt x="155" y="296"/>
                      <a:pt x="155" y="296"/>
                      <a:pt x="155" y="296"/>
                    </a:cubicBezTo>
                    <a:cubicBezTo>
                      <a:pt x="151" y="295"/>
                      <a:pt x="146" y="291"/>
                      <a:pt x="145" y="290"/>
                    </a:cubicBezTo>
                    <a:cubicBezTo>
                      <a:pt x="144" y="289"/>
                      <a:pt x="142" y="288"/>
                      <a:pt x="141" y="287"/>
                    </a:cubicBezTo>
                    <a:cubicBezTo>
                      <a:pt x="141" y="285"/>
                      <a:pt x="140" y="283"/>
                      <a:pt x="139" y="282"/>
                    </a:cubicBezTo>
                    <a:cubicBezTo>
                      <a:pt x="137" y="281"/>
                      <a:pt x="135" y="282"/>
                      <a:pt x="134" y="281"/>
                    </a:cubicBezTo>
                    <a:cubicBezTo>
                      <a:pt x="132" y="281"/>
                      <a:pt x="131" y="280"/>
                      <a:pt x="129" y="279"/>
                    </a:cubicBezTo>
                    <a:cubicBezTo>
                      <a:pt x="125" y="277"/>
                      <a:pt x="120" y="275"/>
                      <a:pt x="116" y="274"/>
                    </a:cubicBezTo>
                    <a:cubicBezTo>
                      <a:pt x="114" y="273"/>
                      <a:pt x="112" y="272"/>
                      <a:pt x="110" y="271"/>
                    </a:cubicBezTo>
                    <a:cubicBezTo>
                      <a:pt x="109" y="271"/>
                      <a:pt x="108" y="271"/>
                      <a:pt x="107" y="270"/>
                    </a:cubicBezTo>
                    <a:cubicBezTo>
                      <a:pt x="106" y="269"/>
                      <a:pt x="107" y="268"/>
                      <a:pt x="106" y="267"/>
                    </a:cubicBezTo>
                    <a:cubicBezTo>
                      <a:pt x="104" y="265"/>
                      <a:pt x="100" y="267"/>
                      <a:pt x="98" y="264"/>
                    </a:cubicBezTo>
                    <a:cubicBezTo>
                      <a:pt x="97" y="262"/>
                      <a:pt x="97" y="261"/>
                      <a:pt x="94" y="261"/>
                    </a:cubicBezTo>
                    <a:cubicBezTo>
                      <a:pt x="92" y="261"/>
                      <a:pt x="91" y="260"/>
                      <a:pt x="89" y="261"/>
                    </a:cubicBezTo>
                    <a:cubicBezTo>
                      <a:pt x="87" y="261"/>
                      <a:pt x="87" y="262"/>
                      <a:pt x="86" y="263"/>
                    </a:cubicBezTo>
                    <a:cubicBezTo>
                      <a:pt x="85" y="264"/>
                      <a:pt x="85" y="265"/>
                      <a:pt x="84" y="265"/>
                    </a:cubicBezTo>
                    <a:cubicBezTo>
                      <a:pt x="82" y="266"/>
                      <a:pt x="81" y="267"/>
                      <a:pt x="79" y="268"/>
                    </a:cubicBezTo>
                    <a:cubicBezTo>
                      <a:pt x="78" y="268"/>
                      <a:pt x="77" y="270"/>
                      <a:pt x="77" y="270"/>
                    </a:cubicBezTo>
                    <a:cubicBezTo>
                      <a:pt x="75" y="271"/>
                      <a:pt x="73" y="270"/>
                      <a:pt x="71" y="269"/>
                    </a:cubicBezTo>
                    <a:cubicBezTo>
                      <a:pt x="70" y="269"/>
                      <a:pt x="67" y="266"/>
                      <a:pt x="65" y="266"/>
                    </a:cubicBezTo>
                    <a:cubicBezTo>
                      <a:pt x="65" y="269"/>
                      <a:pt x="66" y="274"/>
                      <a:pt x="64" y="276"/>
                    </a:cubicBezTo>
                    <a:cubicBezTo>
                      <a:pt x="63" y="277"/>
                      <a:pt x="61" y="277"/>
                      <a:pt x="60" y="278"/>
                    </a:cubicBezTo>
                    <a:cubicBezTo>
                      <a:pt x="57" y="281"/>
                      <a:pt x="55" y="288"/>
                      <a:pt x="55" y="292"/>
                    </a:cubicBezTo>
                    <a:cubicBezTo>
                      <a:pt x="54" y="292"/>
                      <a:pt x="53" y="293"/>
                      <a:pt x="52" y="293"/>
                    </a:cubicBezTo>
                    <a:cubicBezTo>
                      <a:pt x="51" y="293"/>
                      <a:pt x="49" y="292"/>
                      <a:pt x="48" y="293"/>
                    </a:cubicBezTo>
                    <a:cubicBezTo>
                      <a:pt x="45" y="294"/>
                      <a:pt x="44" y="297"/>
                      <a:pt x="46" y="299"/>
                    </a:cubicBezTo>
                    <a:cubicBezTo>
                      <a:pt x="49" y="302"/>
                      <a:pt x="54" y="301"/>
                      <a:pt x="57" y="304"/>
                    </a:cubicBezTo>
                    <a:cubicBezTo>
                      <a:pt x="60" y="307"/>
                      <a:pt x="56" y="309"/>
                      <a:pt x="57" y="312"/>
                    </a:cubicBezTo>
                    <a:cubicBezTo>
                      <a:pt x="61" y="313"/>
                      <a:pt x="65" y="314"/>
                      <a:pt x="69" y="315"/>
                    </a:cubicBezTo>
                    <a:cubicBezTo>
                      <a:pt x="74" y="316"/>
                      <a:pt x="75" y="319"/>
                      <a:pt x="75" y="325"/>
                    </a:cubicBezTo>
                    <a:cubicBezTo>
                      <a:pt x="75" y="328"/>
                      <a:pt x="74" y="331"/>
                      <a:pt x="75" y="334"/>
                    </a:cubicBezTo>
                    <a:cubicBezTo>
                      <a:pt x="76" y="337"/>
                      <a:pt x="80" y="340"/>
                      <a:pt x="79" y="343"/>
                    </a:cubicBezTo>
                    <a:cubicBezTo>
                      <a:pt x="79" y="345"/>
                      <a:pt x="76" y="345"/>
                      <a:pt x="74" y="345"/>
                    </a:cubicBezTo>
                    <a:cubicBezTo>
                      <a:pt x="70" y="346"/>
                      <a:pt x="70" y="346"/>
                      <a:pt x="71" y="349"/>
                    </a:cubicBezTo>
                    <a:cubicBezTo>
                      <a:pt x="71" y="352"/>
                      <a:pt x="71" y="355"/>
                      <a:pt x="71" y="358"/>
                    </a:cubicBezTo>
                    <a:cubicBezTo>
                      <a:pt x="72" y="359"/>
                      <a:pt x="72" y="361"/>
                      <a:pt x="72" y="361"/>
                    </a:cubicBezTo>
                    <a:cubicBezTo>
                      <a:pt x="73" y="362"/>
                      <a:pt x="74" y="362"/>
                      <a:pt x="74" y="362"/>
                    </a:cubicBezTo>
                    <a:cubicBezTo>
                      <a:pt x="75" y="363"/>
                      <a:pt x="75" y="364"/>
                      <a:pt x="76" y="364"/>
                    </a:cubicBezTo>
                    <a:cubicBezTo>
                      <a:pt x="77" y="366"/>
                      <a:pt x="77" y="368"/>
                      <a:pt x="78" y="370"/>
                    </a:cubicBezTo>
                    <a:cubicBezTo>
                      <a:pt x="78" y="371"/>
                      <a:pt x="77" y="371"/>
                      <a:pt x="77" y="372"/>
                    </a:cubicBezTo>
                    <a:cubicBezTo>
                      <a:pt x="75" y="376"/>
                      <a:pt x="76" y="380"/>
                      <a:pt x="77" y="384"/>
                    </a:cubicBezTo>
                    <a:cubicBezTo>
                      <a:pt x="80" y="384"/>
                      <a:pt x="82" y="384"/>
                      <a:pt x="84" y="386"/>
                    </a:cubicBezTo>
                    <a:cubicBezTo>
                      <a:pt x="85" y="387"/>
                      <a:pt x="86" y="388"/>
                      <a:pt x="87" y="389"/>
                    </a:cubicBezTo>
                    <a:cubicBezTo>
                      <a:pt x="88" y="390"/>
                      <a:pt x="90" y="390"/>
                      <a:pt x="90" y="390"/>
                    </a:cubicBezTo>
                    <a:cubicBezTo>
                      <a:pt x="94" y="385"/>
                      <a:pt x="90" y="377"/>
                      <a:pt x="91" y="371"/>
                    </a:cubicBezTo>
                    <a:cubicBezTo>
                      <a:pt x="92" y="364"/>
                      <a:pt x="98" y="366"/>
                      <a:pt x="103" y="367"/>
                    </a:cubicBezTo>
                    <a:cubicBezTo>
                      <a:pt x="103" y="369"/>
                      <a:pt x="103" y="372"/>
                      <a:pt x="104" y="373"/>
                    </a:cubicBezTo>
                    <a:cubicBezTo>
                      <a:pt x="105" y="375"/>
                      <a:pt x="107" y="377"/>
                      <a:pt x="109" y="379"/>
                    </a:cubicBezTo>
                    <a:cubicBezTo>
                      <a:pt x="111" y="381"/>
                      <a:pt x="112" y="383"/>
                      <a:pt x="113" y="386"/>
                    </a:cubicBezTo>
                    <a:cubicBezTo>
                      <a:pt x="114" y="389"/>
                      <a:pt x="116" y="391"/>
                      <a:pt x="117" y="394"/>
                    </a:cubicBezTo>
                    <a:cubicBezTo>
                      <a:pt x="119" y="400"/>
                      <a:pt x="113" y="411"/>
                      <a:pt x="120" y="414"/>
                    </a:cubicBezTo>
                    <a:cubicBezTo>
                      <a:pt x="126" y="417"/>
                      <a:pt x="124" y="408"/>
                      <a:pt x="124" y="405"/>
                    </a:cubicBezTo>
                    <a:cubicBezTo>
                      <a:pt x="124" y="401"/>
                      <a:pt x="123" y="399"/>
                      <a:pt x="125" y="396"/>
                    </a:cubicBezTo>
                    <a:cubicBezTo>
                      <a:pt x="126" y="393"/>
                      <a:pt x="127" y="392"/>
                      <a:pt x="129" y="390"/>
                    </a:cubicBezTo>
                    <a:cubicBezTo>
                      <a:pt x="132" y="388"/>
                      <a:pt x="131" y="385"/>
                      <a:pt x="135" y="385"/>
                    </a:cubicBezTo>
                    <a:cubicBezTo>
                      <a:pt x="136" y="385"/>
                      <a:pt x="138" y="384"/>
                      <a:pt x="139" y="385"/>
                    </a:cubicBezTo>
                    <a:cubicBezTo>
                      <a:pt x="141" y="385"/>
                      <a:pt x="140" y="386"/>
                      <a:pt x="140" y="387"/>
                    </a:cubicBezTo>
                    <a:cubicBezTo>
                      <a:pt x="141" y="389"/>
                      <a:pt x="140" y="389"/>
                      <a:pt x="141" y="391"/>
                    </a:cubicBezTo>
                    <a:cubicBezTo>
                      <a:pt x="142" y="391"/>
                      <a:pt x="143" y="391"/>
                      <a:pt x="144" y="392"/>
                    </a:cubicBezTo>
                    <a:cubicBezTo>
                      <a:pt x="145" y="393"/>
                      <a:pt x="145" y="393"/>
                      <a:pt x="145" y="394"/>
                    </a:cubicBezTo>
                    <a:cubicBezTo>
                      <a:pt x="146" y="396"/>
                      <a:pt x="145" y="398"/>
                      <a:pt x="146" y="400"/>
                    </a:cubicBezTo>
                    <a:cubicBezTo>
                      <a:pt x="146" y="402"/>
                      <a:pt x="146" y="402"/>
                      <a:pt x="147" y="403"/>
                    </a:cubicBezTo>
                    <a:cubicBezTo>
                      <a:pt x="148" y="405"/>
                      <a:pt x="148" y="406"/>
                      <a:pt x="150" y="407"/>
                    </a:cubicBezTo>
                    <a:cubicBezTo>
                      <a:pt x="151" y="407"/>
                      <a:pt x="153" y="407"/>
                      <a:pt x="154" y="408"/>
                    </a:cubicBezTo>
                    <a:cubicBezTo>
                      <a:pt x="155" y="409"/>
                      <a:pt x="155" y="410"/>
                      <a:pt x="155" y="411"/>
                    </a:cubicBezTo>
                    <a:cubicBezTo>
                      <a:pt x="156" y="412"/>
                      <a:pt x="160" y="415"/>
                      <a:pt x="162" y="415"/>
                    </a:cubicBezTo>
                    <a:cubicBezTo>
                      <a:pt x="162" y="413"/>
                      <a:pt x="160" y="412"/>
                      <a:pt x="160" y="410"/>
                    </a:cubicBezTo>
                    <a:cubicBezTo>
                      <a:pt x="159" y="408"/>
                      <a:pt x="159" y="405"/>
                      <a:pt x="157" y="404"/>
                    </a:cubicBezTo>
                    <a:cubicBezTo>
                      <a:pt x="156" y="401"/>
                      <a:pt x="155" y="402"/>
                      <a:pt x="155" y="399"/>
                    </a:cubicBezTo>
                    <a:cubicBezTo>
                      <a:pt x="155" y="397"/>
                      <a:pt x="154" y="395"/>
                      <a:pt x="155" y="393"/>
                    </a:cubicBezTo>
                    <a:cubicBezTo>
                      <a:pt x="155" y="390"/>
                      <a:pt x="157" y="389"/>
                      <a:pt x="156" y="386"/>
                    </a:cubicBezTo>
                    <a:cubicBezTo>
                      <a:pt x="156" y="384"/>
                      <a:pt x="155" y="382"/>
                      <a:pt x="155" y="380"/>
                    </a:cubicBezTo>
                    <a:cubicBezTo>
                      <a:pt x="154" y="378"/>
                      <a:pt x="155" y="375"/>
                      <a:pt x="155" y="373"/>
                    </a:cubicBezTo>
                    <a:cubicBezTo>
                      <a:pt x="155" y="371"/>
                      <a:pt x="155" y="368"/>
                      <a:pt x="155" y="367"/>
                    </a:cubicBezTo>
                    <a:cubicBezTo>
                      <a:pt x="154" y="366"/>
                      <a:pt x="152" y="365"/>
                      <a:pt x="150" y="363"/>
                    </a:cubicBezTo>
                    <a:cubicBezTo>
                      <a:pt x="149" y="362"/>
                      <a:pt x="149" y="361"/>
                      <a:pt x="149" y="359"/>
                    </a:cubicBezTo>
                    <a:cubicBezTo>
                      <a:pt x="149" y="356"/>
                      <a:pt x="150" y="352"/>
                      <a:pt x="149" y="350"/>
                    </a:cubicBezTo>
                    <a:cubicBezTo>
                      <a:pt x="148" y="349"/>
                      <a:pt x="147" y="348"/>
                      <a:pt x="146" y="347"/>
                    </a:cubicBezTo>
                    <a:cubicBezTo>
                      <a:pt x="145" y="345"/>
                      <a:pt x="144" y="342"/>
                      <a:pt x="144" y="340"/>
                    </a:cubicBezTo>
                    <a:cubicBezTo>
                      <a:pt x="143" y="338"/>
                      <a:pt x="143" y="337"/>
                      <a:pt x="142" y="334"/>
                    </a:cubicBezTo>
                    <a:cubicBezTo>
                      <a:pt x="141" y="333"/>
                      <a:pt x="141" y="332"/>
                      <a:pt x="141" y="331"/>
                    </a:cubicBezTo>
                    <a:cubicBezTo>
                      <a:pt x="140" y="330"/>
                      <a:pt x="139" y="329"/>
                      <a:pt x="139" y="329"/>
                    </a:cubicBezTo>
                    <a:cubicBezTo>
                      <a:pt x="138" y="327"/>
                      <a:pt x="138" y="323"/>
                      <a:pt x="140" y="322"/>
                    </a:cubicBezTo>
                    <a:cubicBezTo>
                      <a:pt x="141" y="322"/>
                      <a:pt x="142" y="324"/>
                      <a:pt x="143" y="325"/>
                    </a:cubicBezTo>
                    <a:cubicBezTo>
                      <a:pt x="145" y="325"/>
                      <a:pt x="147" y="324"/>
                      <a:pt x="149" y="326"/>
                    </a:cubicBezTo>
                    <a:cubicBezTo>
                      <a:pt x="149" y="326"/>
                      <a:pt x="150" y="328"/>
                      <a:pt x="150" y="328"/>
                    </a:cubicBezTo>
                    <a:cubicBezTo>
                      <a:pt x="150" y="329"/>
                      <a:pt x="152" y="330"/>
                      <a:pt x="152" y="330"/>
                    </a:cubicBezTo>
                    <a:cubicBezTo>
                      <a:pt x="154" y="332"/>
                      <a:pt x="158" y="332"/>
                      <a:pt x="160" y="334"/>
                    </a:cubicBezTo>
                    <a:cubicBezTo>
                      <a:pt x="160" y="335"/>
                      <a:pt x="159" y="337"/>
                      <a:pt x="159" y="339"/>
                    </a:cubicBezTo>
                    <a:cubicBezTo>
                      <a:pt x="159" y="341"/>
                      <a:pt x="160" y="343"/>
                      <a:pt x="158" y="345"/>
                    </a:cubicBezTo>
                    <a:cubicBezTo>
                      <a:pt x="157" y="347"/>
                      <a:pt x="155" y="347"/>
                      <a:pt x="156" y="350"/>
                    </a:cubicBezTo>
                    <a:cubicBezTo>
                      <a:pt x="156" y="352"/>
                      <a:pt x="156" y="352"/>
                      <a:pt x="158" y="352"/>
                    </a:cubicBezTo>
                    <a:cubicBezTo>
                      <a:pt x="158" y="352"/>
                      <a:pt x="160" y="352"/>
                      <a:pt x="161" y="352"/>
                    </a:cubicBezTo>
                    <a:cubicBezTo>
                      <a:pt x="163" y="351"/>
                      <a:pt x="163" y="349"/>
                      <a:pt x="165" y="349"/>
                    </a:cubicBezTo>
                    <a:cubicBezTo>
                      <a:pt x="165" y="347"/>
                      <a:pt x="165" y="346"/>
                      <a:pt x="165" y="345"/>
                    </a:cubicBezTo>
                    <a:cubicBezTo>
                      <a:pt x="167" y="345"/>
                      <a:pt x="169" y="346"/>
                      <a:pt x="171" y="346"/>
                    </a:cubicBezTo>
                    <a:cubicBezTo>
                      <a:pt x="173" y="346"/>
                      <a:pt x="180" y="347"/>
                      <a:pt x="180" y="344"/>
                    </a:cubicBezTo>
                    <a:cubicBezTo>
                      <a:pt x="179" y="344"/>
                      <a:pt x="178" y="344"/>
                      <a:pt x="177" y="344"/>
                    </a:cubicBezTo>
                    <a:cubicBezTo>
                      <a:pt x="175" y="343"/>
                      <a:pt x="174" y="343"/>
                      <a:pt x="172" y="343"/>
                    </a:cubicBezTo>
                    <a:cubicBezTo>
                      <a:pt x="170" y="343"/>
                      <a:pt x="168" y="342"/>
                      <a:pt x="170" y="339"/>
                    </a:cubicBezTo>
                    <a:cubicBezTo>
                      <a:pt x="171" y="339"/>
                      <a:pt x="172" y="340"/>
                      <a:pt x="172" y="339"/>
                    </a:cubicBezTo>
                    <a:cubicBezTo>
                      <a:pt x="172" y="339"/>
                      <a:pt x="173" y="338"/>
                      <a:pt x="173" y="338"/>
                    </a:cubicBezTo>
                    <a:cubicBezTo>
                      <a:pt x="173" y="337"/>
                      <a:pt x="174" y="336"/>
                      <a:pt x="175" y="336"/>
                    </a:cubicBezTo>
                    <a:cubicBezTo>
                      <a:pt x="177" y="334"/>
                      <a:pt x="180" y="336"/>
                      <a:pt x="183" y="335"/>
                    </a:cubicBezTo>
                    <a:cubicBezTo>
                      <a:pt x="184" y="333"/>
                      <a:pt x="184" y="331"/>
                      <a:pt x="183" y="330"/>
                    </a:cubicBezTo>
                    <a:cubicBezTo>
                      <a:pt x="182" y="329"/>
                      <a:pt x="177" y="327"/>
                      <a:pt x="176" y="327"/>
                    </a:cubicBezTo>
                    <a:cubicBezTo>
                      <a:pt x="174" y="327"/>
                      <a:pt x="172" y="329"/>
                      <a:pt x="170" y="329"/>
                    </a:cubicBezTo>
                    <a:cubicBezTo>
                      <a:pt x="169" y="328"/>
                      <a:pt x="169" y="326"/>
                      <a:pt x="167" y="325"/>
                    </a:cubicBezTo>
                    <a:cubicBezTo>
                      <a:pt x="166" y="325"/>
                      <a:pt x="166" y="326"/>
                      <a:pt x="165" y="326"/>
                    </a:cubicBezTo>
                    <a:cubicBezTo>
                      <a:pt x="164" y="326"/>
                      <a:pt x="161" y="324"/>
                      <a:pt x="161" y="323"/>
                    </a:cubicBezTo>
                    <a:cubicBezTo>
                      <a:pt x="160" y="321"/>
                      <a:pt x="161" y="319"/>
                      <a:pt x="161" y="318"/>
                    </a:cubicBezTo>
                    <a:cubicBezTo>
                      <a:pt x="161" y="317"/>
                      <a:pt x="160" y="316"/>
                      <a:pt x="160" y="315"/>
                    </a:cubicBezTo>
                    <a:cubicBezTo>
                      <a:pt x="159" y="313"/>
                      <a:pt x="160" y="313"/>
                      <a:pt x="161" y="312"/>
                    </a:cubicBezTo>
                    <a:cubicBezTo>
                      <a:pt x="162" y="310"/>
                      <a:pt x="162" y="311"/>
                      <a:pt x="162" y="309"/>
                    </a:cubicBezTo>
                    <a:cubicBezTo>
                      <a:pt x="162" y="305"/>
                      <a:pt x="162" y="304"/>
                      <a:pt x="159" y="301"/>
                    </a:cubicBezTo>
                    <a:cubicBezTo>
                      <a:pt x="157" y="300"/>
                      <a:pt x="154" y="299"/>
                      <a:pt x="155" y="296"/>
                    </a:cubicBezTo>
                    <a:moveTo>
                      <a:pt x="158" y="293"/>
                    </a:moveTo>
                    <a:cubicBezTo>
                      <a:pt x="156" y="293"/>
                      <a:pt x="155" y="294"/>
                      <a:pt x="155" y="296"/>
                    </a:cubicBezTo>
                    <a:cubicBezTo>
                      <a:pt x="156" y="296"/>
                      <a:pt x="157" y="295"/>
                      <a:pt x="158" y="294"/>
                    </a:cubicBezTo>
                    <a:cubicBezTo>
                      <a:pt x="158" y="293"/>
                      <a:pt x="158" y="293"/>
                      <a:pt x="158" y="293"/>
                    </a:cubicBezTo>
                    <a:moveTo>
                      <a:pt x="0" y="153"/>
                    </a:moveTo>
                    <a:cubicBezTo>
                      <a:pt x="0" y="154"/>
                      <a:pt x="0" y="155"/>
                      <a:pt x="0" y="156"/>
                    </a:cubicBezTo>
                    <a:cubicBezTo>
                      <a:pt x="0" y="158"/>
                      <a:pt x="1" y="159"/>
                      <a:pt x="1" y="161"/>
                    </a:cubicBezTo>
                    <a:cubicBezTo>
                      <a:pt x="2" y="163"/>
                      <a:pt x="2" y="164"/>
                      <a:pt x="2" y="165"/>
                    </a:cubicBezTo>
                    <a:cubicBezTo>
                      <a:pt x="2" y="169"/>
                      <a:pt x="2" y="171"/>
                      <a:pt x="4" y="174"/>
                    </a:cubicBezTo>
                    <a:cubicBezTo>
                      <a:pt x="6" y="176"/>
                      <a:pt x="7" y="179"/>
                      <a:pt x="8" y="181"/>
                    </a:cubicBezTo>
                    <a:cubicBezTo>
                      <a:pt x="10" y="183"/>
                      <a:pt x="13" y="182"/>
                      <a:pt x="15" y="182"/>
                    </a:cubicBezTo>
                    <a:cubicBezTo>
                      <a:pt x="18" y="184"/>
                      <a:pt x="18" y="188"/>
                      <a:pt x="18" y="191"/>
                    </a:cubicBezTo>
                    <a:cubicBezTo>
                      <a:pt x="19" y="196"/>
                      <a:pt x="23" y="197"/>
                      <a:pt x="26" y="200"/>
                    </a:cubicBezTo>
                    <a:cubicBezTo>
                      <a:pt x="28" y="202"/>
                      <a:pt x="29" y="204"/>
                      <a:pt x="30" y="207"/>
                    </a:cubicBezTo>
                    <a:cubicBezTo>
                      <a:pt x="33" y="208"/>
                      <a:pt x="33" y="202"/>
                      <a:pt x="34" y="200"/>
                    </a:cubicBezTo>
                    <a:cubicBezTo>
                      <a:pt x="35" y="199"/>
                      <a:pt x="39" y="198"/>
                      <a:pt x="41" y="199"/>
                    </a:cubicBezTo>
                    <a:cubicBezTo>
                      <a:pt x="43" y="200"/>
                      <a:pt x="42" y="204"/>
                      <a:pt x="43" y="205"/>
                    </a:cubicBezTo>
                    <a:cubicBezTo>
                      <a:pt x="45" y="207"/>
                      <a:pt x="48" y="205"/>
                      <a:pt x="51" y="206"/>
                    </a:cubicBezTo>
                    <a:cubicBezTo>
                      <a:pt x="53" y="206"/>
                      <a:pt x="53" y="207"/>
                      <a:pt x="54" y="209"/>
                    </a:cubicBezTo>
                    <a:cubicBezTo>
                      <a:pt x="57" y="214"/>
                      <a:pt x="54" y="217"/>
                      <a:pt x="48" y="216"/>
                    </a:cubicBezTo>
                    <a:cubicBezTo>
                      <a:pt x="48" y="214"/>
                      <a:pt x="49" y="211"/>
                      <a:pt x="48" y="210"/>
                    </a:cubicBezTo>
                    <a:cubicBezTo>
                      <a:pt x="47" y="208"/>
                      <a:pt x="38" y="209"/>
                      <a:pt x="36" y="210"/>
                    </a:cubicBezTo>
                    <a:cubicBezTo>
                      <a:pt x="30" y="211"/>
                      <a:pt x="32" y="215"/>
                      <a:pt x="32" y="220"/>
                    </a:cubicBezTo>
                    <a:cubicBezTo>
                      <a:pt x="30" y="219"/>
                      <a:pt x="30" y="216"/>
                      <a:pt x="28" y="215"/>
                    </a:cubicBezTo>
                    <a:cubicBezTo>
                      <a:pt x="25" y="215"/>
                      <a:pt x="23" y="218"/>
                      <a:pt x="22" y="220"/>
                    </a:cubicBezTo>
                    <a:cubicBezTo>
                      <a:pt x="21" y="222"/>
                      <a:pt x="22" y="223"/>
                      <a:pt x="20" y="224"/>
                    </a:cubicBezTo>
                    <a:cubicBezTo>
                      <a:pt x="18" y="227"/>
                      <a:pt x="14" y="230"/>
                      <a:pt x="15" y="233"/>
                    </a:cubicBezTo>
                    <a:cubicBezTo>
                      <a:pt x="19" y="234"/>
                      <a:pt x="20" y="238"/>
                      <a:pt x="24" y="239"/>
                    </a:cubicBezTo>
                    <a:cubicBezTo>
                      <a:pt x="25" y="239"/>
                      <a:pt x="28" y="238"/>
                      <a:pt x="29" y="236"/>
                    </a:cubicBezTo>
                    <a:cubicBezTo>
                      <a:pt x="31" y="233"/>
                      <a:pt x="29" y="233"/>
                      <a:pt x="28" y="231"/>
                    </a:cubicBezTo>
                    <a:cubicBezTo>
                      <a:pt x="27" y="230"/>
                      <a:pt x="28" y="227"/>
                      <a:pt x="28" y="226"/>
                    </a:cubicBezTo>
                    <a:cubicBezTo>
                      <a:pt x="29" y="226"/>
                      <a:pt x="30" y="227"/>
                      <a:pt x="32" y="226"/>
                    </a:cubicBezTo>
                    <a:cubicBezTo>
                      <a:pt x="32" y="224"/>
                      <a:pt x="32" y="223"/>
                      <a:pt x="34" y="224"/>
                    </a:cubicBezTo>
                    <a:cubicBezTo>
                      <a:pt x="34" y="225"/>
                      <a:pt x="34" y="226"/>
                      <a:pt x="34" y="227"/>
                    </a:cubicBezTo>
                    <a:cubicBezTo>
                      <a:pt x="35" y="227"/>
                      <a:pt x="36" y="227"/>
                      <a:pt x="37" y="227"/>
                    </a:cubicBezTo>
                    <a:cubicBezTo>
                      <a:pt x="40" y="230"/>
                      <a:pt x="40" y="232"/>
                      <a:pt x="40" y="236"/>
                    </a:cubicBezTo>
                    <a:cubicBezTo>
                      <a:pt x="40" y="238"/>
                      <a:pt x="39" y="240"/>
                      <a:pt x="40" y="242"/>
                    </a:cubicBezTo>
                    <a:cubicBezTo>
                      <a:pt x="41" y="243"/>
                      <a:pt x="44" y="245"/>
                      <a:pt x="46" y="246"/>
                    </a:cubicBezTo>
                    <a:cubicBezTo>
                      <a:pt x="48" y="247"/>
                      <a:pt x="49" y="247"/>
                      <a:pt x="48" y="250"/>
                    </a:cubicBezTo>
                    <a:cubicBezTo>
                      <a:pt x="47" y="252"/>
                      <a:pt x="46" y="252"/>
                      <a:pt x="46" y="254"/>
                    </a:cubicBezTo>
                    <a:cubicBezTo>
                      <a:pt x="45" y="258"/>
                      <a:pt x="46" y="261"/>
                      <a:pt x="51" y="261"/>
                    </a:cubicBezTo>
                    <a:cubicBezTo>
                      <a:pt x="54" y="262"/>
                      <a:pt x="57" y="260"/>
                      <a:pt x="59" y="258"/>
                    </a:cubicBezTo>
                    <a:cubicBezTo>
                      <a:pt x="61" y="257"/>
                      <a:pt x="63" y="256"/>
                      <a:pt x="65" y="256"/>
                    </a:cubicBezTo>
                    <a:cubicBezTo>
                      <a:pt x="67" y="256"/>
                      <a:pt x="68" y="256"/>
                      <a:pt x="69" y="257"/>
                    </a:cubicBezTo>
                    <a:cubicBezTo>
                      <a:pt x="70" y="258"/>
                      <a:pt x="69" y="260"/>
                      <a:pt x="71" y="260"/>
                    </a:cubicBezTo>
                    <a:cubicBezTo>
                      <a:pt x="71" y="255"/>
                      <a:pt x="77" y="260"/>
                      <a:pt x="79" y="260"/>
                    </a:cubicBezTo>
                    <a:cubicBezTo>
                      <a:pt x="81" y="260"/>
                      <a:pt x="83" y="258"/>
                      <a:pt x="86" y="258"/>
                    </a:cubicBezTo>
                    <a:cubicBezTo>
                      <a:pt x="88" y="258"/>
                      <a:pt x="91" y="259"/>
                      <a:pt x="91" y="256"/>
                    </a:cubicBezTo>
                    <a:cubicBezTo>
                      <a:pt x="95" y="256"/>
                      <a:pt x="100" y="256"/>
                      <a:pt x="103" y="258"/>
                    </a:cubicBezTo>
                    <a:cubicBezTo>
                      <a:pt x="107" y="259"/>
                      <a:pt x="110" y="262"/>
                      <a:pt x="115" y="262"/>
                    </a:cubicBezTo>
                    <a:cubicBezTo>
                      <a:pt x="116" y="262"/>
                      <a:pt x="117" y="262"/>
                      <a:pt x="118" y="262"/>
                    </a:cubicBezTo>
                    <a:cubicBezTo>
                      <a:pt x="119" y="262"/>
                      <a:pt x="119" y="261"/>
                      <a:pt x="120" y="261"/>
                    </a:cubicBezTo>
                    <a:cubicBezTo>
                      <a:pt x="121" y="260"/>
                      <a:pt x="123" y="259"/>
                      <a:pt x="124" y="259"/>
                    </a:cubicBezTo>
                    <a:cubicBezTo>
                      <a:pt x="126" y="259"/>
                      <a:pt x="125" y="261"/>
                      <a:pt x="126" y="263"/>
                    </a:cubicBezTo>
                    <a:cubicBezTo>
                      <a:pt x="127" y="265"/>
                      <a:pt x="129" y="267"/>
                      <a:pt x="132" y="266"/>
                    </a:cubicBezTo>
                    <a:cubicBezTo>
                      <a:pt x="133" y="264"/>
                      <a:pt x="131" y="260"/>
                      <a:pt x="134" y="259"/>
                    </a:cubicBezTo>
                    <a:cubicBezTo>
                      <a:pt x="138" y="259"/>
                      <a:pt x="137" y="267"/>
                      <a:pt x="139" y="269"/>
                    </a:cubicBezTo>
                    <a:cubicBezTo>
                      <a:pt x="139" y="266"/>
                      <a:pt x="139" y="266"/>
                      <a:pt x="141" y="266"/>
                    </a:cubicBezTo>
                    <a:cubicBezTo>
                      <a:pt x="144" y="265"/>
                      <a:pt x="146" y="267"/>
                      <a:pt x="148" y="268"/>
                    </a:cubicBezTo>
                    <a:cubicBezTo>
                      <a:pt x="150" y="270"/>
                      <a:pt x="152" y="270"/>
                      <a:pt x="155" y="271"/>
                    </a:cubicBezTo>
                    <a:cubicBezTo>
                      <a:pt x="157" y="272"/>
                      <a:pt x="159" y="274"/>
                      <a:pt x="161" y="275"/>
                    </a:cubicBezTo>
                    <a:cubicBezTo>
                      <a:pt x="164" y="276"/>
                      <a:pt x="167" y="275"/>
                      <a:pt x="170" y="275"/>
                    </a:cubicBezTo>
                    <a:cubicBezTo>
                      <a:pt x="172" y="275"/>
                      <a:pt x="173" y="275"/>
                      <a:pt x="171" y="278"/>
                    </a:cubicBezTo>
                    <a:cubicBezTo>
                      <a:pt x="171" y="279"/>
                      <a:pt x="169" y="280"/>
                      <a:pt x="168" y="281"/>
                    </a:cubicBezTo>
                    <a:cubicBezTo>
                      <a:pt x="168" y="282"/>
                      <a:pt x="166" y="283"/>
                      <a:pt x="165" y="283"/>
                    </a:cubicBezTo>
                    <a:cubicBezTo>
                      <a:pt x="163" y="284"/>
                      <a:pt x="161" y="282"/>
                      <a:pt x="158" y="282"/>
                    </a:cubicBezTo>
                    <a:cubicBezTo>
                      <a:pt x="155" y="282"/>
                      <a:pt x="149" y="282"/>
                      <a:pt x="150" y="286"/>
                    </a:cubicBezTo>
                    <a:cubicBezTo>
                      <a:pt x="151" y="288"/>
                      <a:pt x="151" y="288"/>
                      <a:pt x="152" y="289"/>
                    </a:cubicBezTo>
                    <a:cubicBezTo>
                      <a:pt x="153" y="290"/>
                      <a:pt x="152" y="290"/>
                      <a:pt x="153" y="291"/>
                    </a:cubicBezTo>
                    <a:cubicBezTo>
                      <a:pt x="154" y="292"/>
                      <a:pt x="155" y="291"/>
                      <a:pt x="155" y="291"/>
                    </a:cubicBezTo>
                    <a:cubicBezTo>
                      <a:pt x="156" y="292"/>
                      <a:pt x="157" y="292"/>
                      <a:pt x="158" y="293"/>
                    </a:cubicBezTo>
                    <a:cubicBezTo>
                      <a:pt x="159" y="292"/>
                      <a:pt x="160" y="292"/>
                      <a:pt x="161" y="292"/>
                    </a:cubicBezTo>
                    <a:cubicBezTo>
                      <a:pt x="160" y="289"/>
                      <a:pt x="162" y="290"/>
                      <a:pt x="163" y="291"/>
                    </a:cubicBezTo>
                    <a:cubicBezTo>
                      <a:pt x="165" y="291"/>
                      <a:pt x="164" y="292"/>
                      <a:pt x="166" y="292"/>
                    </a:cubicBezTo>
                    <a:cubicBezTo>
                      <a:pt x="169" y="292"/>
                      <a:pt x="171" y="288"/>
                      <a:pt x="175" y="287"/>
                    </a:cubicBezTo>
                    <a:cubicBezTo>
                      <a:pt x="179" y="287"/>
                      <a:pt x="181" y="291"/>
                      <a:pt x="180" y="295"/>
                    </a:cubicBezTo>
                    <a:cubicBezTo>
                      <a:pt x="180" y="297"/>
                      <a:pt x="178" y="299"/>
                      <a:pt x="179" y="302"/>
                    </a:cubicBezTo>
                    <a:cubicBezTo>
                      <a:pt x="181" y="303"/>
                      <a:pt x="184" y="302"/>
                      <a:pt x="187" y="301"/>
                    </a:cubicBezTo>
                    <a:cubicBezTo>
                      <a:pt x="187" y="297"/>
                      <a:pt x="186" y="292"/>
                      <a:pt x="186" y="288"/>
                    </a:cubicBezTo>
                    <a:cubicBezTo>
                      <a:pt x="188" y="287"/>
                      <a:pt x="188" y="288"/>
                      <a:pt x="190" y="289"/>
                    </a:cubicBezTo>
                    <a:cubicBezTo>
                      <a:pt x="191" y="289"/>
                      <a:pt x="194" y="289"/>
                      <a:pt x="195" y="290"/>
                    </a:cubicBezTo>
                    <a:cubicBezTo>
                      <a:pt x="199" y="293"/>
                      <a:pt x="197" y="298"/>
                      <a:pt x="198" y="302"/>
                    </a:cubicBezTo>
                    <a:cubicBezTo>
                      <a:pt x="198" y="305"/>
                      <a:pt x="201" y="309"/>
                      <a:pt x="203" y="311"/>
                    </a:cubicBezTo>
                    <a:cubicBezTo>
                      <a:pt x="206" y="313"/>
                      <a:pt x="208" y="312"/>
                      <a:pt x="211" y="312"/>
                    </a:cubicBezTo>
                    <a:cubicBezTo>
                      <a:pt x="211" y="314"/>
                      <a:pt x="211" y="315"/>
                      <a:pt x="211" y="316"/>
                    </a:cubicBezTo>
                    <a:cubicBezTo>
                      <a:pt x="212" y="317"/>
                      <a:pt x="211" y="318"/>
                      <a:pt x="211" y="320"/>
                    </a:cubicBezTo>
                    <a:cubicBezTo>
                      <a:pt x="212" y="323"/>
                      <a:pt x="213" y="323"/>
                      <a:pt x="216" y="322"/>
                    </a:cubicBezTo>
                    <a:cubicBezTo>
                      <a:pt x="217" y="319"/>
                      <a:pt x="216" y="316"/>
                      <a:pt x="216" y="312"/>
                    </a:cubicBezTo>
                    <a:cubicBezTo>
                      <a:pt x="216" y="309"/>
                      <a:pt x="216" y="306"/>
                      <a:pt x="215" y="303"/>
                    </a:cubicBezTo>
                    <a:cubicBezTo>
                      <a:pt x="215" y="301"/>
                      <a:pt x="214" y="299"/>
                      <a:pt x="214" y="297"/>
                    </a:cubicBezTo>
                    <a:cubicBezTo>
                      <a:pt x="215" y="295"/>
                      <a:pt x="216" y="294"/>
                      <a:pt x="216" y="293"/>
                    </a:cubicBezTo>
                    <a:cubicBezTo>
                      <a:pt x="216" y="291"/>
                      <a:pt x="216" y="288"/>
                      <a:pt x="216" y="287"/>
                    </a:cubicBezTo>
                    <a:cubicBezTo>
                      <a:pt x="215" y="285"/>
                      <a:pt x="214" y="285"/>
                      <a:pt x="214" y="283"/>
                    </a:cubicBezTo>
                    <a:cubicBezTo>
                      <a:pt x="213" y="281"/>
                      <a:pt x="215" y="280"/>
                      <a:pt x="216" y="278"/>
                    </a:cubicBezTo>
                    <a:cubicBezTo>
                      <a:pt x="216" y="277"/>
                      <a:pt x="220" y="272"/>
                      <a:pt x="221" y="272"/>
                    </a:cubicBezTo>
                    <a:cubicBezTo>
                      <a:pt x="223" y="272"/>
                      <a:pt x="226" y="280"/>
                      <a:pt x="227" y="282"/>
                    </a:cubicBezTo>
                    <a:cubicBezTo>
                      <a:pt x="229" y="284"/>
                      <a:pt x="230" y="286"/>
                      <a:pt x="231" y="288"/>
                    </a:cubicBezTo>
                    <a:cubicBezTo>
                      <a:pt x="232" y="291"/>
                      <a:pt x="233" y="291"/>
                      <a:pt x="235" y="293"/>
                    </a:cubicBezTo>
                    <a:cubicBezTo>
                      <a:pt x="237" y="296"/>
                      <a:pt x="238" y="298"/>
                      <a:pt x="241" y="297"/>
                    </a:cubicBezTo>
                    <a:cubicBezTo>
                      <a:pt x="244" y="297"/>
                      <a:pt x="246" y="296"/>
                      <a:pt x="247" y="294"/>
                    </a:cubicBezTo>
                    <a:cubicBezTo>
                      <a:pt x="250" y="292"/>
                      <a:pt x="250" y="286"/>
                      <a:pt x="249" y="283"/>
                    </a:cubicBezTo>
                    <a:cubicBezTo>
                      <a:pt x="247" y="279"/>
                      <a:pt x="241" y="281"/>
                      <a:pt x="238" y="280"/>
                    </a:cubicBezTo>
                    <a:cubicBezTo>
                      <a:pt x="235" y="279"/>
                      <a:pt x="233" y="279"/>
                      <a:pt x="231" y="277"/>
                    </a:cubicBezTo>
                    <a:cubicBezTo>
                      <a:pt x="230" y="276"/>
                      <a:pt x="230" y="274"/>
                      <a:pt x="229" y="273"/>
                    </a:cubicBezTo>
                    <a:cubicBezTo>
                      <a:pt x="228" y="273"/>
                      <a:pt x="226" y="272"/>
                      <a:pt x="225" y="271"/>
                    </a:cubicBezTo>
                    <a:cubicBezTo>
                      <a:pt x="223" y="270"/>
                      <a:pt x="221" y="268"/>
                      <a:pt x="220" y="265"/>
                    </a:cubicBezTo>
                    <a:cubicBezTo>
                      <a:pt x="217" y="261"/>
                      <a:pt x="216" y="258"/>
                      <a:pt x="220" y="254"/>
                    </a:cubicBezTo>
                    <a:cubicBezTo>
                      <a:pt x="222" y="252"/>
                      <a:pt x="224" y="252"/>
                      <a:pt x="224" y="248"/>
                    </a:cubicBezTo>
                    <a:cubicBezTo>
                      <a:pt x="224" y="247"/>
                      <a:pt x="224" y="246"/>
                      <a:pt x="222" y="245"/>
                    </a:cubicBezTo>
                    <a:cubicBezTo>
                      <a:pt x="217" y="242"/>
                      <a:pt x="209" y="241"/>
                      <a:pt x="204" y="238"/>
                    </a:cubicBezTo>
                    <a:cubicBezTo>
                      <a:pt x="203" y="237"/>
                      <a:pt x="203" y="236"/>
                      <a:pt x="202" y="236"/>
                    </a:cubicBezTo>
                    <a:cubicBezTo>
                      <a:pt x="201" y="235"/>
                      <a:pt x="199" y="234"/>
                      <a:pt x="198" y="234"/>
                    </a:cubicBezTo>
                    <a:cubicBezTo>
                      <a:pt x="196" y="233"/>
                      <a:pt x="195" y="232"/>
                      <a:pt x="193" y="231"/>
                    </a:cubicBezTo>
                    <a:cubicBezTo>
                      <a:pt x="190" y="228"/>
                      <a:pt x="183" y="229"/>
                      <a:pt x="182" y="224"/>
                    </a:cubicBezTo>
                    <a:cubicBezTo>
                      <a:pt x="180" y="219"/>
                      <a:pt x="182" y="214"/>
                      <a:pt x="181" y="209"/>
                    </a:cubicBezTo>
                    <a:cubicBezTo>
                      <a:pt x="177" y="210"/>
                      <a:pt x="172" y="209"/>
                      <a:pt x="168" y="210"/>
                    </a:cubicBezTo>
                    <a:cubicBezTo>
                      <a:pt x="167" y="211"/>
                      <a:pt x="165" y="211"/>
                      <a:pt x="164" y="213"/>
                    </a:cubicBezTo>
                    <a:cubicBezTo>
                      <a:pt x="163" y="214"/>
                      <a:pt x="164" y="215"/>
                      <a:pt x="163" y="216"/>
                    </a:cubicBezTo>
                    <a:cubicBezTo>
                      <a:pt x="161" y="218"/>
                      <a:pt x="157" y="218"/>
                      <a:pt x="155" y="218"/>
                    </a:cubicBezTo>
                    <a:cubicBezTo>
                      <a:pt x="151" y="218"/>
                      <a:pt x="145" y="220"/>
                      <a:pt x="145" y="224"/>
                    </a:cubicBezTo>
                    <a:cubicBezTo>
                      <a:pt x="148" y="225"/>
                      <a:pt x="148" y="225"/>
                      <a:pt x="150" y="226"/>
                    </a:cubicBezTo>
                    <a:cubicBezTo>
                      <a:pt x="152" y="228"/>
                      <a:pt x="155" y="229"/>
                      <a:pt x="157" y="229"/>
                    </a:cubicBezTo>
                    <a:cubicBezTo>
                      <a:pt x="158" y="229"/>
                      <a:pt x="159" y="229"/>
                      <a:pt x="160" y="229"/>
                    </a:cubicBezTo>
                    <a:cubicBezTo>
                      <a:pt x="161" y="229"/>
                      <a:pt x="161" y="230"/>
                      <a:pt x="162" y="230"/>
                    </a:cubicBezTo>
                    <a:cubicBezTo>
                      <a:pt x="165" y="231"/>
                      <a:pt x="167" y="230"/>
                      <a:pt x="169" y="231"/>
                    </a:cubicBezTo>
                    <a:cubicBezTo>
                      <a:pt x="170" y="232"/>
                      <a:pt x="172" y="233"/>
                      <a:pt x="172" y="234"/>
                    </a:cubicBezTo>
                    <a:cubicBezTo>
                      <a:pt x="173" y="235"/>
                      <a:pt x="172" y="237"/>
                      <a:pt x="172" y="239"/>
                    </a:cubicBezTo>
                    <a:cubicBezTo>
                      <a:pt x="173" y="241"/>
                      <a:pt x="177" y="241"/>
                      <a:pt x="180" y="242"/>
                    </a:cubicBezTo>
                    <a:cubicBezTo>
                      <a:pt x="182" y="243"/>
                      <a:pt x="189" y="246"/>
                      <a:pt x="189" y="249"/>
                    </a:cubicBezTo>
                    <a:cubicBezTo>
                      <a:pt x="189" y="250"/>
                      <a:pt x="188" y="252"/>
                      <a:pt x="186" y="253"/>
                    </a:cubicBezTo>
                    <a:cubicBezTo>
                      <a:pt x="184" y="254"/>
                      <a:pt x="178" y="254"/>
                      <a:pt x="177" y="252"/>
                    </a:cubicBezTo>
                    <a:cubicBezTo>
                      <a:pt x="176" y="252"/>
                      <a:pt x="177" y="250"/>
                      <a:pt x="176" y="249"/>
                    </a:cubicBezTo>
                    <a:cubicBezTo>
                      <a:pt x="175" y="248"/>
                      <a:pt x="175" y="247"/>
                      <a:pt x="174" y="246"/>
                    </a:cubicBezTo>
                    <a:cubicBezTo>
                      <a:pt x="170" y="244"/>
                      <a:pt x="167" y="241"/>
                      <a:pt x="164" y="239"/>
                    </a:cubicBezTo>
                    <a:cubicBezTo>
                      <a:pt x="163" y="238"/>
                      <a:pt x="161" y="237"/>
                      <a:pt x="160" y="236"/>
                    </a:cubicBezTo>
                    <a:cubicBezTo>
                      <a:pt x="158" y="234"/>
                      <a:pt x="157" y="234"/>
                      <a:pt x="154" y="233"/>
                    </a:cubicBezTo>
                    <a:cubicBezTo>
                      <a:pt x="151" y="232"/>
                      <a:pt x="148" y="229"/>
                      <a:pt x="145" y="228"/>
                    </a:cubicBezTo>
                    <a:cubicBezTo>
                      <a:pt x="142" y="228"/>
                      <a:pt x="132" y="227"/>
                      <a:pt x="133" y="223"/>
                    </a:cubicBezTo>
                    <a:cubicBezTo>
                      <a:pt x="133" y="219"/>
                      <a:pt x="139" y="221"/>
                      <a:pt x="141" y="221"/>
                    </a:cubicBezTo>
                    <a:cubicBezTo>
                      <a:pt x="145" y="222"/>
                      <a:pt x="146" y="221"/>
                      <a:pt x="149" y="219"/>
                    </a:cubicBezTo>
                    <a:cubicBezTo>
                      <a:pt x="152" y="217"/>
                      <a:pt x="157" y="217"/>
                      <a:pt x="161" y="215"/>
                    </a:cubicBezTo>
                    <a:cubicBezTo>
                      <a:pt x="157" y="216"/>
                      <a:pt x="157" y="209"/>
                      <a:pt x="157" y="207"/>
                    </a:cubicBezTo>
                    <a:cubicBezTo>
                      <a:pt x="157" y="205"/>
                      <a:pt x="156" y="205"/>
                      <a:pt x="156" y="204"/>
                    </a:cubicBezTo>
                    <a:cubicBezTo>
                      <a:pt x="155" y="202"/>
                      <a:pt x="156" y="202"/>
                      <a:pt x="155" y="200"/>
                    </a:cubicBezTo>
                    <a:cubicBezTo>
                      <a:pt x="153" y="198"/>
                      <a:pt x="150" y="196"/>
                      <a:pt x="150" y="193"/>
                    </a:cubicBezTo>
                    <a:cubicBezTo>
                      <a:pt x="151" y="191"/>
                      <a:pt x="153" y="189"/>
                      <a:pt x="154" y="188"/>
                    </a:cubicBezTo>
                    <a:cubicBezTo>
                      <a:pt x="157" y="185"/>
                      <a:pt x="161" y="186"/>
                      <a:pt x="163" y="189"/>
                    </a:cubicBezTo>
                    <a:cubicBezTo>
                      <a:pt x="165" y="192"/>
                      <a:pt x="163" y="199"/>
                      <a:pt x="166" y="201"/>
                    </a:cubicBezTo>
                    <a:cubicBezTo>
                      <a:pt x="168" y="202"/>
                      <a:pt x="174" y="199"/>
                      <a:pt x="175" y="198"/>
                    </a:cubicBezTo>
                    <a:cubicBezTo>
                      <a:pt x="178" y="197"/>
                      <a:pt x="177" y="193"/>
                      <a:pt x="175" y="192"/>
                    </a:cubicBezTo>
                    <a:cubicBezTo>
                      <a:pt x="173" y="190"/>
                      <a:pt x="171" y="189"/>
                      <a:pt x="170" y="187"/>
                    </a:cubicBezTo>
                    <a:cubicBezTo>
                      <a:pt x="169" y="185"/>
                      <a:pt x="169" y="184"/>
                      <a:pt x="168" y="182"/>
                    </a:cubicBezTo>
                    <a:cubicBezTo>
                      <a:pt x="166" y="181"/>
                      <a:pt x="164" y="179"/>
                      <a:pt x="163" y="177"/>
                    </a:cubicBezTo>
                    <a:cubicBezTo>
                      <a:pt x="161" y="175"/>
                      <a:pt x="160" y="172"/>
                      <a:pt x="158" y="170"/>
                    </a:cubicBezTo>
                    <a:cubicBezTo>
                      <a:pt x="158" y="169"/>
                      <a:pt x="157" y="169"/>
                      <a:pt x="156" y="168"/>
                    </a:cubicBezTo>
                    <a:cubicBezTo>
                      <a:pt x="156" y="167"/>
                      <a:pt x="156" y="167"/>
                      <a:pt x="155" y="166"/>
                    </a:cubicBezTo>
                    <a:cubicBezTo>
                      <a:pt x="154" y="165"/>
                      <a:pt x="151" y="166"/>
                      <a:pt x="150" y="165"/>
                    </a:cubicBezTo>
                    <a:cubicBezTo>
                      <a:pt x="149" y="165"/>
                      <a:pt x="147" y="163"/>
                      <a:pt x="146" y="162"/>
                    </a:cubicBezTo>
                    <a:cubicBezTo>
                      <a:pt x="144" y="160"/>
                      <a:pt x="143" y="158"/>
                      <a:pt x="143" y="155"/>
                    </a:cubicBezTo>
                    <a:cubicBezTo>
                      <a:pt x="142" y="152"/>
                      <a:pt x="143" y="150"/>
                      <a:pt x="143" y="148"/>
                    </a:cubicBezTo>
                    <a:cubicBezTo>
                      <a:pt x="143" y="144"/>
                      <a:pt x="143" y="143"/>
                      <a:pt x="141" y="140"/>
                    </a:cubicBezTo>
                    <a:cubicBezTo>
                      <a:pt x="139" y="138"/>
                      <a:pt x="138" y="136"/>
                      <a:pt x="137" y="133"/>
                    </a:cubicBezTo>
                    <a:cubicBezTo>
                      <a:pt x="136" y="132"/>
                      <a:pt x="135" y="131"/>
                      <a:pt x="134" y="129"/>
                    </a:cubicBezTo>
                    <a:cubicBezTo>
                      <a:pt x="131" y="126"/>
                      <a:pt x="131" y="120"/>
                      <a:pt x="132" y="116"/>
                    </a:cubicBezTo>
                    <a:cubicBezTo>
                      <a:pt x="132" y="113"/>
                      <a:pt x="135" y="111"/>
                      <a:pt x="135" y="109"/>
                    </a:cubicBezTo>
                    <a:cubicBezTo>
                      <a:pt x="135" y="107"/>
                      <a:pt x="135" y="105"/>
                      <a:pt x="135" y="104"/>
                    </a:cubicBezTo>
                    <a:cubicBezTo>
                      <a:pt x="135" y="102"/>
                      <a:pt x="136" y="97"/>
                      <a:pt x="133" y="97"/>
                    </a:cubicBezTo>
                    <a:cubicBezTo>
                      <a:pt x="135" y="91"/>
                      <a:pt x="138" y="86"/>
                      <a:pt x="144" y="83"/>
                    </a:cubicBezTo>
                    <a:cubicBezTo>
                      <a:pt x="147" y="82"/>
                      <a:pt x="155" y="79"/>
                      <a:pt x="157" y="84"/>
                    </a:cubicBezTo>
                    <a:cubicBezTo>
                      <a:pt x="157" y="86"/>
                      <a:pt x="157" y="88"/>
                      <a:pt x="157" y="90"/>
                    </a:cubicBezTo>
                    <a:cubicBezTo>
                      <a:pt x="157" y="92"/>
                      <a:pt x="158" y="93"/>
                      <a:pt x="157" y="95"/>
                    </a:cubicBezTo>
                    <a:cubicBezTo>
                      <a:pt x="157" y="95"/>
                      <a:pt x="157" y="95"/>
                      <a:pt x="156" y="96"/>
                    </a:cubicBezTo>
                    <a:cubicBezTo>
                      <a:pt x="156" y="96"/>
                      <a:pt x="155" y="96"/>
                      <a:pt x="155" y="96"/>
                    </a:cubicBezTo>
                    <a:cubicBezTo>
                      <a:pt x="153" y="101"/>
                      <a:pt x="158" y="105"/>
                      <a:pt x="162" y="106"/>
                    </a:cubicBezTo>
                    <a:cubicBezTo>
                      <a:pt x="164" y="108"/>
                      <a:pt x="166" y="108"/>
                      <a:pt x="168" y="110"/>
                    </a:cubicBezTo>
                    <a:cubicBezTo>
                      <a:pt x="170" y="112"/>
                      <a:pt x="172" y="113"/>
                      <a:pt x="173" y="115"/>
                    </a:cubicBezTo>
                    <a:cubicBezTo>
                      <a:pt x="176" y="116"/>
                      <a:pt x="177" y="116"/>
                      <a:pt x="177" y="119"/>
                    </a:cubicBezTo>
                    <a:cubicBezTo>
                      <a:pt x="177" y="123"/>
                      <a:pt x="176" y="127"/>
                      <a:pt x="175" y="131"/>
                    </a:cubicBezTo>
                    <a:cubicBezTo>
                      <a:pt x="175" y="132"/>
                      <a:pt x="175" y="135"/>
                      <a:pt x="175" y="137"/>
                    </a:cubicBezTo>
                    <a:cubicBezTo>
                      <a:pt x="176" y="138"/>
                      <a:pt x="177" y="138"/>
                      <a:pt x="178" y="138"/>
                    </a:cubicBezTo>
                    <a:cubicBezTo>
                      <a:pt x="183" y="139"/>
                      <a:pt x="189" y="140"/>
                      <a:pt x="194" y="140"/>
                    </a:cubicBezTo>
                    <a:cubicBezTo>
                      <a:pt x="194" y="136"/>
                      <a:pt x="194" y="134"/>
                      <a:pt x="190" y="133"/>
                    </a:cubicBezTo>
                    <a:cubicBezTo>
                      <a:pt x="187" y="132"/>
                      <a:pt x="186" y="132"/>
                      <a:pt x="184" y="128"/>
                    </a:cubicBezTo>
                    <a:cubicBezTo>
                      <a:pt x="183" y="125"/>
                      <a:pt x="180" y="121"/>
                      <a:pt x="180" y="118"/>
                    </a:cubicBezTo>
                    <a:cubicBezTo>
                      <a:pt x="181" y="114"/>
                      <a:pt x="183" y="116"/>
                      <a:pt x="186" y="116"/>
                    </a:cubicBezTo>
                    <a:cubicBezTo>
                      <a:pt x="187" y="117"/>
                      <a:pt x="188" y="116"/>
                      <a:pt x="190" y="117"/>
                    </a:cubicBezTo>
                    <a:cubicBezTo>
                      <a:pt x="191" y="117"/>
                      <a:pt x="192" y="119"/>
                      <a:pt x="193" y="119"/>
                    </a:cubicBezTo>
                    <a:cubicBezTo>
                      <a:pt x="195" y="121"/>
                      <a:pt x="195" y="123"/>
                      <a:pt x="196" y="124"/>
                    </a:cubicBezTo>
                    <a:cubicBezTo>
                      <a:pt x="196" y="125"/>
                      <a:pt x="197" y="126"/>
                      <a:pt x="198" y="127"/>
                    </a:cubicBezTo>
                    <a:cubicBezTo>
                      <a:pt x="200" y="130"/>
                      <a:pt x="201" y="136"/>
                      <a:pt x="204" y="137"/>
                    </a:cubicBezTo>
                    <a:cubicBezTo>
                      <a:pt x="206" y="138"/>
                      <a:pt x="212" y="137"/>
                      <a:pt x="214" y="137"/>
                    </a:cubicBezTo>
                    <a:cubicBezTo>
                      <a:pt x="215" y="136"/>
                      <a:pt x="215" y="135"/>
                      <a:pt x="214" y="134"/>
                    </a:cubicBezTo>
                    <a:cubicBezTo>
                      <a:pt x="214" y="131"/>
                      <a:pt x="214" y="132"/>
                      <a:pt x="212" y="130"/>
                    </a:cubicBezTo>
                    <a:cubicBezTo>
                      <a:pt x="210" y="128"/>
                      <a:pt x="208" y="126"/>
                      <a:pt x="205" y="123"/>
                    </a:cubicBezTo>
                    <a:cubicBezTo>
                      <a:pt x="202" y="121"/>
                      <a:pt x="194" y="118"/>
                      <a:pt x="196" y="113"/>
                    </a:cubicBezTo>
                    <a:cubicBezTo>
                      <a:pt x="199" y="107"/>
                      <a:pt x="203" y="108"/>
                      <a:pt x="208" y="110"/>
                    </a:cubicBezTo>
                    <a:cubicBezTo>
                      <a:pt x="211" y="111"/>
                      <a:pt x="214" y="111"/>
                      <a:pt x="217" y="112"/>
                    </a:cubicBezTo>
                    <a:cubicBezTo>
                      <a:pt x="219" y="112"/>
                      <a:pt x="220" y="113"/>
                      <a:pt x="221" y="114"/>
                    </a:cubicBezTo>
                    <a:cubicBezTo>
                      <a:pt x="222" y="114"/>
                      <a:pt x="222" y="115"/>
                      <a:pt x="223" y="116"/>
                    </a:cubicBezTo>
                    <a:cubicBezTo>
                      <a:pt x="225" y="117"/>
                      <a:pt x="227" y="119"/>
                      <a:pt x="228" y="121"/>
                    </a:cubicBezTo>
                    <a:cubicBezTo>
                      <a:pt x="229" y="122"/>
                      <a:pt x="230" y="125"/>
                      <a:pt x="232" y="125"/>
                    </a:cubicBezTo>
                    <a:cubicBezTo>
                      <a:pt x="232" y="126"/>
                      <a:pt x="238" y="126"/>
                      <a:pt x="238" y="125"/>
                    </a:cubicBezTo>
                    <a:cubicBezTo>
                      <a:pt x="239" y="124"/>
                      <a:pt x="239" y="123"/>
                      <a:pt x="239" y="122"/>
                    </a:cubicBezTo>
                    <a:cubicBezTo>
                      <a:pt x="238" y="122"/>
                      <a:pt x="238" y="121"/>
                      <a:pt x="238" y="121"/>
                    </a:cubicBezTo>
                    <a:cubicBezTo>
                      <a:pt x="237" y="120"/>
                      <a:pt x="237" y="119"/>
                      <a:pt x="237" y="119"/>
                    </a:cubicBezTo>
                    <a:cubicBezTo>
                      <a:pt x="235" y="116"/>
                      <a:pt x="231" y="115"/>
                      <a:pt x="229" y="113"/>
                    </a:cubicBezTo>
                    <a:cubicBezTo>
                      <a:pt x="226" y="109"/>
                      <a:pt x="223" y="107"/>
                      <a:pt x="218" y="106"/>
                    </a:cubicBezTo>
                    <a:cubicBezTo>
                      <a:pt x="215" y="105"/>
                      <a:pt x="212" y="105"/>
                      <a:pt x="210" y="104"/>
                    </a:cubicBezTo>
                    <a:cubicBezTo>
                      <a:pt x="208" y="104"/>
                      <a:pt x="208" y="103"/>
                      <a:pt x="206" y="103"/>
                    </a:cubicBezTo>
                    <a:cubicBezTo>
                      <a:pt x="205" y="101"/>
                      <a:pt x="206" y="100"/>
                      <a:pt x="207" y="98"/>
                    </a:cubicBezTo>
                    <a:cubicBezTo>
                      <a:pt x="207" y="97"/>
                      <a:pt x="207" y="96"/>
                      <a:pt x="207" y="96"/>
                    </a:cubicBezTo>
                    <a:cubicBezTo>
                      <a:pt x="207" y="94"/>
                      <a:pt x="208" y="93"/>
                      <a:pt x="210" y="92"/>
                    </a:cubicBezTo>
                    <a:cubicBezTo>
                      <a:pt x="207" y="91"/>
                      <a:pt x="208" y="88"/>
                      <a:pt x="207" y="86"/>
                    </a:cubicBezTo>
                    <a:cubicBezTo>
                      <a:pt x="205" y="84"/>
                      <a:pt x="204" y="84"/>
                      <a:pt x="202" y="83"/>
                    </a:cubicBezTo>
                    <a:cubicBezTo>
                      <a:pt x="198" y="80"/>
                      <a:pt x="203" y="75"/>
                      <a:pt x="204" y="72"/>
                    </a:cubicBezTo>
                    <a:cubicBezTo>
                      <a:pt x="205" y="70"/>
                      <a:pt x="207" y="67"/>
                      <a:pt x="209" y="68"/>
                    </a:cubicBezTo>
                    <a:cubicBezTo>
                      <a:pt x="212" y="68"/>
                      <a:pt x="212" y="70"/>
                      <a:pt x="212" y="72"/>
                    </a:cubicBezTo>
                    <a:cubicBezTo>
                      <a:pt x="213" y="75"/>
                      <a:pt x="213" y="75"/>
                      <a:pt x="217" y="76"/>
                    </a:cubicBezTo>
                    <a:cubicBezTo>
                      <a:pt x="219" y="76"/>
                      <a:pt x="220" y="76"/>
                      <a:pt x="223" y="76"/>
                    </a:cubicBezTo>
                    <a:cubicBezTo>
                      <a:pt x="225" y="75"/>
                      <a:pt x="226" y="73"/>
                      <a:pt x="228" y="72"/>
                    </a:cubicBezTo>
                    <a:cubicBezTo>
                      <a:pt x="230" y="71"/>
                      <a:pt x="232" y="70"/>
                      <a:pt x="234" y="70"/>
                    </a:cubicBezTo>
                    <a:cubicBezTo>
                      <a:pt x="237" y="68"/>
                      <a:pt x="237" y="65"/>
                      <a:pt x="239" y="62"/>
                    </a:cubicBezTo>
                    <a:cubicBezTo>
                      <a:pt x="240" y="60"/>
                      <a:pt x="241" y="59"/>
                      <a:pt x="243" y="59"/>
                    </a:cubicBezTo>
                    <a:cubicBezTo>
                      <a:pt x="245" y="59"/>
                      <a:pt x="247" y="60"/>
                      <a:pt x="249" y="61"/>
                    </a:cubicBezTo>
                    <a:cubicBezTo>
                      <a:pt x="250" y="61"/>
                      <a:pt x="251" y="61"/>
                      <a:pt x="252" y="61"/>
                    </a:cubicBezTo>
                    <a:cubicBezTo>
                      <a:pt x="255" y="61"/>
                      <a:pt x="257" y="63"/>
                      <a:pt x="259" y="63"/>
                    </a:cubicBezTo>
                    <a:cubicBezTo>
                      <a:pt x="262" y="64"/>
                      <a:pt x="267" y="63"/>
                      <a:pt x="269" y="61"/>
                    </a:cubicBezTo>
                    <a:cubicBezTo>
                      <a:pt x="271" y="59"/>
                      <a:pt x="272" y="54"/>
                      <a:pt x="275" y="53"/>
                    </a:cubicBezTo>
                    <a:cubicBezTo>
                      <a:pt x="280" y="52"/>
                      <a:pt x="279" y="56"/>
                      <a:pt x="279" y="59"/>
                    </a:cubicBezTo>
                    <a:cubicBezTo>
                      <a:pt x="278" y="62"/>
                      <a:pt x="279" y="62"/>
                      <a:pt x="282" y="63"/>
                    </a:cubicBezTo>
                    <a:cubicBezTo>
                      <a:pt x="283" y="63"/>
                      <a:pt x="284" y="65"/>
                      <a:pt x="285" y="66"/>
                    </a:cubicBezTo>
                    <a:cubicBezTo>
                      <a:pt x="288" y="68"/>
                      <a:pt x="293" y="70"/>
                      <a:pt x="297" y="70"/>
                    </a:cubicBezTo>
                    <a:cubicBezTo>
                      <a:pt x="303" y="70"/>
                      <a:pt x="309" y="70"/>
                      <a:pt x="315" y="70"/>
                    </a:cubicBezTo>
                    <a:cubicBezTo>
                      <a:pt x="317" y="70"/>
                      <a:pt x="318" y="70"/>
                      <a:pt x="320" y="71"/>
                    </a:cubicBezTo>
                    <a:cubicBezTo>
                      <a:pt x="323" y="72"/>
                      <a:pt x="326" y="73"/>
                      <a:pt x="328" y="74"/>
                    </a:cubicBezTo>
                    <a:cubicBezTo>
                      <a:pt x="329" y="75"/>
                      <a:pt x="333" y="79"/>
                      <a:pt x="333" y="79"/>
                    </a:cubicBezTo>
                    <a:cubicBezTo>
                      <a:pt x="335" y="79"/>
                      <a:pt x="335" y="77"/>
                      <a:pt x="336" y="75"/>
                    </a:cubicBezTo>
                    <a:cubicBezTo>
                      <a:pt x="338" y="72"/>
                      <a:pt x="339" y="69"/>
                      <a:pt x="342" y="67"/>
                    </a:cubicBezTo>
                    <a:cubicBezTo>
                      <a:pt x="344" y="65"/>
                      <a:pt x="348" y="63"/>
                      <a:pt x="349" y="61"/>
                    </a:cubicBezTo>
                    <a:cubicBezTo>
                      <a:pt x="350" y="59"/>
                      <a:pt x="350" y="59"/>
                      <a:pt x="350" y="57"/>
                    </a:cubicBezTo>
                    <a:cubicBezTo>
                      <a:pt x="350" y="53"/>
                      <a:pt x="351" y="50"/>
                      <a:pt x="351" y="46"/>
                    </a:cubicBezTo>
                    <a:cubicBezTo>
                      <a:pt x="351" y="42"/>
                      <a:pt x="351" y="37"/>
                      <a:pt x="355" y="35"/>
                    </a:cubicBezTo>
                    <a:cubicBezTo>
                      <a:pt x="357" y="33"/>
                      <a:pt x="362" y="35"/>
                      <a:pt x="364" y="33"/>
                    </a:cubicBezTo>
                    <a:cubicBezTo>
                      <a:pt x="368" y="31"/>
                      <a:pt x="366" y="26"/>
                      <a:pt x="366" y="22"/>
                    </a:cubicBezTo>
                    <a:cubicBezTo>
                      <a:pt x="365" y="18"/>
                      <a:pt x="365" y="15"/>
                      <a:pt x="365" y="10"/>
                    </a:cubicBezTo>
                    <a:cubicBezTo>
                      <a:pt x="365" y="6"/>
                      <a:pt x="362" y="7"/>
                      <a:pt x="359" y="6"/>
                    </a:cubicBezTo>
                    <a:cubicBezTo>
                      <a:pt x="357" y="5"/>
                      <a:pt x="356" y="3"/>
                      <a:pt x="354" y="2"/>
                    </a:cubicBezTo>
                    <a:cubicBezTo>
                      <a:pt x="354" y="3"/>
                      <a:pt x="354" y="4"/>
                      <a:pt x="354" y="5"/>
                    </a:cubicBezTo>
                    <a:cubicBezTo>
                      <a:pt x="351" y="5"/>
                      <a:pt x="348" y="3"/>
                      <a:pt x="346" y="3"/>
                    </a:cubicBezTo>
                    <a:cubicBezTo>
                      <a:pt x="344" y="2"/>
                      <a:pt x="342" y="0"/>
                      <a:pt x="340" y="0"/>
                    </a:cubicBezTo>
                    <a:cubicBezTo>
                      <a:pt x="336" y="0"/>
                      <a:pt x="333" y="2"/>
                      <a:pt x="334" y="6"/>
                    </a:cubicBezTo>
                    <a:cubicBezTo>
                      <a:pt x="335" y="9"/>
                      <a:pt x="338" y="10"/>
                      <a:pt x="338" y="13"/>
                    </a:cubicBezTo>
                    <a:cubicBezTo>
                      <a:pt x="338" y="15"/>
                      <a:pt x="339" y="16"/>
                      <a:pt x="338" y="18"/>
                    </a:cubicBezTo>
                    <a:cubicBezTo>
                      <a:pt x="338" y="19"/>
                      <a:pt x="337" y="19"/>
                      <a:pt x="337" y="21"/>
                    </a:cubicBezTo>
                    <a:cubicBezTo>
                      <a:pt x="337" y="21"/>
                      <a:pt x="337" y="22"/>
                      <a:pt x="337" y="22"/>
                    </a:cubicBezTo>
                    <a:cubicBezTo>
                      <a:pt x="337" y="25"/>
                      <a:pt x="338" y="28"/>
                      <a:pt x="336" y="30"/>
                    </a:cubicBezTo>
                    <a:cubicBezTo>
                      <a:pt x="335" y="30"/>
                      <a:pt x="334" y="30"/>
                      <a:pt x="333" y="31"/>
                    </a:cubicBezTo>
                    <a:cubicBezTo>
                      <a:pt x="332" y="31"/>
                      <a:pt x="331" y="32"/>
                      <a:pt x="330" y="33"/>
                    </a:cubicBezTo>
                    <a:cubicBezTo>
                      <a:pt x="329" y="33"/>
                      <a:pt x="327" y="34"/>
                      <a:pt x="326" y="34"/>
                    </a:cubicBezTo>
                    <a:cubicBezTo>
                      <a:pt x="323" y="35"/>
                      <a:pt x="322" y="34"/>
                      <a:pt x="320" y="33"/>
                    </a:cubicBezTo>
                    <a:cubicBezTo>
                      <a:pt x="319" y="33"/>
                      <a:pt x="318" y="32"/>
                      <a:pt x="317" y="32"/>
                    </a:cubicBezTo>
                    <a:cubicBezTo>
                      <a:pt x="316" y="32"/>
                      <a:pt x="316" y="32"/>
                      <a:pt x="315" y="33"/>
                    </a:cubicBezTo>
                    <a:cubicBezTo>
                      <a:pt x="312" y="34"/>
                      <a:pt x="310" y="30"/>
                      <a:pt x="307" y="31"/>
                    </a:cubicBezTo>
                    <a:cubicBezTo>
                      <a:pt x="309" y="32"/>
                      <a:pt x="309" y="34"/>
                      <a:pt x="309" y="36"/>
                    </a:cubicBezTo>
                    <a:cubicBezTo>
                      <a:pt x="304" y="36"/>
                      <a:pt x="298" y="37"/>
                      <a:pt x="293" y="37"/>
                    </a:cubicBezTo>
                    <a:cubicBezTo>
                      <a:pt x="291" y="37"/>
                      <a:pt x="289" y="37"/>
                      <a:pt x="287" y="37"/>
                    </a:cubicBezTo>
                    <a:cubicBezTo>
                      <a:pt x="287" y="37"/>
                      <a:pt x="286" y="37"/>
                      <a:pt x="286" y="36"/>
                    </a:cubicBezTo>
                    <a:cubicBezTo>
                      <a:pt x="285" y="36"/>
                      <a:pt x="284" y="37"/>
                      <a:pt x="283" y="36"/>
                    </a:cubicBezTo>
                    <a:cubicBezTo>
                      <a:pt x="282" y="36"/>
                      <a:pt x="281" y="34"/>
                      <a:pt x="279" y="33"/>
                    </a:cubicBezTo>
                    <a:cubicBezTo>
                      <a:pt x="279" y="33"/>
                      <a:pt x="278" y="32"/>
                      <a:pt x="277" y="32"/>
                    </a:cubicBezTo>
                    <a:cubicBezTo>
                      <a:pt x="275" y="32"/>
                      <a:pt x="274" y="33"/>
                      <a:pt x="273" y="31"/>
                    </a:cubicBezTo>
                    <a:cubicBezTo>
                      <a:pt x="272" y="31"/>
                      <a:pt x="271" y="31"/>
                      <a:pt x="270" y="30"/>
                    </a:cubicBezTo>
                    <a:cubicBezTo>
                      <a:pt x="269" y="30"/>
                      <a:pt x="269" y="29"/>
                      <a:pt x="268" y="28"/>
                    </a:cubicBezTo>
                    <a:cubicBezTo>
                      <a:pt x="266" y="28"/>
                      <a:pt x="264" y="29"/>
                      <a:pt x="262" y="29"/>
                    </a:cubicBezTo>
                    <a:cubicBezTo>
                      <a:pt x="261" y="30"/>
                      <a:pt x="261" y="31"/>
                      <a:pt x="260" y="30"/>
                    </a:cubicBezTo>
                    <a:cubicBezTo>
                      <a:pt x="259" y="29"/>
                      <a:pt x="259" y="27"/>
                      <a:pt x="258" y="27"/>
                    </a:cubicBezTo>
                    <a:cubicBezTo>
                      <a:pt x="257" y="26"/>
                      <a:pt x="257" y="26"/>
                      <a:pt x="257" y="26"/>
                    </a:cubicBezTo>
                    <a:cubicBezTo>
                      <a:pt x="256" y="25"/>
                      <a:pt x="255" y="24"/>
                      <a:pt x="255" y="23"/>
                    </a:cubicBezTo>
                    <a:cubicBezTo>
                      <a:pt x="253" y="21"/>
                      <a:pt x="251" y="21"/>
                      <a:pt x="249" y="20"/>
                    </a:cubicBezTo>
                    <a:cubicBezTo>
                      <a:pt x="248" y="20"/>
                      <a:pt x="247" y="19"/>
                      <a:pt x="247" y="18"/>
                    </a:cubicBezTo>
                    <a:cubicBezTo>
                      <a:pt x="247" y="18"/>
                      <a:pt x="246" y="17"/>
                      <a:pt x="246" y="17"/>
                    </a:cubicBezTo>
                    <a:cubicBezTo>
                      <a:pt x="245" y="16"/>
                      <a:pt x="246" y="13"/>
                      <a:pt x="245" y="12"/>
                    </a:cubicBezTo>
                    <a:cubicBezTo>
                      <a:pt x="244" y="11"/>
                      <a:pt x="242" y="12"/>
                      <a:pt x="241" y="13"/>
                    </a:cubicBezTo>
                    <a:cubicBezTo>
                      <a:pt x="241" y="11"/>
                      <a:pt x="240" y="13"/>
                      <a:pt x="239" y="13"/>
                    </a:cubicBezTo>
                    <a:cubicBezTo>
                      <a:pt x="237" y="13"/>
                      <a:pt x="238" y="11"/>
                      <a:pt x="236" y="11"/>
                    </a:cubicBezTo>
                    <a:cubicBezTo>
                      <a:pt x="236" y="12"/>
                      <a:pt x="235" y="11"/>
                      <a:pt x="235" y="12"/>
                    </a:cubicBezTo>
                    <a:cubicBezTo>
                      <a:pt x="234" y="12"/>
                      <a:pt x="234" y="13"/>
                      <a:pt x="234" y="13"/>
                    </a:cubicBezTo>
                    <a:cubicBezTo>
                      <a:pt x="232" y="14"/>
                      <a:pt x="231" y="13"/>
                      <a:pt x="229" y="13"/>
                    </a:cubicBezTo>
                    <a:cubicBezTo>
                      <a:pt x="228" y="13"/>
                      <a:pt x="226" y="13"/>
                      <a:pt x="225" y="13"/>
                    </a:cubicBezTo>
                    <a:cubicBezTo>
                      <a:pt x="224" y="13"/>
                      <a:pt x="223" y="12"/>
                      <a:pt x="222" y="11"/>
                    </a:cubicBezTo>
                    <a:cubicBezTo>
                      <a:pt x="219" y="10"/>
                      <a:pt x="220" y="14"/>
                      <a:pt x="220" y="15"/>
                    </a:cubicBezTo>
                    <a:cubicBezTo>
                      <a:pt x="219" y="18"/>
                      <a:pt x="216" y="19"/>
                      <a:pt x="214" y="17"/>
                    </a:cubicBezTo>
                    <a:cubicBezTo>
                      <a:pt x="213" y="18"/>
                      <a:pt x="212" y="19"/>
                      <a:pt x="211" y="19"/>
                    </a:cubicBezTo>
                    <a:cubicBezTo>
                      <a:pt x="211" y="19"/>
                      <a:pt x="210" y="19"/>
                      <a:pt x="209" y="19"/>
                    </a:cubicBezTo>
                    <a:cubicBezTo>
                      <a:pt x="208" y="19"/>
                      <a:pt x="208" y="20"/>
                      <a:pt x="207" y="21"/>
                    </a:cubicBezTo>
                    <a:cubicBezTo>
                      <a:pt x="206" y="22"/>
                      <a:pt x="203" y="23"/>
                      <a:pt x="201" y="23"/>
                    </a:cubicBezTo>
                    <a:cubicBezTo>
                      <a:pt x="199" y="24"/>
                      <a:pt x="197" y="23"/>
                      <a:pt x="195" y="24"/>
                    </a:cubicBezTo>
                    <a:cubicBezTo>
                      <a:pt x="194" y="24"/>
                      <a:pt x="193" y="24"/>
                      <a:pt x="191" y="24"/>
                    </a:cubicBezTo>
                    <a:cubicBezTo>
                      <a:pt x="190" y="24"/>
                      <a:pt x="189" y="23"/>
                      <a:pt x="188" y="23"/>
                    </a:cubicBezTo>
                    <a:cubicBezTo>
                      <a:pt x="186" y="22"/>
                      <a:pt x="182" y="24"/>
                      <a:pt x="180" y="25"/>
                    </a:cubicBezTo>
                    <a:cubicBezTo>
                      <a:pt x="177" y="26"/>
                      <a:pt x="175" y="26"/>
                      <a:pt x="172" y="26"/>
                    </a:cubicBezTo>
                    <a:cubicBezTo>
                      <a:pt x="170" y="26"/>
                      <a:pt x="168" y="26"/>
                      <a:pt x="167" y="26"/>
                    </a:cubicBezTo>
                    <a:cubicBezTo>
                      <a:pt x="165" y="26"/>
                      <a:pt x="164" y="27"/>
                      <a:pt x="163" y="26"/>
                    </a:cubicBezTo>
                    <a:cubicBezTo>
                      <a:pt x="162" y="25"/>
                      <a:pt x="162" y="24"/>
                      <a:pt x="161" y="24"/>
                    </a:cubicBezTo>
                    <a:cubicBezTo>
                      <a:pt x="160" y="23"/>
                      <a:pt x="159" y="22"/>
                      <a:pt x="158" y="21"/>
                    </a:cubicBezTo>
                    <a:cubicBezTo>
                      <a:pt x="158" y="21"/>
                      <a:pt x="158" y="21"/>
                      <a:pt x="158" y="21"/>
                    </a:cubicBezTo>
                    <a:cubicBezTo>
                      <a:pt x="158" y="21"/>
                      <a:pt x="157" y="21"/>
                      <a:pt x="157" y="21"/>
                    </a:cubicBezTo>
                    <a:cubicBezTo>
                      <a:pt x="157" y="22"/>
                      <a:pt x="156" y="22"/>
                      <a:pt x="155" y="22"/>
                    </a:cubicBezTo>
                    <a:cubicBezTo>
                      <a:pt x="154" y="23"/>
                      <a:pt x="154" y="23"/>
                      <a:pt x="153" y="24"/>
                    </a:cubicBezTo>
                    <a:cubicBezTo>
                      <a:pt x="152" y="24"/>
                      <a:pt x="151" y="26"/>
                      <a:pt x="150" y="26"/>
                    </a:cubicBezTo>
                    <a:cubicBezTo>
                      <a:pt x="149" y="26"/>
                      <a:pt x="147" y="25"/>
                      <a:pt x="147" y="27"/>
                    </a:cubicBezTo>
                    <a:cubicBezTo>
                      <a:pt x="146" y="27"/>
                      <a:pt x="147" y="29"/>
                      <a:pt x="147" y="29"/>
                    </a:cubicBezTo>
                    <a:cubicBezTo>
                      <a:pt x="146" y="30"/>
                      <a:pt x="146" y="30"/>
                      <a:pt x="146" y="30"/>
                    </a:cubicBezTo>
                    <a:cubicBezTo>
                      <a:pt x="146" y="31"/>
                      <a:pt x="146" y="31"/>
                      <a:pt x="146" y="32"/>
                    </a:cubicBezTo>
                    <a:cubicBezTo>
                      <a:pt x="145" y="34"/>
                      <a:pt x="145" y="35"/>
                      <a:pt x="145" y="37"/>
                    </a:cubicBezTo>
                    <a:cubicBezTo>
                      <a:pt x="145" y="38"/>
                      <a:pt x="145" y="39"/>
                      <a:pt x="144" y="40"/>
                    </a:cubicBezTo>
                    <a:cubicBezTo>
                      <a:pt x="143" y="40"/>
                      <a:pt x="143" y="38"/>
                      <a:pt x="142" y="37"/>
                    </a:cubicBezTo>
                    <a:cubicBezTo>
                      <a:pt x="141" y="37"/>
                      <a:pt x="138" y="39"/>
                      <a:pt x="138" y="40"/>
                    </a:cubicBezTo>
                    <a:cubicBezTo>
                      <a:pt x="137" y="40"/>
                      <a:pt x="136" y="40"/>
                      <a:pt x="135" y="40"/>
                    </a:cubicBezTo>
                    <a:cubicBezTo>
                      <a:pt x="133" y="40"/>
                      <a:pt x="132" y="39"/>
                      <a:pt x="131" y="39"/>
                    </a:cubicBezTo>
                    <a:cubicBezTo>
                      <a:pt x="129" y="39"/>
                      <a:pt x="127" y="39"/>
                      <a:pt x="125" y="39"/>
                    </a:cubicBezTo>
                    <a:cubicBezTo>
                      <a:pt x="125" y="39"/>
                      <a:pt x="124" y="39"/>
                      <a:pt x="124" y="39"/>
                    </a:cubicBezTo>
                    <a:cubicBezTo>
                      <a:pt x="123" y="39"/>
                      <a:pt x="123" y="39"/>
                      <a:pt x="122" y="39"/>
                    </a:cubicBezTo>
                    <a:cubicBezTo>
                      <a:pt x="121" y="38"/>
                      <a:pt x="119" y="38"/>
                      <a:pt x="118" y="37"/>
                    </a:cubicBezTo>
                    <a:cubicBezTo>
                      <a:pt x="117" y="37"/>
                      <a:pt x="116" y="37"/>
                      <a:pt x="115" y="38"/>
                    </a:cubicBezTo>
                    <a:cubicBezTo>
                      <a:pt x="115" y="38"/>
                      <a:pt x="114" y="39"/>
                      <a:pt x="113" y="39"/>
                    </a:cubicBezTo>
                    <a:cubicBezTo>
                      <a:pt x="112" y="39"/>
                      <a:pt x="110" y="38"/>
                      <a:pt x="109" y="38"/>
                    </a:cubicBezTo>
                    <a:cubicBezTo>
                      <a:pt x="108" y="37"/>
                      <a:pt x="107" y="37"/>
                      <a:pt x="107" y="37"/>
                    </a:cubicBezTo>
                    <a:cubicBezTo>
                      <a:pt x="105" y="37"/>
                      <a:pt x="103" y="39"/>
                      <a:pt x="102" y="41"/>
                    </a:cubicBezTo>
                    <a:cubicBezTo>
                      <a:pt x="101" y="42"/>
                      <a:pt x="100" y="43"/>
                      <a:pt x="99" y="44"/>
                    </a:cubicBezTo>
                    <a:cubicBezTo>
                      <a:pt x="98" y="46"/>
                      <a:pt x="95" y="47"/>
                      <a:pt x="94" y="49"/>
                    </a:cubicBezTo>
                    <a:cubicBezTo>
                      <a:pt x="93" y="50"/>
                      <a:pt x="93" y="51"/>
                      <a:pt x="93" y="52"/>
                    </a:cubicBezTo>
                    <a:cubicBezTo>
                      <a:pt x="92" y="52"/>
                      <a:pt x="91" y="54"/>
                      <a:pt x="90" y="54"/>
                    </a:cubicBezTo>
                    <a:cubicBezTo>
                      <a:pt x="89" y="55"/>
                      <a:pt x="87" y="56"/>
                      <a:pt x="86" y="56"/>
                    </a:cubicBezTo>
                    <a:cubicBezTo>
                      <a:pt x="85" y="56"/>
                      <a:pt x="83" y="56"/>
                      <a:pt x="82" y="56"/>
                    </a:cubicBezTo>
                    <a:cubicBezTo>
                      <a:pt x="81" y="57"/>
                      <a:pt x="80" y="56"/>
                      <a:pt x="79" y="56"/>
                    </a:cubicBezTo>
                    <a:cubicBezTo>
                      <a:pt x="79" y="56"/>
                      <a:pt x="78" y="56"/>
                      <a:pt x="78" y="56"/>
                    </a:cubicBezTo>
                    <a:cubicBezTo>
                      <a:pt x="77" y="57"/>
                      <a:pt x="78" y="57"/>
                      <a:pt x="77" y="58"/>
                    </a:cubicBezTo>
                    <a:cubicBezTo>
                      <a:pt x="77" y="58"/>
                      <a:pt x="76" y="58"/>
                      <a:pt x="75" y="58"/>
                    </a:cubicBezTo>
                    <a:cubicBezTo>
                      <a:pt x="73" y="58"/>
                      <a:pt x="72" y="57"/>
                      <a:pt x="70" y="57"/>
                    </a:cubicBezTo>
                    <a:cubicBezTo>
                      <a:pt x="68" y="57"/>
                      <a:pt x="67" y="57"/>
                      <a:pt x="65" y="57"/>
                    </a:cubicBezTo>
                    <a:cubicBezTo>
                      <a:pt x="64" y="57"/>
                      <a:pt x="62" y="57"/>
                      <a:pt x="60" y="57"/>
                    </a:cubicBezTo>
                    <a:cubicBezTo>
                      <a:pt x="59" y="58"/>
                      <a:pt x="57" y="59"/>
                      <a:pt x="56" y="60"/>
                    </a:cubicBezTo>
                    <a:cubicBezTo>
                      <a:pt x="54" y="60"/>
                      <a:pt x="52" y="61"/>
                      <a:pt x="51" y="62"/>
                    </a:cubicBezTo>
                    <a:cubicBezTo>
                      <a:pt x="49" y="64"/>
                      <a:pt x="47" y="66"/>
                      <a:pt x="45" y="67"/>
                    </a:cubicBezTo>
                    <a:cubicBezTo>
                      <a:pt x="46" y="69"/>
                      <a:pt x="49" y="71"/>
                      <a:pt x="50" y="73"/>
                    </a:cubicBezTo>
                    <a:cubicBezTo>
                      <a:pt x="51" y="74"/>
                      <a:pt x="53" y="79"/>
                      <a:pt x="52" y="81"/>
                    </a:cubicBezTo>
                    <a:cubicBezTo>
                      <a:pt x="51" y="81"/>
                      <a:pt x="50" y="82"/>
                      <a:pt x="50" y="82"/>
                    </a:cubicBezTo>
                    <a:cubicBezTo>
                      <a:pt x="48" y="83"/>
                      <a:pt x="48" y="83"/>
                      <a:pt x="48" y="85"/>
                    </a:cubicBezTo>
                    <a:cubicBezTo>
                      <a:pt x="47" y="87"/>
                      <a:pt x="48" y="89"/>
                      <a:pt x="46" y="90"/>
                    </a:cubicBezTo>
                    <a:cubicBezTo>
                      <a:pt x="45" y="90"/>
                      <a:pt x="43" y="90"/>
                      <a:pt x="42" y="90"/>
                    </a:cubicBezTo>
                    <a:cubicBezTo>
                      <a:pt x="42" y="90"/>
                      <a:pt x="41" y="90"/>
                      <a:pt x="41" y="90"/>
                    </a:cubicBezTo>
                    <a:cubicBezTo>
                      <a:pt x="41" y="91"/>
                      <a:pt x="40" y="91"/>
                      <a:pt x="40" y="91"/>
                    </a:cubicBezTo>
                    <a:cubicBezTo>
                      <a:pt x="39" y="92"/>
                      <a:pt x="38" y="91"/>
                      <a:pt x="37" y="91"/>
                    </a:cubicBezTo>
                    <a:cubicBezTo>
                      <a:pt x="36" y="92"/>
                      <a:pt x="36" y="93"/>
                      <a:pt x="35" y="94"/>
                    </a:cubicBezTo>
                    <a:cubicBezTo>
                      <a:pt x="34" y="96"/>
                      <a:pt x="33" y="98"/>
                      <a:pt x="33" y="100"/>
                    </a:cubicBezTo>
                    <a:cubicBezTo>
                      <a:pt x="33" y="102"/>
                      <a:pt x="33" y="103"/>
                      <a:pt x="32" y="105"/>
                    </a:cubicBezTo>
                    <a:cubicBezTo>
                      <a:pt x="31" y="106"/>
                      <a:pt x="31" y="107"/>
                      <a:pt x="31" y="108"/>
                    </a:cubicBezTo>
                    <a:cubicBezTo>
                      <a:pt x="30" y="109"/>
                      <a:pt x="29" y="110"/>
                      <a:pt x="29" y="112"/>
                    </a:cubicBezTo>
                    <a:cubicBezTo>
                      <a:pt x="28" y="112"/>
                      <a:pt x="29" y="113"/>
                      <a:pt x="29" y="113"/>
                    </a:cubicBezTo>
                    <a:cubicBezTo>
                      <a:pt x="29" y="115"/>
                      <a:pt x="28" y="115"/>
                      <a:pt x="28" y="116"/>
                    </a:cubicBezTo>
                    <a:cubicBezTo>
                      <a:pt x="27" y="117"/>
                      <a:pt x="27" y="118"/>
                      <a:pt x="27" y="119"/>
                    </a:cubicBezTo>
                    <a:cubicBezTo>
                      <a:pt x="27" y="119"/>
                      <a:pt x="26" y="121"/>
                      <a:pt x="26" y="121"/>
                    </a:cubicBezTo>
                    <a:cubicBezTo>
                      <a:pt x="25" y="121"/>
                      <a:pt x="23" y="120"/>
                      <a:pt x="22" y="120"/>
                    </a:cubicBezTo>
                    <a:cubicBezTo>
                      <a:pt x="20" y="120"/>
                      <a:pt x="19" y="120"/>
                      <a:pt x="18" y="121"/>
                    </a:cubicBezTo>
                    <a:cubicBezTo>
                      <a:pt x="16" y="122"/>
                      <a:pt x="14" y="123"/>
                      <a:pt x="13" y="125"/>
                    </a:cubicBezTo>
                    <a:cubicBezTo>
                      <a:pt x="12" y="126"/>
                      <a:pt x="12" y="126"/>
                      <a:pt x="11" y="127"/>
                    </a:cubicBezTo>
                    <a:cubicBezTo>
                      <a:pt x="11" y="128"/>
                      <a:pt x="11" y="128"/>
                      <a:pt x="10" y="129"/>
                    </a:cubicBezTo>
                    <a:cubicBezTo>
                      <a:pt x="10" y="129"/>
                      <a:pt x="9" y="131"/>
                      <a:pt x="9" y="132"/>
                    </a:cubicBezTo>
                    <a:cubicBezTo>
                      <a:pt x="9" y="133"/>
                      <a:pt x="10" y="133"/>
                      <a:pt x="10" y="134"/>
                    </a:cubicBezTo>
                    <a:cubicBezTo>
                      <a:pt x="11" y="135"/>
                      <a:pt x="11" y="136"/>
                      <a:pt x="11" y="137"/>
                    </a:cubicBezTo>
                    <a:cubicBezTo>
                      <a:pt x="12" y="138"/>
                      <a:pt x="13" y="139"/>
                      <a:pt x="12" y="140"/>
                    </a:cubicBezTo>
                    <a:cubicBezTo>
                      <a:pt x="12" y="141"/>
                      <a:pt x="11" y="141"/>
                      <a:pt x="11" y="142"/>
                    </a:cubicBezTo>
                    <a:cubicBezTo>
                      <a:pt x="10" y="142"/>
                      <a:pt x="10" y="142"/>
                      <a:pt x="10" y="142"/>
                    </a:cubicBezTo>
                    <a:cubicBezTo>
                      <a:pt x="9" y="143"/>
                      <a:pt x="9" y="143"/>
                      <a:pt x="9" y="143"/>
                    </a:cubicBezTo>
                    <a:cubicBezTo>
                      <a:pt x="8" y="143"/>
                      <a:pt x="8" y="143"/>
                      <a:pt x="8" y="143"/>
                    </a:cubicBezTo>
                    <a:cubicBezTo>
                      <a:pt x="7" y="144"/>
                      <a:pt x="7" y="145"/>
                      <a:pt x="7" y="147"/>
                    </a:cubicBezTo>
                    <a:cubicBezTo>
                      <a:pt x="6" y="148"/>
                      <a:pt x="5" y="150"/>
                      <a:pt x="4" y="150"/>
                    </a:cubicBezTo>
                    <a:cubicBezTo>
                      <a:pt x="4" y="151"/>
                      <a:pt x="3" y="151"/>
                      <a:pt x="3" y="151"/>
                    </a:cubicBezTo>
                    <a:cubicBezTo>
                      <a:pt x="2" y="152"/>
                      <a:pt x="2" y="152"/>
                      <a:pt x="2" y="153"/>
                    </a:cubicBezTo>
                    <a:cubicBezTo>
                      <a:pt x="1" y="153"/>
                      <a:pt x="0" y="153"/>
                      <a:pt x="0" y="153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95" name="Freeform 44">
                <a:extLst>
                  <a:ext uri="{FF2B5EF4-FFF2-40B4-BE49-F238E27FC236}">
                    <a16:creationId xmlns:a16="http://schemas.microsoft.com/office/drawing/2014/main" id="{DBCDC840-2419-4D66-A9C3-C23CD4256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188" y="6280150"/>
                <a:ext cx="52388" cy="61913"/>
              </a:xfrm>
              <a:custGeom>
                <a:avLst/>
                <a:gdLst/>
                <a:ahLst/>
                <a:cxnLst>
                  <a:cxn ang="0">
                    <a:pos x="23" y="23"/>
                  </a:cxn>
                  <a:cxn ang="0">
                    <a:pos x="17" y="16"/>
                  </a:cxn>
                  <a:cxn ang="0">
                    <a:pos x="17" y="8"/>
                  </a:cxn>
                  <a:cxn ang="0">
                    <a:pos x="12" y="3"/>
                  </a:cxn>
                  <a:cxn ang="0">
                    <a:pos x="12" y="12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2" y="27"/>
                  </a:cxn>
                  <a:cxn ang="0">
                    <a:pos x="6" y="22"/>
                  </a:cxn>
                  <a:cxn ang="0">
                    <a:pos x="8" y="28"/>
                  </a:cxn>
                  <a:cxn ang="0">
                    <a:pos x="13" y="31"/>
                  </a:cxn>
                  <a:cxn ang="0">
                    <a:pos x="26" y="32"/>
                  </a:cxn>
                  <a:cxn ang="0">
                    <a:pos x="25" y="23"/>
                  </a:cxn>
                  <a:cxn ang="0">
                    <a:pos x="23" y="23"/>
                  </a:cxn>
                </a:cxnLst>
                <a:rect l="0" t="0" r="r" b="b"/>
                <a:pathLst>
                  <a:path w="28" h="33">
                    <a:moveTo>
                      <a:pt x="23" y="23"/>
                    </a:moveTo>
                    <a:cubicBezTo>
                      <a:pt x="20" y="23"/>
                      <a:pt x="18" y="18"/>
                      <a:pt x="17" y="16"/>
                    </a:cubicBezTo>
                    <a:cubicBezTo>
                      <a:pt x="17" y="13"/>
                      <a:pt x="17" y="10"/>
                      <a:pt x="17" y="8"/>
                    </a:cubicBezTo>
                    <a:cubicBezTo>
                      <a:pt x="17" y="6"/>
                      <a:pt x="15" y="0"/>
                      <a:pt x="12" y="3"/>
                    </a:cubicBezTo>
                    <a:cubicBezTo>
                      <a:pt x="10" y="5"/>
                      <a:pt x="13" y="9"/>
                      <a:pt x="12" y="12"/>
                    </a:cubicBezTo>
                    <a:cubicBezTo>
                      <a:pt x="11" y="13"/>
                      <a:pt x="9" y="14"/>
                      <a:pt x="7" y="14"/>
                    </a:cubicBezTo>
                    <a:cubicBezTo>
                      <a:pt x="4" y="15"/>
                      <a:pt x="3" y="16"/>
                      <a:pt x="2" y="20"/>
                    </a:cubicBezTo>
                    <a:cubicBezTo>
                      <a:pt x="1" y="22"/>
                      <a:pt x="0" y="27"/>
                      <a:pt x="2" y="27"/>
                    </a:cubicBezTo>
                    <a:cubicBezTo>
                      <a:pt x="5" y="27"/>
                      <a:pt x="6" y="24"/>
                      <a:pt x="6" y="22"/>
                    </a:cubicBezTo>
                    <a:cubicBezTo>
                      <a:pt x="7" y="24"/>
                      <a:pt x="7" y="27"/>
                      <a:pt x="8" y="28"/>
                    </a:cubicBezTo>
                    <a:cubicBezTo>
                      <a:pt x="9" y="30"/>
                      <a:pt x="11" y="30"/>
                      <a:pt x="13" y="31"/>
                    </a:cubicBezTo>
                    <a:cubicBezTo>
                      <a:pt x="17" y="32"/>
                      <a:pt x="22" y="33"/>
                      <a:pt x="26" y="32"/>
                    </a:cubicBezTo>
                    <a:cubicBezTo>
                      <a:pt x="27" y="30"/>
                      <a:pt x="28" y="24"/>
                      <a:pt x="25" y="23"/>
                    </a:cubicBezTo>
                    <a:lnTo>
                      <a:pt x="23" y="2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96" name="Freeform 45">
                <a:extLst>
                  <a:ext uri="{FF2B5EF4-FFF2-40B4-BE49-F238E27FC236}">
                    <a16:creationId xmlns:a16="http://schemas.microsoft.com/office/drawing/2014/main" id="{D5E1B044-C9CC-4A69-BA67-AE5E52FFD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5763" y="6359525"/>
                <a:ext cx="38100" cy="42863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3" y="2"/>
                  </a:cxn>
                  <a:cxn ang="0">
                    <a:pos x="1" y="11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3" y="23"/>
                  </a:cxn>
                  <a:cxn ang="0">
                    <a:pos x="14" y="20"/>
                  </a:cxn>
                  <a:cxn ang="0">
                    <a:pos x="19" y="20"/>
                  </a:cxn>
                  <a:cxn ang="0">
                    <a:pos x="12" y="8"/>
                  </a:cxn>
                  <a:cxn ang="0">
                    <a:pos x="10" y="7"/>
                  </a:cxn>
                </a:cxnLst>
                <a:rect l="0" t="0" r="r" b="b"/>
                <a:pathLst>
                  <a:path w="21" h="23">
                    <a:moveTo>
                      <a:pt x="10" y="7"/>
                    </a:moveTo>
                    <a:cubicBezTo>
                      <a:pt x="8" y="5"/>
                      <a:pt x="6" y="0"/>
                      <a:pt x="3" y="2"/>
                    </a:cubicBezTo>
                    <a:cubicBezTo>
                      <a:pt x="0" y="3"/>
                      <a:pt x="1" y="9"/>
                      <a:pt x="1" y="11"/>
                    </a:cubicBezTo>
                    <a:cubicBezTo>
                      <a:pt x="2" y="13"/>
                      <a:pt x="3" y="16"/>
                      <a:pt x="4" y="18"/>
                    </a:cubicBezTo>
                    <a:cubicBezTo>
                      <a:pt x="5" y="21"/>
                      <a:pt x="5" y="21"/>
                      <a:pt x="8" y="22"/>
                    </a:cubicBezTo>
                    <a:cubicBezTo>
                      <a:pt x="9" y="22"/>
                      <a:pt x="12" y="23"/>
                      <a:pt x="13" y="23"/>
                    </a:cubicBezTo>
                    <a:cubicBezTo>
                      <a:pt x="13" y="22"/>
                      <a:pt x="13" y="21"/>
                      <a:pt x="14" y="20"/>
                    </a:cubicBezTo>
                    <a:cubicBezTo>
                      <a:pt x="16" y="20"/>
                      <a:pt x="17" y="23"/>
                      <a:pt x="19" y="20"/>
                    </a:cubicBezTo>
                    <a:cubicBezTo>
                      <a:pt x="21" y="16"/>
                      <a:pt x="15" y="10"/>
                      <a:pt x="12" y="8"/>
                    </a:cubicBezTo>
                    <a:lnTo>
                      <a:pt x="10" y="7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97" name="Freeform 46">
                <a:extLst>
                  <a:ext uri="{FF2B5EF4-FFF2-40B4-BE49-F238E27FC236}">
                    <a16:creationId xmlns:a16="http://schemas.microsoft.com/office/drawing/2014/main" id="{8838FA23-A936-4D5C-ACED-0B32D55F33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2325" y="6384925"/>
                <a:ext cx="31750" cy="39688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1" y="1"/>
                  </a:cxn>
                  <a:cxn ang="0">
                    <a:pos x="7" y="12"/>
                  </a:cxn>
                  <a:cxn ang="0">
                    <a:pos x="16" y="21"/>
                  </a:cxn>
                  <a:cxn ang="0">
                    <a:pos x="15" y="14"/>
                  </a:cxn>
                  <a:cxn ang="0">
                    <a:pos x="10" y="7"/>
                  </a:cxn>
                  <a:cxn ang="0">
                    <a:pos x="10" y="6"/>
                  </a:cxn>
                </a:cxnLst>
                <a:rect l="0" t="0" r="r" b="b"/>
                <a:pathLst>
                  <a:path w="17" h="21">
                    <a:moveTo>
                      <a:pt x="10" y="6"/>
                    </a:moveTo>
                    <a:cubicBezTo>
                      <a:pt x="11" y="3"/>
                      <a:pt x="5" y="0"/>
                      <a:pt x="1" y="1"/>
                    </a:cubicBezTo>
                    <a:cubicBezTo>
                      <a:pt x="0" y="5"/>
                      <a:pt x="4" y="9"/>
                      <a:pt x="7" y="12"/>
                    </a:cubicBezTo>
                    <a:cubicBezTo>
                      <a:pt x="9" y="15"/>
                      <a:pt x="13" y="20"/>
                      <a:pt x="16" y="21"/>
                    </a:cubicBezTo>
                    <a:cubicBezTo>
                      <a:pt x="17" y="19"/>
                      <a:pt x="16" y="16"/>
                      <a:pt x="15" y="14"/>
                    </a:cubicBezTo>
                    <a:cubicBezTo>
                      <a:pt x="14" y="13"/>
                      <a:pt x="12" y="8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98" name="Freeform 47">
                <a:extLst>
                  <a:ext uri="{FF2B5EF4-FFF2-40B4-BE49-F238E27FC236}">
                    <a16:creationId xmlns:a16="http://schemas.microsoft.com/office/drawing/2014/main" id="{EC7B39B4-5C48-410B-8AB5-A09DBA7DF9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0425" y="6432550"/>
                <a:ext cx="31750" cy="15875"/>
              </a:xfrm>
              <a:custGeom>
                <a:avLst/>
                <a:gdLst/>
                <a:ahLst/>
                <a:cxnLst>
                  <a:cxn ang="0">
                    <a:pos x="10" y="3"/>
                  </a:cxn>
                  <a:cxn ang="0">
                    <a:pos x="1" y="1"/>
                  </a:cxn>
                  <a:cxn ang="0">
                    <a:pos x="11" y="8"/>
                  </a:cxn>
                  <a:cxn ang="0">
                    <a:pos x="7" y="1"/>
                  </a:cxn>
                  <a:cxn ang="0">
                    <a:pos x="10" y="3"/>
                  </a:cxn>
                </a:cxnLst>
                <a:rect l="0" t="0" r="r" b="b"/>
                <a:pathLst>
                  <a:path w="17" h="9">
                    <a:moveTo>
                      <a:pt x="10" y="3"/>
                    </a:moveTo>
                    <a:cubicBezTo>
                      <a:pt x="7" y="2"/>
                      <a:pt x="4" y="0"/>
                      <a:pt x="1" y="1"/>
                    </a:cubicBezTo>
                    <a:cubicBezTo>
                      <a:pt x="0" y="6"/>
                      <a:pt x="6" y="9"/>
                      <a:pt x="11" y="8"/>
                    </a:cubicBezTo>
                    <a:cubicBezTo>
                      <a:pt x="17" y="8"/>
                      <a:pt x="11" y="1"/>
                      <a:pt x="7" y="1"/>
                    </a:cubicBezTo>
                    <a:lnTo>
                      <a:pt x="10" y="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99" name="Freeform 48">
                <a:extLst>
                  <a:ext uri="{FF2B5EF4-FFF2-40B4-BE49-F238E27FC236}">
                    <a16:creationId xmlns:a16="http://schemas.microsoft.com/office/drawing/2014/main" id="{776FF8BF-4A56-4883-9819-898F0FC7C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4238" y="6497638"/>
                <a:ext cx="22225" cy="36513"/>
              </a:xfrm>
              <a:custGeom>
                <a:avLst/>
                <a:gdLst/>
                <a:ahLst/>
                <a:cxnLst>
                  <a:cxn ang="0">
                    <a:pos x="12" y="1"/>
                  </a:cxn>
                  <a:cxn ang="0">
                    <a:pos x="1" y="3"/>
                  </a:cxn>
                  <a:cxn ang="0">
                    <a:pos x="1" y="10"/>
                  </a:cxn>
                  <a:cxn ang="0">
                    <a:pos x="11" y="19"/>
                  </a:cxn>
                  <a:cxn ang="0">
                    <a:pos x="12" y="5"/>
                  </a:cxn>
                  <a:cxn ang="0">
                    <a:pos x="12" y="1"/>
                  </a:cxn>
                </a:cxnLst>
                <a:rect l="0" t="0" r="r" b="b"/>
                <a:pathLst>
                  <a:path w="12" h="20">
                    <a:moveTo>
                      <a:pt x="12" y="1"/>
                    </a:moveTo>
                    <a:cubicBezTo>
                      <a:pt x="8" y="1"/>
                      <a:pt x="3" y="0"/>
                      <a:pt x="1" y="3"/>
                    </a:cubicBezTo>
                    <a:cubicBezTo>
                      <a:pt x="0" y="5"/>
                      <a:pt x="0" y="8"/>
                      <a:pt x="1" y="10"/>
                    </a:cubicBezTo>
                    <a:cubicBezTo>
                      <a:pt x="2" y="13"/>
                      <a:pt x="7" y="20"/>
                      <a:pt x="11" y="19"/>
                    </a:cubicBezTo>
                    <a:cubicBezTo>
                      <a:pt x="12" y="14"/>
                      <a:pt x="12" y="10"/>
                      <a:pt x="12" y="5"/>
                    </a:cubicBezTo>
                    <a:lnTo>
                      <a:pt x="12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00" name="Freeform 49">
                <a:extLst>
                  <a:ext uri="{FF2B5EF4-FFF2-40B4-BE49-F238E27FC236}">
                    <a16:creationId xmlns:a16="http://schemas.microsoft.com/office/drawing/2014/main" id="{2E29C341-BDFB-461B-8221-94D60C9E05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9313" y="6503988"/>
                <a:ext cx="17463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0" y="11"/>
                  </a:cxn>
                  <a:cxn ang="0">
                    <a:pos x="8" y="14"/>
                  </a:cxn>
                  <a:cxn ang="0">
                    <a:pos x="9" y="4"/>
                  </a:cxn>
                  <a:cxn ang="0">
                    <a:pos x="10" y="0"/>
                  </a:cxn>
                </a:cxnLst>
                <a:rect l="0" t="0" r="r" b="b"/>
                <a:pathLst>
                  <a:path w="10" h="15">
                    <a:moveTo>
                      <a:pt x="10" y="0"/>
                    </a:moveTo>
                    <a:cubicBezTo>
                      <a:pt x="7" y="0"/>
                      <a:pt x="0" y="8"/>
                      <a:pt x="0" y="11"/>
                    </a:cubicBezTo>
                    <a:cubicBezTo>
                      <a:pt x="0" y="15"/>
                      <a:pt x="5" y="14"/>
                      <a:pt x="8" y="14"/>
                    </a:cubicBezTo>
                    <a:cubicBezTo>
                      <a:pt x="8" y="11"/>
                      <a:pt x="9" y="7"/>
                      <a:pt x="9" y="4"/>
                    </a:cubicBezTo>
                    <a:lnTo>
                      <a:pt x="1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01" name="Freeform 50">
                <a:extLst>
                  <a:ext uri="{FF2B5EF4-FFF2-40B4-BE49-F238E27FC236}">
                    <a16:creationId xmlns:a16="http://schemas.microsoft.com/office/drawing/2014/main" id="{C6E2688A-A871-4613-9F01-CF7C67BC5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0875" y="6650038"/>
                <a:ext cx="273050" cy="58738"/>
              </a:xfrm>
              <a:custGeom>
                <a:avLst/>
                <a:gdLst/>
                <a:ahLst/>
                <a:cxnLst>
                  <a:cxn ang="0">
                    <a:pos x="116" y="7"/>
                  </a:cxn>
                  <a:cxn ang="0">
                    <a:pos x="95" y="5"/>
                  </a:cxn>
                  <a:cxn ang="0">
                    <a:pos x="67" y="4"/>
                  </a:cxn>
                  <a:cxn ang="0">
                    <a:pos x="57" y="3"/>
                  </a:cxn>
                  <a:cxn ang="0">
                    <a:pos x="37" y="1"/>
                  </a:cxn>
                  <a:cxn ang="0">
                    <a:pos x="22" y="0"/>
                  </a:cxn>
                  <a:cxn ang="0">
                    <a:pos x="5" y="3"/>
                  </a:cxn>
                  <a:cxn ang="0">
                    <a:pos x="1" y="8"/>
                  </a:cxn>
                  <a:cxn ang="0">
                    <a:pos x="13" y="13"/>
                  </a:cxn>
                  <a:cxn ang="0">
                    <a:pos x="41" y="15"/>
                  </a:cxn>
                  <a:cxn ang="0">
                    <a:pos x="57" y="16"/>
                  </a:cxn>
                  <a:cxn ang="0">
                    <a:pos x="65" y="19"/>
                  </a:cxn>
                  <a:cxn ang="0">
                    <a:pos x="68" y="25"/>
                  </a:cxn>
                  <a:cxn ang="0">
                    <a:pos x="71" y="30"/>
                  </a:cxn>
                  <a:cxn ang="0">
                    <a:pos x="76" y="31"/>
                  </a:cxn>
                  <a:cxn ang="0">
                    <a:pos x="93" y="28"/>
                  </a:cxn>
                  <a:cxn ang="0">
                    <a:pos x="127" y="27"/>
                  </a:cxn>
                  <a:cxn ang="0">
                    <a:pos x="142" y="25"/>
                  </a:cxn>
                  <a:cxn ang="0">
                    <a:pos x="146" y="22"/>
                  </a:cxn>
                  <a:cxn ang="0">
                    <a:pos x="139" y="15"/>
                  </a:cxn>
                  <a:cxn ang="0">
                    <a:pos x="123" y="8"/>
                  </a:cxn>
                  <a:cxn ang="0">
                    <a:pos x="116" y="7"/>
                  </a:cxn>
                </a:cxnLst>
                <a:rect l="0" t="0" r="r" b="b"/>
                <a:pathLst>
                  <a:path w="146" h="31">
                    <a:moveTo>
                      <a:pt x="116" y="7"/>
                    </a:moveTo>
                    <a:cubicBezTo>
                      <a:pt x="109" y="5"/>
                      <a:pt x="102" y="5"/>
                      <a:pt x="95" y="5"/>
                    </a:cubicBezTo>
                    <a:cubicBezTo>
                      <a:pt x="86" y="5"/>
                      <a:pt x="77" y="4"/>
                      <a:pt x="67" y="4"/>
                    </a:cubicBezTo>
                    <a:cubicBezTo>
                      <a:pt x="64" y="3"/>
                      <a:pt x="60" y="3"/>
                      <a:pt x="57" y="3"/>
                    </a:cubicBezTo>
                    <a:cubicBezTo>
                      <a:pt x="50" y="3"/>
                      <a:pt x="44" y="1"/>
                      <a:pt x="37" y="1"/>
                    </a:cubicBezTo>
                    <a:cubicBezTo>
                      <a:pt x="32" y="0"/>
                      <a:pt x="27" y="1"/>
                      <a:pt x="22" y="0"/>
                    </a:cubicBezTo>
                    <a:cubicBezTo>
                      <a:pt x="16" y="0"/>
                      <a:pt x="10" y="0"/>
                      <a:pt x="5" y="3"/>
                    </a:cubicBezTo>
                    <a:cubicBezTo>
                      <a:pt x="3" y="4"/>
                      <a:pt x="0" y="5"/>
                      <a:pt x="1" y="8"/>
                    </a:cubicBezTo>
                    <a:cubicBezTo>
                      <a:pt x="3" y="11"/>
                      <a:pt x="11" y="12"/>
                      <a:pt x="13" y="13"/>
                    </a:cubicBezTo>
                    <a:cubicBezTo>
                      <a:pt x="22" y="14"/>
                      <a:pt x="31" y="14"/>
                      <a:pt x="41" y="15"/>
                    </a:cubicBezTo>
                    <a:cubicBezTo>
                      <a:pt x="46" y="15"/>
                      <a:pt x="52" y="15"/>
                      <a:pt x="57" y="16"/>
                    </a:cubicBezTo>
                    <a:cubicBezTo>
                      <a:pt x="59" y="17"/>
                      <a:pt x="64" y="18"/>
                      <a:pt x="65" y="19"/>
                    </a:cubicBezTo>
                    <a:cubicBezTo>
                      <a:pt x="67" y="21"/>
                      <a:pt x="67" y="23"/>
                      <a:pt x="68" y="25"/>
                    </a:cubicBezTo>
                    <a:cubicBezTo>
                      <a:pt x="68" y="27"/>
                      <a:pt x="69" y="30"/>
                      <a:pt x="71" y="30"/>
                    </a:cubicBezTo>
                    <a:cubicBezTo>
                      <a:pt x="72" y="31"/>
                      <a:pt x="75" y="31"/>
                      <a:pt x="76" y="31"/>
                    </a:cubicBezTo>
                    <a:cubicBezTo>
                      <a:pt x="82" y="30"/>
                      <a:pt x="88" y="28"/>
                      <a:pt x="93" y="28"/>
                    </a:cubicBezTo>
                    <a:cubicBezTo>
                      <a:pt x="104" y="27"/>
                      <a:pt x="116" y="27"/>
                      <a:pt x="127" y="27"/>
                    </a:cubicBezTo>
                    <a:cubicBezTo>
                      <a:pt x="132" y="27"/>
                      <a:pt x="137" y="27"/>
                      <a:pt x="142" y="25"/>
                    </a:cubicBezTo>
                    <a:cubicBezTo>
                      <a:pt x="143" y="25"/>
                      <a:pt x="145" y="23"/>
                      <a:pt x="146" y="22"/>
                    </a:cubicBezTo>
                    <a:cubicBezTo>
                      <a:pt x="146" y="19"/>
                      <a:pt x="140" y="16"/>
                      <a:pt x="139" y="15"/>
                    </a:cubicBezTo>
                    <a:cubicBezTo>
                      <a:pt x="134" y="12"/>
                      <a:pt x="129" y="10"/>
                      <a:pt x="123" y="8"/>
                    </a:cubicBezTo>
                    <a:lnTo>
                      <a:pt x="116" y="7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02" name="Freeform 51">
                <a:extLst>
                  <a:ext uri="{FF2B5EF4-FFF2-40B4-BE49-F238E27FC236}">
                    <a16:creationId xmlns:a16="http://schemas.microsoft.com/office/drawing/2014/main" id="{AB5A18F2-8ACF-4479-9158-1B9ACC1DF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2975" y="6275388"/>
                <a:ext cx="39688" cy="76200"/>
              </a:xfrm>
              <a:custGeom>
                <a:avLst/>
                <a:gdLst/>
                <a:ahLst/>
                <a:cxnLst>
                  <a:cxn ang="0">
                    <a:pos x="17" y="12"/>
                  </a:cxn>
                  <a:cxn ang="0">
                    <a:pos x="1" y="5"/>
                  </a:cxn>
                  <a:cxn ang="0">
                    <a:pos x="0" y="10"/>
                  </a:cxn>
                  <a:cxn ang="0">
                    <a:pos x="2" y="17"/>
                  </a:cxn>
                  <a:cxn ang="0">
                    <a:pos x="7" y="22"/>
                  </a:cxn>
                  <a:cxn ang="0">
                    <a:pos x="4" y="25"/>
                  </a:cxn>
                  <a:cxn ang="0">
                    <a:pos x="1" y="31"/>
                  </a:cxn>
                  <a:cxn ang="0">
                    <a:pos x="8" y="36"/>
                  </a:cxn>
                  <a:cxn ang="0">
                    <a:pos x="13" y="41"/>
                  </a:cxn>
                  <a:cxn ang="0">
                    <a:pos x="15" y="34"/>
                  </a:cxn>
                  <a:cxn ang="0">
                    <a:pos x="19" y="25"/>
                  </a:cxn>
                  <a:cxn ang="0">
                    <a:pos x="16" y="13"/>
                  </a:cxn>
                  <a:cxn ang="0">
                    <a:pos x="17" y="12"/>
                  </a:cxn>
                </a:cxnLst>
                <a:rect l="0" t="0" r="r" b="b"/>
                <a:pathLst>
                  <a:path w="22" h="41">
                    <a:moveTo>
                      <a:pt x="17" y="12"/>
                    </a:moveTo>
                    <a:cubicBezTo>
                      <a:pt x="14" y="9"/>
                      <a:pt x="6" y="0"/>
                      <a:pt x="1" y="5"/>
                    </a:cubicBezTo>
                    <a:cubicBezTo>
                      <a:pt x="0" y="7"/>
                      <a:pt x="0" y="9"/>
                      <a:pt x="0" y="10"/>
                    </a:cubicBezTo>
                    <a:cubicBezTo>
                      <a:pt x="0" y="13"/>
                      <a:pt x="1" y="15"/>
                      <a:pt x="2" y="17"/>
                    </a:cubicBezTo>
                    <a:cubicBezTo>
                      <a:pt x="3" y="18"/>
                      <a:pt x="6" y="20"/>
                      <a:pt x="7" y="22"/>
                    </a:cubicBezTo>
                    <a:cubicBezTo>
                      <a:pt x="8" y="25"/>
                      <a:pt x="6" y="24"/>
                      <a:pt x="4" y="25"/>
                    </a:cubicBezTo>
                    <a:cubicBezTo>
                      <a:pt x="1" y="26"/>
                      <a:pt x="1" y="28"/>
                      <a:pt x="1" y="31"/>
                    </a:cubicBezTo>
                    <a:cubicBezTo>
                      <a:pt x="2" y="35"/>
                      <a:pt x="5" y="34"/>
                      <a:pt x="8" y="36"/>
                    </a:cubicBezTo>
                    <a:cubicBezTo>
                      <a:pt x="10" y="38"/>
                      <a:pt x="10" y="41"/>
                      <a:pt x="13" y="41"/>
                    </a:cubicBezTo>
                    <a:cubicBezTo>
                      <a:pt x="15" y="40"/>
                      <a:pt x="15" y="36"/>
                      <a:pt x="15" y="34"/>
                    </a:cubicBezTo>
                    <a:cubicBezTo>
                      <a:pt x="15" y="29"/>
                      <a:pt x="17" y="28"/>
                      <a:pt x="19" y="25"/>
                    </a:cubicBezTo>
                    <a:cubicBezTo>
                      <a:pt x="22" y="21"/>
                      <a:pt x="22" y="14"/>
                      <a:pt x="16" y="13"/>
                    </a:cubicBezTo>
                    <a:lnTo>
                      <a:pt x="17" y="1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03" name="Freeform 52">
                <a:extLst>
                  <a:ext uri="{FF2B5EF4-FFF2-40B4-BE49-F238E27FC236}">
                    <a16:creationId xmlns:a16="http://schemas.microsoft.com/office/drawing/2014/main" id="{6D0AAF5B-B719-4793-9337-CF9BC781DA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2975" y="6175375"/>
                <a:ext cx="87313" cy="68263"/>
              </a:xfrm>
              <a:custGeom>
                <a:avLst/>
                <a:gdLst/>
                <a:ahLst/>
                <a:cxnLst>
                  <a:cxn ang="0">
                    <a:pos x="39" y="6"/>
                  </a:cxn>
                  <a:cxn ang="0">
                    <a:pos x="35" y="5"/>
                  </a:cxn>
                  <a:cxn ang="0">
                    <a:pos x="25" y="0"/>
                  </a:cxn>
                  <a:cxn ang="0">
                    <a:pos x="19" y="3"/>
                  </a:cxn>
                  <a:cxn ang="0">
                    <a:pos x="16" y="5"/>
                  </a:cxn>
                  <a:cxn ang="0">
                    <a:pos x="5" y="9"/>
                  </a:cxn>
                  <a:cxn ang="0">
                    <a:pos x="0" y="14"/>
                  </a:cxn>
                  <a:cxn ang="0">
                    <a:pos x="6" y="20"/>
                  </a:cxn>
                  <a:cxn ang="0">
                    <a:pos x="10" y="23"/>
                  </a:cxn>
                  <a:cxn ang="0">
                    <a:pos x="12" y="22"/>
                  </a:cxn>
                  <a:cxn ang="0">
                    <a:pos x="31" y="22"/>
                  </a:cxn>
                  <a:cxn ang="0">
                    <a:pos x="20" y="30"/>
                  </a:cxn>
                  <a:cxn ang="0">
                    <a:pos x="33" y="33"/>
                  </a:cxn>
                  <a:cxn ang="0">
                    <a:pos x="39" y="34"/>
                  </a:cxn>
                  <a:cxn ang="0">
                    <a:pos x="43" y="35"/>
                  </a:cxn>
                  <a:cxn ang="0">
                    <a:pos x="45" y="27"/>
                  </a:cxn>
                  <a:cxn ang="0">
                    <a:pos x="40" y="25"/>
                  </a:cxn>
                  <a:cxn ang="0">
                    <a:pos x="39" y="21"/>
                  </a:cxn>
                  <a:cxn ang="0">
                    <a:pos x="37" y="16"/>
                  </a:cxn>
                  <a:cxn ang="0">
                    <a:pos x="34" y="11"/>
                  </a:cxn>
                  <a:cxn ang="0">
                    <a:pos x="34" y="5"/>
                  </a:cxn>
                  <a:cxn ang="0">
                    <a:pos x="39" y="6"/>
                  </a:cxn>
                </a:cxnLst>
                <a:rect l="0" t="0" r="r" b="b"/>
                <a:pathLst>
                  <a:path w="47" h="36">
                    <a:moveTo>
                      <a:pt x="39" y="6"/>
                    </a:moveTo>
                    <a:cubicBezTo>
                      <a:pt x="38" y="6"/>
                      <a:pt x="37" y="6"/>
                      <a:pt x="35" y="5"/>
                    </a:cubicBezTo>
                    <a:cubicBezTo>
                      <a:pt x="32" y="2"/>
                      <a:pt x="29" y="1"/>
                      <a:pt x="25" y="0"/>
                    </a:cubicBezTo>
                    <a:cubicBezTo>
                      <a:pt x="22" y="0"/>
                      <a:pt x="21" y="1"/>
                      <a:pt x="19" y="3"/>
                    </a:cubicBezTo>
                    <a:cubicBezTo>
                      <a:pt x="18" y="4"/>
                      <a:pt x="17" y="5"/>
                      <a:pt x="16" y="5"/>
                    </a:cubicBezTo>
                    <a:cubicBezTo>
                      <a:pt x="13" y="8"/>
                      <a:pt x="8" y="9"/>
                      <a:pt x="5" y="9"/>
                    </a:cubicBezTo>
                    <a:cubicBezTo>
                      <a:pt x="1" y="10"/>
                      <a:pt x="0" y="10"/>
                      <a:pt x="0" y="14"/>
                    </a:cubicBezTo>
                    <a:cubicBezTo>
                      <a:pt x="0" y="18"/>
                      <a:pt x="2" y="19"/>
                      <a:pt x="6" y="20"/>
                    </a:cubicBezTo>
                    <a:cubicBezTo>
                      <a:pt x="7" y="21"/>
                      <a:pt x="8" y="23"/>
                      <a:pt x="10" y="23"/>
                    </a:cubicBezTo>
                    <a:cubicBezTo>
                      <a:pt x="11" y="23"/>
                      <a:pt x="11" y="23"/>
                      <a:pt x="12" y="22"/>
                    </a:cubicBezTo>
                    <a:cubicBezTo>
                      <a:pt x="17" y="19"/>
                      <a:pt x="27" y="16"/>
                      <a:pt x="31" y="22"/>
                    </a:cubicBezTo>
                    <a:cubicBezTo>
                      <a:pt x="26" y="24"/>
                      <a:pt x="20" y="23"/>
                      <a:pt x="20" y="30"/>
                    </a:cubicBezTo>
                    <a:cubicBezTo>
                      <a:pt x="25" y="32"/>
                      <a:pt x="28" y="33"/>
                      <a:pt x="33" y="33"/>
                    </a:cubicBezTo>
                    <a:cubicBezTo>
                      <a:pt x="35" y="33"/>
                      <a:pt x="37" y="33"/>
                      <a:pt x="39" y="34"/>
                    </a:cubicBezTo>
                    <a:cubicBezTo>
                      <a:pt x="40" y="35"/>
                      <a:pt x="40" y="36"/>
                      <a:pt x="43" y="35"/>
                    </a:cubicBezTo>
                    <a:cubicBezTo>
                      <a:pt x="46" y="34"/>
                      <a:pt x="47" y="29"/>
                      <a:pt x="45" y="27"/>
                    </a:cubicBezTo>
                    <a:cubicBezTo>
                      <a:pt x="43" y="25"/>
                      <a:pt x="41" y="26"/>
                      <a:pt x="40" y="25"/>
                    </a:cubicBezTo>
                    <a:cubicBezTo>
                      <a:pt x="39" y="24"/>
                      <a:pt x="39" y="22"/>
                      <a:pt x="39" y="21"/>
                    </a:cubicBezTo>
                    <a:cubicBezTo>
                      <a:pt x="39" y="19"/>
                      <a:pt x="37" y="18"/>
                      <a:pt x="37" y="16"/>
                    </a:cubicBezTo>
                    <a:cubicBezTo>
                      <a:pt x="36" y="14"/>
                      <a:pt x="35" y="13"/>
                      <a:pt x="34" y="11"/>
                    </a:cubicBezTo>
                    <a:cubicBezTo>
                      <a:pt x="33" y="9"/>
                      <a:pt x="34" y="7"/>
                      <a:pt x="34" y="5"/>
                    </a:cubicBezTo>
                    <a:lnTo>
                      <a:pt x="39" y="6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04" name="Freeform 53">
                <a:extLst>
                  <a:ext uri="{FF2B5EF4-FFF2-40B4-BE49-F238E27FC236}">
                    <a16:creationId xmlns:a16="http://schemas.microsoft.com/office/drawing/2014/main" id="{60A54826-6BB1-4D8B-BF54-6AE85C6A88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475" y="6632575"/>
                <a:ext cx="69850" cy="68263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15" y="7"/>
                  </a:cxn>
                  <a:cxn ang="0">
                    <a:pos x="12" y="11"/>
                  </a:cxn>
                  <a:cxn ang="0">
                    <a:pos x="12" y="13"/>
                  </a:cxn>
                  <a:cxn ang="0">
                    <a:pos x="3" y="21"/>
                  </a:cxn>
                  <a:cxn ang="0">
                    <a:pos x="7" y="24"/>
                  </a:cxn>
                  <a:cxn ang="0">
                    <a:pos x="11" y="28"/>
                  </a:cxn>
                  <a:cxn ang="0">
                    <a:pos x="12" y="31"/>
                  </a:cxn>
                  <a:cxn ang="0">
                    <a:pos x="14" y="31"/>
                  </a:cxn>
                  <a:cxn ang="0">
                    <a:pos x="17" y="35"/>
                  </a:cxn>
                  <a:cxn ang="0">
                    <a:pos x="22" y="23"/>
                  </a:cxn>
                  <a:cxn ang="0">
                    <a:pos x="33" y="11"/>
                  </a:cxn>
                  <a:cxn ang="0">
                    <a:pos x="33" y="3"/>
                  </a:cxn>
                  <a:cxn ang="0">
                    <a:pos x="23" y="6"/>
                  </a:cxn>
                  <a:cxn ang="0">
                    <a:pos x="27" y="0"/>
                  </a:cxn>
                </a:cxnLst>
                <a:rect l="0" t="0" r="r" b="b"/>
                <a:pathLst>
                  <a:path w="38" h="37">
                    <a:moveTo>
                      <a:pt x="27" y="0"/>
                    </a:moveTo>
                    <a:cubicBezTo>
                      <a:pt x="23" y="2"/>
                      <a:pt x="18" y="4"/>
                      <a:pt x="15" y="7"/>
                    </a:cubicBezTo>
                    <a:cubicBezTo>
                      <a:pt x="14" y="8"/>
                      <a:pt x="13" y="9"/>
                      <a:pt x="12" y="11"/>
                    </a:cubicBezTo>
                    <a:cubicBezTo>
                      <a:pt x="12" y="12"/>
                      <a:pt x="13" y="12"/>
                      <a:pt x="12" y="13"/>
                    </a:cubicBezTo>
                    <a:cubicBezTo>
                      <a:pt x="11" y="16"/>
                      <a:pt x="0" y="17"/>
                      <a:pt x="3" y="21"/>
                    </a:cubicBezTo>
                    <a:cubicBezTo>
                      <a:pt x="4" y="22"/>
                      <a:pt x="6" y="23"/>
                      <a:pt x="7" y="24"/>
                    </a:cubicBezTo>
                    <a:cubicBezTo>
                      <a:pt x="9" y="25"/>
                      <a:pt x="9" y="25"/>
                      <a:pt x="11" y="28"/>
                    </a:cubicBezTo>
                    <a:cubicBezTo>
                      <a:pt x="11" y="29"/>
                      <a:pt x="12" y="30"/>
                      <a:pt x="12" y="31"/>
                    </a:cubicBezTo>
                    <a:cubicBezTo>
                      <a:pt x="13" y="31"/>
                      <a:pt x="14" y="31"/>
                      <a:pt x="14" y="31"/>
                    </a:cubicBezTo>
                    <a:cubicBezTo>
                      <a:pt x="15" y="33"/>
                      <a:pt x="15" y="35"/>
                      <a:pt x="17" y="35"/>
                    </a:cubicBezTo>
                    <a:cubicBezTo>
                      <a:pt x="20" y="37"/>
                      <a:pt x="22" y="25"/>
                      <a:pt x="22" y="23"/>
                    </a:cubicBezTo>
                    <a:cubicBezTo>
                      <a:pt x="24" y="18"/>
                      <a:pt x="30" y="15"/>
                      <a:pt x="33" y="11"/>
                    </a:cubicBezTo>
                    <a:cubicBezTo>
                      <a:pt x="35" y="8"/>
                      <a:pt x="38" y="4"/>
                      <a:pt x="33" y="3"/>
                    </a:cubicBezTo>
                    <a:cubicBezTo>
                      <a:pt x="31" y="2"/>
                      <a:pt x="22" y="1"/>
                      <a:pt x="23" y="6"/>
                    </a:cubicBezTo>
                    <a:lnTo>
                      <a:pt x="27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05" name="Freeform 54">
                <a:extLst>
                  <a:ext uri="{FF2B5EF4-FFF2-40B4-BE49-F238E27FC236}">
                    <a16:creationId xmlns:a16="http://schemas.microsoft.com/office/drawing/2014/main" id="{6FCFBAF4-1C4E-4152-9297-7D9A4FE3C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5688" y="6553200"/>
                <a:ext cx="42863" cy="31750"/>
              </a:xfrm>
              <a:custGeom>
                <a:avLst/>
                <a:gdLst/>
                <a:ahLst/>
                <a:cxnLst>
                  <a:cxn ang="0">
                    <a:pos x="21" y="2"/>
                  </a:cxn>
                  <a:cxn ang="0">
                    <a:pos x="5" y="7"/>
                  </a:cxn>
                  <a:cxn ang="0">
                    <a:pos x="3" y="15"/>
                  </a:cxn>
                  <a:cxn ang="0">
                    <a:pos x="18" y="5"/>
                  </a:cxn>
                  <a:cxn ang="0">
                    <a:pos x="22" y="3"/>
                  </a:cxn>
                  <a:cxn ang="0">
                    <a:pos x="23" y="0"/>
                  </a:cxn>
                  <a:cxn ang="0">
                    <a:pos x="21" y="2"/>
                  </a:cxn>
                </a:cxnLst>
                <a:rect l="0" t="0" r="r" b="b"/>
                <a:pathLst>
                  <a:path w="23" h="17">
                    <a:moveTo>
                      <a:pt x="21" y="2"/>
                    </a:moveTo>
                    <a:cubicBezTo>
                      <a:pt x="16" y="1"/>
                      <a:pt x="8" y="4"/>
                      <a:pt x="5" y="7"/>
                    </a:cubicBezTo>
                    <a:cubicBezTo>
                      <a:pt x="3" y="9"/>
                      <a:pt x="0" y="13"/>
                      <a:pt x="3" y="15"/>
                    </a:cubicBezTo>
                    <a:cubicBezTo>
                      <a:pt x="8" y="17"/>
                      <a:pt x="16" y="8"/>
                      <a:pt x="18" y="5"/>
                    </a:cubicBezTo>
                    <a:cubicBezTo>
                      <a:pt x="19" y="4"/>
                      <a:pt x="22" y="4"/>
                      <a:pt x="22" y="3"/>
                    </a:cubicBezTo>
                    <a:cubicBezTo>
                      <a:pt x="23" y="2"/>
                      <a:pt x="23" y="1"/>
                      <a:pt x="23" y="0"/>
                    </a:cubicBezTo>
                    <a:lnTo>
                      <a:pt x="21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06" name="Freeform 55">
                <a:extLst>
                  <a:ext uri="{FF2B5EF4-FFF2-40B4-BE49-F238E27FC236}">
                    <a16:creationId xmlns:a16="http://schemas.microsoft.com/office/drawing/2014/main" id="{9545C4A9-6E49-482D-982B-2AE7132B7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7263" y="6432550"/>
                <a:ext cx="42863" cy="22225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4" y="7"/>
                  </a:cxn>
                  <a:cxn ang="0">
                    <a:pos x="2" y="11"/>
                  </a:cxn>
                  <a:cxn ang="0">
                    <a:pos x="9" y="11"/>
                  </a:cxn>
                  <a:cxn ang="0">
                    <a:pos x="19" y="9"/>
                  </a:cxn>
                  <a:cxn ang="0">
                    <a:pos x="23" y="0"/>
                  </a:cxn>
                  <a:cxn ang="0">
                    <a:pos x="17" y="0"/>
                  </a:cxn>
                </a:cxnLst>
                <a:rect l="0" t="0" r="r" b="b"/>
                <a:pathLst>
                  <a:path w="23" h="12">
                    <a:moveTo>
                      <a:pt x="17" y="0"/>
                    </a:moveTo>
                    <a:cubicBezTo>
                      <a:pt x="11" y="0"/>
                      <a:pt x="8" y="4"/>
                      <a:pt x="4" y="7"/>
                    </a:cubicBezTo>
                    <a:cubicBezTo>
                      <a:pt x="3" y="8"/>
                      <a:pt x="0" y="9"/>
                      <a:pt x="2" y="11"/>
                    </a:cubicBezTo>
                    <a:cubicBezTo>
                      <a:pt x="3" y="12"/>
                      <a:pt x="7" y="11"/>
                      <a:pt x="9" y="11"/>
                    </a:cubicBezTo>
                    <a:cubicBezTo>
                      <a:pt x="13" y="11"/>
                      <a:pt x="16" y="12"/>
                      <a:pt x="19" y="9"/>
                    </a:cubicBezTo>
                    <a:cubicBezTo>
                      <a:pt x="23" y="7"/>
                      <a:pt x="23" y="4"/>
                      <a:pt x="23" y="0"/>
                    </a:cubicBezTo>
                    <a:lnTo>
                      <a:pt x="17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07" name="Freeform 56">
                <a:extLst>
                  <a:ext uri="{FF2B5EF4-FFF2-40B4-BE49-F238E27FC236}">
                    <a16:creationId xmlns:a16="http://schemas.microsoft.com/office/drawing/2014/main" id="{D34BE1DA-3E14-4114-86B8-349407BCD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4075" y="6078538"/>
                <a:ext cx="42863" cy="39688"/>
              </a:xfrm>
              <a:custGeom>
                <a:avLst/>
                <a:gdLst/>
                <a:ahLst/>
                <a:cxnLst>
                  <a:cxn ang="0">
                    <a:pos x="19" y="5"/>
                  </a:cxn>
                  <a:cxn ang="0">
                    <a:pos x="20" y="3"/>
                  </a:cxn>
                  <a:cxn ang="0">
                    <a:pos x="17" y="1"/>
                  </a:cxn>
                  <a:cxn ang="0">
                    <a:pos x="14" y="1"/>
                  </a:cxn>
                  <a:cxn ang="0">
                    <a:pos x="13" y="3"/>
                  </a:cxn>
                  <a:cxn ang="0">
                    <a:pos x="6" y="1"/>
                  </a:cxn>
                  <a:cxn ang="0">
                    <a:pos x="3" y="3"/>
                  </a:cxn>
                  <a:cxn ang="0">
                    <a:pos x="2" y="13"/>
                  </a:cxn>
                  <a:cxn ang="0">
                    <a:pos x="14" y="11"/>
                  </a:cxn>
                  <a:cxn ang="0">
                    <a:pos x="21" y="17"/>
                  </a:cxn>
                  <a:cxn ang="0">
                    <a:pos x="22" y="9"/>
                  </a:cxn>
                  <a:cxn ang="0">
                    <a:pos x="18" y="5"/>
                  </a:cxn>
                  <a:cxn ang="0">
                    <a:pos x="19" y="5"/>
                  </a:cxn>
                </a:cxnLst>
                <a:rect l="0" t="0" r="r" b="b"/>
                <a:pathLst>
                  <a:path w="23" h="21">
                    <a:moveTo>
                      <a:pt x="19" y="5"/>
                    </a:moveTo>
                    <a:cubicBezTo>
                      <a:pt x="20" y="5"/>
                      <a:pt x="20" y="4"/>
                      <a:pt x="20" y="3"/>
                    </a:cubicBezTo>
                    <a:cubicBezTo>
                      <a:pt x="20" y="1"/>
                      <a:pt x="19" y="1"/>
                      <a:pt x="17" y="1"/>
                    </a:cubicBezTo>
                    <a:cubicBezTo>
                      <a:pt x="16" y="1"/>
                      <a:pt x="15" y="1"/>
                      <a:pt x="14" y="1"/>
                    </a:cubicBezTo>
                    <a:cubicBezTo>
                      <a:pt x="13" y="1"/>
                      <a:pt x="14" y="2"/>
                      <a:pt x="13" y="3"/>
                    </a:cubicBezTo>
                    <a:cubicBezTo>
                      <a:pt x="10" y="4"/>
                      <a:pt x="8" y="0"/>
                      <a:pt x="6" y="1"/>
                    </a:cubicBezTo>
                    <a:cubicBezTo>
                      <a:pt x="4" y="1"/>
                      <a:pt x="4" y="1"/>
                      <a:pt x="3" y="3"/>
                    </a:cubicBezTo>
                    <a:cubicBezTo>
                      <a:pt x="2" y="6"/>
                      <a:pt x="0" y="11"/>
                      <a:pt x="2" y="13"/>
                    </a:cubicBezTo>
                    <a:cubicBezTo>
                      <a:pt x="5" y="16"/>
                      <a:pt x="11" y="13"/>
                      <a:pt x="14" y="11"/>
                    </a:cubicBezTo>
                    <a:cubicBezTo>
                      <a:pt x="15" y="15"/>
                      <a:pt x="16" y="21"/>
                      <a:pt x="21" y="17"/>
                    </a:cubicBezTo>
                    <a:cubicBezTo>
                      <a:pt x="23" y="15"/>
                      <a:pt x="22" y="12"/>
                      <a:pt x="22" y="9"/>
                    </a:cubicBezTo>
                    <a:cubicBezTo>
                      <a:pt x="22" y="5"/>
                      <a:pt x="21" y="4"/>
                      <a:pt x="18" y="5"/>
                    </a:cubicBezTo>
                    <a:lnTo>
                      <a:pt x="19" y="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08" name="Freeform 57">
                <a:extLst>
                  <a:ext uri="{FF2B5EF4-FFF2-40B4-BE49-F238E27FC236}">
                    <a16:creationId xmlns:a16="http://schemas.microsoft.com/office/drawing/2014/main" id="{12402602-74A8-4B56-964B-911B48E2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3275" y="5954713"/>
                <a:ext cx="38100" cy="39688"/>
              </a:xfrm>
              <a:custGeom>
                <a:avLst/>
                <a:gdLst/>
                <a:ahLst/>
                <a:cxnLst>
                  <a:cxn ang="0">
                    <a:pos x="16" y="2"/>
                  </a:cxn>
                  <a:cxn ang="0">
                    <a:pos x="5" y="1"/>
                  </a:cxn>
                  <a:cxn ang="0">
                    <a:pos x="1" y="12"/>
                  </a:cxn>
                  <a:cxn ang="0">
                    <a:pos x="15" y="17"/>
                  </a:cxn>
                  <a:cxn ang="0">
                    <a:pos x="14" y="4"/>
                  </a:cxn>
                  <a:cxn ang="0">
                    <a:pos x="16" y="2"/>
                  </a:cxn>
                </a:cxnLst>
                <a:rect l="0" t="0" r="r" b="b"/>
                <a:pathLst>
                  <a:path w="20" h="21">
                    <a:moveTo>
                      <a:pt x="16" y="2"/>
                    </a:moveTo>
                    <a:cubicBezTo>
                      <a:pt x="12" y="3"/>
                      <a:pt x="9" y="0"/>
                      <a:pt x="5" y="1"/>
                    </a:cubicBezTo>
                    <a:cubicBezTo>
                      <a:pt x="1" y="2"/>
                      <a:pt x="0" y="8"/>
                      <a:pt x="1" y="12"/>
                    </a:cubicBezTo>
                    <a:cubicBezTo>
                      <a:pt x="4" y="17"/>
                      <a:pt x="10" y="21"/>
                      <a:pt x="15" y="17"/>
                    </a:cubicBezTo>
                    <a:cubicBezTo>
                      <a:pt x="20" y="14"/>
                      <a:pt x="16" y="8"/>
                      <a:pt x="14" y="4"/>
                    </a:cubicBezTo>
                    <a:lnTo>
                      <a:pt x="16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09" name="Freeform 58">
                <a:extLst>
                  <a:ext uri="{FF2B5EF4-FFF2-40B4-BE49-F238E27FC236}">
                    <a16:creationId xmlns:a16="http://schemas.microsoft.com/office/drawing/2014/main" id="{09316102-F6E6-451C-B20A-512955BE9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1700" y="5995988"/>
                <a:ext cx="34925" cy="20638"/>
              </a:xfrm>
              <a:custGeom>
                <a:avLst/>
                <a:gdLst/>
                <a:ahLst/>
                <a:cxnLst>
                  <a:cxn ang="0">
                    <a:pos x="17" y="7"/>
                  </a:cxn>
                  <a:cxn ang="0">
                    <a:pos x="5" y="2"/>
                  </a:cxn>
                  <a:cxn ang="0">
                    <a:pos x="0" y="8"/>
                  </a:cxn>
                  <a:cxn ang="0">
                    <a:pos x="8" y="11"/>
                  </a:cxn>
                  <a:cxn ang="0">
                    <a:pos x="19" y="11"/>
                  </a:cxn>
                  <a:cxn ang="0">
                    <a:pos x="16" y="9"/>
                  </a:cxn>
                  <a:cxn ang="0">
                    <a:pos x="17" y="7"/>
                  </a:cxn>
                </a:cxnLst>
                <a:rect l="0" t="0" r="r" b="b"/>
                <a:pathLst>
                  <a:path w="19" h="11">
                    <a:moveTo>
                      <a:pt x="17" y="7"/>
                    </a:moveTo>
                    <a:cubicBezTo>
                      <a:pt x="14" y="4"/>
                      <a:pt x="9" y="0"/>
                      <a:pt x="5" y="2"/>
                    </a:cubicBezTo>
                    <a:cubicBezTo>
                      <a:pt x="3" y="2"/>
                      <a:pt x="0" y="5"/>
                      <a:pt x="0" y="8"/>
                    </a:cubicBezTo>
                    <a:cubicBezTo>
                      <a:pt x="1" y="11"/>
                      <a:pt x="6" y="11"/>
                      <a:pt x="8" y="11"/>
                    </a:cubicBezTo>
                    <a:cubicBezTo>
                      <a:pt x="12" y="11"/>
                      <a:pt x="15" y="11"/>
                      <a:pt x="19" y="11"/>
                    </a:cubicBezTo>
                    <a:cubicBezTo>
                      <a:pt x="18" y="10"/>
                      <a:pt x="18" y="9"/>
                      <a:pt x="16" y="9"/>
                    </a:cubicBezTo>
                    <a:lnTo>
                      <a:pt x="17" y="7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10" name="Freeform 59">
                <a:extLst>
                  <a:ext uri="{FF2B5EF4-FFF2-40B4-BE49-F238E27FC236}">
                    <a16:creationId xmlns:a16="http://schemas.microsoft.com/office/drawing/2014/main" id="{7A90E80F-94B4-49E8-83CA-C9F54600AE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1863" y="5770563"/>
                <a:ext cx="2187575" cy="968375"/>
              </a:xfrm>
              <a:custGeom>
                <a:avLst/>
                <a:gdLst/>
                <a:ahLst/>
                <a:cxnLst>
                  <a:cxn ang="0">
                    <a:pos x="135" y="37"/>
                  </a:cxn>
                  <a:cxn ang="0">
                    <a:pos x="102" y="10"/>
                  </a:cxn>
                  <a:cxn ang="0">
                    <a:pos x="53" y="16"/>
                  </a:cxn>
                  <a:cxn ang="0">
                    <a:pos x="54" y="38"/>
                  </a:cxn>
                  <a:cxn ang="0">
                    <a:pos x="19" y="104"/>
                  </a:cxn>
                  <a:cxn ang="0">
                    <a:pos x="59" y="122"/>
                  </a:cxn>
                  <a:cxn ang="0">
                    <a:pos x="74" y="124"/>
                  </a:cxn>
                  <a:cxn ang="0">
                    <a:pos x="113" y="111"/>
                  </a:cxn>
                  <a:cxn ang="0">
                    <a:pos x="104" y="96"/>
                  </a:cxn>
                  <a:cxn ang="0">
                    <a:pos x="141" y="88"/>
                  </a:cxn>
                  <a:cxn ang="0">
                    <a:pos x="187" y="95"/>
                  </a:cxn>
                  <a:cxn ang="0">
                    <a:pos x="311" y="435"/>
                  </a:cxn>
                  <a:cxn ang="0">
                    <a:pos x="1149" y="410"/>
                  </a:cxn>
                  <a:cxn ang="0">
                    <a:pos x="1131" y="343"/>
                  </a:cxn>
                  <a:cxn ang="0">
                    <a:pos x="1139" y="238"/>
                  </a:cxn>
                  <a:cxn ang="0">
                    <a:pos x="1079" y="167"/>
                  </a:cxn>
                  <a:cxn ang="0">
                    <a:pos x="1047" y="94"/>
                  </a:cxn>
                  <a:cxn ang="0">
                    <a:pos x="986" y="83"/>
                  </a:cxn>
                  <a:cxn ang="0">
                    <a:pos x="925" y="97"/>
                  </a:cxn>
                  <a:cxn ang="0">
                    <a:pos x="812" y="112"/>
                  </a:cxn>
                  <a:cxn ang="0">
                    <a:pos x="739" y="118"/>
                  </a:cxn>
                  <a:cxn ang="0">
                    <a:pos x="663" y="97"/>
                  </a:cxn>
                  <a:cxn ang="0">
                    <a:pos x="612" y="65"/>
                  </a:cxn>
                  <a:cxn ang="0">
                    <a:pos x="550" y="27"/>
                  </a:cxn>
                  <a:cxn ang="0">
                    <a:pos x="477" y="22"/>
                  </a:cxn>
                  <a:cxn ang="0">
                    <a:pos x="367" y="43"/>
                  </a:cxn>
                  <a:cxn ang="0">
                    <a:pos x="321" y="86"/>
                  </a:cxn>
                  <a:cxn ang="0">
                    <a:pos x="208" y="75"/>
                  </a:cxn>
                  <a:cxn ang="0">
                    <a:pos x="194" y="88"/>
                  </a:cxn>
                  <a:cxn ang="0">
                    <a:pos x="199" y="100"/>
                  </a:cxn>
                  <a:cxn ang="0">
                    <a:pos x="242" y="115"/>
                  </a:cxn>
                  <a:cxn ang="0">
                    <a:pos x="208" y="119"/>
                  </a:cxn>
                  <a:cxn ang="0">
                    <a:pos x="178" y="135"/>
                  </a:cxn>
                  <a:cxn ang="0">
                    <a:pos x="141" y="140"/>
                  </a:cxn>
                  <a:cxn ang="0">
                    <a:pos x="119" y="137"/>
                  </a:cxn>
                  <a:cxn ang="0">
                    <a:pos x="86" y="135"/>
                  </a:cxn>
                  <a:cxn ang="0">
                    <a:pos x="59" y="130"/>
                  </a:cxn>
                  <a:cxn ang="0">
                    <a:pos x="1" y="158"/>
                  </a:cxn>
                  <a:cxn ang="0">
                    <a:pos x="29" y="171"/>
                  </a:cxn>
                  <a:cxn ang="0">
                    <a:pos x="60" y="208"/>
                  </a:cxn>
                  <a:cxn ang="0">
                    <a:pos x="67" y="265"/>
                  </a:cxn>
                  <a:cxn ang="0">
                    <a:pos x="41" y="277"/>
                  </a:cxn>
                  <a:cxn ang="0">
                    <a:pos x="86" y="340"/>
                  </a:cxn>
                  <a:cxn ang="0">
                    <a:pos x="65" y="361"/>
                  </a:cxn>
                  <a:cxn ang="0">
                    <a:pos x="98" y="400"/>
                  </a:cxn>
                  <a:cxn ang="0">
                    <a:pos x="146" y="416"/>
                  </a:cxn>
                  <a:cxn ang="0">
                    <a:pos x="125" y="439"/>
                  </a:cxn>
                  <a:cxn ang="0">
                    <a:pos x="187" y="443"/>
                  </a:cxn>
                  <a:cxn ang="0">
                    <a:pos x="272" y="477"/>
                  </a:cxn>
                  <a:cxn ang="0">
                    <a:pos x="345" y="445"/>
                  </a:cxn>
                  <a:cxn ang="0">
                    <a:pos x="381" y="481"/>
                  </a:cxn>
                  <a:cxn ang="0">
                    <a:pos x="492" y="491"/>
                  </a:cxn>
                  <a:cxn ang="0">
                    <a:pos x="542" y="456"/>
                  </a:cxn>
                  <a:cxn ang="0">
                    <a:pos x="595" y="462"/>
                  </a:cxn>
                  <a:cxn ang="0">
                    <a:pos x="617" y="517"/>
                  </a:cxn>
                  <a:cxn ang="0">
                    <a:pos x="669" y="462"/>
                  </a:cxn>
                  <a:cxn ang="0">
                    <a:pos x="764" y="454"/>
                  </a:cxn>
                  <a:cxn ang="0">
                    <a:pos x="882" y="455"/>
                  </a:cxn>
                  <a:cxn ang="0">
                    <a:pos x="983" y="447"/>
                  </a:cxn>
                  <a:cxn ang="0">
                    <a:pos x="1079" y="436"/>
                  </a:cxn>
                </a:cxnLst>
                <a:rect l="0" t="0" r="r" b="b"/>
                <a:pathLst>
                  <a:path w="1171" h="518">
                    <a:moveTo>
                      <a:pt x="197" y="70"/>
                    </a:moveTo>
                    <a:cubicBezTo>
                      <a:pt x="193" y="69"/>
                      <a:pt x="188" y="67"/>
                      <a:pt x="184" y="66"/>
                    </a:cubicBezTo>
                    <a:cubicBezTo>
                      <a:pt x="181" y="65"/>
                      <a:pt x="178" y="66"/>
                      <a:pt x="175" y="65"/>
                    </a:cubicBezTo>
                    <a:cubicBezTo>
                      <a:pt x="172" y="65"/>
                      <a:pt x="171" y="64"/>
                      <a:pt x="168" y="63"/>
                    </a:cubicBezTo>
                    <a:cubicBezTo>
                      <a:pt x="165" y="61"/>
                      <a:pt x="164" y="62"/>
                      <a:pt x="162" y="59"/>
                    </a:cubicBezTo>
                    <a:cubicBezTo>
                      <a:pt x="161" y="58"/>
                      <a:pt x="160" y="56"/>
                      <a:pt x="159" y="55"/>
                    </a:cubicBezTo>
                    <a:cubicBezTo>
                      <a:pt x="158" y="53"/>
                      <a:pt x="156" y="54"/>
                      <a:pt x="154" y="54"/>
                    </a:cubicBezTo>
                    <a:cubicBezTo>
                      <a:pt x="152" y="53"/>
                      <a:pt x="150" y="51"/>
                      <a:pt x="148" y="49"/>
                    </a:cubicBezTo>
                    <a:cubicBezTo>
                      <a:pt x="145" y="47"/>
                      <a:pt x="142" y="48"/>
                      <a:pt x="140" y="47"/>
                    </a:cubicBezTo>
                    <a:cubicBezTo>
                      <a:pt x="135" y="45"/>
                      <a:pt x="137" y="41"/>
                      <a:pt x="135" y="37"/>
                    </a:cubicBezTo>
                    <a:cubicBezTo>
                      <a:pt x="135" y="36"/>
                      <a:pt x="134" y="35"/>
                      <a:pt x="134" y="34"/>
                    </a:cubicBezTo>
                    <a:cubicBezTo>
                      <a:pt x="134" y="32"/>
                      <a:pt x="134" y="30"/>
                      <a:pt x="134" y="28"/>
                    </a:cubicBezTo>
                    <a:cubicBezTo>
                      <a:pt x="133" y="24"/>
                      <a:pt x="131" y="23"/>
                      <a:pt x="131" y="19"/>
                    </a:cubicBezTo>
                    <a:cubicBezTo>
                      <a:pt x="131" y="16"/>
                      <a:pt x="130" y="14"/>
                      <a:pt x="128" y="11"/>
                    </a:cubicBezTo>
                    <a:cubicBezTo>
                      <a:pt x="128" y="11"/>
                      <a:pt x="127" y="11"/>
                      <a:pt x="126" y="11"/>
                    </a:cubicBezTo>
                    <a:cubicBezTo>
                      <a:pt x="123" y="12"/>
                      <a:pt x="121" y="13"/>
                      <a:pt x="118" y="13"/>
                    </a:cubicBezTo>
                    <a:cubicBezTo>
                      <a:pt x="116" y="13"/>
                      <a:pt x="114" y="14"/>
                      <a:pt x="112" y="15"/>
                    </a:cubicBezTo>
                    <a:cubicBezTo>
                      <a:pt x="111" y="15"/>
                      <a:pt x="110" y="16"/>
                      <a:pt x="108" y="16"/>
                    </a:cubicBezTo>
                    <a:cubicBezTo>
                      <a:pt x="106" y="16"/>
                      <a:pt x="107" y="16"/>
                      <a:pt x="106" y="14"/>
                    </a:cubicBezTo>
                    <a:cubicBezTo>
                      <a:pt x="105" y="13"/>
                      <a:pt x="103" y="11"/>
                      <a:pt x="102" y="10"/>
                    </a:cubicBezTo>
                    <a:cubicBezTo>
                      <a:pt x="101" y="8"/>
                      <a:pt x="101" y="8"/>
                      <a:pt x="99" y="8"/>
                    </a:cubicBezTo>
                    <a:cubicBezTo>
                      <a:pt x="98" y="7"/>
                      <a:pt x="98" y="6"/>
                      <a:pt x="97" y="6"/>
                    </a:cubicBezTo>
                    <a:cubicBezTo>
                      <a:pt x="96" y="5"/>
                      <a:pt x="95" y="6"/>
                      <a:pt x="93" y="6"/>
                    </a:cubicBezTo>
                    <a:cubicBezTo>
                      <a:pt x="90" y="6"/>
                      <a:pt x="88" y="3"/>
                      <a:pt x="86" y="2"/>
                    </a:cubicBezTo>
                    <a:cubicBezTo>
                      <a:pt x="83" y="0"/>
                      <a:pt x="82" y="3"/>
                      <a:pt x="80" y="4"/>
                    </a:cubicBezTo>
                    <a:cubicBezTo>
                      <a:pt x="76" y="6"/>
                      <a:pt x="74" y="8"/>
                      <a:pt x="71" y="10"/>
                    </a:cubicBezTo>
                    <a:cubicBezTo>
                      <a:pt x="69" y="11"/>
                      <a:pt x="69" y="11"/>
                      <a:pt x="67" y="10"/>
                    </a:cubicBezTo>
                    <a:cubicBezTo>
                      <a:pt x="66" y="10"/>
                      <a:pt x="65" y="11"/>
                      <a:pt x="64" y="11"/>
                    </a:cubicBezTo>
                    <a:cubicBezTo>
                      <a:pt x="62" y="12"/>
                      <a:pt x="60" y="12"/>
                      <a:pt x="58" y="12"/>
                    </a:cubicBezTo>
                    <a:cubicBezTo>
                      <a:pt x="57" y="13"/>
                      <a:pt x="55" y="14"/>
                      <a:pt x="53" y="16"/>
                    </a:cubicBezTo>
                    <a:cubicBezTo>
                      <a:pt x="53" y="16"/>
                      <a:pt x="53" y="17"/>
                      <a:pt x="53" y="17"/>
                    </a:cubicBezTo>
                    <a:cubicBezTo>
                      <a:pt x="52" y="18"/>
                      <a:pt x="52" y="18"/>
                      <a:pt x="51" y="19"/>
                    </a:cubicBezTo>
                    <a:cubicBezTo>
                      <a:pt x="51" y="19"/>
                      <a:pt x="50" y="19"/>
                      <a:pt x="50" y="20"/>
                    </a:cubicBezTo>
                    <a:cubicBezTo>
                      <a:pt x="50" y="20"/>
                      <a:pt x="49" y="20"/>
                      <a:pt x="50" y="21"/>
                    </a:cubicBezTo>
                    <a:cubicBezTo>
                      <a:pt x="47" y="21"/>
                      <a:pt x="47" y="21"/>
                      <a:pt x="45" y="23"/>
                    </a:cubicBezTo>
                    <a:cubicBezTo>
                      <a:pt x="44" y="24"/>
                      <a:pt x="44" y="25"/>
                      <a:pt x="43" y="27"/>
                    </a:cubicBezTo>
                    <a:cubicBezTo>
                      <a:pt x="43" y="29"/>
                      <a:pt x="43" y="31"/>
                      <a:pt x="43" y="33"/>
                    </a:cubicBezTo>
                    <a:cubicBezTo>
                      <a:pt x="43" y="32"/>
                      <a:pt x="43" y="31"/>
                      <a:pt x="43" y="30"/>
                    </a:cubicBezTo>
                    <a:cubicBezTo>
                      <a:pt x="45" y="31"/>
                      <a:pt x="46" y="33"/>
                      <a:pt x="48" y="34"/>
                    </a:cubicBezTo>
                    <a:cubicBezTo>
                      <a:pt x="51" y="35"/>
                      <a:pt x="54" y="34"/>
                      <a:pt x="54" y="38"/>
                    </a:cubicBezTo>
                    <a:cubicBezTo>
                      <a:pt x="54" y="43"/>
                      <a:pt x="54" y="46"/>
                      <a:pt x="55" y="50"/>
                    </a:cubicBezTo>
                    <a:cubicBezTo>
                      <a:pt x="55" y="54"/>
                      <a:pt x="57" y="59"/>
                      <a:pt x="53" y="61"/>
                    </a:cubicBezTo>
                    <a:cubicBezTo>
                      <a:pt x="51" y="63"/>
                      <a:pt x="46" y="61"/>
                      <a:pt x="44" y="63"/>
                    </a:cubicBezTo>
                    <a:cubicBezTo>
                      <a:pt x="40" y="65"/>
                      <a:pt x="40" y="70"/>
                      <a:pt x="40" y="74"/>
                    </a:cubicBezTo>
                    <a:cubicBezTo>
                      <a:pt x="40" y="78"/>
                      <a:pt x="39" y="81"/>
                      <a:pt x="39" y="85"/>
                    </a:cubicBezTo>
                    <a:cubicBezTo>
                      <a:pt x="39" y="87"/>
                      <a:pt x="39" y="87"/>
                      <a:pt x="38" y="89"/>
                    </a:cubicBezTo>
                    <a:cubicBezTo>
                      <a:pt x="37" y="91"/>
                      <a:pt x="33" y="93"/>
                      <a:pt x="31" y="95"/>
                    </a:cubicBezTo>
                    <a:cubicBezTo>
                      <a:pt x="28" y="97"/>
                      <a:pt x="27" y="100"/>
                      <a:pt x="25" y="103"/>
                    </a:cubicBezTo>
                    <a:cubicBezTo>
                      <a:pt x="24" y="105"/>
                      <a:pt x="24" y="107"/>
                      <a:pt x="22" y="107"/>
                    </a:cubicBezTo>
                    <a:cubicBezTo>
                      <a:pt x="22" y="107"/>
                      <a:pt x="21" y="106"/>
                      <a:pt x="19" y="104"/>
                    </a:cubicBezTo>
                    <a:cubicBezTo>
                      <a:pt x="19" y="105"/>
                      <a:pt x="19" y="106"/>
                      <a:pt x="19" y="107"/>
                    </a:cubicBezTo>
                    <a:cubicBezTo>
                      <a:pt x="20" y="108"/>
                      <a:pt x="21" y="109"/>
                      <a:pt x="21" y="111"/>
                    </a:cubicBezTo>
                    <a:cubicBezTo>
                      <a:pt x="22" y="116"/>
                      <a:pt x="22" y="120"/>
                      <a:pt x="29" y="121"/>
                    </a:cubicBezTo>
                    <a:cubicBezTo>
                      <a:pt x="35" y="122"/>
                      <a:pt x="42" y="121"/>
                      <a:pt x="48" y="121"/>
                    </a:cubicBezTo>
                    <a:cubicBezTo>
                      <a:pt x="50" y="121"/>
                      <a:pt x="51" y="121"/>
                      <a:pt x="52" y="122"/>
                    </a:cubicBezTo>
                    <a:cubicBezTo>
                      <a:pt x="51" y="121"/>
                      <a:pt x="56" y="124"/>
                      <a:pt x="56" y="123"/>
                    </a:cubicBezTo>
                    <a:cubicBezTo>
                      <a:pt x="57" y="124"/>
                      <a:pt x="57" y="126"/>
                      <a:pt x="58" y="126"/>
                    </a:cubicBezTo>
                    <a:cubicBezTo>
                      <a:pt x="58" y="126"/>
                      <a:pt x="59" y="126"/>
                      <a:pt x="59" y="126"/>
                    </a:cubicBezTo>
                    <a:cubicBezTo>
                      <a:pt x="59" y="126"/>
                      <a:pt x="59" y="126"/>
                      <a:pt x="59" y="125"/>
                    </a:cubicBezTo>
                    <a:cubicBezTo>
                      <a:pt x="59" y="124"/>
                      <a:pt x="58" y="123"/>
                      <a:pt x="59" y="122"/>
                    </a:cubicBezTo>
                    <a:cubicBezTo>
                      <a:pt x="59" y="121"/>
                      <a:pt x="59" y="121"/>
                      <a:pt x="59" y="121"/>
                    </a:cubicBezTo>
                    <a:cubicBezTo>
                      <a:pt x="60" y="122"/>
                      <a:pt x="60" y="123"/>
                      <a:pt x="61" y="123"/>
                    </a:cubicBezTo>
                    <a:cubicBezTo>
                      <a:pt x="61" y="124"/>
                      <a:pt x="61" y="125"/>
                      <a:pt x="61" y="126"/>
                    </a:cubicBezTo>
                    <a:cubicBezTo>
                      <a:pt x="62" y="126"/>
                      <a:pt x="62" y="126"/>
                      <a:pt x="62" y="126"/>
                    </a:cubicBezTo>
                    <a:cubicBezTo>
                      <a:pt x="62" y="127"/>
                      <a:pt x="62" y="127"/>
                      <a:pt x="62" y="128"/>
                    </a:cubicBezTo>
                    <a:cubicBezTo>
                      <a:pt x="62" y="128"/>
                      <a:pt x="63" y="128"/>
                      <a:pt x="63" y="128"/>
                    </a:cubicBezTo>
                    <a:cubicBezTo>
                      <a:pt x="64" y="128"/>
                      <a:pt x="64" y="128"/>
                      <a:pt x="65" y="128"/>
                    </a:cubicBezTo>
                    <a:cubicBezTo>
                      <a:pt x="66" y="128"/>
                      <a:pt x="67" y="128"/>
                      <a:pt x="68" y="128"/>
                    </a:cubicBezTo>
                    <a:cubicBezTo>
                      <a:pt x="69" y="127"/>
                      <a:pt x="70" y="126"/>
                      <a:pt x="71" y="126"/>
                    </a:cubicBezTo>
                    <a:cubicBezTo>
                      <a:pt x="72" y="125"/>
                      <a:pt x="73" y="124"/>
                      <a:pt x="74" y="124"/>
                    </a:cubicBezTo>
                    <a:cubicBezTo>
                      <a:pt x="75" y="124"/>
                      <a:pt x="76" y="124"/>
                      <a:pt x="76" y="124"/>
                    </a:cubicBezTo>
                    <a:cubicBezTo>
                      <a:pt x="77" y="123"/>
                      <a:pt x="78" y="122"/>
                      <a:pt x="79" y="121"/>
                    </a:cubicBezTo>
                    <a:cubicBezTo>
                      <a:pt x="81" y="120"/>
                      <a:pt x="84" y="119"/>
                      <a:pt x="85" y="117"/>
                    </a:cubicBezTo>
                    <a:cubicBezTo>
                      <a:pt x="85" y="116"/>
                      <a:pt x="85" y="115"/>
                      <a:pt x="86" y="114"/>
                    </a:cubicBezTo>
                    <a:cubicBezTo>
                      <a:pt x="87" y="113"/>
                      <a:pt x="90" y="112"/>
                      <a:pt x="92" y="112"/>
                    </a:cubicBezTo>
                    <a:cubicBezTo>
                      <a:pt x="93" y="112"/>
                      <a:pt x="94" y="112"/>
                      <a:pt x="95" y="112"/>
                    </a:cubicBezTo>
                    <a:cubicBezTo>
                      <a:pt x="97" y="112"/>
                      <a:pt x="100" y="112"/>
                      <a:pt x="103" y="112"/>
                    </a:cubicBezTo>
                    <a:cubicBezTo>
                      <a:pt x="104" y="112"/>
                      <a:pt x="105" y="112"/>
                      <a:pt x="106" y="112"/>
                    </a:cubicBezTo>
                    <a:cubicBezTo>
                      <a:pt x="107" y="111"/>
                      <a:pt x="107" y="111"/>
                      <a:pt x="108" y="111"/>
                    </a:cubicBezTo>
                    <a:cubicBezTo>
                      <a:pt x="109" y="110"/>
                      <a:pt x="111" y="111"/>
                      <a:pt x="113" y="111"/>
                    </a:cubicBezTo>
                    <a:cubicBezTo>
                      <a:pt x="113" y="111"/>
                      <a:pt x="114" y="111"/>
                      <a:pt x="115" y="111"/>
                    </a:cubicBezTo>
                    <a:cubicBezTo>
                      <a:pt x="117" y="113"/>
                      <a:pt x="119" y="114"/>
                      <a:pt x="121" y="115"/>
                    </a:cubicBezTo>
                    <a:cubicBezTo>
                      <a:pt x="124" y="116"/>
                      <a:pt x="127" y="117"/>
                      <a:pt x="129" y="114"/>
                    </a:cubicBezTo>
                    <a:cubicBezTo>
                      <a:pt x="130" y="112"/>
                      <a:pt x="132" y="109"/>
                      <a:pt x="132" y="107"/>
                    </a:cubicBezTo>
                    <a:cubicBezTo>
                      <a:pt x="131" y="106"/>
                      <a:pt x="130" y="105"/>
                      <a:pt x="129" y="104"/>
                    </a:cubicBezTo>
                    <a:cubicBezTo>
                      <a:pt x="128" y="104"/>
                      <a:pt x="128" y="103"/>
                      <a:pt x="127" y="102"/>
                    </a:cubicBezTo>
                    <a:cubicBezTo>
                      <a:pt x="126" y="101"/>
                      <a:pt x="125" y="101"/>
                      <a:pt x="124" y="101"/>
                    </a:cubicBezTo>
                    <a:cubicBezTo>
                      <a:pt x="121" y="101"/>
                      <a:pt x="119" y="101"/>
                      <a:pt x="117" y="100"/>
                    </a:cubicBezTo>
                    <a:cubicBezTo>
                      <a:pt x="115" y="100"/>
                      <a:pt x="113" y="99"/>
                      <a:pt x="111" y="98"/>
                    </a:cubicBezTo>
                    <a:cubicBezTo>
                      <a:pt x="109" y="98"/>
                      <a:pt x="105" y="98"/>
                      <a:pt x="104" y="96"/>
                    </a:cubicBezTo>
                    <a:cubicBezTo>
                      <a:pt x="103" y="95"/>
                      <a:pt x="104" y="94"/>
                      <a:pt x="104" y="93"/>
                    </a:cubicBezTo>
                    <a:cubicBezTo>
                      <a:pt x="105" y="92"/>
                      <a:pt x="107" y="92"/>
                      <a:pt x="108" y="92"/>
                    </a:cubicBezTo>
                    <a:cubicBezTo>
                      <a:pt x="110" y="91"/>
                      <a:pt x="112" y="91"/>
                      <a:pt x="114" y="91"/>
                    </a:cubicBezTo>
                    <a:cubicBezTo>
                      <a:pt x="116" y="91"/>
                      <a:pt x="118" y="91"/>
                      <a:pt x="120" y="91"/>
                    </a:cubicBezTo>
                    <a:cubicBezTo>
                      <a:pt x="123" y="91"/>
                      <a:pt x="125" y="92"/>
                      <a:pt x="128" y="92"/>
                    </a:cubicBezTo>
                    <a:cubicBezTo>
                      <a:pt x="129" y="92"/>
                      <a:pt x="129" y="92"/>
                      <a:pt x="130" y="91"/>
                    </a:cubicBezTo>
                    <a:cubicBezTo>
                      <a:pt x="131" y="91"/>
                      <a:pt x="132" y="90"/>
                      <a:pt x="132" y="89"/>
                    </a:cubicBezTo>
                    <a:cubicBezTo>
                      <a:pt x="132" y="88"/>
                      <a:pt x="131" y="87"/>
                      <a:pt x="132" y="87"/>
                    </a:cubicBezTo>
                    <a:cubicBezTo>
                      <a:pt x="133" y="86"/>
                      <a:pt x="135" y="87"/>
                      <a:pt x="136" y="87"/>
                    </a:cubicBezTo>
                    <a:cubicBezTo>
                      <a:pt x="138" y="87"/>
                      <a:pt x="140" y="87"/>
                      <a:pt x="141" y="88"/>
                    </a:cubicBezTo>
                    <a:cubicBezTo>
                      <a:pt x="143" y="88"/>
                      <a:pt x="145" y="88"/>
                      <a:pt x="146" y="88"/>
                    </a:cubicBezTo>
                    <a:cubicBezTo>
                      <a:pt x="150" y="87"/>
                      <a:pt x="153" y="87"/>
                      <a:pt x="156" y="88"/>
                    </a:cubicBezTo>
                    <a:cubicBezTo>
                      <a:pt x="157" y="89"/>
                      <a:pt x="158" y="90"/>
                      <a:pt x="159" y="90"/>
                    </a:cubicBezTo>
                    <a:cubicBezTo>
                      <a:pt x="160" y="91"/>
                      <a:pt x="161" y="91"/>
                      <a:pt x="162" y="92"/>
                    </a:cubicBezTo>
                    <a:cubicBezTo>
                      <a:pt x="164" y="92"/>
                      <a:pt x="166" y="93"/>
                      <a:pt x="168" y="94"/>
                    </a:cubicBezTo>
                    <a:cubicBezTo>
                      <a:pt x="171" y="95"/>
                      <a:pt x="173" y="95"/>
                      <a:pt x="175" y="96"/>
                    </a:cubicBezTo>
                    <a:cubicBezTo>
                      <a:pt x="177" y="97"/>
                      <a:pt x="178" y="96"/>
                      <a:pt x="179" y="95"/>
                    </a:cubicBezTo>
                    <a:cubicBezTo>
                      <a:pt x="180" y="95"/>
                      <a:pt x="181" y="94"/>
                      <a:pt x="183" y="94"/>
                    </a:cubicBezTo>
                    <a:cubicBezTo>
                      <a:pt x="183" y="94"/>
                      <a:pt x="184" y="95"/>
                      <a:pt x="185" y="95"/>
                    </a:cubicBezTo>
                    <a:cubicBezTo>
                      <a:pt x="185" y="95"/>
                      <a:pt x="187" y="95"/>
                      <a:pt x="187" y="95"/>
                    </a:cubicBezTo>
                    <a:cubicBezTo>
                      <a:pt x="188" y="95"/>
                      <a:pt x="188" y="94"/>
                      <a:pt x="189" y="94"/>
                    </a:cubicBezTo>
                    <a:cubicBezTo>
                      <a:pt x="189" y="93"/>
                      <a:pt x="190" y="92"/>
                      <a:pt x="191" y="92"/>
                    </a:cubicBezTo>
                    <a:cubicBezTo>
                      <a:pt x="191" y="91"/>
                      <a:pt x="191" y="91"/>
                      <a:pt x="191" y="91"/>
                    </a:cubicBezTo>
                    <a:cubicBezTo>
                      <a:pt x="192" y="90"/>
                      <a:pt x="191" y="88"/>
                      <a:pt x="191" y="87"/>
                    </a:cubicBezTo>
                    <a:cubicBezTo>
                      <a:pt x="191" y="85"/>
                      <a:pt x="192" y="84"/>
                      <a:pt x="193" y="82"/>
                    </a:cubicBezTo>
                    <a:cubicBezTo>
                      <a:pt x="194" y="80"/>
                      <a:pt x="195" y="77"/>
                      <a:pt x="195" y="75"/>
                    </a:cubicBezTo>
                    <a:cubicBezTo>
                      <a:pt x="195" y="74"/>
                      <a:pt x="196" y="72"/>
                      <a:pt x="197" y="71"/>
                    </a:cubicBezTo>
                    <a:cubicBezTo>
                      <a:pt x="197" y="71"/>
                      <a:pt x="197" y="70"/>
                      <a:pt x="197" y="70"/>
                    </a:cubicBezTo>
                    <a:moveTo>
                      <a:pt x="312" y="435"/>
                    </a:moveTo>
                    <a:cubicBezTo>
                      <a:pt x="312" y="435"/>
                      <a:pt x="311" y="435"/>
                      <a:pt x="311" y="435"/>
                    </a:cubicBezTo>
                    <a:cubicBezTo>
                      <a:pt x="311" y="435"/>
                      <a:pt x="312" y="435"/>
                      <a:pt x="312" y="435"/>
                    </a:cubicBezTo>
                    <a:moveTo>
                      <a:pt x="668" y="97"/>
                    </a:moveTo>
                    <a:cubicBezTo>
                      <a:pt x="669" y="97"/>
                      <a:pt x="670" y="97"/>
                      <a:pt x="671" y="97"/>
                    </a:cubicBezTo>
                    <a:cubicBezTo>
                      <a:pt x="670" y="97"/>
                      <a:pt x="669" y="97"/>
                      <a:pt x="668" y="97"/>
                    </a:cubicBezTo>
                    <a:cubicBezTo>
                      <a:pt x="668" y="97"/>
                      <a:pt x="668" y="97"/>
                      <a:pt x="668" y="97"/>
                    </a:cubicBezTo>
                    <a:moveTo>
                      <a:pt x="1170" y="445"/>
                    </a:moveTo>
                    <a:cubicBezTo>
                      <a:pt x="1169" y="442"/>
                      <a:pt x="1168" y="441"/>
                      <a:pt x="1165" y="439"/>
                    </a:cubicBezTo>
                    <a:cubicBezTo>
                      <a:pt x="1161" y="437"/>
                      <a:pt x="1159" y="436"/>
                      <a:pt x="1156" y="432"/>
                    </a:cubicBezTo>
                    <a:cubicBezTo>
                      <a:pt x="1151" y="428"/>
                      <a:pt x="1148" y="425"/>
                      <a:pt x="1149" y="419"/>
                    </a:cubicBezTo>
                    <a:cubicBezTo>
                      <a:pt x="1149" y="416"/>
                      <a:pt x="1149" y="413"/>
                      <a:pt x="1149" y="410"/>
                    </a:cubicBezTo>
                    <a:cubicBezTo>
                      <a:pt x="1149" y="407"/>
                      <a:pt x="1151" y="399"/>
                      <a:pt x="1149" y="396"/>
                    </a:cubicBezTo>
                    <a:cubicBezTo>
                      <a:pt x="1149" y="396"/>
                      <a:pt x="1145" y="394"/>
                      <a:pt x="1144" y="394"/>
                    </a:cubicBezTo>
                    <a:cubicBezTo>
                      <a:pt x="1142" y="393"/>
                      <a:pt x="1139" y="391"/>
                      <a:pt x="1137" y="390"/>
                    </a:cubicBezTo>
                    <a:cubicBezTo>
                      <a:pt x="1133" y="389"/>
                      <a:pt x="1131" y="391"/>
                      <a:pt x="1130" y="387"/>
                    </a:cubicBezTo>
                    <a:cubicBezTo>
                      <a:pt x="1129" y="384"/>
                      <a:pt x="1130" y="382"/>
                      <a:pt x="1132" y="380"/>
                    </a:cubicBezTo>
                    <a:cubicBezTo>
                      <a:pt x="1134" y="378"/>
                      <a:pt x="1134" y="380"/>
                      <a:pt x="1136" y="376"/>
                    </a:cubicBezTo>
                    <a:cubicBezTo>
                      <a:pt x="1138" y="372"/>
                      <a:pt x="1141" y="368"/>
                      <a:pt x="1142" y="363"/>
                    </a:cubicBezTo>
                    <a:cubicBezTo>
                      <a:pt x="1142" y="361"/>
                      <a:pt x="1143" y="354"/>
                      <a:pt x="1141" y="352"/>
                    </a:cubicBezTo>
                    <a:cubicBezTo>
                      <a:pt x="1140" y="350"/>
                      <a:pt x="1136" y="351"/>
                      <a:pt x="1134" y="351"/>
                    </a:cubicBezTo>
                    <a:cubicBezTo>
                      <a:pt x="1130" y="350"/>
                      <a:pt x="1131" y="347"/>
                      <a:pt x="1131" y="343"/>
                    </a:cubicBezTo>
                    <a:cubicBezTo>
                      <a:pt x="1131" y="339"/>
                      <a:pt x="1131" y="335"/>
                      <a:pt x="1131" y="331"/>
                    </a:cubicBezTo>
                    <a:cubicBezTo>
                      <a:pt x="1131" y="322"/>
                      <a:pt x="1128" y="312"/>
                      <a:pt x="1124" y="302"/>
                    </a:cubicBezTo>
                    <a:cubicBezTo>
                      <a:pt x="1123" y="299"/>
                      <a:pt x="1120" y="295"/>
                      <a:pt x="1119" y="291"/>
                    </a:cubicBezTo>
                    <a:cubicBezTo>
                      <a:pt x="1116" y="283"/>
                      <a:pt x="1122" y="275"/>
                      <a:pt x="1120" y="268"/>
                    </a:cubicBezTo>
                    <a:cubicBezTo>
                      <a:pt x="1118" y="267"/>
                      <a:pt x="1114" y="268"/>
                      <a:pt x="1111" y="266"/>
                    </a:cubicBezTo>
                    <a:cubicBezTo>
                      <a:pt x="1106" y="263"/>
                      <a:pt x="1111" y="262"/>
                      <a:pt x="1115" y="261"/>
                    </a:cubicBezTo>
                    <a:cubicBezTo>
                      <a:pt x="1119" y="261"/>
                      <a:pt x="1126" y="261"/>
                      <a:pt x="1128" y="257"/>
                    </a:cubicBezTo>
                    <a:cubicBezTo>
                      <a:pt x="1129" y="256"/>
                      <a:pt x="1129" y="255"/>
                      <a:pt x="1129" y="253"/>
                    </a:cubicBezTo>
                    <a:cubicBezTo>
                      <a:pt x="1130" y="252"/>
                      <a:pt x="1132" y="250"/>
                      <a:pt x="1133" y="248"/>
                    </a:cubicBezTo>
                    <a:cubicBezTo>
                      <a:pt x="1135" y="245"/>
                      <a:pt x="1136" y="241"/>
                      <a:pt x="1139" y="238"/>
                    </a:cubicBezTo>
                    <a:cubicBezTo>
                      <a:pt x="1140" y="237"/>
                      <a:pt x="1142" y="236"/>
                      <a:pt x="1144" y="235"/>
                    </a:cubicBezTo>
                    <a:cubicBezTo>
                      <a:pt x="1146" y="234"/>
                      <a:pt x="1149" y="232"/>
                      <a:pt x="1151" y="230"/>
                    </a:cubicBezTo>
                    <a:cubicBezTo>
                      <a:pt x="1147" y="228"/>
                      <a:pt x="1144" y="226"/>
                      <a:pt x="1140" y="224"/>
                    </a:cubicBezTo>
                    <a:cubicBezTo>
                      <a:pt x="1140" y="224"/>
                      <a:pt x="1133" y="222"/>
                      <a:pt x="1133" y="221"/>
                    </a:cubicBezTo>
                    <a:cubicBezTo>
                      <a:pt x="1131" y="220"/>
                      <a:pt x="1131" y="218"/>
                      <a:pt x="1130" y="216"/>
                    </a:cubicBezTo>
                    <a:cubicBezTo>
                      <a:pt x="1125" y="213"/>
                      <a:pt x="1119" y="214"/>
                      <a:pt x="1113" y="214"/>
                    </a:cubicBezTo>
                    <a:cubicBezTo>
                      <a:pt x="1104" y="213"/>
                      <a:pt x="1096" y="206"/>
                      <a:pt x="1090" y="201"/>
                    </a:cubicBezTo>
                    <a:cubicBezTo>
                      <a:pt x="1084" y="195"/>
                      <a:pt x="1083" y="190"/>
                      <a:pt x="1081" y="181"/>
                    </a:cubicBezTo>
                    <a:cubicBezTo>
                      <a:pt x="1080" y="178"/>
                      <a:pt x="1079" y="177"/>
                      <a:pt x="1078" y="175"/>
                    </a:cubicBezTo>
                    <a:cubicBezTo>
                      <a:pt x="1077" y="172"/>
                      <a:pt x="1078" y="169"/>
                      <a:pt x="1079" y="167"/>
                    </a:cubicBezTo>
                    <a:cubicBezTo>
                      <a:pt x="1081" y="161"/>
                      <a:pt x="1085" y="154"/>
                      <a:pt x="1084" y="148"/>
                    </a:cubicBezTo>
                    <a:cubicBezTo>
                      <a:pt x="1084" y="146"/>
                      <a:pt x="1083" y="144"/>
                      <a:pt x="1082" y="142"/>
                    </a:cubicBezTo>
                    <a:cubicBezTo>
                      <a:pt x="1082" y="141"/>
                      <a:pt x="1079" y="138"/>
                      <a:pt x="1078" y="136"/>
                    </a:cubicBezTo>
                    <a:cubicBezTo>
                      <a:pt x="1077" y="134"/>
                      <a:pt x="1072" y="133"/>
                      <a:pt x="1072" y="131"/>
                    </a:cubicBezTo>
                    <a:cubicBezTo>
                      <a:pt x="1068" y="125"/>
                      <a:pt x="1082" y="122"/>
                      <a:pt x="1080" y="116"/>
                    </a:cubicBezTo>
                    <a:cubicBezTo>
                      <a:pt x="1072" y="114"/>
                      <a:pt x="1065" y="111"/>
                      <a:pt x="1057" y="108"/>
                    </a:cubicBezTo>
                    <a:cubicBezTo>
                      <a:pt x="1056" y="107"/>
                      <a:pt x="1054" y="107"/>
                      <a:pt x="1052" y="107"/>
                    </a:cubicBezTo>
                    <a:cubicBezTo>
                      <a:pt x="1051" y="106"/>
                      <a:pt x="1051" y="106"/>
                      <a:pt x="1049" y="105"/>
                    </a:cubicBezTo>
                    <a:cubicBezTo>
                      <a:pt x="1047" y="104"/>
                      <a:pt x="1045" y="104"/>
                      <a:pt x="1045" y="101"/>
                    </a:cubicBezTo>
                    <a:cubicBezTo>
                      <a:pt x="1045" y="98"/>
                      <a:pt x="1047" y="96"/>
                      <a:pt x="1047" y="94"/>
                    </a:cubicBezTo>
                    <a:cubicBezTo>
                      <a:pt x="1044" y="93"/>
                      <a:pt x="1039" y="96"/>
                      <a:pt x="1037" y="94"/>
                    </a:cubicBezTo>
                    <a:cubicBezTo>
                      <a:pt x="1036" y="93"/>
                      <a:pt x="1035" y="90"/>
                      <a:pt x="1034" y="89"/>
                    </a:cubicBezTo>
                    <a:cubicBezTo>
                      <a:pt x="1032" y="87"/>
                      <a:pt x="1028" y="87"/>
                      <a:pt x="1027" y="85"/>
                    </a:cubicBezTo>
                    <a:cubicBezTo>
                      <a:pt x="1025" y="84"/>
                      <a:pt x="1026" y="82"/>
                      <a:pt x="1025" y="80"/>
                    </a:cubicBezTo>
                    <a:cubicBezTo>
                      <a:pt x="1023" y="77"/>
                      <a:pt x="1017" y="76"/>
                      <a:pt x="1014" y="75"/>
                    </a:cubicBezTo>
                    <a:cubicBezTo>
                      <a:pt x="1012" y="74"/>
                      <a:pt x="1008" y="72"/>
                      <a:pt x="1006" y="73"/>
                    </a:cubicBezTo>
                    <a:cubicBezTo>
                      <a:pt x="1005" y="75"/>
                      <a:pt x="1006" y="80"/>
                      <a:pt x="1006" y="81"/>
                    </a:cubicBezTo>
                    <a:cubicBezTo>
                      <a:pt x="1003" y="82"/>
                      <a:pt x="1000" y="81"/>
                      <a:pt x="996" y="81"/>
                    </a:cubicBezTo>
                    <a:cubicBezTo>
                      <a:pt x="995" y="81"/>
                      <a:pt x="992" y="81"/>
                      <a:pt x="990" y="81"/>
                    </a:cubicBezTo>
                    <a:cubicBezTo>
                      <a:pt x="988" y="82"/>
                      <a:pt x="988" y="83"/>
                      <a:pt x="986" y="83"/>
                    </a:cubicBezTo>
                    <a:cubicBezTo>
                      <a:pt x="985" y="82"/>
                      <a:pt x="983" y="82"/>
                      <a:pt x="982" y="81"/>
                    </a:cubicBezTo>
                    <a:cubicBezTo>
                      <a:pt x="981" y="81"/>
                      <a:pt x="979" y="79"/>
                      <a:pt x="978" y="79"/>
                    </a:cubicBezTo>
                    <a:cubicBezTo>
                      <a:pt x="976" y="78"/>
                      <a:pt x="973" y="79"/>
                      <a:pt x="970" y="79"/>
                    </a:cubicBezTo>
                    <a:cubicBezTo>
                      <a:pt x="969" y="79"/>
                      <a:pt x="968" y="79"/>
                      <a:pt x="967" y="79"/>
                    </a:cubicBezTo>
                    <a:cubicBezTo>
                      <a:pt x="965" y="79"/>
                      <a:pt x="966" y="80"/>
                      <a:pt x="964" y="80"/>
                    </a:cubicBezTo>
                    <a:cubicBezTo>
                      <a:pt x="962" y="82"/>
                      <a:pt x="959" y="83"/>
                      <a:pt x="955" y="83"/>
                    </a:cubicBezTo>
                    <a:cubicBezTo>
                      <a:pt x="953" y="82"/>
                      <a:pt x="951" y="81"/>
                      <a:pt x="949" y="81"/>
                    </a:cubicBezTo>
                    <a:cubicBezTo>
                      <a:pt x="945" y="80"/>
                      <a:pt x="942" y="81"/>
                      <a:pt x="938" y="81"/>
                    </a:cubicBezTo>
                    <a:cubicBezTo>
                      <a:pt x="939" y="86"/>
                      <a:pt x="930" y="93"/>
                      <a:pt x="926" y="96"/>
                    </a:cubicBezTo>
                    <a:cubicBezTo>
                      <a:pt x="926" y="97"/>
                      <a:pt x="926" y="97"/>
                      <a:pt x="925" y="97"/>
                    </a:cubicBezTo>
                    <a:cubicBezTo>
                      <a:pt x="923" y="98"/>
                      <a:pt x="921" y="98"/>
                      <a:pt x="920" y="99"/>
                    </a:cubicBezTo>
                    <a:cubicBezTo>
                      <a:pt x="919" y="99"/>
                      <a:pt x="918" y="101"/>
                      <a:pt x="917" y="102"/>
                    </a:cubicBezTo>
                    <a:cubicBezTo>
                      <a:pt x="916" y="102"/>
                      <a:pt x="914" y="103"/>
                      <a:pt x="913" y="104"/>
                    </a:cubicBezTo>
                    <a:cubicBezTo>
                      <a:pt x="910" y="105"/>
                      <a:pt x="907" y="106"/>
                      <a:pt x="904" y="107"/>
                    </a:cubicBezTo>
                    <a:cubicBezTo>
                      <a:pt x="901" y="109"/>
                      <a:pt x="897" y="110"/>
                      <a:pt x="893" y="110"/>
                    </a:cubicBezTo>
                    <a:cubicBezTo>
                      <a:pt x="886" y="110"/>
                      <a:pt x="879" y="110"/>
                      <a:pt x="874" y="115"/>
                    </a:cubicBezTo>
                    <a:cubicBezTo>
                      <a:pt x="870" y="119"/>
                      <a:pt x="866" y="120"/>
                      <a:pt x="862" y="122"/>
                    </a:cubicBezTo>
                    <a:cubicBezTo>
                      <a:pt x="854" y="125"/>
                      <a:pt x="848" y="121"/>
                      <a:pt x="841" y="118"/>
                    </a:cubicBezTo>
                    <a:cubicBezTo>
                      <a:pt x="833" y="115"/>
                      <a:pt x="824" y="117"/>
                      <a:pt x="816" y="115"/>
                    </a:cubicBezTo>
                    <a:cubicBezTo>
                      <a:pt x="814" y="114"/>
                      <a:pt x="813" y="113"/>
                      <a:pt x="812" y="112"/>
                    </a:cubicBezTo>
                    <a:cubicBezTo>
                      <a:pt x="810" y="112"/>
                      <a:pt x="809" y="113"/>
                      <a:pt x="808" y="113"/>
                    </a:cubicBezTo>
                    <a:cubicBezTo>
                      <a:pt x="806" y="112"/>
                      <a:pt x="804" y="111"/>
                      <a:pt x="802" y="111"/>
                    </a:cubicBezTo>
                    <a:cubicBezTo>
                      <a:pt x="801" y="111"/>
                      <a:pt x="800" y="111"/>
                      <a:pt x="799" y="111"/>
                    </a:cubicBezTo>
                    <a:cubicBezTo>
                      <a:pt x="798" y="111"/>
                      <a:pt x="798" y="113"/>
                      <a:pt x="796" y="113"/>
                    </a:cubicBezTo>
                    <a:cubicBezTo>
                      <a:pt x="794" y="114"/>
                      <a:pt x="789" y="113"/>
                      <a:pt x="786" y="113"/>
                    </a:cubicBezTo>
                    <a:cubicBezTo>
                      <a:pt x="780" y="113"/>
                      <a:pt x="777" y="114"/>
                      <a:pt x="771" y="116"/>
                    </a:cubicBezTo>
                    <a:cubicBezTo>
                      <a:pt x="768" y="118"/>
                      <a:pt x="765" y="117"/>
                      <a:pt x="762" y="118"/>
                    </a:cubicBezTo>
                    <a:cubicBezTo>
                      <a:pt x="759" y="118"/>
                      <a:pt x="757" y="121"/>
                      <a:pt x="754" y="121"/>
                    </a:cubicBezTo>
                    <a:cubicBezTo>
                      <a:pt x="753" y="121"/>
                      <a:pt x="752" y="121"/>
                      <a:pt x="752" y="121"/>
                    </a:cubicBezTo>
                    <a:cubicBezTo>
                      <a:pt x="748" y="120"/>
                      <a:pt x="743" y="119"/>
                      <a:pt x="739" y="118"/>
                    </a:cubicBezTo>
                    <a:cubicBezTo>
                      <a:pt x="736" y="116"/>
                      <a:pt x="735" y="114"/>
                      <a:pt x="731" y="113"/>
                    </a:cubicBezTo>
                    <a:cubicBezTo>
                      <a:pt x="729" y="112"/>
                      <a:pt x="726" y="113"/>
                      <a:pt x="723" y="112"/>
                    </a:cubicBezTo>
                    <a:cubicBezTo>
                      <a:pt x="720" y="112"/>
                      <a:pt x="719" y="111"/>
                      <a:pt x="717" y="108"/>
                    </a:cubicBezTo>
                    <a:cubicBezTo>
                      <a:pt x="714" y="105"/>
                      <a:pt x="710" y="100"/>
                      <a:pt x="706" y="99"/>
                    </a:cubicBezTo>
                    <a:cubicBezTo>
                      <a:pt x="704" y="98"/>
                      <a:pt x="701" y="99"/>
                      <a:pt x="698" y="99"/>
                    </a:cubicBezTo>
                    <a:cubicBezTo>
                      <a:pt x="695" y="98"/>
                      <a:pt x="692" y="97"/>
                      <a:pt x="689" y="97"/>
                    </a:cubicBezTo>
                    <a:cubicBezTo>
                      <a:pt x="683" y="97"/>
                      <a:pt x="677" y="97"/>
                      <a:pt x="671" y="97"/>
                    </a:cubicBezTo>
                    <a:cubicBezTo>
                      <a:pt x="672" y="98"/>
                      <a:pt x="673" y="98"/>
                      <a:pt x="674" y="99"/>
                    </a:cubicBezTo>
                    <a:cubicBezTo>
                      <a:pt x="672" y="99"/>
                      <a:pt x="670" y="98"/>
                      <a:pt x="668" y="97"/>
                    </a:cubicBezTo>
                    <a:cubicBezTo>
                      <a:pt x="666" y="97"/>
                      <a:pt x="665" y="97"/>
                      <a:pt x="663" y="97"/>
                    </a:cubicBezTo>
                    <a:cubicBezTo>
                      <a:pt x="665" y="97"/>
                      <a:pt x="666" y="97"/>
                      <a:pt x="668" y="97"/>
                    </a:cubicBezTo>
                    <a:cubicBezTo>
                      <a:pt x="665" y="96"/>
                      <a:pt x="662" y="94"/>
                      <a:pt x="659" y="92"/>
                    </a:cubicBezTo>
                    <a:cubicBezTo>
                      <a:pt x="655" y="90"/>
                      <a:pt x="653" y="89"/>
                      <a:pt x="653" y="84"/>
                    </a:cubicBezTo>
                    <a:cubicBezTo>
                      <a:pt x="652" y="80"/>
                      <a:pt x="652" y="80"/>
                      <a:pt x="648" y="81"/>
                    </a:cubicBezTo>
                    <a:cubicBezTo>
                      <a:pt x="646" y="81"/>
                      <a:pt x="640" y="81"/>
                      <a:pt x="640" y="84"/>
                    </a:cubicBezTo>
                    <a:cubicBezTo>
                      <a:pt x="638" y="84"/>
                      <a:pt x="634" y="84"/>
                      <a:pt x="632" y="84"/>
                    </a:cubicBezTo>
                    <a:cubicBezTo>
                      <a:pt x="629" y="83"/>
                      <a:pt x="625" y="81"/>
                      <a:pt x="623" y="80"/>
                    </a:cubicBezTo>
                    <a:cubicBezTo>
                      <a:pt x="618" y="79"/>
                      <a:pt x="620" y="80"/>
                      <a:pt x="619" y="78"/>
                    </a:cubicBezTo>
                    <a:cubicBezTo>
                      <a:pt x="617" y="76"/>
                      <a:pt x="618" y="71"/>
                      <a:pt x="616" y="69"/>
                    </a:cubicBezTo>
                    <a:cubicBezTo>
                      <a:pt x="615" y="67"/>
                      <a:pt x="613" y="68"/>
                      <a:pt x="612" y="65"/>
                    </a:cubicBezTo>
                    <a:cubicBezTo>
                      <a:pt x="611" y="64"/>
                      <a:pt x="610" y="62"/>
                      <a:pt x="610" y="60"/>
                    </a:cubicBezTo>
                    <a:cubicBezTo>
                      <a:pt x="610" y="55"/>
                      <a:pt x="612" y="46"/>
                      <a:pt x="609" y="41"/>
                    </a:cubicBezTo>
                    <a:cubicBezTo>
                      <a:pt x="606" y="38"/>
                      <a:pt x="602" y="38"/>
                      <a:pt x="598" y="38"/>
                    </a:cubicBezTo>
                    <a:cubicBezTo>
                      <a:pt x="596" y="39"/>
                      <a:pt x="596" y="39"/>
                      <a:pt x="594" y="40"/>
                    </a:cubicBezTo>
                    <a:cubicBezTo>
                      <a:pt x="592" y="41"/>
                      <a:pt x="591" y="42"/>
                      <a:pt x="589" y="43"/>
                    </a:cubicBezTo>
                    <a:cubicBezTo>
                      <a:pt x="588" y="44"/>
                      <a:pt x="587" y="45"/>
                      <a:pt x="586" y="46"/>
                    </a:cubicBezTo>
                    <a:cubicBezTo>
                      <a:pt x="582" y="49"/>
                      <a:pt x="571" y="46"/>
                      <a:pt x="566" y="46"/>
                    </a:cubicBezTo>
                    <a:cubicBezTo>
                      <a:pt x="564" y="46"/>
                      <a:pt x="563" y="46"/>
                      <a:pt x="561" y="46"/>
                    </a:cubicBezTo>
                    <a:cubicBezTo>
                      <a:pt x="559" y="44"/>
                      <a:pt x="557" y="38"/>
                      <a:pt x="555" y="36"/>
                    </a:cubicBezTo>
                    <a:cubicBezTo>
                      <a:pt x="552" y="33"/>
                      <a:pt x="549" y="32"/>
                      <a:pt x="550" y="27"/>
                    </a:cubicBezTo>
                    <a:cubicBezTo>
                      <a:pt x="550" y="24"/>
                      <a:pt x="552" y="22"/>
                      <a:pt x="550" y="20"/>
                    </a:cubicBezTo>
                    <a:cubicBezTo>
                      <a:pt x="548" y="19"/>
                      <a:pt x="543" y="19"/>
                      <a:pt x="541" y="19"/>
                    </a:cubicBezTo>
                    <a:cubicBezTo>
                      <a:pt x="539" y="20"/>
                      <a:pt x="538" y="23"/>
                      <a:pt x="536" y="24"/>
                    </a:cubicBezTo>
                    <a:cubicBezTo>
                      <a:pt x="533" y="25"/>
                      <a:pt x="527" y="27"/>
                      <a:pt x="523" y="27"/>
                    </a:cubicBezTo>
                    <a:cubicBezTo>
                      <a:pt x="520" y="27"/>
                      <a:pt x="519" y="26"/>
                      <a:pt x="516" y="25"/>
                    </a:cubicBezTo>
                    <a:cubicBezTo>
                      <a:pt x="513" y="25"/>
                      <a:pt x="510" y="25"/>
                      <a:pt x="508" y="24"/>
                    </a:cubicBezTo>
                    <a:cubicBezTo>
                      <a:pt x="505" y="24"/>
                      <a:pt x="502" y="22"/>
                      <a:pt x="499" y="23"/>
                    </a:cubicBezTo>
                    <a:cubicBezTo>
                      <a:pt x="496" y="23"/>
                      <a:pt x="495" y="24"/>
                      <a:pt x="491" y="25"/>
                    </a:cubicBezTo>
                    <a:cubicBezTo>
                      <a:pt x="490" y="25"/>
                      <a:pt x="487" y="25"/>
                      <a:pt x="486" y="25"/>
                    </a:cubicBezTo>
                    <a:cubicBezTo>
                      <a:pt x="482" y="25"/>
                      <a:pt x="480" y="23"/>
                      <a:pt x="477" y="22"/>
                    </a:cubicBezTo>
                    <a:cubicBezTo>
                      <a:pt x="469" y="21"/>
                      <a:pt x="462" y="20"/>
                      <a:pt x="454" y="20"/>
                    </a:cubicBezTo>
                    <a:cubicBezTo>
                      <a:pt x="447" y="20"/>
                      <a:pt x="437" y="19"/>
                      <a:pt x="430" y="21"/>
                    </a:cubicBezTo>
                    <a:cubicBezTo>
                      <a:pt x="426" y="22"/>
                      <a:pt x="422" y="23"/>
                      <a:pt x="418" y="25"/>
                    </a:cubicBezTo>
                    <a:cubicBezTo>
                      <a:pt x="416" y="27"/>
                      <a:pt x="413" y="27"/>
                      <a:pt x="411" y="28"/>
                    </a:cubicBezTo>
                    <a:cubicBezTo>
                      <a:pt x="411" y="28"/>
                      <a:pt x="408" y="29"/>
                      <a:pt x="408" y="29"/>
                    </a:cubicBezTo>
                    <a:cubicBezTo>
                      <a:pt x="406" y="30"/>
                      <a:pt x="403" y="30"/>
                      <a:pt x="400" y="30"/>
                    </a:cubicBezTo>
                    <a:cubicBezTo>
                      <a:pt x="398" y="31"/>
                      <a:pt x="395" y="30"/>
                      <a:pt x="393" y="31"/>
                    </a:cubicBezTo>
                    <a:cubicBezTo>
                      <a:pt x="389" y="32"/>
                      <a:pt x="386" y="34"/>
                      <a:pt x="383" y="35"/>
                    </a:cubicBezTo>
                    <a:cubicBezTo>
                      <a:pt x="380" y="36"/>
                      <a:pt x="378" y="37"/>
                      <a:pt x="375" y="39"/>
                    </a:cubicBezTo>
                    <a:cubicBezTo>
                      <a:pt x="373" y="41"/>
                      <a:pt x="370" y="41"/>
                      <a:pt x="367" y="43"/>
                    </a:cubicBezTo>
                    <a:cubicBezTo>
                      <a:pt x="365" y="45"/>
                      <a:pt x="365" y="45"/>
                      <a:pt x="362" y="46"/>
                    </a:cubicBezTo>
                    <a:cubicBezTo>
                      <a:pt x="361" y="46"/>
                      <a:pt x="360" y="46"/>
                      <a:pt x="358" y="46"/>
                    </a:cubicBezTo>
                    <a:cubicBezTo>
                      <a:pt x="355" y="47"/>
                      <a:pt x="356" y="47"/>
                      <a:pt x="354" y="49"/>
                    </a:cubicBezTo>
                    <a:cubicBezTo>
                      <a:pt x="353" y="51"/>
                      <a:pt x="351" y="52"/>
                      <a:pt x="350" y="55"/>
                    </a:cubicBezTo>
                    <a:cubicBezTo>
                      <a:pt x="348" y="59"/>
                      <a:pt x="351" y="63"/>
                      <a:pt x="347" y="66"/>
                    </a:cubicBezTo>
                    <a:cubicBezTo>
                      <a:pt x="346" y="67"/>
                      <a:pt x="343" y="67"/>
                      <a:pt x="341" y="68"/>
                    </a:cubicBezTo>
                    <a:cubicBezTo>
                      <a:pt x="340" y="69"/>
                      <a:pt x="340" y="71"/>
                      <a:pt x="339" y="72"/>
                    </a:cubicBezTo>
                    <a:cubicBezTo>
                      <a:pt x="338" y="74"/>
                      <a:pt x="336" y="74"/>
                      <a:pt x="335" y="76"/>
                    </a:cubicBezTo>
                    <a:cubicBezTo>
                      <a:pt x="333" y="78"/>
                      <a:pt x="335" y="81"/>
                      <a:pt x="334" y="84"/>
                    </a:cubicBezTo>
                    <a:cubicBezTo>
                      <a:pt x="332" y="88"/>
                      <a:pt x="324" y="86"/>
                      <a:pt x="321" y="86"/>
                    </a:cubicBezTo>
                    <a:cubicBezTo>
                      <a:pt x="319" y="86"/>
                      <a:pt x="314" y="85"/>
                      <a:pt x="312" y="86"/>
                    </a:cubicBezTo>
                    <a:cubicBezTo>
                      <a:pt x="310" y="87"/>
                      <a:pt x="309" y="89"/>
                      <a:pt x="307" y="89"/>
                    </a:cubicBezTo>
                    <a:cubicBezTo>
                      <a:pt x="304" y="91"/>
                      <a:pt x="302" y="91"/>
                      <a:pt x="299" y="90"/>
                    </a:cubicBezTo>
                    <a:cubicBezTo>
                      <a:pt x="295" y="88"/>
                      <a:pt x="292" y="86"/>
                      <a:pt x="288" y="85"/>
                    </a:cubicBezTo>
                    <a:cubicBezTo>
                      <a:pt x="282" y="83"/>
                      <a:pt x="274" y="85"/>
                      <a:pt x="269" y="81"/>
                    </a:cubicBezTo>
                    <a:cubicBezTo>
                      <a:pt x="266" y="79"/>
                      <a:pt x="266" y="78"/>
                      <a:pt x="262" y="80"/>
                    </a:cubicBezTo>
                    <a:cubicBezTo>
                      <a:pt x="259" y="82"/>
                      <a:pt x="255" y="81"/>
                      <a:pt x="251" y="81"/>
                    </a:cubicBezTo>
                    <a:cubicBezTo>
                      <a:pt x="243" y="81"/>
                      <a:pt x="234" y="83"/>
                      <a:pt x="226" y="81"/>
                    </a:cubicBezTo>
                    <a:cubicBezTo>
                      <a:pt x="223" y="81"/>
                      <a:pt x="221" y="79"/>
                      <a:pt x="218" y="77"/>
                    </a:cubicBezTo>
                    <a:cubicBezTo>
                      <a:pt x="214" y="76"/>
                      <a:pt x="211" y="76"/>
                      <a:pt x="208" y="75"/>
                    </a:cubicBezTo>
                    <a:cubicBezTo>
                      <a:pt x="205" y="74"/>
                      <a:pt x="202" y="72"/>
                      <a:pt x="200" y="71"/>
                    </a:cubicBezTo>
                    <a:cubicBezTo>
                      <a:pt x="200" y="71"/>
                      <a:pt x="200" y="71"/>
                      <a:pt x="200" y="72"/>
                    </a:cubicBezTo>
                    <a:cubicBezTo>
                      <a:pt x="200" y="72"/>
                      <a:pt x="199" y="73"/>
                      <a:pt x="199" y="74"/>
                    </a:cubicBezTo>
                    <a:cubicBezTo>
                      <a:pt x="198" y="74"/>
                      <a:pt x="198" y="75"/>
                      <a:pt x="198" y="76"/>
                    </a:cubicBezTo>
                    <a:cubicBezTo>
                      <a:pt x="197" y="78"/>
                      <a:pt x="197" y="80"/>
                      <a:pt x="195" y="82"/>
                    </a:cubicBezTo>
                    <a:cubicBezTo>
                      <a:pt x="195" y="82"/>
                      <a:pt x="195" y="82"/>
                      <a:pt x="194" y="83"/>
                    </a:cubicBezTo>
                    <a:cubicBezTo>
                      <a:pt x="194" y="83"/>
                      <a:pt x="195" y="83"/>
                      <a:pt x="195" y="83"/>
                    </a:cubicBezTo>
                    <a:cubicBezTo>
                      <a:pt x="194" y="84"/>
                      <a:pt x="194" y="84"/>
                      <a:pt x="194" y="84"/>
                    </a:cubicBezTo>
                    <a:cubicBezTo>
                      <a:pt x="194" y="85"/>
                      <a:pt x="194" y="85"/>
                      <a:pt x="194" y="86"/>
                    </a:cubicBezTo>
                    <a:cubicBezTo>
                      <a:pt x="194" y="87"/>
                      <a:pt x="194" y="87"/>
                      <a:pt x="194" y="88"/>
                    </a:cubicBezTo>
                    <a:cubicBezTo>
                      <a:pt x="194" y="90"/>
                      <a:pt x="194" y="92"/>
                      <a:pt x="194" y="94"/>
                    </a:cubicBezTo>
                    <a:cubicBezTo>
                      <a:pt x="194" y="95"/>
                      <a:pt x="194" y="96"/>
                      <a:pt x="194" y="96"/>
                    </a:cubicBezTo>
                    <a:cubicBezTo>
                      <a:pt x="195" y="98"/>
                      <a:pt x="198" y="99"/>
                      <a:pt x="199" y="100"/>
                    </a:cubicBezTo>
                    <a:cubicBezTo>
                      <a:pt x="199" y="100"/>
                      <a:pt x="200" y="100"/>
                      <a:pt x="201" y="101"/>
                    </a:cubicBezTo>
                    <a:cubicBezTo>
                      <a:pt x="199" y="100"/>
                      <a:pt x="199" y="100"/>
                      <a:pt x="199" y="100"/>
                    </a:cubicBezTo>
                    <a:cubicBezTo>
                      <a:pt x="199" y="99"/>
                      <a:pt x="199" y="99"/>
                      <a:pt x="198" y="99"/>
                    </a:cubicBezTo>
                    <a:cubicBezTo>
                      <a:pt x="198" y="99"/>
                      <a:pt x="198" y="99"/>
                      <a:pt x="197" y="98"/>
                    </a:cubicBezTo>
                    <a:cubicBezTo>
                      <a:pt x="197" y="98"/>
                      <a:pt x="196" y="98"/>
                      <a:pt x="196" y="97"/>
                    </a:cubicBezTo>
                    <a:cubicBezTo>
                      <a:pt x="196" y="97"/>
                      <a:pt x="196" y="97"/>
                      <a:pt x="195" y="97"/>
                    </a:cubicBezTo>
                    <a:cubicBezTo>
                      <a:pt x="199" y="100"/>
                      <a:pt x="199" y="100"/>
                      <a:pt x="199" y="100"/>
                    </a:cubicBezTo>
                    <a:cubicBezTo>
                      <a:pt x="200" y="100"/>
                      <a:pt x="200" y="100"/>
                      <a:pt x="201" y="100"/>
                    </a:cubicBezTo>
                    <a:cubicBezTo>
                      <a:pt x="204" y="100"/>
                      <a:pt x="206" y="103"/>
                      <a:pt x="209" y="105"/>
                    </a:cubicBezTo>
                    <a:cubicBezTo>
                      <a:pt x="209" y="106"/>
                      <a:pt x="210" y="106"/>
                      <a:pt x="211" y="106"/>
                    </a:cubicBezTo>
                    <a:cubicBezTo>
                      <a:pt x="212" y="106"/>
                      <a:pt x="213" y="106"/>
                      <a:pt x="215" y="107"/>
                    </a:cubicBezTo>
                    <a:cubicBezTo>
                      <a:pt x="216" y="107"/>
                      <a:pt x="218" y="108"/>
                      <a:pt x="219" y="108"/>
                    </a:cubicBezTo>
                    <a:cubicBezTo>
                      <a:pt x="222" y="110"/>
                      <a:pt x="225" y="112"/>
                      <a:pt x="228" y="113"/>
                    </a:cubicBezTo>
                    <a:cubicBezTo>
                      <a:pt x="230" y="114"/>
                      <a:pt x="231" y="114"/>
                      <a:pt x="233" y="114"/>
                    </a:cubicBezTo>
                    <a:cubicBezTo>
                      <a:pt x="237" y="114"/>
                      <a:pt x="241" y="113"/>
                      <a:pt x="245" y="113"/>
                    </a:cubicBezTo>
                    <a:cubicBezTo>
                      <a:pt x="246" y="114"/>
                      <a:pt x="247" y="114"/>
                      <a:pt x="248" y="115"/>
                    </a:cubicBezTo>
                    <a:cubicBezTo>
                      <a:pt x="246" y="115"/>
                      <a:pt x="244" y="115"/>
                      <a:pt x="242" y="115"/>
                    </a:cubicBezTo>
                    <a:cubicBezTo>
                      <a:pt x="241" y="115"/>
                      <a:pt x="240" y="115"/>
                      <a:pt x="239" y="115"/>
                    </a:cubicBezTo>
                    <a:cubicBezTo>
                      <a:pt x="237" y="115"/>
                      <a:pt x="235" y="115"/>
                      <a:pt x="233" y="116"/>
                    </a:cubicBezTo>
                    <a:cubicBezTo>
                      <a:pt x="232" y="117"/>
                      <a:pt x="232" y="118"/>
                      <a:pt x="232" y="119"/>
                    </a:cubicBezTo>
                    <a:cubicBezTo>
                      <a:pt x="231" y="122"/>
                      <a:pt x="227" y="119"/>
                      <a:pt x="225" y="118"/>
                    </a:cubicBezTo>
                    <a:cubicBezTo>
                      <a:pt x="225" y="118"/>
                      <a:pt x="224" y="117"/>
                      <a:pt x="224" y="117"/>
                    </a:cubicBezTo>
                    <a:cubicBezTo>
                      <a:pt x="223" y="118"/>
                      <a:pt x="222" y="118"/>
                      <a:pt x="222" y="118"/>
                    </a:cubicBezTo>
                    <a:cubicBezTo>
                      <a:pt x="221" y="118"/>
                      <a:pt x="220" y="119"/>
                      <a:pt x="219" y="118"/>
                    </a:cubicBezTo>
                    <a:cubicBezTo>
                      <a:pt x="217" y="118"/>
                      <a:pt x="216" y="118"/>
                      <a:pt x="214" y="118"/>
                    </a:cubicBezTo>
                    <a:cubicBezTo>
                      <a:pt x="212" y="117"/>
                      <a:pt x="212" y="116"/>
                      <a:pt x="210" y="117"/>
                    </a:cubicBezTo>
                    <a:cubicBezTo>
                      <a:pt x="210" y="117"/>
                      <a:pt x="208" y="118"/>
                      <a:pt x="208" y="119"/>
                    </a:cubicBezTo>
                    <a:cubicBezTo>
                      <a:pt x="208" y="119"/>
                      <a:pt x="208" y="120"/>
                      <a:pt x="208" y="120"/>
                    </a:cubicBezTo>
                    <a:cubicBezTo>
                      <a:pt x="207" y="121"/>
                      <a:pt x="208" y="121"/>
                      <a:pt x="207" y="121"/>
                    </a:cubicBezTo>
                    <a:cubicBezTo>
                      <a:pt x="206" y="121"/>
                      <a:pt x="206" y="121"/>
                      <a:pt x="205" y="121"/>
                    </a:cubicBezTo>
                    <a:cubicBezTo>
                      <a:pt x="201" y="120"/>
                      <a:pt x="195" y="119"/>
                      <a:pt x="191" y="122"/>
                    </a:cubicBezTo>
                    <a:cubicBezTo>
                      <a:pt x="191" y="122"/>
                      <a:pt x="191" y="122"/>
                      <a:pt x="191" y="122"/>
                    </a:cubicBezTo>
                    <a:cubicBezTo>
                      <a:pt x="192" y="123"/>
                      <a:pt x="191" y="124"/>
                      <a:pt x="191" y="125"/>
                    </a:cubicBezTo>
                    <a:cubicBezTo>
                      <a:pt x="191" y="126"/>
                      <a:pt x="189" y="126"/>
                      <a:pt x="188" y="126"/>
                    </a:cubicBezTo>
                    <a:cubicBezTo>
                      <a:pt x="186" y="127"/>
                      <a:pt x="183" y="126"/>
                      <a:pt x="181" y="127"/>
                    </a:cubicBezTo>
                    <a:cubicBezTo>
                      <a:pt x="178" y="128"/>
                      <a:pt x="182" y="131"/>
                      <a:pt x="183" y="132"/>
                    </a:cubicBezTo>
                    <a:cubicBezTo>
                      <a:pt x="183" y="134"/>
                      <a:pt x="179" y="135"/>
                      <a:pt x="178" y="135"/>
                    </a:cubicBezTo>
                    <a:cubicBezTo>
                      <a:pt x="176" y="135"/>
                      <a:pt x="176" y="134"/>
                      <a:pt x="175" y="134"/>
                    </a:cubicBezTo>
                    <a:cubicBezTo>
                      <a:pt x="173" y="133"/>
                      <a:pt x="170" y="134"/>
                      <a:pt x="168" y="133"/>
                    </a:cubicBezTo>
                    <a:cubicBezTo>
                      <a:pt x="167" y="132"/>
                      <a:pt x="166" y="131"/>
                      <a:pt x="166" y="130"/>
                    </a:cubicBezTo>
                    <a:cubicBezTo>
                      <a:pt x="166" y="130"/>
                      <a:pt x="164" y="127"/>
                      <a:pt x="163" y="127"/>
                    </a:cubicBezTo>
                    <a:cubicBezTo>
                      <a:pt x="163" y="127"/>
                      <a:pt x="161" y="128"/>
                      <a:pt x="161" y="129"/>
                    </a:cubicBezTo>
                    <a:cubicBezTo>
                      <a:pt x="159" y="130"/>
                      <a:pt x="157" y="131"/>
                      <a:pt x="156" y="133"/>
                    </a:cubicBezTo>
                    <a:cubicBezTo>
                      <a:pt x="153" y="134"/>
                      <a:pt x="152" y="136"/>
                      <a:pt x="150" y="137"/>
                    </a:cubicBezTo>
                    <a:cubicBezTo>
                      <a:pt x="149" y="138"/>
                      <a:pt x="148" y="138"/>
                      <a:pt x="148" y="138"/>
                    </a:cubicBezTo>
                    <a:cubicBezTo>
                      <a:pt x="147" y="139"/>
                      <a:pt x="146" y="139"/>
                      <a:pt x="145" y="140"/>
                    </a:cubicBezTo>
                    <a:cubicBezTo>
                      <a:pt x="143" y="140"/>
                      <a:pt x="143" y="140"/>
                      <a:pt x="141" y="140"/>
                    </a:cubicBezTo>
                    <a:cubicBezTo>
                      <a:pt x="140" y="139"/>
                      <a:pt x="140" y="139"/>
                      <a:pt x="138" y="140"/>
                    </a:cubicBezTo>
                    <a:cubicBezTo>
                      <a:pt x="137" y="140"/>
                      <a:pt x="136" y="140"/>
                      <a:pt x="134" y="140"/>
                    </a:cubicBezTo>
                    <a:cubicBezTo>
                      <a:pt x="134" y="140"/>
                      <a:pt x="133" y="140"/>
                      <a:pt x="133" y="140"/>
                    </a:cubicBezTo>
                    <a:cubicBezTo>
                      <a:pt x="132" y="140"/>
                      <a:pt x="132" y="138"/>
                      <a:pt x="132" y="138"/>
                    </a:cubicBezTo>
                    <a:cubicBezTo>
                      <a:pt x="133" y="136"/>
                      <a:pt x="134" y="134"/>
                      <a:pt x="133" y="132"/>
                    </a:cubicBezTo>
                    <a:cubicBezTo>
                      <a:pt x="133" y="130"/>
                      <a:pt x="131" y="129"/>
                      <a:pt x="129" y="129"/>
                    </a:cubicBezTo>
                    <a:cubicBezTo>
                      <a:pt x="127" y="129"/>
                      <a:pt x="126" y="129"/>
                      <a:pt x="125" y="129"/>
                    </a:cubicBezTo>
                    <a:cubicBezTo>
                      <a:pt x="122" y="129"/>
                      <a:pt x="118" y="127"/>
                      <a:pt x="115" y="128"/>
                    </a:cubicBezTo>
                    <a:cubicBezTo>
                      <a:pt x="113" y="129"/>
                      <a:pt x="113" y="132"/>
                      <a:pt x="114" y="134"/>
                    </a:cubicBezTo>
                    <a:cubicBezTo>
                      <a:pt x="115" y="136"/>
                      <a:pt x="116" y="136"/>
                      <a:pt x="119" y="137"/>
                    </a:cubicBezTo>
                    <a:cubicBezTo>
                      <a:pt x="121" y="137"/>
                      <a:pt x="125" y="140"/>
                      <a:pt x="126" y="143"/>
                    </a:cubicBezTo>
                    <a:cubicBezTo>
                      <a:pt x="126" y="145"/>
                      <a:pt x="123" y="146"/>
                      <a:pt x="121" y="147"/>
                    </a:cubicBezTo>
                    <a:cubicBezTo>
                      <a:pt x="118" y="147"/>
                      <a:pt x="114" y="145"/>
                      <a:pt x="111" y="144"/>
                    </a:cubicBezTo>
                    <a:cubicBezTo>
                      <a:pt x="110" y="144"/>
                      <a:pt x="109" y="143"/>
                      <a:pt x="107" y="143"/>
                    </a:cubicBezTo>
                    <a:cubicBezTo>
                      <a:pt x="105" y="143"/>
                      <a:pt x="102" y="144"/>
                      <a:pt x="100" y="143"/>
                    </a:cubicBezTo>
                    <a:cubicBezTo>
                      <a:pt x="98" y="143"/>
                      <a:pt x="95" y="141"/>
                      <a:pt x="93" y="140"/>
                    </a:cubicBezTo>
                    <a:cubicBezTo>
                      <a:pt x="93" y="139"/>
                      <a:pt x="92" y="138"/>
                      <a:pt x="92" y="137"/>
                    </a:cubicBezTo>
                    <a:cubicBezTo>
                      <a:pt x="91" y="136"/>
                      <a:pt x="92" y="136"/>
                      <a:pt x="91" y="135"/>
                    </a:cubicBezTo>
                    <a:cubicBezTo>
                      <a:pt x="91" y="135"/>
                      <a:pt x="90" y="133"/>
                      <a:pt x="89" y="132"/>
                    </a:cubicBezTo>
                    <a:cubicBezTo>
                      <a:pt x="88" y="132"/>
                      <a:pt x="87" y="134"/>
                      <a:pt x="86" y="135"/>
                    </a:cubicBezTo>
                    <a:cubicBezTo>
                      <a:pt x="86" y="135"/>
                      <a:pt x="85" y="135"/>
                      <a:pt x="85" y="135"/>
                    </a:cubicBezTo>
                    <a:cubicBezTo>
                      <a:pt x="84" y="135"/>
                      <a:pt x="84" y="135"/>
                      <a:pt x="83" y="135"/>
                    </a:cubicBezTo>
                    <a:cubicBezTo>
                      <a:pt x="81" y="136"/>
                      <a:pt x="78" y="136"/>
                      <a:pt x="76" y="136"/>
                    </a:cubicBezTo>
                    <a:cubicBezTo>
                      <a:pt x="74" y="135"/>
                      <a:pt x="72" y="135"/>
                      <a:pt x="71" y="135"/>
                    </a:cubicBezTo>
                    <a:cubicBezTo>
                      <a:pt x="69" y="135"/>
                      <a:pt x="68" y="136"/>
                      <a:pt x="66" y="136"/>
                    </a:cubicBezTo>
                    <a:cubicBezTo>
                      <a:pt x="64" y="137"/>
                      <a:pt x="63" y="138"/>
                      <a:pt x="60" y="137"/>
                    </a:cubicBezTo>
                    <a:cubicBezTo>
                      <a:pt x="59" y="137"/>
                      <a:pt x="58" y="138"/>
                      <a:pt x="58" y="136"/>
                    </a:cubicBezTo>
                    <a:cubicBezTo>
                      <a:pt x="58" y="136"/>
                      <a:pt x="58" y="135"/>
                      <a:pt x="58" y="134"/>
                    </a:cubicBezTo>
                    <a:cubicBezTo>
                      <a:pt x="58" y="134"/>
                      <a:pt x="59" y="133"/>
                      <a:pt x="59" y="132"/>
                    </a:cubicBezTo>
                    <a:cubicBezTo>
                      <a:pt x="59" y="132"/>
                      <a:pt x="59" y="131"/>
                      <a:pt x="59" y="130"/>
                    </a:cubicBezTo>
                    <a:cubicBezTo>
                      <a:pt x="59" y="130"/>
                      <a:pt x="59" y="130"/>
                      <a:pt x="59" y="129"/>
                    </a:cubicBezTo>
                    <a:cubicBezTo>
                      <a:pt x="57" y="130"/>
                      <a:pt x="55" y="130"/>
                      <a:pt x="54" y="131"/>
                    </a:cubicBezTo>
                    <a:cubicBezTo>
                      <a:pt x="52" y="132"/>
                      <a:pt x="51" y="132"/>
                      <a:pt x="49" y="133"/>
                    </a:cubicBezTo>
                    <a:cubicBezTo>
                      <a:pt x="48" y="134"/>
                      <a:pt x="47" y="136"/>
                      <a:pt x="46" y="136"/>
                    </a:cubicBezTo>
                    <a:cubicBezTo>
                      <a:pt x="42" y="138"/>
                      <a:pt x="34" y="136"/>
                      <a:pt x="30" y="136"/>
                    </a:cubicBezTo>
                    <a:cubicBezTo>
                      <a:pt x="27" y="136"/>
                      <a:pt x="20" y="135"/>
                      <a:pt x="17" y="137"/>
                    </a:cubicBezTo>
                    <a:cubicBezTo>
                      <a:pt x="15" y="138"/>
                      <a:pt x="16" y="139"/>
                      <a:pt x="16" y="140"/>
                    </a:cubicBezTo>
                    <a:cubicBezTo>
                      <a:pt x="15" y="142"/>
                      <a:pt x="15" y="145"/>
                      <a:pt x="14" y="147"/>
                    </a:cubicBezTo>
                    <a:cubicBezTo>
                      <a:pt x="11" y="150"/>
                      <a:pt x="8" y="150"/>
                      <a:pt x="5" y="151"/>
                    </a:cubicBezTo>
                    <a:cubicBezTo>
                      <a:pt x="2" y="152"/>
                      <a:pt x="0" y="155"/>
                      <a:pt x="1" y="158"/>
                    </a:cubicBezTo>
                    <a:cubicBezTo>
                      <a:pt x="4" y="164"/>
                      <a:pt x="6" y="158"/>
                      <a:pt x="8" y="156"/>
                    </a:cubicBezTo>
                    <a:cubicBezTo>
                      <a:pt x="9" y="155"/>
                      <a:pt x="11" y="154"/>
                      <a:pt x="12" y="154"/>
                    </a:cubicBezTo>
                    <a:cubicBezTo>
                      <a:pt x="14" y="153"/>
                      <a:pt x="19" y="150"/>
                      <a:pt x="21" y="150"/>
                    </a:cubicBezTo>
                    <a:cubicBezTo>
                      <a:pt x="21" y="151"/>
                      <a:pt x="23" y="152"/>
                      <a:pt x="25" y="153"/>
                    </a:cubicBezTo>
                    <a:cubicBezTo>
                      <a:pt x="26" y="153"/>
                      <a:pt x="29" y="153"/>
                      <a:pt x="30" y="154"/>
                    </a:cubicBezTo>
                    <a:cubicBezTo>
                      <a:pt x="32" y="156"/>
                      <a:pt x="28" y="161"/>
                      <a:pt x="29" y="163"/>
                    </a:cubicBezTo>
                    <a:cubicBezTo>
                      <a:pt x="32" y="165"/>
                      <a:pt x="39" y="157"/>
                      <a:pt x="38" y="166"/>
                    </a:cubicBezTo>
                    <a:cubicBezTo>
                      <a:pt x="37" y="169"/>
                      <a:pt x="37" y="167"/>
                      <a:pt x="34" y="168"/>
                    </a:cubicBezTo>
                    <a:cubicBezTo>
                      <a:pt x="33" y="169"/>
                      <a:pt x="32" y="169"/>
                      <a:pt x="32" y="170"/>
                    </a:cubicBezTo>
                    <a:cubicBezTo>
                      <a:pt x="31" y="171"/>
                      <a:pt x="30" y="171"/>
                      <a:pt x="29" y="171"/>
                    </a:cubicBezTo>
                    <a:cubicBezTo>
                      <a:pt x="27" y="172"/>
                      <a:pt x="27" y="170"/>
                      <a:pt x="26" y="173"/>
                    </a:cubicBezTo>
                    <a:cubicBezTo>
                      <a:pt x="26" y="175"/>
                      <a:pt x="26" y="180"/>
                      <a:pt x="27" y="182"/>
                    </a:cubicBezTo>
                    <a:cubicBezTo>
                      <a:pt x="27" y="187"/>
                      <a:pt x="29" y="194"/>
                      <a:pt x="26" y="198"/>
                    </a:cubicBezTo>
                    <a:cubicBezTo>
                      <a:pt x="25" y="201"/>
                      <a:pt x="25" y="201"/>
                      <a:pt x="24" y="204"/>
                    </a:cubicBezTo>
                    <a:cubicBezTo>
                      <a:pt x="24" y="205"/>
                      <a:pt x="25" y="207"/>
                      <a:pt x="24" y="208"/>
                    </a:cubicBezTo>
                    <a:cubicBezTo>
                      <a:pt x="26" y="209"/>
                      <a:pt x="29" y="209"/>
                      <a:pt x="31" y="209"/>
                    </a:cubicBezTo>
                    <a:cubicBezTo>
                      <a:pt x="34" y="210"/>
                      <a:pt x="35" y="211"/>
                      <a:pt x="38" y="211"/>
                    </a:cubicBezTo>
                    <a:cubicBezTo>
                      <a:pt x="41" y="211"/>
                      <a:pt x="46" y="212"/>
                      <a:pt x="48" y="211"/>
                    </a:cubicBezTo>
                    <a:cubicBezTo>
                      <a:pt x="51" y="210"/>
                      <a:pt x="51" y="209"/>
                      <a:pt x="53" y="208"/>
                    </a:cubicBezTo>
                    <a:cubicBezTo>
                      <a:pt x="55" y="208"/>
                      <a:pt x="58" y="208"/>
                      <a:pt x="60" y="208"/>
                    </a:cubicBezTo>
                    <a:cubicBezTo>
                      <a:pt x="64" y="208"/>
                      <a:pt x="68" y="208"/>
                      <a:pt x="73" y="208"/>
                    </a:cubicBezTo>
                    <a:cubicBezTo>
                      <a:pt x="74" y="213"/>
                      <a:pt x="61" y="217"/>
                      <a:pt x="58" y="220"/>
                    </a:cubicBezTo>
                    <a:cubicBezTo>
                      <a:pt x="55" y="222"/>
                      <a:pt x="52" y="226"/>
                      <a:pt x="54" y="229"/>
                    </a:cubicBezTo>
                    <a:cubicBezTo>
                      <a:pt x="55" y="232"/>
                      <a:pt x="60" y="233"/>
                      <a:pt x="61" y="235"/>
                    </a:cubicBezTo>
                    <a:cubicBezTo>
                      <a:pt x="62" y="237"/>
                      <a:pt x="63" y="239"/>
                      <a:pt x="63" y="241"/>
                    </a:cubicBezTo>
                    <a:cubicBezTo>
                      <a:pt x="65" y="244"/>
                      <a:pt x="63" y="248"/>
                      <a:pt x="64" y="252"/>
                    </a:cubicBezTo>
                    <a:cubicBezTo>
                      <a:pt x="65" y="253"/>
                      <a:pt x="66" y="256"/>
                      <a:pt x="66" y="256"/>
                    </a:cubicBezTo>
                    <a:cubicBezTo>
                      <a:pt x="68" y="257"/>
                      <a:pt x="69" y="256"/>
                      <a:pt x="70" y="257"/>
                    </a:cubicBezTo>
                    <a:cubicBezTo>
                      <a:pt x="71" y="258"/>
                      <a:pt x="72" y="259"/>
                      <a:pt x="72" y="261"/>
                    </a:cubicBezTo>
                    <a:cubicBezTo>
                      <a:pt x="72" y="265"/>
                      <a:pt x="70" y="264"/>
                      <a:pt x="67" y="265"/>
                    </a:cubicBezTo>
                    <a:cubicBezTo>
                      <a:pt x="66" y="266"/>
                      <a:pt x="65" y="268"/>
                      <a:pt x="64" y="269"/>
                    </a:cubicBezTo>
                    <a:cubicBezTo>
                      <a:pt x="62" y="270"/>
                      <a:pt x="60" y="270"/>
                      <a:pt x="59" y="273"/>
                    </a:cubicBezTo>
                    <a:cubicBezTo>
                      <a:pt x="58" y="277"/>
                      <a:pt x="64" y="286"/>
                      <a:pt x="66" y="288"/>
                    </a:cubicBezTo>
                    <a:cubicBezTo>
                      <a:pt x="68" y="290"/>
                      <a:pt x="69" y="290"/>
                      <a:pt x="70" y="291"/>
                    </a:cubicBezTo>
                    <a:cubicBezTo>
                      <a:pt x="70" y="292"/>
                      <a:pt x="72" y="296"/>
                      <a:pt x="72" y="297"/>
                    </a:cubicBezTo>
                    <a:cubicBezTo>
                      <a:pt x="72" y="303"/>
                      <a:pt x="60" y="299"/>
                      <a:pt x="57" y="299"/>
                    </a:cubicBezTo>
                    <a:cubicBezTo>
                      <a:pt x="52" y="299"/>
                      <a:pt x="50" y="298"/>
                      <a:pt x="49" y="293"/>
                    </a:cubicBezTo>
                    <a:cubicBezTo>
                      <a:pt x="48" y="291"/>
                      <a:pt x="49" y="289"/>
                      <a:pt x="49" y="287"/>
                    </a:cubicBezTo>
                    <a:cubicBezTo>
                      <a:pt x="48" y="285"/>
                      <a:pt x="47" y="284"/>
                      <a:pt x="46" y="283"/>
                    </a:cubicBezTo>
                    <a:cubicBezTo>
                      <a:pt x="45" y="280"/>
                      <a:pt x="46" y="275"/>
                      <a:pt x="41" y="277"/>
                    </a:cubicBezTo>
                    <a:cubicBezTo>
                      <a:pt x="35" y="280"/>
                      <a:pt x="37" y="289"/>
                      <a:pt x="39" y="293"/>
                    </a:cubicBezTo>
                    <a:cubicBezTo>
                      <a:pt x="40" y="295"/>
                      <a:pt x="41" y="297"/>
                      <a:pt x="40" y="299"/>
                    </a:cubicBezTo>
                    <a:cubicBezTo>
                      <a:pt x="40" y="302"/>
                      <a:pt x="36" y="301"/>
                      <a:pt x="35" y="302"/>
                    </a:cubicBezTo>
                    <a:cubicBezTo>
                      <a:pt x="34" y="305"/>
                      <a:pt x="37" y="310"/>
                      <a:pt x="40" y="310"/>
                    </a:cubicBezTo>
                    <a:cubicBezTo>
                      <a:pt x="40" y="314"/>
                      <a:pt x="48" y="315"/>
                      <a:pt x="51" y="315"/>
                    </a:cubicBezTo>
                    <a:cubicBezTo>
                      <a:pt x="54" y="315"/>
                      <a:pt x="56" y="315"/>
                      <a:pt x="58" y="316"/>
                    </a:cubicBezTo>
                    <a:cubicBezTo>
                      <a:pt x="60" y="317"/>
                      <a:pt x="60" y="320"/>
                      <a:pt x="62" y="320"/>
                    </a:cubicBezTo>
                    <a:cubicBezTo>
                      <a:pt x="67" y="322"/>
                      <a:pt x="71" y="321"/>
                      <a:pt x="75" y="326"/>
                    </a:cubicBezTo>
                    <a:cubicBezTo>
                      <a:pt x="78" y="329"/>
                      <a:pt x="81" y="332"/>
                      <a:pt x="82" y="336"/>
                    </a:cubicBezTo>
                    <a:cubicBezTo>
                      <a:pt x="85" y="336"/>
                      <a:pt x="85" y="337"/>
                      <a:pt x="86" y="340"/>
                    </a:cubicBezTo>
                    <a:cubicBezTo>
                      <a:pt x="87" y="343"/>
                      <a:pt x="90" y="347"/>
                      <a:pt x="89" y="350"/>
                    </a:cubicBezTo>
                    <a:cubicBezTo>
                      <a:pt x="86" y="357"/>
                      <a:pt x="73" y="350"/>
                      <a:pt x="70" y="348"/>
                    </a:cubicBezTo>
                    <a:cubicBezTo>
                      <a:pt x="67" y="346"/>
                      <a:pt x="68" y="344"/>
                      <a:pt x="63" y="344"/>
                    </a:cubicBezTo>
                    <a:cubicBezTo>
                      <a:pt x="62" y="344"/>
                      <a:pt x="59" y="344"/>
                      <a:pt x="57" y="344"/>
                    </a:cubicBezTo>
                    <a:cubicBezTo>
                      <a:pt x="57" y="345"/>
                      <a:pt x="56" y="346"/>
                      <a:pt x="55" y="347"/>
                    </a:cubicBezTo>
                    <a:cubicBezTo>
                      <a:pt x="55" y="347"/>
                      <a:pt x="53" y="348"/>
                      <a:pt x="52" y="348"/>
                    </a:cubicBezTo>
                    <a:cubicBezTo>
                      <a:pt x="51" y="349"/>
                      <a:pt x="47" y="351"/>
                      <a:pt x="48" y="353"/>
                    </a:cubicBezTo>
                    <a:cubicBezTo>
                      <a:pt x="50" y="356"/>
                      <a:pt x="52" y="354"/>
                      <a:pt x="54" y="355"/>
                    </a:cubicBezTo>
                    <a:cubicBezTo>
                      <a:pt x="56" y="355"/>
                      <a:pt x="57" y="358"/>
                      <a:pt x="59" y="359"/>
                    </a:cubicBezTo>
                    <a:cubicBezTo>
                      <a:pt x="61" y="360"/>
                      <a:pt x="62" y="361"/>
                      <a:pt x="65" y="361"/>
                    </a:cubicBezTo>
                    <a:cubicBezTo>
                      <a:pt x="68" y="362"/>
                      <a:pt x="69" y="362"/>
                      <a:pt x="71" y="364"/>
                    </a:cubicBezTo>
                    <a:cubicBezTo>
                      <a:pt x="73" y="365"/>
                      <a:pt x="74" y="366"/>
                      <a:pt x="75" y="367"/>
                    </a:cubicBezTo>
                    <a:cubicBezTo>
                      <a:pt x="77" y="368"/>
                      <a:pt x="78" y="370"/>
                      <a:pt x="79" y="371"/>
                    </a:cubicBezTo>
                    <a:cubicBezTo>
                      <a:pt x="80" y="371"/>
                      <a:pt x="81" y="371"/>
                      <a:pt x="82" y="371"/>
                    </a:cubicBezTo>
                    <a:cubicBezTo>
                      <a:pt x="83" y="371"/>
                      <a:pt x="84" y="374"/>
                      <a:pt x="84" y="375"/>
                    </a:cubicBezTo>
                    <a:cubicBezTo>
                      <a:pt x="86" y="380"/>
                      <a:pt x="82" y="386"/>
                      <a:pt x="89" y="387"/>
                    </a:cubicBezTo>
                    <a:cubicBezTo>
                      <a:pt x="94" y="388"/>
                      <a:pt x="96" y="382"/>
                      <a:pt x="101" y="384"/>
                    </a:cubicBezTo>
                    <a:cubicBezTo>
                      <a:pt x="104" y="385"/>
                      <a:pt x="108" y="392"/>
                      <a:pt x="108" y="396"/>
                    </a:cubicBezTo>
                    <a:cubicBezTo>
                      <a:pt x="107" y="400"/>
                      <a:pt x="102" y="405"/>
                      <a:pt x="98" y="402"/>
                    </a:cubicBezTo>
                    <a:cubicBezTo>
                      <a:pt x="98" y="402"/>
                      <a:pt x="98" y="401"/>
                      <a:pt x="98" y="400"/>
                    </a:cubicBezTo>
                    <a:cubicBezTo>
                      <a:pt x="97" y="399"/>
                      <a:pt x="95" y="401"/>
                      <a:pt x="94" y="400"/>
                    </a:cubicBezTo>
                    <a:cubicBezTo>
                      <a:pt x="93" y="400"/>
                      <a:pt x="93" y="399"/>
                      <a:pt x="93" y="398"/>
                    </a:cubicBezTo>
                    <a:cubicBezTo>
                      <a:pt x="91" y="397"/>
                      <a:pt x="90" y="397"/>
                      <a:pt x="88" y="398"/>
                    </a:cubicBezTo>
                    <a:cubicBezTo>
                      <a:pt x="85" y="399"/>
                      <a:pt x="86" y="401"/>
                      <a:pt x="85" y="403"/>
                    </a:cubicBezTo>
                    <a:cubicBezTo>
                      <a:pt x="84" y="406"/>
                      <a:pt x="82" y="404"/>
                      <a:pt x="85" y="407"/>
                    </a:cubicBezTo>
                    <a:cubicBezTo>
                      <a:pt x="88" y="410"/>
                      <a:pt x="92" y="412"/>
                      <a:pt x="96" y="412"/>
                    </a:cubicBezTo>
                    <a:cubicBezTo>
                      <a:pt x="105" y="412"/>
                      <a:pt x="114" y="411"/>
                      <a:pt x="123" y="412"/>
                    </a:cubicBezTo>
                    <a:cubicBezTo>
                      <a:pt x="125" y="412"/>
                      <a:pt x="128" y="412"/>
                      <a:pt x="130" y="413"/>
                    </a:cubicBezTo>
                    <a:cubicBezTo>
                      <a:pt x="133" y="413"/>
                      <a:pt x="137" y="412"/>
                      <a:pt x="140" y="413"/>
                    </a:cubicBezTo>
                    <a:cubicBezTo>
                      <a:pt x="142" y="414"/>
                      <a:pt x="144" y="416"/>
                      <a:pt x="146" y="416"/>
                    </a:cubicBezTo>
                    <a:cubicBezTo>
                      <a:pt x="147" y="417"/>
                      <a:pt x="149" y="416"/>
                      <a:pt x="150" y="416"/>
                    </a:cubicBezTo>
                    <a:cubicBezTo>
                      <a:pt x="149" y="422"/>
                      <a:pt x="139" y="415"/>
                      <a:pt x="139" y="423"/>
                    </a:cubicBezTo>
                    <a:cubicBezTo>
                      <a:pt x="138" y="423"/>
                      <a:pt x="138" y="424"/>
                      <a:pt x="137" y="424"/>
                    </a:cubicBezTo>
                    <a:cubicBezTo>
                      <a:pt x="135" y="425"/>
                      <a:pt x="134" y="425"/>
                      <a:pt x="132" y="425"/>
                    </a:cubicBezTo>
                    <a:cubicBezTo>
                      <a:pt x="129" y="426"/>
                      <a:pt x="126" y="425"/>
                      <a:pt x="124" y="425"/>
                    </a:cubicBezTo>
                    <a:cubicBezTo>
                      <a:pt x="121" y="426"/>
                      <a:pt x="121" y="428"/>
                      <a:pt x="118" y="429"/>
                    </a:cubicBezTo>
                    <a:cubicBezTo>
                      <a:pt x="112" y="432"/>
                      <a:pt x="106" y="425"/>
                      <a:pt x="101" y="427"/>
                    </a:cubicBezTo>
                    <a:cubicBezTo>
                      <a:pt x="98" y="428"/>
                      <a:pt x="96" y="431"/>
                      <a:pt x="96" y="433"/>
                    </a:cubicBezTo>
                    <a:cubicBezTo>
                      <a:pt x="97" y="439"/>
                      <a:pt x="102" y="438"/>
                      <a:pt x="106" y="438"/>
                    </a:cubicBezTo>
                    <a:cubicBezTo>
                      <a:pt x="113" y="438"/>
                      <a:pt x="119" y="440"/>
                      <a:pt x="125" y="439"/>
                    </a:cubicBezTo>
                    <a:cubicBezTo>
                      <a:pt x="127" y="438"/>
                      <a:pt x="134" y="436"/>
                      <a:pt x="134" y="440"/>
                    </a:cubicBezTo>
                    <a:cubicBezTo>
                      <a:pt x="133" y="442"/>
                      <a:pt x="130" y="442"/>
                      <a:pt x="128" y="444"/>
                    </a:cubicBezTo>
                    <a:cubicBezTo>
                      <a:pt x="130" y="448"/>
                      <a:pt x="143" y="452"/>
                      <a:pt x="147" y="448"/>
                    </a:cubicBezTo>
                    <a:cubicBezTo>
                      <a:pt x="150" y="444"/>
                      <a:pt x="144" y="435"/>
                      <a:pt x="149" y="433"/>
                    </a:cubicBezTo>
                    <a:cubicBezTo>
                      <a:pt x="150" y="432"/>
                      <a:pt x="156" y="433"/>
                      <a:pt x="157" y="434"/>
                    </a:cubicBezTo>
                    <a:cubicBezTo>
                      <a:pt x="159" y="434"/>
                      <a:pt x="160" y="436"/>
                      <a:pt x="162" y="436"/>
                    </a:cubicBezTo>
                    <a:cubicBezTo>
                      <a:pt x="164" y="436"/>
                      <a:pt x="165" y="435"/>
                      <a:pt x="166" y="436"/>
                    </a:cubicBezTo>
                    <a:cubicBezTo>
                      <a:pt x="170" y="438"/>
                      <a:pt x="169" y="443"/>
                      <a:pt x="174" y="443"/>
                    </a:cubicBezTo>
                    <a:cubicBezTo>
                      <a:pt x="176" y="443"/>
                      <a:pt x="180" y="441"/>
                      <a:pt x="181" y="439"/>
                    </a:cubicBezTo>
                    <a:cubicBezTo>
                      <a:pt x="183" y="439"/>
                      <a:pt x="186" y="441"/>
                      <a:pt x="187" y="443"/>
                    </a:cubicBezTo>
                    <a:cubicBezTo>
                      <a:pt x="190" y="445"/>
                      <a:pt x="189" y="446"/>
                      <a:pt x="190" y="449"/>
                    </a:cubicBezTo>
                    <a:cubicBezTo>
                      <a:pt x="191" y="456"/>
                      <a:pt x="195" y="458"/>
                      <a:pt x="200" y="462"/>
                    </a:cubicBezTo>
                    <a:cubicBezTo>
                      <a:pt x="202" y="463"/>
                      <a:pt x="204" y="464"/>
                      <a:pt x="206" y="466"/>
                    </a:cubicBezTo>
                    <a:cubicBezTo>
                      <a:pt x="207" y="467"/>
                      <a:pt x="207" y="468"/>
                      <a:pt x="208" y="470"/>
                    </a:cubicBezTo>
                    <a:cubicBezTo>
                      <a:pt x="211" y="475"/>
                      <a:pt x="213" y="481"/>
                      <a:pt x="217" y="486"/>
                    </a:cubicBezTo>
                    <a:cubicBezTo>
                      <a:pt x="221" y="492"/>
                      <a:pt x="225" y="494"/>
                      <a:pt x="232" y="495"/>
                    </a:cubicBezTo>
                    <a:cubicBezTo>
                      <a:pt x="236" y="495"/>
                      <a:pt x="240" y="495"/>
                      <a:pt x="243" y="495"/>
                    </a:cubicBezTo>
                    <a:cubicBezTo>
                      <a:pt x="248" y="494"/>
                      <a:pt x="250" y="491"/>
                      <a:pt x="254" y="489"/>
                    </a:cubicBezTo>
                    <a:cubicBezTo>
                      <a:pt x="257" y="487"/>
                      <a:pt x="259" y="485"/>
                      <a:pt x="262" y="483"/>
                    </a:cubicBezTo>
                    <a:cubicBezTo>
                      <a:pt x="265" y="481"/>
                      <a:pt x="269" y="479"/>
                      <a:pt x="272" y="477"/>
                    </a:cubicBezTo>
                    <a:cubicBezTo>
                      <a:pt x="274" y="476"/>
                      <a:pt x="272" y="474"/>
                      <a:pt x="275" y="475"/>
                    </a:cubicBezTo>
                    <a:cubicBezTo>
                      <a:pt x="277" y="475"/>
                      <a:pt x="279" y="480"/>
                      <a:pt x="282" y="477"/>
                    </a:cubicBezTo>
                    <a:cubicBezTo>
                      <a:pt x="286" y="475"/>
                      <a:pt x="283" y="463"/>
                      <a:pt x="283" y="459"/>
                    </a:cubicBezTo>
                    <a:cubicBezTo>
                      <a:pt x="284" y="452"/>
                      <a:pt x="288" y="444"/>
                      <a:pt x="291" y="438"/>
                    </a:cubicBezTo>
                    <a:cubicBezTo>
                      <a:pt x="293" y="433"/>
                      <a:pt x="295" y="431"/>
                      <a:pt x="300" y="433"/>
                    </a:cubicBezTo>
                    <a:cubicBezTo>
                      <a:pt x="304" y="435"/>
                      <a:pt x="307" y="435"/>
                      <a:pt x="311" y="435"/>
                    </a:cubicBezTo>
                    <a:cubicBezTo>
                      <a:pt x="309" y="435"/>
                      <a:pt x="307" y="434"/>
                      <a:pt x="307" y="432"/>
                    </a:cubicBezTo>
                    <a:cubicBezTo>
                      <a:pt x="312" y="431"/>
                      <a:pt x="313" y="433"/>
                      <a:pt x="316" y="436"/>
                    </a:cubicBezTo>
                    <a:cubicBezTo>
                      <a:pt x="319" y="438"/>
                      <a:pt x="323" y="439"/>
                      <a:pt x="327" y="440"/>
                    </a:cubicBezTo>
                    <a:cubicBezTo>
                      <a:pt x="333" y="441"/>
                      <a:pt x="339" y="444"/>
                      <a:pt x="345" y="445"/>
                    </a:cubicBezTo>
                    <a:cubicBezTo>
                      <a:pt x="349" y="447"/>
                      <a:pt x="351" y="449"/>
                      <a:pt x="355" y="451"/>
                    </a:cubicBezTo>
                    <a:cubicBezTo>
                      <a:pt x="359" y="453"/>
                      <a:pt x="362" y="454"/>
                      <a:pt x="365" y="457"/>
                    </a:cubicBezTo>
                    <a:cubicBezTo>
                      <a:pt x="368" y="459"/>
                      <a:pt x="368" y="461"/>
                      <a:pt x="369" y="464"/>
                    </a:cubicBezTo>
                    <a:cubicBezTo>
                      <a:pt x="369" y="464"/>
                      <a:pt x="371" y="466"/>
                      <a:pt x="371" y="467"/>
                    </a:cubicBezTo>
                    <a:cubicBezTo>
                      <a:pt x="371" y="467"/>
                      <a:pt x="371" y="468"/>
                      <a:pt x="371" y="468"/>
                    </a:cubicBezTo>
                    <a:cubicBezTo>
                      <a:pt x="371" y="470"/>
                      <a:pt x="372" y="470"/>
                      <a:pt x="373" y="471"/>
                    </a:cubicBezTo>
                    <a:cubicBezTo>
                      <a:pt x="372" y="470"/>
                      <a:pt x="375" y="474"/>
                      <a:pt x="374" y="473"/>
                    </a:cubicBezTo>
                    <a:cubicBezTo>
                      <a:pt x="375" y="475"/>
                      <a:pt x="377" y="474"/>
                      <a:pt x="378" y="476"/>
                    </a:cubicBezTo>
                    <a:cubicBezTo>
                      <a:pt x="378" y="476"/>
                      <a:pt x="378" y="477"/>
                      <a:pt x="379" y="478"/>
                    </a:cubicBezTo>
                    <a:cubicBezTo>
                      <a:pt x="379" y="479"/>
                      <a:pt x="380" y="480"/>
                      <a:pt x="381" y="481"/>
                    </a:cubicBezTo>
                    <a:cubicBezTo>
                      <a:pt x="383" y="483"/>
                      <a:pt x="384" y="484"/>
                      <a:pt x="385" y="486"/>
                    </a:cubicBezTo>
                    <a:cubicBezTo>
                      <a:pt x="387" y="487"/>
                      <a:pt x="390" y="489"/>
                      <a:pt x="392" y="491"/>
                    </a:cubicBezTo>
                    <a:cubicBezTo>
                      <a:pt x="394" y="493"/>
                      <a:pt x="394" y="496"/>
                      <a:pt x="398" y="497"/>
                    </a:cubicBezTo>
                    <a:cubicBezTo>
                      <a:pt x="403" y="499"/>
                      <a:pt x="408" y="501"/>
                      <a:pt x="413" y="502"/>
                    </a:cubicBezTo>
                    <a:cubicBezTo>
                      <a:pt x="417" y="504"/>
                      <a:pt x="419" y="504"/>
                      <a:pt x="424" y="503"/>
                    </a:cubicBezTo>
                    <a:cubicBezTo>
                      <a:pt x="429" y="502"/>
                      <a:pt x="433" y="500"/>
                      <a:pt x="438" y="500"/>
                    </a:cubicBezTo>
                    <a:cubicBezTo>
                      <a:pt x="447" y="500"/>
                      <a:pt x="456" y="500"/>
                      <a:pt x="465" y="500"/>
                    </a:cubicBezTo>
                    <a:cubicBezTo>
                      <a:pt x="472" y="500"/>
                      <a:pt x="479" y="501"/>
                      <a:pt x="486" y="500"/>
                    </a:cubicBezTo>
                    <a:cubicBezTo>
                      <a:pt x="490" y="500"/>
                      <a:pt x="490" y="498"/>
                      <a:pt x="491" y="495"/>
                    </a:cubicBezTo>
                    <a:cubicBezTo>
                      <a:pt x="492" y="493"/>
                      <a:pt x="491" y="493"/>
                      <a:pt x="492" y="491"/>
                    </a:cubicBezTo>
                    <a:cubicBezTo>
                      <a:pt x="492" y="490"/>
                      <a:pt x="495" y="489"/>
                      <a:pt x="496" y="488"/>
                    </a:cubicBezTo>
                    <a:cubicBezTo>
                      <a:pt x="498" y="485"/>
                      <a:pt x="500" y="483"/>
                      <a:pt x="501" y="480"/>
                    </a:cubicBezTo>
                    <a:cubicBezTo>
                      <a:pt x="503" y="478"/>
                      <a:pt x="502" y="479"/>
                      <a:pt x="504" y="477"/>
                    </a:cubicBezTo>
                    <a:cubicBezTo>
                      <a:pt x="505" y="476"/>
                      <a:pt x="507" y="474"/>
                      <a:pt x="508" y="473"/>
                    </a:cubicBezTo>
                    <a:cubicBezTo>
                      <a:pt x="512" y="470"/>
                      <a:pt x="519" y="473"/>
                      <a:pt x="520" y="465"/>
                    </a:cubicBezTo>
                    <a:cubicBezTo>
                      <a:pt x="520" y="463"/>
                      <a:pt x="519" y="459"/>
                      <a:pt x="521" y="457"/>
                    </a:cubicBezTo>
                    <a:cubicBezTo>
                      <a:pt x="522" y="455"/>
                      <a:pt x="523" y="455"/>
                      <a:pt x="525" y="454"/>
                    </a:cubicBezTo>
                    <a:cubicBezTo>
                      <a:pt x="527" y="453"/>
                      <a:pt x="526" y="452"/>
                      <a:pt x="528" y="451"/>
                    </a:cubicBezTo>
                    <a:cubicBezTo>
                      <a:pt x="531" y="450"/>
                      <a:pt x="535" y="452"/>
                      <a:pt x="537" y="454"/>
                    </a:cubicBezTo>
                    <a:cubicBezTo>
                      <a:pt x="539" y="455"/>
                      <a:pt x="540" y="456"/>
                      <a:pt x="542" y="456"/>
                    </a:cubicBezTo>
                    <a:cubicBezTo>
                      <a:pt x="544" y="457"/>
                      <a:pt x="546" y="456"/>
                      <a:pt x="547" y="456"/>
                    </a:cubicBezTo>
                    <a:cubicBezTo>
                      <a:pt x="550" y="457"/>
                      <a:pt x="551" y="459"/>
                      <a:pt x="554" y="461"/>
                    </a:cubicBezTo>
                    <a:cubicBezTo>
                      <a:pt x="558" y="464"/>
                      <a:pt x="561" y="464"/>
                      <a:pt x="565" y="466"/>
                    </a:cubicBezTo>
                    <a:cubicBezTo>
                      <a:pt x="565" y="466"/>
                      <a:pt x="568" y="467"/>
                      <a:pt x="568" y="467"/>
                    </a:cubicBezTo>
                    <a:cubicBezTo>
                      <a:pt x="570" y="468"/>
                      <a:pt x="571" y="468"/>
                      <a:pt x="573" y="469"/>
                    </a:cubicBezTo>
                    <a:cubicBezTo>
                      <a:pt x="574" y="469"/>
                      <a:pt x="575" y="470"/>
                      <a:pt x="576" y="470"/>
                    </a:cubicBezTo>
                    <a:cubicBezTo>
                      <a:pt x="579" y="471"/>
                      <a:pt x="582" y="470"/>
                      <a:pt x="585" y="470"/>
                    </a:cubicBezTo>
                    <a:cubicBezTo>
                      <a:pt x="588" y="470"/>
                      <a:pt x="589" y="470"/>
                      <a:pt x="591" y="468"/>
                    </a:cubicBezTo>
                    <a:cubicBezTo>
                      <a:pt x="592" y="467"/>
                      <a:pt x="591" y="465"/>
                      <a:pt x="592" y="464"/>
                    </a:cubicBezTo>
                    <a:cubicBezTo>
                      <a:pt x="593" y="462"/>
                      <a:pt x="594" y="463"/>
                      <a:pt x="595" y="462"/>
                    </a:cubicBezTo>
                    <a:cubicBezTo>
                      <a:pt x="598" y="462"/>
                      <a:pt x="600" y="461"/>
                      <a:pt x="602" y="459"/>
                    </a:cubicBezTo>
                    <a:cubicBezTo>
                      <a:pt x="605" y="458"/>
                      <a:pt x="607" y="457"/>
                      <a:pt x="610" y="456"/>
                    </a:cubicBezTo>
                    <a:cubicBezTo>
                      <a:pt x="614" y="455"/>
                      <a:pt x="621" y="451"/>
                      <a:pt x="624" y="457"/>
                    </a:cubicBezTo>
                    <a:cubicBezTo>
                      <a:pt x="625" y="460"/>
                      <a:pt x="623" y="462"/>
                      <a:pt x="621" y="464"/>
                    </a:cubicBezTo>
                    <a:cubicBezTo>
                      <a:pt x="619" y="467"/>
                      <a:pt x="619" y="470"/>
                      <a:pt x="616" y="472"/>
                    </a:cubicBezTo>
                    <a:cubicBezTo>
                      <a:pt x="612" y="474"/>
                      <a:pt x="608" y="475"/>
                      <a:pt x="605" y="477"/>
                    </a:cubicBezTo>
                    <a:cubicBezTo>
                      <a:pt x="601" y="479"/>
                      <a:pt x="601" y="480"/>
                      <a:pt x="601" y="484"/>
                    </a:cubicBezTo>
                    <a:cubicBezTo>
                      <a:pt x="601" y="491"/>
                      <a:pt x="605" y="495"/>
                      <a:pt x="608" y="500"/>
                    </a:cubicBezTo>
                    <a:cubicBezTo>
                      <a:pt x="609" y="503"/>
                      <a:pt x="611" y="507"/>
                      <a:pt x="613" y="510"/>
                    </a:cubicBezTo>
                    <a:cubicBezTo>
                      <a:pt x="614" y="512"/>
                      <a:pt x="614" y="515"/>
                      <a:pt x="617" y="517"/>
                    </a:cubicBezTo>
                    <a:cubicBezTo>
                      <a:pt x="619" y="518"/>
                      <a:pt x="624" y="518"/>
                      <a:pt x="627" y="518"/>
                    </a:cubicBezTo>
                    <a:cubicBezTo>
                      <a:pt x="631" y="518"/>
                      <a:pt x="632" y="514"/>
                      <a:pt x="634" y="511"/>
                    </a:cubicBezTo>
                    <a:cubicBezTo>
                      <a:pt x="636" y="508"/>
                      <a:pt x="637" y="504"/>
                      <a:pt x="640" y="503"/>
                    </a:cubicBezTo>
                    <a:cubicBezTo>
                      <a:pt x="643" y="502"/>
                      <a:pt x="646" y="503"/>
                      <a:pt x="648" y="503"/>
                    </a:cubicBezTo>
                    <a:cubicBezTo>
                      <a:pt x="650" y="502"/>
                      <a:pt x="654" y="502"/>
                      <a:pt x="655" y="500"/>
                    </a:cubicBezTo>
                    <a:cubicBezTo>
                      <a:pt x="657" y="497"/>
                      <a:pt x="652" y="493"/>
                      <a:pt x="651" y="490"/>
                    </a:cubicBezTo>
                    <a:cubicBezTo>
                      <a:pt x="650" y="488"/>
                      <a:pt x="650" y="483"/>
                      <a:pt x="651" y="481"/>
                    </a:cubicBezTo>
                    <a:cubicBezTo>
                      <a:pt x="651" y="477"/>
                      <a:pt x="654" y="475"/>
                      <a:pt x="655" y="472"/>
                    </a:cubicBezTo>
                    <a:cubicBezTo>
                      <a:pt x="657" y="469"/>
                      <a:pt x="657" y="466"/>
                      <a:pt x="661" y="464"/>
                    </a:cubicBezTo>
                    <a:cubicBezTo>
                      <a:pt x="663" y="463"/>
                      <a:pt x="666" y="462"/>
                      <a:pt x="669" y="462"/>
                    </a:cubicBezTo>
                    <a:cubicBezTo>
                      <a:pt x="672" y="462"/>
                      <a:pt x="675" y="462"/>
                      <a:pt x="678" y="462"/>
                    </a:cubicBezTo>
                    <a:cubicBezTo>
                      <a:pt x="679" y="463"/>
                      <a:pt x="680" y="464"/>
                      <a:pt x="682" y="464"/>
                    </a:cubicBezTo>
                    <a:cubicBezTo>
                      <a:pt x="683" y="465"/>
                      <a:pt x="685" y="464"/>
                      <a:pt x="686" y="464"/>
                    </a:cubicBezTo>
                    <a:cubicBezTo>
                      <a:pt x="689" y="465"/>
                      <a:pt x="691" y="465"/>
                      <a:pt x="694" y="466"/>
                    </a:cubicBezTo>
                    <a:cubicBezTo>
                      <a:pt x="696" y="466"/>
                      <a:pt x="698" y="467"/>
                      <a:pt x="701" y="467"/>
                    </a:cubicBezTo>
                    <a:cubicBezTo>
                      <a:pt x="703" y="467"/>
                      <a:pt x="706" y="467"/>
                      <a:pt x="708" y="467"/>
                    </a:cubicBezTo>
                    <a:cubicBezTo>
                      <a:pt x="714" y="467"/>
                      <a:pt x="719" y="465"/>
                      <a:pt x="724" y="464"/>
                    </a:cubicBezTo>
                    <a:cubicBezTo>
                      <a:pt x="730" y="464"/>
                      <a:pt x="735" y="460"/>
                      <a:pt x="741" y="459"/>
                    </a:cubicBezTo>
                    <a:cubicBezTo>
                      <a:pt x="744" y="457"/>
                      <a:pt x="749" y="457"/>
                      <a:pt x="752" y="456"/>
                    </a:cubicBezTo>
                    <a:cubicBezTo>
                      <a:pt x="756" y="455"/>
                      <a:pt x="759" y="453"/>
                      <a:pt x="764" y="454"/>
                    </a:cubicBezTo>
                    <a:cubicBezTo>
                      <a:pt x="767" y="454"/>
                      <a:pt x="771" y="457"/>
                      <a:pt x="774" y="459"/>
                    </a:cubicBezTo>
                    <a:cubicBezTo>
                      <a:pt x="780" y="462"/>
                      <a:pt x="786" y="466"/>
                      <a:pt x="793" y="467"/>
                    </a:cubicBezTo>
                    <a:cubicBezTo>
                      <a:pt x="799" y="468"/>
                      <a:pt x="806" y="468"/>
                      <a:pt x="813" y="468"/>
                    </a:cubicBezTo>
                    <a:cubicBezTo>
                      <a:pt x="824" y="468"/>
                      <a:pt x="834" y="467"/>
                      <a:pt x="845" y="467"/>
                    </a:cubicBezTo>
                    <a:cubicBezTo>
                      <a:pt x="850" y="467"/>
                      <a:pt x="852" y="466"/>
                      <a:pt x="857" y="465"/>
                    </a:cubicBezTo>
                    <a:cubicBezTo>
                      <a:pt x="859" y="464"/>
                      <a:pt x="861" y="463"/>
                      <a:pt x="863" y="462"/>
                    </a:cubicBezTo>
                    <a:cubicBezTo>
                      <a:pt x="865" y="462"/>
                      <a:pt x="866" y="462"/>
                      <a:pt x="868" y="462"/>
                    </a:cubicBezTo>
                    <a:cubicBezTo>
                      <a:pt x="869" y="462"/>
                      <a:pt x="871" y="461"/>
                      <a:pt x="872" y="460"/>
                    </a:cubicBezTo>
                    <a:cubicBezTo>
                      <a:pt x="873" y="459"/>
                      <a:pt x="874" y="459"/>
                      <a:pt x="875" y="459"/>
                    </a:cubicBezTo>
                    <a:cubicBezTo>
                      <a:pt x="878" y="458"/>
                      <a:pt x="880" y="456"/>
                      <a:pt x="882" y="455"/>
                    </a:cubicBezTo>
                    <a:cubicBezTo>
                      <a:pt x="886" y="452"/>
                      <a:pt x="888" y="449"/>
                      <a:pt x="893" y="449"/>
                    </a:cubicBezTo>
                    <a:cubicBezTo>
                      <a:pt x="901" y="449"/>
                      <a:pt x="909" y="449"/>
                      <a:pt x="917" y="448"/>
                    </a:cubicBezTo>
                    <a:cubicBezTo>
                      <a:pt x="925" y="448"/>
                      <a:pt x="937" y="447"/>
                      <a:pt x="945" y="448"/>
                    </a:cubicBezTo>
                    <a:cubicBezTo>
                      <a:pt x="947" y="449"/>
                      <a:pt x="948" y="450"/>
                      <a:pt x="950" y="451"/>
                    </a:cubicBezTo>
                    <a:cubicBezTo>
                      <a:pt x="952" y="452"/>
                      <a:pt x="954" y="451"/>
                      <a:pt x="957" y="451"/>
                    </a:cubicBezTo>
                    <a:cubicBezTo>
                      <a:pt x="959" y="451"/>
                      <a:pt x="961" y="451"/>
                      <a:pt x="962" y="451"/>
                    </a:cubicBezTo>
                    <a:cubicBezTo>
                      <a:pt x="963" y="449"/>
                      <a:pt x="964" y="449"/>
                      <a:pt x="965" y="449"/>
                    </a:cubicBezTo>
                    <a:cubicBezTo>
                      <a:pt x="964" y="450"/>
                      <a:pt x="963" y="450"/>
                      <a:pt x="962" y="451"/>
                    </a:cubicBezTo>
                    <a:cubicBezTo>
                      <a:pt x="962" y="452"/>
                      <a:pt x="962" y="455"/>
                      <a:pt x="963" y="456"/>
                    </a:cubicBezTo>
                    <a:cubicBezTo>
                      <a:pt x="970" y="455"/>
                      <a:pt x="976" y="450"/>
                      <a:pt x="983" y="447"/>
                    </a:cubicBezTo>
                    <a:cubicBezTo>
                      <a:pt x="985" y="446"/>
                      <a:pt x="988" y="445"/>
                      <a:pt x="990" y="444"/>
                    </a:cubicBezTo>
                    <a:cubicBezTo>
                      <a:pt x="992" y="443"/>
                      <a:pt x="994" y="441"/>
                      <a:pt x="996" y="441"/>
                    </a:cubicBezTo>
                    <a:cubicBezTo>
                      <a:pt x="1001" y="440"/>
                      <a:pt x="999" y="442"/>
                      <a:pt x="1001" y="445"/>
                    </a:cubicBezTo>
                    <a:cubicBezTo>
                      <a:pt x="1003" y="448"/>
                      <a:pt x="1008" y="448"/>
                      <a:pt x="1011" y="449"/>
                    </a:cubicBezTo>
                    <a:cubicBezTo>
                      <a:pt x="1013" y="449"/>
                      <a:pt x="1016" y="450"/>
                      <a:pt x="1018" y="449"/>
                    </a:cubicBezTo>
                    <a:cubicBezTo>
                      <a:pt x="1021" y="448"/>
                      <a:pt x="1026" y="444"/>
                      <a:pt x="1026" y="441"/>
                    </a:cubicBezTo>
                    <a:cubicBezTo>
                      <a:pt x="1029" y="441"/>
                      <a:pt x="1032" y="439"/>
                      <a:pt x="1035" y="437"/>
                    </a:cubicBezTo>
                    <a:cubicBezTo>
                      <a:pt x="1038" y="436"/>
                      <a:pt x="1039" y="435"/>
                      <a:pt x="1043" y="435"/>
                    </a:cubicBezTo>
                    <a:cubicBezTo>
                      <a:pt x="1050" y="435"/>
                      <a:pt x="1057" y="435"/>
                      <a:pt x="1064" y="435"/>
                    </a:cubicBezTo>
                    <a:cubicBezTo>
                      <a:pt x="1068" y="435"/>
                      <a:pt x="1074" y="435"/>
                      <a:pt x="1079" y="436"/>
                    </a:cubicBezTo>
                    <a:cubicBezTo>
                      <a:pt x="1081" y="436"/>
                      <a:pt x="1082" y="438"/>
                      <a:pt x="1084" y="439"/>
                    </a:cubicBezTo>
                    <a:cubicBezTo>
                      <a:pt x="1087" y="441"/>
                      <a:pt x="1089" y="441"/>
                      <a:pt x="1092" y="441"/>
                    </a:cubicBezTo>
                    <a:cubicBezTo>
                      <a:pt x="1098" y="440"/>
                      <a:pt x="1103" y="441"/>
                      <a:pt x="1109" y="441"/>
                    </a:cubicBezTo>
                    <a:cubicBezTo>
                      <a:pt x="1113" y="441"/>
                      <a:pt x="1118" y="440"/>
                      <a:pt x="1122" y="441"/>
                    </a:cubicBezTo>
                    <a:cubicBezTo>
                      <a:pt x="1128" y="442"/>
                      <a:pt x="1130" y="447"/>
                      <a:pt x="1132" y="452"/>
                    </a:cubicBezTo>
                    <a:cubicBezTo>
                      <a:pt x="1135" y="457"/>
                      <a:pt x="1137" y="469"/>
                      <a:pt x="1144" y="468"/>
                    </a:cubicBezTo>
                    <a:cubicBezTo>
                      <a:pt x="1149" y="467"/>
                      <a:pt x="1151" y="462"/>
                      <a:pt x="1154" y="459"/>
                    </a:cubicBezTo>
                    <a:cubicBezTo>
                      <a:pt x="1157" y="457"/>
                      <a:pt x="1159" y="455"/>
                      <a:pt x="1162" y="453"/>
                    </a:cubicBezTo>
                    <a:cubicBezTo>
                      <a:pt x="1167" y="451"/>
                      <a:pt x="1171" y="453"/>
                      <a:pt x="1170" y="44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11" name="Freeform 60">
                <a:extLst>
                  <a:ext uri="{FF2B5EF4-FFF2-40B4-BE49-F238E27FC236}">
                    <a16:creationId xmlns:a16="http://schemas.microsoft.com/office/drawing/2014/main" id="{F0110A6C-DEBE-4442-A4AC-EB2ABE4B77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338" y="623888"/>
                <a:ext cx="1301750" cy="3043238"/>
              </a:xfrm>
              <a:custGeom>
                <a:avLst/>
                <a:gdLst/>
                <a:ahLst/>
                <a:cxnLst>
                  <a:cxn ang="0">
                    <a:pos x="16" y="1348"/>
                  </a:cxn>
                  <a:cxn ang="0">
                    <a:pos x="39" y="1406"/>
                  </a:cxn>
                  <a:cxn ang="0">
                    <a:pos x="65" y="1460"/>
                  </a:cxn>
                  <a:cxn ang="0">
                    <a:pos x="92" y="1509"/>
                  </a:cxn>
                  <a:cxn ang="0">
                    <a:pos x="77" y="1543"/>
                  </a:cxn>
                  <a:cxn ang="0">
                    <a:pos x="98" y="1574"/>
                  </a:cxn>
                  <a:cxn ang="0">
                    <a:pos x="94" y="1619"/>
                  </a:cxn>
                  <a:cxn ang="0">
                    <a:pos x="174" y="1598"/>
                  </a:cxn>
                  <a:cxn ang="0">
                    <a:pos x="197" y="1550"/>
                  </a:cxn>
                  <a:cxn ang="0">
                    <a:pos x="256" y="1552"/>
                  </a:cxn>
                  <a:cxn ang="0">
                    <a:pos x="290" y="1530"/>
                  </a:cxn>
                  <a:cxn ang="0">
                    <a:pos x="323" y="1440"/>
                  </a:cxn>
                  <a:cxn ang="0">
                    <a:pos x="291" y="1465"/>
                  </a:cxn>
                  <a:cxn ang="0">
                    <a:pos x="306" y="1384"/>
                  </a:cxn>
                  <a:cxn ang="0">
                    <a:pos x="313" y="1309"/>
                  </a:cxn>
                  <a:cxn ang="0">
                    <a:pos x="368" y="1274"/>
                  </a:cxn>
                  <a:cxn ang="0">
                    <a:pos x="405" y="1223"/>
                  </a:cxn>
                  <a:cxn ang="0">
                    <a:pos x="423" y="1177"/>
                  </a:cxn>
                  <a:cxn ang="0">
                    <a:pos x="411" y="1135"/>
                  </a:cxn>
                  <a:cxn ang="0">
                    <a:pos x="374" y="1103"/>
                  </a:cxn>
                  <a:cxn ang="0">
                    <a:pos x="335" y="1060"/>
                  </a:cxn>
                  <a:cxn ang="0">
                    <a:pos x="330" y="993"/>
                  </a:cxn>
                  <a:cxn ang="0">
                    <a:pos x="343" y="889"/>
                  </a:cxn>
                  <a:cxn ang="0">
                    <a:pos x="385" y="832"/>
                  </a:cxn>
                  <a:cxn ang="0">
                    <a:pos x="390" y="802"/>
                  </a:cxn>
                  <a:cxn ang="0">
                    <a:pos x="466" y="744"/>
                  </a:cxn>
                  <a:cxn ang="0">
                    <a:pos x="529" y="678"/>
                  </a:cxn>
                  <a:cxn ang="0">
                    <a:pos x="535" y="588"/>
                  </a:cxn>
                  <a:cxn ang="0">
                    <a:pos x="570" y="518"/>
                  </a:cxn>
                  <a:cxn ang="0">
                    <a:pos x="603" y="480"/>
                  </a:cxn>
                  <a:cxn ang="0">
                    <a:pos x="665" y="465"/>
                  </a:cxn>
                  <a:cxn ang="0">
                    <a:pos x="684" y="410"/>
                  </a:cxn>
                  <a:cxn ang="0">
                    <a:pos x="669" y="276"/>
                  </a:cxn>
                  <a:cxn ang="0">
                    <a:pos x="664" y="221"/>
                  </a:cxn>
                  <a:cxn ang="0">
                    <a:pos x="642" y="140"/>
                  </a:cxn>
                  <a:cxn ang="0">
                    <a:pos x="591" y="84"/>
                  </a:cxn>
                  <a:cxn ang="0">
                    <a:pos x="525" y="28"/>
                  </a:cxn>
                  <a:cxn ang="0">
                    <a:pos x="485" y="12"/>
                  </a:cxn>
                  <a:cxn ang="0">
                    <a:pos x="478" y="95"/>
                  </a:cxn>
                  <a:cxn ang="0">
                    <a:pos x="379" y="78"/>
                  </a:cxn>
                  <a:cxn ang="0">
                    <a:pos x="349" y="151"/>
                  </a:cxn>
                  <a:cxn ang="0">
                    <a:pos x="288" y="188"/>
                  </a:cxn>
                  <a:cxn ang="0">
                    <a:pos x="267" y="249"/>
                  </a:cxn>
                  <a:cxn ang="0">
                    <a:pos x="250" y="327"/>
                  </a:cxn>
                  <a:cxn ang="0">
                    <a:pos x="178" y="415"/>
                  </a:cxn>
                  <a:cxn ang="0">
                    <a:pos x="174" y="490"/>
                  </a:cxn>
                  <a:cxn ang="0">
                    <a:pos x="151" y="582"/>
                  </a:cxn>
                  <a:cxn ang="0">
                    <a:pos x="155" y="665"/>
                  </a:cxn>
                  <a:cxn ang="0">
                    <a:pos x="76" y="696"/>
                  </a:cxn>
                  <a:cxn ang="0">
                    <a:pos x="46" y="775"/>
                  </a:cxn>
                  <a:cxn ang="0">
                    <a:pos x="45" y="822"/>
                  </a:cxn>
                  <a:cxn ang="0">
                    <a:pos x="54" y="944"/>
                  </a:cxn>
                  <a:cxn ang="0">
                    <a:pos x="90" y="1011"/>
                  </a:cxn>
                  <a:cxn ang="0">
                    <a:pos x="61" y="1039"/>
                  </a:cxn>
                  <a:cxn ang="0">
                    <a:pos x="70" y="1128"/>
                  </a:cxn>
                  <a:cxn ang="0">
                    <a:pos x="36" y="1187"/>
                  </a:cxn>
                  <a:cxn ang="0">
                    <a:pos x="16" y="1270"/>
                  </a:cxn>
                </a:cxnLst>
                <a:rect l="0" t="0" r="r" b="b"/>
                <a:pathLst>
                  <a:path w="696" h="1628">
                    <a:moveTo>
                      <a:pt x="2" y="1255"/>
                    </a:moveTo>
                    <a:cubicBezTo>
                      <a:pt x="1" y="1264"/>
                      <a:pt x="0" y="1275"/>
                      <a:pt x="2" y="1284"/>
                    </a:cubicBezTo>
                    <a:cubicBezTo>
                      <a:pt x="3" y="1292"/>
                      <a:pt x="5" y="1298"/>
                      <a:pt x="4" y="1306"/>
                    </a:cubicBezTo>
                    <a:cubicBezTo>
                      <a:pt x="4" y="1308"/>
                      <a:pt x="4" y="1310"/>
                      <a:pt x="5" y="1312"/>
                    </a:cubicBezTo>
                    <a:cubicBezTo>
                      <a:pt x="6" y="1314"/>
                      <a:pt x="8" y="1315"/>
                      <a:pt x="9" y="1317"/>
                    </a:cubicBezTo>
                    <a:cubicBezTo>
                      <a:pt x="10" y="1319"/>
                      <a:pt x="9" y="1321"/>
                      <a:pt x="8" y="1324"/>
                    </a:cubicBezTo>
                    <a:cubicBezTo>
                      <a:pt x="8" y="1327"/>
                      <a:pt x="8" y="1330"/>
                      <a:pt x="8" y="1333"/>
                    </a:cubicBezTo>
                    <a:cubicBezTo>
                      <a:pt x="9" y="1339"/>
                      <a:pt x="14" y="1342"/>
                      <a:pt x="16" y="1348"/>
                    </a:cubicBezTo>
                    <a:cubicBezTo>
                      <a:pt x="18" y="1350"/>
                      <a:pt x="19" y="1357"/>
                      <a:pt x="20" y="1359"/>
                    </a:cubicBezTo>
                    <a:cubicBezTo>
                      <a:pt x="20" y="1357"/>
                      <a:pt x="20" y="1356"/>
                      <a:pt x="21" y="1354"/>
                    </a:cubicBezTo>
                    <a:cubicBezTo>
                      <a:pt x="23" y="1353"/>
                      <a:pt x="30" y="1355"/>
                      <a:pt x="32" y="1356"/>
                    </a:cubicBezTo>
                    <a:cubicBezTo>
                      <a:pt x="36" y="1358"/>
                      <a:pt x="33" y="1360"/>
                      <a:pt x="30" y="1361"/>
                    </a:cubicBezTo>
                    <a:cubicBezTo>
                      <a:pt x="28" y="1362"/>
                      <a:pt x="27" y="1362"/>
                      <a:pt x="27" y="1365"/>
                    </a:cubicBezTo>
                    <a:cubicBezTo>
                      <a:pt x="25" y="1372"/>
                      <a:pt x="27" y="1379"/>
                      <a:pt x="31" y="1384"/>
                    </a:cubicBezTo>
                    <a:cubicBezTo>
                      <a:pt x="34" y="1388"/>
                      <a:pt x="34" y="1394"/>
                      <a:pt x="35" y="1398"/>
                    </a:cubicBezTo>
                    <a:cubicBezTo>
                      <a:pt x="36" y="1401"/>
                      <a:pt x="37" y="1404"/>
                      <a:pt x="39" y="1406"/>
                    </a:cubicBezTo>
                    <a:cubicBezTo>
                      <a:pt x="40" y="1407"/>
                      <a:pt x="40" y="1407"/>
                      <a:pt x="41" y="1407"/>
                    </a:cubicBezTo>
                    <a:cubicBezTo>
                      <a:pt x="43" y="1408"/>
                      <a:pt x="44" y="1410"/>
                      <a:pt x="47" y="1410"/>
                    </a:cubicBezTo>
                    <a:cubicBezTo>
                      <a:pt x="48" y="1415"/>
                      <a:pt x="49" y="1420"/>
                      <a:pt x="49" y="1425"/>
                    </a:cubicBezTo>
                    <a:cubicBezTo>
                      <a:pt x="51" y="1426"/>
                      <a:pt x="54" y="1426"/>
                      <a:pt x="55" y="1427"/>
                    </a:cubicBezTo>
                    <a:cubicBezTo>
                      <a:pt x="57" y="1429"/>
                      <a:pt x="56" y="1432"/>
                      <a:pt x="57" y="1434"/>
                    </a:cubicBezTo>
                    <a:cubicBezTo>
                      <a:pt x="57" y="1438"/>
                      <a:pt x="59" y="1441"/>
                      <a:pt x="60" y="1445"/>
                    </a:cubicBezTo>
                    <a:cubicBezTo>
                      <a:pt x="61" y="1448"/>
                      <a:pt x="60" y="1452"/>
                      <a:pt x="62" y="1455"/>
                    </a:cubicBezTo>
                    <a:cubicBezTo>
                      <a:pt x="63" y="1457"/>
                      <a:pt x="64" y="1459"/>
                      <a:pt x="65" y="1460"/>
                    </a:cubicBezTo>
                    <a:cubicBezTo>
                      <a:pt x="67" y="1462"/>
                      <a:pt x="67" y="1464"/>
                      <a:pt x="68" y="1466"/>
                    </a:cubicBezTo>
                    <a:cubicBezTo>
                      <a:pt x="70" y="1470"/>
                      <a:pt x="73" y="1474"/>
                      <a:pt x="75" y="1479"/>
                    </a:cubicBezTo>
                    <a:cubicBezTo>
                      <a:pt x="75" y="1474"/>
                      <a:pt x="79" y="1474"/>
                      <a:pt x="81" y="1478"/>
                    </a:cubicBezTo>
                    <a:cubicBezTo>
                      <a:pt x="82" y="1479"/>
                      <a:pt x="82" y="1483"/>
                      <a:pt x="83" y="1484"/>
                    </a:cubicBezTo>
                    <a:cubicBezTo>
                      <a:pt x="83" y="1487"/>
                      <a:pt x="83" y="1490"/>
                      <a:pt x="85" y="1493"/>
                    </a:cubicBezTo>
                    <a:cubicBezTo>
                      <a:pt x="86" y="1495"/>
                      <a:pt x="88" y="1497"/>
                      <a:pt x="89" y="1498"/>
                    </a:cubicBezTo>
                    <a:cubicBezTo>
                      <a:pt x="91" y="1501"/>
                      <a:pt x="89" y="1500"/>
                      <a:pt x="91" y="1500"/>
                    </a:cubicBezTo>
                    <a:cubicBezTo>
                      <a:pt x="91" y="1503"/>
                      <a:pt x="90" y="1507"/>
                      <a:pt x="92" y="1509"/>
                    </a:cubicBezTo>
                    <a:cubicBezTo>
                      <a:pt x="93" y="1510"/>
                      <a:pt x="101" y="1514"/>
                      <a:pt x="97" y="1517"/>
                    </a:cubicBezTo>
                    <a:cubicBezTo>
                      <a:pt x="93" y="1512"/>
                      <a:pt x="87" y="1515"/>
                      <a:pt x="85" y="1521"/>
                    </a:cubicBezTo>
                    <a:cubicBezTo>
                      <a:pt x="84" y="1523"/>
                      <a:pt x="84" y="1525"/>
                      <a:pt x="85" y="1527"/>
                    </a:cubicBezTo>
                    <a:cubicBezTo>
                      <a:pt x="86" y="1531"/>
                      <a:pt x="95" y="1535"/>
                      <a:pt x="92" y="1540"/>
                    </a:cubicBezTo>
                    <a:cubicBezTo>
                      <a:pt x="90" y="1540"/>
                      <a:pt x="87" y="1541"/>
                      <a:pt x="85" y="1540"/>
                    </a:cubicBezTo>
                    <a:cubicBezTo>
                      <a:pt x="82" y="1539"/>
                      <a:pt x="83" y="1537"/>
                      <a:pt x="82" y="1534"/>
                    </a:cubicBezTo>
                    <a:cubicBezTo>
                      <a:pt x="81" y="1533"/>
                      <a:pt x="76" y="1535"/>
                      <a:pt x="75" y="1537"/>
                    </a:cubicBezTo>
                    <a:cubicBezTo>
                      <a:pt x="74" y="1539"/>
                      <a:pt x="76" y="1541"/>
                      <a:pt x="77" y="1543"/>
                    </a:cubicBezTo>
                    <a:cubicBezTo>
                      <a:pt x="78" y="1545"/>
                      <a:pt x="79" y="1547"/>
                      <a:pt x="81" y="1549"/>
                    </a:cubicBezTo>
                    <a:cubicBezTo>
                      <a:pt x="82" y="1550"/>
                      <a:pt x="83" y="1551"/>
                      <a:pt x="83" y="1551"/>
                    </a:cubicBezTo>
                    <a:cubicBezTo>
                      <a:pt x="84" y="1553"/>
                      <a:pt x="85" y="1554"/>
                      <a:pt x="86" y="1555"/>
                    </a:cubicBezTo>
                    <a:cubicBezTo>
                      <a:pt x="88" y="1556"/>
                      <a:pt x="92" y="1554"/>
                      <a:pt x="91" y="1558"/>
                    </a:cubicBezTo>
                    <a:cubicBezTo>
                      <a:pt x="90" y="1560"/>
                      <a:pt x="88" y="1559"/>
                      <a:pt x="88" y="1562"/>
                    </a:cubicBezTo>
                    <a:cubicBezTo>
                      <a:pt x="87" y="1563"/>
                      <a:pt x="88" y="1566"/>
                      <a:pt x="89" y="1568"/>
                    </a:cubicBezTo>
                    <a:cubicBezTo>
                      <a:pt x="90" y="1570"/>
                      <a:pt x="88" y="1569"/>
                      <a:pt x="91" y="1571"/>
                    </a:cubicBezTo>
                    <a:cubicBezTo>
                      <a:pt x="93" y="1572"/>
                      <a:pt x="96" y="1573"/>
                      <a:pt x="98" y="1574"/>
                    </a:cubicBezTo>
                    <a:cubicBezTo>
                      <a:pt x="104" y="1578"/>
                      <a:pt x="99" y="1583"/>
                      <a:pt x="98" y="1589"/>
                    </a:cubicBezTo>
                    <a:cubicBezTo>
                      <a:pt x="98" y="1591"/>
                      <a:pt x="98" y="1594"/>
                      <a:pt x="99" y="1596"/>
                    </a:cubicBezTo>
                    <a:cubicBezTo>
                      <a:pt x="100" y="1598"/>
                      <a:pt x="101" y="1598"/>
                      <a:pt x="102" y="1601"/>
                    </a:cubicBezTo>
                    <a:cubicBezTo>
                      <a:pt x="103" y="1606"/>
                      <a:pt x="98" y="1606"/>
                      <a:pt x="94" y="1606"/>
                    </a:cubicBezTo>
                    <a:cubicBezTo>
                      <a:pt x="91" y="1606"/>
                      <a:pt x="89" y="1605"/>
                      <a:pt x="88" y="1609"/>
                    </a:cubicBezTo>
                    <a:cubicBezTo>
                      <a:pt x="87" y="1611"/>
                      <a:pt x="87" y="1615"/>
                      <a:pt x="89" y="1617"/>
                    </a:cubicBezTo>
                    <a:cubicBezTo>
                      <a:pt x="90" y="1617"/>
                      <a:pt x="91" y="1617"/>
                      <a:pt x="92" y="1617"/>
                    </a:cubicBezTo>
                    <a:cubicBezTo>
                      <a:pt x="93" y="1617"/>
                      <a:pt x="93" y="1618"/>
                      <a:pt x="94" y="1619"/>
                    </a:cubicBezTo>
                    <a:cubicBezTo>
                      <a:pt x="95" y="1620"/>
                      <a:pt x="99" y="1620"/>
                      <a:pt x="100" y="1621"/>
                    </a:cubicBezTo>
                    <a:cubicBezTo>
                      <a:pt x="107" y="1623"/>
                      <a:pt x="114" y="1624"/>
                      <a:pt x="121" y="1626"/>
                    </a:cubicBezTo>
                    <a:cubicBezTo>
                      <a:pt x="123" y="1627"/>
                      <a:pt x="125" y="1628"/>
                      <a:pt x="127" y="1627"/>
                    </a:cubicBezTo>
                    <a:cubicBezTo>
                      <a:pt x="131" y="1626"/>
                      <a:pt x="133" y="1624"/>
                      <a:pt x="138" y="1624"/>
                    </a:cubicBezTo>
                    <a:cubicBezTo>
                      <a:pt x="143" y="1624"/>
                      <a:pt x="148" y="1625"/>
                      <a:pt x="153" y="1624"/>
                    </a:cubicBezTo>
                    <a:cubicBezTo>
                      <a:pt x="157" y="1624"/>
                      <a:pt x="160" y="1622"/>
                      <a:pt x="163" y="1619"/>
                    </a:cubicBezTo>
                    <a:cubicBezTo>
                      <a:pt x="167" y="1616"/>
                      <a:pt x="172" y="1611"/>
                      <a:pt x="173" y="1606"/>
                    </a:cubicBezTo>
                    <a:cubicBezTo>
                      <a:pt x="174" y="1605"/>
                      <a:pt x="174" y="1599"/>
                      <a:pt x="174" y="1598"/>
                    </a:cubicBezTo>
                    <a:cubicBezTo>
                      <a:pt x="173" y="1595"/>
                      <a:pt x="172" y="1595"/>
                      <a:pt x="170" y="1594"/>
                    </a:cubicBezTo>
                    <a:cubicBezTo>
                      <a:pt x="166" y="1592"/>
                      <a:pt x="162" y="1591"/>
                      <a:pt x="164" y="1585"/>
                    </a:cubicBezTo>
                    <a:cubicBezTo>
                      <a:pt x="165" y="1581"/>
                      <a:pt x="168" y="1577"/>
                      <a:pt x="171" y="1575"/>
                    </a:cubicBezTo>
                    <a:cubicBezTo>
                      <a:pt x="174" y="1572"/>
                      <a:pt x="179" y="1572"/>
                      <a:pt x="180" y="1568"/>
                    </a:cubicBezTo>
                    <a:cubicBezTo>
                      <a:pt x="181" y="1566"/>
                      <a:pt x="180" y="1564"/>
                      <a:pt x="180" y="1562"/>
                    </a:cubicBezTo>
                    <a:cubicBezTo>
                      <a:pt x="180" y="1560"/>
                      <a:pt x="183" y="1553"/>
                      <a:pt x="185" y="1553"/>
                    </a:cubicBezTo>
                    <a:cubicBezTo>
                      <a:pt x="185" y="1556"/>
                      <a:pt x="196" y="1562"/>
                      <a:pt x="198" y="1559"/>
                    </a:cubicBezTo>
                    <a:cubicBezTo>
                      <a:pt x="200" y="1556"/>
                      <a:pt x="195" y="1553"/>
                      <a:pt x="197" y="1550"/>
                    </a:cubicBezTo>
                    <a:cubicBezTo>
                      <a:pt x="199" y="1547"/>
                      <a:pt x="203" y="1547"/>
                      <a:pt x="206" y="1546"/>
                    </a:cubicBezTo>
                    <a:cubicBezTo>
                      <a:pt x="206" y="1545"/>
                      <a:pt x="206" y="1545"/>
                      <a:pt x="207" y="1545"/>
                    </a:cubicBezTo>
                    <a:cubicBezTo>
                      <a:pt x="208" y="1545"/>
                      <a:pt x="209" y="1545"/>
                      <a:pt x="209" y="1545"/>
                    </a:cubicBezTo>
                    <a:cubicBezTo>
                      <a:pt x="212" y="1545"/>
                      <a:pt x="213" y="1545"/>
                      <a:pt x="216" y="1544"/>
                    </a:cubicBezTo>
                    <a:cubicBezTo>
                      <a:pt x="220" y="1543"/>
                      <a:pt x="224" y="1543"/>
                      <a:pt x="228" y="1542"/>
                    </a:cubicBezTo>
                    <a:cubicBezTo>
                      <a:pt x="233" y="1540"/>
                      <a:pt x="236" y="1539"/>
                      <a:pt x="240" y="1544"/>
                    </a:cubicBezTo>
                    <a:cubicBezTo>
                      <a:pt x="243" y="1549"/>
                      <a:pt x="243" y="1556"/>
                      <a:pt x="250" y="1554"/>
                    </a:cubicBezTo>
                    <a:cubicBezTo>
                      <a:pt x="252" y="1554"/>
                      <a:pt x="254" y="1553"/>
                      <a:pt x="256" y="1552"/>
                    </a:cubicBezTo>
                    <a:cubicBezTo>
                      <a:pt x="257" y="1552"/>
                      <a:pt x="259" y="1553"/>
                      <a:pt x="261" y="1552"/>
                    </a:cubicBezTo>
                    <a:cubicBezTo>
                      <a:pt x="261" y="1550"/>
                      <a:pt x="263" y="1548"/>
                      <a:pt x="264" y="1546"/>
                    </a:cubicBezTo>
                    <a:cubicBezTo>
                      <a:pt x="265" y="1545"/>
                      <a:pt x="267" y="1543"/>
                      <a:pt x="268" y="1540"/>
                    </a:cubicBezTo>
                    <a:cubicBezTo>
                      <a:pt x="270" y="1536"/>
                      <a:pt x="272" y="1533"/>
                      <a:pt x="274" y="1529"/>
                    </a:cubicBezTo>
                    <a:cubicBezTo>
                      <a:pt x="276" y="1524"/>
                      <a:pt x="277" y="1519"/>
                      <a:pt x="278" y="1515"/>
                    </a:cubicBezTo>
                    <a:cubicBezTo>
                      <a:pt x="279" y="1512"/>
                      <a:pt x="282" y="1502"/>
                      <a:pt x="286" y="1502"/>
                    </a:cubicBezTo>
                    <a:cubicBezTo>
                      <a:pt x="289" y="1503"/>
                      <a:pt x="289" y="1512"/>
                      <a:pt x="290" y="1515"/>
                    </a:cubicBezTo>
                    <a:cubicBezTo>
                      <a:pt x="291" y="1520"/>
                      <a:pt x="291" y="1524"/>
                      <a:pt x="290" y="1530"/>
                    </a:cubicBezTo>
                    <a:cubicBezTo>
                      <a:pt x="290" y="1533"/>
                      <a:pt x="288" y="1543"/>
                      <a:pt x="290" y="1545"/>
                    </a:cubicBezTo>
                    <a:cubicBezTo>
                      <a:pt x="292" y="1543"/>
                      <a:pt x="294" y="1541"/>
                      <a:pt x="295" y="1539"/>
                    </a:cubicBezTo>
                    <a:cubicBezTo>
                      <a:pt x="296" y="1536"/>
                      <a:pt x="296" y="1533"/>
                      <a:pt x="297" y="1530"/>
                    </a:cubicBezTo>
                    <a:cubicBezTo>
                      <a:pt x="298" y="1524"/>
                      <a:pt x="300" y="1520"/>
                      <a:pt x="301" y="1514"/>
                    </a:cubicBezTo>
                    <a:cubicBezTo>
                      <a:pt x="303" y="1507"/>
                      <a:pt x="306" y="1500"/>
                      <a:pt x="309" y="1493"/>
                    </a:cubicBezTo>
                    <a:cubicBezTo>
                      <a:pt x="313" y="1485"/>
                      <a:pt x="317" y="1476"/>
                      <a:pt x="320" y="1467"/>
                    </a:cubicBezTo>
                    <a:cubicBezTo>
                      <a:pt x="321" y="1462"/>
                      <a:pt x="322" y="1456"/>
                      <a:pt x="323" y="1451"/>
                    </a:cubicBezTo>
                    <a:cubicBezTo>
                      <a:pt x="323" y="1448"/>
                      <a:pt x="323" y="1444"/>
                      <a:pt x="323" y="1440"/>
                    </a:cubicBezTo>
                    <a:cubicBezTo>
                      <a:pt x="323" y="1438"/>
                      <a:pt x="324" y="1430"/>
                      <a:pt x="320" y="1433"/>
                    </a:cubicBezTo>
                    <a:cubicBezTo>
                      <a:pt x="318" y="1434"/>
                      <a:pt x="317" y="1439"/>
                      <a:pt x="316" y="1441"/>
                    </a:cubicBezTo>
                    <a:cubicBezTo>
                      <a:pt x="315" y="1444"/>
                      <a:pt x="314" y="1446"/>
                      <a:pt x="312" y="1449"/>
                    </a:cubicBezTo>
                    <a:cubicBezTo>
                      <a:pt x="310" y="1454"/>
                      <a:pt x="308" y="1458"/>
                      <a:pt x="306" y="1462"/>
                    </a:cubicBezTo>
                    <a:cubicBezTo>
                      <a:pt x="304" y="1465"/>
                      <a:pt x="303" y="1469"/>
                      <a:pt x="303" y="1473"/>
                    </a:cubicBezTo>
                    <a:cubicBezTo>
                      <a:pt x="302" y="1475"/>
                      <a:pt x="302" y="1480"/>
                      <a:pt x="300" y="1482"/>
                    </a:cubicBezTo>
                    <a:cubicBezTo>
                      <a:pt x="299" y="1483"/>
                      <a:pt x="294" y="1486"/>
                      <a:pt x="293" y="1485"/>
                    </a:cubicBezTo>
                    <a:cubicBezTo>
                      <a:pt x="289" y="1484"/>
                      <a:pt x="290" y="1469"/>
                      <a:pt x="291" y="1465"/>
                    </a:cubicBezTo>
                    <a:cubicBezTo>
                      <a:pt x="292" y="1460"/>
                      <a:pt x="293" y="1456"/>
                      <a:pt x="293" y="1451"/>
                    </a:cubicBezTo>
                    <a:cubicBezTo>
                      <a:pt x="292" y="1450"/>
                      <a:pt x="292" y="1449"/>
                      <a:pt x="292" y="1447"/>
                    </a:cubicBezTo>
                    <a:cubicBezTo>
                      <a:pt x="292" y="1444"/>
                      <a:pt x="293" y="1440"/>
                      <a:pt x="295" y="1437"/>
                    </a:cubicBezTo>
                    <a:cubicBezTo>
                      <a:pt x="297" y="1435"/>
                      <a:pt x="299" y="1436"/>
                      <a:pt x="300" y="1433"/>
                    </a:cubicBezTo>
                    <a:cubicBezTo>
                      <a:pt x="301" y="1430"/>
                      <a:pt x="301" y="1426"/>
                      <a:pt x="302" y="1423"/>
                    </a:cubicBezTo>
                    <a:cubicBezTo>
                      <a:pt x="302" y="1414"/>
                      <a:pt x="301" y="1406"/>
                      <a:pt x="302" y="1397"/>
                    </a:cubicBezTo>
                    <a:cubicBezTo>
                      <a:pt x="303" y="1394"/>
                      <a:pt x="303" y="1391"/>
                      <a:pt x="304" y="1388"/>
                    </a:cubicBezTo>
                    <a:cubicBezTo>
                      <a:pt x="304" y="1387"/>
                      <a:pt x="305" y="1386"/>
                      <a:pt x="306" y="1384"/>
                    </a:cubicBezTo>
                    <a:cubicBezTo>
                      <a:pt x="306" y="1382"/>
                      <a:pt x="306" y="1379"/>
                      <a:pt x="307" y="1376"/>
                    </a:cubicBezTo>
                    <a:cubicBezTo>
                      <a:pt x="308" y="1369"/>
                      <a:pt x="310" y="1363"/>
                      <a:pt x="309" y="1356"/>
                    </a:cubicBezTo>
                    <a:cubicBezTo>
                      <a:pt x="309" y="1353"/>
                      <a:pt x="308" y="1349"/>
                      <a:pt x="309" y="1345"/>
                    </a:cubicBezTo>
                    <a:cubicBezTo>
                      <a:pt x="310" y="1341"/>
                      <a:pt x="317" y="1337"/>
                      <a:pt x="312" y="1332"/>
                    </a:cubicBezTo>
                    <a:cubicBezTo>
                      <a:pt x="310" y="1329"/>
                      <a:pt x="308" y="1330"/>
                      <a:pt x="309" y="1326"/>
                    </a:cubicBezTo>
                    <a:cubicBezTo>
                      <a:pt x="309" y="1325"/>
                      <a:pt x="310" y="1322"/>
                      <a:pt x="311" y="1321"/>
                    </a:cubicBezTo>
                    <a:cubicBezTo>
                      <a:pt x="313" y="1318"/>
                      <a:pt x="318" y="1317"/>
                      <a:pt x="316" y="1313"/>
                    </a:cubicBezTo>
                    <a:cubicBezTo>
                      <a:pt x="315" y="1311"/>
                      <a:pt x="313" y="1310"/>
                      <a:pt x="313" y="1309"/>
                    </a:cubicBezTo>
                    <a:cubicBezTo>
                      <a:pt x="312" y="1307"/>
                      <a:pt x="314" y="1306"/>
                      <a:pt x="314" y="1304"/>
                    </a:cubicBezTo>
                    <a:cubicBezTo>
                      <a:pt x="316" y="1300"/>
                      <a:pt x="315" y="1298"/>
                      <a:pt x="319" y="1298"/>
                    </a:cubicBezTo>
                    <a:cubicBezTo>
                      <a:pt x="322" y="1297"/>
                      <a:pt x="323" y="1297"/>
                      <a:pt x="325" y="1296"/>
                    </a:cubicBezTo>
                    <a:cubicBezTo>
                      <a:pt x="328" y="1294"/>
                      <a:pt x="330" y="1290"/>
                      <a:pt x="333" y="1288"/>
                    </a:cubicBezTo>
                    <a:cubicBezTo>
                      <a:pt x="336" y="1285"/>
                      <a:pt x="342" y="1286"/>
                      <a:pt x="346" y="1283"/>
                    </a:cubicBezTo>
                    <a:cubicBezTo>
                      <a:pt x="351" y="1280"/>
                      <a:pt x="352" y="1271"/>
                      <a:pt x="357" y="1268"/>
                    </a:cubicBezTo>
                    <a:cubicBezTo>
                      <a:pt x="357" y="1271"/>
                      <a:pt x="357" y="1277"/>
                      <a:pt x="361" y="1278"/>
                    </a:cubicBezTo>
                    <a:cubicBezTo>
                      <a:pt x="363" y="1278"/>
                      <a:pt x="367" y="1275"/>
                      <a:pt x="368" y="1274"/>
                    </a:cubicBezTo>
                    <a:cubicBezTo>
                      <a:pt x="369" y="1271"/>
                      <a:pt x="367" y="1267"/>
                      <a:pt x="368" y="1264"/>
                    </a:cubicBezTo>
                    <a:cubicBezTo>
                      <a:pt x="376" y="1264"/>
                      <a:pt x="387" y="1267"/>
                      <a:pt x="393" y="1262"/>
                    </a:cubicBezTo>
                    <a:cubicBezTo>
                      <a:pt x="394" y="1262"/>
                      <a:pt x="394" y="1260"/>
                      <a:pt x="395" y="1260"/>
                    </a:cubicBezTo>
                    <a:cubicBezTo>
                      <a:pt x="397" y="1259"/>
                      <a:pt x="399" y="1258"/>
                      <a:pt x="401" y="1257"/>
                    </a:cubicBezTo>
                    <a:cubicBezTo>
                      <a:pt x="403" y="1256"/>
                      <a:pt x="409" y="1254"/>
                      <a:pt x="407" y="1250"/>
                    </a:cubicBezTo>
                    <a:cubicBezTo>
                      <a:pt x="403" y="1249"/>
                      <a:pt x="399" y="1250"/>
                      <a:pt x="395" y="1248"/>
                    </a:cubicBezTo>
                    <a:cubicBezTo>
                      <a:pt x="395" y="1240"/>
                      <a:pt x="386" y="1235"/>
                      <a:pt x="388" y="1226"/>
                    </a:cubicBezTo>
                    <a:cubicBezTo>
                      <a:pt x="392" y="1225"/>
                      <a:pt x="407" y="1233"/>
                      <a:pt x="405" y="1223"/>
                    </a:cubicBezTo>
                    <a:cubicBezTo>
                      <a:pt x="398" y="1220"/>
                      <a:pt x="389" y="1218"/>
                      <a:pt x="392" y="1208"/>
                    </a:cubicBezTo>
                    <a:cubicBezTo>
                      <a:pt x="393" y="1204"/>
                      <a:pt x="401" y="1205"/>
                      <a:pt x="405" y="1206"/>
                    </a:cubicBezTo>
                    <a:cubicBezTo>
                      <a:pt x="412" y="1207"/>
                      <a:pt x="408" y="1204"/>
                      <a:pt x="410" y="1199"/>
                    </a:cubicBezTo>
                    <a:cubicBezTo>
                      <a:pt x="411" y="1196"/>
                      <a:pt x="411" y="1196"/>
                      <a:pt x="414" y="1195"/>
                    </a:cubicBezTo>
                    <a:cubicBezTo>
                      <a:pt x="416" y="1194"/>
                      <a:pt x="420" y="1194"/>
                      <a:pt x="423" y="1192"/>
                    </a:cubicBezTo>
                    <a:cubicBezTo>
                      <a:pt x="425" y="1190"/>
                      <a:pt x="426" y="1190"/>
                      <a:pt x="424" y="1187"/>
                    </a:cubicBezTo>
                    <a:cubicBezTo>
                      <a:pt x="424" y="1186"/>
                      <a:pt x="422" y="1185"/>
                      <a:pt x="421" y="1185"/>
                    </a:cubicBezTo>
                    <a:cubicBezTo>
                      <a:pt x="421" y="1183"/>
                      <a:pt x="422" y="1178"/>
                      <a:pt x="423" y="1177"/>
                    </a:cubicBezTo>
                    <a:cubicBezTo>
                      <a:pt x="425" y="1176"/>
                      <a:pt x="428" y="1178"/>
                      <a:pt x="430" y="1176"/>
                    </a:cubicBezTo>
                    <a:cubicBezTo>
                      <a:pt x="434" y="1174"/>
                      <a:pt x="433" y="1169"/>
                      <a:pt x="432" y="1166"/>
                    </a:cubicBezTo>
                    <a:cubicBezTo>
                      <a:pt x="431" y="1163"/>
                      <a:pt x="430" y="1161"/>
                      <a:pt x="428" y="1159"/>
                    </a:cubicBezTo>
                    <a:cubicBezTo>
                      <a:pt x="427" y="1159"/>
                      <a:pt x="426" y="1158"/>
                      <a:pt x="426" y="1157"/>
                    </a:cubicBezTo>
                    <a:cubicBezTo>
                      <a:pt x="422" y="1155"/>
                      <a:pt x="419" y="1155"/>
                      <a:pt x="417" y="1151"/>
                    </a:cubicBezTo>
                    <a:cubicBezTo>
                      <a:pt x="416" y="1148"/>
                      <a:pt x="417" y="1145"/>
                      <a:pt x="416" y="1143"/>
                    </a:cubicBezTo>
                    <a:cubicBezTo>
                      <a:pt x="416" y="1142"/>
                      <a:pt x="414" y="1141"/>
                      <a:pt x="413" y="1140"/>
                    </a:cubicBezTo>
                    <a:cubicBezTo>
                      <a:pt x="412" y="1139"/>
                      <a:pt x="412" y="1137"/>
                      <a:pt x="411" y="1135"/>
                    </a:cubicBezTo>
                    <a:cubicBezTo>
                      <a:pt x="410" y="1134"/>
                      <a:pt x="408" y="1134"/>
                      <a:pt x="408" y="1133"/>
                    </a:cubicBezTo>
                    <a:cubicBezTo>
                      <a:pt x="407" y="1131"/>
                      <a:pt x="408" y="1127"/>
                      <a:pt x="407" y="1125"/>
                    </a:cubicBezTo>
                    <a:cubicBezTo>
                      <a:pt x="407" y="1122"/>
                      <a:pt x="406" y="1122"/>
                      <a:pt x="404" y="1120"/>
                    </a:cubicBezTo>
                    <a:cubicBezTo>
                      <a:pt x="403" y="1119"/>
                      <a:pt x="400" y="1118"/>
                      <a:pt x="399" y="1117"/>
                    </a:cubicBezTo>
                    <a:cubicBezTo>
                      <a:pt x="399" y="1116"/>
                      <a:pt x="399" y="1114"/>
                      <a:pt x="399" y="1113"/>
                    </a:cubicBezTo>
                    <a:cubicBezTo>
                      <a:pt x="398" y="1108"/>
                      <a:pt x="394" y="1099"/>
                      <a:pt x="389" y="1098"/>
                    </a:cubicBezTo>
                    <a:cubicBezTo>
                      <a:pt x="389" y="1102"/>
                      <a:pt x="390" y="1109"/>
                      <a:pt x="385" y="1110"/>
                    </a:cubicBezTo>
                    <a:cubicBezTo>
                      <a:pt x="381" y="1111"/>
                      <a:pt x="377" y="1106"/>
                      <a:pt x="374" y="1103"/>
                    </a:cubicBezTo>
                    <a:cubicBezTo>
                      <a:pt x="371" y="1099"/>
                      <a:pt x="368" y="1096"/>
                      <a:pt x="366" y="1091"/>
                    </a:cubicBezTo>
                    <a:cubicBezTo>
                      <a:pt x="365" y="1089"/>
                      <a:pt x="364" y="1087"/>
                      <a:pt x="361" y="1088"/>
                    </a:cubicBezTo>
                    <a:cubicBezTo>
                      <a:pt x="361" y="1089"/>
                      <a:pt x="361" y="1093"/>
                      <a:pt x="360" y="1094"/>
                    </a:cubicBezTo>
                    <a:cubicBezTo>
                      <a:pt x="357" y="1095"/>
                      <a:pt x="354" y="1089"/>
                      <a:pt x="353" y="1088"/>
                    </a:cubicBezTo>
                    <a:cubicBezTo>
                      <a:pt x="351" y="1084"/>
                      <a:pt x="353" y="1083"/>
                      <a:pt x="348" y="1083"/>
                    </a:cubicBezTo>
                    <a:cubicBezTo>
                      <a:pt x="344" y="1083"/>
                      <a:pt x="338" y="1081"/>
                      <a:pt x="336" y="1076"/>
                    </a:cubicBezTo>
                    <a:cubicBezTo>
                      <a:pt x="334" y="1070"/>
                      <a:pt x="341" y="1072"/>
                      <a:pt x="341" y="1068"/>
                    </a:cubicBezTo>
                    <a:cubicBezTo>
                      <a:pt x="341" y="1064"/>
                      <a:pt x="336" y="1063"/>
                      <a:pt x="335" y="1060"/>
                    </a:cubicBezTo>
                    <a:cubicBezTo>
                      <a:pt x="334" y="1057"/>
                      <a:pt x="334" y="1054"/>
                      <a:pt x="334" y="1051"/>
                    </a:cubicBezTo>
                    <a:cubicBezTo>
                      <a:pt x="334" y="1047"/>
                      <a:pt x="333" y="1044"/>
                      <a:pt x="332" y="1041"/>
                    </a:cubicBezTo>
                    <a:cubicBezTo>
                      <a:pt x="331" y="1040"/>
                      <a:pt x="331" y="1040"/>
                      <a:pt x="330" y="1039"/>
                    </a:cubicBezTo>
                    <a:cubicBezTo>
                      <a:pt x="330" y="1038"/>
                      <a:pt x="330" y="1037"/>
                      <a:pt x="330" y="1036"/>
                    </a:cubicBezTo>
                    <a:cubicBezTo>
                      <a:pt x="330" y="1034"/>
                      <a:pt x="330" y="1032"/>
                      <a:pt x="330" y="1029"/>
                    </a:cubicBezTo>
                    <a:cubicBezTo>
                      <a:pt x="330" y="1024"/>
                      <a:pt x="330" y="1018"/>
                      <a:pt x="330" y="1013"/>
                    </a:cubicBezTo>
                    <a:cubicBezTo>
                      <a:pt x="330" y="1009"/>
                      <a:pt x="330" y="1006"/>
                      <a:pt x="329" y="1003"/>
                    </a:cubicBezTo>
                    <a:cubicBezTo>
                      <a:pt x="329" y="1000"/>
                      <a:pt x="330" y="996"/>
                      <a:pt x="330" y="993"/>
                    </a:cubicBezTo>
                    <a:cubicBezTo>
                      <a:pt x="331" y="988"/>
                      <a:pt x="330" y="983"/>
                      <a:pt x="330" y="979"/>
                    </a:cubicBezTo>
                    <a:cubicBezTo>
                      <a:pt x="330" y="977"/>
                      <a:pt x="330" y="974"/>
                      <a:pt x="330" y="973"/>
                    </a:cubicBezTo>
                    <a:cubicBezTo>
                      <a:pt x="331" y="969"/>
                      <a:pt x="336" y="969"/>
                      <a:pt x="338" y="966"/>
                    </a:cubicBezTo>
                    <a:cubicBezTo>
                      <a:pt x="343" y="960"/>
                      <a:pt x="342" y="946"/>
                      <a:pt x="342" y="938"/>
                    </a:cubicBezTo>
                    <a:cubicBezTo>
                      <a:pt x="342" y="930"/>
                      <a:pt x="340" y="920"/>
                      <a:pt x="342" y="912"/>
                    </a:cubicBezTo>
                    <a:cubicBezTo>
                      <a:pt x="343" y="909"/>
                      <a:pt x="344" y="907"/>
                      <a:pt x="344" y="903"/>
                    </a:cubicBezTo>
                    <a:cubicBezTo>
                      <a:pt x="344" y="901"/>
                      <a:pt x="343" y="899"/>
                      <a:pt x="342" y="897"/>
                    </a:cubicBezTo>
                    <a:cubicBezTo>
                      <a:pt x="342" y="895"/>
                      <a:pt x="342" y="890"/>
                      <a:pt x="343" y="889"/>
                    </a:cubicBezTo>
                    <a:cubicBezTo>
                      <a:pt x="345" y="887"/>
                      <a:pt x="350" y="888"/>
                      <a:pt x="352" y="888"/>
                    </a:cubicBezTo>
                    <a:cubicBezTo>
                      <a:pt x="356" y="887"/>
                      <a:pt x="356" y="886"/>
                      <a:pt x="358" y="882"/>
                    </a:cubicBezTo>
                    <a:cubicBezTo>
                      <a:pt x="360" y="877"/>
                      <a:pt x="362" y="872"/>
                      <a:pt x="365" y="867"/>
                    </a:cubicBezTo>
                    <a:cubicBezTo>
                      <a:pt x="365" y="865"/>
                      <a:pt x="366" y="861"/>
                      <a:pt x="368" y="860"/>
                    </a:cubicBezTo>
                    <a:cubicBezTo>
                      <a:pt x="368" y="859"/>
                      <a:pt x="369" y="859"/>
                      <a:pt x="370" y="858"/>
                    </a:cubicBezTo>
                    <a:cubicBezTo>
                      <a:pt x="372" y="857"/>
                      <a:pt x="374" y="853"/>
                      <a:pt x="374" y="851"/>
                    </a:cubicBezTo>
                    <a:cubicBezTo>
                      <a:pt x="375" y="848"/>
                      <a:pt x="375" y="845"/>
                      <a:pt x="377" y="841"/>
                    </a:cubicBezTo>
                    <a:cubicBezTo>
                      <a:pt x="378" y="839"/>
                      <a:pt x="382" y="834"/>
                      <a:pt x="385" y="832"/>
                    </a:cubicBezTo>
                    <a:cubicBezTo>
                      <a:pt x="387" y="832"/>
                      <a:pt x="388" y="833"/>
                      <a:pt x="389" y="832"/>
                    </a:cubicBezTo>
                    <a:cubicBezTo>
                      <a:pt x="389" y="831"/>
                      <a:pt x="391" y="828"/>
                      <a:pt x="391" y="827"/>
                    </a:cubicBezTo>
                    <a:cubicBezTo>
                      <a:pt x="392" y="825"/>
                      <a:pt x="393" y="822"/>
                      <a:pt x="393" y="819"/>
                    </a:cubicBezTo>
                    <a:cubicBezTo>
                      <a:pt x="393" y="817"/>
                      <a:pt x="391" y="815"/>
                      <a:pt x="392" y="812"/>
                    </a:cubicBezTo>
                    <a:cubicBezTo>
                      <a:pt x="392" y="811"/>
                      <a:pt x="393" y="812"/>
                      <a:pt x="393" y="811"/>
                    </a:cubicBezTo>
                    <a:cubicBezTo>
                      <a:pt x="393" y="809"/>
                      <a:pt x="393" y="809"/>
                      <a:pt x="393" y="808"/>
                    </a:cubicBezTo>
                    <a:cubicBezTo>
                      <a:pt x="392" y="806"/>
                      <a:pt x="392" y="804"/>
                      <a:pt x="391" y="803"/>
                    </a:cubicBezTo>
                    <a:cubicBezTo>
                      <a:pt x="391" y="802"/>
                      <a:pt x="390" y="802"/>
                      <a:pt x="390" y="802"/>
                    </a:cubicBezTo>
                    <a:cubicBezTo>
                      <a:pt x="395" y="801"/>
                      <a:pt x="400" y="800"/>
                      <a:pt x="404" y="798"/>
                    </a:cubicBezTo>
                    <a:cubicBezTo>
                      <a:pt x="407" y="796"/>
                      <a:pt x="407" y="795"/>
                      <a:pt x="409" y="793"/>
                    </a:cubicBezTo>
                    <a:cubicBezTo>
                      <a:pt x="415" y="783"/>
                      <a:pt x="422" y="775"/>
                      <a:pt x="431" y="768"/>
                    </a:cubicBezTo>
                    <a:cubicBezTo>
                      <a:pt x="434" y="766"/>
                      <a:pt x="437" y="764"/>
                      <a:pt x="440" y="761"/>
                    </a:cubicBezTo>
                    <a:cubicBezTo>
                      <a:pt x="443" y="759"/>
                      <a:pt x="445" y="756"/>
                      <a:pt x="448" y="753"/>
                    </a:cubicBezTo>
                    <a:cubicBezTo>
                      <a:pt x="451" y="750"/>
                      <a:pt x="452" y="750"/>
                      <a:pt x="456" y="752"/>
                    </a:cubicBezTo>
                    <a:cubicBezTo>
                      <a:pt x="458" y="752"/>
                      <a:pt x="459" y="753"/>
                      <a:pt x="461" y="753"/>
                    </a:cubicBezTo>
                    <a:cubicBezTo>
                      <a:pt x="464" y="752"/>
                      <a:pt x="464" y="746"/>
                      <a:pt x="466" y="744"/>
                    </a:cubicBezTo>
                    <a:cubicBezTo>
                      <a:pt x="471" y="740"/>
                      <a:pt x="476" y="739"/>
                      <a:pt x="481" y="736"/>
                    </a:cubicBezTo>
                    <a:cubicBezTo>
                      <a:pt x="484" y="735"/>
                      <a:pt x="487" y="731"/>
                      <a:pt x="490" y="730"/>
                    </a:cubicBezTo>
                    <a:cubicBezTo>
                      <a:pt x="493" y="729"/>
                      <a:pt x="497" y="731"/>
                      <a:pt x="500" y="732"/>
                    </a:cubicBezTo>
                    <a:cubicBezTo>
                      <a:pt x="503" y="732"/>
                      <a:pt x="507" y="732"/>
                      <a:pt x="510" y="732"/>
                    </a:cubicBezTo>
                    <a:cubicBezTo>
                      <a:pt x="513" y="732"/>
                      <a:pt x="514" y="733"/>
                      <a:pt x="515" y="729"/>
                    </a:cubicBezTo>
                    <a:cubicBezTo>
                      <a:pt x="517" y="725"/>
                      <a:pt x="518" y="719"/>
                      <a:pt x="518" y="715"/>
                    </a:cubicBezTo>
                    <a:cubicBezTo>
                      <a:pt x="519" y="706"/>
                      <a:pt x="520" y="697"/>
                      <a:pt x="523" y="689"/>
                    </a:cubicBezTo>
                    <a:cubicBezTo>
                      <a:pt x="525" y="685"/>
                      <a:pt x="527" y="681"/>
                      <a:pt x="529" y="678"/>
                    </a:cubicBezTo>
                    <a:cubicBezTo>
                      <a:pt x="530" y="675"/>
                      <a:pt x="530" y="672"/>
                      <a:pt x="532" y="670"/>
                    </a:cubicBezTo>
                    <a:cubicBezTo>
                      <a:pt x="533" y="668"/>
                      <a:pt x="535" y="667"/>
                      <a:pt x="536" y="665"/>
                    </a:cubicBezTo>
                    <a:cubicBezTo>
                      <a:pt x="538" y="663"/>
                      <a:pt x="538" y="661"/>
                      <a:pt x="540" y="659"/>
                    </a:cubicBezTo>
                    <a:cubicBezTo>
                      <a:pt x="544" y="655"/>
                      <a:pt x="548" y="651"/>
                      <a:pt x="552" y="647"/>
                    </a:cubicBezTo>
                    <a:cubicBezTo>
                      <a:pt x="557" y="641"/>
                      <a:pt x="556" y="634"/>
                      <a:pt x="554" y="627"/>
                    </a:cubicBezTo>
                    <a:cubicBezTo>
                      <a:pt x="553" y="624"/>
                      <a:pt x="551" y="618"/>
                      <a:pt x="547" y="619"/>
                    </a:cubicBezTo>
                    <a:cubicBezTo>
                      <a:pt x="546" y="612"/>
                      <a:pt x="540" y="605"/>
                      <a:pt x="537" y="599"/>
                    </a:cubicBezTo>
                    <a:cubicBezTo>
                      <a:pt x="536" y="595"/>
                      <a:pt x="535" y="592"/>
                      <a:pt x="535" y="588"/>
                    </a:cubicBezTo>
                    <a:cubicBezTo>
                      <a:pt x="536" y="581"/>
                      <a:pt x="541" y="575"/>
                      <a:pt x="544" y="569"/>
                    </a:cubicBezTo>
                    <a:cubicBezTo>
                      <a:pt x="546" y="566"/>
                      <a:pt x="551" y="563"/>
                      <a:pt x="551" y="559"/>
                    </a:cubicBezTo>
                    <a:cubicBezTo>
                      <a:pt x="552" y="558"/>
                      <a:pt x="551" y="556"/>
                      <a:pt x="552" y="555"/>
                    </a:cubicBezTo>
                    <a:cubicBezTo>
                      <a:pt x="552" y="551"/>
                      <a:pt x="553" y="547"/>
                      <a:pt x="554" y="543"/>
                    </a:cubicBezTo>
                    <a:cubicBezTo>
                      <a:pt x="556" y="540"/>
                      <a:pt x="558" y="537"/>
                      <a:pt x="558" y="533"/>
                    </a:cubicBezTo>
                    <a:cubicBezTo>
                      <a:pt x="558" y="531"/>
                      <a:pt x="558" y="529"/>
                      <a:pt x="559" y="527"/>
                    </a:cubicBezTo>
                    <a:cubicBezTo>
                      <a:pt x="559" y="526"/>
                      <a:pt x="562" y="524"/>
                      <a:pt x="563" y="523"/>
                    </a:cubicBezTo>
                    <a:cubicBezTo>
                      <a:pt x="565" y="521"/>
                      <a:pt x="566" y="518"/>
                      <a:pt x="570" y="518"/>
                    </a:cubicBezTo>
                    <a:cubicBezTo>
                      <a:pt x="571" y="518"/>
                      <a:pt x="572" y="518"/>
                      <a:pt x="573" y="518"/>
                    </a:cubicBezTo>
                    <a:cubicBezTo>
                      <a:pt x="576" y="517"/>
                      <a:pt x="582" y="517"/>
                      <a:pt x="584" y="516"/>
                    </a:cubicBezTo>
                    <a:cubicBezTo>
                      <a:pt x="586" y="514"/>
                      <a:pt x="584" y="509"/>
                      <a:pt x="587" y="507"/>
                    </a:cubicBezTo>
                    <a:cubicBezTo>
                      <a:pt x="588" y="506"/>
                      <a:pt x="589" y="507"/>
                      <a:pt x="590" y="507"/>
                    </a:cubicBezTo>
                    <a:cubicBezTo>
                      <a:pt x="592" y="507"/>
                      <a:pt x="592" y="506"/>
                      <a:pt x="593" y="505"/>
                    </a:cubicBezTo>
                    <a:cubicBezTo>
                      <a:pt x="596" y="503"/>
                      <a:pt x="598" y="502"/>
                      <a:pt x="599" y="499"/>
                    </a:cubicBezTo>
                    <a:cubicBezTo>
                      <a:pt x="599" y="498"/>
                      <a:pt x="599" y="495"/>
                      <a:pt x="600" y="494"/>
                    </a:cubicBezTo>
                    <a:cubicBezTo>
                      <a:pt x="601" y="489"/>
                      <a:pt x="603" y="485"/>
                      <a:pt x="603" y="480"/>
                    </a:cubicBezTo>
                    <a:cubicBezTo>
                      <a:pt x="604" y="474"/>
                      <a:pt x="602" y="468"/>
                      <a:pt x="603" y="462"/>
                    </a:cubicBezTo>
                    <a:cubicBezTo>
                      <a:pt x="606" y="461"/>
                      <a:pt x="607" y="465"/>
                      <a:pt x="610" y="465"/>
                    </a:cubicBezTo>
                    <a:cubicBezTo>
                      <a:pt x="615" y="465"/>
                      <a:pt x="612" y="460"/>
                      <a:pt x="615" y="460"/>
                    </a:cubicBezTo>
                    <a:cubicBezTo>
                      <a:pt x="621" y="469"/>
                      <a:pt x="632" y="472"/>
                      <a:pt x="642" y="467"/>
                    </a:cubicBezTo>
                    <a:cubicBezTo>
                      <a:pt x="643" y="467"/>
                      <a:pt x="643" y="467"/>
                      <a:pt x="644" y="467"/>
                    </a:cubicBezTo>
                    <a:cubicBezTo>
                      <a:pt x="645" y="466"/>
                      <a:pt x="645" y="465"/>
                      <a:pt x="646" y="464"/>
                    </a:cubicBezTo>
                    <a:cubicBezTo>
                      <a:pt x="648" y="462"/>
                      <a:pt x="651" y="463"/>
                      <a:pt x="653" y="463"/>
                    </a:cubicBezTo>
                    <a:cubicBezTo>
                      <a:pt x="657" y="463"/>
                      <a:pt x="661" y="464"/>
                      <a:pt x="665" y="465"/>
                    </a:cubicBezTo>
                    <a:cubicBezTo>
                      <a:pt x="668" y="466"/>
                      <a:pt x="670" y="467"/>
                      <a:pt x="672" y="468"/>
                    </a:cubicBezTo>
                    <a:cubicBezTo>
                      <a:pt x="676" y="468"/>
                      <a:pt x="675" y="467"/>
                      <a:pt x="677" y="465"/>
                    </a:cubicBezTo>
                    <a:cubicBezTo>
                      <a:pt x="676" y="465"/>
                      <a:pt x="680" y="463"/>
                      <a:pt x="680" y="463"/>
                    </a:cubicBezTo>
                    <a:cubicBezTo>
                      <a:pt x="682" y="462"/>
                      <a:pt x="685" y="460"/>
                      <a:pt x="687" y="460"/>
                    </a:cubicBezTo>
                    <a:cubicBezTo>
                      <a:pt x="690" y="459"/>
                      <a:pt x="692" y="460"/>
                      <a:pt x="694" y="459"/>
                    </a:cubicBezTo>
                    <a:cubicBezTo>
                      <a:pt x="694" y="458"/>
                      <a:pt x="695" y="456"/>
                      <a:pt x="695" y="455"/>
                    </a:cubicBezTo>
                    <a:cubicBezTo>
                      <a:pt x="696" y="450"/>
                      <a:pt x="695" y="444"/>
                      <a:pt x="694" y="439"/>
                    </a:cubicBezTo>
                    <a:cubicBezTo>
                      <a:pt x="691" y="429"/>
                      <a:pt x="690" y="419"/>
                      <a:pt x="684" y="410"/>
                    </a:cubicBezTo>
                    <a:cubicBezTo>
                      <a:pt x="682" y="406"/>
                      <a:pt x="679" y="405"/>
                      <a:pt x="677" y="401"/>
                    </a:cubicBezTo>
                    <a:cubicBezTo>
                      <a:pt x="676" y="398"/>
                      <a:pt x="677" y="394"/>
                      <a:pt x="677" y="391"/>
                    </a:cubicBezTo>
                    <a:cubicBezTo>
                      <a:pt x="677" y="387"/>
                      <a:pt x="676" y="384"/>
                      <a:pt x="677" y="380"/>
                    </a:cubicBezTo>
                    <a:cubicBezTo>
                      <a:pt x="677" y="376"/>
                      <a:pt x="679" y="374"/>
                      <a:pt x="681" y="371"/>
                    </a:cubicBezTo>
                    <a:cubicBezTo>
                      <a:pt x="684" y="365"/>
                      <a:pt x="683" y="359"/>
                      <a:pt x="684" y="353"/>
                    </a:cubicBezTo>
                    <a:cubicBezTo>
                      <a:pt x="686" y="345"/>
                      <a:pt x="689" y="337"/>
                      <a:pt x="687" y="328"/>
                    </a:cubicBezTo>
                    <a:cubicBezTo>
                      <a:pt x="686" y="320"/>
                      <a:pt x="682" y="312"/>
                      <a:pt x="677" y="305"/>
                    </a:cubicBezTo>
                    <a:cubicBezTo>
                      <a:pt x="672" y="296"/>
                      <a:pt x="669" y="286"/>
                      <a:pt x="669" y="276"/>
                    </a:cubicBezTo>
                    <a:cubicBezTo>
                      <a:pt x="669" y="273"/>
                      <a:pt x="668" y="267"/>
                      <a:pt x="670" y="265"/>
                    </a:cubicBezTo>
                    <a:cubicBezTo>
                      <a:pt x="671" y="263"/>
                      <a:pt x="673" y="264"/>
                      <a:pt x="673" y="262"/>
                    </a:cubicBezTo>
                    <a:cubicBezTo>
                      <a:pt x="674" y="259"/>
                      <a:pt x="673" y="255"/>
                      <a:pt x="672" y="253"/>
                    </a:cubicBezTo>
                    <a:cubicBezTo>
                      <a:pt x="672" y="249"/>
                      <a:pt x="671" y="246"/>
                      <a:pt x="670" y="243"/>
                    </a:cubicBezTo>
                    <a:cubicBezTo>
                      <a:pt x="670" y="241"/>
                      <a:pt x="670" y="240"/>
                      <a:pt x="669" y="239"/>
                    </a:cubicBezTo>
                    <a:cubicBezTo>
                      <a:pt x="667" y="238"/>
                      <a:pt x="663" y="239"/>
                      <a:pt x="661" y="237"/>
                    </a:cubicBezTo>
                    <a:cubicBezTo>
                      <a:pt x="659" y="236"/>
                      <a:pt x="658" y="233"/>
                      <a:pt x="657" y="230"/>
                    </a:cubicBezTo>
                    <a:cubicBezTo>
                      <a:pt x="656" y="225"/>
                      <a:pt x="661" y="224"/>
                      <a:pt x="664" y="221"/>
                    </a:cubicBezTo>
                    <a:cubicBezTo>
                      <a:pt x="666" y="218"/>
                      <a:pt x="666" y="214"/>
                      <a:pt x="666" y="211"/>
                    </a:cubicBezTo>
                    <a:cubicBezTo>
                      <a:pt x="665" y="204"/>
                      <a:pt x="662" y="199"/>
                      <a:pt x="662" y="192"/>
                    </a:cubicBezTo>
                    <a:cubicBezTo>
                      <a:pt x="662" y="188"/>
                      <a:pt x="662" y="184"/>
                      <a:pt x="662" y="180"/>
                    </a:cubicBezTo>
                    <a:cubicBezTo>
                      <a:pt x="662" y="178"/>
                      <a:pt x="663" y="176"/>
                      <a:pt x="663" y="174"/>
                    </a:cubicBezTo>
                    <a:cubicBezTo>
                      <a:pt x="665" y="169"/>
                      <a:pt x="668" y="167"/>
                      <a:pt x="667" y="162"/>
                    </a:cubicBezTo>
                    <a:cubicBezTo>
                      <a:pt x="660" y="161"/>
                      <a:pt x="659" y="153"/>
                      <a:pt x="656" y="148"/>
                    </a:cubicBezTo>
                    <a:cubicBezTo>
                      <a:pt x="654" y="145"/>
                      <a:pt x="653" y="143"/>
                      <a:pt x="649" y="142"/>
                    </a:cubicBezTo>
                    <a:cubicBezTo>
                      <a:pt x="647" y="141"/>
                      <a:pt x="645" y="140"/>
                      <a:pt x="642" y="140"/>
                    </a:cubicBezTo>
                    <a:cubicBezTo>
                      <a:pt x="641" y="137"/>
                      <a:pt x="642" y="133"/>
                      <a:pt x="641" y="129"/>
                    </a:cubicBezTo>
                    <a:cubicBezTo>
                      <a:pt x="641" y="128"/>
                      <a:pt x="642" y="125"/>
                      <a:pt x="641" y="123"/>
                    </a:cubicBezTo>
                    <a:cubicBezTo>
                      <a:pt x="639" y="122"/>
                      <a:pt x="634" y="121"/>
                      <a:pt x="632" y="120"/>
                    </a:cubicBezTo>
                    <a:cubicBezTo>
                      <a:pt x="629" y="119"/>
                      <a:pt x="628" y="120"/>
                      <a:pt x="627" y="117"/>
                    </a:cubicBezTo>
                    <a:cubicBezTo>
                      <a:pt x="626" y="115"/>
                      <a:pt x="625" y="114"/>
                      <a:pt x="624" y="112"/>
                    </a:cubicBezTo>
                    <a:cubicBezTo>
                      <a:pt x="621" y="106"/>
                      <a:pt x="616" y="100"/>
                      <a:pt x="613" y="95"/>
                    </a:cubicBezTo>
                    <a:cubicBezTo>
                      <a:pt x="609" y="90"/>
                      <a:pt x="607" y="89"/>
                      <a:pt x="602" y="86"/>
                    </a:cubicBezTo>
                    <a:cubicBezTo>
                      <a:pt x="598" y="85"/>
                      <a:pt x="595" y="84"/>
                      <a:pt x="591" y="84"/>
                    </a:cubicBezTo>
                    <a:cubicBezTo>
                      <a:pt x="589" y="84"/>
                      <a:pt x="588" y="84"/>
                      <a:pt x="587" y="83"/>
                    </a:cubicBezTo>
                    <a:cubicBezTo>
                      <a:pt x="585" y="82"/>
                      <a:pt x="583" y="80"/>
                      <a:pt x="582" y="78"/>
                    </a:cubicBezTo>
                    <a:cubicBezTo>
                      <a:pt x="579" y="76"/>
                      <a:pt x="577" y="74"/>
                      <a:pt x="574" y="72"/>
                    </a:cubicBezTo>
                    <a:cubicBezTo>
                      <a:pt x="570" y="69"/>
                      <a:pt x="568" y="69"/>
                      <a:pt x="563" y="68"/>
                    </a:cubicBezTo>
                    <a:cubicBezTo>
                      <a:pt x="559" y="67"/>
                      <a:pt x="555" y="62"/>
                      <a:pt x="552" y="59"/>
                    </a:cubicBezTo>
                    <a:cubicBezTo>
                      <a:pt x="549" y="54"/>
                      <a:pt x="547" y="50"/>
                      <a:pt x="542" y="47"/>
                    </a:cubicBezTo>
                    <a:cubicBezTo>
                      <a:pt x="538" y="44"/>
                      <a:pt x="537" y="39"/>
                      <a:pt x="534" y="35"/>
                    </a:cubicBezTo>
                    <a:cubicBezTo>
                      <a:pt x="531" y="32"/>
                      <a:pt x="528" y="30"/>
                      <a:pt x="525" y="28"/>
                    </a:cubicBezTo>
                    <a:cubicBezTo>
                      <a:pt x="523" y="26"/>
                      <a:pt x="522" y="24"/>
                      <a:pt x="519" y="22"/>
                    </a:cubicBezTo>
                    <a:cubicBezTo>
                      <a:pt x="516" y="19"/>
                      <a:pt x="513" y="17"/>
                      <a:pt x="510" y="14"/>
                    </a:cubicBezTo>
                    <a:cubicBezTo>
                      <a:pt x="508" y="11"/>
                      <a:pt x="505" y="8"/>
                      <a:pt x="504" y="5"/>
                    </a:cubicBezTo>
                    <a:cubicBezTo>
                      <a:pt x="503" y="4"/>
                      <a:pt x="503" y="2"/>
                      <a:pt x="502" y="1"/>
                    </a:cubicBezTo>
                    <a:cubicBezTo>
                      <a:pt x="502" y="1"/>
                      <a:pt x="502" y="0"/>
                      <a:pt x="502" y="0"/>
                    </a:cubicBezTo>
                    <a:cubicBezTo>
                      <a:pt x="500" y="0"/>
                      <a:pt x="498" y="0"/>
                      <a:pt x="497" y="1"/>
                    </a:cubicBezTo>
                    <a:cubicBezTo>
                      <a:pt x="494" y="1"/>
                      <a:pt x="481" y="1"/>
                      <a:pt x="480" y="4"/>
                    </a:cubicBezTo>
                    <a:cubicBezTo>
                      <a:pt x="482" y="6"/>
                      <a:pt x="483" y="10"/>
                      <a:pt x="485" y="12"/>
                    </a:cubicBezTo>
                    <a:cubicBezTo>
                      <a:pt x="487" y="17"/>
                      <a:pt x="490" y="22"/>
                      <a:pt x="493" y="26"/>
                    </a:cubicBezTo>
                    <a:cubicBezTo>
                      <a:pt x="498" y="33"/>
                      <a:pt x="500" y="39"/>
                      <a:pt x="500" y="47"/>
                    </a:cubicBezTo>
                    <a:cubicBezTo>
                      <a:pt x="500" y="54"/>
                      <a:pt x="497" y="56"/>
                      <a:pt x="492" y="60"/>
                    </a:cubicBezTo>
                    <a:cubicBezTo>
                      <a:pt x="487" y="64"/>
                      <a:pt x="483" y="67"/>
                      <a:pt x="478" y="70"/>
                    </a:cubicBezTo>
                    <a:cubicBezTo>
                      <a:pt x="475" y="72"/>
                      <a:pt x="470" y="73"/>
                      <a:pt x="468" y="76"/>
                    </a:cubicBezTo>
                    <a:cubicBezTo>
                      <a:pt x="471" y="78"/>
                      <a:pt x="484" y="81"/>
                      <a:pt x="484" y="85"/>
                    </a:cubicBezTo>
                    <a:cubicBezTo>
                      <a:pt x="484" y="86"/>
                      <a:pt x="481" y="88"/>
                      <a:pt x="481" y="89"/>
                    </a:cubicBezTo>
                    <a:cubicBezTo>
                      <a:pt x="480" y="91"/>
                      <a:pt x="480" y="92"/>
                      <a:pt x="478" y="95"/>
                    </a:cubicBezTo>
                    <a:cubicBezTo>
                      <a:pt x="478" y="96"/>
                      <a:pt x="475" y="100"/>
                      <a:pt x="474" y="101"/>
                    </a:cubicBezTo>
                    <a:cubicBezTo>
                      <a:pt x="472" y="102"/>
                      <a:pt x="471" y="101"/>
                      <a:pt x="469" y="101"/>
                    </a:cubicBezTo>
                    <a:cubicBezTo>
                      <a:pt x="462" y="100"/>
                      <a:pt x="456" y="98"/>
                      <a:pt x="449" y="94"/>
                    </a:cubicBezTo>
                    <a:cubicBezTo>
                      <a:pt x="444" y="91"/>
                      <a:pt x="438" y="92"/>
                      <a:pt x="432" y="91"/>
                    </a:cubicBezTo>
                    <a:cubicBezTo>
                      <a:pt x="423" y="89"/>
                      <a:pt x="414" y="87"/>
                      <a:pt x="405" y="84"/>
                    </a:cubicBezTo>
                    <a:cubicBezTo>
                      <a:pt x="403" y="83"/>
                      <a:pt x="399" y="83"/>
                      <a:pt x="397" y="82"/>
                    </a:cubicBezTo>
                    <a:cubicBezTo>
                      <a:pt x="394" y="81"/>
                      <a:pt x="393" y="80"/>
                      <a:pt x="391" y="80"/>
                    </a:cubicBezTo>
                    <a:cubicBezTo>
                      <a:pt x="387" y="80"/>
                      <a:pt x="382" y="81"/>
                      <a:pt x="379" y="78"/>
                    </a:cubicBezTo>
                    <a:cubicBezTo>
                      <a:pt x="380" y="83"/>
                      <a:pt x="380" y="89"/>
                      <a:pt x="380" y="94"/>
                    </a:cubicBezTo>
                    <a:cubicBezTo>
                      <a:pt x="380" y="117"/>
                      <a:pt x="380" y="117"/>
                      <a:pt x="380" y="117"/>
                    </a:cubicBezTo>
                    <a:cubicBezTo>
                      <a:pt x="380" y="119"/>
                      <a:pt x="380" y="123"/>
                      <a:pt x="380" y="124"/>
                    </a:cubicBezTo>
                    <a:cubicBezTo>
                      <a:pt x="379" y="126"/>
                      <a:pt x="378" y="128"/>
                      <a:pt x="378" y="129"/>
                    </a:cubicBezTo>
                    <a:cubicBezTo>
                      <a:pt x="377" y="132"/>
                      <a:pt x="375" y="134"/>
                      <a:pt x="373" y="137"/>
                    </a:cubicBezTo>
                    <a:cubicBezTo>
                      <a:pt x="371" y="142"/>
                      <a:pt x="368" y="147"/>
                      <a:pt x="366" y="151"/>
                    </a:cubicBezTo>
                    <a:cubicBezTo>
                      <a:pt x="365" y="153"/>
                      <a:pt x="365" y="155"/>
                      <a:pt x="364" y="157"/>
                    </a:cubicBezTo>
                    <a:cubicBezTo>
                      <a:pt x="359" y="155"/>
                      <a:pt x="354" y="152"/>
                      <a:pt x="349" y="151"/>
                    </a:cubicBezTo>
                    <a:cubicBezTo>
                      <a:pt x="345" y="149"/>
                      <a:pt x="343" y="147"/>
                      <a:pt x="340" y="146"/>
                    </a:cubicBezTo>
                    <a:cubicBezTo>
                      <a:pt x="336" y="144"/>
                      <a:pt x="329" y="144"/>
                      <a:pt x="325" y="145"/>
                    </a:cubicBezTo>
                    <a:cubicBezTo>
                      <a:pt x="322" y="146"/>
                      <a:pt x="319" y="149"/>
                      <a:pt x="317" y="151"/>
                    </a:cubicBezTo>
                    <a:cubicBezTo>
                      <a:pt x="313" y="153"/>
                      <a:pt x="311" y="155"/>
                      <a:pt x="308" y="159"/>
                    </a:cubicBezTo>
                    <a:cubicBezTo>
                      <a:pt x="305" y="163"/>
                      <a:pt x="302" y="168"/>
                      <a:pt x="299" y="172"/>
                    </a:cubicBezTo>
                    <a:cubicBezTo>
                      <a:pt x="298" y="173"/>
                      <a:pt x="295" y="175"/>
                      <a:pt x="295" y="177"/>
                    </a:cubicBezTo>
                    <a:cubicBezTo>
                      <a:pt x="292" y="178"/>
                      <a:pt x="292" y="181"/>
                      <a:pt x="291" y="183"/>
                    </a:cubicBezTo>
                    <a:cubicBezTo>
                      <a:pt x="290" y="185"/>
                      <a:pt x="289" y="186"/>
                      <a:pt x="288" y="188"/>
                    </a:cubicBezTo>
                    <a:cubicBezTo>
                      <a:pt x="289" y="187"/>
                      <a:pt x="290" y="187"/>
                      <a:pt x="290" y="187"/>
                    </a:cubicBezTo>
                    <a:cubicBezTo>
                      <a:pt x="289" y="188"/>
                      <a:pt x="289" y="190"/>
                      <a:pt x="288" y="192"/>
                    </a:cubicBezTo>
                    <a:cubicBezTo>
                      <a:pt x="287" y="195"/>
                      <a:pt x="285" y="199"/>
                      <a:pt x="284" y="202"/>
                    </a:cubicBezTo>
                    <a:cubicBezTo>
                      <a:pt x="282" y="207"/>
                      <a:pt x="280" y="211"/>
                      <a:pt x="279" y="216"/>
                    </a:cubicBezTo>
                    <a:cubicBezTo>
                      <a:pt x="279" y="220"/>
                      <a:pt x="278" y="223"/>
                      <a:pt x="274" y="224"/>
                    </a:cubicBezTo>
                    <a:cubicBezTo>
                      <a:pt x="269" y="227"/>
                      <a:pt x="268" y="229"/>
                      <a:pt x="267" y="234"/>
                    </a:cubicBezTo>
                    <a:cubicBezTo>
                      <a:pt x="266" y="237"/>
                      <a:pt x="266" y="239"/>
                      <a:pt x="266" y="243"/>
                    </a:cubicBezTo>
                    <a:cubicBezTo>
                      <a:pt x="266" y="245"/>
                      <a:pt x="266" y="247"/>
                      <a:pt x="267" y="249"/>
                    </a:cubicBezTo>
                    <a:cubicBezTo>
                      <a:pt x="268" y="253"/>
                      <a:pt x="268" y="256"/>
                      <a:pt x="269" y="259"/>
                    </a:cubicBezTo>
                    <a:cubicBezTo>
                      <a:pt x="269" y="261"/>
                      <a:pt x="271" y="263"/>
                      <a:pt x="272" y="265"/>
                    </a:cubicBezTo>
                    <a:cubicBezTo>
                      <a:pt x="272" y="266"/>
                      <a:pt x="272" y="268"/>
                      <a:pt x="272" y="270"/>
                    </a:cubicBezTo>
                    <a:cubicBezTo>
                      <a:pt x="272" y="272"/>
                      <a:pt x="274" y="275"/>
                      <a:pt x="275" y="278"/>
                    </a:cubicBezTo>
                    <a:cubicBezTo>
                      <a:pt x="276" y="282"/>
                      <a:pt x="277" y="294"/>
                      <a:pt x="273" y="297"/>
                    </a:cubicBezTo>
                    <a:cubicBezTo>
                      <a:pt x="269" y="299"/>
                      <a:pt x="265" y="300"/>
                      <a:pt x="261" y="303"/>
                    </a:cubicBezTo>
                    <a:cubicBezTo>
                      <a:pt x="258" y="306"/>
                      <a:pt x="256" y="310"/>
                      <a:pt x="256" y="314"/>
                    </a:cubicBezTo>
                    <a:cubicBezTo>
                      <a:pt x="255" y="319"/>
                      <a:pt x="252" y="323"/>
                      <a:pt x="250" y="327"/>
                    </a:cubicBezTo>
                    <a:cubicBezTo>
                      <a:pt x="247" y="335"/>
                      <a:pt x="243" y="344"/>
                      <a:pt x="239" y="352"/>
                    </a:cubicBezTo>
                    <a:cubicBezTo>
                      <a:pt x="237" y="357"/>
                      <a:pt x="236" y="360"/>
                      <a:pt x="231" y="363"/>
                    </a:cubicBezTo>
                    <a:cubicBezTo>
                      <a:pt x="227" y="366"/>
                      <a:pt x="224" y="368"/>
                      <a:pt x="225" y="374"/>
                    </a:cubicBezTo>
                    <a:cubicBezTo>
                      <a:pt x="225" y="379"/>
                      <a:pt x="233" y="388"/>
                      <a:pt x="230" y="394"/>
                    </a:cubicBezTo>
                    <a:cubicBezTo>
                      <a:pt x="228" y="397"/>
                      <a:pt x="223" y="396"/>
                      <a:pt x="220" y="398"/>
                    </a:cubicBezTo>
                    <a:cubicBezTo>
                      <a:pt x="215" y="401"/>
                      <a:pt x="215" y="408"/>
                      <a:pt x="209" y="410"/>
                    </a:cubicBezTo>
                    <a:cubicBezTo>
                      <a:pt x="206" y="412"/>
                      <a:pt x="201" y="413"/>
                      <a:pt x="197" y="414"/>
                    </a:cubicBezTo>
                    <a:cubicBezTo>
                      <a:pt x="193" y="415"/>
                      <a:pt x="181" y="412"/>
                      <a:pt x="178" y="415"/>
                    </a:cubicBezTo>
                    <a:cubicBezTo>
                      <a:pt x="178" y="415"/>
                      <a:pt x="178" y="416"/>
                      <a:pt x="178" y="416"/>
                    </a:cubicBezTo>
                    <a:cubicBezTo>
                      <a:pt x="178" y="418"/>
                      <a:pt x="178" y="422"/>
                      <a:pt x="178" y="422"/>
                    </a:cubicBezTo>
                    <a:cubicBezTo>
                      <a:pt x="179" y="428"/>
                      <a:pt x="180" y="435"/>
                      <a:pt x="181" y="441"/>
                    </a:cubicBezTo>
                    <a:cubicBezTo>
                      <a:pt x="182" y="449"/>
                      <a:pt x="186" y="456"/>
                      <a:pt x="184" y="463"/>
                    </a:cubicBezTo>
                    <a:cubicBezTo>
                      <a:pt x="184" y="466"/>
                      <a:pt x="184" y="467"/>
                      <a:pt x="183" y="469"/>
                    </a:cubicBezTo>
                    <a:cubicBezTo>
                      <a:pt x="182" y="470"/>
                      <a:pt x="181" y="471"/>
                      <a:pt x="180" y="471"/>
                    </a:cubicBezTo>
                    <a:cubicBezTo>
                      <a:pt x="179" y="473"/>
                      <a:pt x="179" y="475"/>
                      <a:pt x="178" y="477"/>
                    </a:cubicBezTo>
                    <a:cubicBezTo>
                      <a:pt x="177" y="481"/>
                      <a:pt x="174" y="485"/>
                      <a:pt x="174" y="490"/>
                    </a:cubicBezTo>
                    <a:cubicBezTo>
                      <a:pt x="173" y="496"/>
                      <a:pt x="174" y="502"/>
                      <a:pt x="175" y="508"/>
                    </a:cubicBezTo>
                    <a:cubicBezTo>
                      <a:pt x="175" y="513"/>
                      <a:pt x="175" y="518"/>
                      <a:pt x="175" y="524"/>
                    </a:cubicBezTo>
                    <a:cubicBezTo>
                      <a:pt x="175" y="530"/>
                      <a:pt x="175" y="531"/>
                      <a:pt x="171" y="534"/>
                    </a:cubicBezTo>
                    <a:cubicBezTo>
                      <a:pt x="168" y="536"/>
                      <a:pt x="166" y="540"/>
                      <a:pt x="165" y="543"/>
                    </a:cubicBezTo>
                    <a:cubicBezTo>
                      <a:pt x="163" y="547"/>
                      <a:pt x="162" y="552"/>
                      <a:pt x="160" y="556"/>
                    </a:cubicBezTo>
                    <a:cubicBezTo>
                      <a:pt x="157" y="561"/>
                      <a:pt x="157" y="567"/>
                      <a:pt x="154" y="570"/>
                    </a:cubicBezTo>
                    <a:cubicBezTo>
                      <a:pt x="153" y="572"/>
                      <a:pt x="153" y="574"/>
                      <a:pt x="152" y="576"/>
                    </a:cubicBezTo>
                    <a:cubicBezTo>
                      <a:pt x="151" y="578"/>
                      <a:pt x="151" y="580"/>
                      <a:pt x="151" y="582"/>
                    </a:cubicBezTo>
                    <a:cubicBezTo>
                      <a:pt x="150" y="586"/>
                      <a:pt x="149" y="590"/>
                      <a:pt x="147" y="593"/>
                    </a:cubicBezTo>
                    <a:cubicBezTo>
                      <a:pt x="145" y="598"/>
                      <a:pt x="142" y="602"/>
                      <a:pt x="139" y="606"/>
                    </a:cubicBezTo>
                    <a:cubicBezTo>
                      <a:pt x="137" y="609"/>
                      <a:pt x="135" y="612"/>
                      <a:pt x="134" y="615"/>
                    </a:cubicBezTo>
                    <a:cubicBezTo>
                      <a:pt x="137" y="616"/>
                      <a:pt x="138" y="618"/>
                      <a:pt x="140" y="620"/>
                    </a:cubicBezTo>
                    <a:cubicBezTo>
                      <a:pt x="143" y="621"/>
                      <a:pt x="145" y="622"/>
                      <a:pt x="148" y="624"/>
                    </a:cubicBezTo>
                    <a:cubicBezTo>
                      <a:pt x="153" y="628"/>
                      <a:pt x="151" y="636"/>
                      <a:pt x="151" y="642"/>
                    </a:cubicBezTo>
                    <a:cubicBezTo>
                      <a:pt x="151" y="646"/>
                      <a:pt x="151" y="650"/>
                      <a:pt x="151" y="653"/>
                    </a:cubicBezTo>
                    <a:cubicBezTo>
                      <a:pt x="152" y="657"/>
                      <a:pt x="154" y="661"/>
                      <a:pt x="155" y="665"/>
                    </a:cubicBezTo>
                    <a:cubicBezTo>
                      <a:pt x="155" y="669"/>
                      <a:pt x="154" y="672"/>
                      <a:pt x="152" y="676"/>
                    </a:cubicBezTo>
                    <a:cubicBezTo>
                      <a:pt x="151" y="679"/>
                      <a:pt x="150" y="684"/>
                      <a:pt x="148" y="687"/>
                    </a:cubicBezTo>
                    <a:cubicBezTo>
                      <a:pt x="144" y="685"/>
                      <a:pt x="138" y="685"/>
                      <a:pt x="134" y="684"/>
                    </a:cubicBezTo>
                    <a:cubicBezTo>
                      <a:pt x="128" y="684"/>
                      <a:pt x="123" y="683"/>
                      <a:pt x="117" y="682"/>
                    </a:cubicBezTo>
                    <a:cubicBezTo>
                      <a:pt x="112" y="682"/>
                      <a:pt x="108" y="683"/>
                      <a:pt x="103" y="683"/>
                    </a:cubicBezTo>
                    <a:cubicBezTo>
                      <a:pt x="98" y="683"/>
                      <a:pt x="94" y="684"/>
                      <a:pt x="89" y="686"/>
                    </a:cubicBezTo>
                    <a:cubicBezTo>
                      <a:pt x="85" y="688"/>
                      <a:pt x="84" y="692"/>
                      <a:pt x="81" y="694"/>
                    </a:cubicBezTo>
                    <a:cubicBezTo>
                      <a:pt x="80" y="695"/>
                      <a:pt x="78" y="695"/>
                      <a:pt x="76" y="696"/>
                    </a:cubicBezTo>
                    <a:cubicBezTo>
                      <a:pt x="74" y="697"/>
                      <a:pt x="73" y="699"/>
                      <a:pt x="71" y="700"/>
                    </a:cubicBezTo>
                    <a:cubicBezTo>
                      <a:pt x="70" y="702"/>
                      <a:pt x="70" y="703"/>
                      <a:pt x="68" y="705"/>
                    </a:cubicBezTo>
                    <a:cubicBezTo>
                      <a:pt x="67" y="706"/>
                      <a:pt x="67" y="708"/>
                      <a:pt x="67" y="710"/>
                    </a:cubicBezTo>
                    <a:cubicBezTo>
                      <a:pt x="66" y="712"/>
                      <a:pt x="65" y="715"/>
                      <a:pt x="64" y="718"/>
                    </a:cubicBezTo>
                    <a:cubicBezTo>
                      <a:pt x="63" y="722"/>
                      <a:pt x="60" y="727"/>
                      <a:pt x="57" y="731"/>
                    </a:cubicBezTo>
                    <a:cubicBezTo>
                      <a:pt x="54" y="736"/>
                      <a:pt x="49" y="738"/>
                      <a:pt x="48" y="745"/>
                    </a:cubicBezTo>
                    <a:cubicBezTo>
                      <a:pt x="48" y="749"/>
                      <a:pt x="48" y="753"/>
                      <a:pt x="48" y="757"/>
                    </a:cubicBezTo>
                    <a:cubicBezTo>
                      <a:pt x="48" y="762"/>
                      <a:pt x="49" y="770"/>
                      <a:pt x="46" y="775"/>
                    </a:cubicBezTo>
                    <a:cubicBezTo>
                      <a:pt x="45" y="777"/>
                      <a:pt x="44" y="778"/>
                      <a:pt x="44" y="780"/>
                    </a:cubicBezTo>
                    <a:cubicBezTo>
                      <a:pt x="44" y="782"/>
                      <a:pt x="45" y="784"/>
                      <a:pt x="45" y="786"/>
                    </a:cubicBezTo>
                    <a:cubicBezTo>
                      <a:pt x="47" y="789"/>
                      <a:pt x="48" y="792"/>
                      <a:pt x="49" y="795"/>
                    </a:cubicBezTo>
                    <a:cubicBezTo>
                      <a:pt x="50" y="799"/>
                      <a:pt x="50" y="803"/>
                      <a:pt x="52" y="807"/>
                    </a:cubicBezTo>
                    <a:cubicBezTo>
                      <a:pt x="53" y="809"/>
                      <a:pt x="54" y="810"/>
                      <a:pt x="53" y="812"/>
                    </a:cubicBezTo>
                    <a:cubicBezTo>
                      <a:pt x="53" y="814"/>
                      <a:pt x="50" y="816"/>
                      <a:pt x="49" y="817"/>
                    </a:cubicBezTo>
                    <a:cubicBezTo>
                      <a:pt x="48" y="818"/>
                      <a:pt x="48" y="820"/>
                      <a:pt x="47" y="821"/>
                    </a:cubicBezTo>
                    <a:cubicBezTo>
                      <a:pt x="47" y="822"/>
                      <a:pt x="45" y="821"/>
                      <a:pt x="45" y="822"/>
                    </a:cubicBezTo>
                    <a:cubicBezTo>
                      <a:pt x="44" y="824"/>
                      <a:pt x="45" y="828"/>
                      <a:pt x="45" y="830"/>
                    </a:cubicBezTo>
                    <a:cubicBezTo>
                      <a:pt x="45" y="836"/>
                      <a:pt x="45" y="841"/>
                      <a:pt x="45" y="847"/>
                    </a:cubicBezTo>
                    <a:cubicBezTo>
                      <a:pt x="45" y="851"/>
                      <a:pt x="44" y="855"/>
                      <a:pt x="43" y="860"/>
                    </a:cubicBezTo>
                    <a:cubicBezTo>
                      <a:pt x="43" y="863"/>
                      <a:pt x="44" y="863"/>
                      <a:pt x="45" y="866"/>
                    </a:cubicBezTo>
                    <a:cubicBezTo>
                      <a:pt x="49" y="872"/>
                      <a:pt x="52" y="879"/>
                      <a:pt x="55" y="886"/>
                    </a:cubicBezTo>
                    <a:cubicBezTo>
                      <a:pt x="56" y="888"/>
                      <a:pt x="57" y="890"/>
                      <a:pt x="57" y="892"/>
                    </a:cubicBezTo>
                    <a:cubicBezTo>
                      <a:pt x="58" y="896"/>
                      <a:pt x="57" y="900"/>
                      <a:pt x="57" y="904"/>
                    </a:cubicBezTo>
                    <a:cubicBezTo>
                      <a:pt x="57" y="918"/>
                      <a:pt x="57" y="931"/>
                      <a:pt x="54" y="944"/>
                    </a:cubicBezTo>
                    <a:cubicBezTo>
                      <a:pt x="53" y="950"/>
                      <a:pt x="48" y="958"/>
                      <a:pt x="51" y="964"/>
                    </a:cubicBezTo>
                    <a:cubicBezTo>
                      <a:pt x="53" y="968"/>
                      <a:pt x="58" y="969"/>
                      <a:pt x="61" y="971"/>
                    </a:cubicBezTo>
                    <a:cubicBezTo>
                      <a:pt x="64" y="973"/>
                      <a:pt x="65" y="976"/>
                      <a:pt x="68" y="979"/>
                    </a:cubicBezTo>
                    <a:cubicBezTo>
                      <a:pt x="72" y="983"/>
                      <a:pt x="80" y="979"/>
                      <a:pt x="84" y="985"/>
                    </a:cubicBezTo>
                    <a:cubicBezTo>
                      <a:pt x="85" y="985"/>
                      <a:pt x="84" y="987"/>
                      <a:pt x="85" y="987"/>
                    </a:cubicBezTo>
                    <a:cubicBezTo>
                      <a:pt x="86" y="989"/>
                      <a:pt x="87" y="989"/>
                      <a:pt x="88" y="990"/>
                    </a:cubicBezTo>
                    <a:cubicBezTo>
                      <a:pt x="90" y="992"/>
                      <a:pt x="93" y="998"/>
                      <a:pt x="96" y="999"/>
                    </a:cubicBezTo>
                    <a:cubicBezTo>
                      <a:pt x="97" y="1003"/>
                      <a:pt x="92" y="1008"/>
                      <a:pt x="90" y="1011"/>
                    </a:cubicBezTo>
                    <a:cubicBezTo>
                      <a:pt x="88" y="1016"/>
                      <a:pt x="86" y="1021"/>
                      <a:pt x="84" y="1026"/>
                    </a:cubicBezTo>
                    <a:cubicBezTo>
                      <a:pt x="82" y="1029"/>
                      <a:pt x="82" y="1028"/>
                      <a:pt x="82" y="1030"/>
                    </a:cubicBezTo>
                    <a:cubicBezTo>
                      <a:pt x="81" y="1032"/>
                      <a:pt x="82" y="1032"/>
                      <a:pt x="81" y="1034"/>
                    </a:cubicBezTo>
                    <a:cubicBezTo>
                      <a:pt x="80" y="1034"/>
                      <a:pt x="79" y="1035"/>
                      <a:pt x="77" y="1035"/>
                    </a:cubicBezTo>
                    <a:cubicBezTo>
                      <a:pt x="76" y="1035"/>
                      <a:pt x="76" y="1035"/>
                      <a:pt x="76" y="1036"/>
                    </a:cubicBezTo>
                    <a:cubicBezTo>
                      <a:pt x="75" y="1036"/>
                      <a:pt x="74" y="1036"/>
                      <a:pt x="73" y="1037"/>
                    </a:cubicBezTo>
                    <a:cubicBezTo>
                      <a:pt x="71" y="1038"/>
                      <a:pt x="69" y="1039"/>
                      <a:pt x="66" y="1039"/>
                    </a:cubicBezTo>
                    <a:cubicBezTo>
                      <a:pt x="64" y="1040"/>
                      <a:pt x="63" y="1039"/>
                      <a:pt x="61" y="1039"/>
                    </a:cubicBezTo>
                    <a:cubicBezTo>
                      <a:pt x="60" y="1042"/>
                      <a:pt x="62" y="1048"/>
                      <a:pt x="62" y="1051"/>
                    </a:cubicBezTo>
                    <a:cubicBezTo>
                      <a:pt x="63" y="1055"/>
                      <a:pt x="64" y="1059"/>
                      <a:pt x="65" y="1063"/>
                    </a:cubicBezTo>
                    <a:cubicBezTo>
                      <a:pt x="68" y="1075"/>
                      <a:pt x="76" y="1084"/>
                      <a:pt x="78" y="1096"/>
                    </a:cubicBezTo>
                    <a:cubicBezTo>
                      <a:pt x="78" y="1099"/>
                      <a:pt x="79" y="1102"/>
                      <a:pt x="78" y="1105"/>
                    </a:cubicBezTo>
                    <a:cubicBezTo>
                      <a:pt x="78" y="1107"/>
                      <a:pt x="77" y="1108"/>
                      <a:pt x="75" y="1111"/>
                    </a:cubicBezTo>
                    <a:cubicBezTo>
                      <a:pt x="72" y="1116"/>
                      <a:pt x="67" y="1122"/>
                      <a:pt x="65" y="1129"/>
                    </a:cubicBezTo>
                    <a:cubicBezTo>
                      <a:pt x="66" y="1128"/>
                      <a:pt x="67" y="1128"/>
                      <a:pt x="67" y="1128"/>
                    </a:cubicBezTo>
                    <a:cubicBezTo>
                      <a:pt x="68" y="1127"/>
                      <a:pt x="69" y="1126"/>
                      <a:pt x="70" y="1128"/>
                    </a:cubicBezTo>
                    <a:cubicBezTo>
                      <a:pt x="69" y="1128"/>
                      <a:pt x="68" y="1128"/>
                      <a:pt x="67" y="1128"/>
                    </a:cubicBezTo>
                    <a:cubicBezTo>
                      <a:pt x="67" y="1129"/>
                      <a:pt x="67" y="1131"/>
                      <a:pt x="67" y="1131"/>
                    </a:cubicBezTo>
                    <a:cubicBezTo>
                      <a:pt x="66" y="1134"/>
                      <a:pt x="64" y="1135"/>
                      <a:pt x="63" y="1138"/>
                    </a:cubicBezTo>
                    <a:cubicBezTo>
                      <a:pt x="61" y="1143"/>
                      <a:pt x="62" y="1150"/>
                      <a:pt x="60" y="1154"/>
                    </a:cubicBezTo>
                    <a:cubicBezTo>
                      <a:pt x="57" y="1158"/>
                      <a:pt x="52" y="1161"/>
                      <a:pt x="49" y="1162"/>
                    </a:cubicBezTo>
                    <a:cubicBezTo>
                      <a:pt x="44" y="1164"/>
                      <a:pt x="41" y="1169"/>
                      <a:pt x="35" y="1169"/>
                    </a:cubicBezTo>
                    <a:cubicBezTo>
                      <a:pt x="34" y="1173"/>
                      <a:pt x="39" y="1177"/>
                      <a:pt x="39" y="1181"/>
                    </a:cubicBezTo>
                    <a:cubicBezTo>
                      <a:pt x="38" y="1184"/>
                      <a:pt x="38" y="1185"/>
                      <a:pt x="36" y="1187"/>
                    </a:cubicBezTo>
                    <a:cubicBezTo>
                      <a:pt x="35" y="1189"/>
                      <a:pt x="31" y="1192"/>
                      <a:pt x="30" y="1195"/>
                    </a:cubicBezTo>
                    <a:cubicBezTo>
                      <a:pt x="30" y="1197"/>
                      <a:pt x="30" y="1200"/>
                      <a:pt x="30" y="1202"/>
                    </a:cubicBezTo>
                    <a:cubicBezTo>
                      <a:pt x="30" y="1210"/>
                      <a:pt x="33" y="1218"/>
                      <a:pt x="33" y="1226"/>
                    </a:cubicBezTo>
                    <a:cubicBezTo>
                      <a:pt x="33" y="1235"/>
                      <a:pt x="33" y="1244"/>
                      <a:pt x="30" y="1253"/>
                    </a:cubicBezTo>
                    <a:cubicBezTo>
                      <a:pt x="29" y="1258"/>
                      <a:pt x="30" y="1262"/>
                      <a:pt x="29" y="1266"/>
                    </a:cubicBezTo>
                    <a:cubicBezTo>
                      <a:pt x="28" y="1270"/>
                      <a:pt x="26" y="1274"/>
                      <a:pt x="21" y="1273"/>
                    </a:cubicBezTo>
                    <a:cubicBezTo>
                      <a:pt x="20" y="1273"/>
                      <a:pt x="21" y="1271"/>
                      <a:pt x="19" y="1271"/>
                    </a:cubicBezTo>
                    <a:cubicBezTo>
                      <a:pt x="18" y="1270"/>
                      <a:pt x="17" y="1270"/>
                      <a:pt x="16" y="1270"/>
                    </a:cubicBezTo>
                    <a:cubicBezTo>
                      <a:pt x="13" y="1268"/>
                      <a:pt x="13" y="1265"/>
                      <a:pt x="12" y="1262"/>
                    </a:cubicBezTo>
                    <a:cubicBezTo>
                      <a:pt x="11" y="1259"/>
                      <a:pt x="11" y="1253"/>
                      <a:pt x="8" y="1252"/>
                    </a:cubicBezTo>
                    <a:cubicBezTo>
                      <a:pt x="6" y="1251"/>
                      <a:pt x="3" y="1253"/>
                      <a:pt x="2" y="1254"/>
                    </a:cubicBezTo>
                    <a:cubicBezTo>
                      <a:pt x="2" y="1254"/>
                      <a:pt x="2" y="1255"/>
                      <a:pt x="2" y="125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12" name="Freeform 61">
                <a:extLst>
                  <a:ext uri="{FF2B5EF4-FFF2-40B4-BE49-F238E27FC236}">
                    <a16:creationId xmlns:a16="http://schemas.microsoft.com/office/drawing/2014/main" id="{12FA01CB-A6BD-4E1A-981E-3849EA96D4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0188" y="3175000"/>
                <a:ext cx="106363" cy="204788"/>
              </a:xfrm>
              <a:custGeom>
                <a:avLst/>
                <a:gdLst/>
                <a:ahLst/>
                <a:cxnLst>
                  <a:cxn ang="0">
                    <a:pos x="55" y="10"/>
                  </a:cxn>
                  <a:cxn ang="0">
                    <a:pos x="55" y="23"/>
                  </a:cxn>
                  <a:cxn ang="0">
                    <a:pos x="49" y="25"/>
                  </a:cxn>
                  <a:cxn ang="0">
                    <a:pos x="46" y="27"/>
                  </a:cxn>
                  <a:cxn ang="0">
                    <a:pos x="43" y="28"/>
                  </a:cxn>
                  <a:cxn ang="0">
                    <a:pos x="42" y="39"/>
                  </a:cxn>
                  <a:cxn ang="0">
                    <a:pos x="42" y="51"/>
                  </a:cxn>
                  <a:cxn ang="0">
                    <a:pos x="46" y="54"/>
                  </a:cxn>
                  <a:cxn ang="0">
                    <a:pos x="44" y="61"/>
                  </a:cxn>
                  <a:cxn ang="0">
                    <a:pos x="39" y="64"/>
                  </a:cxn>
                  <a:cxn ang="0">
                    <a:pos x="39" y="68"/>
                  </a:cxn>
                  <a:cxn ang="0">
                    <a:pos x="38" y="72"/>
                  </a:cxn>
                  <a:cxn ang="0">
                    <a:pos x="35" y="79"/>
                  </a:cxn>
                  <a:cxn ang="0">
                    <a:pos x="29" y="84"/>
                  </a:cxn>
                  <a:cxn ang="0">
                    <a:pos x="24" y="87"/>
                  </a:cxn>
                  <a:cxn ang="0">
                    <a:pos x="18" y="92"/>
                  </a:cxn>
                  <a:cxn ang="0">
                    <a:pos x="15" y="98"/>
                  </a:cxn>
                  <a:cxn ang="0">
                    <a:pos x="6" y="107"/>
                  </a:cxn>
                  <a:cxn ang="0">
                    <a:pos x="4" y="105"/>
                  </a:cxn>
                  <a:cxn ang="0">
                    <a:pos x="5" y="101"/>
                  </a:cxn>
                  <a:cxn ang="0">
                    <a:pos x="7" y="94"/>
                  </a:cxn>
                  <a:cxn ang="0">
                    <a:pos x="4" y="86"/>
                  </a:cxn>
                  <a:cxn ang="0">
                    <a:pos x="1" y="77"/>
                  </a:cxn>
                  <a:cxn ang="0">
                    <a:pos x="1" y="67"/>
                  </a:cxn>
                  <a:cxn ang="0">
                    <a:pos x="3" y="59"/>
                  </a:cxn>
                  <a:cxn ang="0">
                    <a:pos x="2" y="45"/>
                  </a:cxn>
                  <a:cxn ang="0">
                    <a:pos x="7" y="41"/>
                  </a:cxn>
                  <a:cxn ang="0">
                    <a:pos x="13" y="35"/>
                  </a:cxn>
                  <a:cxn ang="0">
                    <a:pos x="13" y="22"/>
                  </a:cxn>
                  <a:cxn ang="0">
                    <a:pos x="37" y="5"/>
                  </a:cxn>
                  <a:cxn ang="0">
                    <a:pos x="42" y="6"/>
                  </a:cxn>
                  <a:cxn ang="0">
                    <a:pos x="47" y="3"/>
                  </a:cxn>
                  <a:cxn ang="0">
                    <a:pos x="55" y="6"/>
                  </a:cxn>
                  <a:cxn ang="0">
                    <a:pos x="55" y="10"/>
                  </a:cxn>
                </a:cxnLst>
                <a:rect l="0" t="0" r="r" b="b"/>
                <a:pathLst>
                  <a:path w="57" h="109">
                    <a:moveTo>
                      <a:pt x="55" y="10"/>
                    </a:moveTo>
                    <a:cubicBezTo>
                      <a:pt x="55" y="13"/>
                      <a:pt x="57" y="20"/>
                      <a:pt x="55" y="23"/>
                    </a:cubicBezTo>
                    <a:cubicBezTo>
                      <a:pt x="54" y="26"/>
                      <a:pt x="51" y="24"/>
                      <a:pt x="49" y="25"/>
                    </a:cubicBezTo>
                    <a:cubicBezTo>
                      <a:pt x="48" y="26"/>
                      <a:pt x="46" y="27"/>
                      <a:pt x="46" y="27"/>
                    </a:cubicBezTo>
                    <a:cubicBezTo>
                      <a:pt x="44" y="27"/>
                      <a:pt x="45" y="26"/>
                      <a:pt x="43" y="28"/>
                    </a:cubicBezTo>
                    <a:cubicBezTo>
                      <a:pt x="39" y="31"/>
                      <a:pt x="42" y="36"/>
                      <a:pt x="42" y="39"/>
                    </a:cubicBezTo>
                    <a:cubicBezTo>
                      <a:pt x="42" y="43"/>
                      <a:pt x="40" y="47"/>
                      <a:pt x="42" y="51"/>
                    </a:cubicBezTo>
                    <a:cubicBezTo>
                      <a:pt x="43" y="53"/>
                      <a:pt x="45" y="52"/>
                      <a:pt x="46" y="54"/>
                    </a:cubicBezTo>
                    <a:cubicBezTo>
                      <a:pt x="48" y="55"/>
                      <a:pt x="45" y="59"/>
                      <a:pt x="44" y="61"/>
                    </a:cubicBezTo>
                    <a:cubicBezTo>
                      <a:pt x="43" y="62"/>
                      <a:pt x="40" y="62"/>
                      <a:pt x="39" y="64"/>
                    </a:cubicBezTo>
                    <a:cubicBezTo>
                      <a:pt x="38" y="65"/>
                      <a:pt x="39" y="67"/>
                      <a:pt x="39" y="68"/>
                    </a:cubicBezTo>
                    <a:cubicBezTo>
                      <a:pt x="39" y="69"/>
                      <a:pt x="38" y="70"/>
                      <a:pt x="38" y="72"/>
                    </a:cubicBezTo>
                    <a:cubicBezTo>
                      <a:pt x="37" y="74"/>
                      <a:pt x="37" y="77"/>
                      <a:pt x="35" y="79"/>
                    </a:cubicBezTo>
                    <a:cubicBezTo>
                      <a:pt x="34" y="81"/>
                      <a:pt x="31" y="83"/>
                      <a:pt x="29" y="84"/>
                    </a:cubicBezTo>
                    <a:cubicBezTo>
                      <a:pt x="27" y="86"/>
                      <a:pt x="26" y="86"/>
                      <a:pt x="24" y="87"/>
                    </a:cubicBezTo>
                    <a:cubicBezTo>
                      <a:pt x="21" y="88"/>
                      <a:pt x="20" y="90"/>
                      <a:pt x="18" y="92"/>
                    </a:cubicBezTo>
                    <a:cubicBezTo>
                      <a:pt x="14" y="94"/>
                      <a:pt x="15" y="94"/>
                      <a:pt x="15" y="98"/>
                    </a:cubicBezTo>
                    <a:cubicBezTo>
                      <a:pt x="15" y="102"/>
                      <a:pt x="12" y="109"/>
                      <a:pt x="6" y="107"/>
                    </a:cubicBezTo>
                    <a:cubicBezTo>
                      <a:pt x="4" y="106"/>
                      <a:pt x="5" y="108"/>
                      <a:pt x="4" y="105"/>
                    </a:cubicBezTo>
                    <a:cubicBezTo>
                      <a:pt x="3" y="103"/>
                      <a:pt x="4" y="102"/>
                      <a:pt x="5" y="101"/>
                    </a:cubicBezTo>
                    <a:cubicBezTo>
                      <a:pt x="6" y="98"/>
                      <a:pt x="7" y="97"/>
                      <a:pt x="7" y="94"/>
                    </a:cubicBezTo>
                    <a:cubicBezTo>
                      <a:pt x="8" y="91"/>
                      <a:pt x="6" y="89"/>
                      <a:pt x="4" y="86"/>
                    </a:cubicBezTo>
                    <a:cubicBezTo>
                      <a:pt x="3" y="83"/>
                      <a:pt x="2" y="80"/>
                      <a:pt x="1" y="77"/>
                    </a:cubicBezTo>
                    <a:cubicBezTo>
                      <a:pt x="1" y="74"/>
                      <a:pt x="0" y="71"/>
                      <a:pt x="1" y="67"/>
                    </a:cubicBezTo>
                    <a:cubicBezTo>
                      <a:pt x="1" y="64"/>
                      <a:pt x="3" y="62"/>
                      <a:pt x="3" y="59"/>
                    </a:cubicBezTo>
                    <a:cubicBezTo>
                      <a:pt x="2" y="55"/>
                      <a:pt x="0" y="48"/>
                      <a:pt x="2" y="45"/>
                    </a:cubicBezTo>
                    <a:cubicBezTo>
                      <a:pt x="4" y="43"/>
                      <a:pt x="6" y="42"/>
                      <a:pt x="7" y="41"/>
                    </a:cubicBezTo>
                    <a:cubicBezTo>
                      <a:pt x="9" y="39"/>
                      <a:pt x="11" y="37"/>
                      <a:pt x="13" y="35"/>
                    </a:cubicBezTo>
                    <a:cubicBezTo>
                      <a:pt x="16" y="32"/>
                      <a:pt x="14" y="27"/>
                      <a:pt x="13" y="22"/>
                    </a:cubicBezTo>
                    <a:cubicBezTo>
                      <a:pt x="7" y="8"/>
                      <a:pt x="37" y="17"/>
                      <a:pt x="37" y="5"/>
                    </a:cubicBezTo>
                    <a:cubicBezTo>
                      <a:pt x="39" y="4"/>
                      <a:pt x="40" y="6"/>
                      <a:pt x="42" y="6"/>
                    </a:cubicBezTo>
                    <a:cubicBezTo>
                      <a:pt x="45" y="6"/>
                      <a:pt x="45" y="5"/>
                      <a:pt x="47" y="3"/>
                    </a:cubicBezTo>
                    <a:cubicBezTo>
                      <a:pt x="51" y="0"/>
                      <a:pt x="55" y="1"/>
                      <a:pt x="55" y="6"/>
                    </a:cubicBezTo>
                    <a:lnTo>
                      <a:pt x="55" y="1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13" name="Freeform 62">
                <a:extLst>
                  <a:ext uri="{FF2B5EF4-FFF2-40B4-BE49-F238E27FC236}">
                    <a16:creationId xmlns:a16="http://schemas.microsoft.com/office/drawing/2014/main" id="{115C9C3F-4894-471E-9CA0-5ECFAE7632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4025" y="330200"/>
                <a:ext cx="1131888" cy="2497138"/>
              </a:xfrm>
              <a:custGeom>
                <a:avLst/>
                <a:gdLst/>
                <a:ahLst/>
                <a:cxnLst>
                  <a:cxn ang="0">
                    <a:pos x="479" y="128"/>
                  </a:cxn>
                  <a:cxn ang="0">
                    <a:pos x="589" y="963"/>
                  </a:cxn>
                  <a:cxn ang="0">
                    <a:pos x="528" y="880"/>
                  </a:cxn>
                  <a:cxn ang="0">
                    <a:pos x="530" y="815"/>
                  </a:cxn>
                  <a:cxn ang="0">
                    <a:pos x="520" y="761"/>
                  </a:cxn>
                  <a:cxn ang="0">
                    <a:pos x="501" y="712"/>
                  </a:cxn>
                  <a:cxn ang="0">
                    <a:pos x="502" y="654"/>
                  </a:cxn>
                  <a:cxn ang="0">
                    <a:pos x="513" y="378"/>
                  </a:cxn>
                  <a:cxn ang="0">
                    <a:pos x="491" y="323"/>
                  </a:cxn>
                  <a:cxn ang="0">
                    <a:pos x="441" y="261"/>
                  </a:cxn>
                  <a:cxn ang="0">
                    <a:pos x="437" y="185"/>
                  </a:cxn>
                  <a:cxn ang="0">
                    <a:pos x="458" y="162"/>
                  </a:cxn>
                  <a:cxn ang="0">
                    <a:pos x="452" y="133"/>
                  </a:cxn>
                  <a:cxn ang="0">
                    <a:pos x="471" y="84"/>
                  </a:cxn>
                  <a:cxn ang="0">
                    <a:pos x="434" y="45"/>
                  </a:cxn>
                  <a:cxn ang="0">
                    <a:pos x="414" y="17"/>
                  </a:cxn>
                  <a:cxn ang="0">
                    <a:pos x="393" y="3"/>
                  </a:cxn>
                  <a:cxn ang="0">
                    <a:pos x="374" y="14"/>
                  </a:cxn>
                  <a:cxn ang="0">
                    <a:pos x="339" y="26"/>
                  </a:cxn>
                  <a:cxn ang="0">
                    <a:pos x="306" y="64"/>
                  </a:cxn>
                  <a:cxn ang="0">
                    <a:pos x="292" y="86"/>
                  </a:cxn>
                  <a:cxn ang="0">
                    <a:pos x="287" y="167"/>
                  </a:cxn>
                  <a:cxn ang="0">
                    <a:pos x="271" y="186"/>
                  </a:cxn>
                  <a:cxn ang="0">
                    <a:pos x="256" y="203"/>
                  </a:cxn>
                  <a:cxn ang="0">
                    <a:pos x="248" y="210"/>
                  </a:cxn>
                  <a:cxn ang="0">
                    <a:pos x="232" y="220"/>
                  </a:cxn>
                  <a:cxn ang="0">
                    <a:pos x="200" y="203"/>
                  </a:cxn>
                  <a:cxn ang="0">
                    <a:pos x="172" y="215"/>
                  </a:cxn>
                  <a:cxn ang="0">
                    <a:pos x="142" y="217"/>
                  </a:cxn>
                  <a:cxn ang="0">
                    <a:pos x="105" y="211"/>
                  </a:cxn>
                  <a:cxn ang="0">
                    <a:pos x="93" y="174"/>
                  </a:cxn>
                  <a:cxn ang="0">
                    <a:pos x="67" y="135"/>
                  </a:cxn>
                  <a:cxn ang="0">
                    <a:pos x="34" y="151"/>
                  </a:cxn>
                  <a:cxn ang="0">
                    <a:pos x="0" y="158"/>
                  </a:cxn>
                  <a:cxn ang="0">
                    <a:pos x="22" y="179"/>
                  </a:cxn>
                  <a:cxn ang="0">
                    <a:pos x="66" y="225"/>
                  </a:cxn>
                  <a:cxn ang="0">
                    <a:pos x="105" y="243"/>
                  </a:cxn>
                  <a:cxn ang="0">
                    <a:pos x="144" y="280"/>
                  </a:cxn>
                  <a:cxn ang="0">
                    <a:pos x="170" y="319"/>
                  </a:cxn>
                  <a:cxn ang="0">
                    <a:pos x="167" y="378"/>
                  </a:cxn>
                  <a:cxn ang="0">
                    <a:pos x="175" y="410"/>
                  </a:cxn>
                  <a:cxn ang="0">
                    <a:pos x="190" y="485"/>
                  </a:cxn>
                  <a:cxn ang="0">
                    <a:pos x="180" y="558"/>
                  </a:cxn>
                  <a:cxn ang="0">
                    <a:pos x="196" y="616"/>
                  </a:cxn>
                  <a:cxn ang="0">
                    <a:pos x="262" y="666"/>
                  </a:cxn>
                  <a:cxn ang="0">
                    <a:pos x="261" y="726"/>
                  </a:cxn>
                  <a:cxn ang="0">
                    <a:pos x="222" y="758"/>
                  </a:cxn>
                  <a:cxn ang="0">
                    <a:pos x="164" y="841"/>
                  </a:cxn>
                  <a:cxn ang="0">
                    <a:pos x="124" y="871"/>
                  </a:cxn>
                  <a:cxn ang="0">
                    <a:pos x="96" y="932"/>
                  </a:cxn>
                  <a:cxn ang="0">
                    <a:pos x="50" y="969"/>
                  </a:cxn>
                  <a:cxn ang="0">
                    <a:pos x="43" y="1013"/>
                  </a:cxn>
                  <a:cxn ang="0">
                    <a:pos x="60" y="1098"/>
                  </a:cxn>
                  <a:cxn ang="0">
                    <a:pos x="61" y="1178"/>
                  </a:cxn>
                  <a:cxn ang="0">
                    <a:pos x="50" y="1251"/>
                  </a:cxn>
                  <a:cxn ang="0">
                    <a:pos x="87" y="1294"/>
                  </a:cxn>
                  <a:cxn ang="0">
                    <a:pos x="130" y="1311"/>
                  </a:cxn>
                  <a:cxn ang="0">
                    <a:pos x="167" y="1328"/>
                  </a:cxn>
                  <a:cxn ang="0">
                    <a:pos x="210" y="1302"/>
                  </a:cxn>
                  <a:cxn ang="0">
                    <a:pos x="282" y="1292"/>
                  </a:cxn>
                  <a:cxn ang="0">
                    <a:pos x="347" y="1265"/>
                  </a:cxn>
                  <a:cxn ang="0">
                    <a:pos x="401" y="1244"/>
                  </a:cxn>
                  <a:cxn ang="0">
                    <a:pos x="494" y="1162"/>
                  </a:cxn>
                </a:cxnLst>
                <a:rect l="0" t="0" r="r" b="b"/>
                <a:pathLst>
                  <a:path w="605" h="1336">
                    <a:moveTo>
                      <a:pt x="477" y="135"/>
                    </a:moveTo>
                    <a:cubicBezTo>
                      <a:pt x="480" y="130"/>
                      <a:pt x="483" y="125"/>
                      <a:pt x="486" y="120"/>
                    </a:cubicBezTo>
                    <a:cubicBezTo>
                      <a:pt x="484" y="120"/>
                      <a:pt x="483" y="120"/>
                      <a:pt x="481" y="121"/>
                    </a:cubicBezTo>
                    <a:cubicBezTo>
                      <a:pt x="480" y="122"/>
                      <a:pt x="479" y="123"/>
                      <a:pt x="478" y="124"/>
                    </a:cubicBezTo>
                    <a:cubicBezTo>
                      <a:pt x="478" y="125"/>
                      <a:pt x="479" y="127"/>
                      <a:pt x="479" y="128"/>
                    </a:cubicBezTo>
                    <a:cubicBezTo>
                      <a:pt x="478" y="130"/>
                      <a:pt x="478" y="133"/>
                      <a:pt x="477" y="135"/>
                    </a:cubicBezTo>
                    <a:moveTo>
                      <a:pt x="603" y="991"/>
                    </a:moveTo>
                    <a:cubicBezTo>
                      <a:pt x="603" y="988"/>
                      <a:pt x="602" y="986"/>
                      <a:pt x="600" y="983"/>
                    </a:cubicBezTo>
                    <a:cubicBezTo>
                      <a:pt x="598" y="979"/>
                      <a:pt x="595" y="976"/>
                      <a:pt x="594" y="972"/>
                    </a:cubicBezTo>
                    <a:cubicBezTo>
                      <a:pt x="592" y="968"/>
                      <a:pt x="592" y="967"/>
                      <a:pt x="589" y="963"/>
                    </a:cubicBezTo>
                    <a:cubicBezTo>
                      <a:pt x="586" y="959"/>
                      <a:pt x="584" y="953"/>
                      <a:pt x="583" y="949"/>
                    </a:cubicBezTo>
                    <a:cubicBezTo>
                      <a:pt x="580" y="942"/>
                      <a:pt x="576" y="936"/>
                      <a:pt x="573" y="929"/>
                    </a:cubicBezTo>
                    <a:cubicBezTo>
                      <a:pt x="566" y="917"/>
                      <a:pt x="553" y="908"/>
                      <a:pt x="544" y="898"/>
                    </a:cubicBezTo>
                    <a:cubicBezTo>
                      <a:pt x="541" y="893"/>
                      <a:pt x="537" y="891"/>
                      <a:pt x="533" y="887"/>
                    </a:cubicBezTo>
                    <a:cubicBezTo>
                      <a:pt x="530" y="885"/>
                      <a:pt x="528" y="884"/>
                      <a:pt x="528" y="880"/>
                    </a:cubicBezTo>
                    <a:cubicBezTo>
                      <a:pt x="527" y="878"/>
                      <a:pt x="529" y="874"/>
                      <a:pt x="529" y="872"/>
                    </a:cubicBezTo>
                    <a:cubicBezTo>
                      <a:pt x="529" y="868"/>
                      <a:pt x="529" y="865"/>
                      <a:pt x="530" y="862"/>
                    </a:cubicBezTo>
                    <a:cubicBezTo>
                      <a:pt x="533" y="852"/>
                      <a:pt x="530" y="841"/>
                      <a:pt x="535" y="832"/>
                    </a:cubicBezTo>
                    <a:cubicBezTo>
                      <a:pt x="540" y="821"/>
                      <a:pt x="535" y="834"/>
                      <a:pt x="532" y="823"/>
                    </a:cubicBezTo>
                    <a:cubicBezTo>
                      <a:pt x="531" y="821"/>
                      <a:pt x="531" y="818"/>
                      <a:pt x="530" y="815"/>
                    </a:cubicBezTo>
                    <a:cubicBezTo>
                      <a:pt x="526" y="806"/>
                      <a:pt x="519" y="800"/>
                      <a:pt x="514" y="792"/>
                    </a:cubicBezTo>
                    <a:cubicBezTo>
                      <a:pt x="513" y="791"/>
                      <a:pt x="513" y="789"/>
                      <a:pt x="512" y="788"/>
                    </a:cubicBezTo>
                    <a:cubicBezTo>
                      <a:pt x="511" y="786"/>
                      <a:pt x="510" y="789"/>
                      <a:pt x="510" y="786"/>
                    </a:cubicBezTo>
                    <a:cubicBezTo>
                      <a:pt x="509" y="783"/>
                      <a:pt x="513" y="780"/>
                      <a:pt x="514" y="778"/>
                    </a:cubicBezTo>
                    <a:cubicBezTo>
                      <a:pt x="517" y="772"/>
                      <a:pt x="518" y="766"/>
                      <a:pt x="520" y="761"/>
                    </a:cubicBezTo>
                    <a:cubicBezTo>
                      <a:pt x="521" y="759"/>
                      <a:pt x="524" y="758"/>
                      <a:pt x="522" y="755"/>
                    </a:cubicBezTo>
                    <a:cubicBezTo>
                      <a:pt x="519" y="750"/>
                      <a:pt x="509" y="749"/>
                      <a:pt x="504" y="746"/>
                    </a:cubicBezTo>
                    <a:cubicBezTo>
                      <a:pt x="500" y="742"/>
                      <a:pt x="497" y="738"/>
                      <a:pt x="495" y="733"/>
                    </a:cubicBezTo>
                    <a:cubicBezTo>
                      <a:pt x="493" y="729"/>
                      <a:pt x="492" y="719"/>
                      <a:pt x="494" y="714"/>
                    </a:cubicBezTo>
                    <a:cubicBezTo>
                      <a:pt x="495" y="710"/>
                      <a:pt x="497" y="713"/>
                      <a:pt x="501" y="712"/>
                    </a:cubicBezTo>
                    <a:cubicBezTo>
                      <a:pt x="505" y="711"/>
                      <a:pt x="503" y="710"/>
                      <a:pt x="505" y="708"/>
                    </a:cubicBezTo>
                    <a:cubicBezTo>
                      <a:pt x="509" y="703"/>
                      <a:pt x="510" y="699"/>
                      <a:pt x="505" y="693"/>
                    </a:cubicBezTo>
                    <a:cubicBezTo>
                      <a:pt x="502" y="691"/>
                      <a:pt x="500" y="691"/>
                      <a:pt x="499" y="688"/>
                    </a:cubicBezTo>
                    <a:cubicBezTo>
                      <a:pt x="497" y="685"/>
                      <a:pt x="499" y="679"/>
                      <a:pt x="499" y="676"/>
                    </a:cubicBezTo>
                    <a:cubicBezTo>
                      <a:pt x="499" y="668"/>
                      <a:pt x="498" y="661"/>
                      <a:pt x="502" y="654"/>
                    </a:cubicBezTo>
                    <a:cubicBezTo>
                      <a:pt x="504" y="651"/>
                      <a:pt x="504" y="652"/>
                      <a:pt x="505" y="649"/>
                    </a:cubicBezTo>
                    <a:cubicBezTo>
                      <a:pt x="505" y="646"/>
                      <a:pt x="504" y="643"/>
                      <a:pt x="506" y="640"/>
                    </a:cubicBezTo>
                    <a:cubicBezTo>
                      <a:pt x="512" y="633"/>
                      <a:pt x="530" y="647"/>
                      <a:pt x="516" y="607"/>
                    </a:cubicBezTo>
                    <a:cubicBezTo>
                      <a:pt x="514" y="599"/>
                      <a:pt x="460" y="469"/>
                      <a:pt x="462" y="461"/>
                    </a:cubicBezTo>
                    <a:cubicBezTo>
                      <a:pt x="464" y="455"/>
                      <a:pt x="508" y="393"/>
                      <a:pt x="513" y="378"/>
                    </a:cubicBezTo>
                    <a:cubicBezTo>
                      <a:pt x="515" y="372"/>
                      <a:pt x="519" y="366"/>
                      <a:pt x="515" y="359"/>
                    </a:cubicBezTo>
                    <a:cubicBezTo>
                      <a:pt x="514" y="357"/>
                      <a:pt x="511" y="355"/>
                      <a:pt x="509" y="353"/>
                    </a:cubicBezTo>
                    <a:cubicBezTo>
                      <a:pt x="507" y="351"/>
                      <a:pt x="506" y="349"/>
                      <a:pt x="504" y="346"/>
                    </a:cubicBezTo>
                    <a:cubicBezTo>
                      <a:pt x="503" y="343"/>
                      <a:pt x="500" y="340"/>
                      <a:pt x="498" y="337"/>
                    </a:cubicBezTo>
                    <a:cubicBezTo>
                      <a:pt x="496" y="332"/>
                      <a:pt x="493" y="327"/>
                      <a:pt x="491" y="323"/>
                    </a:cubicBezTo>
                    <a:cubicBezTo>
                      <a:pt x="488" y="316"/>
                      <a:pt x="484" y="312"/>
                      <a:pt x="479" y="307"/>
                    </a:cubicBezTo>
                    <a:cubicBezTo>
                      <a:pt x="476" y="304"/>
                      <a:pt x="477" y="304"/>
                      <a:pt x="472" y="302"/>
                    </a:cubicBezTo>
                    <a:cubicBezTo>
                      <a:pt x="470" y="301"/>
                      <a:pt x="468" y="299"/>
                      <a:pt x="466" y="297"/>
                    </a:cubicBezTo>
                    <a:cubicBezTo>
                      <a:pt x="458" y="292"/>
                      <a:pt x="449" y="293"/>
                      <a:pt x="444" y="284"/>
                    </a:cubicBezTo>
                    <a:cubicBezTo>
                      <a:pt x="440" y="277"/>
                      <a:pt x="441" y="269"/>
                      <a:pt x="441" y="261"/>
                    </a:cubicBezTo>
                    <a:cubicBezTo>
                      <a:pt x="441" y="252"/>
                      <a:pt x="441" y="243"/>
                      <a:pt x="441" y="235"/>
                    </a:cubicBezTo>
                    <a:cubicBezTo>
                      <a:pt x="441" y="226"/>
                      <a:pt x="443" y="219"/>
                      <a:pt x="444" y="211"/>
                    </a:cubicBezTo>
                    <a:cubicBezTo>
                      <a:pt x="446" y="203"/>
                      <a:pt x="445" y="194"/>
                      <a:pt x="449" y="188"/>
                    </a:cubicBezTo>
                    <a:cubicBezTo>
                      <a:pt x="447" y="188"/>
                      <a:pt x="447" y="188"/>
                      <a:pt x="447" y="188"/>
                    </a:cubicBezTo>
                    <a:cubicBezTo>
                      <a:pt x="443" y="188"/>
                      <a:pt x="434" y="189"/>
                      <a:pt x="437" y="185"/>
                    </a:cubicBezTo>
                    <a:cubicBezTo>
                      <a:pt x="436" y="185"/>
                      <a:pt x="442" y="181"/>
                      <a:pt x="442" y="181"/>
                    </a:cubicBezTo>
                    <a:cubicBezTo>
                      <a:pt x="446" y="180"/>
                      <a:pt x="445" y="182"/>
                      <a:pt x="448" y="178"/>
                    </a:cubicBezTo>
                    <a:cubicBezTo>
                      <a:pt x="452" y="174"/>
                      <a:pt x="457" y="171"/>
                      <a:pt x="460" y="166"/>
                    </a:cubicBezTo>
                    <a:cubicBezTo>
                      <a:pt x="461" y="165"/>
                      <a:pt x="462" y="164"/>
                      <a:pt x="462" y="163"/>
                    </a:cubicBezTo>
                    <a:cubicBezTo>
                      <a:pt x="461" y="163"/>
                      <a:pt x="459" y="164"/>
                      <a:pt x="458" y="162"/>
                    </a:cubicBezTo>
                    <a:cubicBezTo>
                      <a:pt x="456" y="161"/>
                      <a:pt x="455" y="159"/>
                      <a:pt x="454" y="158"/>
                    </a:cubicBezTo>
                    <a:cubicBezTo>
                      <a:pt x="453" y="156"/>
                      <a:pt x="452" y="154"/>
                      <a:pt x="451" y="152"/>
                    </a:cubicBezTo>
                    <a:cubicBezTo>
                      <a:pt x="450" y="150"/>
                      <a:pt x="450" y="148"/>
                      <a:pt x="449" y="147"/>
                    </a:cubicBezTo>
                    <a:cubicBezTo>
                      <a:pt x="447" y="143"/>
                      <a:pt x="448" y="140"/>
                      <a:pt x="450" y="136"/>
                    </a:cubicBezTo>
                    <a:cubicBezTo>
                      <a:pt x="450" y="135"/>
                      <a:pt x="451" y="134"/>
                      <a:pt x="452" y="133"/>
                    </a:cubicBezTo>
                    <a:cubicBezTo>
                      <a:pt x="454" y="130"/>
                      <a:pt x="455" y="127"/>
                      <a:pt x="456" y="125"/>
                    </a:cubicBezTo>
                    <a:cubicBezTo>
                      <a:pt x="460" y="118"/>
                      <a:pt x="463" y="112"/>
                      <a:pt x="467" y="107"/>
                    </a:cubicBezTo>
                    <a:cubicBezTo>
                      <a:pt x="469" y="104"/>
                      <a:pt x="470" y="102"/>
                      <a:pt x="472" y="100"/>
                    </a:cubicBezTo>
                    <a:cubicBezTo>
                      <a:pt x="473" y="98"/>
                      <a:pt x="474" y="96"/>
                      <a:pt x="474" y="94"/>
                    </a:cubicBezTo>
                    <a:cubicBezTo>
                      <a:pt x="474" y="91"/>
                      <a:pt x="472" y="87"/>
                      <a:pt x="471" y="84"/>
                    </a:cubicBezTo>
                    <a:cubicBezTo>
                      <a:pt x="469" y="80"/>
                      <a:pt x="468" y="77"/>
                      <a:pt x="467" y="73"/>
                    </a:cubicBezTo>
                    <a:cubicBezTo>
                      <a:pt x="466" y="72"/>
                      <a:pt x="466" y="70"/>
                      <a:pt x="466" y="69"/>
                    </a:cubicBezTo>
                    <a:cubicBezTo>
                      <a:pt x="465" y="67"/>
                      <a:pt x="464" y="66"/>
                      <a:pt x="462" y="65"/>
                    </a:cubicBezTo>
                    <a:cubicBezTo>
                      <a:pt x="458" y="63"/>
                      <a:pt x="456" y="59"/>
                      <a:pt x="452" y="56"/>
                    </a:cubicBezTo>
                    <a:cubicBezTo>
                      <a:pt x="447" y="51"/>
                      <a:pt x="441" y="48"/>
                      <a:pt x="434" y="45"/>
                    </a:cubicBezTo>
                    <a:cubicBezTo>
                      <a:pt x="432" y="43"/>
                      <a:pt x="431" y="42"/>
                      <a:pt x="430" y="40"/>
                    </a:cubicBezTo>
                    <a:cubicBezTo>
                      <a:pt x="429" y="39"/>
                      <a:pt x="428" y="37"/>
                      <a:pt x="428" y="36"/>
                    </a:cubicBezTo>
                    <a:cubicBezTo>
                      <a:pt x="426" y="34"/>
                      <a:pt x="425" y="32"/>
                      <a:pt x="423" y="29"/>
                    </a:cubicBezTo>
                    <a:cubicBezTo>
                      <a:pt x="422" y="26"/>
                      <a:pt x="419" y="24"/>
                      <a:pt x="417" y="21"/>
                    </a:cubicBezTo>
                    <a:cubicBezTo>
                      <a:pt x="417" y="21"/>
                      <a:pt x="415" y="18"/>
                      <a:pt x="414" y="17"/>
                    </a:cubicBezTo>
                    <a:cubicBezTo>
                      <a:pt x="412" y="16"/>
                      <a:pt x="410" y="17"/>
                      <a:pt x="409" y="14"/>
                    </a:cubicBezTo>
                    <a:cubicBezTo>
                      <a:pt x="408" y="13"/>
                      <a:pt x="409" y="10"/>
                      <a:pt x="409" y="9"/>
                    </a:cubicBezTo>
                    <a:cubicBezTo>
                      <a:pt x="409" y="8"/>
                      <a:pt x="408" y="5"/>
                      <a:pt x="407" y="5"/>
                    </a:cubicBezTo>
                    <a:cubicBezTo>
                      <a:pt x="405" y="2"/>
                      <a:pt x="408" y="4"/>
                      <a:pt x="404" y="3"/>
                    </a:cubicBezTo>
                    <a:cubicBezTo>
                      <a:pt x="401" y="3"/>
                      <a:pt x="397" y="5"/>
                      <a:pt x="393" y="3"/>
                    </a:cubicBezTo>
                    <a:cubicBezTo>
                      <a:pt x="392" y="2"/>
                      <a:pt x="392" y="1"/>
                      <a:pt x="390" y="0"/>
                    </a:cubicBezTo>
                    <a:cubicBezTo>
                      <a:pt x="389" y="1"/>
                      <a:pt x="388" y="1"/>
                      <a:pt x="387" y="1"/>
                    </a:cubicBezTo>
                    <a:cubicBezTo>
                      <a:pt x="386" y="1"/>
                      <a:pt x="385" y="2"/>
                      <a:pt x="385" y="2"/>
                    </a:cubicBezTo>
                    <a:cubicBezTo>
                      <a:pt x="382" y="4"/>
                      <a:pt x="381" y="7"/>
                      <a:pt x="379" y="9"/>
                    </a:cubicBezTo>
                    <a:cubicBezTo>
                      <a:pt x="377" y="11"/>
                      <a:pt x="375" y="12"/>
                      <a:pt x="374" y="14"/>
                    </a:cubicBezTo>
                    <a:cubicBezTo>
                      <a:pt x="371" y="17"/>
                      <a:pt x="372" y="21"/>
                      <a:pt x="371" y="25"/>
                    </a:cubicBezTo>
                    <a:cubicBezTo>
                      <a:pt x="368" y="26"/>
                      <a:pt x="365" y="26"/>
                      <a:pt x="362" y="27"/>
                    </a:cubicBezTo>
                    <a:cubicBezTo>
                      <a:pt x="359" y="27"/>
                      <a:pt x="355" y="29"/>
                      <a:pt x="352" y="28"/>
                    </a:cubicBezTo>
                    <a:cubicBezTo>
                      <a:pt x="352" y="28"/>
                      <a:pt x="352" y="26"/>
                      <a:pt x="352" y="26"/>
                    </a:cubicBezTo>
                    <a:cubicBezTo>
                      <a:pt x="348" y="25"/>
                      <a:pt x="343" y="26"/>
                      <a:pt x="339" y="26"/>
                    </a:cubicBezTo>
                    <a:cubicBezTo>
                      <a:pt x="335" y="26"/>
                      <a:pt x="330" y="25"/>
                      <a:pt x="326" y="27"/>
                    </a:cubicBezTo>
                    <a:cubicBezTo>
                      <a:pt x="321" y="30"/>
                      <a:pt x="315" y="36"/>
                      <a:pt x="312" y="41"/>
                    </a:cubicBezTo>
                    <a:cubicBezTo>
                      <a:pt x="311" y="43"/>
                      <a:pt x="311" y="46"/>
                      <a:pt x="309" y="48"/>
                    </a:cubicBezTo>
                    <a:cubicBezTo>
                      <a:pt x="308" y="49"/>
                      <a:pt x="307" y="50"/>
                      <a:pt x="307" y="52"/>
                    </a:cubicBezTo>
                    <a:cubicBezTo>
                      <a:pt x="306" y="56"/>
                      <a:pt x="309" y="61"/>
                      <a:pt x="306" y="64"/>
                    </a:cubicBezTo>
                    <a:cubicBezTo>
                      <a:pt x="303" y="67"/>
                      <a:pt x="297" y="65"/>
                      <a:pt x="295" y="69"/>
                    </a:cubicBezTo>
                    <a:cubicBezTo>
                      <a:pt x="294" y="70"/>
                      <a:pt x="294" y="71"/>
                      <a:pt x="294" y="72"/>
                    </a:cubicBezTo>
                    <a:cubicBezTo>
                      <a:pt x="293" y="73"/>
                      <a:pt x="293" y="73"/>
                      <a:pt x="293" y="74"/>
                    </a:cubicBezTo>
                    <a:cubicBezTo>
                      <a:pt x="292" y="75"/>
                      <a:pt x="293" y="77"/>
                      <a:pt x="293" y="78"/>
                    </a:cubicBezTo>
                    <a:cubicBezTo>
                      <a:pt x="293" y="80"/>
                      <a:pt x="292" y="83"/>
                      <a:pt x="292" y="86"/>
                    </a:cubicBezTo>
                    <a:cubicBezTo>
                      <a:pt x="291" y="91"/>
                      <a:pt x="292" y="97"/>
                      <a:pt x="290" y="102"/>
                    </a:cubicBezTo>
                    <a:cubicBezTo>
                      <a:pt x="289" y="107"/>
                      <a:pt x="288" y="110"/>
                      <a:pt x="288" y="115"/>
                    </a:cubicBezTo>
                    <a:cubicBezTo>
                      <a:pt x="288" y="121"/>
                      <a:pt x="288" y="128"/>
                      <a:pt x="288" y="135"/>
                    </a:cubicBezTo>
                    <a:cubicBezTo>
                      <a:pt x="288" y="143"/>
                      <a:pt x="288" y="152"/>
                      <a:pt x="288" y="160"/>
                    </a:cubicBezTo>
                    <a:cubicBezTo>
                      <a:pt x="288" y="164"/>
                      <a:pt x="288" y="165"/>
                      <a:pt x="287" y="167"/>
                    </a:cubicBezTo>
                    <a:cubicBezTo>
                      <a:pt x="286" y="169"/>
                      <a:pt x="285" y="169"/>
                      <a:pt x="284" y="170"/>
                    </a:cubicBezTo>
                    <a:cubicBezTo>
                      <a:pt x="283" y="172"/>
                      <a:pt x="282" y="175"/>
                      <a:pt x="281" y="177"/>
                    </a:cubicBezTo>
                    <a:cubicBezTo>
                      <a:pt x="280" y="178"/>
                      <a:pt x="279" y="180"/>
                      <a:pt x="278" y="183"/>
                    </a:cubicBezTo>
                    <a:cubicBezTo>
                      <a:pt x="278" y="184"/>
                      <a:pt x="279" y="185"/>
                      <a:pt x="278" y="187"/>
                    </a:cubicBezTo>
                    <a:cubicBezTo>
                      <a:pt x="275" y="187"/>
                      <a:pt x="274" y="186"/>
                      <a:pt x="271" y="186"/>
                    </a:cubicBezTo>
                    <a:cubicBezTo>
                      <a:pt x="268" y="185"/>
                      <a:pt x="268" y="185"/>
                      <a:pt x="266" y="189"/>
                    </a:cubicBezTo>
                    <a:cubicBezTo>
                      <a:pt x="265" y="192"/>
                      <a:pt x="265" y="194"/>
                      <a:pt x="263" y="196"/>
                    </a:cubicBezTo>
                    <a:cubicBezTo>
                      <a:pt x="263" y="196"/>
                      <a:pt x="260" y="198"/>
                      <a:pt x="260" y="198"/>
                    </a:cubicBezTo>
                    <a:cubicBezTo>
                      <a:pt x="260" y="199"/>
                      <a:pt x="259" y="200"/>
                      <a:pt x="258" y="201"/>
                    </a:cubicBezTo>
                    <a:cubicBezTo>
                      <a:pt x="257" y="202"/>
                      <a:pt x="256" y="201"/>
                      <a:pt x="256" y="203"/>
                    </a:cubicBezTo>
                    <a:cubicBezTo>
                      <a:pt x="255" y="203"/>
                      <a:pt x="255" y="202"/>
                      <a:pt x="255" y="201"/>
                    </a:cubicBezTo>
                    <a:cubicBezTo>
                      <a:pt x="254" y="201"/>
                      <a:pt x="254" y="199"/>
                      <a:pt x="252" y="198"/>
                    </a:cubicBezTo>
                    <a:cubicBezTo>
                      <a:pt x="249" y="195"/>
                      <a:pt x="244" y="196"/>
                      <a:pt x="241" y="195"/>
                    </a:cubicBezTo>
                    <a:cubicBezTo>
                      <a:pt x="243" y="198"/>
                      <a:pt x="250" y="201"/>
                      <a:pt x="254" y="201"/>
                    </a:cubicBezTo>
                    <a:cubicBezTo>
                      <a:pt x="252" y="203"/>
                      <a:pt x="249" y="207"/>
                      <a:pt x="248" y="210"/>
                    </a:cubicBezTo>
                    <a:cubicBezTo>
                      <a:pt x="247" y="214"/>
                      <a:pt x="255" y="224"/>
                      <a:pt x="249" y="227"/>
                    </a:cubicBezTo>
                    <a:cubicBezTo>
                      <a:pt x="247" y="228"/>
                      <a:pt x="245" y="226"/>
                      <a:pt x="243" y="228"/>
                    </a:cubicBezTo>
                    <a:cubicBezTo>
                      <a:pt x="241" y="229"/>
                      <a:pt x="241" y="231"/>
                      <a:pt x="239" y="232"/>
                    </a:cubicBezTo>
                    <a:cubicBezTo>
                      <a:pt x="236" y="232"/>
                      <a:pt x="237" y="226"/>
                      <a:pt x="235" y="224"/>
                    </a:cubicBezTo>
                    <a:cubicBezTo>
                      <a:pt x="234" y="223"/>
                      <a:pt x="234" y="221"/>
                      <a:pt x="232" y="220"/>
                    </a:cubicBezTo>
                    <a:cubicBezTo>
                      <a:pt x="229" y="219"/>
                      <a:pt x="225" y="217"/>
                      <a:pt x="222" y="216"/>
                    </a:cubicBezTo>
                    <a:cubicBezTo>
                      <a:pt x="220" y="215"/>
                      <a:pt x="218" y="215"/>
                      <a:pt x="217" y="214"/>
                    </a:cubicBezTo>
                    <a:cubicBezTo>
                      <a:pt x="216" y="213"/>
                      <a:pt x="215" y="213"/>
                      <a:pt x="214" y="213"/>
                    </a:cubicBezTo>
                    <a:cubicBezTo>
                      <a:pt x="214" y="212"/>
                      <a:pt x="213" y="212"/>
                      <a:pt x="213" y="211"/>
                    </a:cubicBezTo>
                    <a:cubicBezTo>
                      <a:pt x="209" y="208"/>
                      <a:pt x="204" y="206"/>
                      <a:pt x="200" y="203"/>
                    </a:cubicBezTo>
                    <a:cubicBezTo>
                      <a:pt x="195" y="200"/>
                      <a:pt x="190" y="196"/>
                      <a:pt x="184" y="196"/>
                    </a:cubicBezTo>
                    <a:cubicBezTo>
                      <a:pt x="183" y="198"/>
                      <a:pt x="183" y="200"/>
                      <a:pt x="182" y="202"/>
                    </a:cubicBezTo>
                    <a:cubicBezTo>
                      <a:pt x="181" y="203"/>
                      <a:pt x="179" y="205"/>
                      <a:pt x="178" y="206"/>
                    </a:cubicBezTo>
                    <a:cubicBezTo>
                      <a:pt x="176" y="209"/>
                      <a:pt x="176" y="212"/>
                      <a:pt x="175" y="214"/>
                    </a:cubicBezTo>
                    <a:cubicBezTo>
                      <a:pt x="174" y="215"/>
                      <a:pt x="172" y="214"/>
                      <a:pt x="172" y="215"/>
                    </a:cubicBezTo>
                    <a:cubicBezTo>
                      <a:pt x="172" y="216"/>
                      <a:pt x="172" y="217"/>
                      <a:pt x="172" y="217"/>
                    </a:cubicBezTo>
                    <a:cubicBezTo>
                      <a:pt x="170" y="220"/>
                      <a:pt x="172" y="220"/>
                      <a:pt x="169" y="220"/>
                    </a:cubicBezTo>
                    <a:cubicBezTo>
                      <a:pt x="167" y="220"/>
                      <a:pt x="165" y="220"/>
                      <a:pt x="163" y="220"/>
                    </a:cubicBezTo>
                    <a:cubicBezTo>
                      <a:pt x="159" y="220"/>
                      <a:pt x="154" y="224"/>
                      <a:pt x="150" y="223"/>
                    </a:cubicBezTo>
                    <a:cubicBezTo>
                      <a:pt x="146" y="222"/>
                      <a:pt x="146" y="219"/>
                      <a:pt x="142" y="217"/>
                    </a:cubicBezTo>
                    <a:cubicBezTo>
                      <a:pt x="140" y="217"/>
                      <a:pt x="137" y="217"/>
                      <a:pt x="135" y="217"/>
                    </a:cubicBezTo>
                    <a:cubicBezTo>
                      <a:pt x="133" y="217"/>
                      <a:pt x="132" y="216"/>
                      <a:pt x="130" y="215"/>
                    </a:cubicBezTo>
                    <a:cubicBezTo>
                      <a:pt x="125" y="213"/>
                      <a:pt x="121" y="212"/>
                      <a:pt x="115" y="211"/>
                    </a:cubicBezTo>
                    <a:cubicBezTo>
                      <a:pt x="114" y="210"/>
                      <a:pt x="112" y="210"/>
                      <a:pt x="110" y="210"/>
                    </a:cubicBezTo>
                    <a:cubicBezTo>
                      <a:pt x="108" y="210"/>
                      <a:pt x="107" y="211"/>
                      <a:pt x="105" y="211"/>
                    </a:cubicBezTo>
                    <a:cubicBezTo>
                      <a:pt x="104" y="204"/>
                      <a:pt x="105" y="196"/>
                      <a:pt x="104" y="189"/>
                    </a:cubicBezTo>
                    <a:cubicBezTo>
                      <a:pt x="103" y="186"/>
                      <a:pt x="103" y="188"/>
                      <a:pt x="101" y="186"/>
                    </a:cubicBezTo>
                    <a:cubicBezTo>
                      <a:pt x="100" y="185"/>
                      <a:pt x="100" y="184"/>
                      <a:pt x="99" y="183"/>
                    </a:cubicBezTo>
                    <a:cubicBezTo>
                      <a:pt x="99" y="181"/>
                      <a:pt x="97" y="180"/>
                      <a:pt x="96" y="178"/>
                    </a:cubicBezTo>
                    <a:cubicBezTo>
                      <a:pt x="95" y="177"/>
                      <a:pt x="94" y="175"/>
                      <a:pt x="93" y="174"/>
                    </a:cubicBezTo>
                    <a:cubicBezTo>
                      <a:pt x="91" y="171"/>
                      <a:pt x="88" y="167"/>
                      <a:pt x="85" y="164"/>
                    </a:cubicBezTo>
                    <a:cubicBezTo>
                      <a:pt x="83" y="162"/>
                      <a:pt x="81" y="160"/>
                      <a:pt x="79" y="157"/>
                    </a:cubicBezTo>
                    <a:cubicBezTo>
                      <a:pt x="76" y="153"/>
                      <a:pt x="74" y="148"/>
                      <a:pt x="73" y="144"/>
                    </a:cubicBezTo>
                    <a:cubicBezTo>
                      <a:pt x="72" y="142"/>
                      <a:pt x="72" y="141"/>
                      <a:pt x="71" y="139"/>
                    </a:cubicBezTo>
                    <a:cubicBezTo>
                      <a:pt x="70" y="138"/>
                      <a:pt x="68" y="137"/>
                      <a:pt x="67" y="135"/>
                    </a:cubicBezTo>
                    <a:cubicBezTo>
                      <a:pt x="66" y="133"/>
                      <a:pt x="66" y="129"/>
                      <a:pt x="64" y="127"/>
                    </a:cubicBezTo>
                    <a:cubicBezTo>
                      <a:pt x="62" y="125"/>
                      <a:pt x="57" y="126"/>
                      <a:pt x="55" y="126"/>
                    </a:cubicBezTo>
                    <a:cubicBezTo>
                      <a:pt x="49" y="126"/>
                      <a:pt x="44" y="129"/>
                      <a:pt x="39" y="130"/>
                    </a:cubicBezTo>
                    <a:cubicBezTo>
                      <a:pt x="34" y="132"/>
                      <a:pt x="27" y="134"/>
                      <a:pt x="30" y="141"/>
                    </a:cubicBezTo>
                    <a:cubicBezTo>
                      <a:pt x="31" y="144"/>
                      <a:pt x="33" y="146"/>
                      <a:pt x="34" y="151"/>
                    </a:cubicBezTo>
                    <a:cubicBezTo>
                      <a:pt x="34" y="154"/>
                      <a:pt x="34" y="158"/>
                      <a:pt x="34" y="161"/>
                    </a:cubicBezTo>
                    <a:cubicBezTo>
                      <a:pt x="31" y="160"/>
                      <a:pt x="28" y="158"/>
                      <a:pt x="25" y="157"/>
                    </a:cubicBezTo>
                    <a:cubicBezTo>
                      <a:pt x="23" y="156"/>
                      <a:pt x="19" y="153"/>
                      <a:pt x="17" y="154"/>
                    </a:cubicBezTo>
                    <a:cubicBezTo>
                      <a:pt x="17" y="154"/>
                      <a:pt x="17" y="155"/>
                      <a:pt x="17" y="156"/>
                    </a:cubicBezTo>
                    <a:cubicBezTo>
                      <a:pt x="11" y="157"/>
                      <a:pt x="5" y="157"/>
                      <a:pt x="0" y="158"/>
                    </a:cubicBezTo>
                    <a:cubicBezTo>
                      <a:pt x="1" y="157"/>
                      <a:pt x="3" y="157"/>
                      <a:pt x="5" y="157"/>
                    </a:cubicBezTo>
                    <a:cubicBezTo>
                      <a:pt x="5" y="157"/>
                      <a:pt x="5" y="158"/>
                      <a:pt x="5" y="158"/>
                    </a:cubicBezTo>
                    <a:cubicBezTo>
                      <a:pt x="6" y="159"/>
                      <a:pt x="6" y="161"/>
                      <a:pt x="7" y="162"/>
                    </a:cubicBezTo>
                    <a:cubicBezTo>
                      <a:pt x="8" y="165"/>
                      <a:pt x="11" y="168"/>
                      <a:pt x="13" y="171"/>
                    </a:cubicBezTo>
                    <a:cubicBezTo>
                      <a:pt x="16" y="174"/>
                      <a:pt x="19" y="176"/>
                      <a:pt x="22" y="179"/>
                    </a:cubicBezTo>
                    <a:cubicBezTo>
                      <a:pt x="25" y="181"/>
                      <a:pt x="26" y="183"/>
                      <a:pt x="28" y="185"/>
                    </a:cubicBezTo>
                    <a:cubicBezTo>
                      <a:pt x="31" y="187"/>
                      <a:pt x="34" y="189"/>
                      <a:pt x="37" y="192"/>
                    </a:cubicBezTo>
                    <a:cubicBezTo>
                      <a:pt x="40" y="196"/>
                      <a:pt x="41" y="201"/>
                      <a:pt x="45" y="204"/>
                    </a:cubicBezTo>
                    <a:cubicBezTo>
                      <a:pt x="50" y="207"/>
                      <a:pt x="52" y="211"/>
                      <a:pt x="55" y="216"/>
                    </a:cubicBezTo>
                    <a:cubicBezTo>
                      <a:pt x="58" y="219"/>
                      <a:pt x="62" y="224"/>
                      <a:pt x="66" y="225"/>
                    </a:cubicBezTo>
                    <a:cubicBezTo>
                      <a:pt x="71" y="226"/>
                      <a:pt x="73" y="226"/>
                      <a:pt x="77" y="229"/>
                    </a:cubicBezTo>
                    <a:cubicBezTo>
                      <a:pt x="80" y="231"/>
                      <a:pt x="82" y="233"/>
                      <a:pt x="85" y="235"/>
                    </a:cubicBezTo>
                    <a:cubicBezTo>
                      <a:pt x="86" y="237"/>
                      <a:pt x="88" y="239"/>
                      <a:pt x="90" y="240"/>
                    </a:cubicBezTo>
                    <a:cubicBezTo>
                      <a:pt x="91" y="241"/>
                      <a:pt x="92" y="241"/>
                      <a:pt x="94" y="241"/>
                    </a:cubicBezTo>
                    <a:cubicBezTo>
                      <a:pt x="98" y="241"/>
                      <a:pt x="101" y="242"/>
                      <a:pt x="105" y="243"/>
                    </a:cubicBezTo>
                    <a:cubicBezTo>
                      <a:pt x="110" y="246"/>
                      <a:pt x="112" y="247"/>
                      <a:pt x="116" y="252"/>
                    </a:cubicBezTo>
                    <a:cubicBezTo>
                      <a:pt x="119" y="257"/>
                      <a:pt x="124" y="263"/>
                      <a:pt x="127" y="269"/>
                    </a:cubicBezTo>
                    <a:cubicBezTo>
                      <a:pt x="128" y="271"/>
                      <a:pt x="129" y="272"/>
                      <a:pt x="130" y="274"/>
                    </a:cubicBezTo>
                    <a:cubicBezTo>
                      <a:pt x="131" y="277"/>
                      <a:pt x="132" y="276"/>
                      <a:pt x="135" y="277"/>
                    </a:cubicBezTo>
                    <a:cubicBezTo>
                      <a:pt x="137" y="278"/>
                      <a:pt x="142" y="279"/>
                      <a:pt x="144" y="280"/>
                    </a:cubicBezTo>
                    <a:cubicBezTo>
                      <a:pt x="145" y="282"/>
                      <a:pt x="144" y="285"/>
                      <a:pt x="144" y="286"/>
                    </a:cubicBezTo>
                    <a:cubicBezTo>
                      <a:pt x="145" y="290"/>
                      <a:pt x="144" y="294"/>
                      <a:pt x="145" y="297"/>
                    </a:cubicBezTo>
                    <a:cubicBezTo>
                      <a:pt x="148" y="297"/>
                      <a:pt x="150" y="298"/>
                      <a:pt x="152" y="299"/>
                    </a:cubicBezTo>
                    <a:cubicBezTo>
                      <a:pt x="156" y="300"/>
                      <a:pt x="157" y="302"/>
                      <a:pt x="159" y="305"/>
                    </a:cubicBezTo>
                    <a:cubicBezTo>
                      <a:pt x="162" y="310"/>
                      <a:pt x="163" y="318"/>
                      <a:pt x="170" y="319"/>
                    </a:cubicBezTo>
                    <a:cubicBezTo>
                      <a:pt x="171" y="324"/>
                      <a:pt x="168" y="326"/>
                      <a:pt x="166" y="331"/>
                    </a:cubicBezTo>
                    <a:cubicBezTo>
                      <a:pt x="166" y="333"/>
                      <a:pt x="165" y="335"/>
                      <a:pt x="165" y="337"/>
                    </a:cubicBezTo>
                    <a:cubicBezTo>
                      <a:pt x="165" y="341"/>
                      <a:pt x="165" y="345"/>
                      <a:pt x="165" y="349"/>
                    </a:cubicBezTo>
                    <a:cubicBezTo>
                      <a:pt x="165" y="356"/>
                      <a:pt x="168" y="361"/>
                      <a:pt x="169" y="368"/>
                    </a:cubicBezTo>
                    <a:cubicBezTo>
                      <a:pt x="169" y="371"/>
                      <a:pt x="169" y="375"/>
                      <a:pt x="167" y="378"/>
                    </a:cubicBezTo>
                    <a:cubicBezTo>
                      <a:pt x="164" y="381"/>
                      <a:pt x="159" y="382"/>
                      <a:pt x="160" y="387"/>
                    </a:cubicBezTo>
                    <a:cubicBezTo>
                      <a:pt x="161" y="390"/>
                      <a:pt x="162" y="393"/>
                      <a:pt x="164" y="394"/>
                    </a:cubicBezTo>
                    <a:cubicBezTo>
                      <a:pt x="166" y="396"/>
                      <a:pt x="170" y="395"/>
                      <a:pt x="172" y="396"/>
                    </a:cubicBezTo>
                    <a:cubicBezTo>
                      <a:pt x="173" y="397"/>
                      <a:pt x="173" y="398"/>
                      <a:pt x="173" y="400"/>
                    </a:cubicBezTo>
                    <a:cubicBezTo>
                      <a:pt x="174" y="403"/>
                      <a:pt x="175" y="406"/>
                      <a:pt x="175" y="410"/>
                    </a:cubicBezTo>
                    <a:cubicBezTo>
                      <a:pt x="176" y="412"/>
                      <a:pt x="177" y="416"/>
                      <a:pt x="176" y="419"/>
                    </a:cubicBezTo>
                    <a:cubicBezTo>
                      <a:pt x="176" y="421"/>
                      <a:pt x="174" y="420"/>
                      <a:pt x="173" y="422"/>
                    </a:cubicBezTo>
                    <a:cubicBezTo>
                      <a:pt x="171" y="424"/>
                      <a:pt x="172" y="430"/>
                      <a:pt x="172" y="433"/>
                    </a:cubicBezTo>
                    <a:cubicBezTo>
                      <a:pt x="172" y="443"/>
                      <a:pt x="175" y="453"/>
                      <a:pt x="180" y="462"/>
                    </a:cubicBezTo>
                    <a:cubicBezTo>
                      <a:pt x="185" y="469"/>
                      <a:pt x="189" y="477"/>
                      <a:pt x="190" y="485"/>
                    </a:cubicBezTo>
                    <a:cubicBezTo>
                      <a:pt x="192" y="494"/>
                      <a:pt x="189" y="502"/>
                      <a:pt x="187" y="510"/>
                    </a:cubicBezTo>
                    <a:cubicBezTo>
                      <a:pt x="186" y="516"/>
                      <a:pt x="187" y="522"/>
                      <a:pt x="184" y="528"/>
                    </a:cubicBezTo>
                    <a:cubicBezTo>
                      <a:pt x="182" y="531"/>
                      <a:pt x="180" y="533"/>
                      <a:pt x="180" y="537"/>
                    </a:cubicBezTo>
                    <a:cubicBezTo>
                      <a:pt x="179" y="541"/>
                      <a:pt x="180" y="544"/>
                      <a:pt x="180" y="548"/>
                    </a:cubicBezTo>
                    <a:cubicBezTo>
                      <a:pt x="180" y="551"/>
                      <a:pt x="179" y="555"/>
                      <a:pt x="180" y="558"/>
                    </a:cubicBezTo>
                    <a:cubicBezTo>
                      <a:pt x="182" y="562"/>
                      <a:pt x="185" y="563"/>
                      <a:pt x="187" y="567"/>
                    </a:cubicBezTo>
                    <a:cubicBezTo>
                      <a:pt x="193" y="576"/>
                      <a:pt x="194" y="586"/>
                      <a:pt x="197" y="596"/>
                    </a:cubicBezTo>
                    <a:cubicBezTo>
                      <a:pt x="198" y="601"/>
                      <a:pt x="199" y="607"/>
                      <a:pt x="198" y="612"/>
                    </a:cubicBezTo>
                    <a:cubicBezTo>
                      <a:pt x="198" y="613"/>
                      <a:pt x="197" y="615"/>
                      <a:pt x="197" y="616"/>
                    </a:cubicBezTo>
                    <a:cubicBezTo>
                      <a:pt x="197" y="616"/>
                      <a:pt x="197" y="616"/>
                      <a:pt x="196" y="616"/>
                    </a:cubicBezTo>
                    <a:cubicBezTo>
                      <a:pt x="199" y="619"/>
                      <a:pt x="202" y="620"/>
                      <a:pt x="205" y="620"/>
                    </a:cubicBezTo>
                    <a:cubicBezTo>
                      <a:pt x="205" y="630"/>
                      <a:pt x="221" y="632"/>
                      <a:pt x="228" y="634"/>
                    </a:cubicBezTo>
                    <a:cubicBezTo>
                      <a:pt x="234" y="636"/>
                      <a:pt x="242" y="639"/>
                      <a:pt x="247" y="644"/>
                    </a:cubicBezTo>
                    <a:cubicBezTo>
                      <a:pt x="252" y="648"/>
                      <a:pt x="255" y="654"/>
                      <a:pt x="258" y="659"/>
                    </a:cubicBezTo>
                    <a:cubicBezTo>
                      <a:pt x="259" y="661"/>
                      <a:pt x="260" y="664"/>
                      <a:pt x="262" y="666"/>
                    </a:cubicBezTo>
                    <a:cubicBezTo>
                      <a:pt x="263" y="667"/>
                      <a:pt x="265" y="667"/>
                      <a:pt x="266" y="667"/>
                    </a:cubicBezTo>
                    <a:cubicBezTo>
                      <a:pt x="270" y="674"/>
                      <a:pt x="265" y="686"/>
                      <a:pt x="264" y="693"/>
                    </a:cubicBezTo>
                    <a:cubicBezTo>
                      <a:pt x="264" y="698"/>
                      <a:pt x="264" y="702"/>
                      <a:pt x="267" y="706"/>
                    </a:cubicBezTo>
                    <a:cubicBezTo>
                      <a:pt x="269" y="711"/>
                      <a:pt x="276" y="716"/>
                      <a:pt x="274" y="723"/>
                    </a:cubicBezTo>
                    <a:cubicBezTo>
                      <a:pt x="271" y="723"/>
                      <a:pt x="263" y="723"/>
                      <a:pt x="261" y="726"/>
                    </a:cubicBezTo>
                    <a:cubicBezTo>
                      <a:pt x="264" y="728"/>
                      <a:pt x="271" y="735"/>
                      <a:pt x="267" y="738"/>
                    </a:cubicBezTo>
                    <a:cubicBezTo>
                      <a:pt x="263" y="735"/>
                      <a:pt x="261" y="733"/>
                      <a:pt x="256" y="735"/>
                    </a:cubicBezTo>
                    <a:cubicBezTo>
                      <a:pt x="251" y="737"/>
                      <a:pt x="250" y="741"/>
                      <a:pt x="246" y="743"/>
                    </a:cubicBezTo>
                    <a:cubicBezTo>
                      <a:pt x="239" y="746"/>
                      <a:pt x="228" y="739"/>
                      <a:pt x="224" y="749"/>
                    </a:cubicBezTo>
                    <a:cubicBezTo>
                      <a:pt x="223" y="752"/>
                      <a:pt x="224" y="755"/>
                      <a:pt x="222" y="758"/>
                    </a:cubicBezTo>
                    <a:cubicBezTo>
                      <a:pt x="221" y="763"/>
                      <a:pt x="217" y="763"/>
                      <a:pt x="214" y="767"/>
                    </a:cubicBezTo>
                    <a:cubicBezTo>
                      <a:pt x="208" y="774"/>
                      <a:pt x="201" y="783"/>
                      <a:pt x="195" y="791"/>
                    </a:cubicBezTo>
                    <a:cubicBezTo>
                      <a:pt x="187" y="802"/>
                      <a:pt x="180" y="816"/>
                      <a:pt x="171" y="826"/>
                    </a:cubicBezTo>
                    <a:cubicBezTo>
                      <a:pt x="169" y="828"/>
                      <a:pt x="167" y="830"/>
                      <a:pt x="166" y="833"/>
                    </a:cubicBezTo>
                    <a:cubicBezTo>
                      <a:pt x="165" y="836"/>
                      <a:pt x="168" y="840"/>
                      <a:pt x="164" y="841"/>
                    </a:cubicBezTo>
                    <a:cubicBezTo>
                      <a:pt x="160" y="843"/>
                      <a:pt x="158" y="839"/>
                      <a:pt x="155" y="841"/>
                    </a:cubicBezTo>
                    <a:cubicBezTo>
                      <a:pt x="151" y="844"/>
                      <a:pt x="146" y="853"/>
                      <a:pt x="145" y="857"/>
                    </a:cubicBezTo>
                    <a:cubicBezTo>
                      <a:pt x="144" y="862"/>
                      <a:pt x="147" y="868"/>
                      <a:pt x="140" y="869"/>
                    </a:cubicBezTo>
                    <a:cubicBezTo>
                      <a:pt x="134" y="870"/>
                      <a:pt x="133" y="864"/>
                      <a:pt x="128" y="863"/>
                    </a:cubicBezTo>
                    <a:cubicBezTo>
                      <a:pt x="127" y="866"/>
                      <a:pt x="125" y="868"/>
                      <a:pt x="124" y="871"/>
                    </a:cubicBezTo>
                    <a:cubicBezTo>
                      <a:pt x="124" y="874"/>
                      <a:pt x="125" y="877"/>
                      <a:pt x="124" y="881"/>
                    </a:cubicBezTo>
                    <a:cubicBezTo>
                      <a:pt x="124" y="884"/>
                      <a:pt x="124" y="885"/>
                      <a:pt x="122" y="887"/>
                    </a:cubicBezTo>
                    <a:cubicBezTo>
                      <a:pt x="119" y="890"/>
                      <a:pt x="112" y="890"/>
                      <a:pt x="109" y="893"/>
                    </a:cubicBezTo>
                    <a:cubicBezTo>
                      <a:pt x="105" y="898"/>
                      <a:pt x="109" y="905"/>
                      <a:pt x="111" y="910"/>
                    </a:cubicBezTo>
                    <a:cubicBezTo>
                      <a:pt x="116" y="919"/>
                      <a:pt x="105" y="929"/>
                      <a:pt x="96" y="932"/>
                    </a:cubicBezTo>
                    <a:cubicBezTo>
                      <a:pt x="93" y="930"/>
                      <a:pt x="89" y="931"/>
                      <a:pt x="86" y="931"/>
                    </a:cubicBezTo>
                    <a:cubicBezTo>
                      <a:pt x="82" y="931"/>
                      <a:pt x="78" y="929"/>
                      <a:pt x="75" y="929"/>
                    </a:cubicBezTo>
                    <a:cubicBezTo>
                      <a:pt x="65" y="928"/>
                      <a:pt x="66" y="935"/>
                      <a:pt x="66" y="943"/>
                    </a:cubicBezTo>
                    <a:cubicBezTo>
                      <a:pt x="66" y="949"/>
                      <a:pt x="67" y="964"/>
                      <a:pt x="62" y="967"/>
                    </a:cubicBezTo>
                    <a:cubicBezTo>
                      <a:pt x="58" y="970"/>
                      <a:pt x="54" y="967"/>
                      <a:pt x="50" y="969"/>
                    </a:cubicBezTo>
                    <a:cubicBezTo>
                      <a:pt x="43" y="972"/>
                      <a:pt x="42" y="986"/>
                      <a:pt x="43" y="994"/>
                    </a:cubicBezTo>
                    <a:cubicBezTo>
                      <a:pt x="43" y="994"/>
                      <a:pt x="43" y="994"/>
                      <a:pt x="43" y="995"/>
                    </a:cubicBezTo>
                    <a:cubicBezTo>
                      <a:pt x="43" y="994"/>
                      <a:pt x="43" y="994"/>
                      <a:pt x="43" y="994"/>
                    </a:cubicBezTo>
                    <a:cubicBezTo>
                      <a:pt x="43" y="993"/>
                      <a:pt x="42" y="993"/>
                      <a:pt x="42" y="993"/>
                    </a:cubicBezTo>
                    <a:cubicBezTo>
                      <a:pt x="39" y="997"/>
                      <a:pt x="41" y="1008"/>
                      <a:pt x="43" y="1013"/>
                    </a:cubicBezTo>
                    <a:cubicBezTo>
                      <a:pt x="46" y="1025"/>
                      <a:pt x="59" y="1035"/>
                      <a:pt x="55" y="1049"/>
                    </a:cubicBezTo>
                    <a:cubicBezTo>
                      <a:pt x="53" y="1054"/>
                      <a:pt x="51" y="1056"/>
                      <a:pt x="52" y="1061"/>
                    </a:cubicBezTo>
                    <a:cubicBezTo>
                      <a:pt x="53" y="1066"/>
                      <a:pt x="54" y="1070"/>
                      <a:pt x="54" y="1075"/>
                    </a:cubicBezTo>
                    <a:cubicBezTo>
                      <a:pt x="54" y="1082"/>
                      <a:pt x="52" y="1095"/>
                      <a:pt x="56" y="1101"/>
                    </a:cubicBezTo>
                    <a:cubicBezTo>
                      <a:pt x="58" y="1101"/>
                      <a:pt x="60" y="1099"/>
                      <a:pt x="60" y="1098"/>
                    </a:cubicBezTo>
                    <a:cubicBezTo>
                      <a:pt x="58" y="1105"/>
                      <a:pt x="54" y="1112"/>
                      <a:pt x="55" y="1120"/>
                    </a:cubicBezTo>
                    <a:cubicBezTo>
                      <a:pt x="56" y="1127"/>
                      <a:pt x="61" y="1131"/>
                      <a:pt x="64" y="1137"/>
                    </a:cubicBezTo>
                    <a:cubicBezTo>
                      <a:pt x="68" y="1142"/>
                      <a:pt x="70" y="1145"/>
                      <a:pt x="68" y="1152"/>
                    </a:cubicBezTo>
                    <a:cubicBezTo>
                      <a:pt x="67" y="1156"/>
                      <a:pt x="64" y="1158"/>
                      <a:pt x="62" y="1162"/>
                    </a:cubicBezTo>
                    <a:cubicBezTo>
                      <a:pt x="60" y="1166"/>
                      <a:pt x="61" y="1173"/>
                      <a:pt x="61" y="1178"/>
                    </a:cubicBezTo>
                    <a:cubicBezTo>
                      <a:pt x="61" y="1180"/>
                      <a:pt x="62" y="1183"/>
                      <a:pt x="61" y="1185"/>
                    </a:cubicBezTo>
                    <a:cubicBezTo>
                      <a:pt x="60" y="1192"/>
                      <a:pt x="55" y="1197"/>
                      <a:pt x="55" y="1204"/>
                    </a:cubicBezTo>
                    <a:cubicBezTo>
                      <a:pt x="55" y="1210"/>
                      <a:pt x="57" y="1216"/>
                      <a:pt x="56" y="1221"/>
                    </a:cubicBezTo>
                    <a:cubicBezTo>
                      <a:pt x="55" y="1228"/>
                      <a:pt x="49" y="1232"/>
                      <a:pt x="47" y="1238"/>
                    </a:cubicBezTo>
                    <a:cubicBezTo>
                      <a:pt x="46" y="1243"/>
                      <a:pt x="47" y="1247"/>
                      <a:pt x="50" y="1251"/>
                    </a:cubicBezTo>
                    <a:cubicBezTo>
                      <a:pt x="53" y="1257"/>
                      <a:pt x="54" y="1254"/>
                      <a:pt x="59" y="1251"/>
                    </a:cubicBezTo>
                    <a:cubicBezTo>
                      <a:pt x="64" y="1249"/>
                      <a:pt x="68" y="1248"/>
                      <a:pt x="70" y="1253"/>
                    </a:cubicBezTo>
                    <a:cubicBezTo>
                      <a:pt x="73" y="1260"/>
                      <a:pt x="66" y="1266"/>
                      <a:pt x="65" y="1272"/>
                    </a:cubicBezTo>
                    <a:cubicBezTo>
                      <a:pt x="71" y="1275"/>
                      <a:pt x="76" y="1277"/>
                      <a:pt x="80" y="1282"/>
                    </a:cubicBezTo>
                    <a:cubicBezTo>
                      <a:pt x="84" y="1285"/>
                      <a:pt x="84" y="1292"/>
                      <a:pt x="87" y="1294"/>
                    </a:cubicBezTo>
                    <a:cubicBezTo>
                      <a:pt x="92" y="1288"/>
                      <a:pt x="97" y="1281"/>
                      <a:pt x="106" y="1280"/>
                    </a:cubicBezTo>
                    <a:cubicBezTo>
                      <a:pt x="113" y="1279"/>
                      <a:pt x="112" y="1282"/>
                      <a:pt x="114" y="1288"/>
                    </a:cubicBezTo>
                    <a:cubicBezTo>
                      <a:pt x="114" y="1291"/>
                      <a:pt x="117" y="1310"/>
                      <a:pt x="122" y="1309"/>
                    </a:cubicBezTo>
                    <a:cubicBezTo>
                      <a:pt x="125" y="1308"/>
                      <a:pt x="126" y="1302"/>
                      <a:pt x="129" y="1303"/>
                    </a:cubicBezTo>
                    <a:cubicBezTo>
                      <a:pt x="130" y="1306"/>
                      <a:pt x="129" y="1309"/>
                      <a:pt x="130" y="1311"/>
                    </a:cubicBezTo>
                    <a:cubicBezTo>
                      <a:pt x="134" y="1308"/>
                      <a:pt x="141" y="1303"/>
                      <a:pt x="146" y="1303"/>
                    </a:cubicBezTo>
                    <a:cubicBezTo>
                      <a:pt x="144" y="1307"/>
                      <a:pt x="134" y="1311"/>
                      <a:pt x="134" y="1316"/>
                    </a:cubicBezTo>
                    <a:cubicBezTo>
                      <a:pt x="135" y="1318"/>
                      <a:pt x="139" y="1322"/>
                      <a:pt x="140" y="1325"/>
                    </a:cubicBezTo>
                    <a:cubicBezTo>
                      <a:pt x="145" y="1336"/>
                      <a:pt x="151" y="1324"/>
                      <a:pt x="157" y="1319"/>
                    </a:cubicBezTo>
                    <a:cubicBezTo>
                      <a:pt x="161" y="1323"/>
                      <a:pt x="162" y="1327"/>
                      <a:pt x="167" y="1328"/>
                    </a:cubicBezTo>
                    <a:cubicBezTo>
                      <a:pt x="173" y="1328"/>
                      <a:pt x="175" y="1322"/>
                      <a:pt x="180" y="1319"/>
                    </a:cubicBezTo>
                    <a:cubicBezTo>
                      <a:pt x="186" y="1314"/>
                      <a:pt x="191" y="1311"/>
                      <a:pt x="199" y="1310"/>
                    </a:cubicBezTo>
                    <a:cubicBezTo>
                      <a:pt x="203" y="1309"/>
                      <a:pt x="209" y="1306"/>
                      <a:pt x="210" y="1302"/>
                    </a:cubicBezTo>
                    <a:cubicBezTo>
                      <a:pt x="210" y="1301"/>
                      <a:pt x="210" y="1301"/>
                      <a:pt x="211" y="1301"/>
                    </a:cubicBezTo>
                    <a:cubicBezTo>
                      <a:pt x="211" y="1301"/>
                      <a:pt x="210" y="1301"/>
                      <a:pt x="210" y="1302"/>
                    </a:cubicBezTo>
                    <a:cubicBezTo>
                      <a:pt x="213" y="1303"/>
                      <a:pt x="233" y="1303"/>
                      <a:pt x="240" y="1295"/>
                    </a:cubicBezTo>
                    <a:cubicBezTo>
                      <a:pt x="244" y="1296"/>
                      <a:pt x="249" y="1299"/>
                      <a:pt x="253" y="1297"/>
                    </a:cubicBezTo>
                    <a:cubicBezTo>
                      <a:pt x="257" y="1296"/>
                      <a:pt x="259" y="1289"/>
                      <a:pt x="263" y="1288"/>
                    </a:cubicBezTo>
                    <a:cubicBezTo>
                      <a:pt x="265" y="1287"/>
                      <a:pt x="266" y="1289"/>
                      <a:pt x="268" y="1290"/>
                    </a:cubicBezTo>
                    <a:cubicBezTo>
                      <a:pt x="272" y="1291"/>
                      <a:pt x="277" y="1291"/>
                      <a:pt x="282" y="1292"/>
                    </a:cubicBezTo>
                    <a:cubicBezTo>
                      <a:pt x="284" y="1293"/>
                      <a:pt x="291" y="1294"/>
                      <a:pt x="293" y="1291"/>
                    </a:cubicBezTo>
                    <a:cubicBezTo>
                      <a:pt x="295" y="1288"/>
                      <a:pt x="293" y="1275"/>
                      <a:pt x="293" y="1272"/>
                    </a:cubicBezTo>
                    <a:cubicBezTo>
                      <a:pt x="293" y="1267"/>
                      <a:pt x="292" y="1265"/>
                      <a:pt x="297" y="1263"/>
                    </a:cubicBezTo>
                    <a:cubicBezTo>
                      <a:pt x="303" y="1261"/>
                      <a:pt x="309" y="1266"/>
                      <a:pt x="314" y="1268"/>
                    </a:cubicBezTo>
                    <a:cubicBezTo>
                      <a:pt x="323" y="1270"/>
                      <a:pt x="338" y="1269"/>
                      <a:pt x="347" y="1265"/>
                    </a:cubicBezTo>
                    <a:cubicBezTo>
                      <a:pt x="352" y="1264"/>
                      <a:pt x="355" y="1259"/>
                      <a:pt x="359" y="1257"/>
                    </a:cubicBezTo>
                    <a:cubicBezTo>
                      <a:pt x="363" y="1256"/>
                      <a:pt x="370" y="1257"/>
                      <a:pt x="374" y="1257"/>
                    </a:cubicBezTo>
                    <a:cubicBezTo>
                      <a:pt x="382" y="1256"/>
                      <a:pt x="390" y="1255"/>
                      <a:pt x="398" y="1253"/>
                    </a:cubicBezTo>
                    <a:cubicBezTo>
                      <a:pt x="397" y="1251"/>
                      <a:pt x="399" y="1250"/>
                      <a:pt x="400" y="1248"/>
                    </a:cubicBezTo>
                    <a:cubicBezTo>
                      <a:pt x="401" y="1247"/>
                      <a:pt x="400" y="1246"/>
                      <a:pt x="401" y="1244"/>
                    </a:cubicBezTo>
                    <a:cubicBezTo>
                      <a:pt x="404" y="1242"/>
                      <a:pt x="409" y="1240"/>
                      <a:pt x="412" y="1239"/>
                    </a:cubicBezTo>
                    <a:cubicBezTo>
                      <a:pt x="423" y="1233"/>
                      <a:pt x="430" y="1223"/>
                      <a:pt x="439" y="1216"/>
                    </a:cubicBezTo>
                    <a:cubicBezTo>
                      <a:pt x="445" y="1211"/>
                      <a:pt x="451" y="1207"/>
                      <a:pt x="456" y="1201"/>
                    </a:cubicBezTo>
                    <a:cubicBezTo>
                      <a:pt x="462" y="1196"/>
                      <a:pt x="467" y="1190"/>
                      <a:pt x="472" y="1184"/>
                    </a:cubicBezTo>
                    <a:cubicBezTo>
                      <a:pt x="480" y="1177"/>
                      <a:pt x="488" y="1170"/>
                      <a:pt x="494" y="1162"/>
                    </a:cubicBezTo>
                    <a:cubicBezTo>
                      <a:pt x="498" y="1156"/>
                      <a:pt x="501" y="1149"/>
                      <a:pt x="505" y="1143"/>
                    </a:cubicBezTo>
                    <a:cubicBezTo>
                      <a:pt x="520" y="1121"/>
                      <a:pt x="533" y="1097"/>
                      <a:pt x="546" y="1073"/>
                    </a:cubicBezTo>
                    <a:cubicBezTo>
                      <a:pt x="555" y="1054"/>
                      <a:pt x="569" y="1034"/>
                      <a:pt x="586" y="1019"/>
                    </a:cubicBezTo>
                    <a:cubicBezTo>
                      <a:pt x="594" y="1012"/>
                      <a:pt x="605" y="1004"/>
                      <a:pt x="603" y="99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14" name="Freeform 63">
                <a:extLst>
                  <a:ext uri="{FF2B5EF4-FFF2-40B4-BE49-F238E27FC236}">
                    <a16:creationId xmlns:a16="http://schemas.microsoft.com/office/drawing/2014/main" id="{089A2122-7224-4CA8-B1F5-B3F4B7550C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0500" y="3097213"/>
                <a:ext cx="850900" cy="1528763"/>
              </a:xfrm>
              <a:custGeom>
                <a:avLst/>
                <a:gdLst/>
                <a:ahLst/>
                <a:cxnLst>
                  <a:cxn ang="0">
                    <a:pos x="416" y="555"/>
                  </a:cxn>
                  <a:cxn ang="0">
                    <a:pos x="363" y="502"/>
                  </a:cxn>
                  <a:cxn ang="0">
                    <a:pos x="302" y="396"/>
                  </a:cxn>
                  <a:cxn ang="0">
                    <a:pos x="260" y="298"/>
                  </a:cxn>
                  <a:cxn ang="0">
                    <a:pos x="170" y="270"/>
                  </a:cxn>
                  <a:cxn ang="0">
                    <a:pos x="230" y="236"/>
                  </a:cxn>
                  <a:cxn ang="0">
                    <a:pos x="246" y="155"/>
                  </a:cxn>
                  <a:cxn ang="0">
                    <a:pos x="184" y="99"/>
                  </a:cxn>
                  <a:cxn ang="0">
                    <a:pos x="139" y="117"/>
                  </a:cxn>
                  <a:cxn ang="0">
                    <a:pos x="157" y="88"/>
                  </a:cxn>
                  <a:cxn ang="0">
                    <a:pos x="158" y="69"/>
                  </a:cxn>
                  <a:cxn ang="0">
                    <a:pos x="198" y="27"/>
                  </a:cxn>
                  <a:cxn ang="0">
                    <a:pos x="183" y="3"/>
                  </a:cxn>
                  <a:cxn ang="0">
                    <a:pos x="136" y="16"/>
                  </a:cxn>
                  <a:cxn ang="0">
                    <a:pos x="109" y="24"/>
                  </a:cxn>
                  <a:cxn ang="0">
                    <a:pos x="89" y="25"/>
                  </a:cxn>
                  <a:cxn ang="0">
                    <a:pos x="78" y="63"/>
                  </a:cxn>
                  <a:cxn ang="0">
                    <a:pos x="72" y="84"/>
                  </a:cxn>
                  <a:cxn ang="0">
                    <a:pos x="50" y="91"/>
                  </a:cxn>
                  <a:cxn ang="0">
                    <a:pos x="59" y="121"/>
                  </a:cxn>
                  <a:cxn ang="0">
                    <a:pos x="66" y="137"/>
                  </a:cxn>
                  <a:cxn ang="0">
                    <a:pos x="46" y="148"/>
                  </a:cxn>
                  <a:cxn ang="0">
                    <a:pos x="33" y="129"/>
                  </a:cxn>
                  <a:cxn ang="0">
                    <a:pos x="9" y="116"/>
                  </a:cxn>
                  <a:cxn ang="0">
                    <a:pos x="12" y="136"/>
                  </a:cxn>
                  <a:cxn ang="0">
                    <a:pos x="42" y="159"/>
                  </a:cxn>
                  <a:cxn ang="0">
                    <a:pos x="64" y="164"/>
                  </a:cxn>
                  <a:cxn ang="0">
                    <a:pos x="48" y="183"/>
                  </a:cxn>
                  <a:cxn ang="0">
                    <a:pos x="32" y="205"/>
                  </a:cxn>
                  <a:cxn ang="0">
                    <a:pos x="50" y="220"/>
                  </a:cxn>
                  <a:cxn ang="0">
                    <a:pos x="26" y="221"/>
                  </a:cxn>
                  <a:cxn ang="0">
                    <a:pos x="18" y="239"/>
                  </a:cxn>
                  <a:cxn ang="0">
                    <a:pos x="67" y="218"/>
                  </a:cxn>
                  <a:cxn ang="0">
                    <a:pos x="79" y="206"/>
                  </a:cxn>
                  <a:cxn ang="0">
                    <a:pos x="64" y="258"/>
                  </a:cxn>
                  <a:cxn ang="0">
                    <a:pos x="73" y="277"/>
                  </a:cxn>
                  <a:cxn ang="0">
                    <a:pos x="98" y="290"/>
                  </a:cxn>
                  <a:cxn ang="0">
                    <a:pos x="84" y="377"/>
                  </a:cxn>
                  <a:cxn ang="0">
                    <a:pos x="156" y="388"/>
                  </a:cxn>
                  <a:cxn ang="0">
                    <a:pos x="180" y="380"/>
                  </a:cxn>
                  <a:cxn ang="0">
                    <a:pos x="195" y="451"/>
                  </a:cxn>
                  <a:cxn ang="0">
                    <a:pos x="194" y="504"/>
                  </a:cxn>
                  <a:cxn ang="0">
                    <a:pos x="136" y="525"/>
                  </a:cxn>
                  <a:cxn ang="0">
                    <a:pos x="107" y="574"/>
                  </a:cxn>
                  <a:cxn ang="0">
                    <a:pos x="137" y="614"/>
                  </a:cxn>
                  <a:cxn ang="0">
                    <a:pos x="85" y="655"/>
                  </a:cxn>
                  <a:cxn ang="0">
                    <a:pos x="134" y="682"/>
                  </a:cxn>
                  <a:cxn ang="0">
                    <a:pos x="205" y="682"/>
                  </a:cxn>
                  <a:cxn ang="0">
                    <a:pos x="165" y="708"/>
                  </a:cxn>
                  <a:cxn ang="0">
                    <a:pos x="91" y="770"/>
                  </a:cxn>
                  <a:cxn ang="0">
                    <a:pos x="67" y="795"/>
                  </a:cxn>
                  <a:cxn ang="0">
                    <a:pos x="57" y="810"/>
                  </a:cxn>
                  <a:cxn ang="0">
                    <a:pos x="86" y="815"/>
                  </a:cxn>
                  <a:cxn ang="0">
                    <a:pos x="107" y="784"/>
                  </a:cxn>
                  <a:cxn ang="0">
                    <a:pos x="141" y="787"/>
                  </a:cxn>
                  <a:cxn ang="0">
                    <a:pos x="172" y="789"/>
                  </a:cxn>
                  <a:cxn ang="0">
                    <a:pos x="187" y="755"/>
                  </a:cxn>
                  <a:cxn ang="0">
                    <a:pos x="259" y="751"/>
                  </a:cxn>
                  <a:cxn ang="0">
                    <a:pos x="341" y="743"/>
                  </a:cxn>
                  <a:cxn ang="0">
                    <a:pos x="415" y="731"/>
                  </a:cxn>
                  <a:cxn ang="0">
                    <a:pos x="370" y="685"/>
                  </a:cxn>
                  <a:cxn ang="0">
                    <a:pos x="444" y="635"/>
                  </a:cxn>
                </a:cxnLst>
                <a:rect l="0" t="0" r="r" b="b"/>
                <a:pathLst>
                  <a:path w="455" h="818">
                    <a:moveTo>
                      <a:pt x="126" y="139"/>
                    </a:moveTo>
                    <a:cubicBezTo>
                      <a:pt x="126" y="141"/>
                      <a:pt x="126" y="142"/>
                      <a:pt x="125" y="144"/>
                    </a:cubicBezTo>
                    <a:cubicBezTo>
                      <a:pt x="124" y="145"/>
                      <a:pt x="117" y="155"/>
                      <a:pt x="116" y="157"/>
                    </a:cubicBezTo>
                    <a:cubicBezTo>
                      <a:pt x="114" y="159"/>
                      <a:pt x="111" y="160"/>
                      <a:pt x="110" y="163"/>
                    </a:cubicBezTo>
                    <a:cubicBezTo>
                      <a:pt x="106" y="164"/>
                      <a:pt x="109" y="162"/>
                      <a:pt x="109" y="161"/>
                    </a:cubicBezTo>
                    <a:cubicBezTo>
                      <a:pt x="110" y="160"/>
                      <a:pt x="112" y="159"/>
                      <a:pt x="112" y="157"/>
                    </a:cubicBezTo>
                    <a:cubicBezTo>
                      <a:pt x="113" y="154"/>
                      <a:pt x="117" y="148"/>
                      <a:pt x="118" y="147"/>
                    </a:cubicBezTo>
                    <a:cubicBezTo>
                      <a:pt x="119" y="146"/>
                      <a:pt x="119" y="145"/>
                      <a:pt x="120" y="144"/>
                    </a:cubicBezTo>
                    <a:cubicBezTo>
                      <a:pt x="120" y="144"/>
                      <a:pt x="122" y="142"/>
                      <a:pt x="122" y="141"/>
                    </a:cubicBezTo>
                    <a:cubicBezTo>
                      <a:pt x="123" y="140"/>
                      <a:pt x="124" y="139"/>
                      <a:pt x="124" y="138"/>
                    </a:cubicBezTo>
                    <a:cubicBezTo>
                      <a:pt x="126" y="137"/>
                      <a:pt x="126" y="138"/>
                      <a:pt x="126" y="139"/>
                    </a:cubicBezTo>
                    <a:moveTo>
                      <a:pt x="452" y="569"/>
                    </a:moveTo>
                    <a:cubicBezTo>
                      <a:pt x="450" y="566"/>
                      <a:pt x="446" y="568"/>
                      <a:pt x="443" y="567"/>
                    </a:cubicBezTo>
                    <a:cubicBezTo>
                      <a:pt x="441" y="566"/>
                      <a:pt x="441" y="564"/>
                      <a:pt x="440" y="563"/>
                    </a:cubicBezTo>
                    <a:cubicBezTo>
                      <a:pt x="439" y="562"/>
                      <a:pt x="436" y="561"/>
                      <a:pt x="434" y="560"/>
                    </a:cubicBezTo>
                    <a:cubicBezTo>
                      <a:pt x="432" y="559"/>
                      <a:pt x="431" y="559"/>
                      <a:pt x="429" y="558"/>
                    </a:cubicBezTo>
                    <a:cubicBezTo>
                      <a:pt x="427" y="558"/>
                      <a:pt x="425" y="555"/>
                      <a:pt x="422" y="555"/>
                    </a:cubicBezTo>
                    <a:cubicBezTo>
                      <a:pt x="420" y="554"/>
                      <a:pt x="418" y="555"/>
                      <a:pt x="416" y="555"/>
                    </a:cubicBezTo>
                    <a:cubicBezTo>
                      <a:pt x="413" y="556"/>
                      <a:pt x="410" y="555"/>
                      <a:pt x="407" y="555"/>
                    </a:cubicBezTo>
                    <a:cubicBezTo>
                      <a:pt x="402" y="555"/>
                      <a:pt x="398" y="554"/>
                      <a:pt x="393" y="554"/>
                    </a:cubicBezTo>
                    <a:cubicBezTo>
                      <a:pt x="388" y="554"/>
                      <a:pt x="387" y="555"/>
                      <a:pt x="385" y="559"/>
                    </a:cubicBezTo>
                    <a:cubicBezTo>
                      <a:pt x="384" y="561"/>
                      <a:pt x="383" y="562"/>
                      <a:pt x="382" y="563"/>
                    </a:cubicBezTo>
                    <a:cubicBezTo>
                      <a:pt x="380" y="565"/>
                      <a:pt x="380" y="567"/>
                      <a:pt x="378" y="568"/>
                    </a:cubicBezTo>
                    <a:cubicBezTo>
                      <a:pt x="376" y="570"/>
                      <a:pt x="375" y="570"/>
                      <a:pt x="373" y="569"/>
                    </a:cubicBezTo>
                    <a:cubicBezTo>
                      <a:pt x="370" y="568"/>
                      <a:pt x="371" y="565"/>
                      <a:pt x="368" y="563"/>
                    </a:cubicBezTo>
                    <a:cubicBezTo>
                      <a:pt x="366" y="561"/>
                      <a:pt x="364" y="562"/>
                      <a:pt x="364" y="558"/>
                    </a:cubicBezTo>
                    <a:cubicBezTo>
                      <a:pt x="364" y="556"/>
                      <a:pt x="364" y="555"/>
                      <a:pt x="365" y="553"/>
                    </a:cubicBezTo>
                    <a:cubicBezTo>
                      <a:pt x="367" y="550"/>
                      <a:pt x="372" y="551"/>
                      <a:pt x="375" y="549"/>
                    </a:cubicBezTo>
                    <a:cubicBezTo>
                      <a:pt x="377" y="547"/>
                      <a:pt x="377" y="545"/>
                      <a:pt x="378" y="543"/>
                    </a:cubicBezTo>
                    <a:cubicBezTo>
                      <a:pt x="378" y="540"/>
                      <a:pt x="380" y="538"/>
                      <a:pt x="380" y="536"/>
                    </a:cubicBezTo>
                    <a:cubicBezTo>
                      <a:pt x="382" y="532"/>
                      <a:pt x="381" y="528"/>
                      <a:pt x="380" y="524"/>
                    </a:cubicBezTo>
                    <a:cubicBezTo>
                      <a:pt x="379" y="522"/>
                      <a:pt x="379" y="519"/>
                      <a:pt x="378" y="518"/>
                    </a:cubicBezTo>
                    <a:cubicBezTo>
                      <a:pt x="377" y="517"/>
                      <a:pt x="376" y="518"/>
                      <a:pt x="375" y="517"/>
                    </a:cubicBezTo>
                    <a:cubicBezTo>
                      <a:pt x="373" y="517"/>
                      <a:pt x="372" y="514"/>
                      <a:pt x="370" y="513"/>
                    </a:cubicBezTo>
                    <a:cubicBezTo>
                      <a:pt x="368" y="511"/>
                      <a:pt x="368" y="508"/>
                      <a:pt x="367" y="506"/>
                    </a:cubicBezTo>
                    <a:cubicBezTo>
                      <a:pt x="366" y="505"/>
                      <a:pt x="365" y="502"/>
                      <a:pt x="363" y="502"/>
                    </a:cubicBezTo>
                    <a:cubicBezTo>
                      <a:pt x="362" y="501"/>
                      <a:pt x="358" y="501"/>
                      <a:pt x="358" y="499"/>
                    </a:cubicBezTo>
                    <a:cubicBezTo>
                      <a:pt x="360" y="498"/>
                      <a:pt x="365" y="498"/>
                      <a:pt x="367" y="499"/>
                    </a:cubicBezTo>
                    <a:cubicBezTo>
                      <a:pt x="370" y="499"/>
                      <a:pt x="371" y="501"/>
                      <a:pt x="375" y="501"/>
                    </a:cubicBezTo>
                    <a:cubicBezTo>
                      <a:pt x="376" y="498"/>
                      <a:pt x="374" y="498"/>
                      <a:pt x="372" y="497"/>
                    </a:cubicBezTo>
                    <a:cubicBezTo>
                      <a:pt x="371" y="496"/>
                      <a:pt x="370" y="495"/>
                      <a:pt x="369" y="495"/>
                    </a:cubicBezTo>
                    <a:cubicBezTo>
                      <a:pt x="368" y="489"/>
                      <a:pt x="364" y="485"/>
                      <a:pt x="361" y="481"/>
                    </a:cubicBezTo>
                    <a:cubicBezTo>
                      <a:pt x="359" y="476"/>
                      <a:pt x="358" y="470"/>
                      <a:pt x="354" y="466"/>
                    </a:cubicBezTo>
                    <a:cubicBezTo>
                      <a:pt x="352" y="464"/>
                      <a:pt x="350" y="459"/>
                      <a:pt x="349" y="456"/>
                    </a:cubicBezTo>
                    <a:cubicBezTo>
                      <a:pt x="348" y="452"/>
                      <a:pt x="354" y="451"/>
                      <a:pt x="354" y="447"/>
                    </a:cubicBezTo>
                    <a:cubicBezTo>
                      <a:pt x="350" y="445"/>
                      <a:pt x="347" y="443"/>
                      <a:pt x="345" y="439"/>
                    </a:cubicBezTo>
                    <a:cubicBezTo>
                      <a:pt x="344" y="437"/>
                      <a:pt x="343" y="434"/>
                      <a:pt x="341" y="432"/>
                    </a:cubicBezTo>
                    <a:cubicBezTo>
                      <a:pt x="340" y="430"/>
                      <a:pt x="338" y="429"/>
                      <a:pt x="337" y="427"/>
                    </a:cubicBezTo>
                    <a:cubicBezTo>
                      <a:pt x="335" y="424"/>
                      <a:pt x="333" y="419"/>
                      <a:pt x="330" y="417"/>
                    </a:cubicBezTo>
                    <a:cubicBezTo>
                      <a:pt x="327" y="414"/>
                      <a:pt x="323" y="414"/>
                      <a:pt x="319" y="412"/>
                    </a:cubicBezTo>
                    <a:cubicBezTo>
                      <a:pt x="317" y="410"/>
                      <a:pt x="315" y="408"/>
                      <a:pt x="313" y="407"/>
                    </a:cubicBezTo>
                    <a:cubicBezTo>
                      <a:pt x="312" y="406"/>
                      <a:pt x="310" y="406"/>
                      <a:pt x="308" y="405"/>
                    </a:cubicBezTo>
                    <a:cubicBezTo>
                      <a:pt x="306" y="403"/>
                      <a:pt x="304" y="403"/>
                      <a:pt x="304" y="400"/>
                    </a:cubicBezTo>
                    <a:cubicBezTo>
                      <a:pt x="304" y="397"/>
                      <a:pt x="305" y="397"/>
                      <a:pt x="302" y="396"/>
                    </a:cubicBezTo>
                    <a:cubicBezTo>
                      <a:pt x="299" y="396"/>
                      <a:pt x="292" y="397"/>
                      <a:pt x="292" y="392"/>
                    </a:cubicBezTo>
                    <a:cubicBezTo>
                      <a:pt x="291" y="388"/>
                      <a:pt x="293" y="391"/>
                      <a:pt x="295" y="390"/>
                    </a:cubicBezTo>
                    <a:cubicBezTo>
                      <a:pt x="296" y="389"/>
                      <a:pt x="297" y="386"/>
                      <a:pt x="295" y="385"/>
                    </a:cubicBezTo>
                    <a:cubicBezTo>
                      <a:pt x="297" y="385"/>
                      <a:pt x="299" y="382"/>
                      <a:pt x="299" y="380"/>
                    </a:cubicBezTo>
                    <a:cubicBezTo>
                      <a:pt x="299" y="378"/>
                      <a:pt x="297" y="377"/>
                      <a:pt x="295" y="376"/>
                    </a:cubicBezTo>
                    <a:cubicBezTo>
                      <a:pt x="292" y="374"/>
                      <a:pt x="290" y="373"/>
                      <a:pt x="290" y="368"/>
                    </a:cubicBezTo>
                    <a:cubicBezTo>
                      <a:pt x="290" y="364"/>
                      <a:pt x="292" y="360"/>
                      <a:pt x="288" y="357"/>
                    </a:cubicBezTo>
                    <a:cubicBezTo>
                      <a:pt x="286" y="356"/>
                      <a:pt x="284" y="356"/>
                      <a:pt x="282" y="358"/>
                    </a:cubicBezTo>
                    <a:cubicBezTo>
                      <a:pt x="282" y="359"/>
                      <a:pt x="282" y="359"/>
                      <a:pt x="280" y="360"/>
                    </a:cubicBezTo>
                    <a:cubicBezTo>
                      <a:pt x="281" y="359"/>
                      <a:pt x="282" y="358"/>
                      <a:pt x="282" y="358"/>
                    </a:cubicBezTo>
                    <a:cubicBezTo>
                      <a:pt x="284" y="353"/>
                      <a:pt x="279" y="343"/>
                      <a:pt x="278" y="341"/>
                    </a:cubicBezTo>
                    <a:cubicBezTo>
                      <a:pt x="277" y="338"/>
                      <a:pt x="276" y="336"/>
                      <a:pt x="276" y="332"/>
                    </a:cubicBezTo>
                    <a:cubicBezTo>
                      <a:pt x="276" y="327"/>
                      <a:pt x="277" y="324"/>
                      <a:pt x="283" y="328"/>
                    </a:cubicBezTo>
                    <a:cubicBezTo>
                      <a:pt x="279" y="323"/>
                      <a:pt x="277" y="318"/>
                      <a:pt x="274" y="312"/>
                    </a:cubicBezTo>
                    <a:cubicBezTo>
                      <a:pt x="272" y="310"/>
                      <a:pt x="272" y="310"/>
                      <a:pt x="270" y="309"/>
                    </a:cubicBezTo>
                    <a:cubicBezTo>
                      <a:pt x="268" y="308"/>
                      <a:pt x="267" y="308"/>
                      <a:pt x="267" y="306"/>
                    </a:cubicBezTo>
                    <a:cubicBezTo>
                      <a:pt x="266" y="303"/>
                      <a:pt x="269" y="302"/>
                      <a:pt x="266" y="300"/>
                    </a:cubicBezTo>
                    <a:cubicBezTo>
                      <a:pt x="265" y="299"/>
                      <a:pt x="262" y="298"/>
                      <a:pt x="260" y="298"/>
                    </a:cubicBezTo>
                    <a:cubicBezTo>
                      <a:pt x="256" y="297"/>
                      <a:pt x="251" y="294"/>
                      <a:pt x="250" y="290"/>
                    </a:cubicBezTo>
                    <a:cubicBezTo>
                      <a:pt x="249" y="286"/>
                      <a:pt x="252" y="283"/>
                      <a:pt x="252" y="279"/>
                    </a:cubicBezTo>
                    <a:cubicBezTo>
                      <a:pt x="251" y="277"/>
                      <a:pt x="250" y="275"/>
                      <a:pt x="249" y="273"/>
                    </a:cubicBezTo>
                    <a:cubicBezTo>
                      <a:pt x="248" y="273"/>
                      <a:pt x="245" y="271"/>
                      <a:pt x="243" y="271"/>
                    </a:cubicBezTo>
                    <a:cubicBezTo>
                      <a:pt x="239" y="271"/>
                      <a:pt x="239" y="277"/>
                      <a:pt x="233" y="273"/>
                    </a:cubicBezTo>
                    <a:cubicBezTo>
                      <a:pt x="233" y="273"/>
                      <a:pt x="233" y="272"/>
                      <a:pt x="232" y="272"/>
                    </a:cubicBezTo>
                    <a:cubicBezTo>
                      <a:pt x="231" y="271"/>
                      <a:pt x="229" y="271"/>
                      <a:pt x="229" y="271"/>
                    </a:cubicBezTo>
                    <a:cubicBezTo>
                      <a:pt x="227" y="270"/>
                      <a:pt x="227" y="267"/>
                      <a:pt x="224" y="268"/>
                    </a:cubicBezTo>
                    <a:cubicBezTo>
                      <a:pt x="225" y="272"/>
                      <a:pt x="222" y="269"/>
                      <a:pt x="221" y="268"/>
                    </a:cubicBezTo>
                    <a:cubicBezTo>
                      <a:pt x="220" y="266"/>
                      <a:pt x="220" y="266"/>
                      <a:pt x="217" y="266"/>
                    </a:cubicBezTo>
                    <a:cubicBezTo>
                      <a:pt x="214" y="266"/>
                      <a:pt x="209" y="265"/>
                      <a:pt x="207" y="268"/>
                    </a:cubicBezTo>
                    <a:cubicBezTo>
                      <a:pt x="207" y="269"/>
                      <a:pt x="208" y="271"/>
                      <a:pt x="206" y="272"/>
                    </a:cubicBezTo>
                    <a:cubicBezTo>
                      <a:pt x="204" y="273"/>
                      <a:pt x="203" y="271"/>
                      <a:pt x="202" y="270"/>
                    </a:cubicBezTo>
                    <a:cubicBezTo>
                      <a:pt x="198" y="270"/>
                      <a:pt x="195" y="274"/>
                      <a:pt x="192" y="275"/>
                    </a:cubicBezTo>
                    <a:cubicBezTo>
                      <a:pt x="190" y="276"/>
                      <a:pt x="187" y="275"/>
                      <a:pt x="185" y="274"/>
                    </a:cubicBezTo>
                    <a:cubicBezTo>
                      <a:pt x="184" y="274"/>
                      <a:pt x="183" y="274"/>
                      <a:pt x="183" y="274"/>
                    </a:cubicBezTo>
                    <a:cubicBezTo>
                      <a:pt x="182" y="274"/>
                      <a:pt x="181" y="273"/>
                      <a:pt x="180" y="272"/>
                    </a:cubicBezTo>
                    <a:cubicBezTo>
                      <a:pt x="177" y="270"/>
                      <a:pt x="174" y="271"/>
                      <a:pt x="170" y="270"/>
                    </a:cubicBezTo>
                    <a:cubicBezTo>
                      <a:pt x="167" y="270"/>
                      <a:pt x="163" y="270"/>
                      <a:pt x="160" y="269"/>
                    </a:cubicBezTo>
                    <a:cubicBezTo>
                      <a:pt x="158" y="269"/>
                      <a:pt x="156" y="268"/>
                      <a:pt x="154" y="268"/>
                    </a:cubicBezTo>
                    <a:cubicBezTo>
                      <a:pt x="152" y="268"/>
                      <a:pt x="152" y="269"/>
                      <a:pt x="150" y="269"/>
                    </a:cubicBezTo>
                    <a:cubicBezTo>
                      <a:pt x="149" y="268"/>
                      <a:pt x="149" y="268"/>
                      <a:pt x="150" y="267"/>
                    </a:cubicBezTo>
                    <a:cubicBezTo>
                      <a:pt x="156" y="266"/>
                      <a:pt x="163" y="267"/>
                      <a:pt x="170" y="267"/>
                    </a:cubicBezTo>
                    <a:cubicBezTo>
                      <a:pt x="173" y="267"/>
                      <a:pt x="176" y="267"/>
                      <a:pt x="179" y="267"/>
                    </a:cubicBezTo>
                    <a:cubicBezTo>
                      <a:pt x="182" y="267"/>
                      <a:pt x="185" y="268"/>
                      <a:pt x="188" y="268"/>
                    </a:cubicBezTo>
                    <a:cubicBezTo>
                      <a:pt x="188" y="264"/>
                      <a:pt x="191" y="266"/>
                      <a:pt x="193" y="265"/>
                    </a:cubicBezTo>
                    <a:cubicBezTo>
                      <a:pt x="196" y="264"/>
                      <a:pt x="194" y="261"/>
                      <a:pt x="195" y="258"/>
                    </a:cubicBezTo>
                    <a:cubicBezTo>
                      <a:pt x="196" y="256"/>
                      <a:pt x="200" y="256"/>
                      <a:pt x="202" y="255"/>
                    </a:cubicBezTo>
                    <a:cubicBezTo>
                      <a:pt x="204" y="254"/>
                      <a:pt x="205" y="254"/>
                      <a:pt x="206" y="253"/>
                    </a:cubicBezTo>
                    <a:cubicBezTo>
                      <a:pt x="207" y="252"/>
                      <a:pt x="208" y="251"/>
                      <a:pt x="210" y="251"/>
                    </a:cubicBezTo>
                    <a:cubicBezTo>
                      <a:pt x="210" y="252"/>
                      <a:pt x="210" y="253"/>
                      <a:pt x="210" y="254"/>
                    </a:cubicBezTo>
                    <a:cubicBezTo>
                      <a:pt x="212" y="255"/>
                      <a:pt x="214" y="254"/>
                      <a:pt x="216" y="254"/>
                    </a:cubicBezTo>
                    <a:cubicBezTo>
                      <a:pt x="216" y="252"/>
                      <a:pt x="216" y="249"/>
                      <a:pt x="217" y="247"/>
                    </a:cubicBezTo>
                    <a:cubicBezTo>
                      <a:pt x="218" y="243"/>
                      <a:pt x="222" y="243"/>
                      <a:pt x="225" y="243"/>
                    </a:cubicBezTo>
                    <a:cubicBezTo>
                      <a:pt x="228" y="243"/>
                      <a:pt x="230" y="243"/>
                      <a:pt x="232" y="241"/>
                    </a:cubicBezTo>
                    <a:cubicBezTo>
                      <a:pt x="234" y="239"/>
                      <a:pt x="233" y="237"/>
                      <a:pt x="230" y="236"/>
                    </a:cubicBezTo>
                    <a:cubicBezTo>
                      <a:pt x="227" y="236"/>
                      <a:pt x="226" y="237"/>
                      <a:pt x="224" y="237"/>
                    </a:cubicBezTo>
                    <a:cubicBezTo>
                      <a:pt x="221" y="237"/>
                      <a:pt x="219" y="234"/>
                      <a:pt x="217" y="233"/>
                    </a:cubicBezTo>
                    <a:cubicBezTo>
                      <a:pt x="215" y="232"/>
                      <a:pt x="213" y="231"/>
                      <a:pt x="212" y="230"/>
                    </a:cubicBezTo>
                    <a:cubicBezTo>
                      <a:pt x="210" y="228"/>
                      <a:pt x="212" y="225"/>
                      <a:pt x="209" y="224"/>
                    </a:cubicBezTo>
                    <a:cubicBezTo>
                      <a:pt x="213" y="223"/>
                      <a:pt x="215" y="219"/>
                      <a:pt x="220" y="219"/>
                    </a:cubicBezTo>
                    <a:cubicBezTo>
                      <a:pt x="221" y="219"/>
                      <a:pt x="222" y="219"/>
                      <a:pt x="223" y="219"/>
                    </a:cubicBezTo>
                    <a:cubicBezTo>
                      <a:pt x="224" y="219"/>
                      <a:pt x="224" y="217"/>
                      <a:pt x="225" y="217"/>
                    </a:cubicBezTo>
                    <a:cubicBezTo>
                      <a:pt x="225" y="216"/>
                      <a:pt x="226" y="216"/>
                      <a:pt x="227" y="216"/>
                    </a:cubicBezTo>
                    <a:cubicBezTo>
                      <a:pt x="228" y="215"/>
                      <a:pt x="230" y="210"/>
                      <a:pt x="230" y="209"/>
                    </a:cubicBezTo>
                    <a:cubicBezTo>
                      <a:pt x="231" y="205"/>
                      <a:pt x="230" y="202"/>
                      <a:pt x="227" y="201"/>
                    </a:cubicBezTo>
                    <a:cubicBezTo>
                      <a:pt x="227" y="198"/>
                      <a:pt x="228" y="196"/>
                      <a:pt x="230" y="195"/>
                    </a:cubicBezTo>
                    <a:cubicBezTo>
                      <a:pt x="231" y="194"/>
                      <a:pt x="232" y="194"/>
                      <a:pt x="233" y="194"/>
                    </a:cubicBezTo>
                    <a:cubicBezTo>
                      <a:pt x="235" y="193"/>
                      <a:pt x="235" y="192"/>
                      <a:pt x="237" y="191"/>
                    </a:cubicBezTo>
                    <a:cubicBezTo>
                      <a:pt x="239" y="190"/>
                      <a:pt x="240" y="188"/>
                      <a:pt x="242" y="186"/>
                    </a:cubicBezTo>
                    <a:cubicBezTo>
                      <a:pt x="245" y="183"/>
                      <a:pt x="247" y="183"/>
                      <a:pt x="246" y="179"/>
                    </a:cubicBezTo>
                    <a:cubicBezTo>
                      <a:pt x="246" y="177"/>
                      <a:pt x="245" y="174"/>
                      <a:pt x="245" y="172"/>
                    </a:cubicBezTo>
                    <a:cubicBezTo>
                      <a:pt x="246" y="169"/>
                      <a:pt x="248" y="169"/>
                      <a:pt x="250" y="167"/>
                    </a:cubicBezTo>
                    <a:cubicBezTo>
                      <a:pt x="251" y="164"/>
                      <a:pt x="250" y="151"/>
                      <a:pt x="246" y="155"/>
                    </a:cubicBezTo>
                    <a:cubicBezTo>
                      <a:pt x="249" y="154"/>
                      <a:pt x="251" y="151"/>
                      <a:pt x="252" y="149"/>
                    </a:cubicBezTo>
                    <a:cubicBezTo>
                      <a:pt x="253" y="145"/>
                      <a:pt x="255" y="145"/>
                      <a:pt x="258" y="142"/>
                    </a:cubicBezTo>
                    <a:cubicBezTo>
                      <a:pt x="261" y="140"/>
                      <a:pt x="265" y="138"/>
                      <a:pt x="266" y="134"/>
                    </a:cubicBezTo>
                    <a:cubicBezTo>
                      <a:pt x="266" y="130"/>
                      <a:pt x="266" y="126"/>
                      <a:pt x="266" y="123"/>
                    </a:cubicBezTo>
                    <a:cubicBezTo>
                      <a:pt x="266" y="120"/>
                      <a:pt x="267" y="115"/>
                      <a:pt x="266" y="112"/>
                    </a:cubicBezTo>
                    <a:cubicBezTo>
                      <a:pt x="264" y="109"/>
                      <a:pt x="261" y="107"/>
                      <a:pt x="258" y="106"/>
                    </a:cubicBezTo>
                    <a:cubicBezTo>
                      <a:pt x="257" y="106"/>
                      <a:pt x="254" y="104"/>
                      <a:pt x="253" y="104"/>
                    </a:cubicBezTo>
                    <a:cubicBezTo>
                      <a:pt x="252" y="102"/>
                      <a:pt x="252" y="100"/>
                      <a:pt x="250" y="100"/>
                    </a:cubicBezTo>
                    <a:cubicBezTo>
                      <a:pt x="247" y="99"/>
                      <a:pt x="243" y="103"/>
                      <a:pt x="242" y="105"/>
                    </a:cubicBezTo>
                    <a:cubicBezTo>
                      <a:pt x="238" y="106"/>
                      <a:pt x="236" y="104"/>
                      <a:pt x="232" y="106"/>
                    </a:cubicBezTo>
                    <a:cubicBezTo>
                      <a:pt x="231" y="107"/>
                      <a:pt x="230" y="108"/>
                      <a:pt x="228" y="108"/>
                    </a:cubicBezTo>
                    <a:cubicBezTo>
                      <a:pt x="228" y="107"/>
                      <a:pt x="227" y="106"/>
                      <a:pt x="226" y="105"/>
                    </a:cubicBezTo>
                    <a:cubicBezTo>
                      <a:pt x="225" y="105"/>
                      <a:pt x="225" y="105"/>
                      <a:pt x="224" y="105"/>
                    </a:cubicBezTo>
                    <a:cubicBezTo>
                      <a:pt x="222" y="104"/>
                      <a:pt x="222" y="102"/>
                      <a:pt x="220" y="102"/>
                    </a:cubicBezTo>
                    <a:cubicBezTo>
                      <a:pt x="219" y="101"/>
                      <a:pt x="215" y="102"/>
                      <a:pt x="213" y="102"/>
                    </a:cubicBezTo>
                    <a:cubicBezTo>
                      <a:pt x="210" y="102"/>
                      <a:pt x="206" y="101"/>
                      <a:pt x="203" y="102"/>
                    </a:cubicBezTo>
                    <a:cubicBezTo>
                      <a:pt x="202" y="107"/>
                      <a:pt x="197" y="105"/>
                      <a:pt x="194" y="104"/>
                    </a:cubicBezTo>
                    <a:cubicBezTo>
                      <a:pt x="191" y="101"/>
                      <a:pt x="188" y="99"/>
                      <a:pt x="184" y="99"/>
                    </a:cubicBezTo>
                    <a:cubicBezTo>
                      <a:pt x="182" y="99"/>
                      <a:pt x="177" y="99"/>
                      <a:pt x="176" y="101"/>
                    </a:cubicBezTo>
                    <a:cubicBezTo>
                      <a:pt x="174" y="103"/>
                      <a:pt x="175" y="105"/>
                      <a:pt x="174" y="106"/>
                    </a:cubicBezTo>
                    <a:cubicBezTo>
                      <a:pt x="173" y="107"/>
                      <a:pt x="171" y="106"/>
                      <a:pt x="169" y="106"/>
                    </a:cubicBezTo>
                    <a:cubicBezTo>
                      <a:pt x="167" y="107"/>
                      <a:pt x="165" y="108"/>
                      <a:pt x="162" y="109"/>
                    </a:cubicBezTo>
                    <a:cubicBezTo>
                      <a:pt x="161" y="110"/>
                      <a:pt x="159" y="111"/>
                      <a:pt x="157" y="112"/>
                    </a:cubicBezTo>
                    <a:cubicBezTo>
                      <a:pt x="157" y="113"/>
                      <a:pt x="157" y="113"/>
                      <a:pt x="157" y="114"/>
                    </a:cubicBezTo>
                    <a:cubicBezTo>
                      <a:pt x="157" y="114"/>
                      <a:pt x="157" y="115"/>
                      <a:pt x="156" y="115"/>
                    </a:cubicBezTo>
                    <a:cubicBezTo>
                      <a:pt x="156" y="115"/>
                      <a:pt x="153" y="117"/>
                      <a:pt x="153" y="117"/>
                    </a:cubicBezTo>
                    <a:cubicBezTo>
                      <a:pt x="150" y="117"/>
                      <a:pt x="147" y="116"/>
                      <a:pt x="144" y="117"/>
                    </a:cubicBezTo>
                    <a:cubicBezTo>
                      <a:pt x="142" y="118"/>
                      <a:pt x="143" y="118"/>
                      <a:pt x="141" y="120"/>
                    </a:cubicBezTo>
                    <a:cubicBezTo>
                      <a:pt x="140" y="122"/>
                      <a:pt x="139" y="122"/>
                      <a:pt x="136" y="123"/>
                    </a:cubicBezTo>
                    <a:cubicBezTo>
                      <a:pt x="134" y="125"/>
                      <a:pt x="134" y="126"/>
                      <a:pt x="132" y="128"/>
                    </a:cubicBezTo>
                    <a:cubicBezTo>
                      <a:pt x="130" y="129"/>
                      <a:pt x="129" y="132"/>
                      <a:pt x="130" y="128"/>
                    </a:cubicBezTo>
                    <a:cubicBezTo>
                      <a:pt x="131" y="127"/>
                      <a:pt x="132" y="125"/>
                      <a:pt x="131" y="126"/>
                    </a:cubicBezTo>
                    <a:cubicBezTo>
                      <a:pt x="132" y="125"/>
                      <a:pt x="132" y="125"/>
                      <a:pt x="132" y="124"/>
                    </a:cubicBezTo>
                    <a:cubicBezTo>
                      <a:pt x="133" y="123"/>
                      <a:pt x="134" y="122"/>
                      <a:pt x="135" y="121"/>
                    </a:cubicBezTo>
                    <a:cubicBezTo>
                      <a:pt x="136" y="120"/>
                      <a:pt x="136" y="120"/>
                      <a:pt x="137" y="119"/>
                    </a:cubicBezTo>
                    <a:cubicBezTo>
                      <a:pt x="137" y="118"/>
                      <a:pt x="138" y="118"/>
                      <a:pt x="139" y="117"/>
                    </a:cubicBezTo>
                    <a:cubicBezTo>
                      <a:pt x="141" y="115"/>
                      <a:pt x="143" y="111"/>
                      <a:pt x="145" y="109"/>
                    </a:cubicBezTo>
                    <a:cubicBezTo>
                      <a:pt x="145" y="108"/>
                      <a:pt x="146" y="108"/>
                      <a:pt x="146" y="107"/>
                    </a:cubicBezTo>
                    <a:cubicBezTo>
                      <a:pt x="146" y="106"/>
                      <a:pt x="143" y="105"/>
                      <a:pt x="142" y="105"/>
                    </a:cubicBezTo>
                    <a:cubicBezTo>
                      <a:pt x="139" y="104"/>
                      <a:pt x="136" y="107"/>
                      <a:pt x="134" y="108"/>
                    </a:cubicBezTo>
                    <a:cubicBezTo>
                      <a:pt x="132" y="109"/>
                      <a:pt x="130" y="111"/>
                      <a:pt x="128" y="112"/>
                    </a:cubicBezTo>
                    <a:cubicBezTo>
                      <a:pt x="128" y="113"/>
                      <a:pt x="127" y="113"/>
                      <a:pt x="127" y="114"/>
                    </a:cubicBezTo>
                    <a:cubicBezTo>
                      <a:pt x="125" y="114"/>
                      <a:pt x="124" y="114"/>
                      <a:pt x="125" y="112"/>
                    </a:cubicBezTo>
                    <a:cubicBezTo>
                      <a:pt x="126" y="111"/>
                      <a:pt x="127" y="110"/>
                      <a:pt x="128" y="108"/>
                    </a:cubicBezTo>
                    <a:cubicBezTo>
                      <a:pt x="129" y="107"/>
                      <a:pt x="130" y="106"/>
                      <a:pt x="132" y="105"/>
                    </a:cubicBezTo>
                    <a:cubicBezTo>
                      <a:pt x="135" y="103"/>
                      <a:pt x="138" y="102"/>
                      <a:pt x="141" y="101"/>
                    </a:cubicBezTo>
                    <a:cubicBezTo>
                      <a:pt x="142" y="100"/>
                      <a:pt x="143" y="100"/>
                      <a:pt x="144" y="100"/>
                    </a:cubicBezTo>
                    <a:cubicBezTo>
                      <a:pt x="146" y="100"/>
                      <a:pt x="145" y="102"/>
                      <a:pt x="146" y="102"/>
                    </a:cubicBezTo>
                    <a:cubicBezTo>
                      <a:pt x="147" y="103"/>
                      <a:pt x="147" y="103"/>
                      <a:pt x="148" y="103"/>
                    </a:cubicBezTo>
                    <a:cubicBezTo>
                      <a:pt x="149" y="102"/>
                      <a:pt x="150" y="102"/>
                      <a:pt x="150" y="101"/>
                    </a:cubicBezTo>
                    <a:cubicBezTo>
                      <a:pt x="151" y="98"/>
                      <a:pt x="152" y="96"/>
                      <a:pt x="154" y="94"/>
                    </a:cubicBezTo>
                    <a:cubicBezTo>
                      <a:pt x="155" y="92"/>
                      <a:pt x="157" y="90"/>
                      <a:pt x="159" y="88"/>
                    </a:cubicBezTo>
                    <a:cubicBezTo>
                      <a:pt x="160" y="87"/>
                      <a:pt x="161" y="86"/>
                      <a:pt x="161" y="85"/>
                    </a:cubicBezTo>
                    <a:cubicBezTo>
                      <a:pt x="159" y="85"/>
                      <a:pt x="158" y="87"/>
                      <a:pt x="157" y="88"/>
                    </a:cubicBezTo>
                    <a:cubicBezTo>
                      <a:pt x="157" y="89"/>
                      <a:pt x="156" y="89"/>
                      <a:pt x="155" y="89"/>
                    </a:cubicBezTo>
                    <a:cubicBezTo>
                      <a:pt x="154" y="90"/>
                      <a:pt x="153" y="89"/>
                      <a:pt x="152" y="89"/>
                    </a:cubicBezTo>
                    <a:cubicBezTo>
                      <a:pt x="150" y="89"/>
                      <a:pt x="148" y="87"/>
                      <a:pt x="147" y="88"/>
                    </a:cubicBezTo>
                    <a:cubicBezTo>
                      <a:pt x="145" y="88"/>
                      <a:pt x="143" y="90"/>
                      <a:pt x="141" y="89"/>
                    </a:cubicBezTo>
                    <a:cubicBezTo>
                      <a:pt x="139" y="89"/>
                      <a:pt x="138" y="88"/>
                      <a:pt x="136" y="87"/>
                    </a:cubicBezTo>
                    <a:cubicBezTo>
                      <a:pt x="134" y="85"/>
                      <a:pt x="131" y="85"/>
                      <a:pt x="129" y="85"/>
                    </a:cubicBezTo>
                    <a:cubicBezTo>
                      <a:pt x="128" y="85"/>
                      <a:pt x="123" y="86"/>
                      <a:pt x="123" y="84"/>
                    </a:cubicBezTo>
                    <a:cubicBezTo>
                      <a:pt x="124" y="83"/>
                      <a:pt x="128" y="83"/>
                      <a:pt x="130" y="83"/>
                    </a:cubicBezTo>
                    <a:cubicBezTo>
                      <a:pt x="131" y="83"/>
                      <a:pt x="132" y="84"/>
                      <a:pt x="133" y="84"/>
                    </a:cubicBezTo>
                    <a:cubicBezTo>
                      <a:pt x="135" y="84"/>
                      <a:pt x="139" y="83"/>
                      <a:pt x="141" y="84"/>
                    </a:cubicBezTo>
                    <a:cubicBezTo>
                      <a:pt x="143" y="84"/>
                      <a:pt x="144" y="85"/>
                      <a:pt x="146" y="84"/>
                    </a:cubicBezTo>
                    <a:cubicBezTo>
                      <a:pt x="147" y="84"/>
                      <a:pt x="147" y="83"/>
                      <a:pt x="147" y="81"/>
                    </a:cubicBezTo>
                    <a:cubicBezTo>
                      <a:pt x="147" y="80"/>
                      <a:pt x="147" y="79"/>
                      <a:pt x="148" y="78"/>
                    </a:cubicBezTo>
                    <a:cubicBezTo>
                      <a:pt x="148" y="77"/>
                      <a:pt x="149" y="76"/>
                      <a:pt x="150" y="76"/>
                    </a:cubicBezTo>
                    <a:cubicBezTo>
                      <a:pt x="152" y="75"/>
                      <a:pt x="154" y="74"/>
                      <a:pt x="155" y="73"/>
                    </a:cubicBezTo>
                    <a:cubicBezTo>
                      <a:pt x="156" y="72"/>
                      <a:pt x="156" y="73"/>
                      <a:pt x="156" y="72"/>
                    </a:cubicBezTo>
                    <a:cubicBezTo>
                      <a:pt x="157" y="72"/>
                      <a:pt x="157" y="71"/>
                      <a:pt x="157" y="71"/>
                    </a:cubicBezTo>
                    <a:cubicBezTo>
                      <a:pt x="157" y="70"/>
                      <a:pt x="157" y="70"/>
                      <a:pt x="158" y="69"/>
                    </a:cubicBezTo>
                    <a:cubicBezTo>
                      <a:pt x="158" y="68"/>
                      <a:pt x="159" y="68"/>
                      <a:pt x="159" y="68"/>
                    </a:cubicBezTo>
                    <a:cubicBezTo>
                      <a:pt x="160" y="67"/>
                      <a:pt x="161" y="66"/>
                      <a:pt x="161" y="65"/>
                    </a:cubicBezTo>
                    <a:cubicBezTo>
                      <a:pt x="162" y="64"/>
                      <a:pt x="164" y="63"/>
                      <a:pt x="164" y="62"/>
                    </a:cubicBezTo>
                    <a:cubicBezTo>
                      <a:pt x="166" y="61"/>
                      <a:pt x="166" y="59"/>
                      <a:pt x="168" y="58"/>
                    </a:cubicBezTo>
                    <a:cubicBezTo>
                      <a:pt x="168" y="58"/>
                      <a:pt x="169" y="58"/>
                      <a:pt x="169" y="58"/>
                    </a:cubicBezTo>
                    <a:cubicBezTo>
                      <a:pt x="170" y="57"/>
                      <a:pt x="169" y="57"/>
                      <a:pt x="170" y="57"/>
                    </a:cubicBezTo>
                    <a:cubicBezTo>
                      <a:pt x="170" y="56"/>
                      <a:pt x="171" y="56"/>
                      <a:pt x="172" y="56"/>
                    </a:cubicBezTo>
                    <a:cubicBezTo>
                      <a:pt x="175" y="54"/>
                      <a:pt x="177" y="53"/>
                      <a:pt x="179" y="50"/>
                    </a:cubicBezTo>
                    <a:cubicBezTo>
                      <a:pt x="180" y="48"/>
                      <a:pt x="180" y="47"/>
                      <a:pt x="181" y="45"/>
                    </a:cubicBezTo>
                    <a:cubicBezTo>
                      <a:pt x="182" y="45"/>
                      <a:pt x="182" y="44"/>
                      <a:pt x="182" y="43"/>
                    </a:cubicBezTo>
                    <a:cubicBezTo>
                      <a:pt x="183" y="43"/>
                      <a:pt x="186" y="44"/>
                      <a:pt x="187" y="43"/>
                    </a:cubicBezTo>
                    <a:cubicBezTo>
                      <a:pt x="187" y="42"/>
                      <a:pt x="187" y="42"/>
                      <a:pt x="188" y="41"/>
                    </a:cubicBezTo>
                    <a:cubicBezTo>
                      <a:pt x="188" y="40"/>
                      <a:pt x="190" y="40"/>
                      <a:pt x="190" y="39"/>
                    </a:cubicBezTo>
                    <a:cubicBezTo>
                      <a:pt x="191" y="38"/>
                      <a:pt x="191" y="37"/>
                      <a:pt x="192" y="36"/>
                    </a:cubicBezTo>
                    <a:cubicBezTo>
                      <a:pt x="192" y="35"/>
                      <a:pt x="193" y="35"/>
                      <a:pt x="194" y="34"/>
                    </a:cubicBezTo>
                    <a:cubicBezTo>
                      <a:pt x="194" y="33"/>
                      <a:pt x="195" y="32"/>
                      <a:pt x="195" y="31"/>
                    </a:cubicBezTo>
                    <a:cubicBezTo>
                      <a:pt x="196" y="30"/>
                      <a:pt x="197" y="30"/>
                      <a:pt x="197" y="29"/>
                    </a:cubicBezTo>
                    <a:cubicBezTo>
                      <a:pt x="197" y="28"/>
                      <a:pt x="197" y="28"/>
                      <a:pt x="198" y="27"/>
                    </a:cubicBezTo>
                    <a:cubicBezTo>
                      <a:pt x="198" y="26"/>
                      <a:pt x="198" y="26"/>
                      <a:pt x="199" y="25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8" y="23"/>
                      <a:pt x="195" y="23"/>
                      <a:pt x="194" y="22"/>
                    </a:cubicBezTo>
                    <a:cubicBezTo>
                      <a:pt x="194" y="22"/>
                      <a:pt x="194" y="21"/>
                      <a:pt x="193" y="21"/>
                    </a:cubicBezTo>
                    <a:cubicBezTo>
                      <a:pt x="193" y="20"/>
                      <a:pt x="193" y="20"/>
                      <a:pt x="192" y="19"/>
                    </a:cubicBezTo>
                    <a:cubicBezTo>
                      <a:pt x="192" y="18"/>
                      <a:pt x="193" y="17"/>
                      <a:pt x="194" y="15"/>
                    </a:cubicBezTo>
                    <a:cubicBezTo>
                      <a:pt x="195" y="15"/>
                      <a:pt x="195" y="14"/>
                      <a:pt x="196" y="13"/>
                    </a:cubicBezTo>
                    <a:cubicBezTo>
                      <a:pt x="196" y="13"/>
                      <a:pt x="197" y="13"/>
                      <a:pt x="198" y="12"/>
                    </a:cubicBezTo>
                    <a:cubicBezTo>
                      <a:pt x="198" y="12"/>
                      <a:pt x="198" y="11"/>
                      <a:pt x="199" y="11"/>
                    </a:cubicBezTo>
                    <a:cubicBezTo>
                      <a:pt x="200" y="9"/>
                      <a:pt x="202" y="8"/>
                      <a:pt x="201" y="6"/>
                    </a:cubicBezTo>
                    <a:cubicBezTo>
                      <a:pt x="201" y="6"/>
                      <a:pt x="199" y="5"/>
                      <a:pt x="199" y="4"/>
                    </a:cubicBezTo>
                    <a:cubicBezTo>
                      <a:pt x="198" y="4"/>
                      <a:pt x="197" y="4"/>
                      <a:pt x="196" y="4"/>
                    </a:cubicBezTo>
                    <a:cubicBezTo>
                      <a:pt x="195" y="4"/>
                      <a:pt x="194" y="3"/>
                      <a:pt x="193" y="4"/>
                    </a:cubicBezTo>
                    <a:cubicBezTo>
                      <a:pt x="193" y="4"/>
                      <a:pt x="192" y="5"/>
                      <a:pt x="191" y="5"/>
                    </a:cubicBezTo>
                    <a:cubicBezTo>
                      <a:pt x="191" y="5"/>
                      <a:pt x="190" y="4"/>
                      <a:pt x="189" y="4"/>
                    </a:cubicBezTo>
                    <a:cubicBezTo>
                      <a:pt x="188" y="4"/>
                      <a:pt x="188" y="4"/>
                      <a:pt x="187" y="4"/>
                    </a:cubicBezTo>
                    <a:cubicBezTo>
                      <a:pt x="186" y="4"/>
                      <a:pt x="186" y="4"/>
                      <a:pt x="185" y="4"/>
                    </a:cubicBezTo>
                    <a:cubicBezTo>
                      <a:pt x="184" y="4"/>
                      <a:pt x="184" y="3"/>
                      <a:pt x="183" y="3"/>
                    </a:cubicBezTo>
                    <a:cubicBezTo>
                      <a:pt x="183" y="3"/>
                      <a:pt x="182" y="3"/>
                      <a:pt x="182" y="3"/>
                    </a:cubicBezTo>
                    <a:cubicBezTo>
                      <a:pt x="182" y="2"/>
                      <a:pt x="181" y="2"/>
                      <a:pt x="181" y="2"/>
                    </a:cubicBezTo>
                    <a:cubicBezTo>
                      <a:pt x="181" y="1"/>
                      <a:pt x="181" y="0"/>
                      <a:pt x="180" y="1"/>
                    </a:cubicBezTo>
                    <a:cubicBezTo>
                      <a:pt x="179" y="1"/>
                      <a:pt x="179" y="4"/>
                      <a:pt x="179" y="5"/>
                    </a:cubicBezTo>
                    <a:cubicBezTo>
                      <a:pt x="180" y="7"/>
                      <a:pt x="182" y="5"/>
                      <a:pt x="183" y="7"/>
                    </a:cubicBezTo>
                    <a:cubicBezTo>
                      <a:pt x="184" y="8"/>
                      <a:pt x="180" y="10"/>
                      <a:pt x="179" y="11"/>
                    </a:cubicBezTo>
                    <a:cubicBezTo>
                      <a:pt x="178" y="11"/>
                      <a:pt x="176" y="11"/>
                      <a:pt x="175" y="11"/>
                    </a:cubicBezTo>
                    <a:cubicBezTo>
                      <a:pt x="173" y="10"/>
                      <a:pt x="169" y="6"/>
                      <a:pt x="167" y="9"/>
                    </a:cubicBezTo>
                    <a:cubicBezTo>
                      <a:pt x="166" y="9"/>
                      <a:pt x="164" y="9"/>
                      <a:pt x="163" y="10"/>
                    </a:cubicBezTo>
                    <a:cubicBezTo>
                      <a:pt x="162" y="11"/>
                      <a:pt x="162" y="12"/>
                      <a:pt x="162" y="12"/>
                    </a:cubicBezTo>
                    <a:cubicBezTo>
                      <a:pt x="160" y="13"/>
                      <a:pt x="157" y="12"/>
                      <a:pt x="156" y="12"/>
                    </a:cubicBezTo>
                    <a:cubicBezTo>
                      <a:pt x="154" y="13"/>
                      <a:pt x="152" y="13"/>
                      <a:pt x="151" y="13"/>
                    </a:cubicBezTo>
                    <a:cubicBezTo>
                      <a:pt x="149" y="13"/>
                      <a:pt x="149" y="11"/>
                      <a:pt x="147" y="11"/>
                    </a:cubicBezTo>
                    <a:cubicBezTo>
                      <a:pt x="146" y="11"/>
                      <a:pt x="146" y="11"/>
                      <a:pt x="145" y="12"/>
                    </a:cubicBezTo>
                    <a:cubicBezTo>
                      <a:pt x="143" y="13"/>
                      <a:pt x="142" y="12"/>
                      <a:pt x="141" y="13"/>
                    </a:cubicBezTo>
                    <a:cubicBezTo>
                      <a:pt x="140" y="13"/>
                      <a:pt x="139" y="13"/>
                      <a:pt x="139" y="13"/>
                    </a:cubicBezTo>
                    <a:cubicBezTo>
                      <a:pt x="139" y="14"/>
                      <a:pt x="139" y="14"/>
                      <a:pt x="139" y="15"/>
                    </a:cubicBezTo>
                    <a:cubicBezTo>
                      <a:pt x="138" y="15"/>
                      <a:pt x="137" y="16"/>
                      <a:pt x="136" y="16"/>
                    </a:cubicBezTo>
                    <a:cubicBezTo>
                      <a:pt x="136" y="17"/>
                      <a:pt x="135" y="17"/>
                      <a:pt x="134" y="17"/>
                    </a:cubicBezTo>
                    <a:cubicBezTo>
                      <a:pt x="134" y="17"/>
                      <a:pt x="133" y="17"/>
                      <a:pt x="132" y="17"/>
                    </a:cubicBezTo>
                    <a:cubicBezTo>
                      <a:pt x="131" y="17"/>
                      <a:pt x="131" y="18"/>
                      <a:pt x="131" y="18"/>
                    </a:cubicBezTo>
                    <a:cubicBezTo>
                      <a:pt x="130" y="19"/>
                      <a:pt x="129" y="18"/>
                      <a:pt x="129" y="18"/>
                    </a:cubicBezTo>
                    <a:cubicBezTo>
                      <a:pt x="129" y="20"/>
                      <a:pt x="127" y="22"/>
                      <a:pt x="126" y="23"/>
                    </a:cubicBezTo>
                    <a:cubicBezTo>
                      <a:pt x="125" y="25"/>
                      <a:pt x="124" y="27"/>
                      <a:pt x="122" y="28"/>
                    </a:cubicBezTo>
                    <a:cubicBezTo>
                      <a:pt x="121" y="27"/>
                      <a:pt x="122" y="25"/>
                      <a:pt x="122" y="24"/>
                    </a:cubicBezTo>
                    <a:cubicBezTo>
                      <a:pt x="122" y="24"/>
                      <a:pt x="122" y="23"/>
                      <a:pt x="122" y="22"/>
                    </a:cubicBezTo>
                    <a:cubicBezTo>
                      <a:pt x="122" y="21"/>
                      <a:pt x="122" y="20"/>
                      <a:pt x="123" y="19"/>
                    </a:cubicBezTo>
                    <a:cubicBezTo>
                      <a:pt x="123" y="18"/>
                      <a:pt x="123" y="17"/>
                      <a:pt x="123" y="16"/>
                    </a:cubicBezTo>
                    <a:cubicBezTo>
                      <a:pt x="123" y="15"/>
                      <a:pt x="123" y="15"/>
                      <a:pt x="123" y="14"/>
                    </a:cubicBezTo>
                    <a:cubicBezTo>
                      <a:pt x="122" y="14"/>
                      <a:pt x="123" y="14"/>
                      <a:pt x="122" y="13"/>
                    </a:cubicBezTo>
                    <a:cubicBezTo>
                      <a:pt x="121" y="12"/>
                      <a:pt x="117" y="13"/>
                      <a:pt x="116" y="14"/>
                    </a:cubicBezTo>
                    <a:cubicBezTo>
                      <a:pt x="115" y="15"/>
                      <a:pt x="115" y="17"/>
                      <a:pt x="115" y="18"/>
                    </a:cubicBezTo>
                    <a:cubicBezTo>
                      <a:pt x="114" y="19"/>
                      <a:pt x="114" y="20"/>
                      <a:pt x="113" y="20"/>
                    </a:cubicBezTo>
                    <a:cubicBezTo>
                      <a:pt x="112" y="21"/>
                      <a:pt x="112" y="21"/>
                      <a:pt x="112" y="21"/>
                    </a:cubicBezTo>
                    <a:cubicBezTo>
                      <a:pt x="111" y="21"/>
                      <a:pt x="111" y="22"/>
                      <a:pt x="111" y="23"/>
                    </a:cubicBezTo>
                    <a:cubicBezTo>
                      <a:pt x="110" y="23"/>
                      <a:pt x="110" y="23"/>
                      <a:pt x="109" y="24"/>
                    </a:cubicBezTo>
                    <a:cubicBezTo>
                      <a:pt x="109" y="24"/>
                      <a:pt x="108" y="25"/>
                      <a:pt x="107" y="25"/>
                    </a:cubicBezTo>
                    <a:cubicBezTo>
                      <a:pt x="105" y="25"/>
                      <a:pt x="107" y="23"/>
                      <a:pt x="108" y="22"/>
                    </a:cubicBezTo>
                    <a:cubicBezTo>
                      <a:pt x="109" y="20"/>
                      <a:pt x="111" y="20"/>
                      <a:pt x="111" y="18"/>
                    </a:cubicBezTo>
                    <a:cubicBezTo>
                      <a:pt x="111" y="16"/>
                      <a:pt x="109" y="14"/>
                      <a:pt x="107" y="13"/>
                    </a:cubicBezTo>
                    <a:cubicBezTo>
                      <a:pt x="106" y="13"/>
                      <a:pt x="106" y="14"/>
                      <a:pt x="106" y="15"/>
                    </a:cubicBezTo>
                    <a:cubicBezTo>
                      <a:pt x="106" y="15"/>
                      <a:pt x="105" y="15"/>
                      <a:pt x="105" y="15"/>
                    </a:cubicBezTo>
                    <a:cubicBezTo>
                      <a:pt x="105" y="15"/>
                      <a:pt x="105" y="16"/>
                      <a:pt x="105" y="16"/>
                    </a:cubicBezTo>
                    <a:cubicBezTo>
                      <a:pt x="105" y="16"/>
                      <a:pt x="105" y="17"/>
                      <a:pt x="105" y="17"/>
                    </a:cubicBezTo>
                    <a:cubicBezTo>
                      <a:pt x="104" y="17"/>
                      <a:pt x="103" y="14"/>
                      <a:pt x="103" y="13"/>
                    </a:cubicBezTo>
                    <a:cubicBezTo>
                      <a:pt x="103" y="11"/>
                      <a:pt x="104" y="10"/>
                      <a:pt x="102" y="9"/>
                    </a:cubicBezTo>
                    <a:cubicBezTo>
                      <a:pt x="101" y="8"/>
                      <a:pt x="100" y="7"/>
                      <a:pt x="98" y="8"/>
                    </a:cubicBezTo>
                    <a:cubicBezTo>
                      <a:pt x="98" y="8"/>
                      <a:pt x="96" y="8"/>
                      <a:pt x="96" y="9"/>
                    </a:cubicBezTo>
                    <a:cubicBezTo>
                      <a:pt x="95" y="10"/>
                      <a:pt x="95" y="12"/>
                      <a:pt x="94" y="13"/>
                    </a:cubicBezTo>
                    <a:cubicBezTo>
                      <a:pt x="94" y="14"/>
                      <a:pt x="93" y="15"/>
                      <a:pt x="92" y="16"/>
                    </a:cubicBezTo>
                    <a:cubicBezTo>
                      <a:pt x="90" y="18"/>
                      <a:pt x="88" y="20"/>
                      <a:pt x="88" y="22"/>
                    </a:cubicBezTo>
                    <a:cubicBezTo>
                      <a:pt x="89" y="22"/>
                      <a:pt x="89" y="23"/>
                      <a:pt x="89" y="23"/>
                    </a:cubicBezTo>
                    <a:cubicBezTo>
                      <a:pt x="90" y="23"/>
                      <a:pt x="90" y="24"/>
                      <a:pt x="90" y="24"/>
                    </a:cubicBezTo>
                    <a:cubicBezTo>
                      <a:pt x="89" y="25"/>
                      <a:pt x="89" y="25"/>
                      <a:pt x="89" y="25"/>
                    </a:cubicBezTo>
                    <a:cubicBezTo>
                      <a:pt x="87" y="28"/>
                      <a:pt x="92" y="28"/>
                      <a:pt x="89" y="30"/>
                    </a:cubicBezTo>
                    <a:cubicBezTo>
                      <a:pt x="87" y="31"/>
                      <a:pt x="85" y="34"/>
                      <a:pt x="84" y="37"/>
                    </a:cubicBezTo>
                    <a:cubicBezTo>
                      <a:pt x="84" y="38"/>
                      <a:pt x="85" y="38"/>
                      <a:pt x="86" y="39"/>
                    </a:cubicBezTo>
                    <a:cubicBezTo>
                      <a:pt x="87" y="40"/>
                      <a:pt x="87" y="40"/>
                      <a:pt x="87" y="42"/>
                    </a:cubicBezTo>
                    <a:cubicBezTo>
                      <a:pt x="87" y="43"/>
                      <a:pt x="87" y="43"/>
                      <a:pt x="89" y="43"/>
                    </a:cubicBezTo>
                    <a:cubicBezTo>
                      <a:pt x="89" y="43"/>
                      <a:pt x="90" y="43"/>
                      <a:pt x="90" y="44"/>
                    </a:cubicBezTo>
                    <a:cubicBezTo>
                      <a:pt x="91" y="45"/>
                      <a:pt x="89" y="45"/>
                      <a:pt x="89" y="45"/>
                    </a:cubicBezTo>
                    <a:cubicBezTo>
                      <a:pt x="86" y="46"/>
                      <a:pt x="84" y="45"/>
                      <a:pt x="81" y="45"/>
                    </a:cubicBezTo>
                    <a:cubicBezTo>
                      <a:pt x="80" y="45"/>
                      <a:pt x="79" y="45"/>
                      <a:pt x="77" y="46"/>
                    </a:cubicBezTo>
                    <a:cubicBezTo>
                      <a:pt x="76" y="46"/>
                      <a:pt x="75" y="45"/>
                      <a:pt x="74" y="46"/>
                    </a:cubicBezTo>
                    <a:cubicBezTo>
                      <a:pt x="74" y="47"/>
                      <a:pt x="73" y="50"/>
                      <a:pt x="74" y="50"/>
                    </a:cubicBezTo>
                    <a:cubicBezTo>
                      <a:pt x="74" y="51"/>
                      <a:pt x="75" y="52"/>
                      <a:pt x="76" y="52"/>
                    </a:cubicBezTo>
                    <a:cubicBezTo>
                      <a:pt x="76" y="53"/>
                      <a:pt x="76" y="54"/>
                      <a:pt x="76" y="55"/>
                    </a:cubicBezTo>
                    <a:cubicBezTo>
                      <a:pt x="76" y="56"/>
                      <a:pt x="76" y="57"/>
                      <a:pt x="76" y="58"/>
                    </a:cubicBezTo>
                    <a:cubicBezTo>
                      <a:pt x="76" y="60"/>
                      <a:pt x="77" y="61"/>
                      <a:pt x="77" y="62"/>
                    </a:cubicBezTo>
                    <a:cubicBezTo>
                      <a:pt x="78" y="62"/>
                      <a:pt x="77" y="59"/>
                      <a:pt x="78" y="59"/>
                    </a:cubicBezTo>
                    <a:cubicBezTo>
                      <a:pt x="79" y="59"/>
                      <a:pt x="79" y="61"/>
                      <a:pt x="79" y="61"/>
                    </a:cubicBezTo>
                    <a:cubicBezTo>
                      <a:pt x="78" y="62"/>
                      <a:pt x="78" y="62"/>
                      <a:pt x="78" y="63"/>
                    </a:cubicBezTo>
                    <a:cubicBezTo>
                      <a:pt x="77" y="64"/>
                      <a:pt x="77" y="67"/>
                      <a:pt x="78" y="67"/>
                    </a:cubicBezTo>
                    <a:cubicBezTo>
                      <a:pt x="76" y="68"/>
                      <a:pt x="75" y="66"/>
                      <a:pt x="73" y="65"/>
                    </a:cubicBezTo>
                    <a:cubicBezTo>
                      <a:pt x="73" y="65"/>
                      <a:pt x="70" y="63"/>
                      <a:pt x="69" y="64"/>
                    </a:cubicBezTo>
                    <a:cubicBezTo>
                      <a:pt x="67" y="67"/>
                      <a:pt x="72" y="70"/>
                      <a:pt x="73" y="71"/>
                    </a:cubicBezTo>
                    <a:cubicBezTo>
                      <a:pt x="74" y="72"/>
                      <a:pt x="75" y="73"/>
                      <a:pt x="76" y="74"/>
                    </a:cubicBezTo>
                    <a:cubicBezTo>
                      <a:pt x="77" y="74"/>
                      <a:pt x="78" y="74"/>
                      <a:pt x="78" y="75"/>
                    </a:cubicBezTo>
                    <a:cubicBezTo>
                      <a:pt x="79" y="75"/>
                      <a:pt x="79" y="76"/>
                      <a:pt x="80" y="76"/>
                    </a:cubicBezTo>
                    <a:cubicBezTo>
                      <a:pt x="81" y="78"/>
                      <a:pt x="83" y="77"/>
                      <a:pt x="84" y="79"/>
                    </a:cubicBezTo>
                    <a:cubicBezTo>
                      <a:pt x="86" y="80"/>
                      <a:pt x="84" y="82"/>
                      <a:pt x="84" y="84"/>
                    </a:cubicBezTo>
                    <a:cubicBezTo>
                      <a:pt x="84" y="86"/>
                      <a:pt x="86" y="86"/>
                      <a:pt x="87" y="88"/>
                    </a:cubicBezTo>
                    <a:cubicBezTo>
                      <a:pt x="86" y="86"/>
                      <a:pt x="84" y="85"/>
                      <a:pt x="82" y="84"/>
                    </a:cubicBezTo>
                    <a:cubicBezTo>
                      <a:pt x="81" y="84"/>
                      <a:pt x="79" y="83"/>
                      <a:pt x="77" y="82"/>
                    </a:cubicBezTo>
                    <a:cubicBezTo>
                      <a:pt x="76" y="81"/>
                      <a:pt x="75" y="81"/>
                      <a:pt x="75" y="81"/>
                    </a:cubicBezTo>
                    <a:cubicBezTo>
                      <a:pt x="74" y="83"/>
                      <a:pt x="76" y="84"/>
                      <a:pt x="77" y="85"/>
                    </a:cubicBezTo>
                    <a:cubicBezTo>
                      <a:pt x="78" y="86"/>
                      <a:pt x="79" y="87"/>
                      <a:pt x="80" y="89"/>
                    </a:cubicBezTo>
                    <a:cubicBezTo>
                      <a:pt x="78" y="88"/>
                      <a:pt x="77" y="87"/>
                      <a:pt x="75" y="86"/>
                    </a:cubicBezTo>
                    <a:cubicBezTo>
                      <a:pt x="75" y="85"/>
                      <a:pt x="74" y="85"/>
                      <a:pt x="74" y="84"/>
                    </a:cubicBezTo>
                    <a:cubicBezTo>
                      <a:pt x="73" y="84"/>
                      <a:pt x="73" y="84"/>
                      <a:pt x="72" y="84"/>
                    </a:cubicBezTo>
                    <a:cubicBezTo>
                      <a:pt x="72" y="83"/>
                      <a:pt x="71" y="82"/>
                      <a:pt x="70" y="83"/>
                    </a:cubicBezTo>
                    <a:cubicBezTo>
                      <a:pt x="70" y="83"/>
                      <a:pt x="69" y="85"/>
                      <a:pt x="69" y="86"/>
                    </a:cubicBezTo>
                    <a:cubicBezTo>
                      <a:pt x="69" y="86"/>
                      <a:pt x="68" y="88"/>
                      <a:pt x="67" y="87"/>
                    </a:cubicBezTo>
                    <a:cubicBezTo>
                      <a:pt x="66" y="87"/>
                      <a:pt x="66" y="86"/>
                      <a:pt x="66" y="85"/>
                    </a:cubicBezTo>
                    <a:cubicBezTo>
                      <a:pt x="65" y="84"/>
                      <a:pt x="66" y="84"/>
                      <a:pt x="65" y="83"/>
                    </a:cubicBezTo>
                    <a:cubicBezTo>
                      <a:pt x="65" y="83"/>
                      <a:pt x="64" y="83"/>
                      <a:pt x="64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63" y="82"/>
                      <a:pt x="62" y="82"/>
                      <a:pt x="62" y="82"/>
                    </a:cubicBezTo>
                    <a:cubicBezTo>
                      <a:pt x="61" y="82"/>
                      <a:pt x="60" y="82"/>
                      <a:pt x="60" y="83"/>
                    </a:cubicBezTo>
                    <a:cubicBezTo>
                      <a:pt x="60" y="84"/>
                      <a:pt x="60" y="86"/>
                      <a:pt x="60" y="86"/>
                    </a:cubicBezTo>
                    <a:cubicBezTo>
                      <a:pt x="60" y="89"/>
                      <a:pt x="60" y="91"/>
                      <a:pt x="60" y="93"/>
                    </a:cubicBezTo>
                    <a:cubicBezTo>
                      <a:pt x="60" y="94"/>
                      <a:pt x="60" y="96"/>
                      <a:pt x="59" y="96"/>
                    </a:cubicBezTo>
                    <a:cubicBezTo>
                      <a:pt x="58" y="96"/>
                      <a:pt x="57" y="92"/>
                      <a:pt x="57" y="91"/>
                    </a:cubicBezTo>
                    <a:cubicBezTo>
                      <a:pt x="57" y="90"/>
                      <a:pt x="57" y="88"/>
                      <a:pt x="56" y="87"/>
                    </a:cubicBezTo>
                    <a:cubicBezTo>
                      <a:pt x="54" y="85"/>
                      <a:pt x="52" y="87"/>
                      <a:pt x="51" y="88"/>
                    </a:cubicBezTo>
                    <a:cubicBezTo>
                      <a:pt x="50" y="88"/>
                      <a:pt x="49" y="89"/>
                      <a:pt x="49" y="90"/>
                    </a:cubicBezTo>
                    <a:cubicBezTo>
                      <a:pt x="49" y="90"/>
                      <a:pt x="50" y="90"/>
                      <a:pt x="50" y="90"/>
                    </a:cubicBezTo>
                    <a:cubicBezTo>
                      <a:pt x="50" y="90"/>
                      <a:pt x="50" y="91"/>
                      <a:pt x="50" y="91"/>
                    </a:cubicBezTo>
                    <a:cubicBezTo>
                      <a:pt x="50" y="92"/>
                      <a:pt x="50" y="92"/>
                      <a:pt x="50" y="93"/>
                    </a:cubicBezTo>
                    <a:cubicBezTo>
                      <a:pt x="50" y="95"/>
                      <a:pt x="50" y="97"/>
                      <a:pt x="51" y="100"/>
                    </a:cubicBezTo>
                    <a:cubicBezTo>
                      <a:pt x="51" y="101"/>
                      <a:pt x="52" y="101"/>
                      <a:pt x="52" y="101"/>
                    </a:cubicBezTo>
                    <a:cubicBezTo>
                      <a:pt x="53" y="102"/>
                      <a:pt x="53" y="102"/>
                      <a:pt x="53" y="102"/>
                    </a:cubicBezTo>
                    <a:cubicBezTo>
                      <a:pt x="54" y="102"/>
                      <a:pt x="56" y="103"/>
                      <a:pt x="55" y="104"/>
                    </a:cubicBezTo>
                    <a:cubicBezTo>
                      <a:pt x="54" y="104"/>
                      <a:pt x="52" y="104"/>
                      <a:pt x="51" y="105"/>
                    </a:cubicBezTo>
                    <a:cubicBezTo>
                      <a:pt x="52" y="105"/>
                      <a:pt x="53" y="106"/>
                      <a:pt x="53" y="106"/>
                    </a:cubicBezTo>
                    <a:cubicBezTo>
                      <a:pt x="53" y="106"/>
                      <a:pt x="53" y="107"/>
                      <a:pt x="52" y="107"/>
                    </a:cubicBezTo>
                    <a:cubicBezTo>
                      <a:pt x="52" y="108"/>
                      <a:pt x="51" y="107"/>
                      <a:pt x="51" y="108"/>
                    </a:cubicBezTo>
                    <a:cubicBezTo>
                      <a:pt x="51" y="109"/>
                      <a:pt x="50" y="109"/>
                      <a:pt x="50" y="110"/>
                    </a:cubicBezTo>
                    <a:cubicBezTo>
                      <a:pt x="51" y="111"/>
                      <a:pt x="51" y="110"/>
                      <a:pt x="52" y="111"/>
                    </a:cubicBezTo>
                    <a:cubicBezTo>
                      <a:pt x="52" y="111"/>
                      <a:pt x="53" y="112"/>
                      <a:pt x="54" y="112"/>
                    </a:cubicBezTo>
                    <a:cubicBezTo>
                      <a:pt x="54" y="113"/>
                      <a:pt x="54" y="114"/>
                      <a:pt x="55" y="114"/>
                    </a:cubicBezTo>
                    <a:cubicBezTo>
                      <a:pt x="55" y="115"/>
                      <a:pt x="56" y="116"/>
                      <a:pt x="57" y="117"/>
                    </a:cubicBezTo>
                    <a:cubicBezTo>
                      <a:pt x="57" y="117"/>
                      <a:pt x="57" y="118"/>
                      <a:pt x="57" y="119"/>
                    </a:cubicBezTo>
                    <a:cubicBezTo>
                      <a:pt x="59" y="120"/>
                      <a:pt x="61" y="117"/>
                      <a:pt x="62" y="118"/>
                    </a:cubicBezTo>
                    <a:cubicBezTo>
                      <a:pt x="63" y="118"/>
                      <a:pt x="64" y="119"/>
                      <a:pt x="64" y="120"/>
                    </a:cubicBezTo>
                    <a:cubicBezTo>
                      <a:pt x="63" y="121"/>
                      <a:pt x="60" y="121"/>
                      <a:pt x="59" y="121"/>
                    </a:cubicBezTo>
                    <a:cubicBezTo>
                      <a:pt x="58" y="121"/>
                      <a:pt x="58" y="121"/>
                      <a:pt x="58" y="122"/>
                    </a:cubicBezTo>
                    <a:cubicBezTo>
                      <a:pt x="55" y="121"/>
                      <a:pt x="53" y="118"/>
                      <a:pt x="50" y="117"/>
                    </a:cubicBezTo>
                    <a:cubicBezTo>
                      <a:pt x="50" y="117"/>
                      <a:pt x="48" y="117"/>
                      <a:pt x="48" y="117"/>
                    </a:cubicBezTo>
                    <a:cubicBezTo>
                      <a:pt x="47" y="118"/>
                      <a:pt x="47" y="121"/>
                      <a:pt x="47" y="122"/>
                    </a:cubicBezTo>
                    <a:cubicBezTo>
                      <a:pt x="47" y="123"/>
                      <a:pt x="47" y="124"/>
                      <a:pt x="47" y="125"/>
                    </a:cubicBezTo>
                    <a:cubicBezTo>
                      <a:pt x="48" y="126"/>
                      <a:pt x="48" y="127"/>
                      <a:pt x="49" y="129"/>
                    </a:cubicBezTo>
                    <a:cubicBezTo>
                      <a:pt x="49" y="130"/>
                      <a:pt x="49" y="131"/>
                      <a:pt x="49" y="132"/>
                    </a:cubicBezTo>
                    <a:cubicBezTo>
                      <a:pt x="49" y="133"/>
                      <a:pt x="49" y="133"/>
                      <a:pt x="49" y="134"/>
                    </a:cubicBezTo>
                    <a:cubicBezTo>
                      <a:pt x="49" y="135"/>
                      <a:pt x="49" y="136"/>
                      <a:pt x="49" y="137"/>
                    </a:cubicBezTo>
                    <a:cubicBezTo>
                      <a:pt x="49" y="139"/>
                      <a:pt x="50" y="140"/>
                      <a:pt x="51" y="140"/>
                    </a:cubicBezTo>
                    <a:cubicBezTo>
                      <a:pt x="51" y="140"/>
                      <a:pt x="52" y="140"/>
                      <a:pt x="52" y="140"/>
                    </a:cubicBezTo>
                    <a:cubicBezTo>
                      <a:pt x="53" y="139"/>
                      <a:pt x="53" y="139"/>
                      <a:pt x="53" y="138"/>
                    </a:cubicBezTo>
                    <a:cubicBezTo>
                      <a:pt x="54" y="137"/>
                      <a:pt x="55" y="137"/>
                      <a:pt x="56" y="136"/>
                    </a:cubicBezTo>
                    <a:cubicBezTo>
                      <a:pt x="57" y="136"/>
                      <a:pt x="59" y="135"/>
                      <a:pt x="60" y="135"/>
                    </a:cubicBezTo>
                    <a:cubicBezTo>
                      <a:pt x="61" y="135"/>
                      <a:pt x="61" y="135"/>
                      <a:pt x="61" y="136"/>
                    </a:cubicBezTo>
                    <a:cubicBezTo>
                      <a:pt x="61" y="137"/>
                      <a:pt x="61" y="137"/>
                      <a:pt x="61" y="137"/>
                    </a:cubicBezTo>
                    <a:cubicBezTo>
                      <a:pt x="61" y="138"/>
                      <a:pt x="63" y="138"/>
                      <a:pt x="63" y="138"/>
                    </a:cubicBezTo>
                    <a:cubicBezTo>
                      <a:pt x="65" y="138"/>
                      <a:pt x="65" y="138"/>
                      <a:pt x="66" y="137"/>
                    </a:cubicBezTo>
                    <a:cubicBezTo>
                      <a:pt x="67" y="136"/>
                      <a:pt x="66" y="135"/>
                      <a:pt x="67" y="134"/>
                    </a:cubicBezTo>
                    <a:cubicBezTo>
                      <a:pt x="68" y="134"/>
                      <a:pt x="70" y="134"/>
                      <a:pt x="71" y="134"/>
                    </a:cubicBezTo>
                    <a:cubicBezTo>
                      <a:pt x="72" y="136"/>
                      <a:pt x="70" y="137"/>
                      <a:pt x="69" y="138"/>
                    </a:cubicBezTo>
                    <a:cubicBezTo>
                      <a:pt x="68" y="139"/>
                      <a:pt x="67" y="140"/>
                      <a:pt x="66" y="140"/>
                    </a:cubicBezTo>
                    <a:cubicBezTo>
                      <a:pt x="64" y="141"/>
                      <a:pt x="62" y="141"/>
                      <a:pt x="61" y="142"/>
                    </a:cubicBezTo>
                    <a:cubicBezTo>
                      <a:pt x="60" y="142"/>
                      <a:pt x="58" y="141"/>
                      <a:pt x="57" y="142"/>
                    </a:cubicBezTo>
                    <a:cubicBezTo>
                      <a:pt x="56" y="142"/>
                      <a:pt x="56" y="144"/>
                      <a:pt x="55" y="144"/>
                    </a:cubicBezTo>
                    <a:cubicBezTo>
                      <a:pt x="56" y="144"/>
                      <a:pt x="58" y="145"/>
                      <a:pt x="59" y="145"/>
                    </a:cubicBezTo>
                    <a:cubicBezTo>
                      <a:pt x="59" y="146"/>
                      <a:pt x="61" y="146"/>
                      <a:pt x="62" y="146"/>
                    </a:cubicBezTo>
                    <a:cubicBezTo>
                      <a:pt x="63" y="146"/>
                      <a:pt x="65" y="146"/>
                      <a:pt x="64" y="147"/>
                    </a:cubicBezTo>
                    <a:cubicBezTo>
                      <a:pt x="64" y="148"/>
                      <a:pt x="62" y="148"/>
                      <a:pt x="61" y="149"/>
                    </a:cubicBezTo>
                    <a:cubicBezTo>
                      <a:pt x="60" y="149"/>
                      <a:pt x="60" y="150"/>
                      <a:pt x="60" y="151"/>
                    </a:cubicBezTo>
                    <a:cubicBezTo>
                      <a:pt x="59" y="152"/>
                      <a:pt x="59" y="151"/>
                      <a:pt x="59" y="150"/>
                    </a:cubicBezTo>
                    <a:cubicBezTo>
                      <a:pt x="58" y="150"/>
                      <a:pt x="58" y="149"/>
                      <a:pt x="58" y="148"/>
                    </a:cubicBezTo>
                    <a:cubicBezTo>
                      <a:pt x="58" y="147"/>
                      <a:pt x="55" y="147"/>
                      <a:pt x="55" y="148"/>
                    </a:cubicBezTo>
                    <a:cubicBezTo>
                      <a:pt x="54" y="148"/>
                      <a:pt x="54" y="149"/>
                      <a:pt x="54" y="149"/>
                    </a:cubicBezTo>
                    <a:cubicBezTo>
                      <a:pt x="53" y="149"/>
                      <a:pt x="52" y="149"/>
                      <a:pt x="51" y="149"/>
                    </a:cubicBezTo>
                    <a:cubicBezTo>
                      <a:pt x="49" y="149"/>
                      <a:pt x="48" y="149"/>
                      <a:pt x="46" y="148"/>
                    </a:cubicBezTo>
                    <a:cubicBezTo>
                      <a:pt x="46" y="148"/>
                      <a:pt x="46" y="147"/>
                      <a:pt x="45" y="146"/>
                    </a:cubicBezTo>
                    <a:cubicBezTo>
                      <a:pt x="45" y="146"/>
                      <a:pt x="45" y="144"/>
                      <a:pt x="45" y="143"/>
                    </a:cubicBezTo>
                    <a:cubicBezTo>
                      <a:pt x="44" y="142"/>
                      <a:pt x="42" y="141"/>
                      <a:pt x="41" y="141"/>
                    </a:cubicBezTo>
                    <a:cubicBezTo>
                      <a:pt x="41" y="141"/>
                      <a:pt x="40" y="141"/>
                      <a:pt x="40" y="141"/>
                    </a:cubicBezTo>
                    <a:cubicBezTo>
                      <a:pt x="39" y="140"/>
                      <a:pt x="39" y="139"/>
                      <a:pt x="39" y="138"/>
                    </a:cubicBezTo>
                    <a:cubicBezTo>
                      <a:pt x="39" y="137"/>
                      <a:pt x="39" y="136"/>
                      <a:pt x="39" y="134"/>
                    </a:cubicBezTo>
                    <a:cubicBezTo>
                      <a:pt x="40" y="133"/>
                      <a:pt x="40" y="131"/>
                      <a:pt x="41" y="130"/>
                    </a:cubicBezTo>
                    <a:cubicBezTo>
                      <a:pt x="41" y="129"/>
                      <a:pt x="41" y="128"/>
                      <a:pt x="42" y="126"/>
                    </a:cubicBezTo>
                    <a:cubicBezTo>
                      <a:pt x="43" y="124"/>
                      <a:pt x="43" y="122"/>
                      <a:pt x="43" y="119"/>
                    </a:cubicBezTo>
                    <a:cubicBezTo>
                      <a:pt x="43" y="119"/>
                      <a:pt x="43" y="118"/>
                      <a:pt x="43" y="117"/>
                    </a:cubicBezTo>
                    <a:cubicBezTo>
                      <a:pt x="42" y="115"/>
                      <a:pt x="40" y="116"/>
                      <a:pt x="40" y="117"/>
                    </a:cubicBezTo>
                    <a:cubicBezTo>
                      <a:pt x="39" y="119"/>
                      <a:pt x="39" y="121"/>
                      <a:pt x="39" y="122"/>
                    </a:cubicBezTo>
                    <a:cubicBezTo>
                      <a:pt x="40" y="124"/>
                      <a:pt x="39" y="124"/>
                      <a:pt x="38" y="125"/>
                    </a:cubicBezTo>
                    <a:cubicBezTo>
                      <a:pt x="37" y="127"/>
                      <a:pt x="37" y="130"/>
                      <a:pt x="36" y="132"/>
                    </a:cubicBezTo>
                    <a:cubicBezTo>
                      <a:pt x="36" y="134"/>
                      <a:pt x="36" y="134"/>
                      <a:pt x="36" y="136"/>
                    </a:cubicBezTo>
                    <a:cubicBezTo>
                      <a:pt x="36" y="136"/>
                      <a:pt x="37" y="138"/>
                      <a:pt x="36" y="139"/>
                    </a:cubicBezTo>
                    <a:cubicBezTo>
                      <a:pt x="35" y="138"/>
                      <a:pt x="34" y="135"/>
                      <a:pt x="33" y="133"/>
                    </a:cubicBezTo>
                    <a:cubicBezTo>
                      <a:pt x="33" y="132"/>
                      <a:pt x="33" y="130"/>
                      <a:pt x="33" y="129"/>
                    </a:cubicBezTo>
                    <a:cubicBezTo>
                      <a:pt x="33" y="126"/>
                      <a:pt x="33" y="124"/>
                      <a:pt x="33" y="121"/>
                    </a:cubicBezTo>
                    <a:cubicBezTo>
                      <a:pt x="33" y="118"/>
                      <a:pt x="31" y="114"/>
                      <a:pt x="30" y="112"/>
                    </a:cubicBezTo>
                    <a:cubicBezTo>
                      <a:pt x="29" y="111"/>
                      <a:pt x="28" y="110"/>
                      <a:pt x="28" y="109"/>
                    </a:cubicBezTo>
                    <a:cubicBezTo>
                      <a:pt x="27" y="108"/>
                      <a:pt x="26" y="107"/>
                      <a:pt x="26" y="106"/>
                    </a:cubicBezTo>
                    <a:cubicBezTo>
                      <a:pt x="24" y="104"/>
                      <a:pt x="22" y="103"/>
                      <a:pt x="20" y="105"/>
                    </a:cubicBezTo>
                    <a:cubicBezTo>
                      <a:pt x="19" y="107"/>
                      <a:pt x="18" y="109"/>
                      <a:pt x="17" y="110"/>
                    </a:cubicBezTo>
                    <a:cubicBezTo>
                      <a:pt x="17" y="112"/>
                      <a:pt x="18" y="114"/>
                      <a:pt x="18" y="115"/>
                    </a:cubicBezTo>
                    <a:cubicBezTo>
                      <a:pt x="18" y="117"/>
                      <a:pt x="18" y="118"/>
                      <a:pt x="20" y="119"/>
                    </a:cubicBezTo>
                    <a:cubicBezTo>
                      <a:pt x="20" y="119"/>
                      <a:pt x="21" y="120"/>
                      <a:pt x="21" y="121"/>
                    </a:cubicBezTo>
                    <a:cubicBezTo>
                      <a:pt x="21" y="121"/>
                      <a:pt x="21" y="122"/>
                      <a:pt x="21" y="123"/>
                    </a:cubicBezTo>
                    <a:cubicBezTo>
                      <a:pt x="21" y="123"/>
                      <a:pt x="23" y="124"/>
                      <a:pt x="22" y="125"/>
                    </a:cubicBezTo>
                    <a:cubicBezTo>
                      <a:pt x="22" y="125"/>
                      <a:pt x="21" y="124"/>
                      <a:pt x="20" y="123"/>
                    </a:cubicBezTo>
                    <a:cubicBezTo>
                      <a:pt x="20" y="123"/>
                      <a:pt x="20" y="123"/>
                      <a:pt x="19" y="123"/>
                    </a:cubicBezTo>
                    <a:cubicBezTo>
                      <a:pt x="18" y="123"/>
                      <a:pt x="17" y="124"/>
                      <a:pt x="16" y="123"/>
                    </a:cubicBezTo>
                    <a:cubicBezTo>
                      <a:pt x="15" y="123"/>
                      <a:pt x="14" y="122"/>
                      <a:pt x="14" y="121"/>
                    </a:cubicBezTo>
                    <a:cubicBezTo>
                      <a:pt x="13" y="120"/>
                      <a:pt x="12" y="120"/>
                      <a:pt x="11" y="119"/>
                    </a:cubicBezTo>
                    <a:cubicBezTo>
                      <a:pt x="11" y="119"/>
                      <a:pt x="10" y="118"/>
                      <a:pt x="10" y="118"/>
                    </a:cubicBezTo>
                    <a:cubicBezTo>
                      <a:pt x="9" y="117"/>
                      <a:pt x="9" y="117"/>
                      <a:pt x="9" y="116"/>
                    </a:cubicBezTo>
                    <a:cubicBezTo>
                      <a:pt x="8" y="115"/>
                      <a:pt x="8" y="113"/>
                      <a:pt x="7" y="113"/>
                    </a:cubicBezTo>
                    <a:cubicBezTo>
                      <a:pt x="6" y="114"/>
                      <a:pt x="6" y="116"/>
                      <a:pt x="6" y="117"/>
                    </a:cubicBezTo>
                    <a:cubicBezTo>
                      <a:pt x="7" y="118"/>
                      <a:pt x="7" y="119"/>
                      <a:pt x="8" y="120"/>
                    </a:cubicBezTo>
                    <a:cubicBezTo>
                      <a:pt x="8" y="121"/>
                      <a:pt x="7" y="123"/>
                      <a:pt x="8" y="123"/>
                    </a:cubicBezTo>
                    <a:cubicBezTo>
                      <a:pt x="8" y="123"/>
                      <a:pt x="8" y="123"/>
                      <a:pt x="8" y="123"/>
                    </a:cubicBezTo>
                    <a:cubicBezTo>
                      <a:pt x="7" y="124"/>
                      <a:pt x="8" y="126"/>
                      <a:pt x="8" y="127"/>
                    </a:cubicBezTo>
                    <a:cubicBezTo>
                      <a:pt x="8" y="127"/>
                      <a:pt x="8" y="128"/>
                      <a:pt x="8" y="129"/>
                    </a:cubicBezTo>
                    <a:cubicBezTo>
                      <a:pt x="8" y="129"/>
                      <a:pt x="9" y="130"/>
                      <a:pt x="8" y="131"/>
                    </a:cubicBezTo>
                    <a:cubicBezTo>
                      <a:pt x="7" y="132"/>
                      <a:pt x="5" y="128"/>
                      <a:pt x="4" y="127"/>
                    </a:cubicBezTo>
                    <a:cubicBezTo>
                      <a:pt x="4" y="126"/>
                      <a:pt x="3" y="123"/>
                      <a:pt x="1" y="123"/>
                    </a:cubicBezTo>
                    <a:cubicBezTo>
                      <a:pt x="1" y="124"/>
                      <a:pt x="1" y="124"/>
                      <a:pt x="1" y="125"/>
                    </a:cubicBezTo>
                    <a:cubicBezTo>
                      <a:pt x="1" y="125"/>
                      <a:pt x="0" y="126"/>
                      <a:pt x="0" y="126"/>
                    </a:cubicBezTo>
                    <a:cubicBezTo>
                      <a:pt x="0" y="129"/>
                      <a:pt x="0" y="131"/>
                      <a:pt x="0" y="133"/>
                    </a:cubicBezTo>
                    <a:cubicBezTo>
                      <a:pt x="0" y="135"/>
                      <a:pt x="0" y="136"/>
                      <a:pt x="2" y="137"/>
                    </a:cubicBezTo>
                    <a:cubicBezTo>
                      <a:pt x="2" y="138"/>
                      <a:pt x="3" y="139"/>
                      <a:pt x="4" y="139"/>
                    </a:cubicBezTo>
                    <a:cubicBezTo>
                      <a:pt x="5" y="140"/>
                      <a:pt x="6" y="140"/>
                      <a:pt x="7" y="140"/>
                    </a:cubicBezTo>
                    <a:cubicBezTo>
                      <a:pt x="8" y="140"/>
                      <a:pt x="8" y="140"/>
                      <a:pt x="9" y="139"/>
                    </a:cubicBezTo>
                    <a:cubicBezTo>
                      <a:pt x="9" y="138"/>
                      <a:pt x="10" y="136"/>
                      <a:pt x="12" y="136"/>
                    </a:cubicBezTo>
                    <a:cubicBezTo>
                      <a:pt x="13" y="136"/>
                      <a:pt x="15" y="137"/>
                      <a:pt x="16" y="138"/>
                    </a:cubicBezTo>
                    <a:cubicBezTo>
                      <a:pt x="16" y="138"/>
                      <a:pt x="16" y="139"/>
                      <a:pt x="16" y="139"/>
                    </a:cubicBezTo>
                    <a:cubicBezTo>
                      <a:pt x="17" y="139"/>
                      <a:pt x="17" y="139"/>
                      <a:pt x="18" y="140"/>
                    </a:cubicBezTo>
                    <a:cubicBezTo>
                      <a:pt x="19" y="141"/>
                      <a:pt x="21" y="142"/>
                      <a:pt x="22" y="144"/>
                    </a:cubicBezTo>
                    <a:cubicBezTo>
                      <a:pt x="20" y="144"/>
                      <a:pt x="19" y="143"/>
                      <a:pt x="17" y="143"/>
                    </a:cubicBezTo>
                    <a:cubicBezTo>
                      <a:pt x="17" y="143"/>
                      <a:pt x="14" y="141"/>
                      <a:pt x="13" y="141"/>
                    </a:cubicBezTo>
                    <a:cubicBezTo>
                      <a:pt x="12" y="141"/>
                      <a:pt x="12" y="143"/>
                      <a:pt x="12" y="144"/>
                    </a:cubicBezTo>
                    <a:cubicBezTo>
                      <a:pt x="11" y="148"/>
                      <a:pt x="14" y="150"/>
                      <a:pt x="17" y="153"/>
                    </a:cubicBezTo>
                    <a:cubicBezTo>
                      <a:pt x="18" y="154"/>
                      <a:pt x="19" y="155"/>
                      <a:pt x="20" y="156"/>
                    </a:cubicBezTo>
                    <a:cubicBezTo>
                      <a:pt x="20" y="157"/>
                      <a:pt x="21" y="157"/>
                      <a:pt x="21" y="158"/>
                    </a:cubicBezTo>
                    <a:cubicBezTo>
                      <a:pt x="22" y="159"/>
                      <a:pt x="23" y="160"/>
                      <a:pt x="26" y="160"/>
                    </a:cubicBezTo>
                    <a:cubicBezTo>
                      <a:pt x="27" y="160"/>
                      <a:pt x="27" y="160"/>
                      <a:pt x="28" y="159"/>
                    </a:cubicBezTo>
                    <a:cubicBezTo>
                      <a:pt x="28" y="159"/>
                      <a:pt x="29" y="159"/>
                      <a:pt x="30" y="159"/>
                    </a:cubicBezTo>
                    <a:cubicBezTo>
                      <a:pt x="30" y="159"/>
                      <a:pt x="30" y="158"/>
                      <a:pt x="31" y="158"/>
                    </a:cubicBezTo>
                    <a:cubicBezTo>
                      <a:pt x="32" y="158"/>
                      <a:pt x="32" y="158"/>
                      <a:pt x="33" y="159"/>
                    </a:cubicBezTo>
                    <a:cubicBezTo>
                      <a:pt x="33" y="159"/>
                      <a:pt x="33" y="160"/>
                      <a:pt x="33" y="160"/>
                    </a:cubicBezTo>
                    <a:cubicBezTo>
                      <a:pt x="34" y="160"/>
                      <a:pt x="35" y="160"/>
                      <a:pt x="36" y="160"/>
                    </a:cubicBezTo>
                    <a:cubicBezTo>
                      <a:pt x="37" y="159"/>
                      <a:pt x="40" y="158"/>
                      <a:pt x="42" y="159"/>
                    </a:cubicBezTo>
                    <a:cubicBezTo>
                      <a:pt x="44" y="160"/>
                      <a:pt x="38" y="165"/>
                      <a:pt x="38" y="167"/>
                    </a:cubicBezTo>
                    <a:cubicBezTo>
                      <a:pt x="38" y="168"/>
                      <a:pt x="38" y="169"/>
                      <a:pt x="39" y="170"/>
                    </a:cubicBezTo>
                    <a:cubicBezTo>
                      <a:pt x="40" y="170"/>
                      <a:pt x="40" y="171"/>
                      <a:pt x="41" y="171"/>
                    </a:cubicBezTo>
                    <a:cubicBezTo>
                      <a:pt x="42" y="172"/>
                      <a:pt x="43" y="171"/>
                      <a:pt x="44" y="171"/>
                    </a:cubicBezTo>
                    <a:cubicBezTo>
                      <a:pt x="46" y="170"/>
                      <a:pt x="47" y="169"/>
                      <a:pt x="48" y="168"/>
                    </a:cubicBezTo>
                    <a:cubicBezTo>
                      <a:pt x="50" y="167"/>
                      <a:pt x="49" y="166"/>
                      <a:pt x="50" y="164"/>
                    </a:cubicBezTo>
                    <a:cubicBezTo>
                      <a:pt x="50" y="163"/>
                      <a:pt x="51" y="161"/>
                      <a:pt x="52" y="160"/>
                    </a:cubicBezTo>
                    <a:cubicBezTo>
                      <a:pt x="53" y="159"/>
                      <a:pt x="53" y="159"/>
                      <a:pt x="54" y="158"/>
                    </a:cubicBezTo>
                    <a:cubicBezTo>
                      <a:pt x="54" y="158"/>
                      <a:pt x="55" y="157"/>
                      <a:pt x="55" y="156"/>
                    </a:cubicBezTo>
                    <a:cubicBezTo>
                      <a:pt x="56" y="155"/>
                      <a:pt x="58" y="154"/>
                      <a:pt x="59" y="154"/>
                    </a:cubicBezTo>
                    <a:cubicBezTo>
                      <a:pt x="59" y="154"/>
                      <a:pt x="59" y="154"/>
                      <a:pt x="59" y="154"/>
                    </a:cubicBezTo>
                    <a:cubicBezTo>
                      <a:pt x="60" y="156"/>
                      <a:pt x="56" y="157"/>
                      <a:pt x="58" y="159"/>
                    </a:cubicBezTo>
                    <a:cubicBezTo>
                      <a:pt x="59" y="159"/>
                      <a:pt x="60" y="159"/>
                      <a:pt x="60" y="160"/>
                    </a:cubicBezTo>
                    <a:cubicBezTo>
                      <a:pt x="61" y="160"/>
                      <a:pt x="61" y="161"/>
                      <a:pt x="62" y="162"/>
                    </a:cubicBezTo>
                    <a:cubicBezTo>
                      <a:pt x="63" y="163"/>
                      <a:pt x="64" y="163"/>
                      <a:pt x="66" y="163"/>
                    </a:cubicBezTo>
                    <a:cubicBezTo>
                      <a:pt x="67" y="163"/>
                      <a:pt x="67" y="163"/>
                      <a:pt x="68" y="164"/>
                    </a:cubicBezTo>
                    <a:cubicBezTo>
                      <a:pt x="69" y="166"/>
                      <a:pt x="66" y="165"/>
                      <a:pt x="65" y="165"/>
                    </a:cubicBezTo>
                    <a:cubicBezTo>
                      <a:pt x="64" y="165"/>
                      <a:pt x="64" y="165"/>
                      <a:pt x="64" y="164"/>
                    </a:cubicBezTo>
                    <a:cubicBezTo>
                      <a:pt x="62" y="164"/>
                      <a:pt x="62" y="163"/>
                      <a:pt x="60" y="163"/>
                    </a:cubicBezTo>
                    <a:cubicBezTo>
                      <a:pt x="60" y="163"/>
                      <a:pt x="59" y="163"/>
                      <a:pt x="59" y="163"/>
                    </a:cubicBezTo>
                    <a:cubicBezTo>
                      <a:pt x="58" y="163"/>
                      <a:pt x="57" y="162"/>
                      <a:pt x="56" y="162"/>
                    </a:cubicBezTo>
                    <a:cubicBezTo>
                      <a:pt x="56" y="163"/>
                      <a:pt x="55" y="164"/>
                      <a:pt x="55" y="165"/>
                    </a:cubicBezTo>
                    <a:cubicBezTo>
                      <a:pt x="54" y="166"/>
                      <a:pt x="54" y="167"/>
                      <a:pt x="54" y="168"/>
                    </a:cubicBezTo>
                    <a:cubicBezTo>
                      <a:pt x="54" y="171"/>
                      <a:pt x="57" y="171"/>
                      <a:pt x="59" y="172"/>
                    </a:cubicBezTo>
                    <a:cubicBezTo>
                      <a:pt x="59" y="173"/>
                      <a:pt x="60" y="173"/>
                      <a:pt x="60" y="174"/>
                    </a:cubicBezTo>
                    <a:cubicBezTo>
                      <a:pt x="61" y="174"/>
                      <a:pt x="61" y="175"/>
                      <a:pt x="61" y="175"/>
                    </a:cubicBezTo>
                    <a:cubicBezTo>
                      <a:pt x="60" y="175"/>
                      <a:pt x="59" y="175"/>
                      <a:pt x="58" y="175"/>
                    </a:cubicBezTo>
                    <a:cubicBezTo>
                      <a:pt x="57" y="174"/>
                      <a:pt x="57" y="173"/>
                      <a:pt x="55" y="173"/>
                    </a:cubicBezTo>
                    <a:cubicBezTo>
                      <a:pt x="53" y="173"/>
                      <a:pt x="51" y="174"/>
                      <a:pt x="49" y="174"/>
                    </a:cubicBezTo>
                    <a:cubicBezTo>
                      <a:pt x="49" y="175"/>
                      <a:pt x="48" y="175"/>
                      <a:pt x="48" y="176"/>
                    </a:cubicBezTo>
                    <a:cubicBezTo>
                      <a:pt x="47" y="177"/>
                      <a:pt x="48" y="177"/>
                      <a:pt x="49" y="178"/>
                    </a:cubicBezTo>
                    <a:cubicBezTo>
                      <a:pt x="50" y="178"/>
                      <a:pt x="52" y="179"/>
                      <a:pt x="50" y="180"/>
                    </a:cubicBezTo>
                    <a:cubicBezTo>
                      <a:pt x="50" y="180"/>
                      <a:pt x="49" y="179"/>
                      <a:pt x="49" y="180"/>
                    </a:cubicBezTo>
                    <a:cubicBezTo>
                      <a:pt x="49" y="180"/>
                      <a:pt x="49" y="180"/>
                      <a:pt x="49" y="181"/>
                    </a:cubicBezTo>
                    <a:cubicBezTo>
                      <a:pt x="48" y="181"/>
                      <a:pt x="48" y="181"/>
                      <a:pt x="48" y="182"/>
                    </a:cubicBezTo>
                    <a:cubicBezTo>
                      <a:pt x="48" y="182"/>
                      <a:pt x="48" y="182"/>
                      <a:pt x="48" y="183"/>
                    </a:cubicBezTo>
                    <a:cubicBezTo>
                      <a:pt x="48" y="184"/>
                      <a:pt x="47" y="183"/>
                      <a:pt x="46" y="183"/>
                    </a:cubicBezTo>
                    <a:cubicBezTo>
                      <a:pt x="45" y="184"/>
                      <a:pt x="43" y="186"/>
                      <a:pt x="44" y="187"/>
                    </a:cubicBezTo>
                    <a:cubicBezTo>
                      <a:pt x="45" y="188"/>
                      <a:pt x="47" y="186"/>
                      <a:pt x="47" y="186"/>
                    </a:cubicBezTo>
                    <a:cubicBezTo>
                      <a:pt x="48" y="186"/>
                      <a:pt x="50" y="185"/>
                      <a:pt x="51" y="185"/>
                    </a:cubicBezTo>
                    <a:cubicBezTo>
                      <a:pt x="53" y="186"/>
                      <a:pt x="54" y="188"/>
                      <a:pt x="54" y="189"/>
                    </a:cubicBezTo>
                    <a:cubicBezTo>
                      <a:pt x="52" y="190"/>
                      <a:pt x="49" y="189"/>
                      <a:pt x="48" y="190"/>
                    </a:cubicBezTo>
                    <a:cubicBezTo>
                      <a:pt x="47" y="191"/>
                      <a:pt x="47" y="192"/>
                      <a:pt x="47" y="192"/>
                    </a:cubicBezTo>
                    <a:cubicBezTo>
                      <a:pt x="46" y="194"/>
                      <a:pt x="47" y="195"/>
                      <a:pt x="46" y="196"/>
                    </a:cubicBezTo>
                    <a:cubicBezTo>
                      <a:pt x="45" y="196"/>
                      <a:pt x="44" y="197"/>
                      <a:pt x="44" y="198"/>
                    </a:cubicBezTo>
                    <a:cubicBezTo>
                      <a:pt x="44" y="198"/>
                      <a:pt x="44" y="196"/>
                      <a:pt x="43" y="196"/>
                    </a:cubicBezTo>
                    <a:cubicBezTo>
                      <a:pt x="42" y="196"/>
                      <a:pt x="42" y="197"/>
                      <a:pt x="41" y="197"/>
                    </a:cubicBezTo>
                    <a:cubicBezTo>
                      <a:pt x="40" y="197"/>
                      <a:pt x="39" y="197"/>
                      <a:pt x="39" y="197"/>
                    </a:cubicBezTo>
                    <a:cubicBezTo>
                      <a:pt x="38" y="198"/>
                      <a:pt x="38" y="198"/>
                      <a:pt x="38" y="198"/>
                    </a:cubicBezTo>
                    <a:cubicBezTo>
                      <a:pt x="37" y="198"/>
                      <a:pt x="35" y="198"/>
                      <a:pt x="34" y="198"/>
                    </a:cubicBezTo>
                    <a:cubicBezTo>
                      <a:pt x="33" y="198"/>
                      <a:pt x="33" y="198"/>
                      <a:pt x="32" y="198"/>
                    </a:cubicBezTo>
                    <a:cubicBezTo>
                      <a:pt x="30" y="197"/>
                      <a:pt x="28" y="200"/>
                      <a:pt x="26" y="201"/>
                    </a:cubicBezTo>
                    <a:cubicBezTo>
                      <a:pt x="24" y="203"/>
                      <a:pt x="24" y="203"/>
                      <a:pt x="26" y="204"/>
                    </a:cubicBezTo>
                    <a:cubicBezTo>
                      <a:pt x="28" y="204"/>
                      <a:pt x="30" y="204"/>
                      <a:pt x="32" y="205"/>
                    </a:cubicBezTo>
                    <a:cubicBezTo>
                      <a:pt x="32" y="207"/>
                      <a:pt x="35" y="205"/>
                      <a:pt x="36" y="205"/>
                    </a:cubicBezTo>
                    <a:cubicBezTo>
                      <a:pt x="36" y="207"/>
                      <a:pt x="39" y="207"/>
                      <a:pt x="40" y="207"/>
                    </a:cubicBezTo>
                    <a:cubicBezTo>
                      <a:pt x="42" y="207"/>
                      <a:pt x="44" y="207"/>
                      <a:pt x="45" y="207"/>
                    </a:cubicBezTo>
                    <a:cubicBezTo>
                      <a:pt x="46" y="206"/>
                      <a:pt x="46" y="206"/>
                      <a:pt x="47" y="206"/>
                    </a:cubicBezTo>
                    <a:cubicBezTo>
                      <a:pt x="49" y="207"/>
                      <a:pt x="51" y="206"/>
                      <a:pt x="52" y="206"/>
                    </a:cubicBezTo>
                    <a:cubicBezTo>
                      <a:pt x="55" y="206"/>
                      <a:pt x="57" y="207"/>
                      <a:pt x="59" y="207"/>
                    </a:cubicBezTo>
                    <a:cubicBezTo>
                      <a:pt x="58" y="209"/>
                      <a:pt x="52" y="208"/>
                      <a:pt x="50" y="208"/>
                    </a:cubicBezTo>
                    <a:cubicBezTo>
                      <a:pt x="49" y="208"/>
                      <a:pt x="48" y="207"/>
                      <a:pt x="46" y="207"/>
                    </a:cubicBezTo>
                    <a:cubicBezTo>
                      <a:pt x="45" y="208"/>
                      <a:pt x="44" y="209"/>
                      <a:pt x="43" y="209"/>
                    </a:cubicBezTo>
                    <a:cubicBezTo>
                      <a:pt x="43" y="210"/>
                      <a:pt x="42" y="210"/>
                      <a:pt x="42" y="210"/>
                    </a:cubicBezTo>
                    <a:cubicBezTo>
                      <a:pt x="41" y="211"/>
                      <a:pt x="40" y="210"/>
                      <a:pt x="39" y="210"/>
                    </a:cubicBezTo>
                    <a:cubicBezTo>
                      <a:pt x="38" y="211"/>
                      <a:pt x="38" y="213"/>
                      <a:pt x="39" y="213"/>
                    </a:cubicBezTo>
                    <a:cubicBezTo>
                      <a:pt x="40" y="214"/>
                      <a:pt x="40" y="214"/>
                      <a:pt x="41" y="214"/>
                    </a:cubicBezTo>
                    <a:cubicBezTo>
                      <a:pt x="42" y="215"/>
                      <a:pt x="42" y="214"/>
                      <a:pt x="42" y="216"/>
                    </a:cubicBezTo>
                    <a:cubicBezTo>
                      <a:pt x="42" y="216"/>
                      <a:pt x="42" y="217"/>
                      <a:pt x="43" y="217"/>
                    </a:cubicBezTo>
                    <a:cubicBezTo>
                      <a:pt x="44" y="218"/>
                      <a:pt x="44" y="218"/>
                      <a:pt x="45" y="218"/>
                    </a:cubicBezTo>
                    <a:cubicBezTo>
                      <a:pt x="46" y="218"/>
                      <a:pt x="47" y="219"/>
                      <a:pt x="48" y="219"/>
                    </a:cubicBezTo>
                    <a:cubicBezTo>
                      <a:pt x="49" y="220"/>
                      <a:pt x="50" y="220"/>
                      <a:pt x="50" y="220"/>
                    </a:cubicBezTo>
                    <a:cubicBezTo>
                      <a:pt x="51" y="220"/>
                      <a:pt x="52" y="221"/>
                      <a:pt x="52" y="220"/>
                    </a:cubicBezTo>
                    <a:cubicBezTo>
                      <a:pt x="54" y="221"/>
                      <a:pt x="54" y="222"/>
                      <a:pt x="56" y="222"/>
                    </a:cubicBezTo>
                    <a:cubicBezTo>
                      <a:pt x="57" y="222"/>
                      <a:pt x="58" y="222"/>
                      <a:pt x="58" y="223"/>
                    </a:cubicBezTo>
                    <a:cubicBezTo>
                      <a:pt x="59" y="224"/>
                      <a:pt x="59" y="225"/>
                      <a:pt x="57" y="225"/>
                    </a:cubicBezTo>
                    <a:cubicBezTo>
                      <a:pt x="57" y="225"/>
                      <a:pt x="56" y="225"/>
                      <a:pt x="55" y="224"/>
                    </a:cubicBezTo>
                    <a:cubicBezTo>
                      <a:pt x="54" y="224"/>
                      <a:pt x="54" y="224"/>
                      <a:pt x="53" y="223"/>
                    </a:cubicBezTo>
                    <a:cubicBezTo>
                      <a:pt x="52" y="222"/>
                      <a:pt x="50" y="222"/>
                      <a:pt x="49" y="221"/>
                    </a:cubicBezTo>
                    <a:cubicBezTo>
                      <a:pt x="47" y="220"/>
                      <a:pt x="46" y="220"/>
                      <a:pt x="44" y="219"/>
                    </a:cubicBezTo>
                    <a:cubicBezTo>
                      <a:pt x="43" y="218"/>
                      <a:pt x="43" y="218"/>
                      <a:pt x="42" y="218"/>
                    </a:cubicBezTo>
                    <a:cubicBezTo>
                      <a:pt x="41" y="217"/>
                      <a:pt x="41" y="217"/>
                      <a:pt x="41" y="217"/>
                    </a:cubicBezTo>
                    <a:cubicBezTo>
                      <a:pt x="41" y="217"/>
                      <a:pt x="41" y="216"/>
                      <a:pt x="40" y="215"/>
                    </a:cubicBezTo>
                    <a:cubicBezTo>
                      <a:pt x="39" y="214"/>
                      <a:pt x="38" y="214"/>
                      <a:pt x="38" y="213"/>
                    </a:cubicBezTo>
                    <a:cubicBezTo>
                      <a:pt x="37" y="212"/>
                      <a:pt x="37" y="211"/>
                      <a:pt x="36" y="211"/>
                    </a:cubicBezTo>
                    <a:cubicBezTo>
                      <a:pt x="35" y="210"/>
                      <a:pt x="34" y="210"/>
                      <a:pt x="33" y="210"/>
                    </a:cubicBezTo>
                    <a:cubicBezTo>
                      <a:pt x="30" y="209"/>
                      <a:pt x="28" y="212"/>
                      <a:pt x="26" y="213"/>
                    </a:cubicBezTo>
                    <a:cubicBezTo>
                      <a:pt x="25" y="214"/>
                      <a:pt x="24" y="215"/>
                      <a:pt x="23" y="216"/>
                    </a:cubicBezTo>
                    <a:cubicBezTo>
                      <a:pt x="23" y="216"/>
                      <a:pt x="22" y="218"/>
                      <a:pt x="23" y="219"/>
                    </a:cubicBezTo>
                    <a:cubicBezTo>
                      <a:pt x="23" y="220"/>
                      <a:pt x="25" y="221"/>
                      <a:pt x="26" y="221"/>
                    </a:cubicBezTo>
                    <a:cubicBezTo>
                      <a:pt x="27" y="222"/>
                      <a:pt x="29" y="221"/>
                      <a:pt x="30" y="222"/>
                    </a:cubicBezTo>
                    <a:cubicBezTo>
                      <a:pt x="31" y="222"/>
                      <a:pt x="30" y="223"/>
                      <a:pt x="31" y="222"/>
                    </a:cubicBezTo>
                    <a:cubicBezTo>
                      <a:pt x="31" y="223"/>
                      <a:pt x="31" y="225"/>
                      <a:pt x="30" y="225"/>
                    </a:cubicBezTo>
                    <a:cubicBezTo>
                      <a:pt x="30" y="225"/>
                      <a:pt x="28" y="225"/>
                      <a:pt x="27" y="225"/>
                    </a:cubicBezTo>
                    <a:cubicBezTo>
                      <a:pt x="25" y="225"/>
                      <a:pt x="22" y="225"/>
                      <a:pt x="22" y="228"/>
                    </a:cubicBezTo>
                    <a:cubicBezTo>
                      <a:pt x="23" y="228"/>
                      <a:pt x="25" y="228"/>
                      <a:pt x="26" y="228"/>
                    </a:cubicBezTo>
                    <a:cubicBezTo>
                      <a:pt x="26" y="228"/>
                      <a:pt x="26" y="228"/>
                      <a:pt x="27" y="229"/>
                    </a:cubicBezTo>
                    <a:cubicBezTo>
                      <a:pt x="27" y="229"/>
                      <a:pt x="28" y="229"/>
                      <a:pt x="28" y="229"/>
                    </a:cubicBezTo>
                    <a:cubicBezTo>
                      <a:pt x="29" y="229"/>
                      <a:pt x="30" y="229"/>
                      <a:pt x="31" y="229"/>
                    </a:cubicBezTo>
                    <a:cubicBezTo>
                      <a:pt x="33" y="228"/>
                      <a:pt x="34" y="227"/>
                      <a:pt x="35" y="226"/>
                    </a:cubicBezTo>
                    <a:cubicBezTo>
                      <a:pt x="36" y="226"/>
                      <a:pt x="39" y="225"/>
                      <a:pt x="39" y="226"/>
                    </a:cubicBezTo>
                    <a:cubicBezTo>
                      <a:pt x="40" y="229"/>
                      <a:pt x="35" y="231"/>
                      <a:pt x="33" y="232"/>
                    </a:cubicBezTo>
                    <a:cubicBezTo>
                      <a:pt x="32" y="233"/>
                      <a:pt x="26" y="237"/>
                      <a:pt x="30" y="238"/>
                    </a:cubicBezTo>
                    <a:cubicBezTo>
                      <a:pt x="31" y="238"/>
                      <a:pt x="34" y="238"/>
                      <a:pt x="36" y="238"/>
                    </a:cubicBezTo>
                    <a:cubicBezTo>
                      <a:pt x="38" y="238"/>
                      <a:pt x="39" y="236"/>
                      <a:pt x="41" y="236"/>
                    </a:cubicBezTo>
                    <a:cubicBezTo>
                      <a:pt x="42" y="240"/>
                      <a:pt x="35" y="240"/>
                      <a:pt x="33" y="240"/>
                    </a:cubicBezTo>
                    <a:cubicBezTo>
                      <a:pt x="30" y="240"/>
                      <a:pt x="26" y="240"/>
                      <a:pt x="23" y="239"/>
                    </a:cubicBezTo>
                    <a:cubicBezTo>
                      <a:pt x="22" y="239"/>
                      <a:pt x="20" y="239"/>
                      <a:pt x="18" y="239"/>
                    </a:cubicBezTo>
                    <a:cubicBezTo>
                      <a:pt x="17" y="240"/>
                      <a:pt x="17" y="242"/>
                      <a:pt x="18" y="243"/>
                    </a:cubicBezTo>
                    <a:cubicBezTo>
                      <a:pt x="22" y="245"/>
                      <a:pt x="25" y="247"/>
                      <a:pt x="29" y="247"/>
                    </a:cubicBezTo>
                    <a:cubicBezTo>
                      <a:pt x="30" y="247"/>
                      <a:pt x="32" y="247"/>
                      <a:pt x="34" y="247"/>
                    </a:cubicBezTo>
                    <a:cubicBezTo>
                      <a:pt x="34" y="247"/>
                      <a:pt x="35" y="246"/>
                      <a:pt x="35" y="246"/>
                    </a:cubicBezTo>
                    <a:cubicBezTo>
                      <a:pt x="37" y="245"/>
                      <a:pt x="39" y="245"/>
                      <a:pt x="40" y="244"/>
                    </a:cubicBezTo>
                    <a:cubicBezTo>
                      <a:pt x="43" y="243"/>
                      <a:pt x="47" y="244"/>
                      <a:pt x="50" y="243"/>
                    </a:cubicBezTo>
                    <a:cubicBezTo>
                      <a:pt x="51" y="242"/>
                      <a:pt x="53" y="241"/>
                      <a:pt x="54" y="241"/>
                    </a:cubicBezTo>
                    <a:cubicBezTo>
                      <a:pt x="56" y="240"/>
                      <a:pt x="58" y="239"/>
                      <a:pt x="59" y="236"/>
                    </a:cubicBezTo>
                    <a:cubicBezTo>
                      <a:pt x="59" y="234"/>
                      <a:pt x="58" y="233"/>
                      <a:pt x="58" y="231"/>
                    </a:cubicBezTo>
                    <a:cubicBezTo>
                      <a:pt x="58" y="230"/>
                      <a:pt x="58" y="228"/>
                      <a:pt x="57" y="228"/>
                    </a:cubicBezTo>
                    <a:cubicBezTo>
                      <a:pt x="57" y="228"/>
                      <a:pt x="56" y="227"/>
                      <a:pt x="56" y="227"/>
                    </a:cubicBezTo>
                    <a:cubicBezTo>
                      <a:pt x="57" y="227"/>
                      <a:pt x="57" y="227"/>
                      <a:pt x="58" y="226"/>
                    </a:cubicBezTo>
                    <a:cubicBezTo>
                      <a:pt x="58" y="226"/>
                      <a:pt x="60" y="226"/>
                      <a:pt x="60" y="226"/>
                    </a:cubicBezTo>
                    <a:cubicBezTo>
                      <a:pt x="60" y="226"/>
                      <a:pt x="61" y="225"/>
                      <a:pt x="61" y="225"/>
                    </a:cubicBezTo>
                    <a:cubicBezTo>
                      <a:pt x="62" y="224"/>
                      <a:pt x="62" y="223"/>
                      <a:pt x="62" y="223"/>
                    </a:cubicBezTo>
                    <a:cubicBezTo>
                      <a:pt x="62" y="222"/>
                      <a:pt x="62" y="222"/>
                      <a:pt x="63" y="221"/>
                    </a:cubicBezTo>
                    <a:cubicBezTo>
                      <a:pt x="64" y="221"/>
                      <a:pt x="64" y="220"/>
                      <a:pt x="64" y="220"/>
                    </a:cubicBezTo>
                    <a:cubicBezTo>
                      <a:pt x="65" y="219"/>
                      <a:pt x="66" y="219"/>
                      <a:pt x="67" y="218"/>
                    </a:cubicBezTo>
                    <a:cubicBezTo>
                      <a:pt x="67" y="217"/>
                      <a:pt x="67" y="215"/>
                      <a:pt x="68" y="214"/>
                    </a:cubicBezTo>
                    <a:cubicBezTo>
                      <a:pt x="69" y="213"/>
                      <a:pt x="70" y="213"/>
                      <a:pt x="71" y="212"/>
                    </a:cubicBezTo>
                    <a:cubicBezTo>
                      <a:pt x="71" y="211"/>
                      <a:pt x="72" y="211"/>
                      <a:pt x="72" y="210"/>
                    </a:cubicBezTo>
                    <a:cubicBezTo>
                      <a:pt x="72" y="210"/>
                      <a:pt x="73" y="209"/>
                      <a:pt x="73" y="209"/>
                    </a:cubicBezTo>
                    <a:cubicBezTo>
                      <a:pt x="73" y="209"/>
                      <a:pt x="73" y="209"/>
                      <a:pt x="74" y="208"/>
                    </a:cubicBezTo>
                    <a:cubicBezTo>
                      <a:pt x="74" y="208"/>
                      <a:pt x="74" y="208"/>
                      <a:pt x="74" y="208"/>
                    </a:cubicBezTo>
                    <a:cubicBezTo>
                      <a:pt x="75" y="207"/>
                      <a:pt x="76" y="207"/>
                      <a:pt x="76" y="206"/>
                    </a:cubicBezTo>
                    <a:cubicBezTo>
                      <a:pt x="78" y="204"/>
                      <a:pt x="84" y="196"/>
                      <a:pt x="85" y="195"/>
                    </a:cubicBezTo>
                    <a:cubicBezTo>
                      <a:pt x="85" y="194"/>
                      <a:pt x="86" y="193"/>
                      <a:pt x="86" y="193"/>
                    </a:cubicBezTo>
                    <a:cubicBezTo>
                      <a:pt x="86" y="193"/>
                      <a:pt x="87" y="193"/>
                      <a:pt x="87" y="192"/>
                    </a:cubicBezTo>
                    <a:cubicBezTo>
                      <a:pt x="87" y="192"/>
                      <a:pt x="87" y="191"/>
                      <a:pt x="87" y="191"/>
                    </a:cubicBezTo>
                    <a:cubicBezTo>
                      <a:pt x="88" y="189"/>
                      <a:pt x="98" y="179"/>
                      <a:pt x="99" y="177"/>
                    </a:cubicBezTo>
                    <a:cubicBezTo>
                      <a:pt x="99" y="176"/>
                      <a:pt x="100" y="176"/>
                      <a:pt x="100" y="175"/>
                    </a:cubicBezTo>
                    <a:cubicBezTo>
                      <a:pt x="101" y="174"/>
                      <a:pt x="102" y="172"/>
                      <a:pt x="101" y="175"/>
                    </a:cubicBezTo>
                    <a:cubicBezTo>
                      <a:pt x="100" y="177"/>
                      <a:pt x="92" y="189"/>
                      <a:pt x="92" y="189"/>
                    </a:cubicBezTo>
                    <a:cubicBezTo>
                      <a:pt x="90" y="190"/>
                      <a:pt x="90" y="191"/>
                      <a:pt x="89" y="192"/>
                    </a:cubicBezTo>
                    <a:cubicBezTo>
                      <a:pt x="86" y="195"/>
                      <a:pt x="85" y="198"/>
                      <a:pt x="82" y="202"/>
                    </a:cubicBezTo>
                    <a:cubicBezTo>
                      <a:pt x="81" y="203"/>
                      <a:pt x="81" y="204"/>
                      <a:pt x="79" y="206"/>
                    </a:cubicBezTo>
                    <a:cubicBezTo>
                      <a:pt x="78" y="208"/>
                      <a:pt x="76" y="209"/>
                      <a:pt x="75" y="211"/>
                    </a:cubicBezTo>
                    <a:cubicBezTo>
                      <a:pt x="72" y="214"/>
                      <a:pt x="72" y="218"/>
                      <a:pt x="70" y="222"/>
                    </a:cubicBezTo>
                    <a:cubicBezTo>
                      <a:pt x="70" y="223"/>
                      <a:pt x="69" y="222"/>
                      <a:pt x="69" y="223"/>
                    </a:cubicBezTo>
                    <a:cubicBezTo>
                      <a:pt x="68" y="224"/>
                      <a:pt x="69" y="226"/>
                      <a:pt x="68" y="226"/>
                    </a:cubicBezTo>
                    <a:cubicBezTo>
                      <a:pt x="68" y="227"/>
                      <a:pt x="68" y="229"/>
                      <a:pt x="68" y="230"/>
                    </a:cubicBezTo>
                    <a:cubicBezTo>
                      <a:pt x="70" y="229"/>
                      <a:pt x="73" y="229"/>
                      <a:pt x="75" y="229"/>
                    </a:cubicBezTo>
                    <a:cubicBezTo>
                      <a:pt x="68" y="231"/>
                      <a:pt x="68" y="231"/>
                      <a:pt x="68" y="231"/>
                    </a:cubicBezTo>
                    <a:cubicBezTo>
                      <a:pt x="68" y="231"/>
                      <a:pt x="68" y="232"/>
                      <a:pt x="68" y="232"/>
                    </a:cubicBezTo>
                    <a:cubicBezTo>
                      <a:pt x="67" y="232"/>
                      <a:pt x="67" y="232"/>
                      <a:pt x="66" y="232"/>
                    </a:cubicBezTo>
                    <a:cubicBezTo>
                      <a:pt x="68" y="231"/>
                      <a:pt x="68" y="231"/>
                      <a:pt x="68" y="231"/>
                    </a:cubicBezTo>
                    <a:cubicBezTo>
                      <a:pt x="68" y="231"/>
                      <a:pt x="68" y="230"/>
                      <a:pt x="68" y="230"/>
                    </a:cubicBezTo>
                    <a:cubicBezTo>
                      <a:pt x="68" y="230"/>
                      <a:pt x="67" y="230"/>
                      <a:pt x="67" y="231"/>
                    </a:cubicBezTo>
                    <a:cubicBezTo>
                      <a:pt x="65" y="232"/>
                      <a:pt x="66" y="233"/>
                      <a:pt x="66" y="236"/>
                    </a:cubicBezTo>
                    <a:cubicBezTo>
                      <a:pt x="62" y="237"/>
                      <a:pt x="63" y="239"/>
                      <a:pt x="61" y="243"/>
                    </a:cubicBezTo>
                    <a:cubicBezTo>
                      <a:pt x="60" y="245"/>
                      <a:pt x="59" y="245"/>
                      <a:pt x="59" y="248"/>
                    </a:cubicBezTo>
                    <a:cubicBezTo>
                      <a:pt x="59" y="250"/>
                      <a:pt x="59" y="252"/>
                      <a:pt x="59" y="254"/>
                    </a:cubicBezTo>
                    <a:cubicBezTo>
                      <a:pt x="60" y="254"/>
                      <a:pt x="64" y="244"/>
                      <a:pt x="67" y="250"/>
                    </a:cubicBezTo>
                    <a:cubicBezTo>
                      <a:pt x="63" y="252"/>
                      <a:pt x="65" y="255"/>
                      <a:pt x="64" y="258"/>
                    </a:cubicBezTo>
                    <a:cubicBezTo>
                      <a:pt x="64" y="258"/>
                      <a:pt x="63" y="258"/>
                      <a:pt x="63" y="258"/>
                    </a:cubicBezTo>
                    <a:cubicBezTo>
                      <a:pt x="62" y="259"/>
                      <a:pt x="62" y="260"/>
                      <a:pt x="63" y="261"/>
                    </a:cubicBezTo>
                    <a:cubicBezTo>
                      <a:pt x="63" y="262"/>
                      <a:pt x="64" y="262"/>
                      <a:pt x="64" y="262"/>
                    </a:cubicBezTo>
                    <a:cubicBezTo>
                      <a:pt x="64" y="262"/>
                      <a:pt x="64" y="263"/>
                      <a:pt x="64" y="264"/>
                    </a:cubicBezTo>
                    <a:cubicBezTo>
                      <a:pt x="61" y="263"/>
                      <a:pt x="62" y="270"/>
                      <a:pt x="62" y="272"/>
                    </a:cubicBezTo>
                    <a:cubicBezTo>
                      <a:pt x="62" y="275"/>
                      <a:pt x="60" y="277"/>
                      <a:pt x="60" y="280"/>
                    </a:cubicBezTo>
                    <a:cubicBezTo>
                      <a:pt x="60" y="283"/>
                      <a:pt x="60" y="286"/>
                      <a:pt x="60" y="288"/>
                    </a:cubicBezTo>
                    <a:cubicBezTo>
                      <a:pt x="59" y="289"/>
                      <a:pt x="60" y="291"/>
                      <a:pt x="60" y="291"/>
                    </a:cubicBezTo>
                    <a:cubicBezTo>
                      <a:pt x="59" y="292"/>
                      <a:pt x="58" y="292"/>
                      <a:pt x="58" y="293"/>
                    </a:cubicBezTo>
                    <a:cubicBezTo>
                      <a:pt x="57" y="294"/>
                      <a:pt x="57" y="294"/>
                      <a:pt x="57" y="296"/>
                    </a:cubicBezTo>
                    <a:cubicBezTo>
                      <a:pt x="62" y="297"/>
                      <a:pt x="63" y="295"/>
                      <a:pt x="65" y="291"/>
                    </a:cubicBezTo>
                    <a:cubicBezTo>
                      <a:pt x="68" y="287"/>
                      <a:pt x="71" y="285"/>
                      <a:pt x="71" y="280"/>
                    </a:cubicBezTo>
                    <a:cubicBezTo>
                      <a:pt x="71" y="277"/>
                      <a:pt x="70" y="271"/>
                      <a:pt x="71" y="268"/>
                    </a:cubicBezTo>
                    <a:cubicBezTo>
                      <a:pt x="73" y="267"/>
                      <a:pt x="75" y="268"/>
                      <a:pt x="77" y="267"/>
                    </a:cubicBezTo>
                    <a:cubicBezTo>
                      <a:pt x="78" y="267"/>
                      <a:pt x="80" y="266"/>
                      <a:pt x="81" y="265"/>
                    </a:cubicBezTo>
                    <a:cubicBezTo>
                      <a:pt x="83" y="269"/>
                      <a:pt x="78" y="270"/>
                      <a:pt x="76" y="273"/>
                    </a:cubicBezTo>
                    <a:cubicBezTo>
                      <a:pt x="75" y="274"/>
                      <a:pt x="76" y="275"/>
                      <a:pt x="75" y="275"/>
                    </a:cubicBezTo>
                    <a:cubicBezTo>
                      <a:pt x="75" y="276"/>
                      <a:pt x="73" y="276"/>
                      <a:pt x="73" y="277"/>
                    </a:cubicBezTo>
                    <a:cubicBezTo>
                      <a:pt x="72" y="278"/>
                      <a:pt x="72" y="281"/>
                      <a:pt x="72" y="282"/>
                    </a:cubicBezTo>
                    <a:cubicBezTo>
                      <a:pt x="73" y="286"/>
                      <a:pt x="75" y="291"/>
                      <a:pt x="79" y="290"/>
                    </a:cubicBezTo>
                    <a:cubicBezTo>
                      <a:pt x="82" y="289"/>
                      <a:pt x="81" y="290"/>
                      <a:pt x="81" y="286"/>
                    </a:cubicBezTo>
                    <a:cubicBezTo>
                      <a:pt x="82" y="284"/>
                      <a:pt x="83" y="283"/>
                      <a:pt x="86" y="284"/>
                    </a:cubicBezTo>
                    <a:cubicBezTo>
                      <a:pt x="86" y="287"/>
                      <a:pt x="86" y="288"/>
                      <a:pt x="88" y="290"/>
                    </a:cubicBezTo>
                    <a:cubicBezTo>
                      <a:pt x="90" y="292"/>
                      <a:pt x="91" y="294"/>
                      <a:pt x="92" y="296"/>
                    </a:cubicBezTo>
                    <a:cubicBezTo>
                      <a:pt x="93" y="298"/>
                      <a:pt x="94" y="301"/>
                      <a:pt x="95" y="298"/>
                    </a:cubicBezTo>
                    <a:cubicBezTo>
                      <a:pt x="95" y="297"/>
                      <a:pt x="95" y="294"/>
                      <a:pt x="95" y="293"/>
                    </a:cubicBezTo>
                    <a:cubicBezTo>
                      <a:pt x="95" y="291"/>
                      <a:pt x="93" y="290"/>
                      <a:pt x="94" y="288"/>
                    </a:cubicBezTo>
                    <a:cubicBezTo>
                      <a:pt x="95" y="288"/>
                      <a:pt x="96" y="288"/>
                      <a:pt x="98" y="288"/>
                    </a:cubicBezTo>
                    <a:cubicBezTo>
                      <a:pt x="98" y="287"/>
                      <a:pt x="98" y="285"/>
                      <a:pt x="98" y="283"/>
                    </a:cubicBezTo>
                    <a:cubicBezTo>
                      <a:pt x="98" y="280"/>
                      <a:pt x="98" y="279"/>
                      <a:pt x="99" y="277"/>
                    </a:cubicBezTo>
                    <a:cubicBezTo>
                      <a:pt x="100" y="276"/>
                      <a:pt x="100" y="273"/>
                      <a:pt x="101" y="272"/>
                    </a:cubicBezTo>
                    <a:cubicBezTo>
                      <a:pt x="104" y="272"/>
                      <a:pt x="103" y="275"/>
                      <a:pt x="103" y="277"/>
                    </a:cubicBezTo>
                    <a:cubicBezTo>
                      <a:pt x="106" y="277"/>
                      <a:pt x="112" y="275"/>
                      <a:pt x="110" y="279"/>
                    </a:cubicBezTo>
                    <a:cubicBezTo>
                      <a:pt x="108" y="280"/>
                      <a:pt x="105" y="279"/>
                      <a:pt x="103" y="280"/>
                    </a:cubicBezTo>
                    <a:cubicBezTo>
                      <a:pt x="101" y="281"/>
                      <a:pt x="102" y="283"/>
                      <a:pt x="102" y="285"/>
                    </a:cubicBezTo>
                    <a:cubicBezTo>
                      <a:pt x="101" y="288"/>
                      <a:pt x="99" y="288"/>
                      <a:pt x="98" y="290"/>
                    </a:cubicBezTo>
                    <a:cubicBezTo>
                      <a:pt x="97" y="292"/>
                      <a:pt x="97" y="294"/>
                      <a:pt x="97" y="296"/>
                    </a:cubicBezTo>
                    <a:cubicBezTo>
                      <a:pt x="98" y="297"/>
                      <a:pt x="98" y="298"/>
                      <a:pt x="99" y="299"/>
                    </a:cubicBezTo>
                    <a:cubicBezTo>
                      <a:pt x="99" y="300"/>
                      <a:pt x="98" y="301"/>
                      <a:pt x="99" y="301"/>
                    </a:cubicBezTo>
                    <a:cubicBezTo>
                      <a:pt x="99" y="302"/>
                      <a:pt x="100" y="302"/>
                      <a:pt x="100" y="302"/>
                    </a:cubicBezTo>
                    <a:cubicBezTo>
                      <a:pt x="101" y="303"/>
                      <a:pt x="102" y="305"/>
                      <a:pt x="103" y="306"/>
                    </a:cubicBezTo>
                    <a:cubicBezTo>
                      <a:pt x="103" y="307"/>
                      <a:pt x="105" y="307"/>
                      <a:pt x="106" y="308"/>
                    </a:cubicBezTo>
                    <a:cubicBezTo>
                      <a:pt x="107" y="308"/>
                      <a:pt x="108" y="310"/>
                      <a:pt x="110" y="310"/>
                    </a:cubicBezTo>
                    <a:cubicBezTo>
                      <a:pt x="111" y="310"/>
                      <a:pt x="112" y="310"/>
                      <a:pt x="113" y="311"/>
                    </a:cubicBezTo>
                    <a:cubicBezTo>
                      <a:pt x="114" y="312"/>
                      <a:pt x="114" y="319"/>
                      <a:pt x="113" y="320"/>
                    </a:cubicBezTo>
                    <a:cubicBezTo>
                      <a:pt x="110" y="320"/>
                      <a:pt x="109" y="324"/>
                      <a:pt x="108" y="327"/>
                    </a:cubicBezTo>
                    <a:cubicBezTo>
                      <a:pt x="107" y="330"/>
                      <a:pt x="107" y="332"/>
                      <a:pt x="106" y="336"/>
                    </a:cubicBezTo>
                    <a:cubicBezTo>
                      <a:pt x="105" y="341"/>
                      <a:pt x="102" y="347"/>
                      <a:pt x="98" y="351"/>
                    </a:cubicBezTo>
                    <a:cubicBezTo>
                      <a:pt x="97" y="353"/>
                      <a:pt x="95" y="355"/>
                      <a:pt x="93" y="356"/>
                    </a:cubicBezTo>
                    <a:cubicBezTo>
                      <a:pt x="91" y="359"/>
                      <a:pt x="91" y="362"/>
                      <a:pt x="91" y="365"/>
                    </a:cubicBezTo>
                    <a:cubicBezTo>
                      <a:pt x="91" y="369"/>
                      <a:pt x="92" y="377"/>
                      <a:pt x="96" y="379"/>
                    </a:cubicBezTo>
                    <a:cubicBezTo>
                      <a:pt x="93" y="380"/>
                      <a:pt x="92" y="373"/>
                      <a:pt x="91" y="372"/>
                    </a:cubicBezTo>
                    <a:cubicBezTo>
                      <a:pt x="90" y="368"/>
                      <a:pt x="88" y="367"/>
                      <a:pt x="84" y="368"/>
                    </a:cubicBezTo>
                    <a:cubicBezTo>
                      <a:pt x="83" y="371"/>
                      <a:pt x="83" y="374"/>
                      <a:pt x="84" y="377"/>
                    </a:cubicBezTo>
                    <a:cubicBezTo>
                      <a:pt x="85" y="380"/>
                      <a:pt x="87" y="383"/>
                      <a:pt x="89" y="385"/>
                    </a:cubicBezTo>
                    <a:cubicBezTo>
                      <a:pt x="90" y="386"/>
                      <a:pt x="92" y="387"/>
                      <a:pt x="93" y="388"/>
                    </a:cubicBezTo>
                    <a:cubicBezTo>
                      <a:pt x="94" y="390"/>
                      <a:pt x="97" y="405"/>
                      <a:pt x="101" y="403"/>
                    </a:cubicBezTo>
                    <a:cubicBezTo>
                      <a:pt x="102" y="398"/>
                      <a:pt x="99" y="392"/>
                      <a:pt x="99" y="387"/>
                    </a:cubicBezTo>
                    <a:cubicBezTo>
                      <a:pt x="99" y="383"/>
                      <a:pt x="98" y="380"/>
                      <a:pt x="102" y="378"/>
                    </a:cubicBezTo>
                    <a:cubicBezTo>
                      <a:pt x="105" y="377"/>
                      <a:pt x="105" y="378"/>
                      <a:pt x="107" y="381"/>
                    </a:cubicBezTo>
                    <a:cubicBezTo>
                      <a:pt x="107" y="382"/>
                      <a:pt x="109" y="382"/>
                      <a:pt x="109" y="382"/>
                    </a:cubicBezTo>
                    <a:cubicBezTo>
                      <a:pt x="110" y="384"/>
                      <a:pt x="111" y="385"/>
                      <a:pt x="112" y="386"/>
                    </a:cubicBezTo>
                    <a:cubicBezTo>
                      <a:pt x="113" y="388"/>
                      <a:pt x="115" y="389"/>
                      <a:pt x="117" y="390"/>
                    </a:cubicBezTo>
                    <a:cubicBezTo>
                      <a:pt x="121" y="394"/>
                      <a:pt x="123" y="399"/>
                      <a:pt x="130" y="399"/>
                    </a:cubicBezTo>
                    <a:cubicBezTo>
                      <a:pt x="131" y="395"/>
                      <a:pt x="130" y="395"/>
                      <a:pt x="128" y="391"/>
                    </a:cubicBezTo>
                    <a:cubicBezTo>
                      <a:pt x="127" y="388"/>
                      <a:pt x="127" y="385"/>
                      <a:pt x="127" y="381"/>
                    </a:cubicBezTo>
                    <a:cubicBezTo>
                      <a:pt x="127" y="376"/>
                      <a:pt x="130" y="380"/>
                      <a:pt x="133" y="382"/>
                    </a:cubicBezTo>
                    <a:cubicBezTo>
                      <a:pt x="137" y="384"/>
                      <a:pt x="136" y="385"/>
                      <a:pt x="137" y="390"/>
                    </a:cubicBezTo>
                    <a:cubicBezTo>
                      <a:pt x="139" y="390"/>
                      <a:pt x="142" y="391"/>
                      <a:pt x="145" y="391"/>
                    </a:cubicBezTo>
                    <a:cubicBezTo>
                      <a:pt x="145" y="391"/>
                      <a:pt x="147" y="392"/>
                      <a:pt x="147" y="392"/>
                    </a:cubicBezTo>
                    <a:cubicBezTo>
                      <a:pt x="148" y="392"/>
                      <a:pt x="149" y="390"/>
                      <a:pt x="150" y="390"/>
                    </a:cubicBezTo>
                    <a:cubicBezTo>
                      <a:pt x="153" y="389"/>
                      <a:pt x="154" y="390"/>
                      <a:pt x="156" y="388"/>
                    </a:cubicBezTo>
                    <a:cubicBezTo>
                      <a:pt x="158" y="386"/>
                      <a:pt x="158" y="385"/>
                      <a:pt x="160" y="383"/>
                    </a:cubicBezTo>
                    <a:cubicBezTo>
                      <a:pt x="162" y="381"/>
                      <a:pt x="162" y="380"/>
                      <a:pt x="165" y="381"/>
                    </a:cubicBezTo>
                    <a:cubicBezTo>
                      <a:pt x="166" y="381"/>
                      <a:pt x="166" y="382"/>
                      <a:pt x="166" y="383"/>
                    </a:cubicBezTo>
                    <a:cubicBezTo>
                      <a:pt x="167" y="383"/>
                      <a:pt x="168" y="382"/>
                      <a:pt x="168" y="383"/>
                    </a:cubicBezTo>
                    <a:cubicBezTo>
                      <a:pt x="169" y="383"/>
                      <a:pt x="170" y="383"/>
                      <a:pt x="171" y="383"/>
                    </a:cubicBezTo>
                    <a:cubicBezTo>
                      <a:pt x="174" y="382"/>
                      <a:pt x="175" y="381"/>
                      <a:pt x="174" y="378"/>
                    </a:cubicBezTo>
                    <a:cubicBezTo>
                      <a:pt x="174" y="377"/>
                      <a:pt x="172" y="376"/>
                      <a:pt x="171" y="375"/>
                    </a:cubicBezTo>
                    <a:cubicBezTo>
                      <a:pt x="171" y="374"/>
                      <a:pt x="171" y="373"/>
                      <a:pt x="172" y="372"/>
                    </a:cubicBezTo>
                    <a:cubicBezTo>
                      <a:pt x="175" y="371"/>
                      <a:pt x="177" y="372"/>
                      <a:pt x="180" y="372"/>
                    </a:cubicBezTo>
                    <a:cubicBezTo>
                      <a:pt x="183" y="372"/>
                      <a:pt x="185" y="372"/>
                      <a:pt x="187" y="372"/>
                    </a:cubicBezTo>
                    <a:cubicBezTo>
                      <a:pt x="189" y="371"/>
                      <a:pt x="191" y="370"/>
                      <a:pt x="193" y="369"/>
                    </a:cubicBezTo>
                    <a:cubicBezTo>
                      <a:pt x="196" y="368"/>
                      <a:pt x="197" y="366"/>
                      <a:pt x="201" y="367"/>
                    </a:cubicBezTo>
                    <a:cubicBezTo>
                      <a:pt x="201" y="368"/>
                      <a:pt x="201" y="369"/>
                      <a:pt x="201" y="371"/>
                    </a:cubicBezTo>
                    <a:cubicBezTo>
                      <a:pt x="197" y="370"/>
                      <a:pt x="195" y="375"/>
                      <a:pt x="192" y="375"/>
                    </a:cubicBezTo>
                    <a:cubicBezTo>
                      <a:pt x="190" y="376"/>
                      <a:pt x="189" y="373"/>
                      <a:pt x="187" y="374"/>
                    </a:cubicBezTo>
                    <a:cubicBezTo>
                      <a:pt x="186" y="375"/>
                      <a:pt x="186" y="377"/>
                      <a:pt x="186" y="378"/>
                    </a:cubicBezTo>
                    <a:cubicBezTo>
                      <a:pt x="185" y="378"/>
                      <a:pt x="183" y="378"/>
                      <a:pt x="182" y="378"/>
                    </a:cubicBezTo>
                    <a:cubicBezTo>
                      <a:pt x="180" y="379"/>
                      <a:pt x="182" y="378"/>
                      <a:pt x="180" y="380"/>
                    </a:cubicBezTo>
                    <a:cubicBezTo>
                      <a:pt x="179" y="382"/>
                      <a:pt x="178" y="385"/>
                      <a:pt x="176" y="388"/>
                    </a:cubicBezTo>
                    <a:cubicBezTo>
                      <a:pt x="175" y="389"/>
                      <a:pt x="175" y="390"/>
                      <a:pt x="174" y="391"/>
                    </a:cubicBezTo>
                    <a:cubicBezTo>
                      <a:pt x="174" y="391"/>
                      <a:pt x="174" y="392"/>
                      <a:pt x="173" y="392"/>
                    </a:cubicBezTo>
                    <a:cubicBezTo>
                      <a:pt x="173" y="392"/>
                      <a:pt x="172" y="392"/>
                      <a:pt x="171" y="392"/>
                    </a:cubicBezTo>
                    <a:cubicBezTo>
                      <a:pt x="170" y="393"/>
                      <a:pt x="170" y="394"/>
                      <a:pt x="169" y="395"/>
                    </a:cubicBezTo>
                    <a:cubicBezTo>
                      <a:pt x="169" y="396"/>
                      <a:pt x="169" y="397"/>
                      <a:pt x="169" y="397"/>
                    </a:cubicBezTo>
                    <a:cubicBezTo>
                      <a:pt x="169" y="398"/>
                      <a:pt x="168" y="398"/>
                      <a:pt x="168" y="399"/>
                    </a:cubicBezTo>
                    <a:cubicBezTo>
                      <a:pt x="165" y="402"/>
                      <a:pt x="164" y="409"/>
                      <a:pt x="165" y="414"/>
                    </a:cubicBezTo>
                    <a:cubicBezTo>
                      <a:pt x="166" y="418"/>
                      <a:pt x="171" y="422"/>
                      <a:pt x="172" y="425"/>
                    </a:cubicBezTo>
                    <a:cubicBezTo>
                      <a:pt x="173" y="427"/>
                      <a:pt x="173" y="429"/>
                      <a:pt x="174" y="430"/>
                    </a:cubicBezTo>
                    <a:cubicBezTo>
                      <a:pt x="174" y="431"/>
                      <a:pt x="175" y="432"/>
                      <a:pt x="176" y="433"/>
                    </a:cubicBezTo>
                    <a:cubicBezTo>
                      <a:pt x="176" y="434"/>
                      <a:pt x="177" y="434"/>
                      <a:pt x="177" y="435"/>
                    </a:cubicBezTo>
                    <a:cubicBezTo>
                      <a:pt x="178" y="435"/>
                      <a:pt x="177" y="436"/>
                      <a:pt x="177" y="437"/>
                    </a:cubicBezTo>
                    <a:cubicBezTo>
                      <a:pt x="180" y="441"/>
                      <a:pt x="186" y="442"/>
                      <a:pt x="185" y="448"/>
                    </a:cubicBezTo>
                    <a:cubicBezTo>
                      <a:pt x="184" y="450"/>
                      <a:pt x="182" y="452"/>
                      <a:pt x="185" y="454"/>
                    </a:cubicBezTo>
                    <a:cubicBezTo>
                      <a:pt x="185" y="455"/>
                      <a:pt x="187" y="456"/>
                      <a:pt x="188" y="456"/>
                    </a:cubicBezTo>
                    <a:cubicBezTo>
                      <a:pt x="190" y="455"/>
                      <a:pt x="189" y="454"/>
                      <a:pt x="190" y="453"/>
                    </a:cubicBezTo>
                    <a:cubicBezTo>
                      <a:pt x="192" y="452"/>
                      <a:pt x="193" y="453"/>
                      <a:pt x="195" y="451"/>
                    </a:cubicBezTo>
                    <a:cubicBezTo>
                      <a:pt x="196" y="449"/>
                      <a:pt x="196" y="447"/>
                      <a:pt x="199" y="448"/>
                    </a:cubicBezTo>
                    <a:cubicBezTo>
                      <a:pt x="202" y="449"/>
                      <a:pt x="203" y="452"/>
                      <a:pt x="205" y="448"/>
                    </a:cubicBezTo>
                    <a:cubicBezTo>
                      <a:pt x="206" y="446"/>
                      <a:pt x="206" y="442"/>
                      <a:pt x="209" y="443"/>
                    </a:cubicBezTo>
                    <a:cubicBezTo>
                      <a:pt x="212" y="443"/>
                      <a:pt x="213" y="447"/>
                      <a:pt x="212" y="449"/>
                    </a:cubicBezTo>
                    <a:cubicBezTo>
                      <a:pt x="212" y="452"/>
                      <a:pt x="209" y="452"/>
                      <a:pt x="208" y="455"/>
                    </a:cubicBezTo>
                    <a:cubicBezTo>
                      <a:pt x="206" y="455"/>
                      <a:pt x="205" y="459"/>
                      <a:pt x="205" y="461"/>
                    </a:cubicBezTo>
                    <a:cubicBezTo>
                      <a:pt x="205" y="461"/>
                      <a:pt x="206" y="462"/>
                      <a:pt x="206" y="462"/>
                    </a:cubicBezTo>
                    <a:cubicBezTo>
                      <a:pt x="206" y="463"/>
                      <a:pt x="206" y="464"/>
                      <a:pt x="206" y="465"/>
                    </a:cubicBezTo>
                    <a:cubicBezTo>
                      <a:pt x="205" y="466"/>
                      <a:pt x="205" y="466"/>
                      <a:pt x="204" y="468"/>
                    </a:cubicBezTo>
                    <a:cubicBezTo>
                      <a:pt x="204" y="468"/>
                      <a:pt x="203" y="467"/>
                      <a:pt x="203" y="467"/>
                    </a:cubicBezTo>
                    <a:cubicBezTo>
                      <a:pt x="202" y="468"/>
                      <a:pt x="202" y="468"/>
                      <a:pt x="202" y="469"/>
                    </a:cubicBezTo>
                    <a:cubicBezTo>
                      <a:pt x="201" y="469"/>
                      <a:pt x="200" y="470"/>
                      <a:pt x="200" y="471"/>
                    </a:cubicBezTo>
                    <a:cubicBezTo>
                      <a:pt x="198" y="473"/>
                      <a:pt x="197" y="474"/>
                      <a:pt x="199" y="476"/>
                    </a:cubicBezTo>
                    <a:cubicBezTo>
                      <a:pt x="198" y="478"/>
                      <a:pt x="196" y="478"/>
                      <a:pt x="195" y="480"/>
                    </a:cubicBezTo>
                    <a:cubicBezTo>
                      <a:pt x="193" y="483"/>
                      <a:pt x="195" y="483"/>
                      <a:pt x="196" y="485"/>
                    </a:cubicBezTo>
                    <a:cubicBezTo>
                      <a:pt x="197" y="487"/>
                      <a:pt x="198" y="490"/>
                      <a:pt x="197" y="492"/>
                    </a:cubicBezTo>
                    <a:cubicBezTo>
                      <a:pt x="196" y="494"/>
                      <a:pt x="194" y="494"/>
                      <a:pt x="194" y="498"/>
                    </a:cubicBezTo>
                    <a:cubicBezTo>
                      <a:pt x="194" y="500"/>
                      <a:pt x="195" y="502"/>
                      <a:pt x="194" y="504"/>
                    </a:cubicBezTo>
                    <a:cubicBezTo>
                      <a:pt x="194" y="506"/>
                      <a:pt x="195" y="510"/>
                      <a:pt x="194" y="511"/>
                    </a:cubicBezTo>
                    <a:cubicBezTo>
                      <a:pt x="193" y="515"/>
                      <a:pt x="187" y="512"/>
                      <a:pt x="188" y="516"/>
                    </a:cubicBezTo>
                    <a:cubicBezTo>
                      <a:pt x="188" y="517"/>
                      <a:pt x="190" y="518"/>
                      <a:pt x="190" y="519"/>
                    </a:cubicBezTo>
                    <a:cubicBezTo>
                      <a:pt x="190" y="520"/>
                      <a:pt x="189" y="521"/>
                      <a:pt x="189" y="522"/>
                    </a:cubicBezTo>
                    <a:cubicBezTo>
                      <a:pt x="187" y="523"/>
                      <a:pt x="186" y="521"/>
                      <a:pt x="185" y="519"/>
                    </a:cubicBezTo>
                    <a:cubicBezTo>
                      <a:pt x="184" y="518"/>
                      <a:pt x="182" y="518"/>
                      <a:pt x="181" y="517"/>
                    </a:cubicBezTo>
                    <a:cubicBezTo>
                      <a:pt x="180" y="516"/>
                      <a:pt x="179" y="514"/>
                      <a:pt x="178" y="514"/>
                    </a:cubicBezTo>
                    <a:cubicBezTo>
                      <a:pt x="176" y="513"/>
                      <a:pt x="173" y="515"/>
                      <a:pt x="174" y="517"/>
                    </a:cubicBezTo>
                    <a:cubicBezTo>
                      <a:pt x="169" y="518"/>
                      <a:pt x="161" y="511"/>
                      <a:pt x="157" y="514"/>
                    </a:cubicBezTo>
                    <a:cubicBezTo>
                      <a:pt x="163" y="515"/>
                      <a:pt x="160" y="523"/>
                      <a:pt x="163" y="525"/>
                    </a:cubicBezTo>
                    <a:cubicBezTo>
                      <a:pt x="160" y="525"/>
                      <a:pt x="155" y="524"/>
                      <a:pt x="152" y="525"/>
                    </a:cubicBezTo>
                    <a:cubicBezTo>
                      <a:pt x="150" y="526"/>
                      <a:pt x="151" y="530"/>
                      <a:pt x="148" y="531"/>
                    </a:cubicBezTo>
                    <a:cubicBezTo>
                      <a:pt x="148" y="531"/>
                      <a:pt x="146" y="532"/>
                      <a:pt x="146" y="532"/>
                    </a:cubicBezTo>
                    <a:cubicBezTo>
                      <a:pt x="144" y="533"/>
                      <a:pt x="143" y="533"/>
                      <a:pt x="142" y="531"/>
                    </a:cubicBezTo>
                    <a:cubicBezTo>
                      <a:pt x="141" y="529"/>
                      <a:pt x="143" y="529"/>
                      <a:pt x="143" y="528"/>
                    </a:cubicBezTo>
                    <a:cubicBezTo>
                      <a:pt x="144" y="526"/>
                      <a:pt x="144" y="526"/>
                      <a:pt x="144" y="523"/>
                    </a:cubicBezTo>
                    <a:cubicBezTo>
                      <a:pt x="142" y="522"/>
                      <a:pt x="142" y="524"/>
                      <a:pt x="141" y="525"/>
                    </a:cubicBezTo>
                    <a:cubicBezTo>
                      <a:pt x="139" y="525"/>
                      <a:pt x="138" y="525"/>
                      <a:pt x="136" y="525"/>
                    </a:cubicBezTo>
                    <a:cubicBezTo>
                      <a:pt x="136" y="523"/>
                      <a:pt x="136" y="522"/>
                      <a:pt x="135" y="520"/>
                    </a:cubicBezTo>
                    <a:cubicBezTo>
                      <a:pt x="134" y="518"/>
                      <a:pt x="132" y="515"/>
                      <a:pt x="130" y="514"/>
                    </a:cubicBezTo>
                    <a:cubicBezTo>
                      <a:pt x="128" y="512"/>
                      <a:pt x="123" y="513"/>
                      <a:pt x="120" y="513"/>
                    </a:cubicBezTo>
                    <a:cubicBezTo>
                      <a:pt x="116" y="513"/>
                      <a:pt x="112" y="516"/>
                      <a:pt x="114" y="521"/>
                    </a:cubicBezTo>
                    <a:cubicBezTo>
                      <a:pt x="115" y="523"/>
                      <a:pt x="119" y="525"/>
                      <a:pt x="118" y="526"/>
                    </a:cubicBezTo>
                    <a:cubicBezTo>
                      <a:pt x="116" y="529"/>
                      <a:pt x="109" y="520"/>
                      <a:pt x="107" y="521"/>
                    </a:cubicBezTo>
                    <a:cubicBezTo>
                      <a:pt x="109" y="525"/>
                      <a:pt x="112" y="529"/>
                      <a:pt x="115" y="531"/>
                    </a:cubicBezTo>
                    <a:cubicBezTo>
                      <a:pt x="118" y="534"/>
                      <a:pt x="121" y="532"/>
                      <a:pt x="122" y="537"/>
                    </a:cubicBezTo>
                    <a:cubicBezTo>
                      <a:pt x="125" y="537"/>
                      <a:pt x="124" y="539"/>
                      <a:pt x="126" y="541"/>
                    </a:cubicBezTo>
                    <a:cubicBezTo>
                      <a:pt x="127" y="543"/>
                      <a:pt x="129" y="543"/>
                      <a:pt x="130" y="545"/>
                    </a:cubicBezTo>
                    <a:cubicBezTo>
                      <a:pt x="129" y="545"/>
                      <a:pt x="128" y="548"/>
                      <a:pt x="127" y="549"/>
                    </a:cubicBezTo>
                    <a:cubicBezTo>
                      <a:pt x="125" y="552"/>
                      <a:pt x="124" y="556"/>
                      <a:pt x="123" y="560"/>
                    </a:cubicBezTo>
                    <a:cubicBezTo>
                      <a:pt x="123" y="559"/>
                      <a:pt x="123" y="559"/>
                      <a:pt x="123" y="558"/>
                    </a:cubicBezTo>
                    <a:cubicBezTo>
                      <a:pt x="122" y="560"/>
                      <a:pt x="120" y="562"/>
                      <a:pt x="118" y="563"/>
                    </a:cubicBezTo>
                    <a:cubicBezTo>
                      <a:pt x="117" y="564"/>
                      <a:pt x="114" y="563"/>
                      <a:pt x="112" y="564"/>
                    </a:cubicBezTo>
                    <a:cubicBezTo>
                      <a:pt x="112" y="564"/>
                      <a:pt x="111" y="565"/>
                      <a:pt x="110" y="566"/>
                    </a:cubicBezTo>
                    <a:cubicBezTo>
                      <a:pt x="109" y="567"/>
                      <a:pt x="109" y="566"/>
                      <a:pt x="108" y="568"/>
                    </a:cubicBezTo>
                    <a:cubicBezTo>
                      <a:pt x="106" y="570"/>
                      <a:pt x="106" y="572"/>
                      <a:pt x="107" y="574"/>
                    </a:cubicBezTo>
                    <a:cubicBezTo>
                      <a:pt x="108" y="574"/>
                      <a:pt x="110" y="574"/>
                      <a:pt x="112" y="574"/>
                    </a:cubicBezTo>
                    <a:cubicBezTo>
                      <a:pt x="113" y="574"/>
                      <a:pt x="112" y="575"/>
                      <a:pt x="113" y="576"/>
                    </a:cubicBezTo>
                    <a:cubicBezTo>
                      <a:pt x="114" y="576"/>
                      <a:pt x="116" y="576"/>
                      <a:pt x="117" y="576"/>
                    </a:cubicBezTo>
                    <a:cubicBezTo>
                      <a:pt x="122" y="577"/>
                      <a:pt x="121" y="570"/>
                      <a:pt x="124" y="567"/>
                    </a:cubicBezTo>
                    <a:cubicBezTo>
                      <a:pt x="126" y="564"/>
                      <a:pt x="129" y="563"/>
                      <a:pt x="132" y="561"/>
                    </a:cubicBezTo>
                    <a:cubicBezTo>
                      <a:pt x="135" y="559"/>
                      <a:pt x="141" y="558"/>
                      <a:pt x="144" y="559"/>
                    </a:cubicBezTo>
                    <a:cubicBezTo>
                      <a:pt x="144" y="561"/>
                      <a:pt x="143" y="562"/>
                      <a:pt x="143" y="563"/>
                    </a:cubicBezTo>
                    <a:cubicBezTo>
                      <a:pt x="142" y="565"/>
                      <a:pt x="142" y="565"/>
                      <a:pt x="142" y="567"/>
                    </a:cubicBezTo>
                    <a:cubicBezTo>
                      <a:pt x="142" y="570"/>
                      <a:pt x="146" y="574"/>
                      <a:pt x="142" y="574"/>
                    </a:cubicBezTo>
                    <a:cubicBezTo>
                      <a:pt x="142" y="576"/>
                      <a:pt x="141" y="577"/>
                      <a:pt x="141" y="578"/>
                    </a:cubicBezTo>
                    <a:cubicBezTo>
                      <a:pt x="141" y="580"/>
                      <a:pt x="143" y="582"/>
                      <a:pt x="143" y="584"/>
                    </a:cubicBezTo>
                    <a:cubicBezTo>
                      <a:pt x="143" y="585"/>
                      <a:pt x="139" y="589"/>
                      <a:pt x="143" y="590"/>
                    </a:cubicBezTo>
                    <a:cubicBezTo>
                      <a:pt x="143" y="592"/>
                      <a:pt x="145" y="595"/>
                      <a:pt x="144" y="597"/>
                    </a:cubicBezTo>
                    <a:cubicBezTo>
                      <a:pt x="144" y="598"/>
                      <a:pt x="143" y="598"/>
                      <a:pt x="142" y="600"/>
                    </a:cubicBezTo>
                    <a:cubicBezTo>
                      <a:pt x="141" y="601"/>
                      <a:pt x="141" y="602"/>
                      <a:pt x="141" y="603"/>
                    </a:cubicBezTo>
                    <a:cubicBezTo>
                      <a:pt x="141" y="605"/>
                      <a:pt x="140" y="606"/>
                      <a:pt x="139" y="608"/>
                    </a:cubicBezTo>
                    <a:cubicBezTo>
                      <a:pt x="139" y="609"/>
                      <a:pt x="140" y="611"/>
                      <a:pt x="139" y="612"/>
                    </a:cubicBezTo>
                    <a:cubicBezTo>
                      <a:pt x="139" y="613"/>
                      <a:pt x="137" y="613"/>
                      <a:pt x="137" y="614"/>
                    </a:cubicBezTo>
                    <a:cubicBezTo>
                      <a:pt x="136" y="615"/>
                      <a:pt x="136" y="616"/>
                      <a:pt x="136" y="617"/>
                    </a:cubicBezTo>
                    <a:cubicBezTo>
                      <a:pt x="134" y="621"/>
                      <a:pt x="134" y="619"/>
                      <a:pt x="132" y="620"/>
                    </a:cubicBezTo>
                    <a:cubicBezTo>
                      <a:pt x="130" y="621"/>
                      <a:pt x="129" y="623"/>
                      <a:pt x="128" y="624"/>
                    </a:cubicBezTo>
                    <a:cubicBezTo>
                      <a:pt x="127" y="624"/>
                      <a:pt x="126" y="625"/>
                      <a:pt x="125" y="625"/>
                    </a:cubicBezTo>
                    <a:cubicBezTo>
                      <a:pt x="125" y="626"/>
                      <a:pt x="124" y="625"/>
                      <a:pt x="123" y="626"/>
                    </a:cubicBezTo>
                    <a:cubicBezTo>
                      <a:pt x="122" y="626"/>
                      <a:pt x="121" y="629"/>
                      <a:pt x="120" y="630"/>
                    </a:cubicBezTo>
                    <a:cubicBezTo>
                      <a:pt x="118" y="631"/>
                      <a:pt x="115" y="629"/>
                      <a:pt x="113" y="630"/>
                    </a:cubicBezTo>
                    <a:cubicBezTo>
                      <a:pt x="113" y="630"/>
                      <a:pt x="112" y="631"/>
                      <a:pt x="112" y="631"/>
                    </a:cubicBezTo>
                    <a:cubicBezTo>
                      <a:pt x="111" y="631"/>
                      <a:pt x="109" y="631"/>
                      <a:pt x="109" y="631"/>
                    </a:cubicBezTo>
                    <a:cubicBezTo>
                      <a:pt x="108" y="632"/>
                      <a:pt x="106" y="633"/>
                      <a:pt x="105" y="634"/>
                    </a:cubicBezTo>
                    <a:cubicBezTo>
                      <a:pt x="104" y="635"/>
                      <a:pt x="104" y="637"/>
                      <a:pt x="103" y="638"/>
                    </a:cubicBezTo>
                    <a:cubicBezTo>
                      <a:pt x="101" y="640"/>
                      <a:pt x="95" y="639"/>
                      <a:pt x="93" y="637"/>
                    </a:cubicBezTo>
                    <a:cubicBezTo>
                      <a:pt x="91" y="636"/>
                      <a:pt x="92" y="635"/>
                      <a:pt x="89" y="636"/>
                    </a:cubicBezTo>
                    <a:cubicBezTo>
                      <a:pt x="87" y="638"/>
                      <a:pt x="88" y="639"/>
                      <a:pt x="87" y="642"/>
                    </a:cubicBezTo>
                    <a:cubicBezTo>
                      <a:pt x="86" y="643"/>
                      <a:pt x="82" y="642"/>
                      <a:pt x="82" y="643"/>
                    </a:cubicBezTo>
                    <a:cubicBezTo>
                      <a:pt x="81" y="644"/>
                      <a:pt x="82" y="648"/>
                      <a:pt x="81" y="650"/>
                    </a:cubicBezTo>
                    <a:cubicBezTo>
                      <a:pt x="79" y="653"/>
                      <a:pt x="76" y="651"/>
                      <a:pt x="75" y="655"/>
                    </a:cubicBezTo>
                    <a:cubicBezTo>
                      <a:pt x="77" y="655"/>
                      <a:pt x="82" y="654"/>
                      <a:pt x="85" y="655"/>
                    </a:cubicBezTo>
                    <a:cubicBezTo>
                      <a:pt x="88" y="656"/>
                      <a:pt x="86" y="658"/>
                      <a:pt x="85" y="660"/>
                    </a:cubicBezTo>
                    <a:cubicBezTo>
                      <a:pt x="83" y="662"/>
                      <a:pt x="82" y="663"/>
                      <a:pt x="79" y="664"/>
                    </a:cubicBezTo>
                    <a:cubicBezTo>
                      <a:pt x="78" y="665"/>
                      <a:pt x="77" y="664"/>
                      <a:pt x="76" y="666"/>
                    </a:cubicBezTo>
                    <a:cubicBezTo>
                      <a:pt x="76" y="669"/>
                      <a:pt x="77" y="669"/>
                      <a:pt x="79" y="670"/>
                    </a:cubicBezTo>
                    <a:cubicBezTo>
                      <a:pt x="82" y="672"/>
                      <a:pt x="84" y="672"/>
                      <a:pt x="87" y="672"/>
                    </a:cubicBezTo>
                    <a:cubicBezTo>
                      <a:pt x="88" y="672"/>
                      <a:pt x="89" y="672"/>
                      <a:pt x="89" y="672"/>
                    </a:cubicBezTo>
                    <a:cubicBezTo>
                      <a:pt x="90" y="673"/>
                      <a:pt x="90" y="674"/>
                      <a:pt x="90" y="674"/>
                    </a:cubicBezTo>
                    <a:cubicBezTo>
                      <a:pt x="92" y="675"/>
                      <a:pt x="93" y="675"/>
                      <a:pt x="95" y="675"/>
                    </a:cubicBezTo>
                    <a:cubicBezTo>
                      <a:pt x="97" y="675"/>
                      <a:pt x="100" y="675"/>
                      <a:pt x="102" y="675"/>
                    </a:cubicBezTo>
                    <a:cubicBezTo>
                      <a:pt x="104" y="676"/>
                      <a:pt x="103" y="676"/>
                      <a:pt x="105" y="677"/>
                    </a:cubicBezTo>
                    <a:cubicBezTo>
                      <a:pt x="105" y="678"/>
                      <a:pt x="105" y="679"/>
                      <a:pt x="107" y="678"/>
                    </a:cubicBezTo>
                    <a:cubicBezTo>
                      <a:pt x="110" y="677"/>
                      <a:pt x="107" y="674"/>
                      <a:pt x="108" y="672"/>
                    </a:cubicBezTo>
                    <a:cubicBezTo>
                      <a:pt x="111" y="671"/>
                      <a:pt x="113" y="671"/>
                      <a:pt x="116" y="671"/>
                    </a:cubicBezTo>
                    <a:cubicBezTo>
                      <a:pt x="119" y="671"/>
                      <a:pt x="119" y="669"/>
                      <a:pt x="122" y="669"/>
                    </a:cubicBezTo>
                    <a:cubicBezTo>
                      <a:pt x="125" y="668"/>
                      <a:pt x="127" y="668"/>
                      <a:pt x="128" y="671"/>
                    </a:cubicBezTo>
                    <a:cubicBezTo>
                      <a:pt x="128" y="673"/>
                      <a:pt x="127" y="677"/>
                      <a:pt x="128" y="678"/>
                    </a:cubicBezTo>
                    <a:cubicBezTo>
                      <a:pt x="129" y="679"/>
                      <a:pt x="131" y="679"/>
                      <a:pt x="131" y="679"/>
                    </a:cubicBezTo>
                    <a:cubicBezTo>
                      <a:pt x="133" y="680"/>
                      <a:pt x="133" y="682"/>
                      <a:pt x="134" y="682"/>
                    </a:cubicBezTo>
                    <a:cubicBezTo>
                      <a:pt x="135" y="683"/>
                      <a:pt x="139" y="682"/>
                      <a:pt x="140" y="682"/>
                    </a:cubicBezTo>
                    <a:cubicBezTo>
                      <a:pt x="143" y="682"/>
                      <a:pt x="143" y="682"/>
                      <a:pt x="145" y="680"/>
                    </a:cubicBezTo>
                    <a:cubicBezTo>
                      <a:pt x="148" y="678"/>
                      <a:pt x="147" y="678"/>
                      <a:pt x="147" y="675"/>
                    </a:cubicBezTo>
                    <a:cubicBezTo>
                      <a:pt x="148" y="672"/>
                      <a:pt x="148" y="671"/>
                      <a:pt x="151" y="672"/>
                    </a:cubicBezTo>
                    <a:cubicBezTo>
                      <a:pt x="153" y="672"/>
                      <a:pt x="154" y="672"/>
                      <a:pt x="155" y="675"/>
                    </a:cubicBezTo>
                    <a:cubicBezTo>
                      <a:pt x="155" y="676"/>
                      <a:pt x="154" y="678"/>
                      <a:pt x="155" y="678"/>
                    </a:cubicBezTo>
                    <a:cubicBezTo>
                      <a:pt x="156" y="680"/>
                      <a:pt x="158" y="680"/>
                      <a:pt x="160" y="681"/>
                    </a:cubicBezTo>
                    <a:cubicBezTo>
                      <a:pt x="162" y="682"/>
                      <a:pt x="163" y="684"/>
                      <a:pt x="165" y="686"/>
                    </a:cubicBezTo>
                    <a:cubicBezTo>
                      <a:pt x="166" y="689"/>
                      <a:pt x="167" y="691"/>
                      <a:pt x="169" y="691"/>
                    </a:cubicBezTo>
                    <a:cubicBezTo>
                      <a:pt x="171" y="692"/>
                      <a:pt x="172" y="691"/>
                      <a:pt x="173" y="692"/>
                    </a:cubicBezTo>
                    <a:cubicBezTo>
                      <a:pt x="176" y="693"/>
                      <a:pt x="176" y="694"/>
                      <a:pt x="179" y="695"/>
                    </a:cubicBezTo>
                    <a:cubicBezTo>
                      <a:pt x="182" y="696"/>
                      <a:pt x="185" y="697"/>
                      <a:pt x="189" y="697"/>
                    </a:cubicBezTo>
                    <a:cubicBezTo>
                      <a:pt x="191" y="697"/>
                      <a:pt x="193" y="696"/>
                      <a:pt x="194" y="694"/>
                    </a:cubicBezTo>
                    <a:cubicBezTo>
                      <a:pt x="195" y="691"/>
                      <a:pt x="192" y="689"/>
                      <a:pt x="194" y="687"/>
                    </a:cubicBezTo>
                    <a:cubicBezTo>
                      <a:pt x="196" y="685"/>
                      <a:pt x="196" y="685"/>
                      <a:pt x="198" y="685"/>
                    </a:cubicBezTo>
                    <a:cubicBezTo>
                      <a:pt x="198" y="685"/>
                      <a:pt x="199" y="685"/>
                      <a:pt x="200" y="685"/>
                    </a:cubicBezTo>
                    <a:cubicBezTo>
                      <a:pt x="201" y="685"/>
                      <a:pt x="201" y="684"/>
                      <a:pt x="202" y="683"/>
                    </a:cubicBezTo>
                    <a:cubicBezTo>
                      <a:pt x="203" y="683"/>
                      <a:pt x="204" y="683"/>
                      <a:pt x="205" y="682"/>
                    </a:cubicBezTo>
                    <a:cubicBezTo>
                      <a:pt x="206" y="682"/>
                      <a:pt x="208" y="680"/>
                      <a:pt x="209" y="679"/>
                    </a:cubicBezTo>
                    <a:cubicBezTo>
                      <a:pt x="211" y="678"/>
                      <a:pt x="214" y="680"/>
                      <a:pt x="216" y="678"/>
                    </a:cubicBezTo>
                    <a:cubicBezTo>
                      <a:pt x="218" y="677"/>
                      <a:pt x="218" y="676"/>
                      <a:pt x="219" y="675"/>
                    </a:cubicBezTo>
                    <a:cubicBezTo>
                      <a:pt x="220" y="674"/>
                      <a:pt x="221" y="675"/>
                      <a:pt x="222" y="675"/>
                    </a:cubicBezTo>
                    <a:cubicBezTo>
                      <a:pt x="223" y="674"/>
                      <a:pt x="223" y="673"/>
                      <a:pt x="224" y="673"/>
                    </a:cubicBezTo>
                    <a:cubicBezTo>
                      <a:pt x="225" y="674"/>
                      <a:pt x="218" y="677"/>
                      <a:pt x="217" y="679"/>
                    </a:cubicBezTo>
                    <a:cubicBezTo>
                      <a:pt x="215" y="680"/>
                      <a:pt x="216" y="682"/>
                      <a:pt x="215" y="683"/>
                    </a:cubicBezTo>
                    <a:cubicBezTo>
                      <a:pt x="214" y="686"/>
                      <a:pt x="212" y="686"/>
                      <a:pt x="210" y="687"/>
                    </a:cubicBezTo>
                    <a:cubicBezTo>
                      <a:pt x="208" y="689"/>
                      <a:pt x="206" y="690"/>
                      <a:pt x="204" y="692"/>
                    </a:cubicBezTo>
                    <a:cubicBezTo>
                      <a:pt x="204" y="693"/>
                      <a:pt x="203" y="695"/>
                      <a:pt x="202" y="696"/>
                    </a:cubicBezTo>
                    <a:cubicBezTo>
                      <a:pt x="202" y="696"/>
                      <a:pt x="202" y="697"/>
                      <a:pt x="202" y="698"/>
                    </a:cubicBezTo>
                    <a:cubicBezTo>
                      <a:pt x="201" y="698"/>
                      <a:pt x="200" y="700"/>
                      <a:pt x="200" y="700"/>
                    </a:cubicBezTo>
                    <a:cubicBezTo>
                      <a:pt x="199" y="704"/>
                      <a:pt x="200" y="708"/>
                      <a:pt x="195" y="709"/>
                    </a:cubicBezTo>
                    <a:cubicBezTo>
                      <a:pt x="193" y="709"/>
                      <a:pt x="192" y="709"/>
                      <a:pt x="190" y="709"/>
                    </a:cubicBezTo>
                    <a:cubicBezTo>
                      <a:pt x="190" y="709"/>
                      <a:pt x="188" y="708"/>
                      <a:pt x="187" y="709"/>
                    </a:cubicBezTo>
                    <a:cubicBezTo>
                      <a:pt x="186" y="709"/>
                      <a:pt x="186" y="710"/>
                      <a:pt x="185" y="711"/>
                    </a:cubicBezTo>
                    <a:cubicBezTo>
                      <a:pt x="182" y="713"/>
                      <a:pt x="179" y="711"/>
                      <a:pt x="177" y="709"/>
                    </a:cubicBezTo>
                    <a:cubicBezTo>
                      <a:pt x="174" y="707"/>
                      <a:pt x="169" y="708"/>
                      <a:pt x="165" y="708"/>
                    </a:cubicBezTo>
                    <a:cubicBezTo>
                      <a:pt x="161" y="708"/>
                      <a:pt x="157" y="707"/>
                      <a:pt x="152" y="707"/>
                    </a:cubicBezTo>
                    <a:cubicBezTo>
                      <a:pt x="149" y="707"/>
                      <a:pt x="145" y="708"/>
                      <a:pt x="141" y="708"/>
                    </a:cubicBezTo>
                    <a:cubicBezTo>
                      <a:pt x="137" y="708"/>
                      <a:pt x="134" y="707"/>
                      <a:pt x="134" y="712"/>
                    </a:cubicBezTo>
                    <a:cubicBezTo>
                      <a:pt x="134" y="714"/>
                      <a:pt x="134" y="715"/>
                      <a:pt x="133" y="717"/>
                    </a:cubicBezTo>
                    <a:cubicBezTo>
                      <a:pt x="133" y="717"/>
                      <a:pt x="132" y="718"/>
                      <a:pt x="132" y="719"/>
                    </a:cubicBezTo>
                    <a:cubicBezTo>
                      <a:pt x="132" y="720"/>
                      <a:pt x="132" y="722"/>
                      <a:pt x="132" y="724"/>
                    </a:cubicBezTo>
                    <a:cubicBezTo>
                      <a:pt x="132" y="726"/>
                      <a:pt x="132" y="727"/>
                      <a:pt x="130" y="728"/>
                    </a:cubicBezTo>
                    <a:cubicBezTo>
                      <a:pt x="129" y="729"/>
                      <a:pt x="125" y="729"/>
                      <a:pt x="124" y="728"/>
                    </a:cubicBezTo>
                    <a:cubicBezTo>
                      <a:pt x="123" y="727"/>
                      <a:pt x="122" y="721"/>
                      <a:pt x="118" y="724"/>
                    </a:cubicBezTo>
                    <a:cubicBezTo>
                      <a:pt x="116" y="727"/>
                      <a:pt x="117" y="733"/>
                      <a:pt x="117" y="736"/>
                    </a:cubicBezTo>
                    <a:cubicBezTo>
                      <a:pt x="117" y="738"/>
                      <a:pt x="117" y="740"/>
                      <a:pt x="116" y="742"/>
                    </a:cubicBezTo>
                    <a:cubicBezTo>
                      <a:pt x="115" y="744"/>
                      <a:pt x="114" y="746"/>
                      <a:pt x="114" y="748"/>
                    </a:cubicBezTo>
                    <a:cubicBezTo>
                      <a:pt x="113" y="749"/>
                      <a:pt x="110" y="750"/>
                      <a:pt x="109" y="751"/>
                    </a:cubicBezTo>
                    <a:cubicBezTo>
                      <a:pt x="108" y="753"/>
                      <a:pt x="107" y="755"/>
                      <a:pt x="106" y="756"/>
                    </a:cubicBezTo>
                    <a:cubicBezTo>
                      <a:pt x="105" y="758"/>
                      <a:pt x="105" y="760"/>
                      <a:pt x="104" y="761"/>
                    </a:cubicBezTo>
                    <a:cubicBezTo>
                      <a:pt x="103" y="763"/>
                      <a:pt x="101" y="762"/>
                      <a:pt x="100" y="762"/>
                    </a:cubicBezTo>
                    <a:cubicBezTo>
                      <a:pt x="96" y="763"/>
                      <a:pt x="96" y="763"/>
                      <a:pt x="94" y="766"/>
                    </a:cubicBezTo>
                    <a:cubicBezTo>
                      <a:pt x="94" y="767"/>
                      <a:pt x="92" y="769"/>
                      <a:pt x="91" y="770"/>
                    </a:cubicBezTo>
                    <a:cubicBezTo>
                      <a:pt x="91" y="771"/>
                      <a:pt x="91" y="771"/>
                      <a:pt x="92" y="772"/>
                    </a:cubicBezTo>
                    <a:cubicBezTo>
                      <a:pt x="91" y="773"/>
                      <a:pt x="91" y="774"/>
                      <a:pt x="90" y="775"/>
                    </a:cubicBezTo>
                    <a:cubicBezTo>
                      <a:pt x="83" y="781"/>
                      <a:pt x="83" y="781"/>
                      <a:pt x="83" y="781"/>
                    </a:cubicBezTo>
                    <a:cubicBezTo>
                      <a:pt x="83" y="782"/>
                      <a:pt x="82" y="782"/>
                      <a:pt x="82" y="783"/>
                    </a:cubicBezTo>
                    <a:cubicBezTo>
                      <a:pt x="82" y="783"/>
                      <a:pt x="82" y="783"/>
                      <a:pt x="81" y="784"/>
                    </a:cubicBezTo>
                    <a:cubicBezTo>
                      <a:pt x="81" y="784"/>
                      <a:pt x="81" y="784"/>
                      <a:pt x="81" y="784"/>
                    </a:cubicBezTo>
                    <a:cubicBezTo>
                      <a:pt x="80" y="784"/>
                      <a:pt x="81" y="785"/>
                      <a:pt x="81" y="785"/>
                    </a:cubicBezTo>
                    <a:cubicBezTo>
                      <a:pt x="81" y="786"/>
                      <a:pt x="81" y="786"/>
                      <a:pt x="81" y="787"/>
                    </a:cubicBezTo>
                    <a:cubicBezTo>
                      <a:pt x="81" y="787"/>
                      <a:pt x="81" y="787"/>
                      <a:pt x="80" y="787"/>
                    </a:cubicBezTo>
                    <a:cubicBezTo>
                      <a:pt x="80" y="787"/>
                      <a:pt x="80" y="788"/>
                      <a:pt x="79" y="788"/>
                    </a:cubicBezTo>
                    <a:cubicBezTo>
                      <a:pt x="79" y="788"/>
                      <a:pt x="78" y="788"/>
                      <a:pt x="78" y="788"/>
                    </a:cubicBezTo>
                    <a:cubicBezTo>
                      <a:pt x="77" y="789"/>
                      <a:pt x="77" y="790"/>
                      <a:pt x="76" y="791"/>
                    </a:cubicBezTo>
                    <a:cubicBezTo>
                      <a:pt x="75" y="792"/>
                      <a:pt x="74" y="793"/>
                      <a:pt x="73" y="793"/>
                    </a:cubicBezTo>
                    <a:cubicBezTo>
                      <a:pt x="73" y="793"/>
                      <a:pt x="73" y="793"/>
                      <a:pt x="73" y="793"/>
                    </a:cubicBezTo>
                    <a:cubicBezTo>
                      <a:pt x="72" y="794"/>
                      <a:pt x="72" y="794"/>
                      <a:pt x="72" y="794"/>
                    </a:cubicBezTo>
                    <a:cubicBezTo>
                      <a:pt x="71" y="795"/>
                      <a:pt x="71" y="795"/>
                      <a:pt x="70" y="796"/>
                    </a:cubicBezTo>
                    <a:cubicBezTo>
                      <a:pt x="70" y="796"/>
                      <a:pt x="70" y="796"/>
                      <a:pt x="70" y="796"/>
                    </a:cubicBezTo>
                    <a:cubicBezTo>
                      <a:pt x="69" y="796"/>
                      <a:pt x="67" y="795"/>
                      <a:pt x="67" y="795"/>
                    </a:cubicBezTo>
                    <a:cubicBezTo>
                      <a:pt x="67" y="795"/>
                      <a:pt x="66" y="794"/>
                      <a:pt x="66" y="794"/>
                    </a:cubicBezTo>
                    <a:cubicBezTo>
                      <a:pt x="66" y="794"/>
                      <a:pt x="66" y="793"/>
                      <a:pt x="65" y="793"/>
                    </a:cubicBezTo>
                    <a:cubicBezTo>
                      <a:pt x="65" y="793"/>
                      <a:pt x="64" y="794"/>
                      <a:pt x="64" y="794"/>
                    </a:cubicBezTo>
                    <a:cubicBezTo>
                      <a:pt x="63" y="794"/>
                      <a:pt x="63" y="794"/>
                      <a:pt x="63" y="795"/>
                    </a:cubicBezTo>
                    <a:cubicBezTo>
                      <a:pt x="62" y="795"/>
                      <a:pt x="62" y="795"/>
                      <a:pt x="62" y="796"/>
                    </a:cubicBezTo>
                    <a:cubicBezTo>
                      <a:pt x="62" y="796"/>
                      <a:pt x="62" y="796"/>
                      <a:pt x="62" y="796"/>
                    </a:cubicBezTo>
                    <a:cubicBezTo>
                      <a:pt x="62" y="796"/>
                      <a:pt x="61" y="796"/>
                      <a:pt x="61" y="796"/>
                    </a:cubicBezTo>
                    <a:cubicBezTo>
                      <a:pt x="60" y="796"/>
                      <a:pt x="59" y="796"/>
                      <a:pt x="59" y="796"/>
                    </a:cubicBezTo>
                    <a:cubicBezTo>
                      <a:pt x="58" y="797"/>
                      <a:pt x="57" y="797"/>
                      <a:pt x="57" y="798"/>
                    </a:cubicBezTo>
                    <a:cubicBezTo>
                      <a:pt x="56" y="799"/>
                      <a:pt x="56" y="800"/>
                      <a:pt x="55" y="801"/>
                    </a:cubicBezTo>
                    <a:cubicBezTo>
                      <a:pt x="55" y="802"/>
                      <a:pt x="54" y="802"/>
                      <a:pt x="54" y="803"/>
                    </a:cubicBezTo>
                    <a:cubicBezTo>
                      <a:pt x="54" y="804"/>
                      <a:pt x="54" y="804"/>
                      <a:pt x="54" y="805"/>
                    </a:cubicBezTo>
                    <a:cubicBezTo>
                      <a:pt x="54" y="805"/>
                      <a:pt x="53" y="806"/>
                      <a:pt x="54" y="806"/>
                    </a:cubicBezTo>
                    <a:cubicBezTo>
                      <a:pt x="54" y="807"/>
                      <a:pt x="54" y="808"/>
                      <a:pt x="55" y="808"/>
                    </a:cubicBezTo>
                    <a:cubicBezTo>
                      <a:pt x="55" y="808"/>
                      <a:pt x="55" y="809"/>
                      <a:pt x="55" y="809"/>
                    </a:cubicBezTo>
                    <a:cubicBezTo>
                      <a:pt x="56" y="809"/>
                      <a:pt x="56" y="809"/>
                      <a:pt x="56" y="809"/>
                    </a:cubicBezTo>
                    <a:cubicBezTo>
                      <a:pt x="56" y="809"/>
                      <a:pt x="56" y="809"/>
                      <a:pt x="57" y="810"/>
                    </a:cubicBezTo>
                    <a:cubicBezTo>
                      <a:pt x="57" y="810"/>
                      <a:pt x="57" y="810"/>
                      <a:pt x="57" y="810"/>
                    </a:cubicBezTo>
                    <a:cubicBezTo>
                      <a:pt x="58" y="810"/>
                      <a:pt x="58" y="810"/>
                      <a:pt x="59" y="811"/>
                    </a:cubicBezTo>
                    <a:cubicBezTo>
                      <a:pt x="60" y="811"/>
                      <a:pt x="60" y="811"/>
                      <a:pt x="61" y="810"/>
                    </a:cubicBezTo>
                    <a:cubicBezTo>
                      <a:pt x="62" y="810"/>
                      <a:pt x="62" y="810"/>
                      <a:pt x="63" y="809"/>
                    </a:cubicBezTo>
                    <a:cubicBezTo>
                      <a:pt x="63" y="809"/>
                      <a:pt x="64" y="809"/>
                      <a:pt x="64" y="808"/>
                    </a:cubicBezTo>
                    <a:cubicBezTo>
                      <a:pt x="65" y="808"/>
                      <a:pt x="65" y="807"/>
                      <a:pt x="65" y="806"/>
                    </a:cubicBezTo>
                    <a:cubicBezTo>
                      <a:pt x="65" y="806"/>
                      <a:pt x="66" y="805"/>
                      <a:pt x="66" y="804"/>
                    </a:cubicBezTo>
                    <a:cubicBezTo>
                      <a:pt x="67" y="804"/>
                      <a:pt x="67" y="804"/>
                      <a:pt x="68" y="804"/>
                    </a:cubicBezTo>
                    <a:cubicBezTo>
                      <a:pt x="69" y="804"/>
                      <a:pt x="70" y="805"/>
                      <a:pt x="70" y="805"/>
                    </a:cubicBezTo>
                    <a:cubicBezTo>
                      <a:pt x="71" y="805"/>
                      <a:pt x="72" y="806"/>
                      <a:pt x="73" y="806"/>
                    </a:cubicBezTo>
                    <a:cubicBezTo>
                      <a:pt x="73" y="806"/>
                      <a:pt x="74" y="807"/>
                      <a:pt x="74" y="807"/>
                    </a:cubicBezTo>
                    <a:cubicBezTo>
                      <a:pt x="74" y="807"/>
                      <a:pt x="74" y="808"/>
                      <a:pt x="74" y="808"/>
                    </a:cubicBezTo>
                    <a:cubicBezTo>
                      <a:pt x="74" y="808"/>
                      <a:pt x="75" y="809"/>
                      <a:pt x="75" y="810"/>
                    </a:cubicBezTo>
                    <a:cubicBezTo>
                      <a:pt x="76" y="811"/>
                      <a:pt x="77" y="811"/>
                      <a:pt x="77" y="812"/>
                    </a:cubicBezTo>
                    <a:cubicBezTo>
                      <a:pt x="78" y="813"/>
                      <a:pt x="78" y="814"/>
                      <a:pt x="78" y="815"/>
                    </a:cubicBezTo>
                    <a:cubicBezTo>
                      <a:pt x="79" y="817"/>
                      <a:pt x="81" y="818"/>
                      <a:pt x="83" y="818"/>
                    </a:cubicBezTo>
                    <a:cubicBezTo>
                      <a:pt x="83" y="818"/>
                      <a:pt x="84" y="818"/>
                      <a:pt x="85" y="817"/>
                    </a:cubicBezTo>
                    <a:cubicBezTo>
                      <a:pt x="85" y="817"/>
                      <a:pt x="85" y="817"/>
                      <a:pt x="85" y="817"/>
                    </a:cubicBezTo>
                    <a:cubicBezTo>
                      <a:pt x="85" y="816"/>
                      <a:pt x="85" y="816"/>
                      <a:pt x="86" y="815"/>
                    </a:cubicBezTo>
                    <a:cubicBezTo>
                      <a:pt x="87" y="814"/>
                      <a:pt x="88" y="813"/>
                      <a:pt x="88" y="811"/>
                    </a:cubicBezTo>
                    <a:cubicBezTo>
                      <a:pt x="89" y="811"/>
                      <a:pt x="89" y="811"/>
                      <a:pt x="89" y="810"/>
                    </a:cubicBezTo>
                    <a:cubicBezTo>
                      <a:pt x="90" y="810"/>
                      <a:pt x="90" y="809"/>
                      <a:pt x="90" y="809"/>
                    </a:cubicBezTo>
                    <a:cubicBezTo>
                      <a:pt x="91" y="807"/>
                      <a:pt x="90" y="806"/>
                      <a:pt x="89" y="805"/>
                    </a:cubicBezTo>
                    <a:cubicBezTo>
                      <a:pt x="89" y="804"/>
                      <a:pt x="89" y="804"/>
                      <a:pt x="89" y="803"/>
                    </a:cubicBezTo>
                    <a:cubicBezTo>
                      <a:pt x="89" y="802"/>
                      <a:pt x="89" y="802"/>
                      <a:pt x="90" y="802"/>
                    </a:cubicBezTo>
                    <a:cubicBezTo>
                      <a:pt x="91" y="802"/>
                      <a:pt x="91" y="802"/>
                      <a:pt x="91" y="802"/>
                    </a:cubicBezTo>
                    <a:cubicBezTo>
                      <a:pt x="91" y="801"/>
                      <a:pt x="92" y="801"/>
                      <a:pt x="92" y="801"/>
                    </a:cubicBezTo>
                    <a:cubicBezTo>
                      <a:pt x="93" y="800"/>
                      <a:pt x="93" y="800"/>
                      <a:pt x="94" y="800"/>
                    </a:cubicBezTo>
                    <a:cubicBezTo>
                      <a:pt x="94" y="799"/>
                      <a:pt x="95" y="799"/>
                      <a:pt x="96" y="799"/>
                    </a:cubicBezTo>
                    <a:cubicBezTo>
                      <a:pt x="97" y="798"/>
                      <a:pt x="98" y="798"/>
                      <a:pt x="99" y="797"/>
                    </a:cubicBezTo>
                    <a:cubicBezTo>
                      <a:pt x="100" y="797"/>
                      <a:pt x="101" y="796"/>
                      <a:pt x="103" y="795"/>
                    </a:cubicBezTo>
                    <a:cubicBezTo>
                      <a:pt x="104" y="794"/>
                      <a:pt x="105" y="793"/>
                      <a:pt x="105" y="792"/>
                    </a:cubicBezTo>
                    <a:cubicBezTo>
                      <a:pt x="105" y="791"/>
                      <a:pt x="105" y="791"/>
                      <a:pt x="105" y="791"/>
                    </a:cubicBezTo>
                    <a:cubicBezTo>
                      <a:pt x="105" y="790"/>
                      <a:pt x="106" y="789"/>
                      <a:pt x="106" y="788"/>
                    </a:cubicBezTo>
                    <a:cubicBezTo>
                      <a:pt x="106" y="788"/>
                      <a:pt x="106" y="787"/>
                      <a:pt x="106" y="786"/>
                    </a:cubicBezTo>
                    <a:cubicBezTo>
                      <a:pt x="106" y="786"/>
                      <a:pt x="106" y="786"/>
                      <a:pt x="106" y="785"/>
                    </a:cubicBezTo>
                    <a:cubicBezTo>
                      <a:pt x="107" y="785"/>
                      <a:pt x="106" y="784"/>
                      <a:pt x="107" y="784"/>
                    </a:cubicBezTo>
                    <a:cubicBezTo>
                      <a:pt x="107" y="783"/>
                      <a:pt x="107" y="783"/>
                      <a:pt x="108" y="783"/>
                    </a:cubicBezTo>
                    <a:cubicBezTo>
                      <a:pt x="108" y="783"/>
                      <a:pt x="108" y="783"/>
                      <a:pt x="109" y="783"/>
                    </a:cubicBezTo>
                    <a:cubicBezTo>
                      <a:pt x="109" y="784"/>
                      <a:pt x="109" y="785"/>
                      <a:pt x="109" y="785"/>
                    </a:cubicBezTo>
                    <a:cubicBezTo>
                      <a:pt x="111" y="787"/>
                      <a:pt x="112" y="787"/>
                      <a:pt x="114" y="786"/>
                    </a:cubicBezTo>
                    <a:cubicBezTo>
                      <a:pt x="115" y="786"/>
                      <a:pt x="116" y="786"/>
                      <a:pt x="117" y="786"/>
                    </a:cubicBezTo>
                    <a:cubicBezTo>
                      <a:pt x="118" y="785"/>
                      <a:pt x="119" y="786"/>
                      <a:pt x="120" y="786"/>
                    </a:cubicBezTo>
                    <a:cubicBezTo>
                      <a:pt x="121" y="785"/>
                      <a:pt x="122" y="785"/>
                      <a:pt x="124" y="784"/>
                    </a:cubicBezTo>
                    <a:cubicBezTo>
                      <a:pt x="124" y="783"/>
                      <a:pt x="124" y="783"/>
                      <a:pt x="125" y="783"/>
                    </a:cubicBezTo>
                    <a:cubicBezTo>
                      <a:pt x="125" y="783"/>
                      <a:pt x="126" y="783"/>
                      <a:pt x="127" y="783"/>
                    </a:cubicBezTo>
                    <a:cubicBezTo>
                      <a:pt x="128" y="782"/>
                      <a:pt x="128" y="782"/>
                      <a:pt x="129" y="781"/>
                    </a:cubicBezTo>
                    <a:cubicBezTo>
                      <a:pt x="129" y="781"/>
                      <a:pt x="130" y="780"/>
                      <a:pt x="130" y="780"/>
                    </a:cubicBezTo>
                    <a:cubicBezTo>
                      <a:pt x="131" y="779"/>
                      <a:pt x="131" y="780"/>
                      <a:pt x="132" y="780"/>
                    </a:cubicBezTo>
                    <a:cubicBezTo>
                      <a:pt x="133" y="780"/>
                      <a:pt x="133" y="780"/>
                      <a:pt x="134" y="781"/>
                    </a:cubicBezTo>
                    <a:cubicBezTo>
                      <a:pt x="134" y="781"/>
                      <a:pt x="134" y="781"/>
                      <a:pt x="134" y="781"/>
                    </a:cubicBezTo>
                    <a:cubicBezTo>
                      <a:pt x="134" y="782"/>
                      <a:pt x="134" y="782"/>
                      <a:pt x="135" y="783"/>
                    </a:cubicBezTo>
                    <a:cubicBezTo>
                      <a:pt x="135" y="784"/>
                      <a:pt x="135" y="785"/>
                      <a:pt x="136" y="786"/>
                    </a:cubicBezTo>
                    <a:cubicBezTo>
                      <a:pt x="136" y="786"/>
                      <a:pt x="138" y="786"/>
                      <a:pt x="138" y="786"/>
                    </a:cubicBezTo>
                    <a:cubicBezTo>
                      <a:pt x="139" y="786"/>
                      <a:pt x="140" y="787"/>
                      <a:pt x="141" y="787"/>
                    </a:cubicBezTo>
                    <a:cubicBezTo>
                      <a:pt x="141" y="788"/>
                      <a:pt x="141" y="787"/>
                      <a:pt x="142" y="788"/>
                    </a:cubicBezTo>
                    <a:cubicBezTo>
                      <a:pt x="142" y="788"/>
                      <a:pt x="143" y="788"/>
                      <a:pt x="144" y="788"/>
                    </a:cubicBezTo>
                    <a:cubicBezTo>
                      <a:pt x="145" y="788"/>
                      <a:pt x="146" y="789"/>
                      <a:pt x="147" y="788"/>
                    </a:cubicBezTo>
                    <a:cubicBezTo>
                      <a:pt x="147" y="787"/>
                      <a:pt x="147" y="787"/>
                      <a:pt x="148" y="787"/>
                    </a:cubicBezTo>
                    <a:cubicBezTo>
                      <a:pt x="148" y="788"/>
                      <a:pt x="149" y="788"/>
                      <a:pt x="149" y="788"/>
                    </a:cubicBezTo>
                    <a:cubicBezTo>
                      <a:pt x="150" y="788"/>
                      <a:pt x="151" y="789"/>
                      <a:pt x="151" y="790"/>
                    </a:cubicBezTo>
                    <a:cubicBezTo>
                      <a:pt x="151" y="791"/>
                      <a:pt x="151" y="791"/>
                      <a:pt x="151" y="792"/>
                    </a:cubicBezTo>
                    <a:cubicBezTo>
                      <a:pt x="152" y="793"/>
                      <a:pt x="152" y="793"/>
                      <a:pt x="153" y="793"/>
                    </a:cubicBezTo>
                    <a:cubicBezTo>
                      <a:pt x="153" y="794"/>
                      <a:pt x="154" y="794"/>
                      <a:pt x="154" y="795"/>
                    </a:cubicBezTo>
                    <a:cubicBezTo>
                      <a:pt x="156" y="795"/>
                      <a:pt x="157" y="796"/>
                      <a:pt x="158" y="796"/>
                    </a:cubicBezTo>
                    <a:cubicBezTo>
                      <a:pt x="159" y="796"/>
                      <a:pt x="160" y="796"/>
                      <a:pt x="160" y="796"/>
                    </a:cubicBezTo>
                    <a:cubicBezTo>
                      <a:pt x="161" y="796"/>
                      <a:pt x="163" y="797"/>
                      <a:pt x="163" y="796"/>
                    </a:cubicBezTo>
                    <a:cubicBezTo>
                      <a:pt x="165" y="796"/>
                      <a:pt x="164" y="795"/>
                      <a:pt x="165" y="794"/>
                    </a:cubicBezTo>
                    <a:cubicBezTo>
                      <a:pt x="165" y="793"/>
                      <a:pt x="165" y="793"/>
                      <a:pt x="165" y="792"/>
                    </a:cubicBezTo>
                    <a:cubicBezTo>
                      <a:pt x="165" y="791"/>
                      <a:pt x="165" y="790"/>
                      <a:pt x="165" y="789"/>
                    </a:cubicBezTo>
                    <a:cubicBezTo>
                      <a:pt x="166" y="789"/>
                      <a:pt x="166" y="789"/>
                      <a:pt x="166" y="789"/>
                    </a:cubicBezTo>
                    <a:cubicBezTo>
                      <a:pt x="167" y="789"/>
                      <a:pt x="168" y="789"/>
                      <a:pt x="169" y="789"/>
                    </a:cubicBezTo>
                    <a:cubicBezTo>
                      <a:pt x="170" y="789"/>
                      <a:pt x="171" y="789"/>
                      <a:pt x="172" y="789"/>
                    </a:cubicBezTo>
                    <a:cubicBezTo>
                      <a:pt x="173" y="789"/>
                      <a:pt x="174" y="789"/>
                      <a:pt x="176" y="789"/>
                    </a:cubicBezTo>
                    <a:cubicBezTo>
                      <a:pt x="176" y="789"/>
                      <a:pt x="177" y="789"/>
                      <a:pt x="178" y="789"/>
                    </a:cubicBezTo>
                    <a:cubicBezTo>
                      <a:pt x="180" y="789"/>
                      <a:pt x="181" y="788"/>
                      <a:pt x="183" y="788"/>
                    </a:cubicBezTo>
                    <a:cubicBezTo>
                      <a:pt x="187" y="787"/>
                      <a:pt x="193" y="788"/>
                      <a:pt x="193" y="786"/>
                    </a:cubicBezTo>
                    <a:cubicBezTo>
                      <a:pt x="195" y="780"/>
                      <a:pt x="191" y="779"/>
                      <a:pt x="191" y="778"/>
                    </a:cubicBezTo>
                    <a:cubicBezTo>
                      <a:pt x="189" y="777"/>
                      <a:pt x="182" y="777"/>
                      <a:pt x="180" y="777"/>
                    </a:cubicBezTo>
                    <a:cubicBezTo>
                      <a:pt x="177" y="777"/>
                      <a:pt x="174" y="777"/>
                      <a:pt x="172" y="777"/>
                    </a:cubicBezTo>
                    <a:cubicBezTo>
                      <a:pt x="171" y="777"/>
                      <a:pt x="169" y="777"/>
                      <a:pt x="169" y="776"/>
                    </a:cubicBezTo>
                    <a:cubicBezTo>
                      <a:pt x="169" y="775"/>
                      <a:pt x="170" y="773"/>
                      <a:pt x="171" y="773"/>
                    </a:cubicBezTo>
                    <a:cubicBezTo>
                      <a:pt x="172" y="771"/>
                      <a:pt x="174" y="769"/>
                      <a:pt x="175" y="767"/>
                    </a:cubicBezTo>
                    <a:cubicBezTo>
                      <a:pt x="176" y="766"/>
                      <a:pt x="176" y="764"/>
                      <a:pt x="177" y="763"/>
                    </a:cubicBezTo>
                    <a:cubicBezTo>
                      <a:pt x="178" y="762"/>
                      <a:pt x="178" y="761"/>
                      <a:pt x="178" y="760"/>
                    </a:cubicBezTo>
                    <a:cubicBezTo>
                      <a:pt x="179" y="760"/>
                      <a:pt x="179" y="760"/>
                      <a:pt x="180" y="759"/>
                    </a:cubicBezTo>
                    <a:cubicBezTo>
                      <a:pt x="181" y="759"/>
                      <a:pt x="181" y="759"/>
                      <a:pt x="181" y="759"/>
                    </a:cubicBezTo>
                    <a:cubicBezTo>
                      <a:pt x="182" y="759"/>
                      <a:pt x="182" y="759"/>
                      <a:pt x="183" y="759"/>
                    </a:cubicBezTo>
                    <a:cubicBezTo>
                      <a:pt x="183" y="759"/>
                      <a:pt x="183" y="759"/>
                      <a:pt x="183" y="759"/>
                    </a:cubicBezTo>
                    <a:cubicBezTo>
                      <a:pt x="184" y="758"/>
                      <a:pt x="184" y="758"/>
                      <a:pt x="185" y="757"/>
                    </a:cubicBezTo>
                    <a:cubicBezTo>
                      <a:pt x="185" y="756"/>
                      <a:pt x="186" y="755"/>
                      <a:pt x="187" y="755"/>
                    </a:cubicBezTo>
                    <a:cubicBezTo>
                      <a:pt x="188" y="755"/>
                      <a:pt x="189" y="754"/>
                      <a:pt x="190" y="754"/>
                    </a:cubicBezTo>
                    <a:cubicBezTo>
                      <a:pt x="191" y="754"/>
                      <a:pt x="192" y="754"/>
                      <a:pt x="192" y="754"/>
                    </a:cubicBezTo>
                    <a:cubicBezTo>
                      <a:pt x="194" y="754"/>
                      <a:pt x="195" y="755"/>
                      <a:pt x="196" y="755"/>
                    </a:cubicBezTo>
                    <a:cubicBezTo>
                      <a:pt x="196" y="755"/>
                      <a:pt x="196" y="755"/>
                      <a:pt x="196" y="755"/>
                    </a:cubicBezTo>
                    <a:cubicBezTo>
                      <a:pt x="198" y="754"/>
                      <a:pt x="199" y="755"/>
                      <a:pt x="200" y="754"/>
                    </a:cubicBezTo>
                    <a:cubicBezTo>
                      <a:pt x="201" y="754"/>
                      <a:pt x="200" y="753"/>
                      <a:pt x="201" y="752"/>
                    </a:cubicBezTo>
                    <a:cubicBezTo>
                      <a:pt x="201" y="752"/>
                      <a:pt x="202" y="751"/>
                      <a:pt x="202" y="751"/>
                    </a:cubicBezTo>
                    <a:cubicBezTo>
                      <a:pt x="203" y="749"/>
                      <a:pt x="202" y="748"/>
                      <a:pt x="204" y="747"/>
                    </a:cubicBezTo>
                    <a:cubicBezTo>
                      <a:pt x="205" y="747"/>
                      <a:pt x="209" y="748"/>
                      <a:pt x="210" y="749"/>
                    </a:cubicBezTo>
                    <a:cubicBezTo>
                      <a:pt x="211" y="750"/>
                      <a:pt x="211" y="752"/>
                      <a:pt x="211" y="754"/>
                    </a:cubicBezTo>
                    <a:cubicBezTo>
                      <a:pt x="213" y="755"/>
                      <a:pt x="216" y="754"/>
                      <a:pt x="218" y="755"/>
                    </a:cubicBezTo>
                    <a:cubicBezTo>
                      <a:pt x="220" y="756"/>
                      <a:pt x="222" y="757"/>
                      <a:pt x="225" y="759"/>
                    </a:cubicBezTo>
                    <a:cubicBezTo>
                      <a:pt x="228" y="760"/>
                      <a:pt x="231" y="763"/>
                      <a:pt x="235" y="763"/>
                    </a:cubicBezTo>
                    <a:cubicBezTo>
                      <a:pt x="238" y="763"/>
                      <a:pt x="240" y="762"/>
                      <a:pt x="243" y="762"/>
                    </a:cubicBezTo>
                    <a:cubicBezTo>
                      <a:pt x="246" y="762"/>
                      <a:pt x="250" y="762"/>
                      <a:pt x="254" y="762"/>
                    </a:cubicBezTo>
                    <a:cubicBezTo>
                      <a:pt x="256" y="762"/>
                      <a:pt x="257" y="763"/>
                      <a:pt x="258" y="760"/>
                    </a:cubicBezTo>
                    <a:cubicBezTo>
                      <a:pt x="258" y="759"/>
                      <a:pt x="255" y="755"/>
                      <a:pt x="253" y="755"/>
                    </a:cubicBezTo>
                    <a:cubicBezTo>
                      <a:pt x="252" y="750"/>
                      <a:pt x="257" y="751"/>
                      <a:pt x="259" y="751"/>
                    </a:cubicBezTo>
                    <a:cubicBezTo>
                      <a:pt x="261" y="752"/>
                      <a:pt x="264" y="752"/>
                      <a:pt x="266" y="753"/>
                    </a:cubicBezTo>
                    <a:cubicBezTo>
                      <a:pt x="268" y="753"/>
                      <a:pt x="268" y="753"/>
                      <a:pt x="269" y="754"/>
                    </a:cubicBezTo>
                    <a:cubicBezTo>
                      <a:pt x="269" y="754"/>
                      <a:pt x="270" y="754"/>
                      <a:pt x="270" y="754"/>
                    </a:cubicBezTo>
                    <a:cubicBezTo>
                      <a:pt x="271" y="753"/>
                      <a:pt x="272" y="752"/>
                      <a:pt x="273" y="752"/>
                    </a:cubicBezTo>
                    <a:cubicBezTo>
                      <a:pt x="274" y="751"/>
                      <a:pt x="274" y="751"/>
                      <a:pt x="275" y="751"/>
                    </a:cubicBezTo>
                    <a:cubicBezTo>
                      <a:pt x="276" y="750"/>
                      <a:pt x="276" y="750"/>
                      <a:pt x="277" y="750"/>
                    </a:cubicBezTo>
                    <a:cubicBezTo>
                      <a:pt x="279" y="750"/>
                      <a:pt x="280" y="750"/>
                      <a:pt x="281" y="749"/>
                    </a:cubicBezTo>
                    <a:cubicBezTo>
                      <a:pt x="282" y="749"/>
                      <a:pt x="282" y="749"/>
                      <a:pt x="282" y="749"/>
                    </a:cubicBezTo>
                    <a:cubicBezTo>
                      <a:pt x="282" y="748"/>
                      <a:pt x="282" y="746"/>
                      <a:pt x="283" y="746"/>
                    </a:cubicBezTo>
                    <a:cubicBezTo>
                      <a:pt x="285" y="742"/>
                      <a:pt x="287" y="744"/>
                      <a:pt x="289" y="745"/>
                    </a:cubicBezTo>
                    <a:cubicBezTo>
                      <a:pt x="290" y="746"/>
                      <a:pt x="292" y="745"/>
                      <a:pt x="293" y="745"/>
                    </a:cubicBezTo>
                    <a:cubicBezTo>
                      <a:pt x="296" y="745"/>
                      <a:pt x="297" y="746"/>
                      <a:pt x="299" y="747"/>
                    </a:cubicBezTo>
                    <a:cubicBezTo>
                      <a:pt x="303" y="749"/>
                      <a:pt x="307" y="746"/>
                      <a:pt x="310" y="748"/>
                    </a:cubicBezTo>
                    <a:cubicBezTo>
                      <a:pt x="312" y="749"/>
                      <a:pt x="312" y="750"/>
                      <a:pt x="314" y="751"/>
                    </a:cubicBezTo>
                    <a:cubicBezTo>
                      <a:pt x="316" y="751"/>
                      <a:pt x="318" y="751"/>
                      <a:pt x="319" y="751"/>
                    </a:cubicBezTo>
                    <a:cubicBezTo>
                      <a:pt x="324" y="751"/>
                      <a:pt x="325" y="748"/>
                      <a:pt x="329" y="748"/>
                    </a:cubicBezTo>
                    <a:cubicBezTo>
                      <a:pt x="332" y="748"/>
                      <a:pt x="334" y="748"/>
                      <a:pt x="336" y="747"/>
                    </a:cubicBezTo>
                    <a:cubicBezTo>
                      <a:pt x="338" y="746"/>
                      <a:pt x="340" y="745"/>
                      <a:pt x="341" y="743"/>
                    </a:cubicBezTo>
                    <a:cubicBezTo>
                      <a:pt x="342" y="743"/>
                      <a:pt x="343" y="743"/>
                      <a:pt x="344" y="743"/>
                    </a:cubicBezTo>
                    <a:cubicBezTo>
                      <a:pt x="344" y="742"/>
                      <a:pt x="344" y="742"/>
                      <a:pt x="345" y="741"/>
                    </a:cubicBezTo>
                    <a:cubicBezTo>
                      <a:pt x="346" y="740"/>
                      <a:pt x="347" y="739"/>
                      <a:pt x="349" y="740"/>
                    </a:cubicBezTo>
                    <a:cubicBezTo>
                      <a:pt x="350" y="740"/>
                      <a:pt x="352" y="742"/>
                      <a:pt x="353" y="743"/>
                    </a:cubicBezTo>
                    <a:cubicBezTo>
                      <a:pt x="355" y="744"/>
                      <a:pt x="356" y="745"/>
                      <a:pt x="358" y="745"/>
                    </a:cubicBezTo>
                    <a:cubicBezTo>
                      <a:pt x="360" y="746"/>
                      <a:pt x="361" y="745"/>
                      <a:pt x="364" y="748"/>
                    </a:cubicBezTo>
                    <a:cubicBezTo>
                      <a:pt x="366" y="750"/>
                      <a:pt x="366" y="751"/>
                      <a:pt x="369" y="750"/>
                    </a:cubicBezTo>
                    <a:cubicBezTo>
                      <a:pt x="371" y="750"/>
                      <a:pt x="372" y="749"/>
                      <a:pt x="374" y="748"/>
                    </a:cubicBezTo>
                    <a:cubicBezTo>
                      <a:pt x="374" y="748"/>
                      <a:pt x="377" y="747"/>
                      <a:pt x="377" y="747"/>
                    </a:cubicBezTo>
                    <a:cubicBezTo>
                      <a:pt x="378" y="746"/>
                      <a:pt x="378" y="744"/>
                      <a:pt x="378" y="743"/>
                    </a:cubicBezTo>
                    <a:cubicBezTo>
                      <a:pt x="380" y="743"/>
                      <a:pt x="383" y="743"/>
                      <a:pt x="385" y="743"/>
                    </a:cubicBezTo>
                    <a:cubicBezTo>
                      <a:pt x="386" y="742"/>
                      <a:pt x="387" y="741"/>
                      <a:pt x="388" y="740"/>
                    </a:cubicBezTo>
                    <a:cubicBezTo>
                      <a:pt x="390" y="738"/>
                      <a:pt x="394" y="738"/>
                      <a:pt x="397" y="737"/>
                    </a:cubicBezTo>
                    <a:cubicBezTo>
                      <a:pt x="400" y="737"/>
                      <a:pt x="403" y="738"/>
                      <a:pt x="406" y="737"/>
                    </a:cubicBezTo>
                    <a:cubicBezTo>
                      <a:pt x="407" y="737"/>
                      <a:pt x="408" y="736"/>
                      <a:pt x="410" y="736"/>
                    </a:cubicBezTo>
                    <a:cubicBezTo>
                      <a:pt x="411" y="736"/>
                      <a:pt x="413" y="736"/>
                      <a:pt x="414" y="736"/>
                    </a:cubicBezTo>
                    <a:cubicBezTo>
                      <a:pt x="415" y="736"/>
                      <a:pt x="417" y="735"/>
                      <a:pt x="417" y="735"/>
                    </a:cubicBezTo>
                    <a:cubicBezTo>
                      <a:pt x="419" y="732"/>
                      <a:pt x="417" y="733"/>
                      <a:pt x="415" y="731"/>
                    </a:cubicBezTo>
                    <a:cubicBezTo>
                      <a:pt x="413" y="728"/>
                      <a:pt x="416" y="726"/>
                      <a:pt x="418" y="724"/>
                    </a:cubicBezTo>
                    <a:cubicBezTo>
                      <a:pt x="420" y="722"/>
                      <a:pt x="423" y="722"/>
                      <a:pt x="426" y="722"/>
                    </a:cubicBezTo>
                    <a:cubicBezTo>
                      <a:pt x="430" y="722"/>
                      <a:pt x="431" y="722"/>
                      <a:pt x="432" y="718"/>
                    </a:cubicBezTo>
                    <a:cubicBezTo>
                      <a:pt x="435" y="717"/>
                      <a:pt x="440" y="719"/>
                      <a:pt x="443" y="717"/>
                    </a:cubicBezTo>
                    <a:cubicBezTo>
                      <a:pt x="445" y="716"/>
                      <a:pt x="446" y="713"/>
                      <a:pt x="447" y="712"/>
                    </a:cubicBezTo>
                    <a:cubicBezTo>
                      <a:pt x="448" y="711"/>
                      <a:pt x="451" y="709"/>
                      <a:pt x="451" y="708"/>
                    </a:cubicBezTo>
                    <a:cubicBezTo>
                      <a:pt x="450" y="707"/>
                      <a:pt x="448" y="707"/>
                      <a:pt x="448" y="706"/>
                    </a:cubicBezTo>
                    <a:cubicBezTo>
                      <a:pt x="446" y="705"/>
                      <a:pt x="444" y="704"/>
                      <a:pt x="442" y="703"/>
                    </a:cubicBezTo>
                    <a:cubicBezTo>
                      <a:pt x="439" y="702"/>
                      <a:pt x="433" y="703"/>
                      <a:pt x="433" y="700"/>
                    </a:cubicBezTo>
                    <a:cubicBezTo>
                      <a:pt x="433" y="698"/>
                      <a:pt x="437" y="697"/>
                      <a:pt x="436" y="694"/>
                    </a:cubicBezTo>
                    <a:cubicBezTo>
                      <a:pt x="434" y="692"/>
                      <a:pt x="424" y="694"/>
                      <a:pt x="422" y="694"/>
                    </a:cubicBezTo>
                    <a:cubicBezTo>
                      <a:pt x="418" y="695"/>
                      <a:pt x="417" y="695"/>
                      <a:pt x="413" y="694"/>
                    </a:cubicBezTo>
                    <a:cubicBezTo>
                      <a:pt x="412" y="693"/>
                      <a:pt x="410" y="692"/>
                      <a:pt x="408" y="691"/>
                    </a:cubicBezTo>
                    <a:cubicBezTo>
                      <a:pt x="405" y="690"/>
                      <a:pt x="403" y="693"/>
                      <a:pt x="401" y="693"/>
                    </a:cubicBezTo>
                    <a:cubicBezTo>
                      <a:pt x="399" y="693"/>
                      <a:pt x="397" y="690"/>
                      <a:pt x="395" y="690"/>
                    </a:cubicBezTo>
                    <a:cubicBezTo>
                      <a:pt x="391" y="689"/>
                      <a:pt x="387" y="690"/>
                      <a:pt x="383" y="690"/>
                    </a:cubicBezTo>
                    <a:cubicBezTo>
                      <a:pt x="381" y="689"/>
                      <a:pt x="378" y="689"/>
                      <a:pt x="375" y="688"/>
                    </a:cubicBezTo>
                    <a:cubicBezTo>
                      <a:pt x="373" y="688"/>
                      <a:pt x="371" y="687"/>
                      <a:pt x="370" y="685"/>
                    </a:cubicBezTo>
                    <a:cubicBezTo>
                      <a:pt x="375" y="684"/>
                      <a:pt x="381" y="685"/>
                      <a:pt x="385" y="685"/>
                    </a:cubicBezTo>
                    <a:cubicBezTo>
                      <a:pt x="391" y="685"/>
                      <a:pt x="399" y="687"/>
                      <a:pt x="403" y="682"/>
                    </a:cubicBezTo>
                    <a:cubicBezTo>
                      <a:pt x="404" y="681"/>
                      <a:pt x="405" y="679"/>
                      <a:pt x="406" y="677"/>
                    </a:cubicBezTo>
                    <a:cubicBezTo>
                      <a:pt x="406" y="676"/>
                      <a:pt x="406" y="675"/>
                      <a:pt x="407" y="674"/>
                    </a:cubicBezTo>
                    <a:cubicBezTo>
                      <a:pt x="409" y="672"/>
                      <a:pt x="412" y="674"/>
                      <a:pt x="413" y="672"/>
                    </a:cubicBezTo>
                    <a:cubicBezTo>
                      <a:pt x="414" y="669"/>
                      <a:pt x="412" y="665"/>
                      <a:pt x="410" y="664"/>
                    </a:cubicBezTo>
                    <a:cubicBezTo>
                      <a:pt x="408" y="663"/>
                      <a:pt x="405" y="663"/>
                      <a:pt x="403" y="664"/>
                    </a:cubicBezTo>
                    <a:cubicBezTo>
                      <a:pt x="403" y="660"/>
                      <a:pt x="407" y="661"/>
                      <a:pt x="410" y="661"/>
                    </a:cubicBezTo>
                    <a:cubicBezTo>
                      <a:pt x="411" y="660"/>
                      <a:pt x="413" y="660"/>
                      <a:pt x="414" y="660"/>
                    </a:cubicBezTo>
                    <a:cubicBezTo>
                      <a:pt x="417" y="660"/>
                      <a:pt x="415" y="661"/>
                      <a:pt x="417" y="661"/>
                    </a:cubicBezTo>
                    <a:cubicBezTo>
                      <a:pt x="419" y="662"/>
                      <a:pt x="420" y="662"/>
                      <a:pt x="422" y="661"/>
                    </a:cubicBezTo>
                    <a:cubicBezTo>
                      <a:pt x="423" y="661"/>
                      <a:pt x="424" y="659"/>
                      <a:pt x="425" y="658"/>
                    </a:cubicBezTo>
                    <a:cubicBezTo>
                      <a:pt x="426" y="657"/>
                      <a:pt x="426" y="657"/>
                      <a:pt x="427" y="656"/>
                    </a:cubicBezTo>
                    <a:cubicBezTo>
                      <a:pt x="427" y="655"/>
                      <a:pt x="429" y="655"/>
                      <a:pt x="429" y="655"/>
                    </a:cubicBezTo>
                    <a:cubicBezTo>
                      <a:pt x="431" y="654"/>
                      <a:pt x="433" y="651"/>
                      <a:pt x="434" y="649"/>
                    </a:cubicBezTo>
                    <a:cubicBezTo>
                      <a:pt x="434" y="648"/>
                      <a:pt x="433" y="644"/>
                      <a:pt x="432" y="644"/>
                    </a:cubicBezTo>
                    <a:cubicBezTo>
                      <a:pt x="433" y="640"/>
                      <a:pt x="435" y="640"/>
                      <a:pt x="439" y="639"/>
                    </a:cubicBezTo>
                    <a:cubicBezTo>
                      <a:pt x="442" y="639"/>
                      <a:pt x="443" y="638"/>
                      <a:pt x="444" y="635"/>
                    </a:cubicBezTo>
                    <a:cubicBezTo>
                      <a:pt x="445" y="631"/>
                      <a:pt x="447" y="627"/>
                      <a:pt x="447" y="622"/>
                    </a:cubicBezTo>
                    <a:cubicBezTo>
                      <a:pt x="448" y="620"/>
                      <a:pt x="448" y="619"/>
                      <a:pt x="449" y="617"/>
                    </a:cubicBezTo>
                    <a:cubicBezTo>
                      <a:pt x="450" y="614"/>
                      <a:pt x="451" y="613"/>
                      <a:pt x="451" y="611"/>
                    </a:cubicBezTo>
                    <a:cubicBezTo>
                      <a:pt x="451" y="609"/>
                      <a:pt x="452" y="607"/>
                      <a:pt x="452" y="604"/>
                    </a:cubicBezTo>
                    <a:cubicBezTo>
                      <a:pt x="452" y="601"/>
                      <a:pt x="453" y="599"/>
                      <a:pt x="453" y="596"/>
                    </a:cubicBezTo>
                    <a:cubicBezTo>
                      <a:pt x="454" y="592"/>
                      <a:pt x="453" y="587"/>
                      <a:pt x="453" y="583"/>
                    </a:cubicBezTo>
                    <a:cubicBezTo>
                      <a:pt x="453" y="579"/>
                      <a:pt x="455" y="572"/>
                      <a:pt x="452" y="569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15" name="Freeform 64">
                <a:extLst>
                  <a:ext uri="{FF2B5EF4-FFF2-40B4-BE49-F238E27FC236}">
                    <a16:creationId xmlns:a16="http://schemas.microsoft.com/office/drawing/2014/main" id="{2D32991C-9AB9-495F-952C-5DB1F9F52A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8763" y="3584575"/>
                <a:ext cx="41275" cy="63500"/>
              </a:xfrm>
              <a:custGeom>
                <a:avLst/>
                <a:gdLst/>
                <a:ahLst/>
                <a:cxnLst>
                  <a:cxn ang="0">
                    <a:pos x="18" y="2"/>
                  </a:cxn>
                  <a:cxn ang="0">
                    <a:pos x="22" y="1"/>
                  </a:cxn>
                  <a:cxn ang="0">
                    <a:pos x="17" y="10"/>
                  </a:cxn>
                  <a:cxn ang="0">
                    <a:pos x="12" y="15"/>
                  </a:cxn>
                  <a:cxn ang="0">
                    <a:pos x="10" y="19"/>
                  </a:cxn>
                  <a:cxn ang="0">
                    <a:pos x="10" y="23"/>
                  </a:cxn>
                  <a:cxn ang="0">
                    <a:pos x="6" y="32"/>
                  </a:cxn>
                  <a:cxn ang="0">
                    <a:pos x="5" y="34"/>
                  </a:cxn>
                  <a:cxn ang="0">
                    <a:pos x="2" y="32"/>
                  </a:cxn>
                  <a:cxn ang="0">
                    <a:pos x="1" y="25"/>
                  </a:cxn>
                  <a:cxn ang="0">
                    <a:pos x="1" y="21"/>
                  </a:cxn>
                  <a:cxn ang="0">
                    <a:pos x="3" y="19"/>
                  </a:cxn>
                  <a:cxn ang="0">
                    <a:pos x="9" y="15"/>
                  </a:cxn>
                  <a:cxn ang="0">
                    <a:pos x="3" y="14"/>
                  </a:cxn>
                  <a:cxn ang="0">
                    <a:pos x="5" y="13"/>
                  </a:cxn>
                  <a:cxn ang="0">
                    <a:pos x="6" y="9"/>
                  </a:cxn>
                  <a:cxn ang="0">
                    <a:pos x="10" y="5"/>
                  </a:cxn>
                  <a:cxn ang="0">
                    <a:pos x="18" y="0"/>
                  </a:cxn>
                  <a:cxn ang="0">
                    <a:pos x="18" y="2"/>
                  </a:cxn>
                </a:cxnLst>
                <a:rect l="0" t="0" r="r" b="b"/>
                <a:pathLst>
                  <a:path w="22" h="34">
                    <a:moveTo>
                      <a:pt x="18" y="2"/>
                    </a:moveTo>
                    <a:cubicBezTo>
                      <a:pt x="19" y="1"/>
                      <a:pt x="21" y="1"/>
                      <a:pt x="22" y="1"/>
                    </a:cubicBezTo>
                    <a:cubicBezTo>
                      <a:pt x="22" y="4"/>
                      <a:pt x="19" y="7"/>
                      <a:pt x="17" y="10"/>
                    </a:cubicBezTo>
                    <a:cubicBezTo>
                      <a:pt x="16" y="11"/>
                      <a:pt x="14" y="13"/>
                      <a:pt x="12" y="15"/>
                    </a:cubicBezTo>
                    <a:cubicBezTo>
                      <a:pt x="12" y="16"/>
                      <a:pt x="11" y="17"/>
                      <a:pt x="10" y="19"/>
                    </a:cubicBezTo>
                    <a:cubicBezTo>
                      <a:pt x="10" y="20"/>
                      <a:pt x="10" y="21"/>
                      <a:pt x="10" y="23"/>
                    </a:cubicBezTo>
                    <a:cubicBezTo>
                      <a:pt x="10" y="26"/>
                      <a:pt x="8" y="29"/>
                      <a:pt x="6" y="32"/>
                    </a:cubicBezTo>
                    <a:cubicBezTo>
                      <a:pt x="6" y="32"/>
                      <a:pt x="6" y="33"/>
                      <a:pt x="5" y="34"/>
                    </a:cubicBezTo>
                    <a:cubicBezTo>
                      <a:pt x="4" y="34"/>
                      <a:pt x="3" y="32"/>
                      <a:pt x="2" y="32"/>
                    </a:cubicBezTo>
                    <a:cubicBezTo>
                      <a:pt x="1" y="29"/>
                      <a:pt x="2" y="27"/>
                      <a:pt x="1" y="25"/>
                    </a:cubicBezTo>
                    <a:cubicBezTo>
                      <a:pt x="1" y="23"/>
                      <a:pt x="0" y="23"/>
                      <a:pt x="1" y="21"/>
                    </a:cubicBezTo>
                    <a:cubicBezTo>
                      <a:pt x="1" y="20"/>
                      <a:pt x="2" y="19"/>
                      <a:pt x="3" y="19"/>
                    </a:cubicBezTo>
                    <a:cubicBezTo>
                      <a:pt x="5" y="17"/>
                      <a:pt x="8" y="17"/>
                      <a:pt x="9" y="15"/>
                    </a:cubicBezTo>
                    <a:cubicBezTo>
                      <a:pt x="8" y="13"/>
                      <a:pt x="2" y="18"/>
                      <a:pt x="3" y="14"/>
                    </a:cubicBezTo>
                    <a:cubicBezTo>
                      <a:pt x="3" y="14"/>
                      <a:pt x="4" y="13"/>
                      <a:pt x="5" y="13"/>
                    </a:cubicBezTo>
                    <a:cubicBezTo>
                      <a:pt x="5" y="12"/>
                      <a:pt x="5" y="10"/>
                      <a:pt x="6" y="9"/>
                    </a:cubicBezTo>
                    <a:cubicBezTo>
                      <a:pt x="7" y="7"/>
                      <a:pt x="8" y="7"/>
                      <a:pt x="10" y="5"/>
                    </a:cubicBezTo>
                    <a:cubicBezTo>
                      <a:pt x="13" y="4"/>
                      <a:pt x="15" y="0"/>
                      <a:pt x="18" y="0"/>
                    </a:cubicBezTo>
                    <a:lnTo>
                      <a:pt x="18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16" name="Freeform 65">
                <a:extLst>
                  <a:ext uri="{FF2B5EF4-FFF2-40B4-BE49-F238E27FC236}">
                    <a16:creationId xmlns:a16="http://schemas.microsoft.com/office/drawing/2014/main" id="{F4333CEA-229A-4B44-AD7A-C93DA84A4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100" y="3638550"/>
                <a:ext cx="44450" cy="92075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9" y="11"/>
                  </a:cxn>
                  <a:cxn ang="0">
                    <a:pos x="6" y="13"/>
                  </a:cxn>
                  <a:cxn ang="0">
                    <a:pos x="5" y="13"/>
                  </a:cxn>
                  <a:cxn ang="0">
                    <a:pos x="3" y="16"/>
                  </a:cxn>
                  <a:cxn ang="0">
                    <a:pos x="3" y="23"/>
                  </a:cxn>
                  <a:cxn ang="0">
                    <a:pos x="4" y="28"/>
                  </a:cxn>
                  <a:cxn ang="0">
                    <a:pos x="6" y="32"/>
                  </a:cxn>
                  <a:cxn ang="0">
                    <a:pos x="5" y="34"/>
                  </a:cxn>
                  <a:cxn ang="0">
                    <a:pos x="6" y="38"/>
                  </a:cxn>
                  <a:cxn ang="0">
                    <a:pos x="7" y="38"/>
                  </a:cxn>
                  <a:cxn ang="0">
                    <a:pos x="8" y="40"/>
                  </a:cxn>
                  <a:cxn ang="0">
                    <a:pos x="1" y="40"/>
                  </a:cxn>
                  <a:cxn ang="0">
                    <a:pos x="0" y="44"/>
                  </a:cxn>
                  <a:cxn ang="0">
                    <a:pos x="2" y="48"/>
                  </a:cxn>
                  <a:cxn ang="0">
                    <a:pos x="7" y="47"/>
                  </a:cxn>
                  <a:cxn ang="0">
                    <a:pos x="11" y="44"/>
                  </a:cxn>
                  <a:cxn ang="0">
                    <a:pos x="12" y="41"/>
                  </a:cxn>
                  <a:cxn ang="0">
                    <a:pos x="10" y="37"/>
                  </a:cxn>
                  <a:cxn ang="0">
                    <a:pos x="11" y="34"/>
                  </a:cxn>
                  <a:cxn ang="0">
                    <a:pos x="12" y="31"/>
                  </a:cxn>
                  <a:cxn ang="0">
                    <a:pos x="14" y="29"/>
                  </a:cxn>
                  <a:cxn ang="0">
                    <a:pos x="13" y="25"/>
                  </a:cxn>
                  <a:cxn ang="0">
                    <a:pos x="13" y="19"/>
                  </a:cxn>
                  <a:cxn ang="0">
                    <a:pos x="14" y="13"/>
                  </a:cxn>
                  <a:cxn ang="0">
                    <a:pos x="17" y="9"/>
                  </a:cxn>
                  <a:cxn ang="0">
                    <a:pos x="22" y="6"/>
                  </a:cxn>
                  <a:cxn ang="0">
                    <a:pos x="19" y="2"/>
                  </a:cxn>
                  <a:cxn ang="0">
                    <a:pos x="19" y="0"/>
                  </a:cxn>
                </a:cxnLst>
                <a:rect l="0" t="0" r="r" b="b"/>
                <a:pathLst>
                  <a:path w="24" h="49">
                    <a:moveTo>
                      <a:pt x="19" y="0"/>
                    </a:moveTo>
                    <a:cubicBezTo>
                      <a:pt x="15" y="3"/>
                      <a:pt x="12" y="7"/>
                      <a:pt x="9" y="11"/>
                    </a:cubicBezTo>
                    <a:cubicBezTo>
                      <a:pt x="8" y="12"/>
                      <a:pt x="7" y="12"/>
                      <a:pt x="6" y="13"/>
                    </a:cubicBezTo>
                    <a:cubicBezTo>
                      <a:pt x="6" y="13"/>
                      <a:pt x="5" y="13"/>
                      <a:pt x="5" y="13"/>
                    </a:cubicBezTo>
                    <a:cubicBezTo>
                      <a:pt x="4" y="13"/>
                      <a:pt x="3" y="15"/>
                      <a:pt x="3" y="16"/>
                    </a:cubicBezTo>
                    <a:cubicBezTo>
                      <a:pt x="3" y="18"/>
                      <a:pt x="3" y="20"/>
                      <a:pt x="3" y="23"/>
                    </a:cubicBezTo>
                    <a:cubicBezTo>
                      <a:pt x="3" y="25"/>
                      <a:pt x="3" y="26"/>
                      <a:pt x="4" y="28"/>
                    </a:cubicBezTo>
                    <a:cubicBezTo>
                      <a:pt x="4" y="29"/>
                      <a:pt x="6" y="30"/>
                      <a:pt x="6" y="32"/>
                    </a:cubicBezTo>
                    <a:cubicBezTo>
                      <a:pt x="6" y="32"/>
                      <a:pt x="5" y="33"/>
                      <a:pt x="5" y="34"/>
                    </a:cubicBezTo>
                    <a:cubicBezTo>
                      <a:pt x="4" y="35"/>
                      <a:pt x="4" y="36"/>
                      <a:pt x="6" y="38"/>
                    </a:cubicBezTo>
                    <a:cubicBezTo>
                      <a:pt x="6" y="38"/>
                      <a:pt x="7" y="38"/>
                      <a:pt x="7" y="38"/>
                    </a:cubicBezTo>
                    <a:cubicBezTo>
                      <a:pt x="8" y="39"/>
                      <a:pt x="8" y="40"/>
                      <a:pt x="8" y="40"/>
                    </a:cubicBezTo>
                    <a:cubicBezTo>
                      <a:pt x="6" y="40"/>
                      <a:pt x="3" y="39"/>
                      <a:pt x="1" y="40"/>
                    </a:cubicBezTo>
                    <a:cubicBezTo>
                      <a:pt x="1" y="41"/>
                      <a:pt x="0" y="42"/>
                      <a:pt x="0" y="44"/>
                    </a:cubicBezTo>
                    <a:cubicBezTo>
                      <a:pt x="0" y="45"/>
                      <a:pt x="1" y="47"/>
                      <a:pt x="2" y="48"/>
                    </a:cubicBezTo>
                    <a:cubicBezTo>
                      <a:pt x="4" y="49"/>
                      <a:pt x="5" y="48"/>
                      <a:pt x="7" y="47"/>
                    </a:cubicBezTo>
                    <a:cubicBezTo>
                      <a:pt x="8" y="46"/>
                      <a:pt x="9" y="45"/>
                      <a:pt x="11" y="44"/>
                    </a:cubicBezTo>
                    <a:cubicBezTo>
                      <a:pt x="11" y="43"/>
                      <a:pt x="12" y="42"/>
                      <a:pt x="12" y="41"/>
                    </a:cubicBezTo>
                    <a:cubicBezTo>
                      <a:pt x="10" y="41"/>
                      <a:pt x="10" y="38"/>
                      <a:pt x="10" y="37"/>
                    </a:cubicBezTo>
                    <a:cubicBezTo>
                      <a:pt x="10" y="35"/>
                      <a:pt x="11" y="35"/>
                      <a:pt x="11" y="34"/>
                    </a:cubicBezTo>
                    <a:cubicBezTo>
                      <a:pt x="12" y="33"/>
                      <a:pt x="12" y="32"/>
                      <a:pt x="12" y="31"/>
                    </a:cubicBezTo>
                    <a:cubicBezTo>
                      <a:pt x="12" y="30"/>
                      <a:pt x="13" y="29"/>
                      <a:pt x="14" y="29"/>
                    </a:cubicBezTo>
                    <a:cubicBezTo>
                      <a:pt x="14" y="28"/>
                      <a:pt x="13" y="26"/>
                      <a:pt x="13" y="25"/>
                    </a:cubicBezTo>
                    <a:cubicBezTo>
                      <a:pt x="13" y="23"/>
                      <a:pt x="13" y="21"/>
                      <a:pt x="13" y="19"/>
                    </a:cubicBezTo>
                    <a:cubicBezTo>
                      <a:pt x="14" y="17"/>
                      <a:pt x="14" y="15"/>
                      <a:pt x="14" y="13"/>
                    </a:cubicBezTo>
                    <a:cubicBezTo>
                      <a:pt x="14" y="10"/>
                      <a:pt x="14" y="10"/>
                      <a:pt x="17" y="9"/>
                    </a:cubicBezTo>
                    <a:cubicBezTo>
                      <a:pt x="19" y="8"/>
                      <a:pt x="21" y="8"/>
                      <a:pt x="22" y="6"/>
                    </a:cubicBezTo>
                    <a:cubicBezTo>
                      <a:pt x="24" y="2"/>
                      <a:pt x="20" y="4"/>
                      <a:pt x="19" y="2"/>
                    </a:cubicBezTo>
                    <a:lnTo>
                      <a:pt x="19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17" name="Freeform 66">
                <a:extLst>
                  <a:ext uri="{FF2B5EF4-FFF2-40B4-BE49-F238E27FC236}">
                    <a16:creationId xmlns:a16="http://schemas.microsoft.com/office/drawing/2014/main" id="{94C932EC-78A6-424F-9EEF-A7C0967A04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3654425"/>
                <a:ext cx="36513" cy="60325"/>
              </a:xfrm>
              <a:custGeom>
                <a:avLst/>
                <a:gdLst/>
                <a:ahLst/>
                <a:cxnLst>
                  <a:cxn ang="0">
                    <a:pos x="13" y="5"/>
                  </a:cxn>
                  <a:cxn ang="0">
                    <a:pos x="0" y="5"/>
                  </a:cxn>
                  <a:cxn ang="0">
                    <a:pos x="2" y="14"/>
                  </a:cxn>
                  <a:cxn ang="0">
                    <a:pos x="4" y="17"/>
                  </a:cxn>
                  <a:cxn ang="0">
                    <a:pos x="4" y="20"/>
                  </a:cxn>
                  <a:cxn ang="0">
                    <a:pos x="6" y="26"/>
                  </a:cxn>
                  <a:cxn ang="0">
                    <a:pos x="13" y="30"/>
                  </a:cxn>
                  <a:cxn ang="0">
                    <a:pos x="16" y="31"/>
                  </a:cxn>
                  <a:cxn ang="0">
                    <a:pos x="19" y="25"/>
                  </a:cxn>
                  <a:cxn ang="0">
                    <a:pos x="13" y="19"/>
                  </a:cxn>
                  <a:cxn ang="0">
                    <a:pos x="15" y="16"/>
                  </a:cxn>
                  <a:cxn ang="0">
                    <a:pos x="16" y="13"/>
                  </a:cxn>
                  <a:cxn ang="0">
                    <a:pos x="16" y="11"/>
                  </a:cxn>
                  <a:cxn ang="0">
                    <a:pos x="16" y="9"/>
                  </a:cxn>
                  <a:cxn ang="0">
                    <a:pos x="13" y="7"/>
                  </a:cxn>
                  <a:cxn ang="0">
                    <a:pos x="13" y="5"/>
                  </a:cxn>
                </a:cxnLst>
                <a:rect l="0" t="0" r="r" b="b"/>
                <a:pathLst>
                  <a:path w="20" h="32">
                    <a:moveTo>
                      <a:pt x="13" y="5"/>
                    </a:moveTo>
                    <a:cubicBezTo>
                      <a:pt x="11" y="1"/>
                      <a:pt x="2" y="0"/>
                      <a:pt x="0" y="5"/>
                    </a:cubicBezTo>
                    <a:cubicBezTo>
                      <a:pt x="0" y="8"/>
                      <a:pt x="1" y="11"/>
                      <a:pt x="2" y="14"/>
                    </a:cubicBezTo>
                    <a:cubicBezTo>
                      <a:pt x="3" y="15"/>
                      <a:pt x="4" y="16"/>
                      <a:pt x="4" y="17"/>
                    </a:cubicBezTo>
                    <a:cubicBezTo>
                      <a:pt x="4" y="18"/>
                      <a:pt x="4" y="19"/>
                      <a:pt x="4" y="20"/>
                    </a:cubicBezTo>
                    <a:cubicBezTo>
                      <a:pt x="4" y="22"/>
                      <a:pt x="4" y="24"/>
                      <a:pt x="6" y="26"/>
                    </a:cubicBezTo>
                    <a:cubicBezTo>
                      <a:pt x="8" y="28"/>
                      <a:pt x="10" y="29"/>
                      <a:pt x="13" y="30"/>
                    </a:cubicBezTo>
                    <a:cubicBezTo>
                      <a:pt x="14" y="30"/>
                      <a:pt x="15" y="31"/>
                      <a:pt x="16" y="31"/>
                    </a:cubicBezTo>
                    <a:cubicBezTo>
                      <a:pt x="20" y="32"/>
                      <a:pt x="19" y="27"/>
                      <a:pt x="19" y="25"/>
                    </a:cubicBezTo>
                    <a:cubicBezTo>
                      <a:pt x="19" y="21"/>
                      <a:pt x="16" y="19"/>
                      <a:pt x="13" y="19"/>
                    </a:cubicBezTo>
                    <a:cubicBezTo>
                      <a:pt x="15" y="20"/>
                      <a:pt x="15" y="18"/>
                      <a:pt x="15" y="16"/>
                    </a:cubicBezTo>
                    <a:cubicBezTo>
                      <a:pt x="16" y="15"/>
                      <a:pt x="16" y="14"/>
                      <a:pt x="16" y="13"/>
                    </a:cubicBezTo>
                    <a:cubicBezTo>
                      <a:pt x="16" y="13"/>
                      <a:pt x="16" y="12"/>
                      <a:pt x="16" y="11"/>
                    </a:cubicBezTo>
                    <a:cubicBezTo>
                      <a:pt x="16" y="11"/>
                      <a:pt x="16" y="10"/>
                      <a:pt x="16" y="9"/>
                    </a:cubicBezTo>
                    <a:cubicBezTo>
                      <a:pt x="15" y="7"/>
                      <a:pt x="14" y="8"/>
                      <a:pt x="13" y="7"/>
                    </a:cubicBezTo>
                    <a:lnTo>
                      <a:pt x="13" y="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18" name="Freeform 67">
                <a:extLst>
                  <a:ext uri="{FF2B5EF4-FFF2-40B4-BE49-F238E27FC236}">
                    <a16:creationId xmlns:a16="http://schemas.microsoft.com/office/drawing/2014/main" id="{77B7520E-5E49-471F-B324-3949C63B69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7488" y="3619500"/>
                <a:ext cx="46038" cy="65088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7" y="1"/>
                  </a:cxn>
                  <a:cxn ang="0">
                    <a:pos x="12" y="4"/>
                  </a:cxn>
                  <a:cxn ang="0">
                    <a:pos x="12" y="6"/>
                  </a:cxn>
                  <a:cxn ang="0">
                    <a:pos x="11" y="7"/>
                  </a:cxn>
                  <a:cxn ang="0">
                    <a:pos x="10" y="10"/>
                  </a:cxn>
                  <a:cxn ang="0">
                    <a:pos x="6" y="6"/>
                  </a:cxn>
                  <a:cxn ang="0">
                    <a:pos x="4" y="11"/>
                  </a:cxn>
                  <a:cxn ang="0">
                    <a:pos x="3" y="12"/>
                  </a:cxn>
                  <a:cxn ang="0">
                    <a:pos x="1" y="13"/>
                  </a:cxn>
                  <a:cxn ang="0">
                    <a:pos x="1" y="19"/>
                  </a:cxn>
                  <a:cxn ang="0">
                    <a:pos x="0" y="22"/>
                  </a:cxn>
                  <a:cxn ang="0">
                    <a:pos x="3" y="24"/>
                  </a:cxn>
                  <a:cxn ang="0">
                    <a:pos x="4" y="21"/>
                  </a:cxn>
                  <a:cxn ang="0">
                    <a:pos x="6" y="19"/>
                  </a:cxn>
                  <a:cxn ang="0">
                    <a:pos x="7" y="18"/>
                  </a:cxn>
                  <a:cxn ang="0">
                    <a:pos x="10" y="17"/>
                  </a:cxn>
                  <a:cxn ang="0">
                    <a:pos x="15" y="14"/>
                  </a:cxn>
                  <a:cxn ang="0">
                    <a:pos x="11" y="19"/>
                  </a:cxn>
                  <a:cxn ang="0">
                    <a:pos x="8" y="21"/>
                  </a:cxn>
                  <a:cxn ang="0">
                    <a:pos x="11" y="24"/>
                  </a:cxn>
                  <a:cxn ang="0">
                    <a:pos x="9" y="27"/>
                  </a:cxn>
                  <a:cxn ang="0">
                    <a:pos x="11" y="31"/>
                  </a:cxn>
                  <a:cxn ang="0">
                    <a:pos x="10" y="34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4" y="26"/>
                  </a:cxn>
                  <a:cxn ang="0">
                    <a:pos x="21" y="16"/>
                  </a:cxn>
                  <a:cxn ang="0">
                    <a:pos x="19" y="16"/>
                  </a:cxn>
                  <a:cxn ang="0">
                    <a:pos x="19" y="14"/>
                  </a:cxn>
                  <a:cxn ang="0">
                    <a:pos x="19" y="9"/>
                  </a:cxn>
                  <a:cxn ang="0">
                    <a:pos x="18" y="2"/>
                  </a:cxn>
                  <a:cxn ang="0">
                    <a:pos x="18" y="0"/>
                  </a:cxn>
                </a:cxnLst>
                <a:rect l="0" t="0" r="r" b="b"/>
                <a:pathLst>
                  <a:path w="25" h="35">
                    <a:moveTo>
                      <a:pt x="18" y="0"/>
                    </a:moveTo>
                    <a:cubicBezTo>
                      <a:pt x="17" y="1"/>
                      <a:pt x="17" y="1"/>
                      <a:pt x="17" y="1"/>
                    </a:cubicBezTo>
                    <a:cubicBezTo>
                      <a:pt x="15" y="2"/>
                      <a:pt x="13" y="1"/>
                      <a:pt x="12" y="4"/>
                    </a:cubicBezTo>
                    <a:cubicBezTo>
                      <a:pt x="12" y="5"/>
                      <a:pt x="12" y="5"/>
                      <a:pt x="12" y="6"/>
                    </a:cubicBezTo>
                    <a:cubicBezTo>
                      <a:pt x="12" y="6"/>
                      <a:pt x="11" y="6"/>
                      <a:pt x="11" y="7"/>
                    </a:cubicBezTo>
                    <a:cubicBezTo>
                      <a:pt x="10" y="8"/>
                      <a:pt x="10" y="9"/>
                      <a:pt x="10" y="10"/>
                    </a:cubicBezTo>
                    <a:cubicBezTo>
                      <a:pt x="9" y="9"/>
                      <a:pt x="8" y="5"/>
                      <a:pt x="6" y="6"/>
                    </a:cubicBezTo>
                    <a:cubicBezTo>
                      <a:pt x="5" y="6"/>
                      <a:pt x="5" y="10"/>
                      <a:pt x="4" y="11"/>
                    </a:cubicBezTo>
                    <a:cubicBezTo>
                      <a:pt x="3" y="12"/>
                      <a:pt x="4" y="12"/>
                      <a:pt x="3" y="12"/>
                    </a:cubicBezTo>
                    <a:cubicBezTo>
                      <a:pt x="2" y="13"/>
                      <a:pt x="1" y="12"/>
                      <a:pt x="1" y="13"/>
                    </a:cubicBezTo>
                    <a:cubicBezTo>
                      <a:pt x="0" y="15"/>
                      <a:pt x="1" y="17"/>
                      <a:pt x="1" y="19"/>
                    </a:cubicBezTo>
                    <a:cubicBezTo>
                      <a:pt x="1" y="20"/>
                      <a:pt x="0" y="21"/>
                      <a:pt x="0" y="22"/>
                    </a:cubicBezTo>
                    <a:cubicBezTo>
                      <a:pt x="0" y="24"/>
                      <a:pt x="2" y="25"/>
                      <a:pt x="3" y="24"/>
                    </a:cubicBezTo>
                    <a:cubicBezTo>
                      <a:pt x="5" y="23"/>
                      <a:pt x="4" y="23"/>
                      <a:pt x="4" y="21"/>
                    </a:cubicBezTo>
                    <a:cubicBezTo>
                      <a:pt x="5" y="20"/>
                      <a:pt x="5" y="20"/>
                      <a:pt x="6" y="19"/>
                    </a:cubicBezTo>
                    <a:cubicBezTo>
                      <a:pt x="6" y="19"/>
                      <a:pt x="6" y="18"/>
                      <a:pt x="7" y="18"/>
                    </a:cubicBezTo>
                    <a:cubicBezTo>
                      <a:pt x="8" y="18"/>
                      <a:pt x="9" y="17"/>
                      <a:pt x="10" y="17"/>
                    </a:cubicBezTo>
                    <a:cubicBezTo>
                      <a:pt x="11" y="16"/>
                      <a:pt x="13" y="15"/>
                      <a:pt x="15" y="14"/>
                    </a:cubicBezTo>
                    <a:cubicBezTo>
                      <a:pt x="15" y="17"/>
                      <a:pt x="12" y="18"/>
                      <a:pt x="11" y="19"/>
                    </a:cubicBezTo>
                    <a:cubicBezTo>
                      <a:pt x="10" y="20"/>
                      <a:pt x="9" y="21"/>
                      <a:pt x="8" y="21"/>
                    </a:cubicBezTo>
                    <a:cubicBezTo>
                      <a:pt x="9" y="22"/>
                      <a:pt x="10" y="23"/>
                      <a:pt x="11" y="24"/>
                    </a:cubicBezTo>
                    <a:cubicBezTo>
                      <a:pt x="11" y="25"/>
                      <a:pt x="9" y="26"/>
                      <a:pt x="9" y="27"/>
                    </a:cubicBezTo>
                    <a:cubicBezTo>
                      <a:pt x="8" y="29"/>
                      <a:pt x="11" y="29"/>
                      <a:pt x="11" y="31"/>
                    </a:cubicBezTo>
                    <a:cubicBezTo>
                      <a:pt x="10" y="32"/>
                      <a:pt x="10" y="33"/>
                      <a:pt x="10" y="34"/>
                    </a:cubicBezTo>
                    <a:cubicBezTo>
                      <a:pt x="14" y="35"/>
                      <a:pt x="15" y="33"/>
                      <a:pt x="15" y="30"/>
                    </a:cubicBezTo>
                    <a:cubicBezTo>
                      <a:pt x="16" y="32"/>
                      <a:pt x="20" y="31"/>
                      <a:pt x="22" y="30"/>
                    </a:cubicBezTo>
                    <a:cubicBezTo>
                      <a:pt x="23" y="29"/>
                      <a:pt x="24" y="27"/>
                      <a:pt x="24" y="26"/>
                    </a:cubicBezTo>
                    <a:cubicBezTo>
                      <a:pt x="25" y="23"/>
                      <a:pt x="23" y="18"/>
                      <a:pt x="21" y="16"/>
                    </a:cubicBezTo>
                    <a:cubicBezTo>
                      <a:pt x="20" y="16"/>
                      <a:pt x="20" y="16"/>
                      <a:pt x="19" y="16"/>
                    </a:cubicBezTo>
                    <a:cubicBezTo>
                      <a:pt x="19" y="15"/>
                      <a:pt x="19" y="14"/>
                      <a:pt x="19" y="14"/>
                    </a:cubicBezTo>
                    <a:cubicBezTo>
                      <a:pt x="19" y="12"/>
                      <a:pt x="19" y="11"/>
                      <a:pt x="19" y="9"/>
                    </a:cubicBezTo>
                    <a:cubicBezTo>
                      <a:pt x="19" y="7"/>
                      <a:pt x="20" y="2"/>
                      <a:pt x="18" y="2"/>
                    </a:cubicBezTo>
                    <a:lnTo>
                      <a:pt x="1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19" name="Freeform 68">
                <a:extLst>
                  <a:ext uri="{FF2B5EF4-FFF2-40B4-BE49-F238E27FC236}">
                    <a16:creationId xmlns:a16="http://schemas.microsoft.com/office/drawing/2014/main" id="{C354B886-7932-4632-B2F6-BCF38DB7FA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538" y="3581400"/>
                <a:ext cx="14288" cy="238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" y="4"/>
                  </a:cxn>
                  <a:cxn ang="0">
                    <a:pos x="0" y="10"/>
                  </a:cxn>
                  <a:cxn ang="0">
                    <a:pos x="1" y="12"/>
                  </a:cxn>
                  <a:cxn ang="0">
                    <a:pos x="3" y="12"/>
                  </a:cxn>
                  <a:cxn ang="0">
                    <a:pos x="6" y="6"/>
                  </a:cxn>
                  <a:cxn ang="0">
                    <a:pos x="8" y="3"/>
                  </a:cxn>
                  <a:cxn ang="0">
                    <a:pos x="8" y="0"/>
                  </a:cxn>
                </a:cxnLst>
                <a:rect l="0" t="0" r="r" b="b"/>
                <a:pathLst>
                  <a:path w="8" h="13">
                    <a:moveTo>
                      <a:pt x="8" y="0"/>
                    </a:moveTo>
                    <a:cubicBezTo>
                      <a:pt x="5" y="0"/>
                      <a:pt x="3" y="3"/>
                      <a:pt x="2" y="4"/>
                    </a:cubicBezTo>
                    <a:cubicBezTo>
                      <a:pt x="0" y="6"/>
                      <a:pt x="0" y="8"/>
                      <a:pt x="0" y="10"/>
                    </a:cubicBezTo>
                    <a:cubicBezTo>
                      <a:pt x="1" y="11"/>
                      <a:pt x="0" y="12"/>
                      <a:pt x="1" y="12"/>
                    </a:cubicBezTo>
                    <a:cubicBezTo>
                      <a:pt x="1" y="13"/>
                      <a:pt x="3" y="12"/>
                      <a:pt x="3" y="12"/>
                    </a:cubicBezTo>
                    <a:cubicBezTo>
                      <a:pt x="5" y="11"/>
                      <a:pt x="5" y="8"/>
                      <a:pt x="6" y="6"/>
                    </a:cubicBezTo>
                    <a:cubicBezTo>
                      <a:pt x="7" y="5"/>
                      <a:pt x="8" y="4"/>
                      <a:pt x="8" y="3"/>
                    </a:cubicBez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20" name="Freeform 69">
                <a:extLst>
                  <a:ext uri="{FF2B5EF4-FFF2-40B4-BE49-F238E27FC236}">
                    <a16:creationId xmlns:a16="http://schemas.microsoft.com/office/drawing/2014/main" id="{B0982C60-12E5-430B-A855-F52B6883A5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8275" y="3482975"/>
                <a:ext cx="58738" cy="3968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0" y="7"/>
                  </a:cxn>
                  <a:cxn ang="0">
                    <a:pos x="19" y="9"/>
                  </a:cxn>
                  <a:cxn ang="0">
                    <a:pos x="16" y="10"/>
                  </a:cxn>
                  <a:cxn ang="0">
                    <a:pos x="15" y="12"/>
                  </a:cxn>
                  <a:cxn ang="0">
                    <a:pos x="13" y="13"/>
                  </a:cxn>
                  <a:cxn ang="0">
                    <a:pos x="9" y="15"/>
                  </a:cxn>
                  <a:cxn ang="0">
                    <a:pos x="4" y="15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5" y="18"/>
                  </a:cxn>
                  <a:cxn ang="0">
                    <a:pos x="10" y="18"/>
                  </a:cxn>
                  <a:cxn ang="0">
                    <a:pos x="14" y="15"/>
                  </a:cxn>
                  <a:cxn ang="0">
                    <a:pos x="15" y="12"/>
                  </a:cxn>
                  <a:cxn ang="0">
                    <a:pos x="21" y="11"/>
                  </a:cxn>
                  <a:cxn ang="0">
                    <a:pos x="23" y="10"/>
                  </a:cxn>
                  <a:cxn ang="0">
                    <a:pos x="28" y="6"/>
                  </a:cxn>
                  <a:cxn ang="0">
                    <a:pos x="31" y="1"/>
                  </a:cxn>
                  <a:cxn ang="0">
                    <a:pos x="27" y="0"/>
                  </a:cxn>
                </a:cxnLst>
                <a:rect l="0" t="0" r="r" b="b"/>
                <a:pathLst>
                  <a:path w="31" h="22">
                    <a:moveTo>
                      <a:pt x="27" y="0"/>
                    </a:moveTo>
                    <a:cubicBezTo>
                      <a:pt x="24" y="2"/>
                      <a:pt x="21" y="4"/>
                      <a:pt x="20" y="7"/>
                    </a:cubicBezTo>
                    <a:cubicBezTo>
                      <a:pt x="19" y="8"/>
                      <a:pt x="19" y="9"/>
                      <a:pt x="19" y="9"/>
                    </a:cubicBezTo>
                    <a:cubicBezTo>
                      <a:pt x="18" y="11"/>
                      <a:pt x="17" y="9"/>
                      <a:pt x="16" y="10"/>
                    </a:cubicBezTo>
                    <a:cubicBezTo>
                      <a:pt x="14" y="11"/>
                      <a:pt x="15" y="11"/>
                      <a:pt x="15" y="12"/>
                    </a:cubicBezTo>
                    <a:cubicBezTo>
                      <a:pt x="14" y="13"/>
                      <a:pt x="14" y="13"/>
                      <a:pt x="13" y="13"/>
                    </a:cubicBezTo>
                    <a:cubicBezTo>
                      <a:pt x="12" y="13"/>
                      <a:pt x="8" y="14"/>
                      <a:pt x="9" y="15"/>
                    </a:cubicBezTo>
                    <a:cubicBezTo>
                      <a:pt x="7" y="16"/>
                      <a:pt x="6" y="15"/>
                      <a:pt x="4" y="15"/>
                    </a:cubicBezTo>
                    <a:cubicBezTo>
                      <a:pt x="2" y="15"/>
                      <a:pt x="1" y="16"/>
                      <a:pt x="0" y="19"/>
                    </a:cubicBezTo>
                    <a:cubicBezTo>
                      <a:pt x="0" y="21"/>
                      <a:pt x="1" y="21"/>
                      <a:pt x="3" y="22"/>
                    </a:cubicBezTo>
                    <a:cubicBezTo>
                      <a:pt x="6" y="22"/>
                      <a:pt x="4" y="20"/>
                      <a:pt x="5" y="18"/>
                    </a:cubicBezTo>
                    <a:cubicBezTo>
                      <a:pt x="8" y="20"/>
                      <a:pt x="7" y="19"/>
                      <a:pt x="10" y="18"/>
                    </a:cubicBezTo>
                    <a:cubicBezTo>
                      <a:pt x="12" y="18"/>
                      <a:pt x="14" y="18"/>
                      <a:pt x="14" y="15"/>
                    </a:cubicBezTo>
                    <a:cubicBezTo>
                      <a:pt x="14" y="13"/>
                      <a:pt x="15" y="13"/>
                      <a:pt x="15" y="12"/>
                    </a:cubicBezTo>
                    <a:cubicBezTo>
                      <a:pt x="17" y="11"/>
                      <a:pt x="19" y="11"/>
                      <a:pt x="21" y="11"/>
                    </a:cubicBezTo>
                    <a:cubicBezTo>
                      <a:pt x="22" y="11"/>
                      <a:pt x="22" y="11"/>
                      <a:pt x="23" y="10"/>
                    </a:cubicBezTo>
                    <a:cubicBezTo>
                      <a:pt x="25" y="9"/>
                      <a:pt x="27" y="8"/>
                      <a:pt x="28" y="6"/>
                    </a:cubicBezTo>
                    <a:cubicBezTo>
                      <a:pt x="29" y="5"/>
                      <a:pt x="30" y="2"/>
                      <a:pt x="31" y="1"/>
                    </a:cubicBezTo>
                    <a:cubicBezTo>
                      <a:pt x="30" y="0"/>
                      <a:pt x="28" y="0"/>
                      <a:pt x="27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21" name="Freeform 70">
                <a:extLst>
                  <a:ext uri="{FF2B5EF4-FFF2-40B4-BE49-F238E27FC236}">
                    <a16:creationId xmlns:a16="http://schemas.microsoft.com/office/drawing/2014/main" id="{927E4672-F042-47F5-8825-D94020F36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9238" y="3435350"/>
                <a:ext cx="7938" cy="9525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0" y="5"/>
                  </a:cxn>
                  <a:cxn ang="0">
                    <a:pos x="2" y="1"/>
                  </a:cxn>
                  <a:cxn ang="0">
                    <a:pos x="3" y="2"/>
                  </a:cxn>
                </a:cxnLst>
                <a:rect l="0" t="0" r="r" b="b"/>
                <a:pathLst>
                  <a:path w="4" h="5">
                    <a:moveTo>
                      <a:pt x="3" y="2"/>
                    </a:moveTo>
                    <a:cubicBezTo>
                      <a:pt x="4" y="4"/>
                      <a:pt x="2" y="5"/>
                      <a:pt x="0" y="5"/>
                    </a:cubicBezTo>
                    <a:cubicBezTo>
                      <a:pt x="0" y="4"/>
                      <a:pt x="0" y="0"/>
                      <a:pt x="2" y="1"/>
                    </a:cubicBezTo>
                    <a:cubicBezTo>
                      <a:pt x="2" y="1"/>
                      <a:pt x="2" y="2"/>
                      <a:pt x="3" y="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22" name="Freeform 71">
                <a:extLst>
                  <a:ext uri="{FF2B5EF4-FFF2-40B4-BE49-F238E27FC236}">
                    <a16:creationId xmlns:a16="http://schemas.microsoft.com/office/drawing/2014/main" id="{B8A5776B-A5D7-46E2-98AE-D52B48130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9538" y="3416300"/>
                <a:ext cx="22225" cy="26988"/>
              </a:xfrm>
              <a:custGeom>
                <a:avLst/>
                <a:gdLst/>
                <a:ahLst/>
                <a:cxnLst>
                  <a:cxn ang="0">
                    <a:pos x="12" y="5"/>
                  </a:cxn>
                  <a:cxn ang="0">
                    <a:pos x="10" y="0"/>
                  </a:cxn>
                  <a:cxn ang="0">
                    <a:pos x="7" y="3"/>
                  </a:cxn>
                  <a:cxn ang="0">
                    <a:pos x="1" y="9"/>
                  </a:cxn>
                  <a:cxn ang="0">
                    <a:pos x="0" y="12"/>
                  </a:cxn>
                  <a:cxn ang="0">
                    <a:pos x="4" y="12"/>
                  </a:cxn>
                  <a:cxn ang="0">
                    <a:pos x="4" y="9"/>
                  </a:cxn>
                  <a:cxn ang="0">
                    <a:pos x="8" y="7"/>
                  </a:cxn>
                  <a:cxn ang="0">
                    <a:pos x="11" y="4"/>
                  </a:cxn>
                  <a:cxn ang="0">
                    <a:pos x="12" y="5"/>
                  </a:cxn>
                </a:cxnLst>
                <a:rect l="0" t="0" r="r" b="b"/>
                <a:pathLst>
                  <a:path w="12" h="14">
                    <a:moveTo>
                      <a:pt x="12" y="5"/>
                    </a:moveTo>
                    <a:cubicBezTo>
                      <a:pt x="12" y="3"/>
                      <a:pt x="12" y="1"/>
                      <a:pt x="10" y="0"/>
                    </a:cubicBezTo>
                    <a:cubicBezTo>
                      <a:pt x="7" y="0"/>
                      <a:pt x="8" y="2"/>
                      <a:pt x="7" y="3"/>
                    </a:cubicBezTo>
                    <a:cubicBezTo>
                      <a:pt x="6" y="6"/>
                      <a:pt x="2" y="6"/>
                      <a:pt x="1" y="9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1" y="14"/>
                      <a:pt x="4" y="14"/>
                      <a:pt x="4" y="12"/>
                    </a:cubicBezTo>
                    <a:cubicBezTo>
                      <a:pt x="4" y="11"/>
                      <a:pt x="3" y="10"/>
                      <a:pt x="4" y="9"/>
                    </a:cubicBezTo>
                    <a:cubicBezTo>
                      <a:pt x="4" y="8"/>
                      <a:pt x="7" y="7"/>
                      <a:pt x="8" y="7"/>
                    </a:cubicBezTo>
                    <a:cubicBezTo>
                      <a:pt x="9" y="6"/>
                      <a:pt x="11" y="6"/>
                      <a:pt x="11" y="4"/>
                    </a:cubicBezTo>
                    <a:lnTo>
                      <a:pt x="12" y="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23" name="Freeform 72">
                <a:extLst>
                  <a:ext uri="{FF2B5EF4-FFF2-40B4-BE49-F238E27FC236}">
                    <a16:creationId xmlns:a16="http://schemas.microsoft.com/office/drawing/2014/main" id="{ED710DDE-2D50-4B83-807D-D5E6A77BB7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3188" y="3455988"/>
                <a:ext cx="6350" cy="635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2" y="1"/>
                      <a:pt x="0" y="1"/>
                      <a:pt x="0" y="2"/>
                    </a:cubicBezTo>
                    <a:cubicBezTo>
                      <a:pt x="2" y="3"/>
                      <a:pt x="3" y="2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24" name="Freeform 73">
                <a:extLst>
                  <a:ext uri="{FF2B5EF4-FFF2-40B4-BE49-F238E27FC236}">
                    <a16:creationId xmlns:a16="http://schemas.microsoft.com/office/drawing/2014/main" id="{0DB921B8-F3BC-4012-A6FE-62BD3F9CB5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4300" y="3294063"/>
                <a:ext cx="42863" cy="120650"/>
              </a:xfrm>
              <a:custGeom>
                <a:avLst/>
                <a:gdLst/>
                <a:ahLst/>
                <a:cxnLst>
                  <a:cxn ang="0">
                    <a:pos x="7" y="61"/>
                  </a:cxn>
                  <a:cxn ang="0">
                    <a:pos x="12" y="62"/>
                  </a:cxn>
                  <a:cxn ang="0">
                    <a:pos x="12" y="65"/>
                  </a:cxn>
                  <a:cxn ang="0">
                    <a:pos x="14" y="61"/>
                  </a:cxn>
                  <a:cxn ang="0">
                    <a:pos x="15" y="58"/>
                  </a:cxn>
                  <a:cxn ang="0">
                    <a:pos x="17" y="58"/>
                  </a:cxn>
                  <a:cxn ang="0">
                    <a:pos x="14" y="57"/>
                  </a:cxn>
                  <a:cxn ang="0">
                    <a:pos x="14" y="55"/>
                  </a:cxn>
                  <a:cxn ang="0">
                    <a:pos x="13" y="50"/>
                  </a:cxn>
                  <a:cxn ang="0">
                    <a:pos x="16" y="47"/>
                  </a:cxn>
                  <a:cxn ang="0">
                    <a:pos x="13" y="41"/>
                  </a:cxn>
                  <a:cxn ang="0">
                    <a:pos x="14" y="38"/>
                  </a:cxn>
                  <a:cxn ang="0">
                    <a:pos x="12" y="37"/>
                  </a:cxn>
                  <a:cxn ang="0">
                    <a:pos x="13" y="33"/>
                  </a:cxn>
                  <a:cxn ang="0">
                    <a:pos x="12" y="31"/>
                  </a:cxn>
                  <a:cxn ang="0">
                    <a:pos x="16" y="30"/>
                  </a:cxn>
                  <a:cxn ang="0">
                    <a:pos x="13" y="25"/>
                  </a:cxn>
                  <a:cxn ang="0">
                    <a:pos x="20" y="22"/>
                  </a:cxn>
                  <a:cxn ang="0">
                    <a:pos x="20" y="18"/>
                  </a:cxn>
                  <a:cxn ang="0">
                    <a:pos x="20" y="17"/>
                  </a:cxn>
                  <a:cxn ang="0">
                    <a:pos x="19" y="13"/>
                  </a:cxn>
                  <a:cxn ang="0">
                    <a:pos x="22" y="12"/>
                  </a:cxn>
                  <a:cxn ang="0">
                    <a:pos x="23" y="6"/>
                  </a:cxn>
                  <a:cxn ang="0">
                    <a:pos x="20" y="4"/>
                  </a:cxn>
                  <a:cxn ang="0">
                    <a:pos x="20" y="5"/>
                  </a:cxn>
                  <a:cxn ang="0">
                    <a:pos x="16" y="2"/>
                  </a:cxn>
                  <a:cxn ang="0">
                    <a:pos x="13" y="2"/>
                  </a:cxn>
                  <a:cxn ang="0">
                    <a:pos x="7" y="5"/>
                  </a:cxn>
                  <a:cxn ang="0">
                    <a:pos x="2" y="2"/>
                  </a:cxn>
                  <a:cxn ang="0">
                    <a:pos x="0" y="12"/>
                  </a:cxn>
                  <a:cxn ang="0">
                    <a:pos x="1" y="14"/>
                  </a:cxn>
                  <a:cxn ang="0">
                    <a:pos x="6" y="14"/>
                  </a:cxn>
                  <a:cxn ang="0">
                    <a:pos x="6" y="17"/>
                  </a:cxn>
                  <a:cxn ang="0">
                    <a:pos x="8" y="17"/>
                  </a:cxn>
                  <a:cxn ang="0">
                    <a:pos x="8" y="20"/>
                  </a:cxn>
                  <a:cxn ang="0">
                    <a:pos x="9" y="20"/>
                  </a:cxn>
                  <a:cxn ang="0">
                    <a:pos x="4" y="23"/>
                  </a:cxn>
                  <a:cxn ang="0">
                    <a:pos x="8" y="27"/>
                  </a:cxn>
                  <a:cxn ang="0">
                    <a:pos x="2" y="32"/>
                  </a:cxn>
                  <a:cxn ang="0">
                    <a:pos x="3" y="33"/>
                  </a:cxn>
                  <a:cxn ang="0">
                    <a:pos x="4" y="34"/>
                  </a:cxn>
                  <a:cxn ang="0">
                    <a:pos x="5" y="39"/>
                  </a:cxn>
                  <a:cxn ang="0">
                    <a:pos x="6" y="41"/>
                  </a:cxn>
                  <a:cxn ang="0">
                    <a:pos x="5" y="41"/>
                  </a:cxn>
                  <a:cxn ang="0">
                    <a:pos x="4" y="44"/>
                  </a:cxn>
                  <a:cxn ang="0">
                    <a:pos x="6" y="55"/>
                  </a:cxn>
                  <a:cxn ang="0">
                    <a:pos x="6" y="58"/>
                  </a:cxn>
                  <a:cxn ang="0">
                    <a:pos x="9" y="61"/>
                  </a:cxn>
                  <a:cxn ang="0">
                    <a:pos x="10" y="61"/>
                  </a:cxn>
                  <a:cxn ang="0">
                    <a:pos x="7" y="61"/>
                  </a:cxn>
                </a:cxnLst>
                <a:rect l="0" t="0" r="r" b="b"/>
                <a:pathLst>
                  <a:path w="23" h="65">
                    <a:moveTo>
                      <a:pt x="7" y="61"/>
                    </a:moveTo>
                    <a:cubicBezTo>
                      <a:pt x="9" y="62"/>
                      <a:pt x="10" y="62"/>
                      <a:pt x="12" y="62"/>
                    </a:cubicBezTo>
                    <a:cubicBezTo>
                      <a:pt x="13" y="63"/>
                      <a:pt x="12" y="64"/>
                      <a:pt x="12" y="65"/>
                    </a:cubicBezTo>
                    <a:cubicBezTo>
                      <a:pt x="13" y="64"/>
                      <a:pt x="14" y="63"/>
                      <a:pt x="14" y="61"/>
                    </a:cubicBezTo>
                    <a:cubicBezTo>
                      <a:pt x="15" y="60"/>
                      <a:pt x="14" y="59"/>
                      <a:pt x="15" y="58"/>
                    </a:cubicBezTo>
                    <a:cubicBezTo>
                      <a:pt x="15" y="58"/>
                      <a:pt x="16" y="58"/>
                      <a:pt x="17" y="58"/>
                    </a:cubicBezTo>
                    <a:cubicBezTo>
                      <a:pt x="17" y="57"/>
                      <a:pt x="15" y="57"/>
                      <a:pt x="14" y="57"/>
                    </a:cubicBezTo>
                    <a:cubicBezTo>
                      <a:pt x="13" y="56"/>
                      <a:pt x="14" y="56"/>
                      <a:pt x="14" y="55"/>
                    </a:cubicBezTo>
                    <a:cubicBezTo>
                      <a:pt x="13" y="53"/>
                      <a:pt x="15" y="52"/>
                      <a:pt x="13" y="50"/>
                    </a:cubicBezTo>
                    <a:cubicBezTo>
                      <a:pt x="14" y="49"/>
                      <a:pt x="15" y="47"/>
                      <a:pt x="16" y="47"/>
                    </a:cubicBezTo>
                    <a:cubicBezTo>
                      <a:pt x="17" y="44"/>
                      <a:pt x="14" y="43"/>
                      <a:pt x="13" y="41"/>
                    </a:cubicBezTo>
                    <a:cubicBezTo>
                      <a:pt x="13" y="40"/>
                      <a:pt x="15" y="39"/>
                      <a:pt x="14" y="38"/>
                    </a:cubicBezTo>
                    <a:cubicBezTo>
                      <a:pt x="14" y="37"/>
                      <a:pt x="13" y="38"/>
                      <a:pt x="12" y="37"/>
                    </a:cubicBezTo>
                    <a:cubicBezTo>
                      <a:pt x="12" y="35"/>
                      <a:pt x="13" y="34"/>
                      <a:pt x="13" y="33"/>
                    </a:cubicBezTo>
                    <a:cubicBezTo>
                      <a:pt x="13" y="32"/>
                      <a:pt x="12" y="32"/>
                      <a:pt x="12" y="31"/>
                    </a:cubicBezTo>
                    <a:cubicBezTo>
                      <a:pt x="13" y="30"/>
                      <a:pt x="16" y="32"/>
                      <a:pt x="16" y="30"/>
                    </a:cubicBezTo>
                    <a:cubicBezTo>
                      <a:pt x="17" y="28"/>
                      <a:pt x="11" y="28"/>
                      <a:pt x="13" y="25"/>
                    </a:cubicBezTo>
                    <a:cubicBezTo>
                      <a:pt x="15" y="25"/>
                      <a:pt x="17" y="22"/>
                      <a:pt x="20" y="22"/>
                    </a:cubicBezTo>
                    <a:cubicBezTo>
                      <a:pt x="20" y="20"/>
                      <a:pt x="20" y="20"/>
                      <a:pt x="20" y="18"/>
                    </a:cubicBezTo>
                    <a:cubicBezTo>
                      <a:pt x="21" y="19"/>
                      <a:pt x="21" y="17"/>
                      <a:pt x="20" y="17"/>
                    </a:cubicBezTo>
                    <a:cubicBezTo>
                      <a:pt x="19" y="15"/>
                      <a:pt x="18" y="14"/>
                      <a:pt x="19" y="13"/>
                    </a:cubicBezTo>
                    <a:cubicBezTo>
                      <a:pt x="20" y="12"/>
                      <a:pt x="22" y="14"/>
                      <a:pt x="22" y="12"/>
                    </a:cubicBezTo>
                    <a:cubicBezTo>
                      <a:pt x="23" y="10"/>
                      <a:pt x="23" y="8"/>
                      <a:pt x="23" y="6"/>
                    </a:cubicBezTo>
                    <a:cubicBezTo>
                      <a:pt x="23" y="5"/>
                      <a:pt x="22" y="3"/>
                      <a:pt x="20" y="4"/>
                    </a:cubicBezTo>
                    <a:cubicBezTo>
                      <a:pt x="20" y="4"/>
                      <a:pt x="21" y="5"/>
                      <a:pt x="20" y="5"/>
                    </a:cubicBezTo>
                    <a:cubicBezTo>
                      <a:pt x="19" y="6"/>
                      <a:pt x="17" y="2"/>
                      <a:pt x="16" y="2"/>
                    </a:cubicBezTo>
                    <a:cubicBezTo>
                      <a:pt x="15" y="0"/>
                      <a:pt x="14" y="1"/>
                      <a:pt x="13" y="2"/>
                    </a:cubicBezTo>
                    <a:cubicBezTo>
                      <a:pt x="11" y="4"/>
                      <a:pt x="10" y="6"/>
                      <a:pt x="7" y="5"/>
                    </a:cubicBezTo>
                    <a:cubicBezTo>
                      <a:pt x="5" y="4"/>
                      <a:pt x="4" y="2"/>
                      <a:pt x="2" y="2"/>
                    </a:cubicBezTo>
                    <a:cubicBezTo>
                      <a:pt x="0" y="3"/>
                      <a:pt x="0" y="10"/>
                      <a:pt x="0" y="12"/>
                    </a:cubicBezTo>
                    <a:cubicBezTo>
                      <a:pt x="0" y="13"/>
                      <a:pt x="0" y="14"/>
                      <a:pt x="1" y="14"/>
                    </a:cubicBezTo>
                    <a:cubicBezTo>
                      <a:pt x="2" y="14"/>
                      <a:pt x="7" y="15"/>
                      <a:pt x="6" y="14"/>
                    </a:cubicBezTo>
                    <a:cubicBezTo>
                      <a:pt x="6" y="15"/>
                      <a:pt x="6" y="16"/>
                      <a:pt x="6" y="17"/>
                    </a:cubicBezTo>
                    <a:cubicBezTo>
                      <a:pt x="7" y="17"/>
                      <a:pt x="7" y="17"/>
                      <a:pt x="8" y="17"/>
                    </a:cubicBezTo>
                    <a:cubicBezTo>
                      <a:pt x="8" y="18"/>
                      <a:pt x="8" y="19"/>
                      <a:pt x="8" y="20"/>
                    </a:cubicBezTo>
                    <a:cubicBezTo>
                      <a:pt x="8" y="20"/>
                      <a:pt x="8" y="20"/>
                      <a:pt x="9" y="20"/>
                    </a:cubicBezTo>
                    <a:cubicBezTo>
                      <a:pt x="7" y="21"/>
                      <a:pt x="5" y="22"/>
                      <a:pt x="4" y="23"/>
                    </a:cubicBezTo>
                    <a:cubicBezTo>
                      <a:pt x="3" y="27"/>
                      <a:pt x="6" y="25"/>
                      <a:pt x="8" y="27"/>
                    </a:cubicBezTo>
                    <a:cubicBezTo>
                      <a:pt x="7" y="29"/>
                      <a:pt x="2" y="29"/>
                      <a:pt x="2" y="32"/>
                    </a:cubicBezTo>
                    <a:cubicBezTo>
                      <a:pt x="2" y="32"/>
                      <a:pt x="3" y="32"/>
                      <a:pt x="3" y="33"/>
                    </a:cubicBezTo>
                    <a:cubicBezTo>
                      <a:pt x="4" y="33"/>
                      <a:pt x="4" y="34"/>
                      <a:pt x="4" y="34"/>
                    </a:cubicBezTo>
                    <a:cubicBezTo>
                      <a:pt x="5" y="36"/>
                      <a:pt x="5" y="37"/>
                      <a:pt x="5" y="39"/>
                    </a:cubicBezTo>
                    <a:cubicBezTo>
                      <a:pt x="6" y="39"/>
                      <a:pt x="6" y="40"/>
                      <a:pt x="6" y="41"/>
                    </a:cubicBezTo>
                    <a:cubicBezTo>
                      <a:pt x="6" y="41"/>
                      <a:pt x="6" y="41"/>
                      <a:pt x="5" y="41"/>
                    </a:cubicBezTo>
                    <a:cubicBezTo>
                      <a:pt x="5" y="42"/>
                      <a:pt x="4" y="43"/>
                      <a:pt x="4" y="44"/>
                    </a:cubicBezTo>
                    <a:cubicBezTo>
                      <a:pt x="3" y="48"/>
                      <a:pt x="5" y="51"/>
                      <a:pt x="6" y="55"/>
                    </a:cubicBezTo>
                    <a:cubicBezTo>
                      <a:pt x="6" y="55"/>
                      <a:pt x="6" y="57"/>
                      <a:pt x="6" y="58"/>
                    </a:cubicBezTo>
                    <a:cubicBezTo>
                      <a:pt x="7" y="59"/>
                      <a:pt x="9" y="59"/>
                      <a:pt x="9" y="61"/>
                    </a:cubicBezTo>
                    <a:cubicBezTo>
                      <a:pt x="10" y="61"/>
                      <a:pt x="10" y="61"/>
                      <a:pt x="10" y="61"/>
                    </a:cubicBezTo>
                    <a:lnTo>
                      <a:pt x="7" y="6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25" name="Freeform 74">
                <a:extLst>
                  <a:ext uri="{FF2B5EF4-FFF2-40B4-BE49-F238E27FC236}">
                    <a16:creationId xmlns:a16="http://schemas.microsoft.com/office/drawing/2014/main" id="{C8763861-B56D-448A-9A8D-5B7FB15C22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9713" y="3184525"/>
                <a:ext cx="17463" cy="17463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7" y="6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0" y="7"/>
                  </a:cxn>
                </a:cxnLst>
                <a:rect l="0" t="0" r="r" b="b"/>
                <a:pathLst>
                  <a:path w="9" h="9">
                    <a:moveTo>
                      <a:pt x="0" y="7"/>
                    </a:moveTo>
                    <a:cubicBezTo>
                      <a:pt x="0" y="9"/>
                      <a:pt x="6" y="7"/>
                      <a:pt x="7" y="6"/>
                    </a:cubicBezTo>
                    <a:cubicBezTo>
                      <a:pt x="8" y="5"/>
                      <a:pt x="9" y="3"/>
                      <a:pt x="8" y="2"/>
                    </a:cubicBezTo>
                    <a:cubicBezTo>
                      <a:pt x="7" y="0"/>
                      <a:pt x="4" y="2"/>
                      <a:pt x="3" y="3"/>
                    </a:cubicBezTo>
                    <a:cubicBezTo>
                      <a:pt x="1" y="5"/>
                      <a:pt x="0" y="7"/>
                      <a:pt x="0" y="7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26" name="Freeform 75">
                <a:extLst>
                  <a:ext uri="{FF2B5EF4-FFF2-40B4-BE49-F238E27FC236}">
                    <a16:creationId xmlns:a16="http://schemas.microsoft.com/office/drawing/2014/main" id="{DCB3D38A-5D19-4464-B03E-A1FF154170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2400" y="3136900"/>
                <a:ext cx="100013" cy="147638"/>
              </a:xfrm>
              <a:custGeom>
                <a:avLst/>
                <a:gdLst/>
                <a:ahLst/>
                <a:cxnLst>
                  <a:cxn ang="0">
                    <a:pos x="51" y="15"/>
                  </a:cxn>
                  <a:cxn ang="0">
                    <a:pos x="52" y="10"/>
                  </a:cxn>
                  <a:cxn ang="0">
                    <a:pos x="52" y="6"/>
                  </a:cxn>
                  <a:cxn ang="0">
                    <a:pos x="51" y="2"/>
                  </a:cxn>
                  <a:cxn ang="0">
                    <a:pos x="44" y="7"/>
                  </a:cxn>
                  <a:cxn ang="0">
                    <a:pos x="41" y="8"/>
                  </a:cxn>
                  <a:cxn ang="0">
                    <a:pos x="38" y="10"/>
                  </a:cxn>
                  <a:cxn ang="0">
                    <a:pos x="38" y="11"/>
                  </a:cxn>
                  <a:cxn ang="0">
                    <a:pos x="34" y="11"/>
                  </a:cxn>
                  <a:cxn ang="0">
                    <a:pos x="32" y="15"/>
                  </a:cxn>
                  <a:cxn ang="0">
                    <a:pos x="21" y="19"/>
                  </a:cxn>
                  <a:cxn ang="0">
                    <a:pos x="18" y="24"/>
                  </a:cxn>
                  <a:cxn ang="0">
                    <a:pos x="17" y="30"/>
                  </a:cxn>
                  <a:cxn ang="0">
                    <a:pos x="19" y="32"/>
                  </a:cxn>
                  <a:cxn ang="0">
                    <a:pos x="14" y="29"/>
                  </a:cxn>
                  <a:cxn ang="0">
                    <a:pos x="12" y="30"/>
                  </a:cxn>
                  <a:cxn ang="0">
                    <a:pos x="13" y="32"/>
                  </a:cxn>
                  <a:cxn ang="0">
                    <a:pos x="8" y="29"/>
                  </a:cxn>
                  <a:cxn ang="0">
                    <a:pos x="5" y="32"/>
                  </a:cxn>
                  <a:cxn ang="0">
                    <a:pos x="4" y="36"/>
                  </a:cxn>
                  <a:cxn ang="0">
                    <a:pos x="5" y="39"/>
                  </a:cxn>
                  <a:cxn ang="0">
                    <a:pos x="3" y="42"/>
                  </a:cxn>
                  <a:cxn ang="0">
                    <a:pos x="9" y="50"/>
                  </a:cxn>
                  <a:cxn ang="0">
                    <a:pos x="1" y="52"/>
                  </a:cxn>
                  <a:cxn ang="0">
                    <a:pos x="3" y="58"/>
                  </a:cxn>
                  <a:cxn ang="0">
                    <a:pos x="14" y="63"/>
                  </a:cxn>
                  <a:cxn ang="0">
                    <a:pos x="8" y="65"/>
                  </a:cxn>
                  <a:cxn ang="0">
                    <a:pos x="9" y="67"/>
                  </a:cxn>
                  <a:cxn ang="0">
                    <a:pos x="8" y="68"/>
                  </a:cxn>
                  <a:cxn ang="0">
                    <a:pos x="7" y="70"/>
                  </a:cxn>
                  <a:cxn ang="0">
                    <a:pos x="4" y="72"/>
                  </a:cxn>
                  <a:cxn ang="0">
                    <a:pos x="5" y="75"/>
                  </a:cxn>
                  <a:cxn ang="0">
                    <a:pos x="6" y="77"/>
                  </a:cxn>
                  <a:cxn ang="0">
                    <a:pos x="10" y="79"/>
                  </a:cxn>
                  <a:cxn ang="0">
                    <a:pos x="13" y="75"/>
                  </a:cxn>
                  <a:cxn ang="0">
                    <a:pos x="23" y="75"/>
                  </a:cxn>
                  <a:cxn ang="0">
                    <a:pos x="20" y="66"/>
                  </a:cxn>
                  <a:cxn ang="0">
                    <a:pos x="23" y="67"/>
                  </a:cxn>
                  <a:cxn ang="0">
                    <a:pos x="28" y="68"/>
                  </a:cxn>
                  <a:cxn ang="0">
                    <a:pos x="26" y="61"/>
                  </a:cxn>
                  <a:cxn ang="0">
                    <a:pos x="31" y="61"/>
                  </a:cxn>
                  <a:cxn ang="0">
                    <a:pos x="34" y="59"/>
                  </a:cxn>
                  <a:cxn ang="0">
                    <a:pos x="37" y="57"/>
                  </a:cxn>
                  <a:cxn ang="0">
                    <a:pos x="31" y="54"/>
                  </a:cxn>
                  <a:cxn ang="0">
                    <a:pos x="42" y="49"/>
                  </a:cxn>
                  <a:cxn ang="0">
                    <a:pos x="38" y="41"/>
                  </a:cxn>
                  <a:cxn ang="0">
                    <a:pos x="42" y="39"/>
                  </a:cxn>
                  <a:cxn ang="0">
                    <a:pos x="41" y="37"/>
                  </a:cxn>
                  <a:cxn ang="0">
                    <a:pos x="41" y="34"/>
                  </a:cxn>
                  <a:cxn ang="0">
                    <a:pos x="42" y="32"/>
                  </a:cxn>
                  <a:cxn ang="0">
                    <a:pos x="41" y="30"/>
                  </a:cxn>
                  <a:cxn ang="0">
                    <a:pos x="45" y="25"/>
                  </a:cxn>
                  <a:cxn ang="0">
                    <a:pos x="49" y="21"/>
                  </a:cxn>
                  <a:cxn ang="0">
                    <a:pos x="51" y="15"/>
                  </a:cxn>
                </a:cxnLst>
                <a:rect l="0" t="0" r="r" b="b"/>
                <a:pathLst>
                  <a:path w="54" h="79">
                    <a:moveTo>
                      <a:pt x="51" y="15"/>
                    </a:moveTo>
                    <a:cubicBezTo>
                      <a:pt x="54" y="11"/>
                      <a:pt x="53" y="15"/>
                      <a:pt x="52" y="10"/>
                    </a:cubicBezTo>
                    <a:cubicBezTo>
                      <a:pt x="52" y="8"/>
                      <a:pt x="52" y="7"/>
                      <a:pt x="52" y="6"/>
                    </a:cubicBezTo>
                    <a:cubicBezTo>
                      <a:pt x="52" y="4"/>
                      <a:pt x="52" y="3"/>
                      <a:pt x="51" y="2"/>
                    </a:cubicBezTo>
                    <a:cubicBezTo>
                      <a:pt x="47" y="0"/>
                      <a:pt x="46" y="4"/>
                      <a:pt x="44" y="7"/>
                    </a:cubicBezTo>
                    <a:cubicBezTo>
                      <a:pt x="43" y="7"/>
                      <a:pt x="42" y="8"/>
                      <a:pt x="41" y="8"/>
                    </a:cubicBezTo>
                    <a:cubicBezTo>
                      <a:pt x="40" y="9"/>
                      <a:pt x="39" y="9"/>
                      <a:pt x="38" y="10"/>
                    </a:cubicBezTo>
                    <a:cubicBezTo>
                      <a:pt x="38" y="10"/>
                      <a:pt x="38" y="10"/>
                      <a:pt x="38" y="11"/>
                    </a:cubicBezTo>
                    <a:cubicBezTo>
                      <a:pt x="37" y="11"/>
                      <a:pt x="35" y="10"/>
                      <a:pt x="34" y="11"/>
                    </a:cubicBezTo>
                    <a:cubicBezTo>
                      <a:pt x="33" y="11"/>
                      <a:pt x="32" y="14"/>
                      <a:pt x="32" y="15"/>
                    </a:cubicBezTo>
                    <a:cubicBezTo>
                      <a:pt x="29" y="19"/>
                      <a:pt x="25" y="19"/>
                      <a:pt x="21" y="19"/>
                    </a:cubicBezTo>
                    <a:cubicBezTo>
                      <a:pt x="19" y="19"/>
                      <a:pt x="19" y="22"/>
                      <a:pt x="18" y="24"/>
                    </a:cubicBezTo>
                    <a:cubicBezTo>
                      <a:pt x="18" y="26"/>
                      <a:pt x="17" y="29"/>
                      <a:pt x="17" y="30"/>
                    </a:cubicBezTo>
                    <a:cubicBezTo>
                      <a:pt x="17" y="32"/>
                      <a:pt x="19" y="31"/>
                      <a:pt x="19" y="32"/>
                    </a:cubicBezTo>
                    <a:cubicBezTo>
                      <a:pt x="18" y="31"/>
                      <a:pt x="16" y="30"/>
                      <a:pt x="14" y="29"/>
                    </a:cubicBezTo>
                    <a:cubicBezTo>
                      <a:pt x="13" y="29"/>
                      <a:pt x="13" y="28"/>
                      <a:pt x="12" y="30"/>
                    </a:cubicBezTo>
                    <a:cubicBezTo>
                      <a:pt x="12" y="30"/>
                      <a:pt x="12" y="31"/>
                      <a:pt x="13" y="32"/>
                    </a:cubicBezTo>
                    <a:cubicBezTo>
                      <a:pt x="10" y="32"/>
                      <a:pt x="8" y="31"/>
                      <a:pt x="8" y="29"/>
                    </a:cubicBezTo>
                    <a:cubicBezTo>
                      <a:pt x="7" y="29"/>
                      <a:pt x="6" y="31"/>
                      <a:pt x="5" y="32"/>
                    </a:cubicBezTo>
                    <a:cubicBezTo>
                      <a:pt x="4" y="33"/>
                      <a:pt x="4" y="35"/>
                      <a:pt x="4" y="36"/>
                    </a:cubicBezTo>
                    <a:cubicBezTo>
                      <a:pt x="5" y="37"/>
                      <a:pt x="5" y="38"/>
                      <a:pt x="5" y="39"/>
                    </a:cubicBezTo>
                    <a:cubicBezTo>
                      <a:pt x="5" y="40"/>
                      <a:pt x="3" y="41"/>
                      <a:pt x="3" y="42"/>
                    </a:cubicBezTo>
                    <a:cubicBezTo>
                      <a:pt x="3" y="45"/>
                      <a:pt x="9" y="46"/>
                      <a:pt x="9" y="50"/>
                    </a:cubicBezTo>
                    <a:cubicBezTo>
                      <a:pt x="7" y="50"/>
                      <a:pt x="2" y="50"/>
                      <a:pt x="1" y="52"/>
                    </a:cubicBezTo>
                    <a:cubicBezTo>
                      <a:pt x="0" y="53"/>
                      <a:pt x="2" y="57"/>
                      <a:pt x="3" y="58"/>
                    </a:cubicBezTo>
                    <a:cubicBezTo>
                      <a:pt x="5" y="59"/>
                      <a:pt x="15" y="60"/>
                      <a:pt x="14" y="63"/>
                    </a:cubicBezTo>
                    <a:cubicBezTo>
                      <a:pt x="13" y="63"/>
                      <a:pt x="9" y="62"/>
                      <a:pt x="8" y="65"/>
                    </a:cubicBezTo>
                    <a:cubicBezTo>
                      <a:pt x="8" y="65"/>
                      <a:pt x="9" y="66"/>
                      <a:pt x="9" y="67"/>
                    </a:cubicBezTo>
                    <a:cubicBezTo>
                      <a:pt x="9" y="67"/>
                      <a:pt x="8" y="67"/>
                      <a:pt x="8" y="68"/>
                    </a:cubicBezTo>
                    <a:cubicBezTo>
                      <a:pt x="7" y="69"/>
                      <a:pt x="7" y="69"/>
                      <a:pt x="7" y="70"/>
                    </a:cubicBezTo>
                    <a:cubicBezTo>
                      <a:pt x="5" y="71"/>
                      <a:pt x="5" y="71"/>
                      <a:pt x="4" y="72"/>
                    </a:cubicBezTo>
                    <a:cubicBezTo>
                      <a:pt x="4" y="73"/>
                      <a:pt x="4" y="74"/>
                      <a:pt x="5" y="75"/>
                    </a:cubicBezTo>
                    <a:cubicBezTo>
                      <a:pt x="5" y="76"/>
                      <a:pt x="6" y="76"/>
                      <a:pt x="6" y="77"/>
                    </a:cubicBezTo>
                    <a:cubicBezTo>
                      <a:pt x="7" y="77"/>
                      <a:pt x="8" y="79"/>
                      <a:pt x="10" y="79"/>
                    </a:cubicBezTo>
                    <a:cubicBezTo>
                      <a:pt x="12" y="79"/>
                      <a:pt x="13" y="77"/>
                      <a:pt x="13" y="75"/>
                    </a:cubicBezTo>
                    <a:cubicBezTo>
                      <a:pt x="16" y="74"/>
                      <a:pt x="20" y="75"/>
                      <a:pt x="23" y="75"/>
                    </a:cubicBezTo>
                    <a:cubicBezTo>
                      <a:pt x="24" y="71"/>
                      <a:pt x="22" y="69"/>
                      <a:pt x="20" y="66"/>
                    </a:cubicBezTo>
                    <a:cubicBezTo>
                      <a:pt x="21" y="65"/>
                      <a:pt x="22" y="66"/>
                      <a:pt x="23" y="67"/>
                    </a:cubicBezTo>
                    <a:cubicBezTo>
                      <a:pt x="25" y="69"/>
                      <a:pt x="26" y="69"/>
                      <a:pt x="28" y="68"/>
                    </a:cubicBezTo>
                    <a:cubicBezTo>
                      <a:pt x="31" y="65"/>
                      <a:pt x="29" y="63"/>
                      <a:pt x="26" y="61"/>
                    </a:cubicBezTo>
                    <a:cubicBezTo>
                      <a:pt x="27" y="60"/>
                      <a:pt x="29" y="61"/>
                      <a:pt x="31" y="61"/>
                    </a:cubicBezTo>
                    <a:cubicBezTo>
                      <a:pt x="33" y="61"/>
                      <a:pt x="33" y="60"/>
                      <a:pt x="34" y="59"/>
                    </a:cubicBezTo>
                    <a:cubicBezTo>
                      <a:pt x="35" y="59"/>
                      <a:pt x="37" y="58"/>
                      <a:pt x="37" y="57"/>
                    </a:cubicBezTo>
                    <a:cubicBezTo>
                      <a:pt x="37" y="56"/>
                      <a:pt x="33" y="54"/>
                      <a:pt x="31" y="54"/>
                    </a:cubicBezTo>
                    <a:cubicBezTo>
                      <a:pt x="34" y="54"/>
                      <a:pt x="42" y="52"/>
                      <a:pt x="42" y="49"/>
                    </a:cubicBezTo>
                    <a:cubicBezTo>
                      <a:pt x="42" y="46"/>
                      <a:pt x="35" y="43"/>
                      <a:pt x="38" y="41"/>
                    </a:cubicBezTo>
                    <a:cubicBezTo>
                      <a:pt x="39" y="40"/>
                      <a:pt x="41" y="41"/>
                      <a:pt x="42" y="39"/>
                    </a:cubicBezTo>
                    <a:cubicBezTo>
                      <a:pt x="44" y="38"/>
                      <a:pt x="42" y="38"/>
                      <a:pt x="41" y="37"/>
                    </a:cubicBezTo>
                    <a:cubicBezTo>
                      <a:pt x="41" y="36"/>
                      <a:pt x="41" y="35"/>
                      <a:pt x="41" y="34"/>
                    </a:cubicBezTo>
                    <a:cubicBezTo>
                      <a:pt x="41" y="33"/>
                      <a:pt x="42" y="33"/>
                      <a:pt x="42" y="32"/>
                    </a:cubicBezTo>
                    <a:cubicBezTo>
                      <a:pt x="42" y="32"/>
                      <a:pt x="41" y="31"/>
                      <a:pt x="41" y="30"/>
                    </a:cubicBezTo>
                    <a:cubicBezTo>
                      <a:pt x="41" y="28"/>
                      <a:pt x="43" y="26"/>
                      <a:pt x="45" y="25"/>
                    </a:cubicBezTo>
                    <a:cubicBezTo>
                      <a:pt x="47" y="24"/>
                      <a:pt x="49" y="24"/>
                      <a:pt x="49" y="21"/>
                    </a:cubicBezTo>
                    <a:lnTo>
                      <a:pt x="51" y="1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27" name="Freeform 76">
                <a:extLst>
                  <a:ext uri="{FF2B5EF4-FFF2-40B4-BE49-F238E27FC236}">
                    <a16:creationId xmlns:a16="http://schemas.microsoft.com/office/drawing/2014/main" id="{0E6E510F-DA02-49F8-83B6-FC39BE3C84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5463" y="3005138"/>
                <a:ext cx="69850" cy="53975"/>
              </a:xfrm>
              <a:custGeom>
                <a:avLst/>
                <a:gdLst/>
                <a:ahLst/>
                <a:cxnLst>
                  <a:cxn ang="0">
                    <a:pos x="20" y="7"/>
                  </a:cxn>
                  <a:cxn ang="0">
                    <a:pos x="13" y="2"/>
                  </a:cxn>
                  <a:cxn ang="0">
                    <a:pos x="9" y="1"/>
                  </a:cxn>
                  <a:cxn ang="0">
                    <a:pos x="5" y="11"/>
                  </a:cxn>
                  <a:cxn ang="0">
                    <a:pos x="3" y="21"/>
                  </a:cxn>
                  <a:cxn ang="0">
                    <a:pos x="8" y="20"/>
                  </a:cxn>
                  <a:cxn ang="0">
                    <a:pos x="8" y="16"/>
                  </a:cxn>
                  <a:cxn ang="0">
                    <a:pos x="10" y="13"/>
                  </a:cxn>
                  <a:cxn ang="0">
                    <a:pos x="12" y="19"/>
                  </a:cxn>
                  <a:cxn ang="0">
                    <a:pos x="11" y="24"/>
                  </a:cxn>
                  <a:cxn ang="0">
                    <a:pos x="19" y="22"/>
                  </a:cxn>
                  <a:cxn ang="0">
                    <a:pos x="23" y="25"/>
                  </a:cxn>
                  <a:cxn ang="0">
                    <a:pos x="26" y="26"/>
                  </a:cxn>
                  <a:cxn ang="0">
                    <a:pos x="28" y="27"/>
                  </a:cxn>
                  <a:cxn ang="0">
                    <a:pos x="33" y="28"/>
                  </a:cxn>
                  <a:cxn ang="0">
                    <a:pos x="37" y="23"/>
                  </a:cxn>
                  <a:cxn ang="0">
                    <a:pos x="31" y="22"/>
                  </a:cxn>
                  <a:cxn ang="0">
                    <a:pos x="31" y="19"/>
                  </a:cxn>
                  <a:cxn ang="0">
                    <a:pos x="23" y="15"/>
                  </a:cxn>
                  <a:cxn ang="0">
                    <a:pos x="20" y="15"/>
                  </a:cxn>
                  <a:cxn ang="0">
                    <a:pos x="19" y="7"/>
                  </a:cxn>
                  <a:cxn ang="0">
                    <a:pos x="20" y="7"/>
                  </a:cxn>
                </a:cxnLst>
                <a:rect l="0" t="0" r="r" b="b"/>
                <a:pathLst>
                  <a:path w="37" h="29">
                    <a:moveTo>
                      <a:pt x="20" y="7"/>
                    </a:moveTo>
                    <a:cubicBezTo>
                      <a:pt x="20" y="5"/>
                      <a:pt x="15" y="3"/>
                      <a:pt x="13" y="2"/>
                    </a:cubicBezTo>
                    <a:cubicBezTo>
                      <a:pt x="12" y="1"/>
                      <a:pt x="10" y="0"/>
                      <a:pt x="9" y="1"/>
                    </a:cubicBezTo>
                    <a:cubicBezTo>
                      <a:pt x="8" y="5"/>
                      <a:pt x="6" y="7"/>
                      <a:pt x="5" y="11"/>
                    </a:cubicBezTo>
                    <a:cubicBezTo>
                      <a:pt x="3" y="14"/>
                      <a:pt x="0" y="17"/>
                      <a:pt x="3" y="21"/>
                    </a:cubicBezTo>
                    <a:cubicBezTo>
                      <a:pt x="5" y="24"/>
                      <a:pt x="8" y="23"/>
                      <a:pt x="8" y="20"/>
                    </a:cubicBezTo>
                    <a:cubicBezTo>
                      <a:pt x="9" y="19"/>
                      <a:pt x="8" y="17"/>
                      <a:pt x="8" y="16"/>
                    </a:cubicBezTo>
                    <a:cubicBezTo>
                      <a:pt x="9" y="15"/>
                      <a:pt x="10" y="14"/>
                      <a:pt x="10" y="13"/>
                    </a:cubicBezTo>
                    <a:cubicBezTo>
                      <a:pt x="12" y="13"/>
                      <a:pt x="13" y="17"/>
                      <a:pt x="12" y="19"/>
                    </a:cubicBezTo>
                    <a:cubicBezTo>
                      <a:pt x="12" y="20"/>
                      <a:pt x="10" y="22"/>
                      <a:pt x="11" y="24"/>
                    </a:cubicBezTo>
                    <a:cubicBezTo>
                      <a:pt x="12" y="26"/>
                      <a:pt x="17" y="23"/>
                      <a:pt x="19" y="22"/>
                    </a:cubicBezTo>
                    <a:cubicBezTo>
                      <a:pt x="21" y="22"/>
                      <a:pt x="22" y="24"/>
                      <a:pt x="23" y="25"/>
                    </a:cubicBezTo>
                    <a:cubicBezTo>
                      <a:pt x="24" y="25"/>
                      <a:pt x="25" y="25"/>
                      <a:pt x="26" y="26"/>
                    </a:cubicBezTo>
                    <a:cubicBezTo>
                      <a:pt x="28" y="26"/>
                      <a:pt x="27" y="26"/>
                      <a:pt x="28" y="27"/>
                    </a:cubicBezTo>
                    <a:cubicBezTo>
                      <a:pt x="30" y="28"/>
                      <a:pt x="31" y="29"/>
                      <a:pt x="33" y="28"/>
                    </a:cubicBezTo>
                    <a:cubicBezTo>
                      <a:pt x="34" y="28"/>
                      <a:pt x="37" y="24"/>
                      <a:pt x="37" y="23"/>
                    </a:cubicBezTo>
                    <a:cubicBezTo>
                      <a:pt x="36" y="22"/>
                      <a:pt x="33" y="23"/>
                      <a:pt x="31" y="22"/>
                    </a:cubicBezTo>
                    <a:cubicBezTo>
                      <a:pt x="31" y="22"/>
                      <a:pt x="31" y="20"/>
                      <a:pt x="31" y="19"/>
                    </a:cubicBezTo>
                    <a:cubicBezTo>
                      <a:pt x="29" y="18"/>
                      <a:pt x="22" y="18"/>
                      <a:pt x="23" y="15"/>
                    </a:cubicBezTo>
                    <a:cubicBezTo>
                      <a:pt x="22" y="15"/>
                      <a:pt x="21" y="15"/>
                      <a:pt x="20" y="15"/>
                    </a:cubicBezTo>
                    <a:cubicBezTo>
                      <a:pt x="20" y="14"/>
                      <a:pt x="25" y="6"/>
                      <a:pt x="19" y="7"/>
                    </a:cubicBezTo>
                    <a:lnTo>
                      <a:pt x="20" y="7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28" name="Freeform 77">
                <a:extLst>
                  <a:ext uri="{FF2B5EF4-FFF2-40B4-BE49-F238E27FC236}">
                    <a16:creationId xmlns:a16="http://schemas.microsoft.com/office/drawing/2014/main" id="{100D38E3-36D4-4FE0-9EAB-4D0D322AC0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038" y="2994025"/>
                <a:ext cx="25400" cy="26988"/>
              </a:xfrm>
              <a:custGeom>
                <a:avLst/>
                <a:gdLst/>
                <a:ahLst/>
                <a:cxnLst>
                  <a:cxn ang="0">
                    <a:pos x="10" y="3"/>
                  </a:cxn>
                  <a:cxn ang="0">
                    <a:pos x="1" y="2"/>
                  </a:cxn>
                  <a:cxn ang="0">
                    <a:pos x="8" y="9"/>
                  </a:cxn>
                  <a:cxn ang="0">
                    <a:pos x="11" y="12"/>
                  </a:cxn>
                  <a:cxn ang="0">
                    <a:pos x="12" y="14"/>
                  </a:cxn>
                  <a:cxn ang="0">
                    <a:pos x="14" y="11"/>
                  </a:cxn>
                  <a:cxn ang="0">
                    <a:pos x="10" y="6"/>
                  </a:cxn>
                  <a:cxn ang="0">
                    <a:pos x="10" y="3"/>
                  </a:cxn>
                </a:cxnLst>
                <a:rect l="0" t="0" r="r" b="b"/>
                <a:pathLst>
                  <a:path w="14" h="14">
                    <a:moveTo>
                      <a:pt x="10" y="3"/>
                    </a:moveTo>
                    <a:cubicBezTo>
                      <a:pt x="8" y="3"/>
                      <a:pt x="3" y="0"/>
                      <a:pt x="1" y="2"/>
                    </a:cubicBezTo>
                    <a:cubicBezTo>
                      <a:pt x="0" y="5"/>
                      <a:pt x="6" y="7"/>
                      <a:pt x="8" y="9"/>
                    </a:cubicBezTo>
                    <a:cubicBezTo>
                      <a:pt x="9" y="10"/>
                      <a:pt x="10" y="11"/>
                      <a:pt x="11" y="12"/>
                    </a:cubicBezTo>
                    <a:cubicBezTo>
                      <a:pt x="11" y="13"/>
                      <a:pt x="11" y="14"/>
                      <a:pt x="12" y="14"/>
                    </a:cubicBezTo>
                    <a:cubicBezTo>
                      <a:pt x="14" y="14"/>
                      <a:pt x="14" y="12"/>
                      <a:pt x="14" y="11"/>
                    </a:cubicBezTo>
                    <a:cubicBezTo>
                      <a:pt x="14" y="8"/>
                      <a:pt x="13" y="7"/>
                      <a:pt x="10" y="6"/>
                    </a:cubicBezTo>
                    <a:lnTo>
                      <a:pt x="10" y="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29" name="Freeform 78">
                <a:extLst>
                  <a:ext uri="{FF2B5EF4-FFF2-40B4-BE49-F238E27FC236}">
                    <a16:creationId xmlns:a16="http://schemas.microsoft.com/office/drawing/2014/main" id="{C1ED8148-B97C-4BC0-B6B1-120887FB0E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50" y="2962275"/>
                <a:ext cx="23813" cy="2857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7"/>
                  </a:cxn>
                  <a:cxn ang="0">
                    <a:pos x="4" y="9"/>
                  </a:cxn>
                  <a:cxn ang="0">
                    <a:pos x="4" y="12"/>
                  </a:cxn>
                  <a:cxn ang="0">
                    <a:pos x="11" y="14"/>
                  </a:cxn>
                  <a:cxn ang="0">
                    <a:pos x="5" y="8"/>
                  </a:cxn>
                  <a:cxn ang="0">
                    <a:pos x="11" y="5"/>
                  </a:cxn>
                  <a:cxn ang="0">
                    <a:pos x="7" y="0"/>
                  </a:cxn>
                </a:cxnLst>
                <a:rect l="0" t="0" r="r" b="b"/>
                <a:pathLst>
                  <a:path w="13" h="15">
                    <a:moveTo>
                      <a:pt x="7" y="0"/>
                    </a:moveTo>
                    <a:cubicBezTo>
                      <a:pt x="4" y="0"/>
                      <a:pt x="0" y="3"/>
                      <a:pt x="0" y="7"/>
                    </a:cubicBezTo>
                    <a:cubicBezTo>
                      <a:pt x="0" y="9"/>
                      <a:pt x="2" y="8"/>
                      <a:pt x="4" y="9"/>
                    </a:cubicBezTo>
                    <a:cubicBezTo>
                      <a:pt x="4" y="10"/>
                      <a:pt x="4" y="11"/>
                      <a:pt x="4" y="12"/>
                    </a:cubicBezTo>
                    <a:cubicBezTo>
                      <a:pt x="5" y="14"/>
                      <a:pt x="9" y="15"/>
                      <a:pt x="11" y="14"/>
                    </a:cubicBezTo>
                    <a:cubicBezTo>
                      <a:pt x="11" y="11"/>
                      <a:pt x="8" y="8"/>
                      <a:pt x="5" y="8"/>
                    </a:cubicBezTo>
                    <a:cubicBezTo>
                      <a:pt x="6" y="6"/>
                      <a:pt x="10" y="6"/>
                      <a:pt x="11" y="5"/>
                    </a:cubicBezTo>
                    <a:cubicBezTo>
                      <a:pt x="13" y="2"/>
                      <a:pt x="9" y="0"/>
                      <a:pt x="7" y="0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30" name="Freeform 79">
                <a:extLst>
                  <a:ext uri="{FF2B5EF4-FFF2-40B4-BE49-F238E27FC236}">
                    <a16:creationId xmlns:a16="http://schemas.microsoft.com/office/drawing/2014/main" id="{34F4A42D-B987-401D-9567-5C90937DE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138" y="2974975"/>
                <a:ext cx="36513" cy="26988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1" y="11"/>
                  </a:cxn>
                  <a:cxn ang="0">
                    <a:pos x="8" y="13"/>
                  </a:cxn>
                  <a:cxn ang="0">
                    <a:pos x="10" y="10"/>
                  </a:cxn>
                  <a:cxn ang="0">
                    <a:pos x="10" y="7"/>
                  </a:cxn>
                  <a:cxn ang="0">
                    <a:pos x="13" y="7"/>
                  </a:cxn>
                  <a:cxn ang="0">
                    <a:pos x="15" y="7"/>
                  </a:cxn>
                  <a:cxn ang="0">
                    <a:pos x="19" y="1"/>
                  </a:cxn>
                  <a:cxn ang="0">
                    <a:pos x="11" y="3"/>
                  </a:cxn>
                  <a:cxn ang="0">
                    <a:pos x="10" y="1"/>
                  </a:cxn>
                  <a:cxn ang="0">
                    <a:pos x="8" y="4"/>
                  </a:cxn>
                  <a:cxn ang="0">
                    <a:pos x="6" y="6"/>
                  </a:cxn>
                  <a:cxn ang="0">
                    <a:pos x="4" y="10"/>
                  </a:cxn>
                  <a:cxn ang="0">
                    <a:pos x="0" y="8"/>
                  </a:cxn>
                  <a:cxn ang="0">
                    <a:pos x="2" y="9"/>
                  </a:cxn>
                </a:cxnLst>
                <a:rect l="0" t="0" r="r" b="b"/>
                <a:pathLst>
                  <a:path w="19" h="14">
                    <a:moveTo>
                      <a:pt x="2" y="9"/>
                    </a:moveTo>
                    <a:cubicBezTo>
                      <a:pt x="1" y="8"/>
                      <a:pt x="0" y="10"/>
                      <a:pt x="1" y="11"/>
                    </a:cubicBezTo>
                    <a:cubicBezTo>
                      <a:pt x="2" y="13"/>
                      <a:pt x="6" y="14"/>
                      <a:pt x="8" y="13"/>
                    </a:cubicBezTo>
                    <a:cubicBezTo>
                      <a:pt x="9" y="12"/>
                      <a:pt x="10" y="11"/>
                      <a:pt x="10" y="10"/>
                    </a:cubicBezTo>
                    <a:cubicBezTo>
                      <a:pt x="10" y="9"/>
                      <a:pt x="9" y="7"/>
                      <a:pt x="10" y="7"/>
                    </a:cubicBezTo>
                    <a:cubicBezTo>
                      <a:pt x="11" y="6"/>
                      <a:pt x="13" y="7"/>
                      <a:pt x="13" y="7"/>
                    </a:cubicBezTo>
                    <a:cubicBezTo>
                      <a:pt x="15" y="7"/>
                      <a:pt x="14" y="8"/>
                      <a:pt x="15" y="7"/>
                    </a:cubicBezTo>
                    <a:cubicBezTo>
                      <a:pt x="17" y="5"/>
                      <a:pt x="17" y="3"/>
                      <a:pt x="19" y="1"/>
                    </a:cubicBezTo>
                    <a:cubicBezTo>
                      <a:pt x="17" y="1"/>
                      <a:pt x="10" y="0"/>
                      <a:pt x="11" y="3"/>
                    </a:cubicBezTo>
                    <a:cubicBezTo>
                      <a:pt x="11" y="3"/>
                      <a:pt x="11" y="1"/>
                      <a:pt x="10" y="1"/>
                    </a:cubicBezTo>
                    <a:cubicBezTo>
                      <a:pt x="8" y="0"/>
                      <a:pt x="8" y="3"/>
                      <a:pt x="8" y="4"/>
                    </a:cubicBezTo>
                    <a:cubicBezTo>
                      <a:pt x="8" y="6"/>
                      <a:pt x="7" y="5"/>
                      <a:pt x="6" y="6"/>
                    </a:cubicBezTo>
                    <a:cubicBezTo>
                      <a:pt x="5" y="7"/>
                      <a:pt x="5" y="9"/>
                      <a:pt x="4" y="10"/>
                    </a:cubicBezTo>
                    <a:cubicBezTo>
                      <a:pt x="3" y="9"/>
                      <a:pt x="2" y="8"/>
                      <a:pt x="0" y="8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31" name="Freeform 80">
                <a:extLst>
                  <a:ext uri="{FF2B5EF4-FFF2-40B4-BE49-F238E27FC236}">
                    <a16:creationId xmlns:a16="http://schemas.microsoft.com/office/drawing/2014/main" id="{30D5A4F3-0286-400F-9D91-CBBE9AD381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663" y="3013075"/>
                <a:ext cx="17463" cy="11113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5" y="6"/>
                  </a:cxn>
                  <a:cxn ang="0">
                    <a:pos x="1" y="1"/>
                  </a:cxn>
                  <a:cxn ang="0">
                    <a:pos x="3" y="1"/>
                  </a:cxn>
                </a:cxnLst>
                <a:rect l="0" t="0" r="r" b="b"/>
                <a:pathLst>
                  <a:path w="9" h="6">
                    <a:moveTo>
                      <a:pt x="3" y="1"/>
                    </a:moveTo>
                    <a:cubicBezTo>
                      <a:pt x="3" y="1"/>
                      <a:pt x="1" y="0"/>
                      <a:pt x="0" y="0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1" y="4"/>
                      <a:pt x="4" y="6"/>
                      <a:pt x="5" y="6"/>
                    </a:cubicBezTo>
                    <a:cubicBezTo>
                      <a:pt x="9" y="5"/>
                      <a:pt x="4" y="0"/>
                      <a:pt x="1" y="1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32" name="Freeform 81">
                <a:extLst>
                  <a:ext uri="{FF2B5EF4-FFF2-40B4-BE49-F238E27FC236}">
                    <a16:creationId xmlns:a16="http://schemas.microsoft.com/office/drawing/2014/main" id="{BC89BB7E-0212-44DF-952B-2CB3ABE26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5463" y="3054350"/>
                <a:ext cx="30163" cy="31750"/>
              </a:xfrm>
              <a:custGeom>
                <a:avLst/>
                <a:gdLst/>
                <a:ahLst/>
                <a:cxnLst>
                  <a:cxn ang="0">
                    <a:pos x="11" y="6"/>
                  </a:cxn>
                  <a:cxn ang="0">
                    <a:pos x="5" y="0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9" y="15"/>
                  </a:cxn>
                  <a:cxn ang="0">
                    <a:pos x="13" y="16"/>
                  </a:cxn>
                  <a:cxn ang="0">
                    <a:pos x="13" y="11"/>
                  </a:cxn>
                  <a:cxn ang="0">
                    <a:pos x="15" y="11"/>
                  </a:cxn>
                  <a:cxn ang="0">
                    <a:pos x="8" y="5"/>
                  </a:cxn>
                  <a:cxn ang="0">
                    <a:pos x="11" y="6"/>
                  </a:cxn>
                </a:cxnLst>
                <a:rect l="0" t="0" r="r" b="b"/>
                <a:pathLst>
                  <a:path w="16" h="17">
                    <a:moveTo>
                      <a:pt x="11" y="6"/>
                    </a:moveTo>
                    <a:cubicBezTo>
                      <a:pt x="12" y="3"/>
                      <a:pt x="7" y="1"/>
                      <a:pt x="5" y="0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0" y="0"/>
                      <a:pt x="0" y="0"/>
                      <a:pt x="0" y="3"/>
                    </a:cubicBezTo>
                    <a:cubicBezTo>
                      <a:pt x="0" y="8"/>
                      <a:pt x="4" y="13"/>
                      <a:pt x="9" y="15"/>
                    </a:cubicBezTo>
                    <a:cubicBezTo>
                      <a:pt x="10" y="16"/>
                      <a:pt x="12" y="17"/>
                      <a:pt x="13" y="16"/>
                    </a:cubicBezTo>
                    <a:cubicBezTo>
                      <a:pt x="14" y="15"/>
                      <a:pt x="12" y="12"/>
                      <a:pt x="13" y="11"/>
                    </a:cubicBezTo>
                    <a:cubicBezTo>
                      <a:pt x="13" y="11"/>
                      <a:pt x="14" y="11"/>
                      <a:pt x="15" y="11"/>
                    </a:cubicBezTo>
                    <a:cubicBezTo>
                      <a:pt x="16" y="9"/>
                      <a:pt x="9" y="6"/>
                      <a:pt x="8" y="5"/>
                    </a:cubicBezTo>
                    <a:lnTo>
                      <a:pt x="11" y="6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33" name="Freeform 82">
                <a:extLst>
                  <a:ext uri="{FF2B5EF4-FFF2-40B4-BE49-F238E27FC236}">
                    <a16:creationId xmlns:a16="http://schemas.microsoft.com/office/drawing/2014/main" id="{0E96AFFE-CFB4-4166-87DD-697A2A1A6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6738" y="3063875"/>
                <a:ext cx="14288" cy="26988"/>
              </a:xfrm>
              <a:custGeom>
                <a:avLst/>
                <a:gdLst/>
                <a:ahLst/>
                <a:cxnLst>
                  <a:cxn ang="0">
                    <a:pos x="6" y="3"/>
                  </a:cxn>
                  <a:cxn ang="0">
                    <a:pos x="3" y="2"/>
                  </a:cxn>
                  <a:cxn ang="0">
                    <a:pos x="1" y="6"/>
                  </a:cxn>
                  <a:cxn ang="0">
                    <a:pos x="0" y="11"/>
                  </a:cxn>
                  <a:cxn ang="0">
                    <a:pos x="5" y="12"/>
                  </a:cxn>
                  <a:cxn ang="0">
                    <a:pos x="4" y="5"/>
                  </a:cxn>
                  <a:cxn ang="0">
                    <a:pos x="5" y="0"/>
                  </a:cxn>
                  <a:cxn ang="0">
                    <a:pos x="6" y="3"/>
                  </a:cxn>
                </a:cxnLst>
                <a:rect l="0" t="0" r="r" b="b"/>
                <a:pathLst>
                  <a:path w="8" h="15">
                    <a:moveTo>
                      <a:pt x="6" y="3"/>
                    </a:moveTo>
                    <a:cubicBezTo>
                      <a:pt x="6" y="2"/>
                      <a:pt x="4" y="2"/>
                      <a:pt x="3" y="2"/>
                    </a:cubicBezTo>
                    <a:cubicBezTo>
                      <a:pt x="2" y="3"/>
                      <a:pt x="1" y="4"/>
                      <a:pt x="1" y="6"/>
                    </a:cubicBezTo>
                    <a:cubicBezTo>
                      <a:pt x="1" y="7"/>
                      <a:pt x="0" y="9"/>
                      <a:pt x="0" y="11"/>
                    </a:cubicBezTo>
                    <a:cubicBezTo>
                      <a:pt x="0" y="14"/>
                      <a:pt x="4" y="15"/>
                      <a:pt x="5" y="12"/>
                    </a:cubicBezTo>
                    <a:cubicBezTo>
                      <a:pt x="6" y="9"/>
                      <a:pt x="3" y="7"/>
                      <a:pt x="4" y="5"/>
                    </a:cubicBezTo>
                    <a:cubicBezTo>
                      <a:pt x="8" y="4"/>
                      <a:pt x="7" y="3"/>
                      <a:pt x="5" y="0"/>
                    </a:cubicBezTo>
                    <a:lnTo>
                      <a:pt x="6" y="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34" name="Freeform 83">
                <a:extLst>
                  <a:ext uri="{FF2B5EF4-FFF2-40B4-BE49-F238E27FC236}">
                    <a16:creationId xmlns:a16="http://schemas.microsoft.com/office/drawing/2014/main" id="{E8A04F2B-0A7A-4926-B0D8-8428747AD8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8825" y="2697163"/>
                <a:ext cx="28575" cy="60325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0" y="1"/>
                  </a:cxn>
                  <a:cxn ang="0">
                    <a:pos x="1" y="8"/>
                  </a:cxn>
                  <a:cxn ang="0">
                    <a:pos x="3" y="11"/>
                  </a:cxn>
                  <a:cxn ang="0">
                    <a:pos x="1" y="14"/>
                  </a:cxn>
                  <a:cxn ang="0">
                    <a:pos x="2" y="21"/>
                  </a:cxn>
                  <a:cxn ang="0">
                    <a:pos x="3" y="27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1" y="29"/>
                  </a:cxn>
                  <a:cxn ang="0">
                    <a:pos x="11" y="24"/>
                  </a:cxn>
                  <a:cxn ang="0">
                    <a:pos x="12" y="20"/>
                  </a:cxn>
                  <a:cxn ang="0">
                    <a:pos x="11" y="16"/>
                  </a:cxn>
                  <a:cxn ang="0">
                    <a:pos x="10" y="12"/>
                  </a:cxn>
                  <a:cxn ang="0">
                    <a:pos x="14" y="6"/>
                  </a:cxn>
                  <a:cxn ang="0">
                    <a:pos x="9" y="1"/>
                  </a:cxn>
                  <a:cxn ang="0">
                    <a:pos x="11" y="5"/>
                  </a:cxn>
                </a:cxnLst>
                <a:rect l="0" t="0" r="r" b="b"/>
                <a:pathLst>
                  <a:path w="15" h="32">
                    <a:moveTo>
                      <a:pt x="11" y="5"/>
                    </a:moveTo>
                    <a:cubicBezTo>
                      <a:pt x="13" y="4"/>
                      <a:pt x="12" y="2"/>
                      <a:pt x="10" y="1"/>
                    </a:cubicBezTo>
                    <a:cubicBezTo>
                      <a:pt x="6" y="0"/>
                      <a:pt x="1" y="4"/>
                      <a:pt x="1" y="8"/>
                    </a:cubicBezTo>
                    <a:cubicBezTo>
                      <a:pt x="0" y="10"/>
                      <a:pt x="2" y="9"/>
                      <a:pt x="3" y="11"/>
                    </a:cubicBezTo>
                    <a:cubicBezTo>
                      <a:pt x="3" y="12"/>
                      <a:pt x="2" y="14"/>
                      <a:pt x="1" y="14"/>
                    </a:cubicBezTo>
                    <a:cubicBezTo>
                      <a:pt x="0" y="16"/>
                      <a:pt x="1" y="19"/>
                      <a:pt x="2" y="21"/>
                    </a:cubicBezTo>
                    <a:cubicBezTo>
                      <a:pt x="2" y="23"/>
                      <a:pt x="3" y="25"/>
                      <a:pt x="3" y="27"/>
                    </a:cubicBezTo>
                    <a:cubicBezTo>
                      <a:pt x="4" y="29"/>
                      <a:pt x="3" y="28"/>
                      <a:pt x="4" y="29"/>
                    </a:cubicBezTo>
                    <a:cubicBezTo>
                      <a:pt x="5" y="30"/>
                      <a:pt x="7" y="31"/>
                      <a:pt x="8" y="32"/>
                    </a:cubicBezTo>
                    <a:cubicBezTo>
                      <a:pt x="10" y="32"/>
                      <a:pt x="10" y="31"/>
                      <a:pt x="11" y="29"/>
                    </a:cubicBezTo>
                    <a:cubicBezTo>
                      <a:pt x="11" y="27"/>
                      <a:pt x="11" y="25"/>
                      <a:pt x="11" y="24"/>
                    </a:cubicBezTo>
                    <a:cubicBezTo>
                      <a:pt x="11" y="23"/>
                      <a:pt x="12" y="22"/>
                      <a:pt x="12" y="20"/>
                    </a:cubicBezTo>
                    <a:cubicBezTo>
                      <a:pt x="12" y="18"/>
                      <a:pt x="12" y="17"/>
                      <a:pt x="11" y="16"/>
                    </a:cubicBezTo>
                    <a:cubicBezTo>
                      <a:pt x="11" y="15"/>
                      <a:pt x="10" y="13"/>
                      <a:pt x="10" y="12"/>
                    </a:cubicBezTo>
                    <a:cubicBezTo>
                      <a:pt x="10" y="10"/>
                      <a:pt x="13" y="8"/>
                      <a:pt x="14" y="6"/>
                    </a:cubicBezTo>
                    <a:cubicBezTo>
                      <a:pt x="15" y="3"/>
                      <a:pt x="10" y="3"/>
                      <a:pt x="9" y="1"/>
                    </a:cubicBezTo>
                    <a:lnTo>
                      <a:pt x="11" y="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35" name="Freeform 84">
                <a:extLst>
                  <a:ext uri="{FF2B5EF4-FFF2-40B4-BE49-F238E27FC236}">
                    <a16:creationId xmlns:a16="http://schemas.microsoft.com/office/drawing/2014/main" id="{B5140776-9915-47A4-938E-0B9154D2A9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0575" y="2724150"/>
                <a:ext cx="11113" cy="1270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5" y="6"/>
                  </a:cxn>
                  <a:cxn ang="0">
                    <a:pos x="3" y="7"/>
                  </a:cxn>
                  <a:cxn ang="0">
                    <a:pos x="1" y="5"/>
                  </a:cxn>
                  <a:cxn ang="0">
                    <a:pos x="5" y="2"/>
                  </a:cxn>
                  <a:cxn ang="0">
                    <a:pos x="3" y="0"/>
                  </a:cxn>
                </a:cxnLst>
                <a:rect l="0" t="0" r="r" b="b"/>
                <a:pathLst>
                  <a:path w="6" h="7">
                    <a:moveTo>
                      <a:pt x="3" y="0"/>
                    </a:moveTo>
                    <a:cubicBezTo>
                      <a:pt x="6" y="0"/>
                      <a:pt x="6" y="4"/>
                      <a:pt x="5" y="6"/>
                    </a:cubicBezTo>
                    <a:cubicBezTo>
                      <a:pt x="4" y="7"/>
                      <a:pt x="4" y="7"/>
                      <a:pt x="3" y="7"/>
                    </a:cubicBezTo>
                    <a:cubicBezTo>
                      <a:pt x="2" y="7"/>
                      <a:pt x="1" y="6"/>
                      <a:pt x="1" y="5"/>
                    </a:cubicBezTo>
                    <a:cubicBezTo>
                      <a:pt x="0" y="3"/>
                      <a:pt x="2" y="0"/>
                      <a:pt x="5" y="2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36" name="Freeform 85">
                <a:extLst>
                  <a:ext uri="{FF2B5EF4-FFF2-40B4-BE49-F238E27FC236}">
                    <a16:creationId xmlns:a16="http://schemas.microsoft.com/office/drawing/2014/main" id="{1B59BFAE-0B3D-4FC4-ADA3-7494BBA2AE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25" y="2706688"/>
                <a:ext cx="82550" cy="173038"/>
              </a:xfrm>
              <a:custGeom>
                <a:avLst/>
                <a:gdLst/>
                <a:ahLst/>
                <a:cxnLst>
                  <a:cxn ang="0">
                    <a:pos x="36" y="35"/>
                  </a:cxn>
                  <a:cxn ang="0">
                    <a:pos x="44" y="37"/>
                  </a:cxn>
                  <a:cxn ang="0">
                    <a:pos x="41" y="34"/>
                  </a:cxn>
                  <a:cxn ang="0">
                    <a:pos x="33" y="33"/>
                  </a:cxn>
                  <a:cxn ang="0">
                    <a:pos x="30" y="32"/>
                  </a:cxn>
                  <a:cxn ang="0">
                    <a:pos x="28" y="26"/>
                  </a:cxn>
                  <a:cxn ang="0">
                    <a:pos x="20" y="26"/>
                  </a:cxn>
                  <a:cxn ang="0">
                    <a:pos x="20" y="16"/>
                  </a:cxn>
                  <a:cxn ang="0">
                    <a:pos x="21" y="12"/>
                  </a:cxn>
                  <a:cxn ang="0">
                    <a:pos x="6" y="20"/>
                  </a:cxn>
                  <a:cxn ang="0">
                    <a:pos x="9" y="25"/>
                  </a:cxn>
                  <a:cxn ang="0">
                    <a:pos x="12" y="28"/>
                  </a:cxn>
                  <a:cxn ang="0">
                    <a:pos x="13" y="32"/>
                  </a:cxn>
                  <a:cxn ang="0">
                    <a:pos x="16" y="36"/>
                  </a:cxn>
                  <a:cxn ang="0">
                    <a:pos x="13" y="41"/>
                  </a:cxn>
                  <a:cxn ang="0">
                    <a:pos x="11" y="44"/>
                  </a:cxn>
                  <a:cxn ang="0">
                    <a:pos x="4" y="41"/>
                  </a:cxn>
                  <a:cxn ang="0">
                    <a:pos x="0" y="44"/>
                  </a:cxn>
                  <a:cxn ang="0">
                    <a:pos x="3" y="48"/>
                  </a:cxn>
                  <a:cxn ang="0">
                    <a:pos x="6" y="54"/>
                  </a:cxn>
                  <a:cxn ang="0">
                    <a:pos x="21" y="54"/>
                  </a:cxn>
                  <a:cxn ang="0">
                    <a:pos x="21" y="67"/>
                  </a:cxn>
                  <a:cxn ang="0">
                    <a:pos x="20" y="80"/>
                  </a:cxn>
                  <a:cxn ang="0">
                    <a:pos x="20" y="92"/>
                  </a:cxn>
                  <a:cxn ang="0">
                    <a:pos x="25" y="82"/>
                  </a:cxn>
                  <a:cxn ang="0">
                    <a:pos x="28" y="68"/>
                  </a:cxn>
                  <a:cxn ang="0">
                    <a:pos x="30" y="61"/>
                  </a:cxn>
                  <a:cxn ang="0">
                    <a:pos x="36" y="62"/>
                  </a:cxn>
                  <a:cxn ang="0">
                    <a:pos x="33" y="58"/>
                  </a:cxn>
                  <a:cxn ang="0">
                    <a:pos x="29" y="52"/>
                  </a:cxn>
                  <a:cxn ang="0">
                    <a:pos x="34" y="44"/>
                  </a:cxn>
                  <a:cxn ang="0">
                    <a:pos x="33" y="38"/>
                  </a:cxn>
                  <a:cxn ang="0">
                    <a:pos x="37" y="34"/>
                  </a:cxn>
                </a:cxnLst>
                <a:rect l="0" t="0" r="r" b="b"/>
                <a:pathLst>
                  <a:path w="44" h="93">
                    <a:moveTo>
                      <a:pt x="37" y="34"/>
                    </a:moveTo>
                    <a:cubicBezTo>
                      <a:pt x="37" y="35"/>
                      <a:pt x="37" y="35"/>
                      <a:pt x="36" y="35"/>
                    </a:cubicBezTo>
                    <a:cubicBezTo>
                      <a:pt x="36" y="35"/>
                      <a:pt x="36" y="37"/>
                      <a:pt x="36" y="38"/>
                    </a:cubicBezTo>
                    <a:cubicBezTo>
                      <a:pt x="38" y="38"/>
                      <a:pt x="43" y="39"/>
                      <a:pt x="44" y="37"/>
                    </a:cubicBezTo>
                    <a:cubicBezTo>
                      <a:pt x="43" y="37"/>
                      <a:pt x="42" y="37"/>
                      <a:pt x="42" y="36"/>
                    </a:cubicBezTo>
                    <a:cubicBezTo>
                      <a:pt x="41" y="36"/>
                      <a:pt x="41" y="35"/>
                      <a:pt x="41" y="34"/>
                    </a:cubicBezTo>
                    <a:cubicBezTo>
                      <a:pt x="40" y="33"/>
                      <a:pt x="35" y="32"/>
                      <a:pt x="35" y="35"/>
                    </a:cubicBezTo>
                    <a:cubicBezTo>
                      <a:pt x="34" y="35"/>
                      <a:pt x="33" y="34"/>
                      <a:pt x="33" y="33"/>
                    </a:cubicBezTo>
                    <a:cubicBezTo>
                      <a:pt x="32" y="32"/>
                      <a:pt x="33" y="32"/>
                      <a:pt x="33" y="31"/>
                    </a:cubicBezTo>
                    <a:cubicBezTo>
                      <a:pt x="32" y="31"/>
                      <a:pt x="29" y="30"/>
                      <a:pt x="30" y="32"/>
                    </a:cubicBezTo>
                    <a:cubicBezTo>
                      <a:pt x="30" y="31"/>
                      <a:pt x="30" y="30"/>
                      <a:pt x="30" y="29"/>
                    </a:cubicBezTo>
                    <a:cubicBezTo>
                      <a:pt x="30" y="27"/>
                      <a:pt x="30" y="27"/>
                      <a:pt x="28" y="26"/>
                    </a:cubicBezTo>
                    <a:cubicBezTo>
                      <a:pt x="24" y="25"/>
                      <a:pt x="22" y="25"/>
                      <a:pt x="22" y="30"/>
                    </a:cubicBezTo>
                    <a:cubicBezTo>
                      <a:pt x="22" y="28"/>
                      <a:pt x="20" y="27"/>
                      <a:pt x="20" y="26"/>
                    </a:cubicBezTo>
                    <a:cubicBezTo>
                      <a:pt x="19" y="25"/>
                      <a:pt x="20" y="22"/>
                      <a:pt x="20" y="21"/>
                    </a:cubicBezTo>
                    <a:cubicBezTo>
                      <a:pt x="20" y="19"/>
                      <a:pt x="19" y="18"/>
                      <a:pt x="20" y="16"/>
                    </a:cubicBezTo>
                    <a:cubicBezTo>
                      <a:pt x="20" y="16"/>
                      <a:pt x="20" y="16"/>
                      <a:pt x="21" y="15"/>
                    </a:cubicBezTo>
                    <a:cubicBezTo>
                      <a:pt x="21" y="14"/>
                      <a:pt x="21" y="13"/>
                      <a:pt x="21" y="12"/>
                    </a:cubicBezTo>
                    <a:cubicBezTo>
                      <a:pt x="21" y="0"/>
                      <a:pt x="8" y="20"/>
                      <a:pt x="10" y="21"/>
                    </a:cubicBezTo>
                    <a:cubicBezTo>
                      <a:pt x="9" y="21"/>
                      <a:pt x="7" y="20"/>
                      <a:pt x="6" y="20"/>
                    </a:cubicBezTo>
                    <a:cubicBezTo>
                      <a:pt x="6" y="21"/>
                      <a:pt x="6" y="22"/>
                      <a:pt x="6" y="22"/>
                    </a:cubicBezTo>
                    <a:cubicBezTo>
                      <a:pt x="6" y="24"/>
                      <a:pt x="8" y="24"/>
                      <a:pt x="9" y="25"/>
                    </a:cubicBezTo>
                    <a:cubicBezTo>
                      <a:pt x="9" y="25"/>
                      <a:pt x="8" y="26"/>
                      <a:pt x="9" y="26"/>
                    </a:cubicBezTo>
                    <a:cubicBezTo>
                      <a:pt x="10" y="28"/>
                      <a:pt x="10" y="27"/>
                      <a:pt x="12" y="28"/>
                    </a:cubicBezTo>
                    <a:cubicBezTo>
                      <a:pt x="14" y="28"/>
                      <a:pt x="13" y="28"/>
                      <a:pt x="14" y="29"/>
                    </a:cubicBezTo>
                    <a:cubicBezTo>
                      <a:pt x="14" y="30"/>
                      <a:pt x="13" y="31"/>
                      <a:pt x="13" y="32"/>
                    </a:cubicBezTo>
                    <a:cubicBezTo>
                      <a:pt x="14" y="33"/>
                      <a:pt x="14" y="33"/>
                      <a:pt x="15" y="35"/>
                    </a:cubicBezTo>
                    <a:cubicBezTo>
                      <a:pt x="16" y="35"/>
                      <a:pt x="16" y="35"/>
                      <a:pt x="16" y="36"/>
                    </a:cubicBezTo>
                    <a:cubicBezTo>
                      <a:pt x="15" y="36"/>
                      <a:pt x="12" y="35"/>
                      <a:pt x="11" y="36"/>
                    </a:cubicBezTo>
                    <a:cubicBezTo>
                      <a:pt x="11" y="37"/>
                      <a:pt x="12" y="40"/>
                      <a:pt x="13" y="41"/>
                    </a:cubicBezTo>
                    <a:cubicBezTo>
                      <a:pt x="12" y="42"/>
                      <a:pt x="11" y="41"/>
                      <a:pt x="11" y="42"/>
                    </a:cubicBezTo>
                    <a:cubicBezTo>
                      <a:pt x="10" y="42"/>
                      <a:pt x="11" y="43"/>
                      <a:pt x="11" y="44"/>
                    </a:cubicBezTo>
                    <a:cubicBezTo>
                      <a:pt x="9" y="44"/>
                      <a:pt x="6" y="45"/>
                      <a:pt x="5" y="44"/>
                    </a:cubicBezTo>
                    <a:cubicBezTo>
                      <a:pt x="3" y="44"/>
                      <a:pt x="4" y="43"/>
                      <a:pt x="4" y="41"/>
                    </a:cubicBezTo>
                    <a:cubicBezTo>
                      <a:pt x="4" y="40"/>
                      <a:pt x="2" y="38"/>
                      <a:pt x="0" y="40"/>
                    </a:cubicBezTo>
                    <a:cubicBezTo>
                      <a:pt x="0" y="40"/>
                      <a:pt x="0" y="43"/>
                      <a:pt x="0" y="44"/>
                    </a:cubicBezTo>
                    <a:cubicBezTo>
                      <a:pt x="0" y="45"/>
                      <a:pt x="0" y="47"/>
                      <a:pt x="0" y="47"/>
                    </a:cubicBezTo>
                    <a:cubicBezTo>
                      <a:pt x="1" y="48"/>
                      <a:pt x="2" y="47"/>
                      <a:pt x="3" y="48"/>
                    </a:cubicBezTo>
                    <a:cubicBezTo>
                      <a:pt x="5" y="49"/>
                      <a:pt x="4" y="50"/>
                      <a:pt x="4" y="51"/>
                    </a:cubicBezTo>
                    <a:cubicBezTo>
                      <a:pt x="4" y="52"/>
                      <a:pt x="5" y="53"/>
                      <a:pt x="6" y="54"/>
                    </a:cubicBezTo>
                    <a:cubicBezTo>
                      <a:pt x="9" y="56"/>
                      <a:pt x="11" y="54"/>
                      <a:pt x="14" y="55"/>
                    </a:cubicBezTo>
                    <a:cubicBezTo>
                      <a:pt x="14" y="60"/>
                      <a:pt x="20" y="57"/>
                      <a:pt x="21" y="54"/>
                    </a:cubicBezTo>
                    <a:cubicBezTo>
                      <a:pt x="21" y="57"/>
                      <a:pt x="20" y="60"/>
                      <a:pt x="20" y="63"/>
                    </a:cubicBezTo>
                    <a:cubicBezTo>
                      <a:pt x="20" y="64"/>
                      <a:pt x="21" y="66"/>
                      <a:pt x="21" y="67"/>
                    </a:cubicBezTo>
                    <a:cubicBezTo>
                      <a:pt x="20" y="69"/>
                      <a:pt x="18" y="70"/>
                      <a:pt x="17" y="72"/>
                    </a:cubicBezTo>
                    <a:cubicBezTo>
                      <a:pt x="17" y="76"/>
                      <a:pt x="20" y="77"/>
                      <a:pt x="20" y="80"/>
                    </a:cubicBezTo>
                    <a:cubicBezTo>
                      <a:pt x="19" y="83"/>
                      <a:pt x="19" y="86"/>
                      <a:pt x="19" y="89"/>
                    </a:cubicBezTo>
                    <a:cubicBezTo>
                      <a:pt x="19" y="90"/>
                      <a:pt x="19" y="91"/>
                      <a:pt x="20" y="92"/>
                    </a:cubicBezTo>
                    <a:cubicBezTo>
                      <a:pt x="21" y="93"/>
                      <a:pt x="22" y="92"/>
                      <a:pt x="23" y="91"/>
                    </a:cubicBezTo>
                    <a:cubicBezTo>
                      <a:pt x="25" y="88"/>
                      <a:pt x="26" y="86"/>
                      <a:pt x="25" y="82"/>
                    </a:cubicBezTo>
                    <a:cubicBezTo>
                      <a:pt x="24" y="80"/>
                      <a:pt x="25" y="78"/>
                      <a:pt x="25" y="76"/>
                    </a:cubicBezTo>
                    <a:cubicBezTo>
                      <a:pt x="25" y="73"/>
                      <a:pt x="25" y="70"/>
                      <a:pt x="28" y="68"/>
                    </a:cubicBezTo>
                    <a:cubicBezTo>
                      <a:pt x="29" y="68"/>
                      <a:pt x="31" y="67"/>
                      <a:pt x="31" y="65"/>
                    </a:cubicBezTo>
                    <a:cubicBezTo>
                      <a:pt x="30" y="64"/>
                      <a:pt x="29" y="63"/>
                      <a:pt x="30" y="61"/>
                    </a:cubicBezTo>
                    <a:cubicBezTo>
                      <a:pt x="32" y="61"/>
                      <a:pt x="31" y="63"/>
                      <a:pt x="32" y="64"/>
                    </a:cubicBezTo>
                    <a:cubicBezTo>
                      <a:pt x="33" y="65"/>
                      <a:pt x="35" y="63"/>
                      <a:pt x="36" y="62"/>
                    </a:cubicBezTo>
                    <a:cubicBezTo>
                      <a:pt x="37" y="60"/>
                      <a:pt x="39" y="58"/>
                      <a:pt x="37" y="57"/>
                    </a:cubicBezTo>
                    <a:cubicBezTo>
                      <a:pt x="36" y="56"/>
                      <a:pt x="33" y="56"/>
                      <a:pt x="33" y="58"/>
                    </a:cubicBezTo>
                    <a:cubicBezTo>
                      <a:pt x="32" y="58"/>
                      <a:pt x="32" y="57"/>
                      <a:pt x="31" y="56"/>
                    </a:cubicBezTo>
                    <a:cubicBezTo>
                      <a:pt x="31" y="55"/>
                      <a:pt x="28" y="53"/>
                      <a:pt x="29" y="52"/>
                    </a:cubicBezTo>
                    <a:cubicBezTo>
                      <a:pt x="31" y="51"/>
                      <a:pt x="34" y="52"/>
                      <a:pt x="36" y="50"/>
                    </a:cubicBezTo>
                    <a:cubicBezTo>
                      <a:pt x="37" y="48"/>
                      <a:pt x="33" y="46"/>
                      <a:pt x="34" y="44"/>
                    </a:cubicBezTo>
                    <a:cubicBezTo>
                      <a:pt x="34" y="43"/>
                      <a:pt x="34" y="43"/>
                      <a:pt x="34" y="42"/>
                    </a:cubicBezTo>
                    <a:cubicBezTo>
                      <a:pt x="35" y="40"/>
                      <a:pt x="34" y="39"/>
                      <a:pt x="33" y="38"/>
                    </a:cubicBezTo>
                    <a:cubicBezTo>
                      <a:pt x="33" y="38"/>
                      <a:pt x="34" y="37"/>
                      <a:pt x="35" y="37"/>
                    </a:cubicBezTo>
                    <a:lnTo>
                      <a:pt x="37" y="34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37" name="Freeform 86">
                <a:extLst>
                  <a:ext uri="{FF2B5EF4-FFF2-40B4-BE49-F238E27FC236}">
                    <a16:creationId xmlns:a16="http://schemas.microsoft.com/office/drawing/2014/main" id="{8C6FFE90-6212-4282-87B7-033EE3BD35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5813" y="2676525"/>
                <a:ext cx="20638" cy="39688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" y="11"/>
                  </a:cxn>
                  <a:cxn ang="0">
                    <a:pos x="1" y="18"/>
                  </a:cxn>
                  <a:cxn ang="0">
                    <a:pos x="8" y="15"/>
                  </a:cxn>
                  <a:cxn ang="0">
                    <a:pos x="9" y="0"/>
                  </a:cxn>
                  <a:cxn ang="0">
                    <a:pos x="9" y="2"/>
                  </a:cxn>
                </a:cxnLst>
                <a:rect l="0" t="0" r="r" b="b"/>
                <a:pathLst>
                  <a:path w="11" h="21">
                    <a:moveTo>
                      <a:pt x="9" y="2"/>
                    </a:moveTo>
                    <a:cubicBezTo>
                      <a:pt x="4" y="2"/>
                      <a:pt x="1" y="7"/>
                      <a:pt x="1" y="11"/>
                    </a:cubicBezTo>
                    <a:cubicBezTo>
                      <a:pt x="1" y="13"/>
                      <a:pt x="0" y="17"/>
                      <a:pt x="1" y="18"/>
                    </a:cubicBezTo>
                    <a:cubicBezTo>
                      <a:pt x="3" y="21"/>
                      <a:pt x="7" y="17"/>
                      <a:pt x="8" y="15"/>
                    </a:cubicBezTo>
                    <a:cubicBezTo>
                      <a:pt x="10" y="11"/>
                      <a:pt x="11" y="6"/>
                      <a:pt x="9" y="0"/>
                    </a:cubicBezTo>
                    <a:lnTo>
                      <a:pt x="9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38" name="Line 87">
                <a:extLst>
                  <a:ext uri="{FF2B5EF4-FFF2-40B4-BE49-F238E27FC236}">
                    <a16:creationId xmlns:a16="http://schemas.microsoft.com/office/drawing/2014/main" id="{F884927D-7D7B-4B9A-BCA1-99B017F1F8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44775" y="3457575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39" name="Line 88">
                <a:extLst>
                  <a:ext uri="{FF2B5EF4-FFF2-40B4-BE49-F238E27FC236}">
                    <a16:creationId xmlns:a16="http://schemas.microsoft.com/office/drawing/2014/main" id="{7B571804-73A6-480E-88B7-7536F33010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44775" y="3457575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40" name="Freeform 89">
                <a:extLst>
                  <a:ext uri="{FF2B5EF4-FFF2-40B4-BE49-F238E27FC236}">
                    <a16:creationId xmlns:a16="http://schemas.microsoft.com/office/drawing/2014/main" id="{1B7AC01B-A927-4FDB-B928-58FA4B1A0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8738" y="3735388"/>
                <a:ext cx="263525" cy="222250"/>
              </a:xfrm>
              <a:custGeom>
                <a:avLst/>
                <a:gdLst/>
                <a:ahLst/>
                <a:cxnLst>
                  <a:cxn ang="0">
                    <a:pos x="140" y="68"/>
                  </a:cxn>
                  <a:cxn ang="0">
                    <a:pos x="135" y="48"/>
                  </a:cxn>
                  <a:cxn ang="0">
                    <a:pos x="127" y="45"/>
                  </a:cxn>
                  <a:cxn ang="0">
                    <a:pos x="118" y="42"/>
                  </a:cxn>
                  <a:cxn ang="0">
                    <a:pos x="107" y="16"/>
                  </a:cxn>
                  <a:cxn ang="0">
                    <a:pos x="90" y="6"/>
                  </a:cxn>
                  <a:cxn ang="0">
                    <a:pos x="78" y="1"/>
                  </a:cxn>
                  <a:cxn ang="0">
                    <a:pos x="73" y="0"/>
                  </a:cxn>
                  <a:cxn ang="0">
                    <a:pos x="61" y="6"/>
                  </a:cxn>
                  <a:cxn ang="0">
                    <a:pos x="58" y="13"/>
                  </a:cxn>
                  <a:cxn ang="0">
                    <a:pos x="55" y="16"/>
                  </a:cxn>
                  <a:cxn ang="0">
                    <a:pos x="50" y="21"/>
                  </a:cxn>
                  <a:cxn ang="0">
                    <a:pos x="41" y="26"/>
                  </a:cxn>
                  <a:cxn ang="0">
                    <a:pos x="35" y="36"/>
                  </a:cxn>
                  <a:cxn ang="0">
                    <a:pos x="31" y="44"/>
                  </a:cxn>
                  <a:cxn ang="0">
                    <a:pos x="24" y="53"/>
                  </a:cxn>
                  <a:cxn ang="0">
                    <a:pos x="11" y="55"/>
                  </a:cxn>
                  <a:cxn ang="0">
                    <a:pos x="11" y="61"/>
                  </a:cxn>
                  <a:cxn ang="0">
                    <a:pos x="19" y="63"/>
                  </a:cxn>
                  <a:cxn ang="0">
                    <a:pos x="14" y="68"/>
                  </a:cxn>
                  <a:cxn ang="0">
                    <a:pos x="3" y="76"/>
                  </a:cxn>
                  <a:cxn ang="0">
                    <a:pos x="1" y="86"/>
                  </a:cxn>
                  <a:cxn ang="0">
                    <a:pos x="6" y="90"/>
                  </a:cxn>
                  <a:cxn ang="0">
                    <a:pos x="7" y="94"/>
                  </a:cxn>
                  <a:cxn ang="0">
                    <a:pos x="11" y="100"/>
                  </a:cxn>
                  <a:cxn ang="0">
                    <a:pos x="22" y="103"/>
                  </a:cxn>
                  <a:cxn ang="0">
                    <a:pos x="25" y="106"/>
                  </a:cxn>
                  <a:cxn ang="0">
                    <a:pos x="35" y="109"/>
                  </a:cxn>
                  <a:cxn ang="0">
                    <a:pos x="42" y="104"/>
                  </a:cxn>
                  <a:cxn ang="0">
                    <a:pos x="49" y="97"/>
                  </a:cxn>
                  <a:cxn ang="0">
                    <a:pos x="50" y="89"/>
                  </a:cxn>
                  <a:cxn ang="0">
                    <a:pos x="58" y="84"/>
                  </a:cxn>
                  <a:cxn ang="0">
                    <a:pos x="66" y="95"/>
                  </a:cxn>
                  <a:cxn ang="0">
                    <a:pos x="71" y="102"/>
                  </a:cxn>
                  <a:cxn ang="0">
                    <a:pos x="76" y="113"/>
                  </a:cxn>
                  <a:cxn ang="0">
                    <a:pos x="85" y="116"/>
                  </a:cxn>
                  <a:cxn ang="0">
                    <a:pos x="89" y="113"/>
                  </a:cxn>
                  <a:cxn ang="0">
                    <a:pos x="95" y="112"/>
                  </a:cxn>
                  <a:cxn ang="0">
                    <a:pos x="104" y="116"/>
                  </a:cxn>
                  <a:cxn ang="0">
                    <a:pos x="110" y="117"/>
                  </a:cxn>
                  <a:cxn ang="0">
                    <a:pos x="117" y="99"/>
                  </a:cxn>
                  <a:cxn ang="0">
                    <a:pos x="132" y="94"/>
                  </a:cxn>
                  <a:cxn ang="0">
                    <a:pos x="140" y="77"/>
                  </a:cxn>
                </a:cxnLst>
                <a:rect l="0" t="0" r="r" b="b"/>
                <a:pathLst>
                  <a:path w="141" h="119">
                    <a:moveTo>
                      <a:pt x="140" y="77"/>
                    </a:moveTo>
                    <a:cubicBezTo>
                      <a:pt x="140" y="74"/>
                      <a:pt x="141" y="71"/>
                      <a:pt x="140" y="68"/>
                    </a:cubicBezTo>
                    <a:cubicBezTo>
                      <a:pt x="139" y="65"/>
                      <a:pt x="135" y="62"/>
                      <a:pt x="133" y="62"/>
                    </a:cubicBezTo>
                    <a:cubicBezTo>
                      <a:pt x="132" y="57"/>
                      <a:pt x="137" y="53"/>
                      <a:pt x="135" y="48"/>
                    </a:cubicBezTo>
                    <a:cubicBezTo>
                      <a:pt x="134" y="48"/>
                      <a:pt x="132" y="48"/>
                      <a:pt x="131" y="47"/>
                    </a:cubicBezTo>
                    <a:cubicBezTo>
                      <a:pt x="128" y="46"/>
                      <a:pt x="129" y="47"/>
                      <a:pt x="127" y="45"/>
                    </a:cubicBezTo>
                    <a:cubicBezTo>
                      <a:pt x="126" y="43"/>
                      <a:pt x="125" y="41"/>
                      <a:pt x="122" y="41"/>
                    </a:cubicBezTo>
                    <a:cubicBezTo>
                      <a:pt x="120" y="41"/>
                      <a:pt x="120" y="43"/>
                      <a:pt x="118" y="42"/>
                    </a:cubicBezTo>
                    <a:cubicBezTo>
                      <a:pt x="118" y="38"/>
                      <a:pt x="114" y="34"/>
                      <a:pt x="112" y="30"/>
                    </a:cubicBezTo>
                    <a:cubicBezTo>
                      <a:pt x="109" y="25"/>
                      <a:pt x="107" y="22"/>
                      <a:pt x="107" y="16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06" y="6"/>
                      <a:pt x="97" y="5"/>
                      <a:pt x="90" y="6"/>
                    </a:cubicBezTo>
                    <a:cubicBezTo>
                      <a:pt x="86" y="6"/>
                      <a:pt x="85" y="8"/>
                      <a:pt x="82" y="8"/>
                    </a:cubicBezTo>
                    <a:cubicBezTo>
                      <a:pt x="77" y="9"/>
                      <a:pt x="78" y="4"/>
                      <a:pt x="78" y="1"/>
                    </a:cubicBezTo>
                    <a:cubicBezTo>
                      <a:pt x="76" y="0"/>
                      <a:pt x="75" y="0"/>
                      <a:pt x="73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1" y="2"/>
                      <a:pt x="68" y="2"/>
                      <a:pt x="66" y="3"/>
                    </a:cubicBezTo>
                    <a:cubicBezTo>
                      <a:pt x="64" y="3"/>
                      <a:pt x="63" y="5"/>
                      <a:pt x="61" y="6"/>
                    </a:cubicBezTo>
                    <a:cubicBezTo>
                      <a:pt x="60" y="7"/>
                      <a:pt x="58" y="9"/>
                      <a:pt x="58" y="10"/>
                    </a:cubicBezTo>
                    <a:cubicBezTo>
                      <a:pt x="58" y="11"/>
                      <a:pt x="58" y="12"/>
                      <a:pt x="58" y="13"/>
                    </a:cubicBezTo>
                    <a:cubicBezTo>
                      <a:pt x="57" y="13"/>
                      <a:pt x="57" y="13"/>
                      <a:pt x="56" y="13"/>
                    </a:cubicBezTo>
                    <a:cubicBezTo>
                      <a:pt x="56" y="14"/>
                      <a:pt x="56" y="15"/>
                      <a:pt x="55" y="16"/>
                    </a:cubicBezTo>
                    <a:cubicBezTo>
                      <a:pt x="55" y="16"/>
                      <a:pt x="54" y="18"/>
                      <a:pt x="54" y="18"/>
                    </a:cubicBezTo>
                    <a:cubicBezTo>
                      <a:pt x="53" y="19"/>
                      <a:pt x="51" y="20"/>
                      <a:pt x="50" y="21"/>
                    </a:cubicBezTo>
                    <a:cubicBezTo>
                      <a:pt x="48" y="22"/>
                      <a:pt x="48" y="23"/>
                      <a:pt x="46" y="23"/>
                    </a:cubicBezTo>
                    <a:cubicBezTo>
                      <a:pt x="43" y="24"/>
                      <a:pt x="42" y="22"/>
                      <a:pt x="41" y="26"/>
                    </a:cubicBezTo>
                    <a:cubicBezTo>
                      <a:pt x="41" y="29"/>
                      <a:pt x="40" y="29"/>
                      <a:pt x="38" y="31"/>
                    </a:cubicBezTo>
                    <a:cubicBezTo>
                      <a:pt x="37" y="33"/>
                      <a:pt x="36" y="34"/>
                      <a:pt x="35" y="36"/>
                    </a:cubicBezTo>
                    <a:cubicBezTo>
                      <a:pt x="34" y="38"/>
                      <a:pt x="34" y="40"/>
                      <a:pt x="33" y="41"/>
                    </a:cubicBezTo>
                    <a:cubicBezTo>
                      <a:pt x="33" y="43"/>
                      <a:pt x="32" y="43"/>
                      <a:pt x="31" y="44"/>
                    </a:cubicBezTo>
                    <a:cubicBezTo>
                      <a:pt x="29" y="46"/>
                      <a:pt x="28" y="49"/>
                      <a:pt x="28" y="51"/>
                    </a:cubicBezTo>
                    <a:cubicBezTo>
                      <a:pt x="27" y="53"/>
                      <a:pt x="27" y="53"/>
                      <a:pt x="24" y="53"/>
                    </a:cubicBezTo>
                    <a:cubicBezTo>
                      <a:pt x="22" y="53"/>
                      <a:pt x="20" y="53"/>
                      <a:pt x="17" y="53"/>
                    </a:cubicBezTo>
                    <a:cubicBezTo>
                      <a:pt x="15" y="53"/>
                      <a:pt x="12" y="53"/>
                      <a:pt x="11" y="55"/>
                    </a:cubicBezTo>
                    <a:cubicBezTo>
                      <a:pt x="11" y="56"/>
                      <a:pt x="10" y="58"/>
                      <a:pt x="10" y="59"/>
                    </a:cubicBezTo>
                    <a:cubicBezTo>
                      <a:pt x="10" y="60"/>
                      <a:pt x="10" y="60"/>
                      <a:pt x="11" y="61"/>
                    </a:cubicBezTo>
                    <a:cubicBezTo>
                      <a:pt x="13" y="62"/>
                      <a:pt x="14" y="62"/>
                      <a:pt x="16" y="62"/>
                    </a:cubicBezTo>
                    <a:cubicBezTo>
                      <a:pt x="17" y="62"/>
                      <a:pt x="18" y="63"/>
                      <a:pt x="19" y="63"/>
                    </a:cubicBezTo>
                    <a:cubicBezTo>
                      <a:pt x="18" y="63"/>
                      <a:pt x="17" y="64"/>
                      <a:pt x="16" y="65"/>
                    </a:cubicBezTo>
                    <a:cubicBezTo>
                      <a:pt x="16" y="66"/>
                      <a:pt x="15" y="67"/>
                      <a:pt x="14" y="68"/>
                    </a:cubicBezTo>
                    <a:cubicBezTo>
                      <a:pt x="13" y="69"/>
                      <a:pt x="10" y="71"/>
                      <a:pt x="8" y="72"/>
                    </a:cubicBezTo>
                    <a:cubicBezTo>
                      <a:pt x="6" y="73"/>
                      <a:pt x="5" y="74"/>
                      <a:pt x="3" y="76"/>
                    </a:cubicBezTo>
                    <a:cubicBezTo>
                      <a:pt x="2" y="78"/>
                      <a:pt x="0" y="78"/>
                      <a:pt x="0" y="80"/>
                    </a:cubicBezTo>
                    <a:cubicBezTo>
                      <a:pt x="0" y="82"/>
                      <a:pt x="0" y="84"/>
                      <a:pt x="1" y="86"/>
                    </a:cubicBezTo>
                    <a:cubicBezTo>
                      <a:pt x="2" y="87"/>
                      <a:pt x="3" y="88"/>
                      <a:pt x="5" y="89"/>
                    </a:cubicBezTo>
                    <a:cubicBezTo>
                      <a:pt x="5" y="89"/>
                      <a:pt x="6" y="90"/>
                      <a:pt x="6" y="90"/>
                    </a:cubicBezTo>
                    <a:cubicBezTo>
                      <a:pt x="7" y="91"/>
                      <a:pt x="6" y="91"/>
                      <a:pt x="6" y="92"/>
                    </a:cubicBezTo>
                    <a:cubicBezTo>
                      <a:pt x="7" y="92"/>
                      <a:pt x="7" y="93"/>
                      <a:pt x="7" y="94"/>
                    </a:cubicBezTo>
                    <a:cubicBezTo>
                      <a:pt x="8" y="95"/>
                      <a:pt x="9" y="95"/>
                      <a:pt x="10" y="97"/>
                    </a:cubicBezTo>
                    <a:cubicBezTo>
                      <a:pt x="10" y="98"/>
                      <a:pt x="10" y="99"/>
                      <a:pt x="11" y="100"/>
                    </a:cubicBezTo>
                    <a:cubicBezTo>
                      <a:pt x="12" y="101"/>
                      <a:pt x="15" y="102"/>
                      <a:pt x="17" y="102"/>
                    </a:cubicBezTo>
                    <a:cubicBezTo>
                      <a:pt x="18" y="102"/>
                      <a:pt x="21" y="102"/>
                      <a:pt x="22" y="103"/>
                    </a:cubicBezTo>
                    <a:cubicBezTo>
                      <a:pt x="23" y="104"/>
                      <a:pt x="22" y="104"/>
                      <a:pt x="23" y="104"/>
                    </a:cubicBezTo>
                    <a:cubicBezTo>
                      <a:pt x="24" y="105"/>
                      <a:pt x="24" y="105"/>
                      <a:pt x="25" y="106"/>
                    </a:cubicBezTo>
                    <a:cubicBezTo>
                      <a:pt x="26" y="106"/>
                      <a:pt x="27" y="107"/>
                      <a:pt x="28" y="108"/>
                    </a:cubicBezTo>
                    <a:cubicBezTo>
                      <a:pt x="30" y="109"/>
                      <a:pt x="33" y="108"/>
                      <a:pt x="35" y="109"/>
                    </a:cubicBezTo>
                    <a:cubicBezTo>
                      <a:pt x="36" y="109"/>
                      <a:pt x="39" y="110"/>
                      <a:pt x="41" y="110"/>
                    </a:cubicBezTo>
                    <a:cubicBezTo>
                      <a:pt x="43" y="109"/>
                      <a:pt x="41" y="106"/>
                      <a:pt x="42" y="104"/>
                    </a:cubicBezTo>
                    <a:cubicBezTo>
                      <a:pt x="43" y="102"/>
                      <a:pt x="47" y="104"/>
                      <a:pt x="48" y="103"/>
                    </a:cubicBezTo>
                    <a:cubicBezTo>
                      <a:pt x="50" y="102"/>
                      <a:pt x="50" y="99"/>
                      <a:pt x="49" y="97"/>
                    </a:cubicBezTo>
                    <a:cubicBezTo>
                      <a:pt x="48" y="96"/>
                      <a:pt x="48" y="95"/>
                      <a:pt x="48" y="94"/>
                    </a:cubicBezTo>
                    <a:cubicBezTo>
                      <a:pt x="48" y="92"/>
                      <a:pt x="49" y="91"/>
                      <a:pt x="50" y="89"/>
                    </a:cubicBezTo>
                    <a:cubicBezTo>
                      <a:pt x="51" y="88"/>
                      <a:pt x="52" y="85"/>
                      <a:pt x="54" y="85"/>
                    </a:cubicBezTo>
                    <a:cubicBezTo>
                      <a:pt x="55" y="84"/>
                      <a:pt x="57" y="85"/>
                      <a:pt x="58" y="84"/>
                    </a:cubicBezTo>
                    <a:cubicBezTo>
                      <a:pt x="60" y="86"/>
                      <a:pt x="61" y="88"/>
                      <a:pt x="62" y="90"/>
                    </a:cubicBezTo>
                    <a:cubicBezTo>
                      <a:pt x="64" y="92"/>
                      <a:pt x="65" y="93"/>
                      <a:pt x="66" y="95"/>
                    </a:cubicBezTo>
                    <a:cubicBezTo>
                      <a:pt x="67" y="97"/>
                      <a:pt x="66" y="98"/>
                      <a:pt x="66" y="100"/>
                    </a:cubicBezTo>
                    <a:cubicBezTo>
                      <a:pt x="66" y="102"/>
                      <a:pt x="69" y="102"/>
                      <a:pt x="71" y="102"/>
                    </a:cubicBezTo>
                    <a:cubicBezTo>
                      <a:pt x="73" y="103"/>
                      <a:pt x="74" y="104"/>
                      <a:pt x="74" y="105"/>
                    </a:cubicBezTo>
                    <a:cubicBezTo>
                      <a:pt x="75" y="108"/>
                      <a:pt x="76" y="110"/>
                      <a:pt x="76" y="113"/>
                    </a:cubicBezTo>
                    <a:cubicBezTo>
                      <a:pt x="76" y="115"/>
                      <a:pt x="76" y="117"/>
                      <a:pt x="79" y="117"/>
                    </a:cubicBezTo>
                    <a:cubicBezTo>
                      <a:pt x="81" y="117"/>
                      <a:pt x="83" y="117"/>
                      <a:pt x="85" y="116"/>
                    </a:cubicBezTo>
                    <a:cubicBezTo>
                      <a:pt x="86" y="115"/>
                      <a:pt x="87" y="115"/>
                      <a:pt x="88" y="113"/>
                    </a:cubicBezTo>
                    <a:cubicBezTo>
                      <a:pt x="88" y="113"/>
                      <a:pt x="88" y="113"/>
                      <a:pt x="89" y="113"/>
                    </a:cubicBezTo>
                    <a:cubicBezTo>
                      <a:pt x="89" y="112"/>
                      <a:pt x="89" y="111"/>
                      <a:pt x="90" y="110"/>
                    </a:cubicBezTo>
                    <a:cubicBezTo>
                      <a:pt x="92" y="111"/>
                      <a:pt x="93" y="111"/>
                      <a:pt x="95" y="112"/>
                    </a:cubicBezTo>
                    <a:cubicBezTo>
                      <a:pt x="97" y="113"/>
                      <a:pt x="98" y="115"/>
                      <a:pt x="100" y="115"/>
                    </a:cubicBezTo>
                    <a:cubicBezTo>
                      <a:pt x="102" y="115"/>
                      <a:pt x="102" y="115"/>
                      <a:pt x="104" y="116"/>
                    </a:cubicBezTo>
                    <a:cubicBezTo>
                      <a:pt x="106" y="117"/>
                      <a:pt x="108" y="118"/>
                      <a:pt x="109" y="119"/>
                    </a:cubicBezTo>
                    <a:cubicBezTo>
                      <a:pt x="110" y="118"/>
                      <a:pt x="110" y="118"/>
                      <a:pt x="110" y="117"/>
                    </a:cubicBezTo>
                    <a:cubicBezTo>
                      <a:pt x="113" y="114"/>
                      <a:pt x="114" y="111"/>
                      <a:pt x="114" y="107"/>
                    </a:cubicBezTo>
                    <a:cubicBezTo>
                      <a:pt x="114" y="103"/>
                      <a:pt x="113" y="100"/>
                      <a:pt x="117" y="99"/>
                    </a:cubicBezTo>
                    <a:cubicBezTo>
                      <a:pt x="120" y="99"/>
                      <a:pt x="123" y="99"/>
                      <a:pt x="125" y="99"/>
                    </a:cubicBezTo>
                    <a:cubicBezTo>
                      <a:pt x="130" y="99"/>
                      <a:pt x="130" y="98"/>
                      <a:pt x="132" y="94"/>
                    </a:cubicBezTo>
                    <a:cubicBezTo>
                      <a:pt x="134" y="92"/>
                      <a:pt x="136" y="90"/>
                      <a:pt x="138" y="87"/>
                    </a:cubicBezTo>
                    <a:cubicBezTo>
                      <a:pt x="139" y="84"/>
                      <a:pt x="139" y="80"/>
                      <a:pt x="140" y="77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41" name="Freeform 90">
                <a:extLst>
                  <a:ext uri="{FF2B5EF4-FFF2-40B4-BE49-F238E27FC236}">
                    <a16:creationId xmlns:a16="http://schemas.microsoft.com/office/drawing/2014/main" id="{F7C8E9C2-EBB3-4BB2-A1A7-DED2F2244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0525" y="3887788"/>
                <a:ext cx="46038" cy="53975"/>
              </a:xfrm>
              <a:custGeom>
                <a:avLst/>
                <a:gdLst/>
                <a:ahLst/>
                <a:cxnLst>
                  <a:cxn ang="0">
                    <a:pos x="21" y="1"/>
                  </a:cxn>
                  <a:cxn ang="0">
                    <a:pos x="21" y="1"/>
                  </a:cxn>
                  <a:cxn ang="0">
                    <a:pos x="19" y="0"/>
                  </a:cxn>
                  <a:cxn ang="0">
                    <a:pos x="11" y="3"/>
                  </a:cxn>
                  <a:cxn ang="0">
                    <a:pos x="8" y="7"/>
                  </a:cxn>
                  <a:cxn ang="0">
                    <a:pos x="6" y="10"/>
                  </a:cxn>
                  <a:cxn ang="0">
                    <a:pos x="1" y="19"/>
                  </a:cxn>
                  <a:cxn ang="0">
                    <a:pos x="1" y="25"/>
                  </a:cxn>
                  <a:cxn ang="0">
                    <a:pos x="2" y="27"/>
                  </a:cxn>
                  <a:cxn ang="0">
                    <a:pos x="4" y="28"/>
                  </a:cxn>
                  <a:cxn ang="0">
                    <a:pos x="10" y="28"/>
                  </a:cxn>
                  <a:cxn ang="0">
                    <a:pos x="15" y="27"/>
                  </a:cxn>
                  <a:cxn ang="0">
                    <a:pos x="18" y="24"/>
                  </a:cxn>
                  <a:cxn ang="0">
                    <a:pos x="21" y="21"/>
                  </a:cxn>
                  <a:cxn ang="0">
                    <a:pos x="24" y="14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21" y="1"/>
                  </a:cxn>
                </a:cxnLst>
                <a:rect l="0" t="0" r="r" b="b"/>
                <a:pathLst>
                  <a:path w="24" h="29">
                    <a:moveTo>
                      <a:pt x="21" y="1"/>
                    </a:moveTo>
                    <a:cubicBezTo>
                      <a:pt x="21" y="1"/>
                      <a:pt x="21" y="1"/>
                      <a:pt x="21" y="1"/>
                    </a:cubicBezTo>
                    <a:cubicBezTo>
                      <a:pt x="21" y="0"/>
                      <a:pt x="19" y="0"/>
                      <a:pt x="19" y="0"/>
                    </a:cubicBezTo>
                    <a:cubicBezTo>
                      <a:pt x="16" y="0"/>
                      <a:pt x="13" y="0"/>
                      <a:pt x="11" y="3"/>
                    </a:cubicBezTo>
                    <a:cubicBezTo>
                      <a:pt x="10" y="4"/>
                      <a:pt x="9" y="6"/>
                      <a:pt x="8" y="7"/>
                    </a:cubicBezTo>
                    <a:cubicBezTo>
                      <a:pt x="8" y="8"/>
                      <a:pt x="7" y="9"/>
                      <a:pt x="6" y="10"/>
                    </a:cubicBezTo>
                    <a:cubicBezTo>
                      <a:pt x="4" y="13"/>
                      <a:pt x="2" y="16"/>
                      <a:pt x="1" y="19"/>
                    </a:cubicBezTo>
                    <a:cubicBezTo>
                      <a:pt x="0" y="21"/>
                      <a:pt x="0" y="23"/>
                      <a:pt x="1" y="25"/>
                    </a:cubicBezTo>
                    <a:cubicBezTo>
                      <a:pt x="1" y="26"/>
                      <a:pt x="1" y="27"/>
                      <a:pt x="2" y="27"/>
                    </a:cubicBezTo>
                    <a:cubicBezTo>
                      <a:pt x="2" y="28"/>
                      <a:pt x="3" y="28"/>
                      <a:pt x="4" y="28"/>
                    </a:cubicBezTo>
                    <a:cubicBezTo>
                      <a:pt x="6" y="28"/>
                      <a:pt x="8" y="29"/>
                      <a:pt x="10" y="28"/>
                    </a:cubicBezTo>
                    <a:cubicBezTo>
                      <a:pt x="12" y="28"/>
                      <a:pt x="13" y="28"/>
                      <a:pt x="15" y="27"/>
                    </a:cubicBezTo>
                    <a:cubicBezTo>
                      <a:pt x="16" y="26"/>
                      <a:pt x="17" y="25"/>
                      <a:pt x="18" y="24"/>
                    </a:cubicBezTo>
                    <a:cubicBezTo>
                      <a:pt x="19" y="23"/>
                      <a:pt x="20" y="22"/>
                      <a:pt x="21" y="21"/>
                    </a:cubicBezTo>
                    <a:cubicBezTo>
                      <a:pt x="23" y="19"/>
                      <a:pt x="23" y="16"/>
                      <a:pt x="24" y="14"/>
                    </a:cubicBezTo>
                    <a:cubicBezTo>
                      <a:pt x="24" y="11"/>
                      <a:pt x="24" y="9"/>
                      <a:pt x="22" y="6"/>
                    </a:cubicBezTo>
                    <a:cubicBezTo>
                      <a:pt x="21" y="6"/>
                      <a:pt x="20" y="5"/>
                      <a:pt x="20" y="4"/>
                    </a:cubicBezTo>
                    <a:cubicBezTo>
                      <a:pt x="19" y="4"/>
                      <a:pt x="18" y="3"/>
                      <a:pt x="18" y="2"/>
                    </a:cubicBezTo>
                    <a:lnTo>
                      <a:pt x="21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42" name="Freeform 91">
                <a:extLst>
                  <a:ext uri="{FF2B5EF4-FFF2-40B4-BE49-F238E27FC236}">
                    <a16:creationId xmlns:a16="http://schemas.microsoft.com/office/drawing/2014/main" id="{5D61C574-D73D-4D63-9133-0B13AD9B27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263" y="4511675"/>
                <a:ext cx="71438" cy="30163"/>
              </a:xfrm>
              <a:custGeom>
                <a:avLst/>
                <a:gdLst/>
                <a:ahLst/>
                <a:cxnLst>
                  <a:cxn ang="0">
                    <a:pos x="29" y="3"/>
                  </a:cxn>
                  <a:cxn ang="0">
                    <a:pos x="29" y="3"/>
                  </a:cxn>
                  <a:cxn ang="0">
                    <a:pos x="24" y="1"/>
                  </a:cxn>
                  <a:cxn ang="0">
                    <a:pos x="13" y="1"/>
                  </a:cxn>
                  <a:cxn ang="0">
                    <a:pos x="9" y="3"/>
                  </a:cxn>
                  <a:cxn ang="0">
                    <a:pos x="4" y="4"/>
                  </a:cxn>
                  <a:cxn ang="0">
                    <a:pos x="1" y="6"/>
                  </a:cxn>
                  <a:cxn ang="0">
                    <a:pos x="0" y="9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13" y="16"/>
                  </a:cxn>
                  <a:cxn ang="0">
                    <a:pos x="21" y="16"/>
                  </a:cxn>
                  <a:cxn ang="0">
                    <a:pos x="29" y="15"/>
                  </a:cxn>
                  <a:cxn ang="0">
                    <a:pos x="34" y="13"/>
                  </a:cxn>
                  <a:cxn ang="0">
                    <a:pos x="38" y="10"/>
                  </a:cxn>
                  <a:cxn ang="0">
                    <a:pos x="36" y="5"/>
                  </a:cxn>
                  <a:cxn ang="0">
                    <a:pos x="29" y="3"/>
                  </a:cxn>
                </a:cxnLst>
                <a:rect l="0" t="0" r="r" b="b"/>
                <a:pathLst>
                  <a:path w="38" h="16">
                    <a:moveTo>
                      <a:pt x="29" y="3"/>
                    </a:moveTo>
                    <a:cubicBezTo>
                      <a:pt x="29" y="3"/>
                      <a:pt x="29" y="3"/>
                      <a:pt x="29" y="3"/>
                    </a:cubicBezTo>
                    <a:cubicBezTo>
                      <a:pt x="28" y="2"/>
                      <a:pt x="26" y="1"/>
                      <a:pt x="24" y="1"/>
                    </a:cubicBezTo>
                    <a:cubicBezTo>
                      <a:pt x="21" y="0"/>
                      <a:pt x="17" y="0"/>
                      <a:pt x="13" y="1"/>
                    </a:cubicBezTo>
                    <a:cubicBezTo>
                      <a:pt x="12" y="1"/>
                      <a:pt x="10" y="2"/>
                      <a:pt x="9" y="3"/>
                    </a:cubicBezTo>
                    <a:cubicBezTo>
                      <a:pt x="7" y="3"/>
                      <a:pt x="6" y="4"/>
                      <a:pt x="4" y="4"/>
                    </a:cubicBezTo>
                    <a:cubicBezTo>
                      <a:pt x="3" y="5"/>
                      <a:pt x="2" y="6"/>
                      <a:pt x="1" y="6"/>
                    </a:cubicBezTo>
                    <a:cubicBezTo>
                      <a:pt x="1" y="7"/>
                      <a:pt x="0" y="8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cubicBezTo>
                      <a:pt x="3" y="13"/>
                      <a:pt x="4" y="14"/>
                      <a:pt x="6" y="14"/>
                    </a:cubicBezTo>
                    <a:cubicBezTo>
                      <a:pt x="8" y="15"/>
                      <a:pt x="10" y="16"/>
                      <a:pt x="13" y="16"/>
                    </a:cubicBezTo>
                    <a:cubicBezTo>
                      <a:pt x="16" y="16"/>
                      <a:pt x="19" y="16"/>
                      <a:pt x="21" y="16"/>
                    </a:cubicBezTo>
                    <a:cubicBezTo>
                      <a:pt x="24" y="16"/>
                      <a:pt x="27" y="16"/>
                      <a:pt x="29" y="15"/>
                    </a:cubicBezTo>
                    <a:cubicBezTo>
                      <a:pt x="31" y="15"/>
                      <a:pt x="33" y="14"/>
                      <a:pt x="34" y="13"/>
                    </a:cubicBezTo>
                    <a:cubicBezTo>
                      <a:pt x="36" y="12"/>
                      <a:pt x="37" y="11"/>
                      <a:pt x="38" y="10"/>
                    </a:cubicBezTo>
                    <a:cubicBezTo>
                      <a:pt x="38" y="8"/>
                      <a:pt x="37" y="6"/>
                      <a:pt x="36" y="5"/>
                    </a:cubicBezTo>
                    <a:lnTo>
                      <a:pt x="29" y="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43" name="Freeform 92">
                <a:extLst>
                  <a:ext uri="{FF2B5EF4-FFF2-40B4-BE49-F238E27FC236}">
                    <a16:creationId xmlns:a16="http://schemas.microsoft.com/office/drawing/2014/main" id="{76380E65-04EC-4C23-BF88-5424466A89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838" y="5722938"/>
                <a:ext cx="365125" cy="711200"/>
              </a:xfrm>
              <a:custGeom>
                <a:avLst/>
                <a:gdLst/>
                <a:ahLst/>
                <a:cxnLst>
                  <a:cxn ang="0">
                    <a:pos x="9" y="214"/>
                  </a:cxn>
                  <a:cxn ang="0">
                    <a:pos x="1" y="233"/>
                  </a:cxn>
                  <a:cxn ang="0">
                    <a:pos x="0" y="251"/>
                  </a:cxn>
                  <a:cxn ang="0">
                    <a:pos x="9" y="267"/>
                  </a:cxn>
                  <a:cxn ang="0">
                    <a:pos x="25" y="280"/>
                  </a:cxn>
                  <a:cxn ang="0">
                    <a:pos x="36" y="293"/>
                  </a:cxn>
                  <a:cxn ang="0">
                    <a:pos x="30" y="317"/>
                  </a:cxn>
                  <a:cxn ang="0">
                    <a:pos x="35" y="341"/>
                  </a:cxn>
                  <a:cxn ang="0">
                    <a:pos x="34" y="354"/>
                  </a:cxn>
                  <a:cxn ang="0">
                    <a:pos x="29" y="365"/>
                  </a:cxn>
                  <a:cxn ang="0">
                    <a:pos x="54" y="374"/>
                  </a:cxn>
                  <a:cxn ang="0">
                    <a:pos x="67" y="374"/>
                  </a:cxn>
                  <a:cxn ang="0">
                    <a:pos x="81" y="378"/>
                  </a:cxn>
                  <a:cxn ang="0">
                    <a:pos x="98" y="375"/>
                  </a:cxn>
                  <a:cxn ang="0">
                    <a:pos x="105" y="374"/>
                  </a:cxn>
                  <a:cxn ang="0">
                    <a:pos x="109" y="356"/>
                  </a:cxn>
                  <a:cxn ang="0">
                    <a:pos x="108" y="349"/>
                  </a:cxn>
                  <a:cxn ang="0">
                    <a:pos x="110" y="331"/>
                  </a:cxn>
                  <a:cxn ang="0">
                    <a:pos x="116" y="322"/>
                  </a:cxn>
                  <a:cxn ang="0">
                    <a:pos x="118" y="315"/>
                  </a:cxn>
                  <a:cxn ang="0">
                    <a:pos x="129" y="309"/>
                  </a:cxn>
                  <a:cxn ang="0">
                    <a:pos x="135" y="298"/>
                  </a:cxn>
                  <a:cxn ang="0">
                    <a:pos x="125" y="290"/>
                  </a:cxn>
                  <a:cxn ang="0">
                    <a:pos x="122" y="283"/>
                  </a:cxn>
                  <a:cxn ang="0">
                    <a:pos x="128" y="254"/>
                  </a:cxn>
                  <a:cxn ang="0">
                    <a:pos x="133" y="234"/>
                  </a:cxn>
                  <a:cxn ang="0">
                    <a:pos x="123" y="229"/>
                  </a:cxn>
                  <a:cxn ang="0">
                    <a:pos x="119" y="209"/>
                  </a:cxn>
                  <a:cxn ang="0">
                    <a:pos x="115" y="206"/>
                  </a:cxn>
                  <a:cxn ang="0">
                    <a:pos x="117" y="196"/>
                  </a:cxn>
                  <a:cxn ang="0">
                    <a:pos x="137" y="180"/>
                  </a:cxn>
                  <a:cxn ang="0">
                    <a:pos x="139" y="156"/>
                  </a:cxn>
                  <a:cxn ang="0">
                    <a:pos x="145" y="131"/>
                  </a:cxn>
                  <a:cxn ang="0">
                    <a:pos x="144" y="102"/>
                  </a:cxn>
                  <a:cxn ang="0">
                    <a:pos x="149" y="85"/>
                  </a:cxn>
                  <a:cxn ang="0">
                    <a:pos x="166" y="75"/>
                  </a:cxn>
                  <a:cxn ang="0">
                    <a:pos x="180" y="65"/>
                  </a:cxn>
                  <a:cxn ang="0">
                    <a:pos x="194" y="46"/>
                  </a:cxn>
                  <a:cxn ang="0">
                    <a:pos x="177" y="38"/>
                  </a:cxn>
                  <a:cxn ang="0">
                    <a:pos x="172" y="29"/>
                  </a:cxn>
                  <a:cxn ang="0">
                    <a:pos x="169" y="18"/>
                  </a:cxn>
                  <a:cxn ang="0">
                    <a:pos x="155" y="16"/>
                  </a:cxn>
                  <a:cxn ang="0">
                    <a:pos x="142" y="19"/>
                  </a:cxn>
                  <a:cxn ang="0">
                    <a:pos x="122" y="29"/>
                  </a:cxn>
                  <a:cxn ang="0">
                    <a:pos x="112" y="25"/>
                  </a:cxn>
                  <a:cxn ang="0">
                    <a:pos x="98" y="22"/>
                  </a:cxn>
                  <a:cxn ang="0">
                    <a:pos x="84" y="30"/>
                  </a:cxn>
                  <a:cxn ang="0">
                    <a:pos x="86" y="12"/>
                  </a:cxn>
                  <a:cxn ang="0">
                    <a:pos x="82" y="1"/>
                  </a:cxn>
                  <a:cxn ang="0">
                    <a:pos x="73" y="7"/>
                  </a:cxn>
                  <a:cxn ang="0">
                    <a:pos x="47" y="19"/>
                  </a:cxn>
                  <a:cxn ang="0">
                    <a:pos x="42" y="29"/>
                  </a:cxn>
                  <a:cxn ang="0">
                    <a:pos x="44" y="42"/>
                  </a:cxn>
                  <a:cxn ang="0">
                    <a:pos x="44" y="61"/>
                  </a:cxn>
                  <a:cxn ang="0">
                    <a:pos x="39" y="72"/>
                  </a:cxn>
                  <a:cxn ang="0">
                    <a:pos x="44" y="90"/>
                  </a:cxn>
                  <a:cxn ang="0">
                    <a:pos x="44" y="127"/>
                  </a:cxn>
                  <a:cxn ang="0">
                    <a:pos x="39" y="139"/>
                  </a:cxn>
                  <a:cxn ang="0">
                    <a:pos x="37" y="147"/>
                  </a:cxn>
                  <a:cxn ang="0">
                    <a:pos x="38" y="159"/>
                  </a:cxn>
                  <a:cxn ang="0">
                    <a:pos x="28" y="171"/>
                  </a:cxn>
                  <a:cxn ang="0">
                    <a:pos x="26" y="186"/>
                  </a:cxn>
                </a:cxnLst>
                <a:rect l="0" t="0" r="r" b="b"/>
                <a:pathLst>
                  <a:path w="195" h="380">
                    <a:moveTo>
                      <a:pt x="26" y="188"/>
                    </a:moveTo>
                    <a:cubicBezTo>
                      <a:pt x="25" y="192"/>
                      <a:pt x="23" y="197"/>
                      <a:pt x="20" y="200"/>
                    </a:cubicBezTo>
                    <a:cubicBezTo>
                      <a:pt x="17" y="205"/>
                      <a:pt x="13" y="210"/>
                      <a:pt x="9" y="214"/>
                    </a:cubicBezTo>
                    <a:cubicBezTo>
                      <a:pt x="7" y="216"/>
                      <a:pt x="6" y="218"/>
                      <a:pt x="5" y="220"/>
                    </a:cubicBezTo>
                    <a:cubicBezTo>
                      <a:pt x="4" y="222"/>
                      <a:pt x="5" y="224"/>
                      <a:pt x="4" y="226"/>
                    </a:cubicBezTo>
                    <a:cubicBezTo>
                      <a:pt x="4" y="228"/>
                      <a:pt x="2" y="231"/>
                      <a:pt x="1" y="233"/>
                    </a:cubicBezTo>
                    <a:cubicBezTo>
                      <a:pt x="1" y="237"/>
                      <a:pt x="0" y="241"/>
                      <a:pt x="0" y="245"/>
                    </a:cubicBezTo>
                    <a:cubicBezTo>
                      <a:pt x="0" y="246"/>
                      <a:pt x="0" y="247"/>
                      <a:pt x="0" y="249"/>
                    </a:cubicBezTo>
                    <a:cubicBezTo>
                      <a:pt x="0" y="249"/>
                      <a:pt x="0" y="250"/>
                      <a:pt x="0" y="251"/>
                    </a:cubicBezTo>
                    <a:cubicBezTo>
                      <a:pt x="0" y="252"/>
                      <a:pt x="0" y="253"/>
                      <a:pt x="1" y="254"/>
                    </a:cubicBezTo>
                    <a:cubicBezTo>
                      <a:pt x="3" y="255"/>
                      <a:pt x="7" y="253"/>
                      <a:pt x="9" y="256"/>
                    </a:cubicBezTo>
                    <a:cubicBezTo>
                      <a:pt x="10" y="259"/>
                      <a:pt x="8" y="264"/>
                      <a:pt x="9" y="267"/>
                    </a:cubicBezTo>
                    <a:cubicBezTo>
                      <a:pt x="11" y="272"/>
                      <a:pt x="17" y="271"/>
                      <a:pt x="16" y="277"/>
                    </a:cubicBezTo>
                    <a:cubicBezTo>
                      <a:pt x="16" y="280"/>
                      <a:pt x="15" y="278"/>
                      <a:pt x="14" y="281"/>
                    </a:cubicBezTo>
                    <a:cubicBezTo>
                      <a:pt x="12" y="285"/>
                      <a:pt x="22" y="282"/>
                      <a:pt x="25" y="280"/>
                    </a:cubicBezTo>
                    <a:cubicBezTo>
                      <a:pt x="26" y="279"/>
                      <a:pt x="30" y="277"/>
                      <a:pt x="32" y="279"/>
                    </a:cubicBezTo>
                    <a:cubicBezTo>
                      <a:pt x="33" y="279"/>
                      <a:pt x="37" y="284"/>
                      <a:pt x="37" y="285"/>
                    </a:cubicBezTo>
                    <a:cubicBezTo>
                      <a:pt x="38" y="287"/>
                      <a:pt x="36" y="290"/>
                      <a:pt x="36" y="293"/>
                    </a:cubicBezTo>
                    <a:cubicBezTo>
                      <a:pt x="35" y="296"/>
                      <a:pt x="35" y="300"/>
                      <a:pt x="35" y="303"/>
                    </a:cubicBezTo>
                    <a:cubicBezTo>
                      <a:pt x="35" y="306"/>
                      <a:pt x="35" y="307"/>
                      <a:pt x="34" y="310"/>
                    </a:cubicBezTo>
                    <a:cubicBezTo>
                      <a:pt x="33" y="312"/>
                      <a:pt x="30" y="315"/>
                      <a:pt x="30" y="317"/>
                    </a:cubicBezTo>
                    <a:cubicBezTo>
                      <a:pt x="30" y="321"/>
                      <a:pt x="36" y="322"/>
                      <a:pt x="38" y="325"/>
                    </a:cubicBezTo>
                    <a:cubicBezTo>
                      <a:pt x="39" y="327"/>
                      <a:pt x="40" y="330"/>
                      <a:pt x="39" y="332"/>
                    </a:cubicBezTo>
                    <a:cubicBezTo>
                      <a:pt x="38" y="335"/>
                      <a:pt x="36" y="338"/>
                      <a:pt x="35" y="341"/>
                    </a:cubicBezTo>
                    <a:cubicBezTo>
                      <a:pt x="34" y="343"/>
                      <a:pt x="34" y="345"/>
                      <a:pt x="34" y="347"/>
                    </a:cubicBezTo>
                    <a:cubicBezTo>
                      <a:pt x="34" y="348"/>
                      <a:pt x="34" y="348"/>
                      <a:pt x="34" y="349"/>
                    </a:cubicBezTo>
                    <a:cubicBezTo>
                      <a:pt x="34" y="351"/>
                      <a:pt x="34" y="353"/>
                      <a:pt x="34" y="354"/>
                    </a:cubicBezTo>
                    <a:cubicBezTo>
                      <a:pt x="34" y="355"/>
                      <a:pt x="33" y="356"/>
                      <a:pt x="33" y="357"/>
                    </a:cubicBezTo>
                    <a:cubicBezTo>
                      <a:pt x="33" y="358"/>
                      <a:pt x="32" y="360"/>
                      <a:pt x="31" y="361"/>
                    </a:cubicBezTo>
                    <a:cubicBezTo>
                      <a:pt x="30" y="362"/>
                      <a:pt x="30" y="364"/>
                      <a:pt x="29" y="365"/>
                    </a:cubicBezTo>
                    <a:cubicBezTo>
                      <a:pt x="28" y="370"/>
                      <a:pt x="29" y="375"/>
                      <a:pt x="26" y="379"/>
                    </a:cubicBezTo>
                    <a:cubicBezTo>
                      <a:pt x="31" y="380"/>
                      <a:pt x="37" y="375"/>
                      <a:pt x="41" y="374"/>
                    </a:cubicBezTo>
                    <a:cubicBezTo>
                      <a:pt x="45" y="373"/>
                      <a:pt x="50" y="373"/>
                      <a:pt x="54" y="374"/>
                    </a:cubicBezTo>
                    <a:cubicBezTo>
                      <a:pt x="56" y="374"/>
                      <a:pt x="57" y="374"/>
                      <a:pt x="59" y="374"/>
                    </a:cubicBezTo>
                    <a:cubicBezTo>
                      <a:pt x="60" y="374"/>
                      <a:pt x="62" y="374"/>
                      <a:pt x="63" y="374"/>
                    </a:cubicBezTo>
                    <a:cubicBezTo>
                      <a:pt x="65" y="374"/>
                      <a:pt x="66" y="374"/>
                      <a:pt x="67" y="374"/>
                    </a:cubicBezTo>
                    <a:cubicBezTo>
                      <a:pt x="69" y="375"/>
                      <a:pt x="70" y="376"/>
                      <a:pt x="72" y="376"/>
                    </a:cubicBezTo>
                    <a:cubicBezTo>
                      <a:pt x="74" y="377"/>
                      <a:pt x="76" y="378"/>
                      <a:pt x="78" y="379"/>
                    </a:cubicBezTo>
                    <a:cubicBezTo>
                      <a:pt x="80" y="379"/>
                      <a:pt x="80" y="379"/>
                      <a:pt x="81" y="378"/>
                    </a:cubicBezTo>
                    <a:cubicBezTo>
                      <a:pt x="84" y="378"/>
                      <a:pt x="84" y="377"/>
                      <a:pt x="85" y="377"/>
                    </a:cubicBezTo>
                    <a:cubicBezTo>
                      <a:pt x="89" y="375"/>
                      <a:pt x="92" y="375"/>
                      <a:pt x="95" y="375"/>
                    </a:cubicBezTo>
                    <a:cubicBezTo>
                      <a:pt x="96" y="375"/>
                      <a:pt x="97" y="375"/>
                      <a:pt x="98" y="375"/>
                    </a:cubicBezTo>
                    <a:cubicBezTo>
                      <a:pt x="98" y="375"/>
                      <a:pt x="99" y="375"/>
                      <a:pt x="99" y="375"/>
                    </a:cubicBezTo>
                    <a:cubicBezTo>
                      <a:pt x="101" y="375"/>
                      <a:pt x="103" y="374"/>
                      <a:pt x="105" y="374"/>
                    </a:cubicBezTo>
                    <a:cubicBezTo>
                      <a:pt x="105" y="374"/>
                      <a:pt x="105" y="374"/>
                      <a:pt x="105" y="374"/>
                    </a:cubicBezTo>
                    <a:cubicBezTo>
                      <a:pt x="106" y="374"/>
                      <a:pt x="107" y="373"/>
                      <a:pt x="108" y="373"/>
                    </a:cubicBezTo>
                    <a:cubicBezTo>
                      <a:pt x="108" y="371"/>
                      <a:pt x="108" y="369"/>
                      <a:pt x="108" y="367"/>
                    </a:cubicBezTo>
                    <a:cubicBezTo>
                      <a:pt x="109" y="363"/>
                      <a:pt x="109" y="360"/>
                      <a:pt x="109" y="356"/>
                    </a:cubicBezTo>
                    <a:cubicBezTo>
                      <a:pt x="109" y="355"/>
                      <a:pt x="109" y="353"/>
                      <a:pt x="109" y="351"/>
                    </a:cubicBezTo>
                    <a:cubicBezTo>
                      <a:pt x="109" y="351"/>
                      <a:pt x="109" y="351"/>
                      <a:pt x="108" y="351"/>
                    </a:cubicBezTo>
                    <a:cubicBezTo>
                      <a:pt x="108" y="350"/>
                      <a:pt x="108" y="350"/>
                      <a:pt x="108" y="349"/>
                    </a:cubicBezTo>
                    <a:cubicBezTo>
                      <a:pt x="107" y="348"/>
                      <a:pt x="107" y="346"/>
                      <a:pt x="107" y="345"/>
                    </a:cubicBezTo>
                    <a:cubicBezTo>
                      <a:pt x="107" y="344"/>
                      <a:pt x="106" y="343"/>
                      <a:pt x="106" y="341"/>
                    </a:cubicBezTo>
                    <a:cubicBezTo>
                      <a:pt x="106" y="338"/>
                      <a:pt x="108" y="334"/>
                      <a:pt x="110" y="331"/>
                    </a:cubicBezTo>
                    <a:cubicBezTo>
                      <a:pt x="110" y="331"/>
                      <a:pt x="111" y="330"/>
                      <a:pt x="111" y="329"/>
                    </a:cubicBezTo>
                    <a:cubicBezTo>
                      <a:pt x="112" y="328"/>
                      <a:pt x="113" y="326"/>
                      <a:pt x="114" y="325"/>
                    </a:cubicBezTo>
                    <a:cubicBezTo>
                      <a:pt x="115" y="324"/>
                      <a:pt x="116" y="323"/>
                      <a:pt x="116" y="322"/>
                    </a:cubicBezTo>
                    <a:cubicBezTo>
                      <a:pt x="117" y="321"/>
                      <a:pt x="117" y="321"/>
                      <a:pt x="117" y="321"/>
                    </a:cubicBezTo>
                    <a:cubicBezTo>
                      <a:pt x="117" y="320"/>
                      <a:pt x="118" y="319"/>
                      <a:pt x="118" y="318"/>
                    </a:cubicBezTo>
                    <a:cubicBezTo>
                      <a:pt x="119" y="317"/>
                      <a:pt x="118" y="316"/>
                      <a:pt x="118" y="315"/>
                    </a:cubicBezTo>
                    <a:cubicBezTo>
                      <a:pt x="118" y="311"/>
                      <a:pt x="121" y="313"/>
                      <a:pt x="124" y="312"/>
                    </a:cubicBezTo>
                    <a:cubicBezTo>
                      <a:pt x="125" y="312"/>
                      <a:pt x="127" y="312"/>
                      <a:pt x="128" y="311"/>
                    </a:cubicBezTo>
                    <a:cubicBezTo>
                      <a:pt x="128" y="311"/>
                      <a:pt x="129" y="310"/>
                      <a:pt x="129" y="309"/>
                    </a:cubicBezTo>
                    <a:cubicBezTo>
                      <a:pt x="130" y="309"/>
                      <a:pt x="130" y="309"/>
                      <a:pt x="131" y="309"/>
                    </a:cubicBezTo>
                    <a:cubicBezTo>
                      <a:pt x="134" y="308"/>
                      <a:pt x="136" y="307"/>
                      <a:pt x="136" y="304"/>
                    </a:cubicBezTo>
                    <a:cubicBezTo>
                      <a:pt x="136" y="302"/>
                      <a:pt x="137" y="299"/>
                      <a:pt x="135" y="298"/>
                    </a:cubicBezTo>
                    <a:cubicBezTo>
                      <a:pt x="134" y="299"/>
                      <a:pt x="132" y="300"/>
                      <a:pt x="130" y="299"/>
                    </a:cubicBezTo>
                    <a:cubicBezTo>
                      <a:pt x="128" y="298"/>
                      <a:pt x="129" y="297"/>
                      <a:pt x="128" y="295"/>
                    </a:cubicBezTo>
                    <a:cubicBezTo>
                      <a:pt x="128" y="293"/>
                      <a:pt x="126" y="291"/>
                      <a:pt x="125" y="290"/>
                    </a:cubicBezTo>
                    <a:cubicBezTo>
                      <a:pt x="125" y="289"/>
                      <a:pt x="124" y="288"/>
                      <a:pt x="124" y="287"/>
                    </a:cubicBezTo>
                    <a:cubicBezTo>
                      <a:pt x="123" y="286"/>
                      <a:pt x="123" y="285"/>
                      <a:pt x="123" y="284"/>
                    </a:cubicBezTo>
                    <a:cubicBezTo>
                      <a:pt x="123" y="284"/>
                      <a:pt x="122" y="283"/>
                      <a:pt x="122" y="283"/>
                    </a:cubicBezTo>
                    <a:cubicBezTo>
                      <a:pt x="120" y="279"/>
                      <a:pt x="118" y="275"/>
                      <a:pt x="118" y="271"/>
                    </a:cubicBezTo>
                    <a:cubicBezTo>
                      <a:pt x="119" y="267"/>
                      <a:pt x="122" y="264"/>
                      <a:pt x="123" y="261"/>
                    </a:cubicBezTo>
                    <a:cubicBezTo>
                      <a:pt x="124" y="257"/>
                      <a:pt x="125" y="256"/>
                      <a:pt x="128" y="254"/>
                    </a:cubicBezTo>
                    <a:cubicBezTo>
                      <a:pt x="130" y="253"/>
                      <a:pt x="132" y="253"/>
                      <a:pt x="134" y="252"/>
                    </a:cubicBezTo>
                    <a:cubicBezTo>
                      <a:pt x="138" y="248"/>
                      <a:pt x="136" y="241"/>
                      <a:pt x="134" y="237"/>
                    </a:cubicBezTo>
                    <a:cubicBezTo>
                      <a:pt x="134" y="236"/>
                      <a:pt x="134" y="235"/>
                      <a:pt x="133" y="234"/>
                    </a:cubicBezTo>
                    <a:cubicBezTo>
                      <a:pt x="133" y="234"/>
                      <a:pt x="132" y="233"/>
                      <a:pt x="131" y="233"/>
                    </a:cubicBezTo>
                    <a:cubicBezTo>
                      <a:pt x="130" y="232"/>
                      <a:pt x="129" y="232"/>
                      <a:pt x="127" y="231"/>
                    </a:cubicBezTo>
                    <a:cubicBezTo>
                      <a:pt x="126" y="231"/>
                      <a:pt x="124" y="231"/>
                      <a:pt x="123" y="229"/>
                    </a:cubicBezTo>
                    <a:cubicBezTo>
                      <a:pt x="123" y="227"/>
                      <a:pt x="124" y="226"/>
                      <a:pt x="123" y="224"/>
                    </a:cubicBezTo>
                    <a:cubicBezTo>
                      <a:pt x="122" y="223"/>
                      <a:pt x="120" y="222"/>
                      <a:pt x="119" y="223"/>
                    </a:cubicBezTo>
                    <a:cubicBezTo>
                      <a:pt x="119" y="219"/>
                      <a:pt x="120" y="213"/>
                      <a:pt x="119" y="209"/>
                    </a:cubicBezTo>
                    <a:cubicBezTo>
                      <a:pt x="119" y="209"/>
                      <a:pt x="118" y="208"/>
                      <a:pt x="118" y="207"/>
                    </a:cubicBezTo>
                    <a:cubicBezTo>
                      <a:pt x="118" y="207"/>
                      <a:pt x="117" y="207"/>
                      <a:pt x="117" y="207"/>
                    </a:cubicBezTo>
                    <a:cubicBezTo>
                      <a:pt x="116" y="208"/>
                      <a:pt x="115" y="207"/>
                      <a:pt x="115" y="206"/>
                    </a:cubicBezTo>
                    <a:cubicBezTo>
                      <a:pt x="114" y="206"/>
                      <a:pt x="113" y="203"/>
                      <a:pt x="112" y="202"/>
                    </a:cubicBezTo>
                    <a:cubicBezTo>
                      <a:pt x="111" y="201"/>
                      <a:pt x="109" y="199"/>
                      <a:pt x="110" y="197"/>
                    </a:cubicBezTo>
                    <a:cubicBezTo>
                      <a:pt x="110" y="195"/>
                      <a:pt x="115" y="196"/>
                      <a:pt x="117" y="196"/>
                    </a:cubicBezTo>
                    <a:cubicBezTo>
                      <a:pt x="122" y="196"/>
                      <a:pt x="132" y="197"/>
                      <a:pt x="133" y="191"/>
                    </a:cubicBezTo>
                    <a:cubicBezTo>
                      <a:pt x="133" y="189"/>
                      <a:pt x="132" y="186"/>
                      <a:pt x="133" y="184"/>
                    </a:cubicBezTo>
                    <a:cubicBezTo>
                      <a:pt x="133" y="183"/>
                      <a:pt x="136" y="180"/>
                      <a:pt x="137" y="180"/>
                    </a:cubicBezTo>
                    <a:cubicBezTo>
                      <a:pt x="139" y="177"/>
                      <a:pt x="141" y="174"/>
                      <a:pt x="141" y="171"/>
                    </a:cubicBezTo>
                    <a:cubicBezTo>
                      <a:pt x="140" y="166"/>
                      <a:pt x="135" y="164"/>
                      <a:pt x="134" y="159"/>
                    </a:cubicBezTo>
                    <a:cubicBezTo>
                      <a:pt x="136" y="159"/>
                      <a:pt x="137" y="157"/>
                      <a:pt x="139" y="156"/>
                    </a:cubicBezTo>
                    <a:cubicBezTo>
                      <a:pt x="141" y="155"/>
                      <a:pt x="143" y="154"/>
                      <a:pt x="144" y="152"/>
                    </a:cubicBezTo>
                    <a:cubicBezTo>
                      <a:pt x="145" y="149"/>
                      <a:pt x="144" y="143"/>
                      <a:pt x="144" y="140"/>
                    </a:cubicBezTo>
                    <a:cubicBezTo>
                      <a:pt x="144" y="137"/>
                      <a:pt x="145" y="134"/>
                      <a:pt x="145" y="131"/>
                    </a:cubicBezTo>
                    <a:cubicBezTo>
                      <a:pt x="146" y="125"/>
                      <a:pt x="144" y="119"/>
                      <a:pt x="144" y="113"/>
                    </a:cubicBezTo>
                    <a:cubicBezTo>
                      <a:pt x="144" y="110"/>
                      <a:pt x="144" y="107"/>
                      <a:pt x="144" y="105"/>
                    </a:cubicBezTo>
                    <a:cubicBezTo>
                      <a:pt x="144" y="104"/>
                      <a:pt x="144" y="103"/>
                      <a:pt x="144" y="102"/>
                    </a:cubicBezTo>
                    <a:cubicBezTo>
                      <a:pt x="143" y="102"/>
                      <a:pt x="141" y="101"/>
                      <a:pt x="141" y="101"/>
                    </a:cubicBezTo>
                    <a:cubicBezTo>
                      <a:pt x="139" y="98"/>
                      <a:pt x="141" y="97"/>
                      <a:pt x="144" y="96"/>
                    </a:cubicBezTo>
                    <a:cubicBezTo>
                      <a:pt x="144" y="92"/>
                      <a:pt x="147" y="88"/>
                      <a:pt x="149" y="85"/>
                    </a:cubicBezTo>
                    <a:cubicBezTo>
                      <a:pt x="151" y="82"/>
                      <a:pt x="152" y="83"/>
                      <a:pt x="155" y="82"/>
                    </a:cubicBezTo>
                    <a:cubicBezTo>
                      <a:pt x="158" y="82"/>
                      <a:pt x="161" y="81"/>
                      <a:pt x="163" y="79"/>
                    </a:cubicBezTo>
                    <a:cubicBezTo>
                      <a:pt x="164" y="78"/>
                      <a:pt x="165" y="76"/>
                      <a:pt x="166" y="75"/>
                    </a:cubicBezTo>
                    <a:cubicBezTo>
                      <a:pt x="168" y="74"/>
                      <a:pt x="169" y="72"/>
                      <a:pt x="170" y="72"/>
                    </a:cubicBezTo>
                    <a:cubicBezTo>
                      <a:pt x="172" y="70"/>
                      <a:pt x="174" y="69"/>
                      <a:pt x="176" y="67"/>
                    </a:cubicBezTo>
                    <a:cubicBezTo>
                      <a:pt x="177" y="66"/>
                      <a:pt x="178" y="66"/>
                      <a:pt x="180" y="65"/>
                    </a:cubicBezTo>
                    <a:cubicBezTo>
                      <a:pt x="182" y="64"/>
                      <a:pt x="183" y="64"/>
                      <a:pt x="184" y="62"/>
                    </a:cubicBezTo>
                    <a:cubicBezTo>
                      <a:pt x="186" y="60"/>
                      <a:pt x="186" y="58"/>
                      <a:pt x="188" y="56"/>
                    </a:cubicBezTo>
                    <a:cubicBezTo>
                      <a:pt x="191" y="53"/>
                      <a:pt x="194" y="50"/>
                      <a:pt x="194" y="46"/>
                    </a:cubicBezTo>
                    <a:cubicBezTo>
                      <a:pt x="195" y="44"/>
                      <a:pt x="194" y="44"/>
                      <a:pt x="192" y="43"/>
                    </a:cubicBezTo>
                    <a:cubicBezTo>
                      <a:pt x="189" y="42"/>
                      <a:pt x="186" y="40"/>
                      <a:pt x="183" y="39"/>
                    </a:cubicBezTo>
                    <a:cubicBezTo>
                      <a:pt x="181" y="38"/>
                      <a:pt x="179" y="38"/>
                      <a:pt x="177" y="38"/>
                    </a:cubicBezTo>
                    <a:cubicBezTo>
                      <a:pt x="176" y="38"/>
                      <a:pt x="177" y="39"/>
                      <a:pt x="175" y="38"/>
                    </a:cubicBezTo>
                    <a:cubicBezTo>
                      <a:pt x="174" y="38"/>
                      <a:pt x="173" y="35"/>
                      <a:pt x="172" y="34"/>
                    </a:cubicBezTo>
                    <a:cubicBezTo>
                      <a:pt x="171" y="32"/>
                      <a:pt x="171" y="30"/>
                      <a:pt x="172" y="29"/>
                    </a:cubicBezTo>
                    <a:cubicBezTo>
                      <a:pt x="173" y="27"/>
                      <a:pt x="176" y="25"/>
                      <a:pt x="175" y="23"/>
                    </a:cubicBezTo>
                    <a:cubicBezTo>
                      <a:pt x="177" y="17"/>
                      <a:pt x="177" y="17"/>
                      <a:pt x="177" y="17"/>
                    </a:cubicBezTo>
                    <a:cubicBezTo>
                      <a:pt x="174" y="17"/>
                      <a:pt x="172" y="18"/>
                      <a:pt x="169" y="18"/>
                    </a:cubicBezTo>
                    <a:cubicBezTo>
                      <a:pt x="167" y="18"/>
                      <a:pt x="163" y="19"/>
                      <a:pt x="161" y="17"/>
                    </a:cubicBezTo>
                    <a:cubicBezTo>
                      <a:pt x="160" y="15"/>
                      <a:pt x="162" y="14"/>
                      <a:pt x="160" y="14"/>
                    </a:cubicBezTo>
                    <a:cubicBezTo>
                      <a:pt x="159" y="14"/>
                      <a:pt x="157" y="16"/>
                      <a:pt x="155" y="16"/>
                    </a:cubicBezTo>
                    <a:cubicBezTo>
                      <a:pt x="153" y="16"/>
                      <a:pt x="145" y="15"/>
                      <a:pt x="145" y="17"/>
                    </a:cubicBezTo>
                    <a:cubicBezTo>
                      <a:pt x="145" y="17"/>
                      <a:pt x="144" y="16"/>
                      <a:pt x="143" y="16"/>
                    </a:cubicBezTo>
                    <a:cubicBezTo>
                      <a:pt x="142" y="17"/>
                      <a:pt x="143" y="18"/>
                      <a:pt x="142" y="19"/>
                    </a:cubicBezTo>
                    <a:cubicBezTo>
                      <a:pt x="141" y="20"/>
                      <a:pt x="140" y="21"/>
                      <a:pt x="139" y="22"/>
                    </a:cubicBezTo>
                    <a:cubicBezTo>
                      <a:pt x="137" y="24"/>
                      <a:pt x="137" y="25"/>
                      <a:pt x="134" y="26"/>
                    </a:cubicBezTo>
                    <a:cubicBezTo>
                      <a:pt x="130" y="28"/>
                      <a:pt x="122" y="23"/>
                      <a:pt x="122" y="29"/>
                    </a:cubicBezTo>
                    <a:cubicBezTo>
                      <a:pt x="119" y="30"/>
                      <a:pt x="117" y="28"/>
                      <a:pt x="115" y="27"/>
                    </a:cubicBezTo>
                    <a:cubicBezTo>
                      <a:pt x="114" y="27"/>
                      <a:pt x="114" y="29"/>
                      <a:pt x="112" y="28"/>
                    </a:cubicBezTo>
                    <a:cubicBezTo>
                      <a:pt x="112" y="27"/>
                      <a:pt x="112" y="25"/>
                      <a:pt x="112" y="25"/>
                    </a:cubicBezTo>
                    <a:cubicBezTo>
                      <a:pt x="110" y="24"/>
                      <a:pt x="107" y="23"/>
                      <a:pt x="105" y="24"/>
                    </a:cubicBezTo>
                    <a:cubicBezTo>
                      <a:pt x="104" y="25"/>
                      <a:pt x="103" y="27"/>
                      <a:pt x="101" y="26"/>
                    </a:cubicBezTo>
                    <a:cubicBezTo>
                      <a:pt x="99" y="25"/>
                      <a:pt x="99" y="23"/>
                      <a:pt x="98" y="22"/>
                    </a:cubicBezTo>
                    <a:cubicBezTo>
                      <a:pt x="94" y="18"/>
                      <a:pt x="94" y="24"/>
                      <a:pt x="93" y="26"/>
                    </a:cubicBezTo>
                    <a:cubicBezTo>
                      <a:pt x="91" y="28"/>
                      <a:pt x="90" y="27"/>
                      <a:pt x="88" y="28"/>
                    </a:cubicBezTo>
                    <a:cubicBezTo>
                      <a:pt x="87" y="28"/>
                      <a:pt x="85" y="30"/>
                      <a:pt x="84" y="30"/>
                    </a:cubicBezTo>
                    <a:cubicBezTo>
                      <a:pt x="82" y="30"/>
                      <a:pt x="81" y="22"/>
                      <a:pt x="81" y="21"/>
                    </a:cubicBezTo>
                    <a:cubicBezTo>
                      <a:pt x="82" y="19"/>
                      <a:pt x="84" y="19"/>
                      <a:pt x="85" y="17"/>
                    </a:cubicBezTo>
                    <a:cubicBezTo>
                      <a:pt x="86" y="16"/>
                      <a:pt x="86" y="14"/>
                      <a:pt x="86" y="12"/>
                    </a:cubicBezTo>
                    <a:cubicBezTo>
                      <a:pt x="85" y="11"/>
                      <a:pt x="83" y="12"/>
                      <a:pt x="82" y="11"/>
                    </a:cubicBezTo>
                    <a:cubicBezTo>
                      <a:pt x="81" y="10"/>
                      <a:pt x="81" y="7"/>
                      <a:pt x="81" y="6"/>
                    </a:cubicBezTo>
                    <a:cubicBezTo>
                      <a:pt x="82" y="4"/>
                      <a:pt x="84" y="2"/>
                      <a:pt x="82" y="1"/>
                    </a:cubicBezTo>
                    <a:cubicBezTo>
                      <a:pt x="80" y="0"/>
                      <a:pt x="79" y="2"/>
                      <a:pt x="78" y="3"/>
                    </a:cubicBezTo>
                    <a:cubicBezTo>
                      <a:pt x="78" y="4"/>
                      <a:pt x="77" y="6"/>
                      <a:pt x="77" y="6"/>
                    </a:cubicBezTo>
                    <a:cubicBezTo>
                      <a:pt x="76" y="7"/>
                      <a:pt x="74" y="7"/>
                      <a:pt x="73" y="7"/>
                    </a:cubicBezTo>
                    <a:cubicBezTo>
                      <a:pt x="69" y="8"/>
                      <a:pt x="66" y="10"/>
                      <a:pt x="63" y="11"/>
                    </a:cubicBezTo>
                    <a:cubicBezTo>
                      <a:pt x="60" y="13"/>
                      <a:pt x="56" y="15"/>
                      <a:pt x="53" y="16"/>
                    </a:cubicBezTo>
                    <a:cubicBezTo>
                      <a:pt x="51" y="17"/>
                      <a:pt x="48" y="18"/>
                      <a:pt x="47" y="19"/>
                    </a:cubicBezTo>
                    <a:cubicBezTo>
                      <a:pt x="46" y="20"/>
                      <a:pt x="46" y="23"/>
                      <a:pt x="45" y="24"/>
                    </a:cubicBezTo>
                    <a:cubicBezTo>
                      <a:pt x="45" y="24"/>
                      <a:pt x="43" y="26"/>
                      <a:pt x="42" y="26"/>
                    </a:cubicBezTo>
                    <a:cubicBezTo>
                      <a:pt x="42" y="27"/>
                      <a:pt x="42" y="28"/>
                      <a:pt x="42" y="29"/>
                    </a:cubicBezTo>
                    <a:cubicBezTo>
                      <a:pt x="42" y="30"/>
                      <a:pt x="42" y="31"/>
                      <a:pt x="41" y="31"/>
                    </a:cubicBezTo>
                    <a:cubicBezTo>
                      <a:pt x="41" y="33"/>
                      <a:pt x="41" y="35"/>
                      <a:pt x="41" y="36"/>
                    </a:cubicBezTo>
                    <a:cubicBezTo>
                      <a:pt x="42" y="39"/>
                      <a:pt x="43" y="40"/>
                      <a:pt x="44" y="42"/>
                    </a:cubicBezTo>
                    <a:cubicBezTo>
                      <a:pt x="46" y="45"/>
                      <a:pt x="46" y="51"/>
                      <a:pt x="45" y="54"/>
                    </a:cubicBezTo>
                    <a:cubicBezTo>
                      <a:pt x="44" y="55"/>
                      <a:pt x="43" y="56"/>
                      <a:pt x="43" y="57"/>
                    </a:cubicBezTo>
                    <a:cubicBezTo>
                      <a:pt x="42" y="59"/>
                      <a:pt x="44" y="60"/>
                      <a:pt x="44" y="61"/>
                    </a:cubicBezTo>
                    <a:cubicBezTo>
                      <a:pt x="45" y="62"/>
                      <a:pt x="46" y="65"/>
                      <a:pt x="46" y="66"/>
                    </a:cubicBezTo>
                    <a:cubicBezTo>
                      <a:pt x="46" y="69"/>
                      <a:pt x="45" y="68"/>
                      <a:pt x="43" y="69"/>
                    </a:cubicBezTo>
                    <a:cubicBezTo>
                      <a:pt x="42" y="70"/>
                      <a:pt x="39" y="71"/>
                      <a:pt x="39" y="72"/>
                    </a:cubicBezTo>
                    <a:cubicBezTo>
                      <a:pt x="38" y="73"/>
                      <a:pt x="38" y="75"/>
                      <a:pt x="38" y="76"/>
                    </a:cubicBezTo>
                    <a:cubicBezTo>
                      <a:pt x="38" y="81"/>
                      <a:pt x="40" y="83"/>
                      <a:pt x="42" y="87"/>
                    </a:cubicBezTo>
                    <a:cubicBezTo>
                      <a:pt x="43" y="88"/>
                      <a:pt x="44" y="88"/>
                      <a:pt x="44" y="90"/>
                    </a:cubicBezTo>
                    <a:cubicBezTo>
                      <a:pt x="44" y="95"/>
                      <a:pt x="46" y="99"/>
                      <a:pt x="47" y="103"/>
                    </a:cubicBezTo>
                    <a:cubicBezTo>
                      <a:pt x="47" y="108"/>
                      <a:pt x="47" y="113"/>
                      <a:pt x="47" y="118"/>
                    </a:cubicBezTo>
                    <a:cubicBezTo>
                      <a:pt x="47" y="121"/>
                      <a:pt x="46" y="124"/>
                      <a:pt x="44" y="127"/>
                    </a:cubicBezTo>
                    <a:cubicBezTo>
                      <a:pt x="43" y="129"/>
                      <a:pt x="42" y="132"/>
                      <a:pt x="41" y="134"/>
                    </a:cubicBezTo>
                    <a:cubicBezTo>
                      <a:pt x="41" y="134"/>
                      <a:pt x="40" y="135"/>
                      <a:pt x="40" y="136"/>
                    </a:cubicBezTo>
                    <a:cubicBezTo>
                      <a:pt x="40" y="137"/>
                      <a:pt x="39" y="138"/>
                      <a:pt x="39" y="139"/>
                    </a:cubicBezTo>
                    <a:cubicBezTo>
                      <a:pt x="38" y="140"/>
                      <a:pt x="38" y="140"/>
                      <a:pt x="38" y="141"/>
                    </a:cubicBezTo>
                    <a:cubicBezTo>
                      <a:pt x="38" y="142"/>
                      <a:pt x="37" y="143"/>
                      <a:pt x="37" y="145"/>
                    </a:cubicBezTo>
                    <a:cubicBezTo>
                      <a:pt x="37" y="145"/>
                      <a:pt x="37" y="146"/>
                      <a:pt x="37" y="147"/>
                    </a:cubicBezTo>
                    <a:cubicBezTo>
                      <a:pt x="37" y="149"/>
                      <a:pt x="37" y="151"/>
                      <a:pt x="38" y="153"/>
                    </a:cubicBezTo>
                    <a:cubicBezTo>
                      <a:pt x="38" y="154"/>
                      <a:pt x="39" y="156"/>
                      <a:pt x="38" y="157"/>
                    </a:cubicBezTo>
                    <a:cubicBezTo>
                      <a:pt x="38" y="158"/>
                      <a:pt x="38" y="158"/>
                      <a:pt x="38" y="159"/>
                    </a:cubicBezTo>
                    <a:cubicBezTo>
                      <a:pt x="38" y="159"/>
                      <a:pt x="37" y="160"/>
                      <a:pt x="37" y="161"/>
                    </a:cubicBezTo>
                    <a:cubicBezTo>
                      <a:pt x="36" y="162"/>
                      <a:pt x="34" y="163"/>
                      <a:pt x="33" y="164"/>
                    </a:cubicBezTo>
                    <a:cubicBezTo>
                      <a:pt x="32" y="166"/>
                      <a:pt x="30" y="168"/>
                      <a:pt x="28" y="171"/>
                    </a:cubicBezTo>
                    <a:cubicBezTo>
                      <a:pt x="26" y="174"/>
                      <a:pt x="26" y="177"/>
                      <a:pt x="26" y="181"/>
                    </a:cubicBezTo>
                    <a:cubicBezTo>
                      <a:pt x="26" y="182"/>
                      <a:pt x="26" y="183"/>
                      <a:pt x="26" y="184"/>
                    </a:cubicBezTo>
                    <a:cubicBezTo>
                      <a:pt x="26" y="185"/>
                      <a:pt x="26" y="186"/>
                      <a:pt x="26" y="186"/>
                    </a:cubicBezTo>
                    <a:cubicBezTo>
                      <a:pt x="26" y="187"/>
                      <a:pt x="26" y="188"/>
                      <a:pt x="26" y="188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44" name="Freeform 93">
                <a:extLst>
                  <a:ext uri="{FF2B5EF4-FFF2-40B4-BE49-F238E27FC236}">
                    <a16:creationId xmlns:a16="http://schemas.microsoft.com/office/drawing/2014/main" id="{A3FBE555-F9AD-4CA6-9AA6-151485E177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82838" y="5495925"/>
                <a:ext cx="1368425" cy="1063625"/>
              </a:xfrm>
              <a:custGeom>
                <a:avLst/>
                <a:gdLst/>
                <a:ahLst/>
                <a:cxnLst>
                  <a:cxn ang="0">
                    <a:pos x="99" y="497"/>
                  </a:cxn>
                  <a:cxn ang="0">
                    <a:pos x="34" y="469"/>
                  </a:cxn>
                  <a:cxn ang="0">
                    <a:pos x="34" y="466"/>
                  </a:cxn>
                  <a:cxn ang="0">
                    <a:pos x="33" y="479"/>
                  </a:cxn>
                  <a:cxn ang="0">
                    <a:pos x="35" y="465"/>
                  </a:cxn>
                  <a:cxn ang="0">
                    <a:pos x="37" y="282"/>
                  </a:cxn>
                  <a:cxn ang="0">
                    <a:pos x="38" y="276"/>
                  </a:cxn>
                  <a:cxn ang="0">
                    <a:pos x="38" y="457"/>
                  </a:cxn>
                  <a:cxn ang="0">
                    <a:pos x="26" y="306"/>
                  </a:cxn>
                  <a:cxn ang="0">
                    <a:pos x="34" y="285"/>
                  </a:cxn>
                  <a:cxn ang="0">
                    <a:pos x="40" y="258"/>
                  </a:cxn>
                  <a:cxn ang="0">
                    <a:pos x="45" y="246"/>
                  </a:cxn>
                  <a:cxn ang="0">
                    <a:pos x="48" y="495"/>
                  </a:cxn>
                  <a:cxn ang="0">
                    <a:pos x="52" y="496"/>
                  </a:cxn>
                  <a:cxn ang="0">
                    <a:pos x="0" y="373"/>
                  </a:cxn>
                  <a:cxn ang="0">
                    <a:pos x="0" y="375"/>
                  </a:cxn>
                  <a:cxn ang="0">
                    <a:pos x="1" y="359"/>
                  </a:cxn>
                  <a:cxn ang="0">
                    <a:pos x="499" y="314"/>
                  </a:cxn>
                  <a:cxn ang="0">
                    <a:pos x="672" y="99"/>
                  </a:cxn>
                  <a:cxn ang="0">
                    <a:pos x="648" y="101"/>
                  </a:cxn>
                  <a:cxn ang="0">
                    <a:pos x="621" y="96"/>
                  </a:cxn>
                  <a:cxn ang="0">
                    <a:pos x="617" y="77"/>
                  </a:cxn>
                  <a:cxn ang="0">
                    <a:pos x="577" y="77"/>
                  </a:cxn>
                  <a:cxn ang="0">
                    <a:pos x="490" y="58"/>
                  </a:cxn>
                  <a:cxn ang="0">
                    <a:pos x="456" y="31"/>
                  </a:cxn>
                  <a:cxn ang="0">
                    <a:pos x="373" y="28"/>
                  </a:cxn>
                  <a:cxn ang="0">
                    <a:pos x="285" y="25"/>
                  </a:cxn>
                  <a:cxn ang="0">
                    <a:pos x="205" y="15"/>
                  </a:cxn>
                  <a:cxn ang="0">
                    <a:pos x="83" y="15"/>
                  </a:cxn>
                  <a:cxn ang="0">
                    <a:pos x="63" y="39"/>
                  </a:cxn>
                  <a:cxn ang="0">
                    <a:pos x="27" y="69"/>
                  </a:cxn>
                  <a:cxn ang="0">
                    <a:pos x="53" y="92"/>
                  </a:cxn>
                  <a:cxn ang="0">
                    <a:pos x="24" y="129"/>
                  </a:cxn>
                  <a:cxn ang="0">
                    <a:pos x="47" y="141"/>
                  </a:cxn>
                  <a:cxn ang="0">
                    <a:pos x="82" y="133"/>
                  </a:cxn>
                  <a:cxn ang="0">
                    <a:pos x="101" y="148"/>
                  </a:cxn>
                  <a:cxn ang="0">
                    <a:pos x="142" y="141"/>
                  </a:cxn>
                  <a:cxn ang="0">
                    <a:pos x="175" y="145"/>
                  </a:cxn>
                  <a:cxn ang="0">
                    <a:pos x="188" y="178"/>
                  </a:cxn>
                  <a:cxn ang="0">
                    <a:pos x="149" y="207"/>
                  </a:cxn>
                  <a:cxn ang="0">
                    <a:pos x="144" y="274"/>
                  </a:cxn>
                  <a:cxn ang="0">
                    <a:pos x="110" y="319"/>
                  </a:cxn>
                  <a:cxn ang="0">
                    <a:pos x="123" y="351"/>
                  </a:cxn>
                  <a:cxn ang="0">
                    <a:pos x="118" y="393"/>
                  </a:cxn>
                  <a:cxn ang="0">
                    <a:pos x="136" y="426"/>
                  </a:cxn>
                  <a:cxn ang="0">
                    <a:pos x="116" y="444"/>
                  </a:cxn>
                  <a:cxn ang="0">
                    <a:pos x="109" y="473"/>
                  </a:cxn>
                  <a:cxn ang="0">
                    <a:pos x="159" y="506"/>
                  </a:cxn>
                  <a:cxn ang="0">
                    <a:pos x="205" y="564"/>
                  </a:cxn>
                  <a:cxn ang="0">
                    <a:pos x="263" y="534"/>
                  </a:cxn>
                  <a:cxn ang="0">
                    <a:pos x="351" y="521"/>
                  </a:cxn>
                  <a:cxn ang="0">
                    <a:pos x="399" y="517"/>
                  </a:cxn>
                  <a:cxn ang="0">
                    <a:pos x="438" y="466"/>
                  </a:cxn>
                  <a:cxn ang="0">
                    <a:pos x="472" y="442"/>
                  </a:cxn>
                  <a:cxn ang="0">
                    <a:pos x="513" y="394"/>
                  </a:cxn>
                  <a:cxn ang="0">
                    <a:pos x="493" y="328"/>
                  </a:cxn>
                  <a:cxn ang="0">
                    <a:pos x="547" y="255"/>
                  </a:cxn>
                  <a:cxn ang="0">
                    <a:pos x="619" y="203"/>
                  </a:cxn>
                  <a:cxn ang="0">
                    <a:pos x="671" y="178"/>
                  </a:cxn>
                  <a:cxn ang="0">
                    <a:pos x="731" y="134"/>
                  </a:cxn>
                </a:cxnLst>
                <a:rect l="0" t="0" r="r" b="b"/>
                <a:pathLst>
                  <a:path w="732" h="569">
                    <a:moveTo>
                      <a:pt x="108" y="495"/>
                    </a:moveTo>
                    <a:cubicBezTo>
                      <a:pt x="107" y="495"/>
                      <a:pt x="106" y="496"/>
                      <a:pt x="105" y="496"/>
                    </a:cubicBezTo>
                    <a:cubicBezTo>
                      <a:pt x="106" y="496"/>
                      <a:pt x="107" y="495"/>
                      <a:pt x="108" y="495"/>
                    </a:cubicBezTo>
                    <a:moveTo>
                      <a:pt x="98" y="497"/>
                    </a:moveTo>
                    <a:cubicBezTo>
                      <a:pt x="97" y="497"/>
                      <a:pt x="96" y="497"/>
                      <a:pt x="95" y="497"/>
                    </a:cubicBezTo>
                    <a:cubicBezTo>
                      <a:pt x="99" y="497"/>
                      <a:pt x="102" y="497"/>
                      <a:pt x="105" y="496"/>
                    </a:cubicBezTo>
                    <a:cubicBezTo>
                      <a:pt x="105" y="496"/>
                      <a:pt x="105" y="496"/>
                      <a:pt x="105" y="496"/>
                    </a:cubicBezTo>
                    <a:cubicBezTo>
                      <a:pt x="103" y="496"/>
                      <a:pt x="101" y="497"/>
                      <a:pt x="99" y="497"/>
                    </a:cubicBezTo>
                    <a:cubicBezTo>
                      <a:pt x="99" y="497"/>
                      <a:pt x="98" y="497"/>
                      <a:pt x="98" y="497"/>
                    </a:cubicBezTo>
                    <a:moveTo>
                      <a:pt x="59" y="496"/>
                    </a:moveTo>
                    <a:cubicBezTo>
                      <a:pt x="57" y="496"/>
                      <a:pt x="56" y="496"/>
                      <a:pt x="54" y="496"/>
                    </a:cubicBezTo>
                    <a:cubicBezTo>
                      <a:pt x="56" y="496"/>
                      <a:pt x="57" y="496"/>
                      <a:pt x="59" y="496"/>
                    </a:cubicBezTo>
                    <a:cubicBezTo>
                      <a:pt x="60" y="496"/>
                      <a:pt x="60" y="496"/>
                      <a:pt x="61" y="496"/>
                    </a:cubicBezTo>
                    <a:cubicBezTo>
                      <a:pt x="60" y="496"/>
                      <a:pt x="60" y="496"/>
                      <a:pt x="59" y="496"/>
                    </a:cubicBezTo>
                    <a:moveTo>
                      <a:pt x="34" y="471"/>
                    </a:moveTo>
                    <a:cubicBezTo>
                      <a:pt x="34" y="470"/>
                      <a:pt x="34" y="470"/>
                      <a:pt x="34" y="469"/>
                    </a:cubicBezTo>
                    <a:cubicBezTo>
                      <a:pt x="34" y="470"/>
                      <a:pt x="34" y="470"/>
                      <a:pt x="34" y="471"/>
                    </a:cubicBezTo>
                    <a:moveTo>
                      <a:pt x="34" y="472"/>
                    </a:moveTo>
                    <a:cubicBezTo>
                      <a:pt x="34" y="472"/>
                      <a:pt x="34" y="471"/>
                      <a:pt x="34" y="471"/>
                    </a:cubicBezTo>
                    <a:cubicBezTo>
                      <a:pt x="34" y="471"/>
                      <a:pt x="34" y="472"/>
                      <a:pt x="34" y="472"/>
                    </a:cubicBezTo>
                    <a:moveTo>
                      <a:pt x="34" y="473"/>
                    </a:moveTo>
                    <a:cubicBezTo>
                      <a:pt x="34" y="473"/>
                      <a:pt x="34" y="474"/>
                      <a:pt x="34" y="474"/>
                    </a:cubicBezTo>
                    <a:cubicBezTo>
                      <a:pt x="34" y="474"/>
                      <a:pt x="34" y="473"/>
                      <a:pt x="34" y="473"/>
                    </a:cubicBezTo>
                    <a:moveTo>
                      <a:pt x="34" y="466"/>
                    </a:moveTo>
                    <a:cubicBezTo>
                      <a:pt x="34" y="467"/>
                      <a:pt x="34" y="467"/>
                      <a:pt x="34" y="467"/>
                    </a:cubicBezTo>
                    <a:cubicBezTo>
                      <a:pt x="34" y="467"/>
                      <a:pt x="34" y="467"/>
                      <a:pt x="34" y="466"/>
                    </a:cubicBezTo>
                    <a:moveTo>
                      <a:pt x="34" y="476"/>
                    </a:moveTo>
                    <a:cubicBezTo>
                      <a:pt x="34" y="476"/>
                      <a:pt x="34" y="475"/>
                      <a:pt x="34" y="475"/>
                    </a:cubicBezTo>
                    <a:cubicBezTo>
                      <a:pt x="34" y="475"/>
                      <a:pt x="34" y="476"/>
                      <a:pt x="34" y="476"/>
                    </a:cubicBezTo>
                    <a:moveTo>
                      <a:pt x="33" y="479"/>
                    </a:moveTo>
                    <a:cubicBezTo>
                      <a:pt x="33" y="478"/>
                      <a:pt x="34" y="477"/>
                      <a:pt x="34" y="476"/>
                    </a:cubicBezTo>
                    <a:cubicBezTo>
                      <a:pt x="34" y="477"/>
                      <a:pt x="33" y="478"/>
                      <a:pt x="33" y="479"/>
                    </a:cubicBezTo>
                    <a:moveTo>
                      <a:pt x="30" y="485"/>
                    </a:moveTo>
                    <a:cubicBezTo>
                      <a:pt x="31" y="484"/>
                      <a:pt x="31" y="484"/>
                      <a:pt x="31" y="483"/>
                    </a:cubicBezTo>
                    <a:cubicBezTo>
                      <a:pt x="31" y="484"/>
                      <a:pt x="31" y="484"/>
                      <a:pt x="30" y="485"/>
                    </a:cubicBezTo>
                    <a:moveTo>
                      <a:pt x="32" y="481"/>
                    </a:moveTo>
                    <a:cubicBezTo>
                      <a:pt x="32" y="481"/>
                      <a:pt x="32" y="481"/>
                      <a:pt x="32" y="481"/>
                    </a:cubicBezTo>
                    <a:cubicBezTo>
                      <a:pt x="32" y="481"/>
                      <a:pt x="32" y="481"/>
                      <a:pt x="32" y="481"/>
                    </a:cubicBezTo>
                    <a:moveTo>
                      <a:pt x="34" y="465"/>
                    </a:moveTo>
                    <a:cubicBezTo>
                      <a:pt x="34" y="465"/>
                      <a:pt x="35" y="465"/>
                      <a:pt x="35" y="465"/>
                    </a:cubicBezTo>
                    <a:cubicBezTo>
                      <a:pt x="35" y="465"/>
                      <a:pt x="34" y="465"/>
                      <a:pt x="34" y="465"/>
                    </a:cubicBezTo>
                    <a:moveTo>
                      <a:pt x="35" y="463"/>
                    </a:moveTo>
                    <a:cubicBezTo>
                      <a:pt x="35" y="462"/>
                      <a:pt x="36" y="461"/>
                      <a:pt x="36" y="461"/>
                    </a:cubicBezTo>
                    <a:cubicBezTo>
                      <a:pt x="36" y="461"/>
                      <a:pt x="35" y="462"/>
                      <a:pt x="35" y="463"/>
                    </a:cubicBezTo>
                    <a:moveTo>
                      <a:pt x="37" y="460"/>
                    </a:moveTo>
                    <a:cubicBezTo>
                      <a:pt x="37" y="459"/>
                      <a:pt x="37" y="459"/>
                      <a:pt x="37" y="458"/>
                    </a:cubicBezTo>
                    <a:cubicBezTo>
                      <a:pt x="37" y="459"/>
                      <a:pt x="37" y="459"/>
                      <a:pt x="37" y="460"/>
                    </a:cubicBezTo>
                    <a:moveTo>
                      <a:pt x="37" y="282"/>
                    </a:moveTo>
                    <a:cubicBezTo>
                      <a:pt x="38" y="282"/>
                      <a:pt x="38" y="282"/>
                      <a:pt x="38" y="282"/>
                    </a:cubicBezTo>
                    <a:cubicBezTo>
                      <a:pt x="38" y="282"/>
                      <a:pt x="38" y="282"/>
                      <a:pt x="37" y="282"/>
                    </a:cubicBezTo>
                    <a:moveTo>
                      <a:pt x="38" y="281"/>
                    </a:moveTo>
                    <a:cubicBezTo>
                      <a:pt x="38" y="281"/>
                      <a:pt x="38" y="281"/>
                      <a:pt x="38" y="281"/>
                    </a:cubicBezTo>
                    <a:cubicBezTo>
                      <a:pt x="38" y="281"/>
                      <a:pt x="38" y="281"/>
                      <a:pt x="38" y="281"/>
                    </a:cubicBezTo>
                    <a:moveTo>
                      <a:pt x="38" y="275"/>
                    </a:moveTo>
                    <a:cubicBezTo>
                      <a:pt x="38" y="274"/>
                      <a:pt x="38" y="274"/>
                      <a:pt x="37" y="273"/>
                    </a:cubicBezTo>
                    <a:cubicBezTo>
                      <a:pt x="38" y="274"/>
                      <a:pt x="38" y="275"/>
                      <a:pt x="38" y="276"/>
                    </a:cubicBezTo>
                    <a:cubicBezTo>
                      <a:pt x="38" y="276"/>
                      <a:pt x="38" y="275"/>
                      <a:pt x="38" y="275"/>
                    </a:cubicBezTo>
                    <a:moveTo>
                      <a:pt x="38" y="278"/>
                    </a:moveTo>
                    <a:cubicBezTo>
                      <a:pt x="39" y="278"/>
                      <a:pt x="39" y="279"/>
                      <a:pt x="38" y="279"/>
                    </a:cubicBezTo>
                    <a:cubicBezTo>
                      <a:pt x="39" y="279"/>
                      <a:pt x="39" y="278"/>
                      <a:pt x="38" y="278"/>
                    </a:cubicBezTo>
                    <a:moveTo>
                      <a:pt x="38" y="278"/>
                    </a:moveTo>
                    <a:cubicBezTo>
                      <a:pt x="38" y="277"/>
                      <a:pt x="38" y="277"/>
                      <a:pt x="38" y="277"/>
                    </a:cubicBezTo>
                    <a:cubicBezTo>
                      <a:pt x="38" y="277"/>
                      <a:pt x="38" y="277"/>
                      <a:pt x="38" y="278"/>
                    </a:cubicBezTo>
                    <a:moveTo>
                      <a:pt x="38" y="457"/>
                    </a:moveTo>
                    <a:cubicBezTo>
                      <a:pt x="38" y="456"/>
                      <a:pt x="38" y="456"/>
                      <a:pt x="38" y="456"/>
                    </a:cubicBezTo>
                    <a:cubicBezTo>
                      <a:pt x="38" y="456"/>
                      <a:pt x="38" y="456"/>
                      <a:pt x="38" y="457"/>
                    </a:cubicBezTo>
                    <a:moveTo>
                      <a:pt x="30" y="485"/>
                    </a:moveTo>
                    <a:cubicBezTo>
                      <a:pt x="30" y="486"/>
                      <a:pt x="29" y="486"/>
                      <a:pt x="29" y="487"/>
                    </a:cubicBezTo>
                    <a:cubicBezTo>
                      <a:pt x="29" y="486"/>
                      <a:pt x="30" y="486"/>
                      <a:pt x="30" y="485"/>
                    </a:cubicBezTo>
                    <a:moveTo>
                      <a:pt x="26" y="306"/>
                    </a:moveTo>
                    <a:cubicBezTo>
                      <a:pt x="26" y="307"/>
                      <a:pt x="26" y="308"/>
                      <a:pt x="26" y="308"/>
                    </a:cubicBezTo>
                    <a:cubicBezTo>
                      <a:pt x="26" y="308"/>
                      <a:pt x="26" y="307"/>
                      <a:pt x="26" y="306"/>
                    </a:cubicBezTo>
                    <a:moveTo>
                      <a:pt x="26" y="303"/>
                    </a:moveTo>
                    <a:cubicBezTo>
                      <a:pt x="26" y="304"/>
                      <a:pt x="26" y="305"/>
                      <a:pt x="26" y="306"/>
                    </a:cubicBezTo>
                    <a:cubicBezTo>
                      <a:pt x="26" y="305"/>
                      <a:pt x="26" y="304"/>
                      <a:pt x="26" y="303"/>
                    </a:cubicBezTo>
                    <a:moveTo>
                      <a:pt x="36" y="284"/>
                    </a:moveTo>
                    <a:cubicBezTo>
                      <a:pt x="36" y="284"/>
                      <a:pt x="36" y="284"/>
                      <a:pt x="35" y="284"/>
                    </a:cubicBezTo>
                    <a:cubicBezTo>
                      <a:pt x="36" y="284"/>
                      <a:pt x="36" y="284"/>
                      <a:pt x="36" y="284"/>
                    </a:cubicBezTo>
                    <a:moveTo>
                      <a:pt x="35" y="285"/>
                    </a:moveTo>
                    <a:cubicBezTo>
                      <a:pt x="35" y="285"/>
                      <a:pt x="34" y="285"/>
                      <a:pt x="34" y="285"/>
                    </a:cubicBezTo>
                    <a:cubicBezTo>
                      <a:pt x="34" y="285"/>
                      <a:pt x="35" y="285"/>
                      <a:pt x="35" y="285"/>
                    </a:cubicBezTo>
                    <a:moveTo>
                      <a:pt x="33" y="286"/>
                    </a:moveTo>
                    <a:cubicBezTo>
                      <a:pt x="33" y="286"/>
                      <a:pt x="34" y="286"/>
                      <a:pt x="34" y="286"/>
                    </a:cubicBezTo>
                    <a:cubicBezTo>
                      <a:pt x="34" y="286"/>
                      <a:pt x="33" y="286"/>
                      <a:pt x="33" y="286"/>
                    </a:cubicBezTo>
                    <a:moveTo>
                      <a:pt x="37" y="282"/>
                    </a:moveTo>
                    <a:cubicBezTo>
                      <a:pt x="37" y="282"/>
                      <a:pt x="37" y="283"/>
                      <a:pt x="37" y="283"/>
                    </a:cubicBezTo>
                    <a:cubicBezTo>
                      <a:pt x="37" y="283"/>
                      <a:pt x="37" y="282"/>
                      <a:pt x="37" y="282"/>
                    </a:cubicBezTo>
                    <a:moveTo>
                      <a:pt x="40" y="258"/>
                    </a:moveTo>
                    <a:cubicBezTo>
                      <a:pt x="40" y="259"/>
                      <a:pt x="39" y="260"/>
                      <a:pt x="39" y="261"/>
                    </a:cubicBezTo>
                    <a:cubicBezTo>
                      <a:pt x="39" y="260"/>
                      <a:pt x="40" y="259"/>
                      <a:pt x="40" y="258"/>
                    </a:cubicBezTo>
                    <a:moveTo>
                      <a:pt x="41" y="153"/>
                    </a:moveTo>
                    <a:cubicBezTo>
                      <a:pt x="42" y="153"/>
                      <a:pt x="42" y="152"/>
                      <a:pt x="42" y="151"/>
                    </a:cubicBezTo>
                    <a:cubicBezTo>
                      <a:pt x="42" y="151"/>
                      <a:pt x="42" y="151"/>
                      <a:pt x="42" y="151"/>
                    </a:cubicBezTo>
                    <a:cubicBezTo>
                      <a:pt x="42" y="152"/>
                      <a:pt x="42" y="153"/>
                      <a:pt x="41" y="153"/>
                    </a:cubicBezTo>
                    <a:moveTo>
                      <a:pt x="45" y="247"/>
                    </a:moveTo>
                    <a:cubicBezTo>
                      <a:pt x="45" y="247"/>
                      <a:pt x="45" y="247"/>
                      <a:pt x="45" y="246"/>
                    </a:cubicBezTo>
                    <a:cubicBezTo>
                      <a:pt x="45" y="247"/>
                      <a:pt x="45" y="247"/>
                      <a:pt x="45" y="247"/>
                    </a:cubicBezTo>
                    <a:moveTo>
                      <a:pt x="46" y="245"/>
                    </a:moveTo>
                    <a:cubicBezTo>
                      <a:pt x="46" y="245"/>
                      <a:pt x="46" y="244"/>
                      <a:pt x="46" y="244"/>
                    </a:cubicBezTo>
                    <a:cubicBezTo>
                      <a:pt x="46" y="244"/>
                      <a:pt x="46" y="245"/>
                      <a:pt x="46" y="245"/>
                    </a:cubicBezTo>
                    <a:moveTo>
                      <a:pt x="46" y="243"/>
                    </a:moveTo>
                    <a:cubicBezTo>
                      <a:pt x="46" y="243"/>
                      <a:pt x="46" y="242"/>
                      <a:pt x="46" y="242"/>
                    </a:cubicBezTo>
                    <a:cubicBezTo>
                      <a:pt x="46" y="242"/>
                      <a:pt x="46" y="243"/>
                      <a:pt x="46" y="243"/>
                    </a:cubicBezTo>
                    <a:moveTo>
                      <a:pt x="48" y="495"/>
                    </a:moveTo>
                    <a:cubicBezTo>
                      <a:pt x="47" y="495"/>
                      <a:pt x="46" y="495"/>
                      <a:pt x="45" y="495"/>
                    </a:cubicBezTo>
                    <a:cubicBezTo>
                      <a:pt x="46" y="495"/>
                      <a:pt x="47" y="495"/>
                      <a:pt x="48" y="495"/>
                    </a:cubicBezTo>
                    <a:moveTo>
                      <a:pt x="43" y="496"/>
                    </a:moveTo>
                    <a:cubicBezTo>
                      <a:pt x="42" y="496"/>
                      <a:pt x="41" y="496"/>
                      <a:pt x="41" y="496"/>
                    </a:cubicBezTo>
                    <a:cubicBezTo>
                      <a:pt x="41" y="496"/>
                      <a:pt x="42" y="496"/>
                      <a:pt x="43" y="496"/>
                    </a:cubicBezTo>
                    <a:moveTo>
                      <a:pt x="52" y="496"/>
                    </a:moveTo>
                    <a:cubicBezTo>
                      <a:pt x="51" y="496"/>
                      <a:pt x="51" y="496"/>
                      <a:pt x="50" y="495"/>
                    </a:cubicBezTo>
                    <a:cubicBezTo>
                      <a:pt x="51" y="496"/>
                      <a:pt x="51" y="496"/>
                      <a:pt x="52" y="496"/>
                    </a:cubicBezTo>
                    <a:moveTo>
                      <a:pt x="50" y="495"/>
                    </a:moveTo>
                    <a:cubicBezTo>
                      <a:pt x="49" y="495"/>
                      <a:pt x="48" y="495"/>
                      <a:pt x="48" y="495"/>
                    </a:cubicBezTo>
                    <a:cubicBezTo>
                      <a:pt x="48" y="495"/>
                      <a:pt x="49" y="495"/>
                      <a:pt x="50" y="495"/>
                    </a:cubicBezTo>
                    <a:moveTo>
                      <a:pt x="45" y="495"/>
                    </a:moveTo>
                    <a:cubicBezTo>
                      <a:pt x="44" y="495"/>
                      <a:pt x="44" y="495"/>
                      <a:pt x="43" y="495"/>
                    </a:cubicBezTo>
                    <a:cubicBezTo>
                      <a:pt x="44" y="495"/>
                      <a:pt x="44" y="495"/>
                      <a:pt x="45" y="495"/>
                    </a:cubicBezTo>
                    <a:moveTo>
                      <a:pt x="0" y="373"/>
                    </a:moveTo>
                    <a:cubicBezTo>
                      <a:pt x="0" y="373"/>
                      <a:pt x="0" y="373"/>
                      <a:pt x="0" y="373"/>
                    </a:cubicBezTo>
                    <a:cubicBezTo>
                      <a:pt x="0" y="373"/>
                      <a:pt x="0" y="373"/>
                      <a:pt x="0" y="373"/>
                    </a:cubicBezTo>
                    <a:moveTo>
                      <a:pt x="0" y="372"/>
                    </a:moveTo>
                    <a:cubicBezTo>
                      <a:pt x="0" y="372"/>
                      <a:pt x="0" y="372"/>
                      <a:pt x="0" y="373"/>
                    </a:cubicBezTo>
                    <a:cubicBezTo>
                      <a:pt x="0" y="372"/>
                      <a:pt x="0" y="372"/>
                      <a:pt x="0" y="372"/>
                    </a:cubicBezTo>
                    <a:moveTo>
                      <a:pt x="1" y="376"/>
                    </a:moveTo>
                    <a:cubicBezTo>
                      <a:pt x="1" y="375"/>
                      <a:pt x="0" y="375"/>
                      <a:pt x="0" y="375"/>
                    </a:cubicBezTo>
                    <a:cubicBezTo>
                      <a:pt x="0" y="375"/>
                      <a:pt x="1" y="375"/>
                      <a:pt x="1" y="376"/>
                    </a:cubicBezTo>
                    <a:moveTo>
                      <a:pt x="0" y="375"/>
                    </a:moveTo>
                    <a:cubicBezTo>
                      <a:pt x="0" y="375"/>
                      <a:pt x="0" y="375"/>
                      <a:pt x="0" y="374"/>
                    </a:cubicBezTo>
                    <a:cubicBezTo>
                      <a:pt x="0" y="375"/>
                      <a:pt x="0" y="375"/>
                      <a:pt x="0" y="375"/>
                    </a:cubicBezTo>
                    <a:moveTo>
                      <a:pt x="0" y="374"/>
                    </a:moveTo>
                    <a:cubicBezTo>
                      <a:pt x="0" y="374"/>
                      <a:pt x="0" y="374"/>
                      <a:pt x="0" y="374"/>
                    </a:cubicBezTo>
                    <a:cubicBezTo>
                      <a:pt x="0" y="374"/>
                      <a:pt x="0" y="374"/>
                      <a:pt x="0" y="374"/>
                    </a:cubicBezTo>
                    <a:moveTo>
                      <a:pt x="1" y="359"/>
                    </a:moveTo>
                    <a:cubicBezTo>
                      <a:pt x="1" y="359"/>
                      <a:pt x="1" y="360"/>
                      <a:pt x="1" y="360"/>
                    </a:cubicBezTo>
                    <a:cubicBezTo>
                      <a:pt x="1" y="360"/>
                      <a:pt x="1" y="359"/>
                      <a:pt x="1" y="359"/>
                    </a:cubicBezTo>
                    <a:moveTo>
                      <a:pt x="0" y="362"/>
                    </a:moveTo>
                    <a:cubicBezTo>
                      <a:pt x="0" y="363"/>
                      <a:pt x="0" y="363"/>
                      <a:pt x="0" y="363"/>
                    </a:cubicBezTo>
                    <a:cubicBezTo>
                      <a:pt x="0" y="363"/>
                      <a:pt x="0" y="363"/>
                      <a:pt x="0" y="362"/>
                    </a:cubicBezTo>
                    <a:moveTo>
                      <a:pt x="447" y="26"/>
                    </a:moveTo>
                    <a:cubicBezTo>
                      <a:pt x="447" y="26"/>
                      <a:pt x="448" y="26"/>
                      <a:pt x="448" y="26"/>
                    </a:cubicBezTo>
                    <a:cubicBezTo>
                      <a:pt x="448" y="26"/>
                      <a:pt x="448" y="26"/>
                      <a:pt x="448" y="26"/>
                    </a:cubicBezTo>
                    <a:cubicBezTo>
                      <a:pt x="451" y="24"/>
                      <a:pt x="447" y="26"/>
                      <a:pt x="447" y="26"/>
                    </a:cubicBezTo>
                    <a:moveTo>
                      <a:pt x="499" y="314"/>
                    </a:moveTo>
                    <a:cubicBezTo>
                      <a:pt x="499" y="313"/>
                      <a:pt x="500" y="313"/>
                      <a:pt x="500" y="313"/>
                    </a:cubicBezTo>
                    <a:cubicBezTo>
                      <a:pt x="500" y="313"/>
                      <a:pt x="499" y="313"/>
                      <a:pt x="499" y="314"/>
                    </a:cubicBezTo>
                    <a:moveTo>
                      <a:pt x="731" y="104"/>
                    </a:moveTo>
                    <a:cubicBezTo>
                      <a:pt x="732" y="100"/>
                      <a:pt x="727" y="98"/>
                      <a:pt x="724" y="97"/>
                    </a:cubicBezTo>
                    <a:cubicBezTo>
                      <a:pt x="719" y="96"/>
                      <a:pt x="714" y="96"/>
                      <a:pt x="709" y="96"/>
                    </a:cubicBezTo>
                    <a:cubicBezTo>
                      <a:pt x="705" y="96"/>
                      <a:pt x="703" y="97"/>
                      <a:pt x="699" y="98"/>
                    </a:cubicBezTo>
                    <a:cubicBezTo>
                      <a:pt x="695" y="100"/>
                      <a:pt x="694" y="103"/>
                      <a:pt x="689" y="102"/>
                    </a:cubicBezTo>
                    <a:cubicBezTo>
                      <a:pt x="684" y="101"/>
                      <a:pt x="677" y="98"/>
                      <a:pt x="672" y="99"/>
                    </a:cubicBezTo>
                    <a:cubicBezTo>
                      <a:pt x="671" y="99"/>
                      <a:pt x="670" y="100"/>
                      <a:pt x="669" y="100"/>
                    </a:cubicBezTo>
                    <a:cubicBezTo>
                      <a:pt x="669" y="101"/>
                      <a:pt x="669" y="101"/>
                      <a:pt x="668" y="102"/>
                    </a:cubicBezTo>
                    <a:cubicBezTo>
                      <a:pt x="668" y="102"/>
                      <a:pt x="667" y="102"/>
                      <a:pt x="667" y="102"/>
                    </a:cubicBezTo>
                    <a:cubicBezTo>
                      <a:pt x="665" y="103"/>
                      <a:pt x="665" y="104"/>
                      <a:pt x="663" y="104"/>
                    </a:cubicBezTo>
                    <a:cubicBezTo>
                      <a:pt x="661" y="105"/>
                      <a:pt x="661" y="104"/>
                      <a:pt x="659" y="103"/>
                    </a:cubicBezTo>
                    <a:cubicBezTo>
                      <a:pt x="659" y="103"/>
                      <a:pt x="659" y="103"/>
                      <a:pt x="659" y="103"/>
                    </a:cubicBezTo>
                    <a:cubicBezTo>
                      <a:pt x="658" y="104"/>
                      <a:pt x="656" y="104"/>
                      <a:pt x="655" y="103"/>
                    </a:cubicBezTo>
                    <a:cubicBezTo>
                      <a:pt x="652" y="103"/>
                      <a:pt x="650" y="102"/>
                      <a:pt x="648" y="101"/>
                    </a:cubicBezTo>
                    <a:cubicBezTo>
                      <a:pt x="647" y="100"/>
                      <a:pt x="646" y="99"/>
                      <a:pt x="645" y="99"/>
                    </a:cubicBezTo>
                    <a:cubicBezTo>
                      <a:pt x="644" y="99"/>
                      <a:pt x="643" y="98"/>
                      <a:pt x="641" y="98"/>
                    </a:cubicBezTo>
                    <a:cubicBezTo>
                      <a:pt x="640" y="98"/>
                      <a:pt x="639" y="98"/>
                      <a:pt x="638" y="98"/>
                    </a:cubicBezTo>
                    <a:cubicBezTo>
                      <a:pt x="637" y="98"/>
                      <a:pt x="636" y="98"/>
                      <a:pt x="636" y="98"/>
                    </a:cubicBezTo>
                    <a:cubicBezTo>
                      <a:pt x="635" y="99"/>
                      <a:pt x="635" y="99"/>
                      <a:pt x="634" y="99"/>
                    </a:cubicBezTo>
                    <a:cubicBezTo>
                      <a:pt x="633" y="100"/>
                      <a:pt x="632" y="100"/>
                      <a:pt x="631" y="99"/>
                    </a:cubicBezTo>
                    <a:cubicBezTo>
                      <a:pt x="629" y="99"/>
                      <a:pt x="627" y="99"/>
                      <a:pt x="625" y="99"/>
                    </a:cubicBezTo>
                    <a:cubicBezTo>
                      <a:pt x="623" y="98"/>
                      <a:pt x="622" y="97"/>
                      <a:pt x="621" y="96"/>
                    </a:cubicBezTo>
                    <a:cubicBezTo>
                      <a:pt x="619" y="94"/>
                      <a:pt x="617" y="93"/>
                      <a:pt x="617" y="91"/>
                    </a:cubicBezTo>
                    <a:cubicBezTo>
                      <a:pt x="616" y="90"/>
                      <a:pt x="616" y="88"/>
                      <a:pt x="617" y="87"/>
                    </a:cubicBezTo>
                    <a:cubicBezTo>
                      <a:pt x="618" y="85"/>
                      <a:pt x="621" y="85"/>
                      <a:pt x="623" y="84"/>
                    </a:cubicBezTo>
                    <a:cubicBezTo>
                      <a:pt x="623" y="83"/>
                      <a:pt x="623" y="83"/>
                      <a:pt x="623" y="83"/>
                    </a:cubicBezTo>
                    <a:cubicBezTo>
                      <a:pt x="624" y="83"/>
                      <a:pt x="624" y="83"/>
                      <a:pt x="624" y="83"/>
                    </a:cubicBezTo>
                    <a:cubicBezTo>
                      <a:pt x="624" y="83"/>
                      <a:pt x="624" y="83"/>
                      <a:pt x="624" y="83"/>
                    </a:cubicBezTo>
                    <a:cubicBezTo>
                      <a:pt x="624" y="83"/>
                      <a:pt x="624" y="83"/>
                      <a:pt x="624" y="83"/>
                    </a:cubicBezTo>
                    <a:cubicBezTo>
                      <a:pt x="623" y="80"/>
                      <a:pt x="620" y="78"/>
                      <a:pt x="617" y="77"/>
                    </a:cubicBezTo>
                    <a:cubicBezTo>
                      <a:pt x="615" y="76"/>
                      <a:pt x="614" y="75"/>
                      <a:pt x="611" y="74"/>
                    </a:cubicBezTo>
                    <a:cubicBezTo>
                      <a:pt x="609" y="73"/>
                      <a:pt x="607" y="73"/>
                      <a:pt x="605" y="73"/>
                    </a:cubicBezTo>
                    <a:cubicBezTo>
                      <a:pt x="600" y="72"/>
                      <a:pt x="596" y="69"/>
                      <a:pt x="592" y="68"/>
                    </a:cubicBezTo>
                    <a:cubicBezTo>
                      <a:pt x="589" y="68"/>
                      <a:pt x="587" y="66"/>
                      <a:pt x="584" y="65"/>
                    </a:cubicBezTo>
                    <a:cubicBezTo>
                      <a:pt x="584" y="67"/>
                      <a:pt x="584" y="69"/>
                      <a:pt x="583" y="70"/>
                    </a:cubicBezTo>
                    <a:cubicBezTo>
                      <a:pt x="583" y="71"/>
                      <a:pt x="582" y="71"/>
                      <a:pt x="582" y="73"/>
                    </a:cubicBezTo>
                    <a:cubicBezTo>
                      <a:pt x="581" y="74"/>
                      <a:pt x="582" y="75"/>
                      <a:pt x="581" y="76"/>
                    </a:cubicBezTo>
                    <a:cubicBezTo>
                      <a:pt x="580" y="78"/>
                      <a:pt x="579" y="77"/>
                      <a:pt x="577" y="77"/>
                    </a:cubicBezTo>
                    <a:cubicBezTo>
                      <a:pt x="569" y="78"/>
                      <a:pt x="560" y="77"/>
                      <a:pt x="552" y="77"/>
                    </a:cubicBezTo>
                    <a:cubicBezTo>
                      <a:pt x="549" y="77"/>
                      <a:pt x="547" y="78"/>
                      <a:pt x="545" y="78"/>
                    </a:cubicBezTo>
                    <a:cubicBezTo>
                      <a:pt x="543" y="78"/>
                      <a:pt x="541" y="77"/>
                      <a:pt x="540" y="76"/>
                    </a:cubicBezTo>
                    <a:cubicBezTo>
                      <a:pt x="538" y="75"/>
                      <a:pt x="536" y="74"/>
                      <a:pt x="534" y="73"/>
                    </a:cubicBezTo>
                    <a:cubicBezTo>
                      <a:pt x="534" y="72"/>
                      <a:pt x="532" y="70"/>
                      <a:pt x="531" y="70"/>
                    </a:cubicBezTo>
                    <a:cubicBezTo>
                      <a:pt x="529" y="69"/>
                      <a:pt x="525" y="71"/>
                      <a:pt x="522" y="70"/>
                    </a:cubicBezTo>
                    <a:cubicBezTo>
                      <a:pt x="517" y="70"/>
                      <a:pt x="512" y="68"/>
                      <a:pt x="506" y="67"/>
                    </a:cubicBezTo>
                    <a:cubicBezTo>
                      <a:pt x="504" y="58"/>
                      <a:pt x="497" y="61"/>
                      <a:pt x="490" y="58"/>
                    </a:cubicBezTo>
                    <a:cubicBezTo>
                      <a:pt x="488" y="57"/>
                      <a:pt x="486" y="56"/>
                      <a:pt x="484" y="54"/>
                    </a:cubicBezTo>
                    <a:cubicBezTo>
                      <a:pt x="481" y="52"/>
                      <a:pt x="475" y="50"/>
                      <a:pt x="475" y="46"/>
                    </a:cubicBezTo>
                    <a:cubicBezTo>
                      <a:pt x="472" y="45"/>
                      <a:pt x="471" y="48"/>
                      <a:pt x="469" y="49"/>
                    </a:cubicBezTo>
                    <a:cubicBezTo>
                      <a:pt x="467" y="51"/>
                      <a:pt x="465" y="50"/>
                      <a:pt x="464" y="46"/>
                    </a:cubicBezTo>
                    <a:cubicBezTo>
                      <a:pt x="463" y="42"/>
                      <a:pt x="469" y="39"/>
                      <a:pt x="466" y="35"/>
                    </a:cubicBezTo>
                    <a:cubicBezTo>
                      <a:pt x="465" y="33"/>
                      <a:pt x="463" y="34"/>
                      <a:pt x="462" y="33"/>
                    </a:cubicBezTo>
                    <a:cubicBezTo>
                      <a:pt x="461" y="33"/>
                      <a:pt x="460" y="33"/>
                      <a:pt x="459" y="33"/>
                    </a:cubicBezTo>
                    <a:cubicBezTo>
                      <a:pt x="458" y="32"/>
                      <a:pt x="457" y="32"/>
                      <a:pt x="456" y="31"/>
                    </a:cubicBezTo>
                    <a:cubicBezTo>
                      <a:pt x="456" y="31"/>
                      <a:pt x="455" y="30"/>
                      <a:pt x="453" y="30"/>
                    </a:cubicBezTo>
                    <a:cubicBezTo>
                      <a:pt x="453" y="30"/>
                      <a:pt x="452" y="29"/>
                      <a:pt x="451" y="28"/>
                    </a:cubicBezTo>
                    <a:cubicBezTo>
                      <a:pt x="450" y="27"/>
                      <a:pt x="449" y="27"/>
                      <a:pt x="448" y="26"/>
                    </a:cubicBezTo>
                    <a:cubicBezTo>
                      <a:pt x="444" y="29"/>
                      <a:pt x="439" y="31"/>
                      <a:pt x="434" y="31"/>
                    </a:cubicBezTo>
                    <a:cubicBezTo>
                      <a:pt x="429" y="31"/>
                      <a:pt x="424" y="32"/>
                      <a:pt x="419" y="31"/>
                    </a:cubicBezTo>
                    <a:cubicBezTo>
                      <a:pt x="413" y="31"/>
                      <a:pt x="406" y="29"/>
                      <a:pt x="400" y="28"/>
                    </a:cubicBezTo>
                    <a:cubicBezTo>
                      <a:pt x="393" y="28"/>
                      <a:pt x="386" y="27"/>
                      <a:pt x="379" y="27"/>
                    </a:cubicBezTo>
                    <a:cubicBezTo>
                      <a:pt x="377" y="27"/>
                      <a:pt x="375" y="27"/>
                      <a:pt x="373" y="28"/>
                    </a:cubicBezTo>
                    <a:cubicBezTo>
                      <a:pt x="372" y="29"/>
                      <a:pt x="372" y="31"/>
                      <a:pt x="371" y="31"/>
                    </a:cubicBezTo>
                    <a:cubicBezTo>
                      <a:pt x="369" y="32"/>
                      <a:pt x="367" y="29"/>
                      <a:pt x="365" y="28"/>
                    </a:cubicBezTo>
                    <a:cubicBezTo>
                      <a:pt x="363" y="27"/>
                      <a:pt x="362" y="27"/>
                      <a:pt x="360" y="26"/>
                    </a:cubicBezTo>
                    <a:cubicBezTo>
                      <a:pt x="355" y="24"/>
                      <a:pt x="350" y="24"/>
                      <a:pt x="346" y="24"/>
                    </a:cubicBezTo>
                    <a:cubicBezTo>
                      <a:pt x="340" y="23"/>
                      <a:pt x="334" y="24"/>
                      <a:pt x="328" y="24"/>
                    </a:cubicBezTo>
                    <a:cubicBezTo>
                      <a:pt x="319" y="24"/>
                      <a:pt x="311" y="23"/>
                      <a:pt x="303" y="26"/>
                    </a:cubicBezTo>
                    <a:cubicBezTo>
                      <a:pt x="299" y="28"/>
                      <a:pt x="296" y="27"/>
                      <a:pt x="292" y="27"/>
                    </a:cubicBezTo>
                    <a:cubicBezTo>
                      <a:pt x="288" y="27"/>
                      <a:pt x="288" y="27"/>
                      <a:pt x="285" y="25"/>
                    </a:cubicBezTo>
                    <a:cubicBezTo>
                      <a:pt x="279" y="23"/>
                      <a:pt x="272" y="23"/>
                      <a:pt x="266" y="22"/>
                    </a:cubicBezTo>
                    <a:cubicBezTo>
                      <a:pt x="263" y="22"/>
                      <a:pt x="259" y="21"/>
                      <a:pt x="256" y="21"/>
                    </a:cubicBezTo>
                    <a:cubicBezTo>
                      <a:pt x="252" y="20"/>
                      <a:pt x="249" y="20"/>
                      <a:pt x="246" y="20"/>
                    </a:cubicBezTo>
                    <a:cubicBezTo>
                      <a:pt x="244" y="19"/>
                      <a:pt x="242" y="18"/>
                      <a:pt x="240" y="18"/>
                    </a:cubicBezTo>
                    <a:cubicBezTo>
                      <a:pt x="236" y="16"/>
                      <a:pt x="231" y="17"/>
                      <a:pt x="227" y="16"/>
                    </a:cubicBezTo>
                    <a:cubicBezTo>
                      <a:pt x="226" y="11"/>
                      <a:pt x="220" y="12"/>
                      <a:pt x="216" y="12"/>
                    </a:cubicBezTo>
                    <a:cubicBezTo>
                      <a:pt x="214" y="13"/>
                      <a:pt x="212" y="14"/>
                      <a:pt x="209" y="15"/>
                    </a:cubicBezTo>
                    <a:cubicBezTo>
                      <a:pt x="208" y="15"/>
                      <a:pt x="207" y="15"/>
                      <a:pt x="205" y="15"/>
                    </a:cubicBezTo>
                    <a:cubicBezTo>
                      <a:pt x="204" y="16"/>
                      <a:pt x="203" y="16"/>
                      <a:pt x="201" y="16"/>
                    </a:cubicBezTo>
                    <a:cubicBezTo>
                      <a:pt x="194" y="18"/>
                      <a:pt x="185" y="17"/>
                      <a:pt x="178" y="17"/>
                    </a:cubicBezTo>
                    <a:cubicBezTo>
                      <a:pt x="157" y="17"/>
                      <a:pt x="157" y="17"/>
                      <a:pt x="157" y="17"/>
                    </a:cubicBezTo>
                    <a:cubicBezTo>
                      <a:pt x="153" y="17"/>
                      <a:pt x="148" y="18"/>
                      <a:pt x="144" y="15"/>
                    </a:cubicBezTo>
                    <a:cubicBezTo>
                      <a:pt x="139" y="13"/>
                      <a:pt x="135" y="10"/>
                      <a:pt x="130" y="8"/>
                    </a:cubicBezTo>
                    <a:cubicBezTo>
                      <a:pt x="125" y="5"/>
                      <a:pt x="121" y="4"/>
                      <a:pt x="116" y="3"/>
                    </a:cubicBezTo>
                    <a:cubicBezTo>
                      <a:pt x="109" y="2"/>
                      <a:pt x="101" y="0"/>
                      <a:pt x="95" y="2"/>
                    </a:cubicBezTo>
                    <a:cubicBezTo>
                      <a:pt x="88" y="4"/>
                      <a:pt x="87" y="10"/>
                      <a:pt x="83" y="15"/>
                    </a:cubicBezTo>
                    <a:cubicBezTo>
                      <a:pt x="82" y="17"/>
                      <a:pt x="80" y="17"/>
                      <a:pt x="80" y="19"/>
                    </a:cubicBezTo>
                    <a:cubicBezTo>
                      <a:pt x="80" y="20"/>
                      <a:pt x="81" y="22"/>
                      <a:pt x="81" y="23"/>
                    </a:cubicBezTo>
                    <a:cubicBezTo>
                      <a:pt x="82" y="25"/>
                      <a:pt x="83" y="31"/>
                      <a:pt x="81" y="33"/>
                    </a:cubicBezTo>
                    <a:cubicBezTo>
                      <a:pt x="80" y="33"/>
                      <a:pt x="77" y="33"/>
                      <a:pt x="76" y="33"/>
                    </a:cubicBezTo>
                    <a:cubicBezTo>
                      <a:pt x="73" y="33"/>
                      <a:pt x="73" y="33"/>
                      <a:pt x="72" y="35"/>
                    </a:cubicBezTo>
                    <a:cubicBezTo>
                      <a:pt x="71" y="36"/>
                      <a:pt x="70" y="37"/>
                      <a:pt x="68" y="38"/>
                    </a:cubicBezTo>
                    <a:cubicBezTo>
                      <a:pt x="67" y="38"/>
                      <a:pt x="66" y="38"/>
                      <a:pt x="65" y="38"/>
                    </a:cubicBezTo>
                    <a:cubicBezTo>
                      <a:pt x="64" y="38"/>
                      <a:pt x="64" y="39"/>
                      <a:pt x="63" y="39"/>
                    </a:cubicBezTo>
                    <a:cubicBezTo>
                      <a:pt x="59" y="41"/>
                      <a:pt x="54" y="39"/>
                      <a:pt x="49" y="39"/>
                    </a:cubicBezTo>
                    <a:cubicBezTo>
                      <a:pt x="47" y="39"/>
                      <a:pt x="45" y="39"/>
                      <a:pt x="43" y="40"/>
                    </a:cubicBezTo>
                    <a:cubicBezTo>
                      <a:pt x="41" y="40"/>
                      <a:pt x="39" y="42"/>
                      <a:pt x="37" y="43"/>
                    </a:cubicBezTo>
                    <a:cubicBezTo>
                      <a:pt x="33" y="45"/>
                      <a:pt x="30" y="48"/>
                      <a:pt x="27" y="51"/>
                    </a:cubicBezTo>
                    <a:cubicBezTo>
                      <a:pt x="26" y="52"/>
                      <a:pt x="24" y="54"/>
                      <a:pt x="24" y="55"/>
                    </a:cubicBezTo>
                    <a:cubicBezTo>
                      <a:pt x="23" y="56"/>
                      <a:pt x="23" y="58"/>
                      <a:pt x="23" y="60"/>
                    </a:cubicBezTo>
                    <a:cubicBezTo>
                      <a:pt x="23" y="62"/>
                      <a:pt x="23" y="64"/>
                      <a:pt x="23" y="66"/>
                    </a:cubicBezTo>
                    <a:cubicBezTo>
                      <a:pt x="24" y="69"/>
                      <a:pt x="24" y="68"/>
                      <a:pt x="27" y="69"/>
                    </a:cubicBezTo>
                    <a:cubicBezTo>
                      <a:pt x="29" y="70"/>
                      <a:pt x="29" y="70"/>
                      <a:pt x="29" y="73"/>
                    </a:cubicBezTo>
                    <a:cubicBezTo>
                      <a:pt x="29" y="74"/>
                      <a:pt x="29" y="75"/>
                      <a:pt x="30" y="77"/>
                    </a:cubicBezTo>
                    <a:cubicBezTo>
                      <a:pt x="30" y="78"/>
                      <a:pt x="31" y="82"/>
                      <a:pt x="32" y="82"/>
                    </a:cubicBezTo>
                    <a:cubicBezTo>
                      <a:pt x="34" y="84"/>
                      <a:pt x="34" y="81"/>
                      <a:pt x="35" y="80"/>
                    </a:cubicBezTo>
                    <a:cubicBezTo>
                      <a:pt x="40" y="86"/>
                      <a:pt x="32" y="89"/>
                      <a:pt x="34" y="96"/>
                    </a:cubicBezTo>
                    <a:cubicBezTo>
                      <a:pt x="35" y="101"/>
                      <a:pt x="42" y="98"/>
                      <a:pt x="45" y="96"/>
                    </a:cubicBezTo>
                    <a:cubicBezTo>
                      <a:pt x="46" y="94"/>
                      <a:pt x="46" y="90"/>
                      <a:pt x="48" y="89"/>
                    </a:cubicBezTo>
                    <a:cubicBezTo>
                      <a:pt x="49" y="89"/>
                      <a:pt x="52" y="90"/>
                      <a:pt x="53" y="92"/>
                    </a:cubicBezTo>
                    <a:cubicBezTo>
                      <a:pt x="53" y="93"/>
                      <a:pt x="52" y="93"/>
                      <a:pt x="51" y="95"/>
                    </a:cubicBezTo>
                    <a:cubicBezTo>
                      <a:pt x="51" y="96"/>
                      <a:pt x="51" y="99"/>
                      <a:pt x="51" y="101"/>
                    </a:cubicBezTo>
                    <a:cubicBezTo>
                      <a:pt x="51" y="105"/>
                      <a:pt x="49" y="108"/>
                      <a:pt x="48" y="112"/>
                    </a:cubicBezTo>
                    <a:cubicBezTo>
                      <a:pt x="48" y="114"/>
                      <a:pt x="48" y="114"/>
                      <a:pt x="47" y="116"/>
                    </a:cubicBezTo>
                    <a:cubicBezTo>
                      <a:pt x="47" y="117"/>
                      <a:pt x="45" y="118"/>
                      <a:pt x="44" y="119"/>
                    </a:cubicBezTo>
                    <a:cubicBezTo>
                      <a:pt x="43" y="121"/>
                      <a:pt x="45" y="124"/>
                      <a:pt x="44" y="126"/>
                    </a:cubicBezTo>
                    <a:cubicBezTo>
                      <a:pt x="40" y="127"/>
                      <a:pt x="36" y="127"/>
                      <a:pt x="32" y="127"/>
                    </a:cubicBezTo>
                    <a:cubicBezTo>
                      <a:pt x="30" y="127"/>
                      <a:pt x="26" y="128"/>
                      <a:pt x="24" y="129"/>
                    </a:cubicBezTo>
                    <a:cubicBezTo>
                      <a:pt x="23" y="129"/>
                      <a:pt x="23" y="129"/>
                      <a:pt x="22" y="130"/>
                    </a:cubicBezTo>
                    <a:cubicBezTo>
                      <a:pt x="22" y="132"/>
                      <a:pt x="25" y="135"/>
                      <a:pt x="26" y="136"/>
                    </a:cubicBezTo>
                    <a:cubicBezTo>
                      <a:pt x="27" y="138"/>
                      <a:pt x="28" y="139"/>
                      <a:pt x="31" y="139"/>
                    </a:cubicBezTo>
                    <a:cubicBezTo>
                      <a:pt x="34" y="140"/>
                      <a:pt x="36" y="140"/>
                      <a:pt x="38" y="141"/>
                    </a:cubicBezTo>
                    <a:cubicBezTo>
                      <a:pt x="41" y="142"/>
                      <a:pt x="42" y="142"/>
                      <a:pt x="42" y="145"/>
                    </a:cubicBezTo>
                    <a:cubicBezTo>
                      <a:pt x="42" y="146"/>
                      <a:pt x="42" y="147"/>
                      <a:pt x="42" y="148"/>
                    </a:cubicBezTo>
                    <a:cubicBezTo>
                      <a:pt x="43" y="148"/>
                      <a:pt x="45" y="146"/>
                      <a:pt x="45" y="146"/>
                    </a:cubicBezTo>
                    <a:cubicBezTo>
                      <a:pt x="46" y="145"/>
                      <a:pt x="46" y="142"/>
                      <a:pt x="47" y="141"/>
                    </a:cubicBezTo>
                    <a:cubicBezTo>
                      <a:pt x="48" y="140"/>
                      <a:pt x="51" y="139"/>
                      <a:pt x="53" y="138"/>
                    </a:cubicBezTo>
                    <a:cubicBezTo>
                      <a:pt x="56" y="137"/>
                      <a:pt x="60" y="135"/>
                      <a:pt x="63" y="133"/>
                    </a:cubicBezTo>
                    <a:cubicBezTo>
                      <a:pt x="66" y="132"/>
                      <a:pt x="69" y="130"/>
                      <a:pt x="73" y="129"/>
                    </a:cubicBezTo>
                    <a:cubicBezTo>
                      <a:pt x="74" y="129"/>
                      <a:pt x="76" y="129"/>
                      <a:pt x="77" y="128"/>
                    </a:cubicBezTo>
                    <a:cubicBezTo>
                      <a:pt x="77" y="128"/>
                      <a:pt x="78" y="126"/>
                      <a:pt x="78" y="125"/>
                    </a:cubicBezTo>
                    <a:cubicBezTo>
                      <a:pt x="79" y="124"/>
                      <a:pt x="80" y="122"/>
                      <a:pt x="82" y="123"/>
                    </a:cubicBezTo>
                    <a:cubicBezTo>
                      <a:pt x="84" y="124"/>
                      <a:pt x="82" y="126"/>
                      <a:pt x="81" y="128"/>
                    </a:cubicBezTo>
                    <a:cubicBezTo>
                      <a:pt x="81" y="129"/>
                      <a:pt x="81" y="132"/>
                      <a:pt x="82" y="133"/>
                    </a:cubicBezTo>
                    <a:cubicBezTo>
                      <a:pt x="83" y="134"/>
                      <a:pt x="85" y="133"/>
                      <a:pt x="86" y="134"/>
                    </a:cubicBezTo>
                    <a:cubicBezTo>
                      <a:pt x="86" y="136"/>
                      <a:pt x="86" y="138"/>
                      <a:pt x="85" y="139"/>
                    </a:cubicBezTo>
                    <a:cubicBezTo>
                      <a:pt x="84" y="141"/>
                      <a:pt x="82" y="141"/>
                      <a:pt x="81" y="143"/>
                    </a:cubicBezTo>
                    <a:cubicBezTo>
                      <a:pt x="81" y="144"/>
                      <a:pt x="82" y="152"/>
                      <a:pt x="84" y="152"/>
                    </a:cubicBezTo>
                    <a:cubicBezTo>
                      <a:pt x="85" y="152"/>
                      <a:pt x="87" y="150"/>
                      <a:pt x="88" y="150"/>
                    </a:cubicBezTo>
                    <a:cubicBezTo>
                      <a:pt x="90" y="149"/>
                      <a:pt x="91" y="150"/>
                      <a:pt x="93" y="148"/>
                    </a:cubicBezTo>
                    <a:cubicBezTo>
                      <a:pt x="94" y="146"/>
                      <a:pt x="94" y="140"/>
                      <a:pt x="98" y="144"/>
                    </a:cubicBezTo>
                    <a:cubicBezTo>
                      <a:pt x="99" y="145"/>
                      <a:pt x="99" y="147"/>
                      <a:pt x="101" y="148"/>
                    </a:cubicBezTo>
                    <a:cubicBezTo>
                      <a:pt x="103" y="149"/>
                      <a:pt x="104" y="147"/>
                      <a:pt x="105" y="146"/>
                    </a:cubicBezTo>
                    <a:cubicBezTo>
                      <a:pt x="107" y="145"/>
                      <a:pt x="110" y="146"/>
                      <a:pt x="112" y="147"/>
                    </a:cubicBezTo>
                    <a:cubicBezTo>
                      <a:pt x="112" y="147"/>
                      <a:pt x="112" y="149"/>
                      <a:pt x="112" y="150"/>
                    </a:cubicBezTo>
                    <a:cubicBezTo>
                      <a:pt x="114" y="151"/>
                      <a:pt x="114" y="149"/>
                      <a:pt x="115" y="149"/>
                    </a:cubicBezTo>
                    <a:cubicBezTo>
                      <a:pt x="117" y="150"/>
                      <a:pt x="119" y="152"/>
                      <a:pt x="122" y="151"/>
                    </a:cubicBezTo>
                    <a:cubicBezTo>
                      <a:pt x="122" y="145"/>
                      <a:pt x="130" y="150"/>
                      <a:pt x="134" y="148"/>
                    </a:cubicBezTo>
                    <a:cubicBezTo>
                      <a:pt x="137" y="147"/>
                      <a:pt x="137" y="146"/>
                      <a:pt x="139" y="144"/>
                    </a:cubicBezTo>
                    <a:cubicBezTo>
                      <a:pt x="140" y="143"/>
                      <a:pt x="141" y="142"/>
                      <a:pt x="142" y="141"/>
                    </a:cubicBezTo>
                    <a:cubicBezTo>
                      <a:pt x="143" y="140"/>
                      <a:pt x="142" y="139"/>
                      <a:pt x="143" y="138"/>
                    </a:cubicBezTo>
                    <a:cubicBezTo>
                      <a:pt x="144" y="138"/>
                      <a:pt x="144" y="139"/>
                      <a:pt x="145" y="139"/>
                    </a:cubicBezTo>
                    <a:cubicBezTo>
                      <a:pt x="145" y="137"/>
                      <a:pt x="153" y="138"/>
                      <a:pt x="155" y="138"/>
                    </a:cubicBezTo>
                    <a:cubicBezTo>
                      <a:pt x="157" y="138"/>
                      <a:pt x="159" y="136"/>
                      <a:pt x="160" y="136"/>
                    </a:cubicBezTo>
                    <a:cubicBezTo>
                      <a:pt x="162" y="136"/>
                      <a:pt x="160" y="137"/>
                      <a:pt x="161" y="139"/>
                    </a:cubicBezTo>
                    <a:cubicBezTo>
                      <a:pt x="163" y="141"/>
                      <a:pt x="167" y="140"/>
                      <a:pt x="169" y="140"/>
                    </a:cubicBezTo>
                    <a:cubicBezTo>
                      <a:pt x="172" y="140"/>
                      <a:pt x="174" y="139"/>
                      <a:pt x="177" y="139"/>
                    </a:cubicBezTo>
                    <a:cubicBezTo>
                      <a:pt x="175" y="145"/>
                      <a:pt x="175" y="145"/>
                      <a:pt x="175" y="145"/>
                    </a:cubicBezTo>
                    <a:cubicBezTo>
                      <a:pt x="176" y="147"/>
                      <a:pt x="173" y="149"/>
                      <a:pt x="172" y="151"/>
                    </a:cubicBezTo>
                    <a:cubicBezTo>
                      <a:pt x="171" y="152"/>
                      <a:pt x="171" y="154"/>
                      <a:pt x="172" y="156"/>
                    </a:cubicBezTo>
                    <a:cubicBezTo>
                      <a:pt x="173" y="157"/>
                      <a:pt x="174" y="160"/>
                      <a:pt x="175" y="160"/>
                    </a:cubicBezTo>
                    <a:cubicBezTo>
                      <a:pt x="177" y="161"/>
                      <a:pt x="176" y="160"/>
                      <a:pt x="177" y="160"/>
                    </a:cubicBezTo>
                    <a:cubicBezTo>
                      <a:pt x="179" y="160"/>
                      <a:pt x="181" y="160"/>
                      <a:pt x="183" y="161"/>
                    </a:cubicBezTo>
                    <a:cubicBezTo>
                      <a:pt x="186" y="162"/>
                      <a:pt x="189" y="164"/>
                      <a:pt x="192" y="165"/>
                    </a:cubicBezTo>
                    <a:cubicBezTo>
                      <a:pt x="194" y="166"/>
                      <a:pt x="195" y="166"/>
                      <a:pt x="194" y="168"/>
                    </a:cubicBezTo>
                    <a:cubicBezTo>
                      <a:pt x="194" y="172"/>
                      <a:pt x="191" y="175"/>
                      <a:pt x="188" y="178"/>
                    </a:cubicBezTo>
                    <a:cubicBezTo>
                      <a:pt x="186" y="180"/>
                      <a:pt x="186" y="182"/>
                      <a:pt x="184" y="184"/>
                    </a:cubicBezTo>
                    <a:cubicBezTo>
                      <a:pt x="183" y="186"/>
                      <a:pt x="182" y="186"/>
                      <a:pt x="180" y="187"/>
                    </a:cubicBezTo>
                    <a:cubicBezTo>
                      <a:pt x="178" y="188"/>
                      <a:pt x="177" y="188"/>
                      <a:pt x="176" y="189"/>
                    </a:cubicBezTo>
                    <a:cubicBezTo>
                      <a:pt x="174" y="191"/>
                      <a:pt x="172" y="192"/>
                      <a:pt x="170" y="194"/>
                    </a:cubicBezTo>
                    <a:cubicBezTo>
                      <a:pt x="169" y="194"/>
                      <a:pt x="168" y="196"/>
                      <a:pt x="166" y="197"/>
                    </a:cubicBezTo>
                    <a:cubicBezTo>
                      <a:pt x="165" y="198"/>
                      <a:pt x="164" y="200"/>
                      <a:pt x="163" y="201"/>
                    </a:cubicBezTo>
                    <a:cubicBezTo>
                      <a:pt x="161" y="203"/>
                      <a:pt x="158" y="204"/>
                      <a:pt x="155" y="204"/>
                    </a:cubicBezTo>
                    <a:cubicBezTo>
                      <a:pt x="152" y="205"/>
                      <a:pt x="151" y="204"/>
                      <a:pt x="149" y="207"/>
                    </a:cubicBezTo>
                    <a:cubicBezTo>
                      <a:pt x="147" y="210"/>
                      <a:pt x="144" y="214"/>
                      <a:pt x="144" y="218"/>
                    </a:cubicBezTo>
                    <a:cubicBezTo>
                      <a:pt x="141" y="219"/>
                      <a:pt x="139" y="220"/>
                      <a:pt x="141" y="223"/>
                    </a:cubicBezTo>
                    <a:cubicBezTo>
                      <a:pt x="141" y="223"/>
                      <a:pt x="143" y="224"/>
                      <a:pt x="144" y="224"/>
                    </a:cubicBezTo>
                    <a:cubicBezTo>
                      <a:pt x="144" y="225"/>
                      <a:pt x="144" y="226"/>
                      <a:pt x="144" y="227"/>
                    </a:cubicBezTo>
                    <a:cubicBezTo>
                      <a:pt x="144" y="229"/>
                      <a:pt x="144" y="232"/>
                      <a:pt x="144" y="235"/>
                    </a:cubicBezTo>
                    <a:cubicBezTo>
                      <a:pt x="144" y="241"/>
                      <a:pt x="146" y="247"/>
                      <a:pt x="145" y="253"/>
                    </a:cubicBezTo>
                    <a:cubicBezTo>
                      <a:pt x="145" y="256"/>
                      <a:pt x="144" y="259"/>
                      <a:pt x="144" y="262"/>
                    </a:cubicBezTo>
                    <a:cubicBezTo>
                      <a:pt x="144" y="265"/>
                      <a:pt x="145" y="271"/>
                      <a:pt x="144" y="274"/>
                    </a:cubicBezTo>
                    <a:cubicBezTo>
                      <a:pt x="143" y="276"/>
                      <a:pt x="141" y="277"/>
                      <a:pt x="139" y="278"/>
                    </a:cubicBezTo>
                    <a:cubicBezTo>
                      <a:pt x="137" y="279"/>
                      <a:pt x="136" y="281"/>
                      <a:pt x="134" y="281"/>
                    </a:cubicBezTo>
                    <a:cubicBezTo>
                      <a:pt x="135" y="286"/>
                      <a:pt x="140" y="288"/>
                      <a:pt x="141" y="293"/>
                    </a:cubicBezTo>
                    <a:cubicBezTo>
                      <a:pt x="141" y="296"/>
                      <a:pt x="139" y="299"/>
                      <a:pt x="137" y="302"/>
                    </a:cubicBezTo>
                    <a:cubicBezTo>
                      <a:pt x="136" y="302"/>
                      <a:pt x="133" y="305"/>
                      <a:pt x="133" y="306"/>
                    </a:cubicBezTo>
                    <a:cubicBezTo>
                      <a:pt x="132" y="308"/>
                      <a:pt x="133" y="311"/>
                      <a:pt x="133" y="313"/>
                    </a:cubicBezTo>
                    <a:cubicBezTo>
                      <a:pt x="132" y="319"/>
                      <a:pt x="122" y="318"/>
                      <a:pt x="117" y="318"/>
                    </a:cubicBezTo>
                    <a:cubicBezTo>
                      <a:pt x="115" y="318"/>
                      <a:pt x="110" y="317"/>
                      <a:pt x="110" y="319"/>
                    </a:cubicBezTo>
                    <a:cubicBezTo>
                      <a:pt x="109" y="321"/>
                      <a:pt x="111" y="323"/>
                      <a:pt x="112" y="324"/>
                    </a:cubicBezTo>
                    <a:cubicBezTo>
                      <a:pt x="113" y="325"/>
                      <a:pt x="114" y="328"/>
                      <a:pt x="115" y="328"/>
                    </a:cubicBezTo>
                    <a:cubicBezTo>
                      <a:pt x="115" y="329"/>
                      <a:pt x="116" y="330"/>
                      <a:pt x="117" y="329"/>
                    </a:cubicBezTo>
                    <a:cubicBezTo>
                      <a:pt x="117" y="329"/>
                      <a:pt x="118" y="329"/>
                      <a:pt x="118" y="329"/>
                    </a:cubicBezTo>
                    <a:cubicBezTo>
                      <a:pt x="118" y="330"/>
                      <a:pt x="119" y="331"/>
                      <a:pt x="119" y="331"/>
                    </a:cubicBezTo>
                    <a:cubicBezTo>
                      <a:pt x="120" y="335"/>
                      <a:pt x="119" y="341"/>
                      <a:pt x="119" y="345"/>
                    </a:cubicBezTo>
                    <a:cubicBezTo>
                      <a:pt x="120" y="344"/>
                      <a:pt x="122" y="345"/>
                      <a:pt x="123" y="346"/>
                    </a:cubicBezTo>
                    <a:cubicBezTo>
                      <a:pt x="124" y="348"/>
                      <a:pt x="123" y="349"/>
                      <a:pt x="123" y="351"/>
                    </a:cubicBezTo>
                    <a:cubicBezTo>
                      <a:pt x="124" y="353"/>
                      <a:pt x="126" y="353"/>
                      <a:pt x="127" y="353"/>
                    </a:cubicBezTo>
                    <a:cubicBezTo>
                      <a:pt x="129" y="354"/>
                      <a:pt x="130" y="354"/>
                      <a:pt x="131" y="355"/>
                    </a:cubicBezTo>
                    <a:cubicBezTo>
                      <a:pt x="132" y="355"/>
                      <a:pt x="133" y="356"/>
                      <a:pt x="133" y="356"/>
                    </a:cubicBezTo>
                    <a:cubicBezTo>
                      <a:pt x="134" y="357"/>
                      <a:pt x="134" y="358"/>
                      <a:pt x="134" y="359"/>
                    </a:cubicBezTo>
                    <a:cubicBezTo>
                      <a:pt x="136" y="363"/>
                      <a:pt x="138" y="370"/>
                      <a:pt x="134" y="374"/>
                    </a:cubicBezTo>
                    <a:cubicBezTo>
                      <a:pt x="132" y="375"/>
                      <a:pt x="130" y="375"/>
                      <a:pt x="128" y="376"/>
                    </a:cubicBezTo>
                    <a:cubicBezTo>
                      <a:pt x="125" y="378"/>
                      <a:pt x="124" y="379"/>
                      <a:pt x="123" y="383"/>
                    </a:cubicBezTo>
                    <a:cubicBezTo>
                      <a:pt x="122" y="386"/>
                      <a:pt x="119" y="389"/>
                      <a:pt x="118" y="393"/>
                    </a:cubicBezTo>
                    <a:cubicBezTo>
                      <a:pt x="118" y="397"/>
                      <a:pt x="120" y="401"/>
                      <a:pt x="122" y="405"/>
                    </a:cubicBezTo>
                    <a:cubicBezTo>
                      <a:pt x="122" y="405"/>
                      <a:pt x="123" y="406"/>
                      <a:pt x="123" y="406"/>
                    </a:cubicBezTo>
                    <a:cubicBezTo>
                      <a:pt x="123" y="407"/>
                      <a:pt x="123" y="408"/>
                      <a:pt x="124" y="409"/>
                    </a:cubicBezTo>
                    <a:cubicBezTo>
                      <a:pt x="124" y="410"/>
                      <a:pt x="125" y="411"/>
                      <a:pt x="125" y="412"/>
                    </a:cubicBezTo>
                    <a:cubicBezTo>
                      <a:pt x="126" y="413"/>
                      <a:pt x="128" y="415"/>
                      <a:pt x="128" y="417"/>
                    </a:cubicBezTo>
                    <a:cubicBezTo>
                      <a:pt x="129" y="419"/>
                      <a:pt x="128" y="420"/>
                      <a:pt x="130" y="421"/>
                    </a:cubicBezTo>
                    <a:cubicBezTo>
                      <a:pt x="132" y="422"/>
                      <a:pt x="134" y="421"/>
                      <a:pt x="135" y="420"/>
                    </a:cubicBezTo>
                    <a:cubicBezTo>
                      <a:pt x="137" y="421"/>
                      <a:pt x="136" y="424"/>
                      <a:pt x="136" y="426"/>
                    </a:cubicBezTo>
                    <a:cubicBezTo>
                      <a:pt x="136" y="429"/>
                      <a:pt x="134" y="430"/>
                      <a:pt x="131" y="431"/>
                    </a:cubicBezTo>
                    <a:cubicBezTo>
                      <a:pt x="130" y="431"/>
                      <a:pt x="130" y="431"/>
                      <a:pt x="129" y="431"/>
                    </a:cubicBezTo>
                    <a:cubicBezTo>
                      <a:pt x="129" y="432"/>
                      <a:pt x="128" y="433"/>
                      <a:pt x="128" y="433"/>
                    </a:cubicBezTo>
                    <a:cubicBezTo>
                      <a:pt x="127" y="434"/>
                      <a:pt x="125" y="434"/>
                      <a:pt x="124" y="434"/>
                    </a:cubicBezTo>
                    <a:cubicBezTo>
                      <a:pt x="121" y="435"/>
                      <a:pt x="118" y="433"/>
                      <a:pt x="118" y="437"/>
                    </a:cubicBezTo>
                    <a:cubicBezTo>
                      <a:pt x="118" y="438"/>
                      <a:pt x="119" y="439"/>
                      <a:pt x="118" y="440"/>
                    </a:cubicBezTo>
                    <a:cubicBezTo>
                      <a:pt x="118" y="441"/>
                      <a:pt x="117" y="442"/>
                      <a:pt x="117" y="443"/>
                    </a:cubicBezTo>
                    <a:cubicBezTo>
                      <a:pt x="117" y="443"/>
                      <a:pt x="117" y="443"/>
                      <a:pt x="116" y="444"/>
                    </a:cubicBezTo>
                    <a:cubicBezTo>
                      <a:pt x="116" y="445"/>
                      <a:pt x="115" y="446"/>
                      <a:pt x="114" y="447"/>
                    </a:cubicBezTo>
                    <a:cubicBezTo>
                      <a:pt x="113" y="448"/>
                      <a:pt x="112" y="450"/>
                      <a:pt x="111" y="451"/>
                    </a:cubicBezTo>
                    <a:cubicBezTo>
                      <a:pt x="111" y="452"/>
                      <a:pt x="110" y="453"/>
                      <a:pt x="110" y="453"/>
                    </a:cubicBezTo>
                    <a:cubicBezTo>
                      <a:pt x="108" y="456"/>
                      <a:pt x="106" y="460"/>
                      <a:pt x="106" y="463"/>
                    </a:cubicBezTo>
                    <a:cubicBezTo>
                      <a:pt x="106" y="465"/>
                      <a:pt x="107" y="466"/>
                      <a:pt x="107" y="467"/>
                    </a:cubicBezTo>
                    <a:cubicBezTo>
                      <a:pt x="107" y="468"/>
                      <a:pt x="107" y="470"/>
                      <a:pt x="108" y="471"/>
                    </a:cubicBezTo>
                    <a:cubicBezTo>
                      <a:pt x="108" y="472"/>
                      <a:pt x="108" y="472"/>
                      <a:pt x="108" y="473"/>
                    </a:cubicBezTo>
                    <a:cubicBezTo>
                      <a:pt x="109" y="473"/>
                      <a:pt x="109" y="473"/>
                      <a:pt x="109" y="473"/>
                    </a:cubicBezTo>
                    <a:cubicBezTo>
                      <a:pt x="109" y="475"/>
                      <a:pt x="109" y="477"/>
                      <a:pt x="109" y="478"/>
                    </a:cubicBezTo>
                    <a:cubicBezTo>
                      <a:pt x="109" y="482"/>
                      <a:pt x="109" y="485"/>
                      <a:pt x="108" y="489"/>
                    </a:cubicBezTo>
                    <a:cubicBezTo>
                      <a:pt x="108" y="491"/>
                      <a:pt x="108" y="493"/>
                      <a:pt x="108" y="495"/>
                    </a:cubicBezTo>
                    <a:cubicBezTo>
                      <a:pt x="109" y="495"/>
                      <a:pt x="111" y="494"/>
                      <a:pt x="113" y="493"/>
                    </a:cubicBezTo>
                    <a:cubicBezTo>
                      <a:pt x="118" y="490"/>
                      <a:pt x="124" y="492"/>
                      <a:pt x="130" y="492"/>
                    </a:cubicBezTo>
                    <a:cubicBezTo>
                      <a:pt x="137" y="491"/>
                      <a:pt x="145" y="493"/>
                      <a:pt x="150" y="497"/>
                    </a:cubicBezTo>
                    <a:cubicBezTo>
                      <a:pt x="153" y="499"/>
                      <a:pt x="154" y="501"/>
                      <a:pt x="157" y="503"/>
                    </a:cubicBezTo>
                    <a:cubicBezTo>
                      <a:pt x="158" y="504"/>
                      <a:pt x="159" y="504"/>
                      <a:pt x="159" y="506"/>
                    </a:cubicBezTo>
                    <a:cubicBezTo>
                      <a:pt x="161" y="510"/>
                      <a:pt x="162" y="512"/>
                      <a:pt x="163" y="516"/>
                    </a:cubicBezTo>
                    <a:cubicBezTo>
                      <a:pt x="164" y="519"/>
                      <a:pt x="165" y="523"/>
                      <a:pt x="165" y="526"/>
                    </a:cubicBezTo>
                    <a:cubicBezTo>
                      <a:pt x="165" y="530"/>
                      <a:pt x="165" y="531"/>
                      <a:pt x="169" y="533"/>
                    </a:cubicBezTo>
                    <a:cubicBezTo>
                      <a:pt x="173" y="535"/>
                      <a:pt x="175" y="534"/>
                      <a:pt x="176" y="538"/>
                    </a:cubicBezTo>
                    <a:cubicBezTo>
                      <a:pt x="177" y="541"/>
                      <a:pt x="176" y="540"/>
                      <a:pt x="178" y="542"/>
                    </a:cubicBezTo>
                    <a:cubicBezTo>
                      <a:pt x="179" y="544"/>
                      <a:pt x="181" y="546"/>
                      <a:pt x="182" y="548"/>
                    </a:cubicBezTo>
                    <a:cubicBezTo>
                      <a:pt x="184" y="552"/>
                      <a:pt x="186" y="555"/>
                      <a:pt x="190" y="557"/>
                    </a:cubicBezTo>
                    <a:cubicBezTo>
                      <a:pt x="196" y="560"/>
                      <a:pt x="202" y="559"/>
                      <a:pt x="205" y="564"/>
                    </a:cubicBezTo>
                    <a:cubicBezTo>
                      <a:pt x="208" y="567"/>
                      <a:pt x="208" y="568"/>
                      <a:pt x="212" y="568"/>
                    </a:cubicBezTo>
                    <a:cubicBezTo>
                      <a:pt x="216" y="568"/>
                      <a:pt x="219" y="569"/>
                      <a:pt x="221" y="566"/>
                    </a:cubicBezTo>
                    <a:cubicBezTo>
                      <a:pt x="222" y="564"/>
                      <a:pt x="222" y="563"/>
                      <a:pt x="224" y="562"/>
                    </a:cubicBezTo>
                    <a:cubicBezTo>
                      <a:pt x="225" y="561"/>
                      <a:pt x="226" y="560"/>
                      <a:pt x="227" y="559"/>
                    </a:cubicBezTo>
                    <a:cubicBezTo>
                      <a:pt x="229" y="557"/>
                      <a:pt x="230" y="554"/>
                      <a:pt x="232" y="552"/>
                    </a:cubicBezTo>
                    <a:cubicBezTo>
                      <a:pt x="236" y="548"/>
                      <a:pt x="242" y="546"/>
                      <a:pt x="247" y="543"/>
                    </a:cubicBezTo>
                    <a:cubicBezTo>
                      <a:pt x="249" y="542"/>
                      <a:pt x="250" y="541"/>
                      <a:pt x="252" y="540"/>
                    </a:cubicBezTo>
                    <a:cubicBezTo>
                      <a:pt x="256" y="538"/>
                      <a:pt x="260" y="536"/>
                      <a:pt x="263" y="534"/>
                    </a:cubicBezTo>
                    <a:cubicBezTo>
                      <a:pt x="265" y="532"/>
                      <a:pt x="266" y="531"/>
                      <a:pt x="268" y="530"/>
                    </a:cubicBezTo>
                    <a:cubicBezTo>
                      <a:pt x="272" y="529"/>
                      <a:pt x="275" y="527"/>
                      <a:pt x="279" y="526"/>
                    </a:cubicBezTo>
                    <a:cubicBezTo>
                      <a:pt x="282" y="525"/>
                      <a:pt x="285" y="525"/>
                      <a:pt x="288" y="524"/>
                    </a:cubicBezTo>
                    <a:cubicBezTo>
                      <a:pt x="290" y="523"/>
                      <a:pt x="292" y="522"/>
                      <a:pt x="295" y="522"/>
                    </a:cubicBezTo>
                    <a:cubicBezTo>
                      <a:pt x="298" y="521"/>
                      <a:pt x="302" y="522"/>
                      <a:pt x="305" y="522"/>
                    </a:cubicBezTo>
                    <a:cubicBezTo>
                      <a:pt x="313" y="522"/>
                      <a:pt x="322" y="523"/>
                      <a:pt x="330" y="522"/>
                    </a:cubicBezTo>
                    <a:cubicBezTo>
                      <a:pt x="333" y="521"/>
                      <a:pt x="336" y="521"/>
                      <a:pt x="339" y="521"/>
                    </a:cubicBezTo>
                    <a:cubicBezTo>
                      <a:pt x="341" y="521"/>
                      <a:pt x="348" y="522"/>
                      <a:pt x="351" y="521"/>
                    </a:cubicBezTo>
                    <a:cubicBezTo>
                      <a:pt x="352" y="523"/>
                      <a:pt x="356" y="522"/>
                      <a:pt x="359" y="522"/>
                    </a:cubicBezTo>
                    <a:cubicBezTo>
                      <a:pt x="362" y="522"/>
                      <a:pt x="363" y="523"/>
                      <a:pt x="366" y="524"/>
                    </a:cubicBezTo>
                    <a:cubicBezTo>
                      <a:pt x="367" y="524"/>
                      <a:pt x="368" y="524"/>
                      <a:pt x="369" y="524"/>
                    </a:cubicBezTo>
                    <a:cubicBezTo>
                      <a:pt x="369" y="524"/>
                      <a:pt x="369" y="525"/>
                      <a:pt x="370" y="526"/>
                    </a:cubicBezTo>
                    <a:cubicBezTo>
                      <a:pt x="372" y="526"/>
                      <a:pt x="373" y="525"/>
                      <a:pt x="374" y="523"/>
                    </a:cubicBezTo>
                    <a:cubicBezTo>
                      <a:pt x="376" y="520"/>
                      <a:pt x="373" y="518"/>
                      <a:pt x="378" y="517"/>
                    </a:cubicBezTo>
                    <a:cubicBezTo>
                      <a:pt x="381" y="516"/>
                      <a:pt x="385" y="516"/>
                      <a:pt x="389" y="517"/>
                    </a:cubicBezTo>
                    <a:cubicBezTo>
                      <a:pt x="392" y="517"/>
                      <a:pt x="396" y="518"/>
                      <a:pt x="399" y="517"/>
                    </a:cubicBezTo>
                    <a:cubicBezTo>
                      <a:pt x="401" y="517"/>
                      <a:pt x="405" y="517"/>
                      <a:pt x="406" y="516"/>
                    </a:cubicBezTo>
                    <a:cubicBezTo>
                      <a:pt x="409" y="513"/>
                      <a:pt x="410" y="508"/>
                      <a:pt x="411" y="505"/>
                    </a:cubicBezTo>
                    <a:cubicBezTo>
                      <a:pt x="413" y="499"/>
                      <a:pt x="415" y="494"/>
                      <a:pt x="416" y="488"/>
                    </a:cubicBezTo>
                    <a:cubicBezTo>
                      <a:pt x="416" y="484"/>
                      <a:pt x="418" y="481"/>
                      <a:pt x="421" y="479"/>
                    </a:cubicBezTo>
                    <a:cubicBezTo>
                      <a:pt x="423" y="477"/>
                      <a:pt x="424" y="477"/>
                      <a:pt x="426" y="477"/>
                    </a:cubicBezTo>
                    <a:cubicBezTo>
                      <a:pt x="428" y="477"/>
                      <a:pt x="432" y="477"/>
                      <a:pt x="433" y="476"/>
                    </a:cubicBezTo>
                    <a:cubicBezTo>
                      <a:pt x="434" y="476"/>
                      <a:pt x="437" y="473"/>
                      <a:pt x="437" y="473"/>
                    </a:cubicBezTo>
                    <a:cubicBezTo>
                      <a:pt x="438" y="471"/>
                      <a:pt x="436" y="467"/>
                      <a:pt x="438" y="466"/>
                    </a:cubicBezTo>
                    <a:cubicBezTo>
                      <a:pt x="440" y="463"/>
                      <a:pt x="447" y="463"/>
                      <a:pt x="451" y="463"/>
                    </a:cubicBezTo>
                    <a:cubicBezTo>
                      <a:pt x="453" y="462"/>
                      <a:pt x="455" y="462"/>
                      <a:pt x="458" y="462"/>
                    </a:cubicBezTo>
                    <a:cubicBezTo>
                      <a:pt x="461" y="462"/>
                      <a:pt x="464" y="461"/>
                      <a:pt x="467" y="460"/>
                    </a:cubicBezTo>
                    <a:cubicBezTo>
                      <a:pt x="470" y="458"/>
                      <a:pt x="474" y="457"/>
                      <a:pt x="476" y="455"/>
                    </a:cubicBezTo>
                    <a:cubicBezTo>
                      <a:pt x="479" y="453"/>
                      <a:pt x="477" y="453"/>
                      <a:pt x="475" y="452"/>
                    </a:cubicBezTo>
                    <a:cubicBezTo>
                      <a:pt x="474" y="451"/>
                      <a:pt x="472" y="449"/>
                      <a:pt x="472" y="448"/>
                    </a:cubicBezTo>
                    <a:cubicBezTo>
                      <a:pt x="471" y="446"/>
                      <a:pt x="471" y="446"/>
                      <a:pt x="471" y="445"/>
                    </a:cubicBezTo>
                    <a:cubicBezTo>
                      <a:pt x="471" y="444"/>
                      <a:pt x="471" y="443"/>
                      <a:pt x="472" y="442"/>
                    </a:cubicBezTo>
                    <a:cubicBezTo>
                      <a:pt x="472" y="439"/>
                      <a:pt x="472" y="439"/>
                      <a:pt x="475" y="437"/>
                    </a:cubicBezTo>
                    <a:cubicBezTo>
                      <a:pt x="477" y="435"/>
                      <a:pt x="478" y="432"/>
                      <a:pt x="480" y="429"/>
                    </a:cubicBezTo>
                    <a:cubicBezTo>
                      <a:pt x="481" y="427"/>
                      <a:pt x="483" y="426"/>
                      <a:pt x="484" y="424"/>
                    </a:cubicBezTo>
                    <a:cubicBezTo>
                      <a:pt x="486" y="421"/>
                      <a:pt x="487" y="420"/>
                      <a:pt x="487" y="417"/>
                    </a:cubicBezTo>
                    <a:cubicBezTo>
                      <a:pt x="487" y="414"/>
                      <a:pt x="486" y="412"/>
                      <a:pt x="489" y="409"/>
                    </a:cubicBezTo>
                    <a:cubicBezTo>
                      <a:pt x="493" y="407"/>
                      <a:pt x="497" y="404"/>
                      <a:pt x="502" y="403"/>
                    </a:cubicBezTo>
                    <a:cubicBezTo>
                      <a:pt x="506" y="402"/>
                      <a:pt x="511" y="404"/>
                      <a:pt x="515" y="403"/>
                    </a:cubicBezTo>
                    <a:cubicBezTo>
                      <a:pt x="516" y="400"/>
                      <a:pt x="513" y="397"/>
                      <a:pt x="513" y="394"/>
                    </a:cubicBezTo>
                    <a:cubicBezTo>
                      <a:pt x="513" y="389"/>
                      <a:pt x="518" y="390"/>
                      <a:pt x="521" y="387"/>
                    </a:cubicBezTo>
                    <a:cubicBezTo>
                      <a:pt x="525" y="385"/>
                      <a:pt x="524" y="381"/>
                      <a:pt x="522" y="378"/>
                    </a:cubicBezTo>
                    <a:cubicBezTo>
                      <a:pt x="519" y="373"/>
                      <a:pt x="511" y="373"/>
                      <a:pt x="507" y="369"/>
                    </a:cubicBezTo>
                    <a:cubicBezTo>
                      <a:pt x="506" y="368"/>
                      <a:pt x="506" y="367"/>
                      <a:pt x="505" y="366"/>
                    </a:cubicBezTo>
                    <a:cubicBezTo>
                      <a:pt x="503" y="364"/>
                      <a:pt x="500" y="363"/>
                      <a:pt x="499" y="360"/>
                    </a:cubicBezTo>
                    <a:cubicBezTo>
                      <a:pt x="496" y="356"/>
                      <a:pt x="496" y="351"/>
                      <a:pt x="496" y="346"/>
                    </a:cubicBezTo>
                    <a:cubicBezTo>
                      <a:pt x="497" y="344"/>
                      <a:pt x="496" y="342"/>
                      <a:pt x="496" y="341"/>
                    </a:cubicBezTo>
                    <a:cubicBezTo>
                      <a:pt x="494" y="337"/>
                      <a:pt x="494" y="333"/>
                      <a:pt x="493" y="328"/>
                    </a:cubicBezTo>
                    <a:cubicBezTo>
                      <a:pt x="493" y="326"/>
                      <a:pt x="494" y="323"/>
                      <a:pt x="494" y="321"/>
                    </a:cubicBezTo>
                    <a:cubicBezTo>
                      <a:pt x="495" y="318"/>
                      <a:pt x="498" y="311"/>
                      <a:pt x="500" y="309"/>
                    </a:cubicBezTo>
                    <a:cubicBezTo>
                      <a:pt x="500" y="311"/>
                      <a:pt x="501" y="312"/>
                      <a:pt x="500" y="313"/>
                    </a:cubicBezTo>
                    <a:cubicBezTo>
                      <a:pt x="504" y="310"/>
                      <a:pt x="507" y="306"/>
                      <a:pt x="509" y="301"/>
                    </a:cubicBezTo>
                    <a:cubicBezTo>
                      <a:pt x="510" y="298"/>
                      <a:pt x="512" y="293"/>
                      <a:pt x="514" y="290"/>
                    </a:cubicBezTo>
                    <a:cubicBezTo>
                      <a:pt x="518" y="285"/>
                      <a:pt x="524" y="279"/>
                      <a:pt x="529" y="275"/>
                    </a:cubicBezTo>
                    <a:cubicBezTo>
                      <a:pt x="533" y="272"/>
                      <a:pt x="535" y="269"/>
                      <a:pt x="538" y="265"/>
                    </a:cubicBezTo>
                    <a:cubicBezTo>
                      <a:pt x="541" y="262"/>
                      <a:pt x="545" y="259"/>
                      <a:pt x="547" y="255"/>
                    </a:cubicBezTo>
                    <a:cubicBezTo>
                      <a:pt x="551" y="251"/>
                      <a:pt x="555" y="246"/>
                      <a:pt x="557" y="241"/>
                    </a:cubicBezTo>
                    <a:cubicBezTo>
                      <a:pt x="557" y="240"/>
                      <a:pt x="558" y="240"/>
                      <a:pt x="558" y="238"/>
                    </a:cubicBezTo>
                    <a:cubicBezTo>
                      <a:pt x="558" y="236"/>
                      <a:pt x="556" y="237"/>
                      <a:pt x="555" y="235"/>
                    </a:cubicBezTo>
                    <a:cubicBezTo>
                      <a:pt x="555" y="232"/>
                      <a:pt x="561" y="230"/>
                      <a:pt x="563" y="228"/>
                    </a:cubicBezTo>
                    <a:cubicBezTo>
                      <a:pt x="568" y="226"/>
                      <a:pt x="573" y="223"/>
                      <a:pt x="578" y="221"/>
                    </a:cubicBezTo>
                    <a:cubicBezTo>
                      <a:pt x="583" y="218"/>
                      <a:pt x="588" y="215"/>
                      <a:pt x="593" y="213"/>
                    </a:cubicBezTo>
                    <a:cubicBezTo>
                      <a:pt x="598" y="211"/>
                      <a:pt x="602" y="209"/>
                      <a:pt x="606" y="206"/>
                    </a:cubicBezTo>
                    <a:cubicBezTo>
                      <a:pt x="610" y="204"/>
                      <a:pt x="615" y="204"/>
                      <a:pt x="619" y="203"/>
                    </a:cubicBezTo>
                    <a:cubicBezTo>
                      <a:pt x="623" y="202"/>
                      <a:pt x="627" y="200"/>
                      <a:pt x="631" y="200"/>
                    </a:cubicBezTo>
                    <a:cubicBezTo>
                      <a:pt x="635" y="199"/>
                      <a:pt x="638" y="196"/>
                      <a:pt x="639" y="192"/>
                    </a:cubicBezTo>
                    <a:cubicBezTo>
                      <a:pt x="639" y="191"/>
                      <a:pt x="639" y="187"/>
                      <a:pt x="637" y="187"/>
                    </a:cubicBezTo>
                    <a:cubicBezTo>
                      <a:pt x="640" y="187"/>
                      <a:pt x="643" y="187"/>
                      <a:pt x="646" y="187"/>
                    </a:cubicBezTo>
                    <a:cubicBezTo>
                      <a:pt x="647" y="187"/>
                      <a:pt x="649" y="187"/>
                      <a:pt x="650" y="187"/>
                    </a:cubicBezTo>
                    <a:cubicBezTo>
                      <a:pt x="652" y="187"/>
                      <a:pt x="652" y="186"/>
                      <a:pt x="654" y="186"/>
                    </a:cubicBezTo>
                    <a:cubicBezTo>
                      <a:pt x="657" y="185"/>
                      <a:pt x="661" y="184"/>
                      <a:pt x="664" y="183"/>
                    </a:cubicBezTo>
                    <a:cubicBezTo>
                      <a:pt x="666" y="181"/>
                      <a:pt x="670" y="180"/>
                      <a:pt x="671" y="178"/>
                    </a:cubicBezTo>
                    <a:cubicBezTo>
                      <a:pt x="673" y="175"/>
                      <a:pt x="670" y="172"/>
                      <a:pt x="674" y="171"/>
                    </a:cubicBezTo>
                    <a:cubicBezTo>
                      <a:pt x="677" y="170"/>
                      <a:pt x="681" y="172"/>
                      <a:pt x="684" y="172"/>
                    </a:cubicBezTo>
                    <a:cubicBezTo>
                      <a:pt x="688" y="172"/>
                      <a:pt x="692" y="170"/>
                      <a:pt x="696" y="169"/>
                    </a:cubicBezTo>
                    <a:cubicBezTo>
                      <a:pt x="698" y="169"/>
                      <a:pt x="701" y="169"/>
                      <a:pt x="703" y="169"/>
                    </a:cubicBezTo>
                    <a:cubicBezTo>
                      <a:pt x="704" y="166"/>
                      <a:pt x="703" y="164"/>
                      <a:pt x="703" y="161"/>
                    </a:cubicBezTo>
                    <a:cubicBezTo>
                      <a:pt x="703" y="156"/>
                      <a:pt x="710" y="154"/>
                      <a:pt x="715" y="152"/>
                    </a:cubicBezTo>
                    <a:cubicBezTo>
                      <a:pt x="720" y="149"/>
                      <a:pt x="728" y="146"/>
                      <a:pt x="731" y="142"/>
                    </a:cubicBezTo>
                    <a:cubicBezTo>
                      <a:pt x="732" y="139"/>
                      <a:pt x="731" y="136"/>
                      <a:pt x="731" y="134"/>
                    </a:cubicBezTo>
                    <a:cubicBezTo>
                      <a:pt x="730" y="132"/>
                      <a:pt x="730" y="129"/>
                      <a:pt x="729" y="126"/>
                    </a:cubicBezTo>
                    <a:cubicBezTo>
                      <a:pt x="729" y="125"/>
                      <a:pt x="728" y="123"/>
                      <a:pt x="728" y="122"/>
                    </a:cubicBezTo>
                    <a:cubicBezTo>
                      <a:pt x="727" y="120"/>
                      <a:pt x="726" y="120"/>
                      <a:pt x="725" y="119"/>
                    </a:cubicBezTo>
                    <a:cubicBezTo>
                      <a:pt x="722" y="116"/>
                      <a:pt x="727" y="100"/>
                      <a:pt x="731" y="104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45" name="Freeform 94">
                <a:extLst>
                  <a:ext uri="{FF2B5EF4-FFF2-40B4-BE49-F238E27FC236}">
                    <a16:creationId xmlns:a16="http://schemas.microsoft.com/office/drawing/2014/main" id="{DAB08764-4D19-4BAB-A9F0-86BA0049DF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5050" y="6048375"/>
                <a:ext cx="119063" cy="93663"/>
              </a:xfrm>
              <a:custGeom>
                <a:avLst/>
                <a:gdLst/>
                <a:ahLst/>
                <a:cxnLst>
                  <a:cxn ang="0">
                    <a:pos x="45" y="13"/>
                  </a:cxn>
                  <a:cxn ang="0">
                    <a:pos x="41" y="6"/>
                  </a:cxn>
                  <a:cxn ang="0">
                    <a:pos x="40" y="5"/>
                  </a:cxn>
                  <a:cxn ang="0">
                    <a:pos x="43" y="2"/>
                  </a:cxn>
                  <a:cxn ang="0">
                    <a:pos x="43" y="1"/>
                  </a:cxn>
                  <a:cxn ang="0">
                    <a:pos x="32" y="5"/>
                  </a:cxn>
                  <a:cxn ang="0">
                    <a:pos x="27" y="8"/>
                  </a:cxn>
                  <a:cxn ang="0">
                    <a:pos x="22" y="10"/>
                  </a:cxn>
                  <a:cxn ang="0">
                    <a:pos x="17" y="14"/>
                  </a:cxn>
                  <a:cxn ang="0">
                    <a:pos x="8" y="19"/>
                  </a:cxn>
                  <a:cxn ang="0">
                    <a:pos x="4" y="22"/>
                  </a:cxn>
                  <a:cxn ang="0">
                    <a:pos x="1" y="25"/>
                  </a:cxn>
                  <a:cxn ang="0">
                    <a:pos x="0" y="27"/>
                  </a:cxn>
                  <a:cxn ang="0">
                    <a:pos x="1" y="30"/>
                  </a:cxn>
                  <a:cxn ang="0">
                    <a:pos x="5" y="32"/>
                  </a:cxn>
                  <a:cxn ang="0">
                    <a:pos x="9" y="33"/>
                  </a:cxn>
                  <a:cxn ang="0">
                    <a:pos x="12" y="29"/>
                  </a:cxn>
                  <a:cxn ang="0">
                    <a:pos x="13" y="27"/>
                  </a:cxn>
                  <a:cxn ang="0">
                    <a:pos x="17" y="30"/>
                  </a:cxn>
                  <a:cxn ang="0">
                    <a:pos x="19" y="32"/>
                  </a:cxn>
                  <a:cxn ang="0">
                    <a:pos x="20" y="34"/>
                  </a:cxn>
                  <a:cxn ang="0">
                    <a:pos x="21" y="35"/>
                  </a:cxn>
                  <a:cxn ang="0">
                    <a:pos x="21" y="38"/>
                  </a:cxn>
                  <a:cxn ang="0">
                    <a:pos x="23" y="40"/>
                  </a:cxn>
                  <a:cxn ang="0">
                    <a:pos x="24" y="41"/>
                  </a:cxn>
                  <a:cxn ang="0">
                    <a:pos x="24" y="41"/>
                  </a:cxn>
                  <a:cxn ang="0">
                    <a:pos x="27" y="44"/>
                  </a:cxn>
                  <a:cxn ang="0">
                    <a:pos x="31" y="43"/>
                  </a:cxn>
                  <a:cxn ang="0">
                    <a:pos x="34" y="44"/>
                  </a:cxn>
                  <a:cxn ang="0">
                    <a:pos x="35" y="45"/>
                  </a:cxn>
                  <a:cxn ang="0">
                    <a:pos x="37" y="47"/>
                  </a:cxn>
                  <a:cxn ang="0">
                    <a:pos x="38" y="49"/>
                  </a:cxn>
                  <a:cxn ang="0">
                    <a:pos x="39" y="50"/>
                  </a:cxn>
                  <a:cxn ang="0">
                    <a:pos x="40" y="50"/>
                  </a:cxn>
                  <a:cxn ang="0">
                    <a:pos x="41" y="47"/>
                  </a:cxn>
                  <a:cxn ang="0">
                    <a:pos x="45" y="44"/>
                  </a:cxn>
                  <a:cxn ang="0">
                    <a:pos x="48" y="44"/>
                  </a:cxn>
                  <a:cxn ang="0">
                    <a:pos x="51" y="42"/>
                  </a:cxn>
                  <a:cxn ang="0">
                    <a:pos x="51" y="37"/>
                  </a:cxn>
                  <a:cxn ang="0">
                    <a:pos x="52" y="34"/>
                  </a:cxn>
                  <a:cxn ang="0">
                    <a:pos x="54" y="30"/>
                  </a:cxn>
                  <a:cxn ang="0">
                    <a:pos x="58" y="28"/>
                  </a:cxn>
                  <a:cxn ang="0">
                    <a:pos x="60" y="24"/>
                  </a:cxn>
                  <a:cxn ang="0">
                    <a:pos x="62" y="18"/>
                  </a:cxn>
                  <a:cxn ang="0">
                    <a:pos x="53" y="14"/>
                  </a:cxn>
                  <a:cxn ang="0">
                    <a:pos x="52" y="15"/>
                  </a:cxn>
                  <a:cxn ang="0">
                    <a:pos x="50" y="16"/>
                  </a:cxn>
                  <a:cxn ang="0">
                    <a:pos x="49" y="17"/>
                  </a:cxn>
                  <a:cxn ang="0">
                    <a:pos x="47" y="15"/>
                  </a:cxn>
                  <a:cxn ang="0">
                    <a:pos x="46" y="13"/>
                  </a:cxn>
                  <a:cxn ang="0">
                    <a:pos x="45" y="13"/>
                  </a:cxn>
                </a:cxnLst>
                <a:rect l="0" t="0" r="r" b="b"/>
                <a:pathLst>
                  <a:path w="63" h="50">
                    <a:moveTo>
                      <a:pt x="45" y="13"/>
                    </a:moveTo>
                    <a:cubicBezTo>
                      <a:pt x="45" y="11"/>
                      <a:pt x="45" y="6"/>
                      <a:pt x="41" y="6"/>
                    </a:cubicBezTo>
                    <a:cubicBezTo>
                      <a:pt x="41" y="6"/>
                      <a:pt x="40" y="6"/>
                      <a:pt x="40" y="5"/>
                    </a:cubicBezTo>
                    <a:cubicBezTo>
                      <a:pt x="41" y="3"/>
                      <a:pt x="42" y="3"/>
                      <a:pt x="43" y="2"/>
                    </a:cubicBezTo>
                    <a:cubicBezTo>
                      <a:pt x="43" y="2"/>
                      <a:pt x="44" y="2"/>
                      <a:pt x="43" y="1"/>
                    </a:cubicBezTo>
                    <a:cubicBezTo>
                      <a:pt x="39" y="0"/>
                      <a:pt x="36" y="2"/>
                      <a:pt x="32" y="5"/>
                    </a:cubicBezTo>
                    <a:cubicBezTo>
                      <a:pt x="31" y="6"/>
                      <a:pt x="29" y="7"/>
                      <a:pt x="27" y="8"/>
                    </a:cubicBezTo>
                    <a:cubicBezTo>
                      <a:pt x="25" y="9"/>
                      <a:pt x="23" y="9"/>
                      <a:pt x="22" y="10"/>
                    </a:cubicBezTo>
                    <a:cubicBezTo>
                      <a:pt x="20" y="11"/>
                      <a:pt x="19" y="13"/>
                      <a:pt x="17" y="14"/>
                    </a:cubicBezTo>
                    <a:cubicBezTo>
                      <a:pt x="14" y="15"/>
                      <a:pt x="11" y="17"/>
                      <a:pt x="8" y="19"/>
                    </a:cubicBezTo>
                    <a:cubicBezTo>
                      <a:pt x="6" y="20"/>
                      <a:pt x="5" y="20"/>
                      <a:pt x="4" y="22"/>
                    </a:cubicBezTo>
                    <a:cubicBezTo>
                      <a:pt x="3" y="23"/>
                      <a:pt x="2" y="23"/>
                      <a:pt x="1" y="25"/>
                    </a:cubicBezTo>
                    <a:cubicBezTo>
                      <a:pt x="1" y="26"/>
                      <a:pt x="0" y="26"/>
                      <a:pt x="0" y="27"/>
                    </a:cubicBezTo>
                    <a:cubicBezTo>
                      <a:pt x="0" y="28"/>
                      <a:pt x="1" y="29"/>
                      <a:pt x="1" y="30"/>
                    </a:cubicBezTo>
                    <a:cubicBezTo>
                      <a:pt x="2" y="31"/>
                      <a:pt x="3" y="31"/>
                      <a:pt x="5" y="32"/>
                    </a:cubicBezTo>
                    <a:cubicBezTo>
                      <a:pt x="6" y="32"/>
                      <a:pt x="7" y="34"/>
                      <a:pt x="9" y="33"/>
                    </a:cubicBezTo>
                    <a:cubicBezTo>
                      <a:pt x="10" y="32"/>
                      <a:pt x="11" y="31"/>
                      <a:pt x="12" y="29"/>
                    </a:cubicBezTo>
                    <a:cubicBezTo>
                      <a:pt x="12" y="29"/>
                      <a:pt x="13" y="28"/>
                      <a:pt x="13" y="27"/>
                    </a:cubicBezTo>
                    <a:cubicBezTo>
                      <a:pt x="16" y="26"/>
                      <a:pt x="16" y="28"/>
                      <a:pt x="17" y="30"/>
                    </a:cubicBezTo>
                    <a:cubicBezTo>
                      <a:pt x="18" y="30"/>
                      <a:pt x="18" y="31"/>
                      <a:pt x="19" y="32"/>
                    </a:cubicBezTo>
                    <a:cubicBezTo>
                      <a:pt x="20" y="32"/>
                      <a:pt x="20" y="33"/>
                      <a:pt x="20" y="34"/>
                    </a:cubicBezTo>
                    <a:cubicBezTo>
                      <a:pt x="21" y="34"/>
                      <a:pt x="21" y="35"/>
                      <a:pt x="21" y="35"/>
                    </a:cubicBezTo>
                    <a:cubicBezTo>
                      <a:pt x="21" y="36"/>
                      <a:pt x="21" y="37"/>
                      <a:pt x="21" y="38"/>
                    </a:cubicBezTo>
                    <a:cubicBezTo>
                      <a:pt x="21" y="39"/>
                      <a:pt x="22" y="39"/>
                      <a:pt x="23" y="40"/>
                    </a:cubicBezTo>
                    <a:cubicBezTo>
                      <a:pt x="23" y="40"/>
                      <a:pt x="24" y="40"/>
                      <a:pt x="24" y="41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25" y="42"/>
                      <a:pt x="26" y="43"/>
                      <a:pt x="27" y="44"/>
                    </a:cubicBezTo>
                    <a:cubicBezTo>
                      <a:pt x="28" y="44"/>
                      <a:pt x="29" y="43"/>
                      <a:pt x="31" y="43"/>
                    </a:cubicBezTo>
                    <a:cubicBezTo>
                      <a:pt x="32" y="43"/>
                      <a:pt x="33" y="43"/>
                      <a:pt x="34" y="44"/>
                    </a:cubicBezTo>
                    <a:cubicBezTo>
                      <a:pt x="34" y="44"/>
                      <a:pt x="34" y="45"/>
                      <a:pt x="35" y="45"/>
                    </a:cubicBezTo>
                    <a:cubicBezTo>
                      <a:pt x="36" y="46"/>
                      <a:pt x="36" y="46"/>
                      <a:pt x="37" y="47"/>
                    </a:cubicBezTo>
                    <a:cubicBezTo>
                      <a:pt x="37" y="48"/>
                      <a:pt x="37" y="49"/>
                      <a:pt x="38" y="49"/>
                    </a:cubicBezTo>
                    <a:cubicBezTo>
                      <a:pt x="38" y="50"/>
                      <a:pt x="38" y="50"/>
                      <a:pt x="39" y="50"/>
                    </a:cubicBezTo>
                    <a:cubicBezTo>
                      <a:pt x="39" y="50"/>
                      <a:pt x="40" y="50"/>
                      <a:pt x="40" y="50"/>
                    </a:cubicBezTo>
                    <a:cubicBezTo>
                      <a:pt x="40" y="49"/>
                      <a:pt x="41" y="48"/>
                      <a:pt x="41" y="47"/>
                    </a:cubicBezTo>
                    <a:cubicBezTo>
                      <a:pt x="42" y="46"/>
                      <a:pt x="44" y="45"/>
                      <a:pt x="45" y="44"/>
                    </a:cubicBezTo>
                    <a:cubicBezTo>
                      <a:pt x="46" y="44"/>
                      <a:pt x="47" y="44"/>
                      <a:pt x="48" y="44"/>
                    </a:cubicBezTo>
                    <a:cubicBezTo>
                      <a:pt x="49" y="44"/>
                      <a:pt x="50" y="43"/>
                      <a:pt x="51" y="42"/>
                    </a:cubicBezTo>
                    <a:cubicBezTo>
                      <a:pt x="53" y="41"/>
                      <a:pt x="52" y="39"/>
                      <a:pt x="51" y="37"/>
                    </a:cubicBezTo>
                    <a:cubicBezTo>
                      <a:pt x="50" y="36"/>
                      <a:pt x="51" y="35"/>
                      <a:pt x="52" y="34"/>
                    </a:cubicBezTo>
                    <a:cubicBezTo>
                      <a:pt x="53" y="33"/>
                      <a:pt x="53" y="31"/>
                      <a:pt x="54" y="30"/>
                    </a:cubicBezTo>
                    <a:cubicBezTo>
                      <a:pt x="55" y="29"/>
                      <a:pt x="57" y="29"/>
                      <a:pt x="58" y="28"/>
                    </a:cubicBezTo>
                    <a:cubicBezTo>
                      <a:pt x="59" y="27"/>
                      <a:pt x="59" y="25"/>
                      <a:pt x="60" y="24"/>
                    </a:cubicBezTo>
                    <a:cubicBezTo>
                      <a:pt x="61" y="22"/>
                      <a:pt x="63" y="20"/>
                      <a:pt x="62" y="18"/>
                    </a:cubicBezTo>
                    <a:cubicBezTo>
                      <a:pt x="61" y="14"/>
                      <a:pt x="56" y="12"/>
                      <a:pt x="53" y="14"/>
                    </a:cubicBezTo>
                    <a:cubicBezTo>
                      <a:pt x="53" y="14"/>
                      <a:pt x="53" y="15"/>
                      <a:pt x="52" y="15"/>
                    </a:cubicBezTo>
                    <a:cubicBezTo>
                      <a:pt x="51" y="15"/>
                      <a:pt x="51" y="16"/>
                      <a:pt x="50" y="16"/>
                    </a:cubicBezTo>
                    <a:cubicBezTo>
                      <a:pt x="50" y="17"/>
                      <a:pt x="50" y="17"/>
                      <a:pt x="49" y="17"/>
                    </a:cubicBezTo>
                    <a:cubicBezTo>
                      <a:pt x="48" y="17"/>
                      <a:pt x="48" y="16"/>
                      <a:pt x="47" y="15"/>
                    </a:cubicBezTo>
                    <a:cubicBezTo>
                      <a:pt x="47" y="14"/>
                      <a:pt x="46" y="13"/>
                      <a:pt x="46" y="13"/>
                    </a:cubicBezTo>
                    <a:lnTo>
                      <a:pt x="45" y="1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46" name="Freeform 95">
                <a:extLst>
                  <a:ext uri="{FF2B5EF4-FFF2-40B4-BE49-F238E27FC236}">
                    <a16:creationId xmlns:a16="http://schemas.microsoft.com/office/drawing/2014/main" id="{31E7CA85-88F4-4A59-B764-35FFE20672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1100" y="6029325"/>
                <a:ext cx="57150" cy="41275"/>
              </a:xfrm>
              <a:custGeom>
                <a:avLst/>
                <a:gdLst/>
                <a:ahLst/>
                <a:cxnLst>
                  <a:cxn ang="0">
                    <a:pos x="4" y="3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1" y="11"/>
                  </a:cxn>
                  <a:cxn ang="0">
                    <a:pos x="1" y="13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9" y="12"/>
                  </a:cxn>
                  <a:cxn ang="0">
                    <a:pos x="12" y="14"/>
                  </a:cxn>
                  <a:cxn ang="0">
                    <a:pos x="24" y="20"/>
                  </a:cxn>
                  <a:cxn ang="0">
                    <a:pos x="27" y="21"/>
                  </a:cxn>
                  <a:cxn ang="0">
                    <a:pos x="28" y="21"/>
                  </a:cxn>
                  <a:cxn ang="0">
                    <a:pos x="29" y="16"/>
                  </a:cxn>
                  <a:cxn ang="0">
                    <a:pos x="27" y="12"/>
                  </a:cxn>
                  <a:cxn ang="0">
                    <a:pos x="25" y="9"/>
                  </a:cxn>
                  <a:cxn ang="0">
                    <a:pos x="24" y="5"/>
                  </a:cxn>
                  <a:cxn ang="0">
                    <a:pos x="21" y="3"/>
                  </a:cxn>
                  <a:cxn ang="0">
                    <a:pos x="16" y="0"/>
                  </a:cxn>
                  <a:cxn ang="0">
                    <a:pos x="4" y="3"/>
                  </a:cxn>
                </a:cxnLst>
                <a:rect l="0" t="0" r="r" b="b"/>
                <a:pathLst>
                  <a:path w="30" h="22">
                    <a:moveTo>
                      <a:pt x="4" y="3"/>
                    </a:moveTo>
                    <a:cubicBezTo>
                      <a:pt x="3" y="3"/>
                      <a:pt x="0" y="3"/>
                      <a:pt x="0" y="4"/>
                    </a:cubicBezTo>
                    <a:cubicBezTo>
                      <a:pt x="0" y="5"/>
                      <a:pt x="0" y="5"/>
                      <a:pt x="0" y="6"/>
                    </a:cubicBezTo>
                    <a:cubicBezTo>
                      <a:pt x="1" y="7"/>
                      <a:pt x="1" y="9"/>
                      <a:pt x="1" y="11"/>
                    </a:cubicBezTo>
                    <a:cubicBezTo>
                      <a:pt x="1" y="12"/>
                      <a:pt x="1" y="12"/>
                      <a:pt x="1" y="13"/>
                    </a:cubicBezTo>
                    <a:cubicBezTo>
                      <a:pt x="2" y="14"/>
                      <a:pt x="3" y="13"/>
                      <a:pt x="4" y="12"/>
                    </a:cubicBezTo>
                    <a:cubicBezTo>
                      <a:pt x="6" y="12"/>
                      <a:pt x="7" y="12"/>
                      <a:pt x="8" y="1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10" y="13"/>
                      <a:pt x="11" y="13"/>
                      <a:pt x="12" y="14"/>
                    </a:cubicBezTo>
                    <a:cubicBezTo>
                      <a:pt x="15" y="18"/>
                      <a:pt x="20" y="18"/>
                      <a:pt x="24" y="20"/>
                    </a:cubicBezTo>
                    <a:cubicBezTo>
                      <a:pt x="25" y="20"/>
                      <a:pt x="26" y="21"/>
                      <a:pt x="27" y="21"/>
                    </a:cubicBezTo>
                    <a:cubicBezTo>
                      <a:pt x="27" y="21"/>
                      <a:pt x="28" y="22"/>
                      <a:pt x="28" y="21"/>
                    </a:cubicBezTo>
                    <a:cubicBezTo>
                      <a:pt x="30" y="21"/>
                      <a:pt x="30" y="17"/>
                      <a:pt x="29" y="16"/>
                    </a:cubicBezTo>
                    <a:cubicBezTo>
                      <a:pt x="29" y="14"/>
                      <a:pt x="28" y="13"/>
                      <a:pt x="27" y="12"/>
                    </a:cubicBezTo>
                    <a:cubicBezTo>
                      <a:pt x="26" y="11"/>
                      <a:pt x="26" y="10"/>
                      <a:pt x="25" y="9"/>
                    </a:cubicBezTo>
                    <a:cubicBezTo>
                      <a:pt x="25" y="8"/>
                      <a:pt x="24" y="7"/>
                      <a:pt x="24" y="5"/>
                    </a:cubicBezTo>
                    <a:cubicBezTo>
                      <a:pt x="23" y="4"/>
                      <a:pt x="22" y="4"/>
                      <a:pt x="21" y="3"/>
                    </a:cubicBezTo>
                    <a:cubicBezTo>
                      <a:pt x="19" y="1"/>
                      <a:pt x="18" y="0"/>
                      <a:pt x="16" y="0"/>
                    </a:cubicBezTo>
                    <a:lnTo>
                      <a:pt x="4" y="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47" name="Freeform 96">
                <a:extLst>
                  <a:ext uri="{FF2B5EF4-FFF2-40B4-BE49-F238E27FC236}">
                    <a16:creationId xmlns:a16="http://schemas.microsoft.com/office/drawing/2014/main" id="{60A3CEE0-B7D3-4ADF-9B66-3E47C0228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5988" y="6162675"/>
                <a:ext cx="47625" cy="38100"/>
              </a:xfrm>
              <a:custGeom>
                <a:avLst/>
                <a:gdLst/>
                <a:ahLst/>
                <a:cxnLst>
                  <a:cxn ang="0">
                    <a:pos x="25" y="2"/>
                  </a:cxn>
                  <a:cxn ang="0">
                    <a:pos x="24" y="1"/>
                  </a:cxn>
                  <a:cxn ang="0">
                    <a:pos x="18" y="1"/>
                  </a:cxn>
                  <a:cxn ang="0">
                    <a:pos x="16" y="2"/>
                  </a:cxn>
                  <a:cxn ang="0">
                    <a:pos x="13" y="4"/>
                  </a:cxn>
                  <a:cxn ang="0">
                    <a:pos x="8" y="7"/>
                  </a:cxn>
                  <a:cxn ang="0">
                    <a:pos x="4" y="10"/>
                  </a:cxn>
                  <a:cxn ang="0">
                    <a:pos x="1" y="17"/>
                  </a:cxn>
                  <a:cxn ang="0">
                    <a:pos x="12" y="18"/>
                  </a:cxn>
                  <a:cxn ang="0">
                    <a:pos x="21" y="13"/>
                  </a:cxn>
                  <a:cxn ang="0">
                    <a:pos x="24" y="8"/>
                  </a:cxn>
                  <a:cxn ang="0">
                    <a:pos x="23" y="5"/>
                  </a:cxn>
                  <a:cxn ang="0">
                    <a:pos x="22" y="2"/>
                  </a:cxn>
                  <a:cxn ang="0">
                    <a:pos x="25" y="2"/>
                  </a:cxn>
                </a:cxnLst>
                <a:rect l="0" t="0" r="r" b="b"/>
                <a:pathLst>
                  <a:path w="25" h="20">
                    <a:moveTo>
                      <a:pt x="25" y="2"/>
                    </a:moveTo>
                    <a:cubicBezTo>
                      <a:pt x="25" y="1"/>
                      <a:pt x="25" y="1"/>
                      <a:pt x="24" y="1"/>
                    </a:cubicBezTo>
                    <a:cubicBezTo>
                      <a:pt x="22" y="0"/>
                      <a:pt x="20" y="1"/>
                      <a:pt x="18" y="1"/>
                    </a:cubicBezTo>
                    <a:cubicBezTo>
                      <a:pt x="17" y="1"/>
                      <a:pt x="17" y="1"/>
                      <a:pt x="16" y="2"/>
                    </a:cubicBezTo>
                    <a:cubicBezTo>
                      <a:pt x="15" y="3"/>
                      <a:pt x="14" y="4"/>
                      <a:pt x="13" y="4"/>
                    </a:cubicBezTo>
                    <a:cubicBezTo>
                      <a:pt x="12" y="5"/>
                      <a:pt x="10" y="6"/>
                      <a:pt x="8" y="7"/>
                    </a:cubicBezTo>
                    <a:cubicBezTo>
                      <a:pt x="7" y="8"/>
                      <a:pt x="5" y="9"/>
                      <a:pt x="4" y="10"/>
                    </a:cubicBezTo>
                    <a:cubicBezTo>
                      <a:pt x="2" y="11"/>
                      <a:pt x="0" y="15"/>
                      <a:pt x="1" y="17"/>
                    </a:cubicBezTo>
                    <a:cubicBezTo>
                      <a:pt x="4" y="20"/>
                      <a:pt x="9" y="19"/>
                      <a:pt x="12" y="18"/>
                    </a:cubicBezTo>
                    <a:cubicBezTo>
                      <a:pt x="15" y="16"/>
                      <a:pt x="18" y="16"/>
                      <a:pt x="21" y="13"/>
                    </a:cubicBezTo>
                    <a:cubicBezTo>
                      <a:pt x="22" y="11"/>
                      <a:pt x="24" y="10"/>
                      <a:pt x="24" y="8"/>
                    </a:cubicBezTo>
                    <a:cubicBezTo>
                      <a:pt x="24" y="7"/>
                      <a:pt x="23" y="6"/>
                      <a:pt x="23" y="5"/>
                    </a:cubicBezTo>
                    <a:cubicBezTo>
                      <a:pt x="23" y="4"/>
                      <a:pt x="23" y="3"/>
                      <a:pt x="22" y="2"/>
                    </a:cubicBezTo>
                    <a:lnTo>
                      <a:pt x="25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48" name="Freeform 97">
                <a:extLst>
                  <a:ext uri="{FF2B5EF4-FFF2-40B4-BE49-F238E27FC236}">
                    <a16:creationId xmlns:a16="http://schemas.microsoft.com/office/drawing/2014/main" id="{7EB77BF7-CB7A-4FEE-A37B-FC3979144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3650" y="3973513"/>
                <a:ext cx="403225" cy="454025"/>
              </a:xfrm>
              <a:custGeom>
                <a:avLst/>
                <a:gdLst/>
                <a:ahLst/>
                <a:cxnLst>
                  <a:cxn ang="0">
                    <a:pos x="180" y="6"/>
                  </a:cxn>
                  <a:cxn ang="0">
                    <a:pos x="144" y="10"/>
                  </a:cxn>
                  <a:cxn ang="0">
                    <a:pos x="119" y="23"/>
                  </a:cxn>
                  <a:cxn ang="0">
                    <a:pos x="116" y="34"/>
                  </a:cxn>
                  <a:cxn ang="0">
                    <a:pos x="109" y="42"/>
                  </a:cxn>
                  <a:cxn ang="0">
                    <a:pos x="121" y="55"/>
                  </a:cxn>
                  <a:cxn ang="0">
                    <a:pos x="126" y="74"/>
                  </a:cxn>
                  <a:cxn ang="0">
                    <a:pos x="117" y="83"/>
                  </a:cxn>
                  <a:cxn ang="0">
                    <a:pos x="109" y="93"/>
                  </a:cxn>
                  <a:cxn ang="0">
                    <a:pos x="114" y="112"/>
                  </a:cxn>
                  <a:cxn ang="0">
                    <a:pos x="98" y="105"/>
                  </a:cxn>
                  <a:cxn ang="0">
                    <a:pos x="96" y="89"/>
                  </a:cxn>
                  <a:cxn ang="0">
                    <a:pos x="97" y="78"/>
                  </a:cxn>
                  <a:cxn ang="0">
                    <a:pos x="113" y="75"/>
                  </a:cxn>
                  <a:cxn ang="0">
                    <a:pos x="102" y="58"/>
                  </a:cxn>
                  <a:cxn ang="0">
                    <a:pos x="100" y="46"/>
                  </a:cxn>
                  <a:cxn ang="0">
                    <a:pos x="82" y="47"/>
                  </a:cxn>
                  <a:cxn ang="0">
                    <a:pos x="69" y="71"/>
                  </a:cxn>
                  <a:cxn ang="0">
                    <a:pos x="70" y="90"/>
                  </a:cxn>
                  <a:cxn ang="0">
                    <a:pos x="65" y="96"/>
                  </a:cxn>
                  <a:cxn ang="0">
                    <a:pos x="54" y="122"/>
                  </a:cxn>
                  <a:cxn ang="0">
                    <a:pos x="39" y="133"/>
                  </a:cxn>
                  <a:cxn ang="0">
                    <a:pos x="34" y="147"/>
                  </a:cxn>
                  <a:cxn ang="0">
                    <a:pos x="22" y="158"/>
                  </a:cxn>
                  <a:cxn ang="0">
                    <a:pos x="29" y="164"/>
                  </a:cxn>
                  <a:cxn ang="0">
                    <a:pos x="40" y="176"/>
                  </a:cxn>
                  <a:cxn ang="0">
                    <a:pos x="25" y="167"/>
                  </a:cxn>
                  <a:cxn ang="0">
                    <a:pos x="6" y="179"/>
                  </a:cxn>
                  <a:cxn ang="0">
                    <a:pos x="35" y="182"/>
                  </a:cxn>
                  <a:cxn ang="0">
                    <a:pos x="44" y="190"/>
                  </a:cxn>
                  <a:cxn ang="0">
                    <a:pos x="11" y="186"/>
                  </a:cxn>
                  <a:cxn ang="0">
                    <a:pos x="6" y="197"/>
                  </a:cxn>
                  <a:cxn ang="0">
                    <a:pos x="38" y="203"/>
                  </a:cxn>
                  <a:cxn ang="0">
                    <a:pos x="49" y="193"/>
                  </a:cxn>
                  <a:cxn ang="0">
                    <a:pos x="61" y="183"/>
                  </a:cxn>
                  <a:cxn ang="0">
                    <a:pos x="92" y="184"/>
                  </a:cxn>
                  <a:cxn ang="0">
                    <a:pos x="97" y="192"/>
                  </a:cxn>
                  <a:cxn ang="0">
                    <a:pos x="113" y="199"/>
                  </a:cxn>
                  <a:cxn ang="0">
                    <a:pos x="132" y="204"/>
                  </a:cxn>
                  <a:cxn ang="0">
                    <a:pos x="132" y="216"/>
                  </a:cxn>
                  <a:cxn ang="0">
                    <a:pos x="126" y="239"/>
                  </a:cxn>
                  <a:cxn ang="0">
                    <a:pos x="149" y="239"/>
                  </a:cxn>
                  <a:cxn ang="0">
                    <a:pos x="151" y="226"/>
                  </a:cxn>
                  <a:cxn ang="0">
                    <a:pos x="146" y="219"/>
                  </a:cxn>
                  <a:cxn ang="0">
                    <a:pos x="152" y="205"/>
                  </a:cxn>
                  <a:cxn ang="0">
                    <a:pos x="158" y="188"/>
                  </a:cxn>
                  <a:cxn ang="0">
                    <a:pos x="155" y="168"/>
                  </a:cxn>
                  <a:cxn ang="0">
                    <a:pos x="148" y="146"/>
                  </a:cxn>
                  <a:cxn ang="0">
                    <a:pos x="171" y="145"/>
                  </a:cxn>
                  <a:cxn ang="0">
                    <a:pos x="188" y="133"/>
                  </a:cxn>
                  <a:cxn ang="0">
                    <a:pos x="197" y="117"/>
                  </a:cxn>
                  <a:cxn ang="0">
                    <a:pos x="204" y="97"/>
                  </a:cxn>
                  <a:cxn ang="0">
                    <a:pos x="182" y="80"/>
                  </a:cxn>
                  <a:cxn ang="0">
                    <a:pos x="195" y="72"/>
                  </a:cxn>
                  <a:cxn ang="0">
                    <a:pos x="209" y="57"/>
                  </a:cxn>
                  <a:cxn ang="0">
                    <a:pos x="215" y="31"/>
                  </a:cxn>
                  <a:cxn ang="0">
                    <a:pos x="207" y="10"/>
                  </a:cxn>
                </a:cxnLst>
                <a:rect l="0" t="0" r="r" b="b"/>
                <a:pathLst>
                  <a:path w="216" h="243">
                    <a:moveTo>
                      <a:pt x="206" y="9"/>
                    </a:moveTo>
                    <a:cubicBezTo>
                      <a:pt x="204" y="9"/>
                      <a:pt x="202" y="9"/>
                      <a:pt x="201" y="9"/>
                    </a:cubicBezTo>
                    <a:cubicBezTo>
                      <a:pt x="199" y="9"/>
                      <a:pt x="199" y="9"/>
                      <a:pt x="198" y="8"/>
                    </a:cubicBezTo>
                    <a:cubicBezTo>
                      <a:pt x="198" y="5"/>
                      <a:pt x="200" y="2"/>
                      <a:pt x="197" y="1"/>
                    </a:cubicBezTo>
                    <a:cubicBezTo>
                      <a:pt x="194" y="0"/>
                      <a:pt x="192" y="2"/>
                      <a:pt x="190" y="2"/>
                    </a:cubicBezTo>
                    <a:cubicBezTo>
                      <a:pt x="187" y="4"/>
                      <a:pt x="183" y="4"/>
                      <a:pt x="180" y="6"/>
                    </a:cubicBezTo>
                    <a:cubicBezTo>
                      <a:pt x="180" y="6"/>
                      <a:pt x="179" y="6"/>
                      <a:pt x="179" y="6"/>
                    </a:cubicBezTo>
                    <a:cubicBezTo>
                      <a:pt x="179" y="7"/>
                      <a:pt x="179" y="7"/>
                      <a:pt x="179" y="7"/>
                    </a:cubicBezTo>
                    <a:cubicBezTo>
                      <a:pt x="177" y="9"/>
                      <a:pt x="173" y="8"/>
                      <a:pt x="170" y="8"/>
                    </a:cubicBezTo>
                    <a:cubicBezTo>
                      <a:pt x="166" y="8"/>
                      <a:pt x="162" y="5"/>
                      <a:pt x="158" y="5"/>
                    </a:cubicBezTo>
                    <a:cubicBezTo>
                      <a:pt x="154" y="5"/>
                      <a:pt x="153" y="6"/>
                      <a:pt x="150" y="8"/>
                    </a:cubicBezTo>
                    <a:cubicBezTo>
                      <a:pt x="148" y="8"/>
                      <a:pt x="146" y="9"/>
                      <a:pt x="144" y="10"/>
                    </a:cubicBezTo>
                    <a:cubicBezTo>
                      <a:pt x="140" y="10"/>
                      <a:pt x="137" y="10"/>
                      <a:pt x="135" y="12"/>
                    </a:cubicBezTo>
                    <a:cubicBezTo>
                      <a:pt x="134" y="13"/>
                      <a:pt x="134" y="13"/>
                      <a:pt x="134" y="13"/>
                    </a:cubicBezTo>
                    <a:cubicBezTo>
                      <a:pt x="133" y="14"/>
                      <a:pt x="132" y="14"/>
                      <a:pt x="131" y="15"/>
                    </a:cubicBezTo>
                    <a:cubicBezTo>
                      <a:pt x="129" y="16"/>
                      <a:pt x="127" y="16"/>
                      <a:pt x="125" y="18"/>
                    </a:cubicBezTo>
                    <a:cubicBezTo>
                      <a:pt x="124" y="18"/>
                      <a:pt x="123" y="20"/>
                      <a:pt x="122" y="21"/>
                    </a:cubicBezTo>
                    <a:cubicBezTo>
                      <a:pt x="121" y="21"/>
                      <a:pt x="119" y="22"/>
                      <a:pt x="119" y="23"/>
                    </a:cubicBezTo>
                    <a:cubicBezTo>
                      <a:pt x="119" y="24"/>
                      <a:pt x="119" y="25"/>
                      <a:pt x="119" y="25"/>
                    </a:cubicBezTo>
                    <a:cubicBezTo>
                      <a:pt x="119" y="26"/>
                      <a:pt x="118" y="27"/>
                      <a:pt x="118" y="27"/>
                    </a:cubicBezTo>
                    <a:cubicBezTo>
                      <a:pt x="118" y="27"/>
                      <a:pt x="117" y="28"/>
                      <a:pt x="117" y="29"/>
                    </a:cubicBezTo>
                    <a:cubicBezTo>
                      <a:pt x="117" y="30"/>
                      <a:pt x="117" y="31"/>
                      <a:pt x="117" y="31"/>
                    </a:cubicBezTo>
                    <a:cubicBezTo>
                      <a:pt x="117" y="32"/>
                      <a:pt x="116" y="32"/>
                      <a:pt x="116" y="32"/>
                    </a:cubicBezTo>
                    <a:cubicBezTo>
                      <a:pt x="116" y="33"/>
                      <a:pt x="117" y="33"/>
                      <a:pt x="116" y="34"/>
                    </a:cubicBezTo>
                    <a:cubicBezTo>
                      <a:pt x="116" y="34"/>
                      <a:pt x="114" y="35"/>
                      <a:pt x="113" y="35"/>
                    </a:cubicBezTo>
                    <a:cubicBezTo>
                      <a:pt x="111" y="36"/>
                      <a:pt x="109" y="36"/>
                      <a:pt x="109" y="33"/>
                    </a:cubicBezTo>
                    <a:cubicBezTo>
                      <a:pt x="108" y="32"/>
                      <a:pt x="108" y="31"/>
                      <a:pt x="107" y="30"/>
                    </a:cubicBezTo>
                    <a:cubicBezTo>
                      <a:pt x="105" y="29"/>
                      <a:pt x="103" y="36"/>
                      <a:pt x="103" y="38"/>
                    </a:cubicBezTo>
                    <a:cubicBezTo>
                      <a:pt x="104" y="39"/>
                      <a:pt x="104" y="40"/>
                      <a:pt x="104" y="41"/>
                    </a:cubicBezTo>
                    <a:cubicBezTo>
                      <a:pt x="105" y="43"/>
                      <a:pt x="107" y="43"/>
                      <a:pt x="109" y="42"/>
                    </a:cubicBezTo>
                    <a:cubicBezTo>
                      <a:pt x="110" y="41"/>
                      <a:pt x="110" y="39"/>
                      <a:pt x="112" y="41"/>
                    </a:cubicBezTo>
                    <a:cubicBezTo>
                      <a:pt x="112" y="41"/>
                      <a:pt x="113" y="42"/>
                      <a:pt x="113" y="42"/>
                    </a:cubicBezTo>
                    <a:cubicBezTo>
                      <a:pt x="113" y="43"/>
                      <a:pt x="114" y="43"/>
                      <a:pt x="114" y="43"/>
                    </a:cubicBezTo>
                    <a:cubicBezTo>
                      <a:pt x="116" y="46"/>
                      <a:pt x="115" y="51"/>
                      <a:pt x="115" y="54"/>
                    </a:cubicBezTo>
                    <a:cubicBezTo>
                      <a:pt x="115" y="56"/>
                      <a:pt x="115" y="56"/>
                      <a:pt x="118" y="56"/>
                    </a:cubicBezTo>
                    <a:cubicBezTo>
                      <a:pt x="119" y="56"/>
                      <a:pt x="120" y="55"/>
                      <a:pt x="121" y="55"/>
                    </a:cubicBezTo>
                    <a:cubicBezTo>
                      <a:pt x="123" y="56"/>
                      <a:pt x="124" y="57"/>
                      <a:pt x="125" y="57"/>
                    </a:cubicBezTo>
                    <a:cubicBezTo>
                      <a:pt x="126" y="60"/>
                      <a:pt x="130" y="56"/>
                      <a:pt x="131" y="57"/>
                    </a:cubicBezTo>
                    <a:cubicBezTo>
                      <a:pt x="132" y="58"/>
                      <a:pt x="132" y="59"/>
                      <a:pt x="131" y="60"/>
                    </a:cubicBezTo>
                    <a:cubicBezTo>
                      <a:pt x="129" y="62"/>
                      <a:pt x="126" y="61"/>
                      <a:pt x="125" y="63"/>
                    </a:cubicBezTo>
                    <a:cubicBezTo>
                      <a:pt x="124" y="65"/>
                      <a:pt x="125" y="68"/>
                      <a:pt x="125" y="70"/>
                    </a:cubicBezTo>
                    <a:cubicBezTo>
                      <a:pt x="125" y="72"/>
                      <a:pt x="125" y="72"/>
                      <a:pt x="126" y="74"/>
                    </a:cubicBezTo>
                    <a:cubicBezTo>
                      <a:pt x="126" y="74"/>
                      <a:pt x="127" y="75"/>
                      <a:pt x="127" y="75"/>
                    </a:cubicBezTo>
                    <a:cubicBezTo>
                      <a:pt x="127" y="76"/>
                      <a:pt x="127" y="77"/>
                      <a:pt x="127" y="78"/>
                    </a:cubicBezTo>
                    <a:cubicBezTo>
                      <a:pt x="129" y="78"/>
                      <a:pt x="130" y="77"/>
                      <a:pt x="129" y="80"/>
                    </a:cubicBezTo>
                    <a:cubicBezTo>
                      <a:pt x="129" y="81"/>
                      <a:pt x="129" y="81"/>
                      <a:pt x="127" y="81"/>
                    </a:cubicBezTo>
                    <a:cubicBezTo>
                      <a:pt x="124" y="82"/>
                      <a:pt x="122" y="81"/>
                      <a:pt x="119" y="82"/>
                    </a:cubicBezTo>
                    <a:cubicBezTo>
                      <a:pt x="118" y="82"/>
                      <a:pt x="118" y="83"/>
                      <a:pt x="117" y="83"/>
                    </a:cubicBezTo>
                    <a:cubicBezTo>
                      <a:pt x="116" y="83"/>
                      <a:pt x="116" y="83"/>
                      <a:pt x="115" y="83"/>
                    </a:cubicBezTo>
                    <a:cubicBezTo>
                      <a:pt x="113" y="83"/>
                      <a:pt x="113" y="83"/>
                      <a:pt x="112" y="84"/>
                    </a:cubicBezTo>
                    <a:cubicBezTo>
                      <a:pt x="110" y="85"/>
                      <a:pt x="110" y="85"/>
                      <a:pt x="110" y="87"/>
                    </a:cubicBezTo>
                    <a:cubicBezTo>
                      <a:pt x="110" y="87"/>
                      <a:pt x="109" y="88"/>
                      <a:pt x="109" y="88"/>
                    </a:cubicBezTo>
                    <a:cubicBezTo>
                      <a:pt x="109" y="89"/>
                      <a:pt x="109" y="90"/>
                      <a:pt x="109" y="91"/>
                    </a:cubicBezTo>
                    <a:cubicBezTo>
                      <a:pt x="109" y="92"/>
                      <a:pt x="109" y="92"/>
                      <a:pt x="109" y="93"/>
                    </a:cubicBezTo>
                    <a:cubicBezTo>
                      <a:pt x="110" y="94"/>
                      <a:pt x="110" y="94"/>
                      <a:pt x="110" y="95"/>
                    </a:cubicBezTo>
                    <a:cubicBezTo>
                      <a:pt x="110" y="96"/>
                      <a:pt x="109" y="97"/>
                      <a:pt x="108" y="98"/>
                    </a:cubicBezTo>
                    <a:cubicBezTo>
                      <a:pt x="107" y="101"/>
                      <a:pt x="109" y="101"/>
                      <a:pt x="110" y="104"/>
                    </a:cubicBezTo>
                    <a:cubicBezTo>
                      <a:pt x="110" y="105"/>
                      <a:pt x="110" y="106"/>
                      <a:pt x="111" y="107"/>
                    </a:cubicBezTo>
                    <a:cubicBezTo>
                      <a:pt x="111" y="108"/>
                      <a:pt x="112" y="109"/>
                      <a:pt x="113" y="109"/>
                    </a:cubicBezTo>
                    <a:cubicBezTo>
                      <a:pt x="114" y="110"/>
                      <a:pt x="115" y="111"/>
                      <a:pt x="114" y="112"/>
                    </a:cubicBezTo>
                    <a:cubicBezTo>
                      <a:pt x="114" y="112"/>
                      <a:pt x="114" y="112"/>
                      <a:pt x="113" y="112"/>
                    </a:cubicBezTo>
                    <a:cubicBezTo>
                      <a:pt x="113" y="112"/>
                      <a:pt x="112" y="111"/>
                      <a:pt x="112" y="111"/>
                    </a:cubicBezTo>
                    <a:cubicBezTo>
                      <a:pt x="111" y="110"/>
                      <a:pt x="110" y="109"/>
                      <a:pt x="109" y="108"/>
                    </a:cubicBezTo>
                    <a:cubicBezTo>
                      <a:pt x="108" y="107"/>
                      <a:pt x="108" y="107"/>
                      <a:pt x="107" y="106"/>
                    </a:cubicBezTo>
                    <a:cubicBezTo>
                      <a:pt x="105" y="105"/>
                      <a:pt x="104" y="106"/>
                      <a:pt x="103" y="106"/>
                    </a:cubicBezTo>
                    <a:cubicBezTo>
                      <a:pt x="101" y="106"/>
                      <a:pt x="99" y="105"/>
                      <a:pt x="98" y="105"/>
                    </a:cubicBezTo>
                    <a:cubicBezTo>
                      <a:pt x="96" y="104"/>
                      <a:pt x="95" y="104"/>
                      <a:pt x="94" y="104"/>
                    </a:cubicBezTo>
                    <a:cubicBezTo>
                      <a:pt x="92" y="103"/>
                      <a:pt x="91" y="100"/>
                      <a:pt x="93" y="99"/>
                    </a:cubicBezTo>
                    <a:cubicBezTo>
                      <a:pt x="94" y="98"/>
                      <a:pt x="100" y="100"/>
                      <a:pt x="99" y="97"/>
                    </a:cubicBezTo>
                    <a:cubicBezTo>
                      <a:pt x="98" y="95"/>
                      <a:pt x="97" y="96"/>
                      <a:pt x="97" y="95"/>
                    </a:cubicBezTo>
                    <a:cubicBezTo>
                      <a:pt x="97" y="94"/>
                      <a:pt x="97" y="92"/>
                      <a:pt x="97" y="91"/>
                    </a:cubicBezTo>
                    <a:cubicBezTo>
                      <a:pt x="97" y="90"/>
                      <a:pt x="96" y="90"/>
                      <a:pt x="96" y="89"/>
                    </a:cubicBezTo>
                    <a:cubicBezTo>
                      <a:pt x="96" y="89"/>
                      <a:pt x="97" y="88"/>
                      <a:pt x="97" y="88"/>
                    </a:cubicBezTo>
                    <a:cubicBezTo>
                      <a:pt x="97" y="88"/>
                      <a:pt x="97" y="87"/>
                      <a:pt x="97" y="86"/>
                    </a:cubicBezTo>
                    <a:cubicBezTo>
                      <a:pt x="96" y="84"/>
                      <a:pt x="95" y="83"/>
                      <a:pt x="94" y="82"/>
                    </a:cubicBezTo>
                    <a:cubicBezTo>
                      <a:pt x="94" y="81"/>
                      <a:pt x="94" y="81"/>
                      <a:pt x="94" y="80"/>
                    </a:cubicBezTo>
                    <a:cubicBezTo>
                      <a:pt x="93" y="80"/>
                      <a:pt x="93" y="80"/>
                      <a:pt x="93" y="79"/>
                    </a:cubicBezTo>
                    <a:cubicBezTo>
                      <a:pt x="93" y="77"/>
                      <a:pt x="95" y="78"/>
                      <a:pt x="97" y="78"/>
                    </a:cubicBezTo>
                    <a:cubicBezTo>
                      <a:pt x="98" y="78"/>
                      <a:pt x="98" y="78"/>
                      <a:pt x="100" y="78"/>
                    </a:cubicBezTo>
                    <a:cubicBezTo>
                      <a:pt x="101" y="78"/>
                      <a:pt x="102" y="77"/>
                      <a:pt x="102" y="77"/>
                    </a:cubicBezTo>
                    <a:cubicBezTo>
                      <a:pt x="103" y="77"/>
                      <a:pt x="104" y="77"/>
                      <a:pt x="105" y="77"/>
                    </a:cubicBezTo>
                    <a:cubicBezTo>
                      <a:pt x="107" y="76"/>
                      <a:pt x="106" y="76"/>
                      <a:pt x="107" y="75"/>
                    </a:cubicBezTo>
                    <a:cubicBezTo>
                      <a:pt x="108" y="72"/>
                      <a:pt x="109" y="75"/>
                      <a:pt x="111" y="75"/>
                    </a:cubicBezTo>
                    <a:cubicBezTo>
                      <a:pt x="111" y="75"/>
                      <a:pt x="112" y="75"/>
                      <a:pt x="113" y="75"/>
                    </a:cubicBezTo>
                    <a:cubicBezTo>
                      <a:pt x="113" y="74"/>
                      <a:pt x="113" y="72"/>
                      <a:pt x="112" y="72"/>
                    </a:cubicBezTo>
                    <a:cubicBezTo>
                      <a:pt x="112" y="71"/>
                      <a:pt x="111" y="71"/>
                      <a:pt x="110" y="71"/>
                    </a:cubicBezTo>
                    <a:cubicBezTo>
                      <a:pt x="110" y="70"/>
                      <a:pt x="108" y="69"/>
                      <a:pt x="108" y="68"/>
                    </a:cubicBezTo>
                    <a:cubicBezTo>
                      <a:pt x="107" y="68"/>
                      <a:pt x="108" y="67"/>
                      <a:pt x="108" y="66"/>
                    </a:cubicBezTo>
                    <a:cubicBezTo>
                      <a:pt x="108" y="64"/>
                      <a:pt x="107" y="64"/>
                      <a:pt x="105" y="63"/>
                    </a:cubicBezTo>
                    <a:cubicBezTo>
                      <a:pt x="103" y="62"/>
                      <a:pt x="103" y="60"/>
                      <a:pt x="102" y="58"/>
                    </a:cubicBezTo>
                    <a:cubicBezTo>
                      <a:pt x="101" y="57"/>
                      <a:pt x="99" y="56"/>
                      <a:pt x="98" y="55"/>
                    </a:cubicBezTo>
                    <a:cubicBezTo>
                      <a:pt x="97" y="54"/>
                      <a:pt x="97" y="55"/>
                      <a:pt x="97" y="53"/>
                    </a:cubicBezTo>
                    <a:cubicBezTo>
                      <a:pt x="97" y="52"/>
                      <a:pt x="98" y="51"/>
                      <a:pt x="99" y="50"/>
                    </a:cubicBezTo>
                    <a:cubicBezTo>
                      <a:pt x="100" y="49"/>
                      <a:pt x="101" y="48"/>
                      <a:pt x="102" y="47"/>
                    </a:cubicBezTo>
                    <a:cubicBezTo>
                      <a:pt x="104" y="47"/>
                      <a:pt x="105" y="46"/>
                      <a:pt x="106" y="45"/>
                    </a:cubicBezTo>
                    <a:cubicBezTo>
                      <a:pt x="104" y="45"/>
                      <a:pt x="102" y="45"/>
                      <a:pt x="100" y="46"/>
                    </a:cubicBezTo>
                    <a:cubicBezTo>
                      <a:pt x="99" y="47"/>
                      <a:pt x="98" y="48"/>
                      <a:pt x="97" y="49"/>
                    </a:cubicBezTo>
                    <a:cubicBezTo>
                      <a:pt x="95" y="51"/>
                      <a:pt x="93" y="53"/>
                      <a:pt x="92" y="53"/>
                    </a:cubicBezTo>
                    <a:cubicBezTo>
                      <a:pt x="90" y="53"/>
                      <a:pt x="86" y="53"/>
                      <a:pt x="85" y="51"/>
                    </a:cubicBezTo>
                    <a:cubicBezTo>
                      <a:pt x="85" y="51"/>
                      <a:pt x="85" y="51"/>
                      <a:pt x="85" y="51"/>
                    </a:cubicBezTo>
                    <a:cubicBezTo>
                      <a:pt x="85" y="50"/>
                      <a:pt x="84" y="50"/>
                      <a:pt x="84" y="49"/>
                    </a:cubicBezTo>
                    <a:cubicBezTo>
                      <a:pt x="84" y="48"/>
                      <a:pt x="83" y="47"/>
                      <a:pt x="82" y="47"/>
                    </a:cubicBezTo>
                    <a:cubicBezTo>
                      <a:pt x="78" y="47"/>
                      <a:pt x="77" y="50"/>
                      <a:pt x="77" y="53"/>
                    </a:cubicBezTo>
                    <a:cubicBezTo>
                      <a:pt x="77" y="56"/>
                      <a:pt x="77" y="57"/>
                      <a:pt x="75" y="60"/>
                    </a:cubicBezTo>
                    <a:cubicBezTo>
                      <a:pt x="75" y="60"/>
                      <a:pt x="74" y="62"/>
                      <a:pt x="73" y="62"/>
                    </a:cubicBezTo>
                    <a:cubicBezTo>
                      <a:pt x="72" y="63"/>
                      <a:pt x="69" y="61"/>
                      <a:pt x="67" y="60"/>
                    </a:cubicBezTo>
                    <a:cubicBezTo>
                      <a:pt x="67" y="61"/>
                      <a:pt x="67" y="62"/>
                      <a:pt x="67" y="63"/>
                    </a:cubicBezTo>
                    <a:cubicBezTo>
                      <a:pt x="66" y="66"/>
                      <a:pt x="68" y="68"/>
                      <a:pt x="69" y="71"/>
                    </a:cubicBezTo>
                    <a:cubicBezTo>
                      <a:pt x="69" y="72"/>
                      <a:pt x="68" y="73"/>
                      <a:pt x="69" y="74"/>
                    </a:cubicBezTo>
                    <a:cubicBezTo>
                      <a:pt x="69" y="75"/>
                      <a:pt x="72" y="75"/>
                      <a:pt x="73" y="77"/>
                    </a:cubicBezTo>
                    <a:cubicBezTo>
                      <a:pt x="73" y="79"/>
                      <a:pt x="72" y="80"/>
                      <a:pt x="72" y="81"/>
                    </a:cubicBezTo>
                    <a:cubicBezTo>
                      <a:pt x="72" y="83"/>
                      <a:pt x="72" y="84"/>
                      <a:pt x="72" y="85"/>
                    </a:cubicBezTo>
                    <a:cubicBezTo>
                      <a:pt x="72" y="86"/>
                      <a:pt x="71" y="87"/>
                      <a:pt x="71" y="88"/>
                    </a:cubicBezTo>
                    <a:cubicBezTo>
                      <a:pt x="71" y="89"/>
                      <a:pt x="70" y="90"/>
                      <a:pt x="70" y="90"/>
                    </a:cubicBezTo>
                    <a:cubicBezTo>
                      <a:pt x="70" y="91"/>
                      <a:pt x="70" y="91"/>
                      <a:pt x="70" y="91"/>
                    </a:cubicBezTo>
                    <a:cubicBezTo>
                      <a:pt x="70" y="92"/>
                      <a:pt x="70" y="92"/>
                      <a:pt x="70" y="92"/>
                    </a:cubicBezTo>
                    <a:cubicBezTo>
                      <a:pt x="70" y="92"/>
                      <a:pt x="69" y="93"/>
                      <a:pt x="69" y="93"/>
                    </a:cubicBezTo>
                    <a:cubicBezTo>
                      <a:pt x="69" y="94"/>
                      <a:pt x="68" y="93"/>
                      <a:pt x="68" y="94"/>
                    </a:cubicBezTo>
                    <a:cubicBezTo>
                      <a:pt x="67" y="94"/>
                      <a:pt x="66" y="95"/>
                      <a:pt x="66" y="95"/>
                    </a:cubicBezTo>
                    <a:cubicBezTo>
                      <a:pt x="65" y="95"/>
                      <a:pt x="65" y="95"/>
                      <a:pt x="65" y="96"/>
                    </a:cubicBezTo>
                    <a:cubicBezTo>
                      <a:pt x="64" y="97"/>
                      <a:pt x="65" y="97"/>
                      <a:pt x="65" y="98"/>
                    </a:cubicBezTo>
                    <a:cubicBezTo>
                      <a:pt x="65" y="98"/>
                      <a:pt x="64" y="99"/>
                      <a:pt x="64" y="99"/>
                    </a:cubicBezTo>
                    <a:cubicBezTo>
                      <a:pt x="63" y="100"/>
                      <a:pt x="63" y="102"/>
                      <a:pt x="63" y="103"/>
                    </a:cubicBezTo>
                    <a:cubicBezTo>
                      <a:pt x="63" y="104"/>
                      <a:pt x="63" y="106"/>
                      <a:pt x="62" y="107"/>
                    </a:cubicBezTo>
                    <a:cubicBezTo>
                      <a:pt x="62" y="109"/>
                      <a:pt x="60" y="110"/>
                      <a:pt x="60" y="111"/>
                    </a:cubicBezTo>
                    <a:cubicBezTo>
                      <a:pt x="58" y="114"/>
                      <a:pt x="55" y="117"/>
                      <a:pt x="54" y="122"/>
                    </a:cubicBezTo>
                    <a:cubicBezTo>
                      <a:pt x="53" y="121"/>
                      <a:pt x="51" y="123"/>
                      <a:pt x="50" y="124"/>
                    </a:cubicBezTo>
                    <a:cubicBezTo>
                      <a:pt x="49" y="125"/>
                      <a:pt x="49" y="126"/>
                      <a:pt x="49" y="127"/>
                    </a:cubicBezTo>
                    <a:cubicBezTo>
                      <a:pt x="49" y="127"/>
                      <a:pt x="49" y="128"/>
                      <a:pt x="48" y="128"/>
                    </a:cubicBezTo>
                    <a:cubicBezTo>
                      <a:pt x="48" y="126"/>
                      <a:pt x="43" y="126"/>
                      <a:pt x="42" y="127"/>
                    </a:cubicBezTo>
                    <a:cubicBezTo>
                      <a:pt x="41" y="128"/>
                      <a:pt x="41" y="128"/>
                      <a:pt x="41" y="129"/>
                    </a:cubicBezTo>
                    <a:cubicBezTo>
                      <a:pt x="40" y="130"/>
                      <a:pt x="40" y="131"/>
                      <a:pt x="39" y="133"/>
                    </a:cubicBezTo>
                    <a:cubicBezTo>
                      <a:pt x="39" y="134"/>
                      <a:pt x="38" y="134"/>
                      <a:pt x="38" y="135"/>
                    </a:cubicBezTo>
                    <a:cubicBezTo>
                      <a:pt x="38" y="136"/>
                      <a:pt x="38" y="137"/>
                      <a:pt x="38" y="138"/>
                    </a:cubicBezTo>
                    <a:cubicBezTo>
                      <a:pt x="38" y="140"/>
                      <a:pt x="39" y="140"/>
                      <a:pt x="39" y="141"/>
                    </a:cubicBezTo>
                    <a:cubicBezTo>
                      <a:pt x="40" y="143"/>
                      <a:pt x="39" y="144"/>
                      <a:pt x="40" y="145"/>
                    </a:cubicBezTo>
                    <a:cubicBezTo>
                      <a:pt x="39" y="145"/>
                      <a:pt x="39" y="145"/>
                      <a:pt x="38" y="146"/>
                    </a:cubicBezTo>
                    <a:cubicBezTo>
                      <a:pt x="36" y="146"/>
                      <a:pt x="36" y="146"/>
                      <a:pt x="34" y="147"/>
                    </a:cubicBezTo>
                    <a:cubicBezTo>
                      <a:pt x="34" y="147"/>
                      <a:pt x="33" y="147"/>
                      <a:pt x="32" y="147"/>
                    </a:cubicBezTo>
                    <a:cubicBezTo>
                      <a:pt x="32" y="148"/>
                      <a:pt x="32" y="148"/>
                      <a:pt x="32" y="149"/>
                    </a:cubicBezTo>
                    <a:cubicBezTo>
                      <a:pt x="30" y="150"/>
                      <a:pt x="30" y="149"/>
                      <a:pt x="29" y="151"/>
                    </a:cubicBezTo>
                    <a:cubicBezTo>
                      <a:pt x="29" y="152"/>
                      <a:pt x="29" y="154"/>
                      <a:pt x="29" y="156"/>
                    </a:cubicBezTo>
                    <a:cubicBezTo>
                      <a:pt x="29" y="158"/>
                      <a:pt x="28" y="157"/>
                      <a:pt x="26" y="157"/>
                    </a:cubicBezTo>
                    <a:cubicBezTo>
                      <a:pt x="25" y="157"/>
                      <a:pt x="23" y="158"/>
                      <a:pt x="22" y="158"/>
                    </a:cubicBezTo>
                    <a:cubicBezTo>
                      <a:pt x="20" y="159"/>
                      <a:pt x="15" y="162"/>
                      <a:pt x="16" y="164"/>
                    </a:cubicBezTo>
                    <a:cubicBezTo>
                      <a:pt x="17" y="165"/>
                      <a:pt x="19" y="165"/>
                      <a:pt x="20" y="164"/>
                    </a:cubicBezTo>
                    <a:cubicBezTo>
                      <a:pt x="20" y="164"/>
                      <a:pt x="21" y="163"/>
                      <a:pt x="21" y="163"/>
                    </a:cubicBezTo>
                    <a:cubicBezTo>
                      <a:pt x="22" y="162"/>
                      <a:pt x="24" y="162"/>
                      <a:pt x="24" y="162"/>
                    </a:cubicBezTo>
                    <a:cubicBezTo>
                      <a:pt x="26" y="161"/>
                      <a:pt x="26" y="161"/>
                      <a:pt x="28" y="162"/>
                    </a:cubicBezTo>
                    <a:cubicBezTo>
                      <a:pt x="28" y="162"/>
                      <a:pt x="29" y="163"/>
                      <a:pt x="29" y="164"/>
                    </a:cubicBezTo>
                    <a:cubicBezTo>
                      <a:pt x="30" y="164"/>
                      <a:pt x="32" y="164"/>
                      <a:pt x="33" y="164"/>
                    </a:cubicBezTo>
                    <a:cubicBezTo>
                      <a:pt x="34" y="164"/>
                      <a:pt x="40" y="161"/>
                      <a:pt x="40" y="163"/>
                    </a:cubicBezTo>
                    <a:cubicBezTo>
                      <a:pt x="41" y="164"/>
                      <a:pt x="37" y="167"/>
                      <a:pt x="36" y="167"/>
                    </a:cubicBezTo>
                    <a:cubicBezTo>
                      <a:pt x="35" y="168"/>
                      <a:pt x="35" y="169"/>
                      <a:pt x="35" y="170"/>
                    </a:cubicBezTo>
                    <a:cubicBezTo>
                      <a:pt x="37" y="170"/>
                      <a:pt x="39" y="171"/>
                      <a:pt x="40" y="172"/>
                    </a:cubicBezTo>
                    <a:cubicBezTo>
                      <a:pt x="40" y="173"/>
                      <a:pt x="40" y="175"/>
                      <a:pt x="40" y="176"/>
                    </a:cubicBezTo>
                    <a:cubicBezTo>
                      <a:pt x="41" y="177"/>
                      <a:pt x="44" y="177"/>
                      <a:pt x="44" y="178"/>
                    </a:cubicBezTo>
                    <a:cubicBezTo>
                      <a:pt x="45" y="179"/>
                      <a:pt x="44" y="180"/>
                      <a:pt x="44" y="181"/>
                    </a:cubicBezTo>
                    <a:cubicBezTo>
                      <a:pt x="39" y="181"/>
                      <a:pt x="36" y="176"/>
                      <a:pt x="34" y="172"/>
                    </a:cubicBezTo>
                    <a:cubicBezTo>
                      <a:pt x="33" y="171"/>
                      <a:pt x="31" y="170"/>
                      <a:pt x="30" y="169"/>
                    </a:cubicBezTo>
                    <a:cubicBezTo>
                      <a:pt x="29" y="169"/>
                      <a:pt x="28" y="169"/>
                      <a:pt x="28" y="168"/>
                    </a:cubicBezTo>
                    <a:cubicBezTo>
                      <a:pt x="27" y="167"/>
                      <a:pt x="27" y="167"/>
                      <a:pt x="25" y="167"/>
                    </a:cubicBezTo>
                    <a:cubicBezTo>
                      <a:pt x="23" y="167"/>
                      <a:pt x="23" y="168"/>
                      <a:pt x="22" y="169"/>
                    </a:cubicBezTo>
                    <a:cubicBezTo>
                      <a:pt x="20" y="170"/>
                      <a:pt x="17" y="169"/>
                      <a:pt x="15" y="169"/>
                    </a:cubicBezTo>
                    <a:cubicBezTo>
                      <a:pt x="13" y="169"/>
                      <a:pt x="13" y="169"/>
                      <a:pt x="12" y="169"/>
                    </a:cubicBezTo>
                    <a:cubicBezTo>
                      <a:pt x="12" y="170"/>
                      <a:pt x="11" y="170"/>
                      <a:pt x="11" y="171"/>
                    </a:cubicBezTo>
                    <a:cubicBezTo>
                      <a:pt x="10" y="171"/>
                      <a:pt x="10" y="171"/>
                      <a:pt x="9" y="172"/>
                    </a:cubicBezTo>
                    <a:cubicBezTo>
                      <a:pt x="8" y="173"/>
                      <a:pt x="5" y="177"/>
                      <a:pt x="6" y="179"/>
                    </a:cubicBezTo>
                    <a:cubicBezTo>
                      <a:pt x="8" y="179"/>
                      <a:pt x="12" y="178"/>
                      <a:pt x="13" y="180"/>
                    </a:cubicBezTo>
                    <a:cubicBezTo>
                      <a:pt x="14" y="180"/>
                      <a:pt x="14" y="181"/>
                      <a:pt x="14" y="182"/>
                    </a:cubicBezTo>
                    <a:cubicBezTo>
                      <a:pt x="15" y="183"/>
                      <a:pt x="16" y="183"/>
                      <a:pt x="18" y="184"/>
                    </a:cubicBezTo>
                    <a:cubicBezTo>
                      <a:pt x="22" y="184"/>
                      <a:pt x="23" y="187"/>
                      <a:pt x="27" y="185"/>
                    </a:cubicBezTo>
                    <a:cubicBezTo>
                      <a:pt x="29" y="184"/>
                      <a:pt x="31" y="183"/>
                      <a:pt x="33" y="182"/>
                    </a:cubicBezTo>
                    <a:cubicBezTo>
                      <a:pt x="34" y="182"/>
                      <a:pt x="34" y="182"/>
                      <a:pt x="35" y="182"/>
                    </a:cubicBezTo>
                    <a:cubicBezTo>
                      <a:pt x="36" y="182"/>
                      <a:pt x="37" y="181"/>
                      <a:pt x="37" y="181"/>
                    </a:cubicBezTo>
                    <a:cubicBezTo>
                      <a:pt x="38" y="181"/>
                      <a:pt x="39" y="182"/>
                      <a:pt x="40" y="183"/>
                    </a:cubicBezTo>
                    <a:cubicBezTo>
                      <a:pt x="40" y="185"/>
                      <a:pt x="39" y="186"/>
                      <a:pt x="41" y="186"/>
                    </a:cubicBezTo>
                    <a:cubicBezTo>
                      <a:pt x="42" y="187"/>
                      <a:pt x="46" y="184"/>
                      <a:pt x="47" y="186"/>
                    </a:cubicBezTo>
                    <a:cubicBezTo>
                      <a:pt x="48" y="186"/>
                      <a:pt x="48" y="190"/>
                      <a:pt x="48" y="190"/>
                    </a:cubicBezTo>
                    <a:cubicBezTo>
                      <a:pt x="47" y="191"/>
                      <a:pt x="45" y="190"/>
                      <a:pt x="44" y="190"/>
                    </a:cubicBezTo>
                    <a:cubicBezTo>
                      <a:pt x="41" y="189"/>
                      <a:pt x="39" y="189"/>
                      <a:pt x="36" y="188"/>
                    </a:cubicBezTo>
                    <a:cubicBezTo>
                      <a:pt x="35" y="188"/>
                      <a:pt x="34" y="187"/>
                      <a:pt x="33" y="188"/>
                    </a:cubicBezTo>
                    <a:cubicBezTo>
                      <a:pt x="32" y="188"/>
                      <a:pt x="31" y="188"/>
                      <a:pt x="30" y="188"/>
                    </a:cubicBezTo>
                    <a:cubicBezTo>
                      <a:pt x="27" y="189"/>
                      <a:pt x="24" y="188"/>
                      <a:pt x="21" y="188"/>
                    </a:cubicBezTo>
                    <a:cubicBezTo>
                      <a:pt x="18" y="188"/>
                      <a:pt x="16" y="188"/>
                      <a:pt x="13" y="187"/>
                    </a:cubicBezTo>
                    <a:cubicBezTo>
                      <a:pt x="12" y="187"/>
                      <a:pt x="11" y="186"/>
                      <a:pt x="11" y="186"/>
                    </a:cubicBezTo>
                    <a:cubicBezTo>
                      <a:pt x="9" y="185"/>
                      <a:pt x="8" y="183"/>
                      <a:pt x="6" y="183"/>
                    </a:cubicBezTo>
                    <a:cubicBezTo>
                      <a:pt x="3" y="182"/>
                      <a:pt x="1" y="184"/>
                      <a:pt x="1" y="187"/>
                    </a:cubicBezTo>
                    <a:cubicBezTo>
                      <a:pt x="1" y="188"/>
                      <a:pt x="1" y="189"/>
                      <a:pt x="0" y="190"/>
                    </a:cubicBezTo>
                    <a:cubicBezTo>
                      <a:pt x="0" y="192"/>
                      <a:pt x="1" y="192"/>
                      <a:pt x="1" y="193"/>
                    </a:cubicBezTo>
                    <a:cubicBezTo>
                      <a:pt x="2" y="194"/>
                      <a:pt x="2" y="195"/>
                      <a:pt x="3" y="196"/>
                    </a:cubicBezTo>
                    <a:cubicBezTo>
                      <a:pt x="4" y="197"/>
                      <a:pt x="5" y="197"/>
                      <a:pt x="6" y="197"/>
                    </a:cubicBezTo>
                    <a:cubicBezTo>
                      <a:pt x="7" y="198"/>
                      <a:pt x="9" y="199"/>
                      <a:pt x="11" y="198"/>
                    </a:cubicBezTo>
                    <a:cubicBezTo>
                      <a:pt x="12" y="197"/>
                      <a:pt x="12" y="196"/>
                      <a:pt x="12" y="196"/>
                    </a:cubicBezTo>
                    <a:cubicBezTo>
                      <a:pt x="13" y="195"/>
                      <a:pt x="17" y="194"/>
                      <a:pt x="18" y="194"/>
                    </a:cubicBezTo>
                    <a:cubicBezTo>
                      <a:pt x="21" y="194"/>
                      <a:pt x="22" y="196"/>
                      <a:pt x="23" y="198"/>
                    </a:cubicBezTo>
                    <a:cubicBezTo>
                      <a:pt x="25" y="200"/>
                      <a:pt x="30" y="201"/>
                      <a:pt x="33" y="202"/>
                    </a:cubicBezTo>
                    <a:cubicBezTo>
                      <a:pt x="35" y="203"/>
                      <a:pt x="36" y="204"/>
                      <a:pt x="38" y="203"/>
                    </a:cubicBezTo>
                    <a:cubicBezTo>
                      <a:pt x="39" y="203"/>
                      <a:pt x="40" y="202"/>
                      <a:pt x="41" y="201"/>
                    </a:cubicBezTo>
                    <a:cubicBezTo>
                      <a:pt x="41" y="200"/>
                      <a:pt x="42" y="199"/>
                      <a:pt x="42" y="199"/>
                    </a:cubicBezTo>
                    <a:cubicBezTo>
                      <a:pt x="42" y="198"/>
                      <a:pt x="43" y="197"/>
                      <a:pt x="44" y="196"/>
                    </a:cubicBezTo>
                    <a:cubicBezTo>
                      <a:pt x="44" y="195"/>
                      <a:pt x="44" y="195"/>
                      <a:pt x="46" y="194"/>
                    </a:cubicBezTo>
                    <a:cubicBezTo>
                      <a:pt x="47" y="194"/>
                      <a:pt x="48" y="194"/>
                      <a:pt x="49" y="193"/>
                    </a:cubicBezTo>
                    <a:cubicBezTo>
                      <a:pt x="49" y="193"/>
                      <a:pt x="49" y="193"/>
                      <a:pt x="49" y="193"/>
                    </a:cubicBezTo>
                    <a:cubicBezTo>
                      <a:pt x="49" y="192"/>
                      <a:pt x="49" y="192"/>
                      <a:pt x="50" y="192"/>
                    </a:cubicBezTo>
                    <a:cubicBezTo>
                      <a:pt x="51" y="191"/>
                      <a:pt x="51" y="191"/>
                      <a:pt x="51" y="190"/>
                    </a:cubicBezTo>
                    <a:cubicBezTo>
                      <a:pt x="52" y="189"/>
                      <a:pt x="53" y="188"/>
                      <a:pt x="54" y="188"/>
                    </a:cubicBezTo>
                    <a:cubicBezTo>
                      <a:pt x="55" y="187"/>
                      <a:pt x="55" y="187"/>
                      <a:pt x="56" y="187"/>
                    </a:cubicBezTo>
                    <a:cubicBezTo>
                      <a:pt x="57" y="186"/>
                      <a:pt x="58" y="186"/>
                      <a:pt x="59" y="185"/>
                    </a:cubicBezTo>
                    <a:cubicBezTo>
                      <a:pt x="60" y="185"/>
                      <a:pt x="60" y="184"/>
                      <a:pt x="61" y="183"/>
                    </a:cubicBezTo>
                    <a:cubicBezTo>
                      <a:pt x="62" y="183"/>
                      <a:pt x="63" y="183"/>
                      <a:pt x="64" y="183"/>
                    </a:cubicBezTo>
                    <a:cubicBezTo>
                      <a:pt x="65" y="183"/>
                      <a:pt x="66" y="182"/>
                      <a:pt x="67" y="182"/>
                    </a:cubicBezTo>
                    <a:cubicBezTo>
                      <a:pt x="70" y="182"/>
                      <a:pt x="73" y="182"/>
                      <a:pt x="76" y="182"/>
                    </a:cubicBezTo>
                    <a:cubicBezTo>
                      <a:pt x="79" y="182"/>
                      <a:pt x="80" y="184"/>
                      <a:pt x="82" y="184"/>
                    </a:cubicBezTo>
                    <a:cubicBezTo>
                      <a:pt x="84" y="185"/>
                      <a:pt x="86" y="184"/>
                      <a:pt x="88" y="184"/>
                    </a:cubicBezTo>
                    <a:cubicBezTo>
                      <a:pt x="89" y="184"/>
                      <a:pt x="91" y="184"/>
                      <a:pt x="92" y="184"/>
                    </a:cubicBezTo>
                    <a:cubicBezTo>
                      <a:pt x="93" y="184"/>
                      <a:pt x="94" y="183"/>
                      <a:pt x="96" y="182"/>
                    </a:cubicBezTo>
                    <a:cubicBezTo>
                      <a:pt x="96" y="182"/>
                      <a:pt x="97" y="182"/>
                      <a:pt x="98" y="182"/>
                    </a:cubicBezTo>
                    <a:cubicBezTo>
                      <a:pt x="99" y="182"/>
                      <a:pt x="100" y="182"/>
                      <a:pt x="100" y="182"/>
                    </a:cubicBezTo>
                    <a:cubicBezTo>
                      <a:pt x="103" y="182"/>
                      <a:pt x="104" y="185"/>
                      <a:pt x="103" y="187"/>
                    </a:cubicBezTo>
                    <a:cubicBezTo>
                      <a:pt x="103" y="188"/>
                      <a:pt x="100" y="190"/>
                      <a:pt x="98" y="191"/>
                    </a:cubicBezTo>
                    <a:cubicBezTo>
                      <a:pt x="98" y="191"/>
                      <a:pt x="97" y="191"/>
                      <a:pt x="97" y="192"/>
                    </a:cubicBezTo>
                    <a:cubicBezTo>
                      <a:pt x="97" y="193"/>
                      <a:pt x="98" y="193"/>
                      <a:pt x="99" y="193"/>
                    </a:cubicBezTo>
                    <a:cubicBezTo>
                      <a:pt x="101" y="194"/>
                      <a:pt x="102" y="194"/>
                      <a:pt x="104" y="195"/>
                    </a:cubicBezTo>
                    <a:cubicBezTo>
                      <a:pt x="106" y="196"/>
                      <a:pt x="106" y="196"/>
                      <a:pt x="107" y="197"/>
                    </a:cubicBezTo>
                    <a:cubicBezTo>
                      <a:pt x="107" y="197"/>
                      <a:pt x="108" y="198"/>
                      <a:pt x="108" y="198"/>
                    </a:cubicBezTo>
                    <a:cubicBezTo>
                      <a:pt x="109" y="198"/>
                      <a:pt x="109" y="199"/>
                      <a:pt x="109" y="199"/>
                    </a:cubicBezTo>
                    <a:cubicBezTo>
                      <a:pt x="111" y="200"/>
                      <a:pt x="112" y="200"/>
                      <a:pt x="113" y="199"/>
                    </a:cubicBezTo>
                    <a:cubicBezTo>
                      <a:pt x="116" y="198"/>
                      <a:pt x="118" y="197"/>
                      <a:pt x="121" y="197"/>
                    </a:cubicBezTo>
                    <a:cubicBezTo>
                      <a:pt x="123" y="197"/>
                      <a:pt x="123" y="197"/>
                      <a:pt x="124" y="199"/>
                    </a:cubicBezTo>
                    <a:cubicBezTo>
                      <a:pt x="124" y="199"/>
                      <a:pt x="125" y="200"/>
                      <a:pt x="125" y="200"/>
                    </a:cubicBezTo>
                    <a:cubicBezTo>
                      <a:pt x="126" y="201"/>
                      <a:pt x="126" y="201"/>
                      <a:pt x="127" y="202"/>
                    </a:cubicBezTo>
                    <a:cubicBezTo>
                      <a:pt x="127" y="202"/>
                      <a:pt x="128" y="203"/>
                      <a:pt x="129" y="203"/>
                    </a:cubicBezTo>
                    <a:cubicBezTo>
                      <a:pt x="130" y="204"/>
                      <a:pt x="131" y="204"/>
                      <a:pt x="132" y="204"/>
                    </a:cubicBezTo>
                    <a:cubicBezTo>
                      <a:pt x="133" y="205"/>
                      <a:pt x="135" y="205"/>
                      <a:pt x="136" y="205"/>
                    </a:cubicBezTo>
                    <a:cubicBezTo>
                      <a:pt x="136" y="206"/>
                      <a:pt x="137" y="207"/>
                      <a:pt x="137" y="208"/>
                    </a:cubicBezTo>
                    <a:cubicBezTo>
                      <a:pt x="136" y="209"/>
                      <a:pt x="136" y="209"/>
                      <a:pt x="135" y="210"/>
                    </a:cubicBezTo>
                    <a:cubicBezTo>
                      <a:pt x="135" y="211"/>
                      <a:pt x="134" y="212"/>
                      <a:pt x="134" y="213"/>
                    </a:cubicBezTo>
                    <a:cubicBezTo>
                      <a:pt x="133" y="214"/>
                      <a:pt x="133" y="214"/>
                      <a:pt x="132" y="214"/>
                    </a:cubicBezTo>
                    <a:cubicBezTo>
                      <a:pt x="132" y="215"/>
                      <a:pt x="132" y="215"/>
                      <a:pt x="132" y="216"/>
                    </a:cubicBezTo>
                    <a:cubicBezTo>
                      <a:pt x="131" y="218"/>
                      <a:pt x="130" y="219"/>
                      <a:pt x="129" y="221"/>
                    </a:cubicBezTo>
                    <a:cubicBezTo>
                      <a:pt x="129" y="222"/>
                      <a:pt x="129" y="223"/>
                      <a:pt x="128" y="224"/>
                    </a:cubicBezTo>
                    <a:cubicBezTo>
                      <a:pt x="128" y="226"/>
                      <a:pt x="128" y="227"/>
                      <a:pt x="127" y="228"/>
                    </a:cubicBezTo>
                    <a:cubicBezTo>
                      <a:pt x="126" y="229"/>
                      <a:pt x="126" y="229"/>
                      <a:pt x="126" y="231"/>
                    </a:cubicBezTo>
                    <a:cubicBezTo>
                      <a:pt x="126" y="231"/>
                      <a:pt x="126" y="232"/>
                      <a:pt x="126" y="233"/>
                    </a:cubicBezTo>
                    <a:cubicBezTo>
                      <a:pt x="126" y="234"/>
                      <a:pt x="125" y="238"/>
                      <a:pt x="126" y="239"/>
                    </a:cubicBezTo>
                    <a:cubicBezTo>
                      <a:pt x="127" y="241"/>
                      <a:pt x="131" y="240"/>
                      <a:pt x="133" y="240"/>
                    </a:cubicBezTo>
                    <a:cubicBezTo>
                      <a:pt x="134" y="240"/>
                      <a:pt x="135" y="241"/>
                      <a:pt x="137" y="241"/>
                    </a:cubicBezTo>
                    <a:cubicBezTo>
                      <a:pt x="139" y="243"/>
                      <a:pt x="142" y="243"/>
                      <a:pt x="145" y="243"/>
                    </a:cubicBezTo>
                    <a:cubicBezTo>
                      <a:pt x="145" y="243"/>
                      <a:pt x="145" y="243"/>
                      <a:pt x="145" y="243"/>
                    </a:cubicBezTo>
                    <a:cubicBezTo>
                      <a:pt x="146" y="242"/>
                      <a:pt x="146" y="241"/>
                      <a:pt x="146" y="241"/>
                    </a:cubicBezTo>
                    <a:cubicBezTo>
                      <a:pt x="147" y="240"/>
                      <a:pt x="148" y="240"/>
                      <a:pt x="149" y="239"/>
                    </a:cubicBezTo>
                    <a:cubicBezTo>
                      <a:pt x="149" y="239"/>
                      <a:pt x="148" y="239"/>
                      <a:pt x="148" y="238"/>
                    </a:cubicBezTo>
                    <a:cubicBezTo>
                      <a:pt x="148" y="238"/>
                      <a:pt x="148" y="237"/>
                      <a:pt x="149" y="236"/>
                    </a:cubicBezTo>
                    <a:cubicBezTo>
                      <a:pt x="149" y="235"/>
                      <a:pt x="149" y="235"/>
                      <a:pt x="149" y="233"/>
                    </a:cubicBezTo>
                    <a:cubicBezTo>
                      <a:pt x="149" y="233"/>
                      <a:pt x="149" y="233"/>
                      <a:pt x="149" y="232"/>
                    </a:cubicBezTo>
                    <a:cubicBezTo>
                      <a:pt x="149" y="232"/>
                      <a:pt x="149" y="231"/>
                      <a:pt x="149" y="230"/>
                    </a:cubicBezTo>
                    <a:cubicBezTo>
                      <a:pt x="150" y="229"/>
                      <a:pt x="150" y="227"/>
                      <a:pt x="151" y="226"/>
                    </a:cubicBezTo>
                    <a:cubicBezTo>
                      <a:pt x="151" y="224"/>
                      <a:pt x="151" y="222"/>
                      <a:pt x="151" y="221"/>
                    </a:cubicBezTo>
                    <a:cubicBezTo>
                      <a:pt x="151" y="220"/>
                      <a:pt x="150" y="219"/>
                      <a:pt x="150" y="219"/>
                    </a:cubicBezTo>
                    <a:cubicBezTo>
                      <a:pt x="149" y="219"/>
                      <a:pt x="149" y="219"/>
                      <a:pt x="149" y="219"/>
                    </a:cubicBezTo>
                    <a:cubicBezTo>
                      <a:pt x="149" y="219"/>
                      <a:pt x="149" y="219"/>
                      <a:pt x="149" y="219"/>
                    </a:cubicBezTo>
                    <a:cubicBezTo>
                      <a:pt x="149" y="219"/>
                      <a:pt x="148" y="219"/>
                      <a:pt x="147" y="219"/>
                    </a:cubicBezTo>
                    <a:cubicBezTo>
                      <a:pt x="146" y="219"/>
                      <a:pt x="146" y="219"/>
                      <a:pt x="146" y="219"/>
                    </a:cubicBezTo>
                    <a:cubicBezTo>
                      <a:pt x="145" y="217"/>
                      <a:pt x="146" y="215"/>
                      <a:pt x="146" y="213"/>
                    </a:cubicBezTo>
                    <a:cubicBezTo>
                      <a:pt x="147" y="212"/>
                      <a:pt x="146" y="212"/>
                      <a:pt x="148" y="212"/>
                    </a:cubicBezTo>
                    <a:cubicBezTo>
                      <a:pt x="149" y="211"/>
                      <a:pt x="149" y="211"/>
                      <a:pt x="150" y="210"/>
                    </a:cubicBezTo>
                    <a:cubicBezTo>
                      <a:pt x="150" y="209"/>
                      <a:pt x="152" y="209"/>
                      <a:pt x="153" y="208"/>
                    </a:cubicBezTo>
                    <a:cubicBezTo>
                      <a:pt x="152" y="207"/>
                      <a:pt x="152" y="207"/>
                      <a:pt x="152" y="206"/>
                    </a:cubicBezTo>
                    <a:cubicBezTo>
                      <a:pt x="152" y="206"/>
                      <a:pt x="152" y="205"/>
                      <a:pt x="152" y="205"/>
                    </a:cubicBezTo>
                    <a:cubicBezTo>
                      <a:pt x="152" y="204"/>
                      <a:pt x="152" y="204"/>
                      <a:pt x="151" y="204"/>
                    </a:cubicBezTo>
                    <a:cubicBezTo>
                      <a:pt x="151" y="203"/>
                      <a:pt x="152" y="203"/>
                      <a:pt x="153" y="202"/>
                    </a:cubicBezTo>
                    <a:cubicBezTo>
                      <a:pt x="154" y="199"/>
                      <a:pt x="152" y="196"/>
                      <a:pt x="154" y="194"/>
                    </a:cubicBezTo>
                    <a:cubicBezTo>
                      <a:pt x="154" y="193"/>
                      <a:pt x="155" y="193"/>
                      <a:pt x="155" y="192"/>
                    </a:cubicBezTo>
                    <a:cubicBezTo>
                      <a:pt x="156" y="191"/>
                      <a:pt x="157" y="191"/>
                      <a:pt x="157" y="190"/>
                    </a:cubicBezTo>
                    <a:cubicBezTo>
                      <a:pt x="158" y="189"/>
                      <a:pt x="158" y="190"/>
                      <a:pt x="158" y="188"/>
                    </a:cubicBezTo>
                    <a:cubicBezTo>
                      <a:pt x="158" y="187"/>
                      <a:pt x="158" y="185"/>
                      <a:pt x="158" y="184"/>
                    </a:cubicBezTo>
                    <a:cubicBezTo>
                      <a:pt x="157" y="182"/>
                      <a:pt x="157" y="179"/>
                      <a:pt x="157" y="177"/>
                    </a:cubicBezTo>
                    <a:cubicBezTo>
                      <a:pt x="156" y="176"/>
                      <a:pt x="156" y="176"/>
                      <a:pt x="156" y="175"/>
                    </a:cubicBezTo>
                    <a:cubicBezTo>
                      <a:pt x="156" y="174"/>
                      <a:pt x="156" y="173"/>
                      <a:pt x="156" y="172"/>
                    </a:cubicBezTo>
                    <a:cubicBezTo>
                      <a:pt x="156" y="171"/>
                      <a:pt x="155" y="170"/>
                      <a:pt x="155" y="169"/>
                    </a:cubicBezTo>
                    <a:cubicBezTo>
                      <a:pt x="155" y="169"/>
                      <a:pt x="155" y="169"/>
                      <a:pt x="155" y="168"/>
                    </a:cubicBezTo>
                    <a:cubicBezTo>
                      <a:pt x="154" y="167"/>
                      <a:pt x="152" y="167"/>
                      <a:pt x="151" y="165"/>
                    </a:cubicBezTo>
                    <a:cubicBezTo>
                      <a:pt x="150" y="164"/>
                      <a:pt x="151" y="162"/>
                      <a:pt x="150" y="160"/>
                    </a:cubicBezTo>
                    <a:cubicBezTo>
                      <a:pt x="150" y="158"/>
                      <a:pt x="147" y="157"/>
                      <a:pt x="146" y="156"/>
                    </a:cubicBezTo>
                    <a:cubicBezTo>
                      <a:pt x="145" y="155"/>
                      <a:pt x="145" y="155"/>
                      <a:pt x="145" y="153"/>
                    </a:cubicBezTo>
                    <a:cubicBezTo>
                      <a:pt x="145" y="153"/>
                      <a:pt x="145" y="152"/>
                      <a:pt x="145" y="151"/>
                    </a:cubicBezTo>
                    <a:cubicBezTo>
                      <a:pt x="145" y="149"/>
                      <a:pt x="146" y="146"/>
                      <a:pt x="148" y="146"/>
                    </a:cubicBezTo>
                    <a:cubicBezTo>
                      <a:pt x="150" y="146"/>
                      <a:pt x="151" y="146"/>
                      <a:pt x="153" y="146"/>
                    </a:cubicBezTo>
                    <a:cubicBezTo>
                      <a:pt x="153" y="146"/>
                      <a:pt x="153" y="145"/>
                      <a:pt x="153" y="144"/>
                    </a:cubicBezTo>
                    <a:cubicBezTo>
                      <a:pt x="153" y="141"/>
                      <a:pt x="156" y="141"/>
                      <a:pt x="158" y="141"/>
                    </a:cubicBezTo>
                    <a:cubicBezTo>
                      <a:pt x="160" y="142"/>
                      <a:pt x="162" y="143"/>
                      <a:pt x="164" y="144"/>
                    </a:cubicBezTo>
                    <a:cubicBezTo>
                      <a:pt x="165" y="145"/>
                      <a:pt x="166" y="145"/>
                      <a:pt x="167" y="145"/>
                    </a:cubicBezTo>
                    <a:cubicBezTo>
                      <a:pt x="168" y="145"/>
                      <a:pt x="170" y="145"/>
                      <a:pt x="171" y="145"/>
                    </a:cubicBezTo>
                    <a:cubicBezTo>
                      <a:pt x="172" y="145"/>
                      <a:pt x="173" y="144"/>
                      <a:pt x="174" y="144"/>
                    </a:cubicBezTo>
                    <a:cubicBezTo>
                      <a:pt x="176" y="144"/>
                      <a:pt x="175" y="144"/>
                      <a:pt x="176" y="143"/>
                    </a:cubicBezTo>
                    <a:cubicBezTo>
                      <a:pt x="177" y="142"/>
                      <a:pt x="179" y="142"/>
                      <a:pt x="180" y="142"/>
                    </a:cubicBezTo>
                    <a:cubicBezTo>
                      <a:pt x="182" y="141"/>
                      <a:pt x="185" y="139"/>
                      <a:pt x="187" y="138"/>
                    </a:cubicBezTo>
                    <a:cubicBezTo>
                      <a:pt x="188" y="138"/>
                      <a:pt x="189" y="137"/>
                      <a:pt x="189" y="136"/>
                    </a:cubicBezTo>
                    <a:cubicBezTo>
                      <a:pt x="190" y="134"/>
                      <a:pt x="189" y="134"/>
                      <a:pt x="188" y="133"/>
                    </a:cubicBezTo>
                    <a:cubicBezTo>
                      <a:pt x="188" y="132"/>
                      <a:pt x="188" y="130"/>
                      <a:pt x="188" y="129"/>
                    </a:cubicBezTo>
                    <a:cubicBezTo>
                      <a:pt x="188" y="128"/>
                      <a:pt x="188" y="127"/>
                      <a:pt x="188" y="126"/>
                    </a:cubicBezTo>
                    <a:cubicBezTo>
                      <a:pt x="188" y="126"/>
                      <a:pt x="188" y="125"/>
                      <a:pt x="189" y="124"/>
                    </a:cubicBezTo>
                    <a:cubicBezTo>
                      <a:pt x="189" y="124"/>
                      <a:pt x="189" y="124"/>
                      <a:pt x="190" y="124"/>
                    </a:cubicBezTo>
                    <a:cubicBezTo>
                      <a:pt x="190" y="123"/>
                      <a:pt x="191" y="123"/>
                      <a:pt x="191" y="122"/>
                    </a:cubicBezTo>
                    <a:cubicBezTo>
                      <a:pt x="193" y="120"/>
                      <a:pt x="195" y="119"/>
                      <a:pt x="197" y="117"/>
                    </a:cubicBezTo>
                    <a:cubicBezTo>
                      <a:pt x="198" y="116"/>
                      <a:pt x="198" y="115"/>
                      <a:pt x="199" y="114"/>
                    </a:cubicBezTo>
                    <a:cubicBezTo>
                      <a:pt x="201" y="114"/>
                      <a:pt x="202" y="113"/>
                      <a:pt x="203" y="112"/>
                    </a:cubicBezTo>
                    <a:cubicBezTo>
                      <a:pt x="205" y="110"/>
                      <a:pt x="203" y="107"/>
                      <a:pt x="204" y="105"/>
                    </a:cubicBezTo>
                    <a:cubicBezTo>
                      <a:pt x="204" y="104"/>
                      <a:pt x="205" y="104"/>
                      <a:pt x="205" y="103"/>
                    </a:cubicBezTo>
                    <a:cubicBezTo>
                      <a:pt x="206" y="102"/>
                      <a:pt x="206" y="100"/>
                      <a:pt x="206" y="99"/>
                    </a:cubicBezTo>
                    <a:cubicBezTo>
                      <a:pt x="205" y="98"/>
                      <a:pt x="205" y="98"/>
                      <a:pt x="204" y="97"/>
                    </a:cubicBezTo>
                    <a:cubicBezTo>
                      <a:pt x="204" y="97"/>
                      <a:pt x="204" y="96"/>
                      <a:pt x="204" y="96"/>
                    </a:cubicBezTo>
                    <a:cubicBezTo>
                      <a:pt x="204" y="96"/>
                      <a:pt x="204" y="95"/>
                      <a:pt x="203" y="95"/>
                    </a:cubicBezTo>
                    <a:cubicBezTo>
                      <a:pt x="203" y="95"/>
                      <a:pt x="203" y="95"/>
                      <a:pt x="203" y="95"/>
                    </a:cubicBezTo>
                    <a:cubicBezTo>
                      <a:pt x="199" y="93"/>
                      <a:pt x="182" y="94"/>
                      <a:pt x="185" y="85"/>
                    </a:cubicBezTo>
                    <a:cubicBezTo>
                      <a:pt x="186" y="83"/>
                      <a:pt x="185" y="83"/>
                      <a:pt x="183" y="81"/>
                    </a:cubicBezTo>
                    <a:cubicBezTo>
                      <a:pt x="183" y="81"/>
                      <a:pt x="182" y="80"/>
                      <a:pt x="182" y="80"/>
                    </a:cubicBezTo>
                    <a:cubicBezTo>
                      <a:pt x="181" y="80"/>
                      <a:pt x="180" y="78"/>
                      <a:pt x="180" y="78"/>
                    </a:cubicBezTo>
                    <a:cubicBezTo>
                      <a:pt x="179" y="77"/>
                      <a:pt x="179" y="76"/>
                      <a:pt x="180" y="76"/>
                    </a:cubicBezTo>
                    <a:cubicBezTo>
                      <a:pt x="181" y="76"/>
                      <a:pt x="182" y="74"/>
                      <a:pt x="183" y="74"/>
                    </a:cubicBezTo>
                    <a:cubicBezTo>
                      <a:pt x="184" y="74"/>
                      <a:pt x="186" y="74"/>
                      <a:pt x="187" y="74"/>
                    </a:cubicBezTo>
                    <a:cubicBezTo>
                      <a:pt x="189" y="74"/>
                      <a:pt x="191" y="74"/>
                      <a:pt x="193" y="74"/>
                    </a:cubicBezTo>
                    <a:cubicBezTo>
                      <a:pt x="194" y="73"/>
                      <a:pt x="194" y="73"/>
                      <a:pt x="195" y="72"/>
                    </a:cubicBezTo>
                    <a:cubicBezTo>
                      <a:pt x="195" y="71"/>
                      <a:pt x="195" y="71"/>
                      <a:pt x="197" y="71"/>
                    </a:cubicBezTo>
                    <a:cubicBezTo>
                      <a:pt x="198" y="71"/>
                      <a:pt x="200" y="72"/>
                      <a:pt x="201" y="71"/>
                    </a:cubicBezTo>
                    <a:cubicBezTo>
                      <a:pt x="202" y="71"/>
                      <a:pt x="203" y="69"/>
                      <a:pt x="204" y="68"/>
                    </a:cubicBezTo>
                    <a:cubicBezTo>
                      <a:pt x="205" y="67"/>
                      <a:pt x="208" y="67"/>
                      <a:pt x="209" y="65"/>
                    </a:cubicBezTo>
                    <a:cubicBezTo>
                      <a:pt x="209" y="64"/>
                      <a:pt x="208" y="64"/>
                      <a:pt x="208" y="63"/>
                    </a:cubicBezTo>
                    <a:cubicBezTo>
                      <a:pt x="206" y="60"/>
                      <a:pt x="207" y="59"/>
                      <a:pt x="209" y="57"/>
                    </a:cubicBezTo>
                    <a:cubicBezTo>
                      <a:pt x="209" y="56"/>
                      <a:pt x="210" y="56"/>
                      <a:pt x="210" y="55"/>
                    </a:cubicBezTo>
                    <a:cubicBezTo>
                      <a:pt x="212" y="54"/>
                      <a:pt x="212" y="53"/>
                      <a:pt x="213" y="51"/>
                    </a:cubicBezTo>
                    <a:cubicBezTo>
                      <a:pt x="214" y="49"/>
                      <a:pt x="214" y="47"/>
                      <a:pt x="214" y="44"/>
                    </a:cubicBezTo>
                    <a:cubicBezTo>
                      <a:pt x="214" y="42"/>
                      <a:pt x="213" y="39"/>
                      <a:pt x="214" y="37"/>
                    </a:cubicBezTo>
                    <a:cubicBezTo>
                      <a:pt x="214" y="36"/>
                      <a:pt x="214" y="36"/>
                      <a:pt x="214" y="35"/>
                    </a:cubicBezTo>
                    <a:cubicBezTo>
                      <a:pt x="215" y="33"/>
                      <a:pt x="215" y="32"/>
                      <a:pt x="215" y="31"/>
                    </a:cubicBezTo>
                    <a:cubicBezTo>
                      <a:pt x="215" y="28"/>
                      <a:pt x="215" y="25"/>
                      <a:pt x="215" y="22"/>
                    </a:cubicBezTo>
                    <a:cubicBezTo>
                      <a:pt x="215" y="20"/>
                      <a:pt x="216" y="18"/>
                      <a:pt x="216" y="16"/>
                    </a:cubicBezTo>
                    <a:cubicBezTo>
                      <a:pt x="213" y="14"/>
                      <a:pt x="213" y="14"/>
                      <a:pt x="213" y="14"/>
                    </a:cubicBezTo>
                    <a:cubicBezTo>
                      <a:pt x="212" y="14"/>
                      <a:pt x="212" y="14"/>
                      <a:pt x="211" y="14"/>
                    </a:cubicBezTo>
                    <a:cubicBezTo>
                      <a:pt x="210" y="14"/>
                      <a:pt x="209" y="14"/>
                      <a:pt x="209" y="14"/>
                    </a:cubicBezTo>
                    <a:cubicBezTo>
                      <a:pt x="208" y="13"/>
                      <a:pt x="208" y="11"/>
                      <a:pt x="207" y="10"/>
                    </a:cubicBezTo>
                    <a:lnTo>
                      <a:pt x="206" y="9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49" name="Freeform 98">
                <a:extLst>
                  <a:ext uri="{FF2B5EF4-FFF2-40B4-BE49-F238E27FC236}">
                    <a16:creationId xmlns:a16="http://schemas.microsoft.com/office/drawing/2014/main" id="{D680B928-C8C2-4F4C-A938-C9F4D4F658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6525" y="4025900"/>
                <a:ext cx="22225" cy="30163"/>
              </a:xfrm>
              <a:custGeom>
                <a:avLst/>
                <a:gdLst/>
                <a:ahLst/>
                <a:cxnLst>
                  <a:cxn ang="0">
                    <a:pos x="4" y="5"/>
                  </a:cxn>
                  <a:cxn ang="0">
                    <a:pos x="1" y="10"/>
                  </a:cxn>
                  <a:cxn ang="0">
                    <a:pos x="1" y="14"/>
                  </a:cxn>
                  <a:cxn ang="0">
                    <a:pos x="5" y="16"/>
                  </a:cxn>
                  <a:cxn ang="0">
                    <a:pos x="12" y="6"/>
                  </a:cxn>
                  <a:cxn ang="0">
                    <a:pos x="10" y="1"/>
                  </a:cxn>
                  <a:cxn ang="0">
                    <a:pos x="7" y="0"/>
                  </a:cxn>
                  <a:cxn ang="0">
                    <a:pos x="6" y="0"/>
                  </a:cxn>
                  <a:cxn ang="0">
                    <a:pos x="4" y="5"/>
                  </a:cxn>
                </a:cxnLst>
                <a:rect l="0" t="0" r="r" b="b"/>
                <a:pathLst>
                  <a:path w="12" h="16">
                    <a:moveTo>
                      <a:pt x="4" y="5"/>
                    </a:moveTo>
                    <a:cubicBezTo>
                      <a:pt x="3" y="6"/>
                      <a:pt x="2" y="8"/>
                      <a:pt x="1" y="10"/>
                    </a:cubicBezTo>
                    <a:cubicBezTo>
                      <a:pt x="0" y="11"/>
                      <a:pt x="0" y="13"/>
                      <a:pt x="1" y="14"/>
                    </a:cubicBezTo>
                    <a:cubicBezTo>
                      <a:pt x="2" y="15"/>
                      <a:pt x="4" y="16"/>
                      <a:pt x="5" y="16"/>
                    </a:cubicBezTo>
                    <a:cubicBezTo>
                      <a:pt x="9" y="16"/>
                      <a:pt x="12" y="10"/>
                      <a:pt x="12" y="6"/>
                    </a:cubicBezTo>
                    <a:cubicBezTo>
                      <a:pt x="12" y="4"/>
                      <a:pt x="11" y="2"/>
                      <a:pt x="10" y="1"/>
                    </a:cubicBezTo>
                    <a:cubicBezTo>
                      <a:pt x="9" y="0"/>
                      <a:pt x="8" y="0"/>
                      <a:pt x="7" y="0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5" y="4"/>
                      <a:pt x="4" y="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50" name="Freeform 99">
                <a:extLst>
                  <a:ext uri="{FF2B5EF4-FFF2-40B4-BE49-F238E27FC236}">
                    <a16:creationId xmlns:a16="http://schemas.microsoft.com/office/drawing/2014/main" id="{BDA741F8-459C-4A2A-BBCE-0F18B049C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338" y="4002088"/>
                <a:ext cx="14288" cy="12700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3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4" y="6"/>
                  </a:cxn>
                  <a:cxn ang="0">
                    <a:pos x="5" y="5"/>
                  </a:cxn>
                  <a:cxn ang="0">
                    <a:pos x="7" y="3"/>
                  </a:cxn>
                  <a:cxn ang="0">
                    <a:pos x="8" y="2"/>
                  </a:cxn>
                  <a:cxn ang="0">
                    <a:pos x="8" y="1"/>
                  </a:cxn>
                  <a:cxn ang="0">
                    <a:pos x="7" y="0"/>
                  </a:cxn>
                </a:cxnLst>
                <a:rect l="0" t="0" r="r" b="b"/>
                <a:pathLst>
                  <a:path w="8" h="7">
                    <a:moveTo>
                      <a:pt x="7" y="0"/>
                    </a:moveTo>
                    <a:cubicBezTo>
                      <a:pt x="6" y="1"/>
                      <a:pt x="4" y="1"/>
                      <a:pt x="3" y="3"/>
                    </a:cubicBezTo>
                    <a:cubicBezTo>
                      <a:pt x="3" y="3"/>
                      <a:pt x="2" y="4"/>
                      <a:pt x="2" y="5"/>
                    </a:cubicBezTo>
                    <a:cubicBezTo>
                      <a:pt x="1" y="5"/>
                      <a:pt x="0" y="7"/>
                      <a:pt x="2" y="7"/>
                    </a:cubicBezTo>
                    <a:cubicBezTo>
                      <a:pt x="2" y="7"/>
                      <a:pt x="3" y="6"/>
                      <a:pt x="4" y="6"/>
                    </a:cubicBezTo>
                    <a:cubicBezTo>
                      <a:pt x="4" y="5"/>
                      <a:pt x="5" y="5"/>
                      <a:pt x="5" y="5"/>
                    </a:cubicBezTo>
                    <a:cubicBezTo>
                      <a:pt x="6" y="4"/>
                      <a:pt x="7" y="4"/>
                      <a:pt x="7" y="3"/>
                    </a:cubicBezTo>
                    <a:cubicBezTo>
                      <a:pt x="7" y="3"/>
                      <a:pt x="7" y="3"/>
                      <a:pt x="8" y="2"/>
                    </a:cubicBezTo>
                    <a:cubicBezTo>
                      <a:pt x="8" y="2"/>
                      <a:pt x="8" y="2"/>
                      <a:pt x="8" y="1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51" name="Freeform 100">
                <a:extLst>
                  <a:ext uri="{FF2B5EF4-FFF2-40B4-BE49-F238E27FC236}">
                    <a16:creationId xmlns:a16="http://schemas.microsoft.com/office/drawing/2014/main" id="{4078F895-17C1-40C9-9FBE-E9A977C89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4150" y="3984625"/>
                <a:ext cx="26988" cy="14288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9" y="1"/>
                  </a:cxn>
                  <a:cxn ang="0">
                    <a:pos x="5" y="2"/>
                  </a:cxn>
                  <a:cxn ang="0">
                    <a:pos x="2" y="4"/>
                  </a:cxn>
                  <a:cxn ang="0">
                    <a:pos x="1" y="6"/>
                  </a:cxn>
                  <a:cxn ang="0">
                    <a:pos x="6" y="6"/>
                  </a:cxn>
                  <a:cxn ang="0">
                    <a:pos x="12" y="3"/>
                  </a:cxn>
                  <a:cxn ang="0">
                    <a:pos x="13" y="1"/>
                  </a:cxn>
                  <a:cxn ang="0">
                    <a:pos x="11" y="1"/>
                  </a:cxn>
                  <a:cxn ang="0">
                    <a:pos x="10" y="1"/>
                  </a:cxn>
                </a:cxnLst>
                <a:rect l="0" t="0" r="r" b="b"/>
                <a:pathLst>
                  <a:path w="14" h="7">
                    <a:moveTo>
                      <a:pt x="10" y="1"/>
                    </a:moveTo>
                    <a:cubicBezTo>
                      <a:pt x="10" y="1"/>
                      <a:pt x="9" y="1"/>
                      <a:pt x="9" y="1"/>
                    </a:cubicBezTo>
                    <a:cubicBezTo>
                      <a:pt x="8" y="2"/>
                      <a:pt x="6" y="2"/>
                      <a:pt x="5" y="2"/>
                    </a:cubicBezTo>
                    <a:cubicBezTo>
                      <a:pt x="4" y="3"/>
                      <a:pt x="3" y="3"/>
                      <a:pt x="2" y="4"/>
                    </a:cubicBezTo>
                    <a:cubicBezTo>
                      <a:pt x="1" y="5"/>
                      <a:pt x="0" y="6"/>
                      <a:pt x="1" y="6"/>
                    </a:cubicBezTo>
                    <a:cubicBezTo>
                      <a:pt x="3" y="7"/>
                      <a:pt x="4" y="7"/>
                      <a:pt x="6" y="6"/>
                    </a:cubicBezTo>
                    <a:cubicBezTo>
                      <a:pt x="8" y="6"/>
                      <a:pt x="10" y="5"/>
                      <a:pt x="12" y="3"/>
                    </a:cubicBezTo>
                    <a:cubicBezTo>
                      <a:pt x="12" y="3"/>
                      <a:pt x="14" y="2"/>
                      <a:pt x="13" y="1"/>
                    </a:cubicBezTo>
                    <a:cubicBezTo>
                      <a:pt x="13" y="0"/>
                      <a:pt x="12" y="1"/>
                      <a:pt x="11" y="1"/>
                    </a:cubicBezTo>
                    <a:lnTo>
                      <a:pt x="10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52" name="Freeform 101">
                <a:extLst>
                  <a:ext uri="{FF2B5EF4-FFF2-40B4-BE49-F238E27FC236}">
                    <a16:creationId xmlns:a16="http://schemas.microsoft.com/office/drawing/2014/main" id="{57FA3CB5-5177-4BF5-956A-E7A9769AC0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6538" y="3973513"/>
                <a:ext cx="28575" cy="7938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4" y="4"/>
                  </a:cxn>
                  <a:cxn ang="0">
                    <a:pos x="11" y="3"/>
                  </a:cxn>
                  <a:cxn ang="0">
                    <a:pos x="14" y="1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5" y="1"/>
                  </a:cxn>
                  <a:cxn ang="0">
                    <a:pos x="9" y="1"/>
                  </a:cxn>
                </a:cxnLst>
                <a:rect l="0" t="0" r="r" b="b"/>
                <a:pathLst>
                  <a:path w="15" h="4">
                    <a:moveTo>
                      <a:pt x="9" y="1"/>
                    </a:moveTo>
                    <a:cubicBezTo>
                      <a:pt x="6" y="1"/>
                      <a:pt x="3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1" y="4"/>
                    </a:cubicBezTo>
                    <a:cubicBezTo>
                      <a:pt x="2" y="4"/>
                      <a:pt x="3" y="4"/>
                      <a:pt x="4" y="4"/>
                    </a:cubicBezTo>
                    <a:cubicBezTo>
                      <a:pt x="7" y="4"/>
                      <a:pt x="9" y="4"/>
                      <a:pt x="11" y="3"/>
                    </a:cubicBezTo>
                    <a:cubicBezTo>
                      <a:pt x="12" y="3"/>
                      <a:pt x="15" y="2"/>
                      <a:pt x="14" y="1"/>
                    </a:cubicBezTo>
                    <a:cubicBezTo>
                      <a:pt x="14" y="1"/>
                      <a:pt x="13" y="0"/>
                      <a:pt x="12" y="0"/>
                    </a:cubicBezTo>
                    <a:cubicBezTo>
                      <a:pt x="11" y="0"/>
                      <a:pt x="10" y="0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6" y="1"/>
                      <a:pt x="6" y="1"/>
                      <a:pt x="5" y="1"/>
                    </a:cubicBezTo>
                    <a:lnTo>
                      <a:pt x="9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53" name="Freeform 102">
                <a:extLst>
                  <a:ext uri="{FF2B5EF4-FFF2-40B4-BE49-F238E27FC236}">
                    <a16:creationId xmlns:a16="http://schemas.microsoft.com/office/drawing/2014/main" id="{C1E9048A-C8C3-485D-A62A-F050D8556B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5750" y="3968750"/>
                <a:ext cx="20638" cy="4763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9" y="0"/>
                  </a:cxn>
                  <a:cxn ang="0">
                    <a:pos x="5" y="1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5" y="3"/>
                  </a:cxn>
                  <a:cxn ang="0">
                    <a:pos x="9" y="3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9" y="1"/>
                  </a:cxn>
                </a:cxnLst>
                <a:rect l="0" t="0" r="r" b="b"/>
                <a:pathLst>
                  <a:path w="11" h="3">
                    <a:moveTo>
                      <a:pt x="9" y="1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7" y="0"/>
                      <a:pt x="6" y="0"/>
                      <a:pt x="5" y="1"/>
                    </a:cubicBezTo>
                    <a:cubicBezTo>
                      <a:pt x="4" y="1"/>
                      <a:pt x="2" y="1"/>
                      <a:pt x="1" y="1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3" y="2"/>
                      <a:pt x="4" y="3"/>
                      <a:pt x="5" y="3"/>
                    </a:cubicBezTo>
                    <a:cubicBezTo>
                      <a:pt x="6" y="3"/>
                      <a:pt x="7" y="3"/>
                      <a:pt x="9" y="3"/>
                    </a:cubicBezTo>
                    <a:cubicBezTo>
                      <a:pt x="9" y="3"/>
                      <a:pt x="10" y="3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lnTo>
                      <a:pt x="9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54" name="Freeform 103">
                <a:extLst>
                  <a:ext uri="{FF2B5EF4-FFF2-40B4-BE49-F238E27FC236}">
                    <a16:creationId xmlns:a16="http://schemas.microsoft.com/office/drawing/2014/main" id="{9E9F6E26-1AA7-465D-B29C-C829FBCBC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525" y="2338388"/>
                <a:ext cx="114300" cy="109538"/>
              </a:xfrm>
              <a:custGeom>
                <a:avLst/>
                <a:gdLst/>
                <a:ahLst/>
                <a:cxnLst>
                  <a:cxn ang="0">
                    <a:pos x="50" y="10"/>
                  </a:cxn>
                  <a:cxn ang="0">
                    <a:pos x="48" y="3"/>
                  </a:cxn>
                  <a:cxn ang="0">
                    <a:pos x="43" y="2"/>
                  </a:cxn>
                  <a:cxn ang="0">
                    <a:pos x="42" y="6"/>
                  </a:cxn>
                  <a:cxn ang="0">
                    <a:pos x="39" y="13"/>
                  </a:cxn>
                  <a:cxn ang="0">
                    <a:pos x="38" y="17"/>
                  </a:cxn>
                  <a:cxn ang="0">
                    <a:pos x="35" y="14"/>
                  </a:cxn>
                  <a:cxn ang="0">
                    <a:pos x="31" y="8"/>
                  </a:cxn>
                  <a:cxn ang="0">
                    <a:pos x="32" y="19"/>
                  </a:cxn>
                  <a:cxn ang="0">
                    <a:pos x="24" y="14"/>
                  </a:cxn>
                  <a:cxn ang="0">
                    <a:pos x="20" y="18"/>
                  </a:cxn>
                  <a:cxn ang="0">
                    <a:pos x="13" y="18"/>
                  </a:cxn>
                  <a:cxn ang="0">
                    <a:pos x="10" y="24"/>
                  </a:cxn>
                  <a:cxn ang="0">
                    <a:pos x="6" y="19"/>
                  </a:cxn>
                  <a:cxn ang="0">
                    <a:pos x="7" y="31"/>
                  </a:cxn>
                  <a:cxn ang="0">
                    <a:pos x="4" y="33"/>
                  </a:cxn>
                  <a:cxn ang="0">
                    <a:pos x="0" y="38"/>
                  </a:cxn>
                  <a:cxn ang="0">
                    <a:pos x="2" y="43"/>
                  </a:cxn>
                  <a:cxn ang="0">
                    <a:pos x="4" y="47"/>
                  </a:cxn>
                  <a:cxn ang="0">
                    <a:pos x="7" y="47"/>
                  </a:cxn>
                  <a:cxn ang="0">
                    <a:pos x="12" y="50"/>
                  </a:cxn>
                  <a:cxn ang="0">
                    <a:pos x="21" y="50"/>
                  </a:cxn>
                  <a:cxn ang="0">
                    <a:pos x="23" y="52"/>
                  </a:cxn>
                  <a:cxn ang="0">
                    <a:pos x="31" y="54"/>
                  </a:cxn>
                  <a:cxn ang="0">
                    <a:pos x="33" y="58"/>
                  </a:cxn>
                  <a:cxn ang="0">
                    <a:pos x="42" y="54"/>
                  </a:cxn>
                  <a:cxn ang="0">
                    <a:pos x="34" y="50"/>
                  </a:cxn>
                  <a:cxn ang="0">
                    <a:pos x="40" y="45"/>
                  </a:cxn>
                  <a:cxn ang="0">
                    <a:pos x="39" y="37"/>
                  </a:cxn>
                  <a:cxn ang="0">
                    <a:pos x="40" y="34"/>
                  </a:cxn>
                  <a:cxn ang="0">
                    <a:pos x="44" y="34"/>
                  </a:cxn>
                  <a:cxn ang="0">
                    <a:pos x="45" y="33"/>
                  </a:cxn>
                  <a:cxn ang="0">
                    <a:pos x="49" y="33"/>
                  </a:cxn>
                  <a:cxn ang="0">
                    <a:pos x="61" y="30"/>
                  </a:cxn>
                  <a:cxn ang="0">
                    <a:pos x="55" y="18"/>
                  </a:cxn>
                  <a:cxn ang="0">
                    <a:pos x="57" y="11"/>
                  </a:cxn>
                  <a:cxn ang="0">
                    <a:pos x="52" y="10"/>
                  </a:cxn>
                  <a:cxn ang="0">
                    <a:pos x="52" y="9"/>
                  </a:cxn>
                  <a:cxn ang="0">
                    <a:pos x="50" y="10"/>
                  </a:cxn>
                </a:cxnLst>
                <a:rect l="0" t="0" r="r" b="b"/>
                <a:pathLst>
                  <a:path w="61" h="59">
                    <a:moveTo>
                      <a:pt x="50" y="10"/>
                    </a:moveTo>
                    <a:cubicBezTo>
                      <a:pt x="50" y="7"/>
                      <a:pt x="50" y="5"/>
                      <a:pt x="48" y="3"/>
                    </a:cubicBezTo>
                    <a:cubicBezTo>
                      <a:pt x="47" y="2"/>
                      <a:pt x="45" y="0"/>
                      <a:pt x="43" y="2"/>
                    </a:cubicBezTo>
                    <a:cubicBezTo>
                      <a:pt x="43" y="2"/>
                      <a:pt x="43" y="5"/>
                      <a:pt x="42" y="6"/>
                    </a:cubicBezTo>
                    <a:cubicBezTo>
                      <a:pt x="41" y="8"/>
                      <a:pt x="39" y="10"/>
                      <a:pt x="39" y="13"/>
                    </a:cubicBezTo>
                    <a:cubicBezTo>
                      <a:pt x="37" y="13"/>
                      <a:pt x="36" y="16"/>
                      <a:pt x="38" y="17"/>
                    </a:cubicBezTo>
                    <a:cubicBezTo>
                      <a:pt x="41" y="15"/>
                      <a:pt x="35" y="9"/>
                      <a:pt x="35" y="14"/>
                    </a:cubicBezTo>
                    <a:cubicBezTo>
                      <a:pt x="35" y="11"/>
                      <a:pt x="33" y="9"/>
                      <a:pt x="31" y="8"/>
                    </a:cubicBezTo>
                    <a:cubicBezTo>
                      <a:pt x="29" y="11"/>
                      <a:pt x="33" y="16"/>
                      <a:pt x="32" y="19"/>
                    </a:cubicBezTo>
                    <a:cubicBezTo>
                      <a:pt x="29" y="19"/>
                      <a:pt x="27" y="14"/>
                      <a:pt x="24" y="14"/>
                    </a:cubicBezTo>
                    <a:cubicBezTo>
                      <a:pt x="21" y="14"/>
                      <a:pt x="20" y="15"/>
                      <a:pt x="20" y="18"/>
                    </a:cubicBezTo>
                    <a:cubicBezTo>
                      <a:pt x="18" y="19"/>
                      <a:pt x="15" y="18"/>
                      <a:pt x="13" y="18"/>
                    </a:cubicBezTo>
                    <a:cubicBezTo>
                      <a:pt x="13" y="19"/>
                      <a:pt x="12" y="24"/>
                      <a:pt x="10" y="24"/>
                    </a:cubicBezTo>
                    <a:cubicBezTo>
                      <a:pt x="9" y="22"/>
                      <a:pt x="8" y="19"/>
                      <a:pt x="6" y="19"/>
                    </a:cubicBezTo>
                    <a:cubicBezTo>
                      <a:pt x="5" y="23"/>
                      <a:pt x="8" y="27"/>
                      <a:pt x="7" y="31"/>
                    </a:cubicBezTo>
                    <a:cubicBezTo>
                      <a:pt x="5" y="31"/>
                      <a:pt x="5" y="32"/>
                      <a:pt x="4" y="33"/>
                    </a:cubicBezTo>
                    <a:cubicBezTo>
                      <a:pt x="2" y="35"/>
                      <a:pt x="0" y="36"/>
                      <a:pt x="0" y="38"/>
                    </a:cubicBezTo>
                    <a:cubicBezTo>
                      <a:pt x="0" y="41"/>
                      <a:pt x="1" y="41"/>
                      <a:pt x="2" y="43"/>
                    </a:cubicBezTo>
                    <a:cubicBezTo>
                      <a:pt x="3" y="44"/>
                      <a:pt x="3" y="46"/>
                      <a:pt x="4" y="47"/>
                    </a:cubicBezTo>
                    <a:cubicBezTo>
                      <a:pt x="5" y="48"/>
                      <a:pt x="6" y="47"/>
                      <a:pt x="7" y="47"/>
                    </a:cubicBezTo>
                    <a:cubicBezTo>
                      <a:pt x="10" y="48"/>
                      <a:pt x="8" y="50"/>
                      <a:pt x="12" y="50"/>
                    </a:cubicBezTo>
                    <a:cubicBezTo>
                      <a:pt x="14" y="50"/>
                      <a:pt x="19" y="49"/>
                      <a:pt x="21" y="50"/>
                    </a:cubicBezTo>
                    <a:cubicBezTo>
                      <a:pt x="22" y="50"/>
                      <a:pt x="22" y="52"/>
                      <a:pt x="23" y="52"/>
                    </a:cubicBezTo>
                    <a:cubicBezTo>
                      <a:pt x="25" y="53"/>
                      <a:pt x="29" y="52"/>
                      <a:pt x="31" y="54"/>
                    </a:cubicBezTo>
                    <a:cubicBezTo>
                      <a:pt x="32" y="54"/>
                      <a:pt x="33" y="56"/>
                      <a:pt x="33" y="58"/>
                    </a:cubicBezTo>
                    <a:cubicBezTo>
                      <a:pt x="36" y="59"/>
                      <a:pt x="40" y="56"/>
                      <a:pt x="42" y="54"/>
                    </a:cubicBezTo>
                    <a:cubicBezTo>
                      <a:pt x="39" y="54"/>
                      <a:pt x="36" y="51"/>
                      <a:pt x="34" y="50"/>
                    </a:cubicBezTo>
                    <a:cubicBezTo>
                      <a:pt x="36" y="49"/>
                      <a:pt x="39" y="48"/>
                      <a:pt x="40" y="45"/>
                    </a:cubicBezTo>
                    <a:cubicBezTo>
                      <a:pt x="47" y="45"/>
                      <a:pt x="39" y="40"/>
                      <a:pt x="39" y="37"/>
                    </a:cubicBezTo>
                    <a:cubicBezTo>
                      <a:pt x="39" y="36"/>
                      <a:pt x="40" y="34"/>
                      <a:pt x="40" y="34"/>
                    </a:cubicBezTo>
                    <a:cubicBezTo>
                      <a:pt x="42" y="33"/>
                      <a:pt x="42" y="34"/>
                      <a:pt x="44" y="34"/>
                    </a:cubicBezTo>
                    <a:cubicBezTo>
                      <a:pt x="45" y="34"/>
                      <a:pt x="45" y="33"/>
                      <a:pt x="45" y="33"/>
                    </a:cubicBezTo>
                    <a:cubicBezTo>
                      <a:pt x="46" y="32"/>
                      <a:pt x="47" y="33"/>
                      <a:pt x="49" y="33"/>
                    </a:cubicBezTo>
                    <a:cubicBezTo>
                      <a:pt x="52" y="33"/>
                      <a:pt x="61" y="35"/>
                      <a:pt x="61" y="30"/>
                    </a:cubicBezTo>
                    <a:cubicBezTo>
                      <a:pt x="60" y="25"/>
                      <a:pt x="55" y="23"/>
                      <a:pt x="55" y="18"/>
                    </a:cubicBezTo>
                    <a:cubicBezTo>
                      <a:pt x="55" y="15"/>
                      <a:pt x="57" y="13"/>
                      <a:pt x="57" y="11"/>
                    </a:cubicBezTo>
                    <a:cubicBezTo>
                      <a:pt x="55" y="10"/>
                      <a:pt x="54" y="11"/>
                      <a:pt x="52" y="10"/>
                    </a:cubicBezTo>
                    <a:cubicBezTo>
                      <a:pt x="52" y="10"/>
                      <a:pt x="52" y="9"/>
                      <a:pt x="52" y="9"/>
                    </a:cubicBezTo>
                    <a:lnTo>
                      <a:pt x="50" y="1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55" name="Freeform 104">
                <a:extLst>
                  <a:ext uri="{FF2B5EF4-FFF2-40B4-BE49-F238E27FC236}">
                    <a16:creationId xmlns:a16="http://schemas.microsoft.com/office/drawing/2014/main" id="{6DCD92B4-3D94-40E2-BC39-CAA11924BA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9388" y="2454275"/>
                <a:ext cx="31750" cy="31750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6" y="2"/>
                  </a:cxn>
                  <a:cxn ang="0">
                    <a:pos x="1" y="5"/>
                  </a:cxn>
                  <a:cxn ang="0">
                    <a:pos x="4" y="10"/>
                  </a:cxn>
                  <a:cxn ang="0">
                    <a:pos x="6" y="13"/>
                  </a:cxn>
                  <a:cxn ang="0">
                    <a:pos x="16" y="17"/>
                  </a:cxn>
                  <a:cxn ang="0">
                    <a:pos x="16" y="10"/>
                  </a:cxn>
                  <a:cxn ang="0">
                    <a:pos x="13" y="6"/>
                  </a:cxn>
                </a:cxnLst>
                <a:rect l="0" t="0" r="r" b="b"/>
                <a:pathLst>
                  <a:path w="17" h="17">
                    <a:moveTo>
                      <a:pt x="13" y="6"/>
                    </a:moveTo>
                    <a:cubicBezTo>
                      <a:pt x="10" y="6"/>
                      <a:pt x="8" y="3"/>
                      <a:pt x="6" y="2"/>
                    </a:cubicBezTo>
                    <a:cubicBezTo>
                      <a:pt x="3" y="0"/>
                      <a:pt x="0" y="0"/>
                      <a:pt x="1" y="5"/>
                    </a:cubicBezTo>
                    <a:cubicBezTo>
                      <a:pt x="1" y="8"/>
                      <a:pt x="2" y="7"/>
                      <a:pt x="4" y="10"/>
                    </a:cubicBezTo>
                    <a:cubicBezTo>
                      <a:pt x="5" y="11"/>
                      <a:pt x="5" y="12"/>
                      <a:pt x="6" y="13"/>
                    </a:cubicBezTo>
                    <a:cubicBezTo>
                      <a:pt x="7" y="15"/>
                      <a:pt x="14" y="17"/>
                      <a:pt x="16" y="17"/>
                    </a:cubicBezTo>
                    <a:cubicBezTo>
                      <a:pt x="16" y="15"/>
                      <a:pt x="17" y="12"/>
                      <a:pt x="16" y="10"/>
                    </a:cubicBezTo>
                    <a:lnTo>
                      <a:pt x="13" y="6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56" name="Freeform 105">
                <a:extLst>
                  <a:ext uri="{FF2B5EF4-FFF2-40B4-BE49-F238E27FC236}">
                    <a16:creationId xmlns:a16="http://schemas.microsoft.com/office/drawing/2014/main" id="{D4A15D85-50CE-4B7D-A41F-D454C02FE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6213" y="2506663"/>
                <a:ext cx="28575" cy="50800"/>
              </a:xfrm>
              <a:custGeom>
                <a:avLst/>
                <a:gdLst/>
                <a:ahLst/>
                <a:cxnLst>
                  <a:cxn ang="0">
                    <a:pos x="11" y="4"/>
                  </a:cxn>
                  <a:cxn ang="0">
                    <a:pos x="2" y="2"/>
                  </a:cxn>
                  <a:cxn ang="0">
                    <a:pos x="2" y="9"/>
                  </a:cxn>
                  <a:cxn ang="0">
                    <a:pos x="9" y="16"/>
                  </a:cxn>
                  <a:cxn ang="0">
                    <a:pos x="7" y="21"/>
                  </a:cxn>
                  <a:cxn ang="0">
                    <a:pos x="9" y="26"/>
                  </a:cxn>
                  <a:cxn ang="0">
                    <a:pos x="12" y="27"/>
                  </a:cxn>
                  <a:cxn ang="0">
                    <a:pos x="12" y="16"/>
                  </a:cxn>
                  <a:cxn ang="0">
                    <a:pos x="13" y="10"/>
                  </a:cxn>
                  <a:cxn ang="0">
                    <a:pos x="11" y="4"/>
                  </a:cxn>
                </a:cxnLst>
                <a:rect l="0" t="0" r="r" b="b"/>
                <a:pathLst>
                  <a:path w="15" h="27">
                    <a:moveTo>
                      <a:pt x="11" y="4"/>
                    </a:moveTo>
                    <a:cubicBezTo>
                      <a:pt x="9" y="3"/>
                      <a:pt x="3" y="0"/>
                      <a:pt x="2" y="2"/>
                    </a:cubicBezTo>
                    <a:cubicBezTo>
                      <a:pt x="0" y="3"/>
                      <a:pt x="1" y="7"/>
                      <a:pt x="2" y="9"/>
                    </a:cubicBezTo>
                    <a:cubicBezTo>
                      <a:pt x="3" y="12"/>
                      <a:pt x="8" y="13"/>
                      <a:pt x="9" y="16"/>
                    </a:cubicBezTo>
                    <a:cubicBezTo>
                      <a:pt x="9" y="18"/>
                      <a:pt x="8" y="19"/>
                      <a:pt x="7" y="21"/>
                    </a:cubicBezTo>
                    <a:cubicBezTo>
                      <a:pt x="7" y="22"/>
                      <a:pt x="7" y="25"/>
                      <a:pt x="9" y="26"/>
                    </a:cubicBezTo>
                    <a:cubicBezTo>
                      <a:pt x="9" y="26"/>
                      <a:pt x="12" y="27"/>
                      <a:pt x="12" y="27"/>
                    </a:cubicBezTo>
                    <a:cubicBezTo>
                      <a:pt x="15" y="26"/>
                      <a:pt x="13" y="18"/>
                      <a:pt x="12" y="16"/>
                    </a:cubicBezTo>
                    <a:cubicBezTo>
                      <a:pt x="12" y="15"/>
                      <a:pt x="12" y="12"/>
                      <a:pt x="13" y="10"/>
                    </a:cubicBezTo>
                    <a:lnTo>
                      <a:pt x="11" y="4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57" name="Freeform 106">
                <a:extLst>
                  <a:ext uri="{FF2B5EF4-FFF2-40B4-BE49-F238E27FC236}">
                    <a16:creationId xmlns:a16="http://schemas.microsoft.com/office/drawing/2014/main" id="{355F16C3-3A9E-4E86-8CD5-E3EF86E9E4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94188" y="3221038"/>
                <a:ext cx="300038" cy="554038"/>
              </a:xfrm>
              <a:custGeom>
                <a:avLst/>
                <a:gdLst/>
                <a:ahLst/>
                <a:cxnLst>
                  <a:cxn ang="0">
                    <a:pos x="92" y="72"/>
                  </a:cxn>
                  <a:cxn ang="0">
                    <a:pos x="75" y="76"/>
                  </a:cxn>
                  <a:cxn ang="0">
                    <a:pos x="65" y="79"/>
                  </a:cxn>
                  <a:cxn ang="0">
                    <a:pos x="62" y="97"/>
                  </a:cxn>
                  <a:cxn ang="0">
                    <a:pos x="69" y="109"/>
                  </a:cxn>
                  <a:cxn ang="0">
                    <a:pos x="60" y="103"/>
                  </a:cxn>
                  <a:cxn ang="0">
                    <a:pos x="45" y="81"/>
                  </a:cxn>
                  <a:cxn ang="0">
                    <a:pos x="58" y="74"/>
                  </a:cxn>
                  <a:cxn ang="0">
                    <a:pos x="80" y="70"/>
                  </a:cxn>
                  <a:cxn ang="0">
                    <a:pos x="99" y="67"/>
                  </a:cxn>
                  <a:cxn ang="0">
                    <a:pos x="152" y="264"/>
                  </a:cxn>
                  <a:cxn ang="0">
                    <a:pos x="145" y="261"/>
                  </a:cxn>
                  <a:cxn ang="0">
                    <a:pos x="151" y="239"/>
                  </a:cxn>
                  <a:cxn ang="0">
                    <a:pos x="142" y="225"/>
                  </a:cxn>
                  <a:cxn ang="0">
                    <a:pos x="148" y="222"/>
                  </a:cxn>
                  <a:cxn ang="0">
                    <a:pos x="128" y="207"/>
                  </a:cxn>
                  <a:cxn ang="0">
                    <a:pos x="96" y="204"/>
                  </a:cxn>
                  <a:cxn ang="0">
                    <a:pos x="100" y="187"/>
                  </a:cxn>
                  <a:cxn ang="0">
                    <a:pos x="118" y="185"/>
                  </a:cxn>
                  <a:cxn ang="0">
                    <a:pos x="120" y="164"/>
                  </a:cxn>
                  <a:cxn ang="0">
                    <a:pos x="136" y="155"/>
                  </a:cxn>
                  <a:cxn ang="0">
                    <a:pos x="149" y="152"/>
                  </a:cxn>
                  <a:cxn ang="0">
                    <a:pos x="158" y="131"/>
                  </a:cxn>
                  <a:cxn ang="0">
                    <a:pos x="125" y="109"/>
                  </a:cxn>
                  <a:cxn ang="0">
                    <a:pos x="122" y="92"/>
                  </a:cxn>
                  <a:cxn ang="0">
                    <a:pos x="129" y="66"/>
                  </a:cxn>
                  <a:cxn ang="0">
                    <a:pos x="139" y="50"/>
                  </a:cxn>
                  <a:cxn ang="0">
                    <a:pos x="136" y="26"/>
                  </a:cxn>
                  <a:cxn ang="0">
                    <a:pos x="140" y="2"/>
                  </a:cxn>
                  <a:cxn ang="0">
                    <a:pos x="108" y="16"/>
                  </a:cxn>
                  <a:cxn ang="0">
                    <a:pos x="87" y="45"/>
                  </a:cxn>
                  <a:cxn ang="0">
                    <a:pos x="55" y="58"/>
                  </a:cxn>
                  <a:cxn ang="0">
                    <a:pos x="24" y="72"/>
                  </a:cxn>
                  <a:cxn ang="0">
                    <a:pos x="19" y="105"/>
                  </a:cxn>
                  <a:cxn ang="0">
                    <a:pos x="31" y="104"/>
                  </a:cxn>
                  <a:cxn ang="0">
                    <a:pos x="39" y="106"/>
                  </a:cxn>
                  <a:cxn ang="0">
                    <a:pos x="38" y="124"/>
                  </a:cxn>
                  <a:cxn ang="0">
                    <a:pos x="21" y="118"/>
                  </a:cxn>
                  <a:cxn ang="0">
                    <a:pos x="5" y="120"/>
                  </a:cxn>
                  <a:cxn ang="0">
                    <a:pos x="6" y="160"/>
                  </a:cxn>
                  <a:cxn ang="0">
                    <a:pos x="15" y="167"/>
                  </a:cxn>
                  <a:cxn ang="0">
                    <a:pos x="12" y="177"/>
                  </a:cxn>
                  <a:cxn ang="0">
                    <a:pos x="5" y="207"/>
                  </a:cxn>
                  <a:cxn ang="0">
                    <a:pos x="13" y="227"/>
                  </a:cxn>
                  <a:cxn ang="0">
                    <a:pos x="22" y="223"/>
                  </a:cxn>
                  <a:cxn ang="0">
                    <a:pos x="28" y="224"/>
                  </a:cxn>
                  <a:cxn ang="0">
                    <a:pos x="34" y="240"/>
                  </a:cxn>
                  <a:cxn ang="0">
                    <a:pos x="32" y="261"/>
                  </a:cxn>
                  <a:cxn ang="0">
                    <a:pos x="49" y="272"/>
                  </a:cxn>
                  <a:cxn ang="0">
                    <a:pos x="63" y="274"/>
                  </a:cxn>
                  <a:cxn ang="0">
                    <a:pos x="72" y="279"/>
                  </a:cxn>
                  <a:cxn ang="0">
                    <a:pos x="86" y="277"/>
                  </a:cxn>
                  <a:cxn ang="0">
                    <a:pos x="105" y="281"/>
                  </a:cxn>
                  <a:cxn ang="0">
                    <a:pos x="102" y="259"/>
                  </a:cxn>
                  <a:cxn ang="0">
                    <a:pos x="88" y="264"/>
                  </a:cxn>
                  <a:cxn ang="0">
                    <a:pos x="90" y="246"/>
                  </a:cxn>
                  <a:cxn ang="0">
                    <a:pos x="104" y="244"/>
                  </a:cxn>
                  <a:cxn ang="0">
                    <a:pos x="120" y="257"/>
                  </a:cxn>
                  <a:cxn ang="0">
                    <a:pos x="138" y="275"/>
                  </a:cxn>
                  <a:cxn ang="0">
                    <a:pos x="149" y="288"/>
                  </a:cxn>
                  <a:cxn ang="0">
                    <a:pos x="155" y="271"/>
                  </a:cxn>
                </a:cxnLst>
                <a:rect l="0" t="0" r="r" b="b"/>
                <a:pathLst>
                  <a:path w="161" h="297">
                    <a:moveTo>
                      <a:pt x="35" y="281"/>
                    </a:moveTo>
                    <a:cubicBezTo>
                      <a:pt x="35" y="281"/>
                      <a:pt x="35" y="281"/>
                      <a:pt x="36" y="281"/>
                    </a:cubicBezTo>
                    <a:cubicBezTo>
                      <a:pt x="36" y="281"/>
                      <a:pt x="36" y="281"/>
                      <a:pt x="36" y="280"/>
                    </a:cubicBezTo>
                    <a:cubicBezTo>
                      <a:pt x="35" y="280"/>
                      <a:pt x="35" y="280"/>
                      <a:pt x="35" y="280"/>
                    </a:cubicBezTo>
                    <a:cubicBezTo>
                      <a:pt x="35" y="280"/>
                      <a:pt x="35" y="281"/>
                      <a:pt x="35" y="281"/>
                    </a:cubicBezTo>
                    <a:moveTo>
                      <a:pt x="92" y="72"/>
                    </a:moveTo>
                    <a:cubicBezTo>
                      <a:pt x="90" y="72"/>
                      <a:pt x="90" y="72"/>
                      <a:pt x="89" y="74"/>
                    </a:cubicBezTo>
                    <a:cubicBezTo>
                      <a:pt x="88" y="75"/>
                      <a:pt x="88" y="76"/>
                      <a:pt x="87" y="77"/>
                    </a:cubicBezTo>
                    <a:cubicBezTo>
                      <a:pt x="86" y="77"/>
                      <a:pt x="85" y="77"/>
                      <a:pt x="85" y="77"/>
                    </a:cubicBezTo>
                    <a:cubicBezTo>
                      <a:pt x="84" y="77"/>
                      <a:pt x="84" y="78"/>
                      <a:pt x="83" y="78"/>
                    </a:cubicBezTo>
                    <a:cubicBezTo>
                      <a:pt x="81" y="78"/>
                      <a:pt x="80" y="78"/>
                      <a:pt x="79" y="77"/>
                    </a:cubicBezTo>
                    <a:cubicBezTo>
                      <a:pt x="77" y="76"/>
                      <a:pt x="77" y="76"/>
                      <a:pt x="75" y="76"/>
                    </a:cubicBezTo>
                    <a:cubicBezTo>
                      <a:pt x="73" y="76"/>
                      <a:pt x="72" y="78"/>
                      <a:pt x="71" y="78"/>
                    </a:cubicBezTo>
                    <a:cubicBezTo>
                      <a:pt x="69" y="78"/>
                      <a:pt x="69" y="78"/>
                      <a:pt x="68" y="79"/>
                    </a:cubicBezTo>
                    <a:cubicBezTo>
                      <a:pt x="67" y="79"/>
                      <a:pt x="67" y="79"/>
                      <a:pt x="66" y="79"/>
                    </a:cubicBezTo>
                    <a:cubicBezTo>
                      <a:pt x="66" y="80"/>
                      <a:pt x="67" y="81"/>
                      <a:pt x="65" y="80"/>
                    </a:cubicBezTo>
                    <a:cubicBezTo>
                      <a:pt x="68" y="76"/>
                      <a:pt x="68" y="76"/>
                      <a:pt x="68" y="76"/>
                    </a:cubicBezTo>
                    <a:cubicBezTo>
                      <a:pt x="66" y="77"/>
                      <a:pt x="66" y="78"/>
                      <a:pt x="65" y="79"/>
                    </a:cubicBezTo>
                    <a:cubicBezTo>
                      <a:pt x="64" y="80"/>
                      <a:pt x="62" y="81"/>
                      <a:pt x="61" y="82"/>
                    </a:cubicBezTo>
                    <a:cubicBezTo>
                      <a:pt x="61" y="83"/>
                      <a:pt x="61" y="84"/>
                      <a:pt x="61" y="84"/>
                    </a:cubicBezTo>
                    <a:cubicBezTo>
                      <a:pt x="61" y="85"/>
                      <a:pt x="60" y="85"/>
                      <a:pt x="60" y="85"/>
                    </a:cubicBezTo>
                    <a:cubicBezTo>
                      <a:pt x="60" y="88"/>
                      <a:pt x="64" y="88"/>
                      <a:pt x="63" y="91"/>
                    </a:cubicBezTo>
                    <a:cubicBezTo>
                      <a:pt x="62" y="92"/>
                      <a:pt x="62" y="93"/>
                      <a:pt x="62" y="94"/>
                    </a:cubicBezTo>
                    <a:cubicBezTo>
                      <a:pt x="61" y="95"/>
                      <a:pt x="62" y="96"/>
                      <a:pt x="62" y="97"/>
                    </a:cubicBezTo>
                    <a:cubicBezTo>
                      <a:pt x="62" y="98"/>
                      <a:pt x="62" y="99"/>
                      <a:pt x="62" y="100"/>
                    </a:cubicBezTo>
                    <a:cubicBezTo>
                      <a:pt x="62" y="101"/>
                      <a:pt x="63" y="101"/>
                      <a:pt x="63" y="102"/>
                    </a:cubicBezTo>
                    <a:cubicBezTo>
                      <a:pt x="63" y="102"/>
                      <a:pt x="63" y="103"/>
                      <a:pt x="63" y="104"/>
                    </a:cubicBezTo>
                    <a:cubicBezTo>
                      <a:pt x="64" y="104"/>
                      <a:pt x="65" y="104"/>
                      <a:pt x="66" y="104"/>
                    </a:cubicBezTo>
                    <a:cubicBezTo>
                      <a:pt x="67" y="104"/>
                      <a:pt x="67" y="104"/>
                      <a:pt x="68" y="104"/>
                    </a:cubicBezTo>
                    <a:cubicBezTo>
                      <a:pt x="69" y="105"/>
                      <a:pt x="70" y="108"/>
                      <a:pt x="69" y="109"/>
                    </a:cubicBezTo>
                    <a:cubicBezTo>
                      <a:pt x="69" y="110"/>
                      <a:pt x="66" y="111"/>
                      <a:pt x="65" y="111"/>
                    </a:cubicBezTo>
                    <a:cubicBezTo>
                      <a:pt x="62" y="111"/>
                      <a:pt x="60" y="110"/>
                      <a:pt x="57" y="110"/>
                    </a:cubicBezTo>
                    <a:cubicBezTo>
                      <a:pt x="54" y="109"/>
                      <a:pt x="55" y="112"/>
                      <a:pt x="54" y="115"/>
                    </a:cubicBezTo>
                    <a:cubicBezTo>
                      <a:pt x="53" y="113"/>
                      <a:pt x="54" y="110"/>
                      <a:pt x="55" y="108"/>
                    </a:cubicBezTo>
                    <a:cubicBezTo>
                      <a:pt x="55" y="107"/>
                      <a:pt x="58" y="107"/>
                      <a:pt x="58" y="107"/>
                    </a:cubicBezTo>
                    <a:cubicBezTo>
                      <a:pt x="58" y="106"/>
                      <a:pt x="60" y="103"/>
                      <a:pt x="60" y="103"/>
                    </a:cubicBezTo>
                    <a:cubicBezTo>
                      <a:pt x="60" y="99"/>
                      <a:pt x="56" y="98"/>
                      <a:pt x="56" y="94"/>
                    </a:cubicBezTo>
                    <a:cubicBezTo>
                      <a:pt x="55" y="92"/>
                      <a:pt x="51" y="91"/>
                      <a:pt x="51" y="88"/>
                    </a:cubicBezTo>
                    <a:cubicBezTo>
                      <a:pt x="50" y="88"/>
                      <a:pt x="49" y="89"/>
                      <a:pt x="48" y="90"/>
                    </a:cubicBezTo>
                    <a:cubicBezTo>
                      <a:pt x="47" y="92"/>
                      <a:pt x="47" y="92"/>
                      <a:pt x="46" y="91"/>
                    </a:cubicBezTo>
                    <a:cubicBezTo>
                      <a:pt x="43" y="90"/>
                      <a:pt x="41" y="85"/>
                      <a:pt x="45" y="84"/>
                    </a:cubicBezTo>
                    <a:cubicBezTo>
                      <a:pt x="45" y="83"/>
                      <a:pt x="45" y="82"/>
                      <a:pt x="45" y="81"/>
                    </a:cubicBezTo>
                    <a:cubicBezTo>
                      <a:pt x="44" y="81"/>
                      <a:pt x="44" y="82"/>
                      <a:pt x="43" y="82"/>
                    </a:cubicBezTo>
                    <a:cubicBezTo>
                      <a:pt x="42" y="83"/>
                      <a:pt x="41" y="84"/>
                      <a:pt x="40" y="84"/>
                    </a:cubicBezTo>
                    <a:cubicBezTo>
                      <a:pt x="36" y="85"/>
                      <a:pt x="37" y="81"/>
                      <a:pt x="36" y="79"/>
                    </a:cubicBezTo>
                    <a:cubicBezTo>
                      <a:pt x="39" y="77"/>
                      <a:pt x="43" y="79"/>
                      <a:pt x="46" y="78"/>
                    </a:cubicBezTo>
                    <a:cubicBezTo>
                      <a:pt x="49" y="78"/>
                      <a:pt x="50" y="76"/>
                      <a:pt x="52" y="75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59" y="74"/>
                      <a:pt x="61" y="74"/>
                      <a:pt x="62" y="73"/>
                    </a:cubicBezTo>
                    <a:cubicBezTo>
                      <a:pt x="63" y="73"/>
                      <a:pt x="64" y="74"/>
                      <a:pt x="64" y="76"/>
                    </a:cubicBezTo>
                    <a:cubicBezTo>
                      <a:pt x="66" y="76"/>
                      <a:pt x="67" y="75"/>
                      <a:pt x="68" y="74"/>
                    </a:cubicBezTo>
                    <a:cubicBezTo>
                      <a:pt x="69" y="74"/>
                      <a:pt x="70" y="73"/>
                      <a:pt x="71" y="73"/>
                    </a:cubicBezTo>
                    <a:cubicBezTo>
                      <a:pt x="73" y="73"/>
                      <a:pt x="74" y="73"/>
                      <a:pt x="75" y="72"/>
                    </a:cubicBezTo>
                    <a:cubicBezTo>
                      <a:pt x="77" y="71"/>
                      <a:pt x="78" y="70"/>
                      <a:pt x="80" y="70"/>
                    </a:cubicBezTo>
                    <a:cubicBezTo>
                      <a:pt x="81" y="70"/>
                      <a:pt x="82" y="71"/>
                      <a:pt x="83" y="70"/>
                    </a:cubicBezTo>
                    <a:cubicBezTo>
                      <a:pt x="83" y="69"/>
                      <a:pt x="83" y="67"/>
                      <a:pt x="83" y="67"/>
                    </a:cubicBezTo>
                    <a:cubicBezTo>
                      <a:pt x="84" y="64"/>
                      <a:pt x="85" y="63"/>
                      <a:pt x="88" y="63"/>
                    </a:cubicBezTo>
                    <a:cubicBezTo>
                      <a:pt x="88" y="65"/>
                      <a:pt x="88" y="66"/>
                      <a:pt x="89" y="66"/>
                    </a:cubicBezTo>
                    <a:cubicBezTo>
                      <a:pt x="90" y="67"/>
                      <a:pt x="93" y="66"/>
                      <a:pt x="94" y="66"/>
                    </a:cubicBezTo>
                    <a:cubicBezTo>
                      <a:pt x="97" y="65"/>
                      <a:pt x="98" y="64"/>
                      <a:pt x="99" y="67"/>
                    </a:cubicBezTo>
                    <a:cubicBezTo>
                      <a:pt x="99" y="68"/>
                      <a:pt x="100" y="70"/>
                      <a:pt x="99" y="71"/>
                    </a:cubicBezTo>
                    <a:cubicBezTo>
                      <a:pt x="99" y="72"/>
                      <a:pt x="94" y="72"/>
                      <a:pt x="92" y="72"/>
                    </a:cubicBezTo>
                    <a:moveTo>
                      <a:pt x="160" y="255"/>
                    </a:moveTo>
                    <a:cubicBezTo>
                      <a:pt x="160" y="254"/>
                      <a:pt x="161" y="254"/>
                      <a:pt x="160" y="253"/>
                    </a:cubicBezTo>
                    <a:cubicBezTo>
                      <a:pt x="159" y="251"/>
                      <a:pt x="156" y="254"/>
                      <a:pt x="155" y="255"/>
                    </a:cubicBezTo>
                    <a:cubicBezTo>
                      <a:pt x="153" y="258"/>
                      <a:pt x="153" y="261"/>
                      <a:pt x="152" y="264"/>
                    </a:cubicBezTo>
                    <a:cubicBezTo>
                      <a:pt x="151" y="266"/>
                      <a:pt x="150" y="268"/>
                      <a:pt x="148" y="269"/>
                    </a:cubicBezTo>
                    <a:cubicBezTo>
                      <a:pt x="147" y="270"/>
                      <a:pt x="146" y="271"/>
                      <a:pt x="145" y="271"/>
                    </a:cubicBezTo>
                    <a:cubicBezTo>
                      <a:pt x="144" y="271"/>
                      <a:pt x="145" y="270"/>
                      <a:pt x="144" y="270"/>
                    </a:cubicBezTo>
                    <a:cubicBezTo>
                      <a:pt x="144" y="269"/>
                      <a:pt x="143" y="270"/>
                      <a:pt x="143" y="270"/>
                    </a:cubicBezTo>
                    <a:cubicBezTo>
                      <a:pt x="141" y="269"/>
                      <a:pt x="142" y="265"/>
                      <a:pt x="142" y="263"/>
                    </a:cubicBezTo>
                    <a:cubicBezTo>
                      <a:pt x="143" y="262"/>
                      <a:pt x="144" y="262"/>
                      <a:pt x="145" y="261"/>
                    </a:cubicBezTo>
                    <a:cubicBezTo>
                      <a:pt x="146" y="260"/>
                      <a:pt x="146" y="259"/>
                      <a:pt x="146" y="259"/>
                    </a:cubicBezTo>
                    <a:cubicBezTo>
                      <a:pt x="148" y="257"/>
                      <a:pt x="149" y="256"/>
                      <a:pt x="150" y="254"/>
                    </a:cubicBezTo>
                    <a:cubicBezTo>
                      <a:pt x="150" y="253"/>
                      <a:pt x="151" y="251"/>
                      <a:pt x="152" y="249"/>
                    </a:cubicBezTo>
                    <a:cubicBezTo>
                      <a:pt x="152" y="248"/>
                      <a:pt x="152" y="248"/>
                      <a:pt x="152" y="247"/>
                    </a:cubicBezTo>
                    <a:cubicBezTo>
                      <a:pt x="152" y="245"/>
                      <a:pt x="153" y="242"/>
                      <a:pt x="152" y="241"/>
                    </a:cubicBezTo>
                    <a:cubicBezTo>
                      <a:pt x="152" y="240"/>
                      <a:pt x="151" y="240"/>
                      <a:pt x="151" y="239"/>
                    </a:cubicBezTo>
                    <a:cubicBezTo>
                      <a:pt x="151" y="239"/>
                      <a:pt x="150" y="238"/>
                      <a:pt x="150" y="238"/>
                    </a:cubicBezTo>
                    <a:cubicBezTo>
                      <a:pt x="150" y="237"/>
                      <a:pt x="150" y="236"/>
                      <a:pt x="150" y="235"/>
                    </a:cubicBezTo>
                    <a:cubicBezTo>
                      <a:pt x="150" y="234"/>
                      <a:pt x="150" y="234"/>
                      <a:pt x="150" y="233"/>
                    </a:cubicBezTo>
                    <a:cubicBezTo>
                      <a:pt x="149" y="232"/>
                      <a:pt x="149" y="231"/>
                      <a:pt x="148" y="230"/>
                    </a:cubicBezTo>
                    <a:cubicBezTo>
                      <a:pt x="147" y="229"/>
                      <a:pt x="145" y="228"/>
                      <a:pt x="144" y="227"/>
                    </a:cubicBezTo>
                    <a:cubicBezTo>
                      <a:pt x="144" y="226"/>
                      <a:pt x="144" y="226"/>
                      <a:pt x="142" y="225"/>
                    </a:cubicBezTo>
                    <a:cubicBezTo>
                      <a:pt x="141" y="225"/>
                      <a:pt x="139" y="225"/>
                      <a:pt x="137" y="224"/>
                    </a:cubicBezTo>
                    <a:cubicBezTo>
                      <a:pt x="136" y="224"/>
                      <a:pt x="136" y="223"/>
                      <a:pt x="135" y="223"/>
                    </a:cubicBezTo>
                    <a:cubicBezTo>
                      <a:pt x="136" y="222"/>
                      <a:pt x="136" y="221"/>
                      <a:pt x="138" y="220"/>
                    </a:cubicBezTo>
                    <a:cubicBezTo>
                      <a:pt x="140" y="219"/>
                      <a:pt x="139" y="220"/>
                      <a:pt x="140" y="221"/>
                    </a:cubicBezTo>
                    <a:cubicBezTo>
                      <a:pt x="142" y="224"/>
                      <a:pt x="145" y="225"/>
                      <a:pt x="148" y="225"/>
                    </a:cubicBezTo>
                    <a:cubicBezTo>
                      <a:pt x="148" y="224"/>
                      <a:pt x="149" y="223"/>
                      <a:pt x="148" y="222"/>
                    </a:cubicBezTo>
                    <a:cubicBezTo>
                      <a:pt x="148" y="220"/>
                      <a:pt x="147" y="220"/>
                      <a:pt x="147" y="218"/>
                    </a:cubicBezTo>
                    <a:cubicBezTo>
                      <a:pt x="146" y="218"/>
                      <a:pt x="147" y="216"/>
                      <a:pt x="147" y="215"/>
                    </a:cubicBezTo>
                    <a:cubicBezTo>
                      <a:pt x="146" y="214"/>
                      <a:pt x="146" y="212"/>
                      <a:pt x="145" y="211"/>
                    </a:cubicBezTo>
                    <a:cubicBezTo>
                      <a:pt x="145" y="208"/>
                      <a:pt x="144" y="207"/>
                      <a:pt x="141" y="207"/>
                    </a:cubicBezTo>
                    <a:cubicBezTo>
                      <a:pt x="139" y="207"/>
                      <a:pt x="137" y="208"/>
                      <a:pt x="136" y="208"/>
                    </a:cubicBezTo>
                    <a:cubicBezTo>
                      <a:pt x="133" y="208"/>
                      <a:pt x="130" y="208"/>
                      <a:pt x="128" y="207"/>
                    </a:cubicBezTo>
                    <a:cubicBezTo>
                      <a:pt x="127" y="206"/>
                      <a:pt x="125" y="205"/>
                      <a:pt x="124" y="205"/>
                    </a:cubicBezTo>
                    <a:cubicBezTo>
                      <a:pt x="122" y="205"/>
                      <a:pt x="119" y="205"/>
                      <a:pt x="117" y="205"/>
                    </a:cubicBezTo>
                    <a:cubicBezTo>
                      <a:pt x="114" y="205"/>
                      <a:pt x="111" y="207"/>
                      <a:pt x="108" y="207"/>
                    </a:cubicBezTo>
                    <a:cubicBezTo>
                      <a:pt x="106" y="207"/>
                      <a:pt x="103" y="207"/>
                      <a:pt x="101" y="207"/>
                    </a:cubicBezTo>
                    <a:cubicBezTo>
                      <a:pt x="99" y="206"/>
                      <a:pt x="95" y="207"/>
                      <a:pt x="94" y="206"/>
                    </a:cubicBezTo>
                    <a:cubicBezTo>
                      <a:pt x="95" y="206"/>
                      <a:pt x="95" y="204"/>
                      <a:pt x="96" y="204"/>
                    </a:cubicBezTo>
                    <a:cubicBezTo>
                      <a:pt x="96" y="204"/>
                      <a:pt x="98" y="204"/>
                      <a:pt x="98" y="204"/>
                    </a:cubicBezTo>
                    <a:cubicBezTo>
                      <a:pt x="100" y="203"/>
                      <a:pt x="101" y="201"/>
                      <a:pt x="102" y="200"/>
                    </a:cubicBezTo>
                    <a:cubicBezTo>
                      <a:pt x="104" y="199"/>
                      <a:pt x="107" y="200"/>
                      <a:pt x="108" y="198"/>
                    </a:cubicBezTo>
                    <a:cubicBezTo>
                      <a:pt x="108" y="197"/>
                      <a:pt x="108" y="195"/>
                      <a:pt x="108" y="193"/>
                    </a:cubicBezTo>
                    <a:cubicBezTo>
                      <a:pt x="108" y="192"/>
                      <a:pt x="108" y="191"/>
                      <a:pt x="107" y="191"/>
                    </a:cubicBezTo>
                    <a:cubicBezTo>
                      <a:pt x="105" y="189"/>
                      <a:pt x="101" y="191"/>
                      <a:pt x="100" y="187"/>
                    </a:cubicBezTo>
                    <a:cubicBezTo>
                      <a:pt x="99" y="183"/>
                      <a:pt x="102" y="185"/>
                      <a:pt x="105" y="185"/>
                    </a:cubicBezTo>
                    <a:cubicBezTo>
                      <a:pt x="106" y="185"/>
                      <a:pt x="107" y="185"/>
                      <a:pt x="108" y="185"/>
                    </a:cubicBezTo>
                    <a:cubicBezTo>
                      <a:pt x="109" y="185"/>
                      <a:pt x="110" y="184"/>
                      <a:pt x="111" y="184"/>
                    </a:cubicBezTo>
                    <a:cubicBezTo>
                      <a:pt x="112" y="184"/>
                      <a:pt x="112" y="184"/>
                      <a:pt x="114" y="186"/>
                    </a:cubicBezTo>
                    <a:cubicBezTo>
                      <a:pt x="114" y="186"/>
                      <a:pt x="115" y="189"/>
                      <a:pt x="117" y="189"/>
                    </a:cubicBezTo>
                    <a:cubicBezTo>
                      <a:pt x="117" y="187"/>
                      <a:pt x="116" y="186"/>
                      <a:pt x="118" y="185"/>
                    </a:cubicBezTo>
                    <a:cubicBezTo>
                      <a:pt x="119" y="184"/>
                      <a:pt x="119" y="185"/>
                      <a:pt x="120" y="184"/>
                    </a:cubicBezTo>
                    <a:cubicBezTo>
                      <a:pt x="120" y="184"/>
                      <a:pt x="120" y="182"/>
                      <a:pt x="120" y="182"/>
                    </a:cubicBezTo>
                    <a:cubicBezTo>
                      <a:pt x="121" y="178"/>
                      <a:pt x="122" y="175"/>
                      <a:pt x="121" y="172"/>
                    </a:cubicBezTo>
                    <a:cubicBezTo>
                      <a:pt x="121" y="171"/>
                      <a:pt x="121" y="169"/>
                      <a:pt x="121" y="168"/>
                    </a:cubicBezTo>
                    <a:cubicBezTo>
                      <a:pt x="121" y="168"/>
                      <a:pt x="121" y="167"/>
                      <a:pt x="120" y="167"/>
                    </a:cubicBezTo>
                    <a:cubicBezTo>
                      <a:pt x="120" y="166"/>
                      <a:pt x="120" y="165"/>
                      <a:pt x="120" y="164"/>
                    </a:cubicBezTo>
                    <a:cubicBezTo>
                      <a:pt x="120" y="162"/>
                      <a:pt x="119" y="162"/>
                      <a:pt x="119" y="160"/>
                    </a:cubicBezTo>
                    <a:cubicBezTo>
                      <a:pt x="119" y="159"/>
                      <a:pt x="119" y="158"/>
                      <a:pt x="120" y="157"/>
                    </a:cubicBezTo>
                    <a:cubicBezTo>
                      <a:pt x="121" y="154"/>
                      <a:pt x="121" y="152"/>
                      <a:pt x="124" y="151"/>
                    </a:cubicBezTo>
                    <a:cubicBezTo>
                      <a:pt x="127" y="151"/>
                      <a:pt x="129" y="152"/>
                      <a:pt x="130" y="154"/>
                    </a:cubicBezTo>
                    <a:cubicBezTo>
                      <a:pt x="131" y="156"/>
                      <a:pt x="130" y="156"/>
                      <a:pt x="132" y="156"/>
                    </a:cubicBezTo>
                    <a:cubicBezTo>
                      <a:pt x="134" y="156"/>
                      <a:pt x="135" y="156"/>
                      <a:pt x="136" y="155"/>
                    </a:cubicBezTo>
                    <a:cubicBezTo>
                      <a:pt x="138" y="153"/>
                      <a:pt x="138" y="151"/>
                      <a:pt x="141" y="151"/>
                    </a:cubicBezTo>
                    <a:cubicBezTo>
                      <a:pt x="141" y="153"/>
                      <a:pt x="139" y="156"/>
                      <a:pt x="140" y="158"/>
                    </a:cubicBezTo>
                    <a:cubicBezTo>
                      <a:pt x="141" y="159"/>
                      <a:pt x="143" y="158"/>
                      <a:pt x="145" y="158"/>
                    </a:cubicBezTo>
                    <a:cubicBezTo>
                      <a:pt x="146" y="158"/>
                      <a:pt x="147" y="159"/>
                      <a:pt x="147" y="157"/>
                    </a:cubicBezTo>
                    <a:cubicBezTo>
                      <a:pt x="147" y="157"/>
                      <a:pt x="147" y="156"/>
                      <a:pt x="148" y="155"/>
                    </a:cubicBezTo>
                    <a:cubicBezTo>
                      <a:pt x="148" y="154"/>
                      <a:pt x="148" y="153"/>
                      <a:pt x="149" y="152"/>
                    </a:cubicBezTo>
                    <a:cubicBezTo>
                      <a:pt x="149" y="151"/>
                      <a:pt x="151" y="151"/>
                      <a:pt x="151" y="150"/>
                    </a:cubicBezTo>
                    <a:cubicBezTo>
                      <a:pt x="152" y="149"/>
                      <a:pt x="152" y="147"/>
                      <a:pt x="152" y="146"/>
                    </a:cubicBezTo>
                    <a:cubicBezTo>
                      <a:pt x="152" y="146"/>
                      <a:pt x="152" y="145"/>
                      <a:pt x="152" y="144"/>
                    </a:cubicBezTo>
                    <a:cubicBezTo>
                      <a:pt x="152" y="143"/>
                      <a:pt x="153" y="142"/>
                      <a:pt x="154" y="141"/>
                    </a:cubicBezTo>
                    <a:cubicBezTo>
                      <a:pt x="155" y="139"/>
                      <a:pt x="155" y="137"/>
                      <a:pt x="157" y="135"/>
                    </a:cubicBezTo>
                    <a:cubicBezTo>
                      <a:pt x="157" y="133"/>
                      <a:pt x="158" y="132"/>
                      <a:pt x="158" y="131"/>
                    </a:cubicBezTo>
                    <a:cubicBezTo>
                      <a:pt x="158" y="128"/>
                      <a:pt x="158" y="126"/>
                      <a:pt x="156" y="124"/>
                    </a:cubicBezTo>
                    <a:cubicBezTo>
                      <a:pt x="154" y="122"/>
                      <a:pt x="150" y="123"/>
                      <a:pt x="147" y="123"/>
                    </a:cubicBezTo>
                    <a:cubicBezTo>
                      <a:pt x="143" y="124"/>
                      <a:pt x="139" y="125"/>
                      <a:pt x="135" y="124"/>
                    </a:cubicBezTo>
                    <a:cubicBezTo>
                      <a:pt x="133" y="123"/>
                      <a:pt x="131" y="121"/>
                      <a:pt x="129" y="119"/>
                    </a:cubicBezTo>
                    <a:cubicBezTo>
                      <a:pt x="127" y="118"/>
                      <a:pt x="127" y="118"/>
                      <a:pt x="126" y="117"/>
                    </a:cubicBezTo>
                    <a:cubicBezTo>
                      <a:pt x="126" y="114"/>
                      <a:pt x="125" y="111"/>
                      <a:pt x="125" y="109"/>
                    </a:cubicBezTo>
                    <a:cubicBezTo>
                      <a:pt x="125" y="107"/>
                      <a:pt x="125" y="106"/>
                      <a:pt x="125" y="104"/>
                    </a:cubicBezTo>
                    <a:cubicBezTo>
                      <a:pt x="124" y="103"/>
                      <a:pt x="124" y="101"/>
                      <a:pt x="123" y="100"/>
                    </a:cubicBezTo>
                    <a:cubicBezTo>
                      <a:pt x="123" y="99"/>
                      <a:pt x="123" y="98"/>
                      <a:pt x="123" y="97"/>
                    </a:cubicBezTo>
                    <a:cubicBezTo>
                      <a:pt x="123" y="96"/>
                      <a:pt x="123" y="95"/>
                      <a:pt x="123" y="94"/>
                    </a:cubicBezTo>
                    <a:cubicBezTo>
                      <a:pt x="123" y="94"/>
                      <a:pt x="122" y="94"/>
                      <a:pt x="122" y="93"/>
                    </a:cubicBezTo>
                    <a:cubicBezTo>
                      <a:pt x="122" y="93"/>
                      <a:pt x="122" y="92"/>
                      <a:pt x="122" y="92"/>
                    </a:cubicBezTo>
                    <a:cubicBezTo>
                      <a:pt x="122" y="90"/>
                      <a:pt x="122" y="87"/>
                      <a:pt x="122" y="85"/>
                    </a:cubicBezTo>
                    <a:cubicBezTo>
                      <a:pt x="122" y="83"/>
                      <a:pt x="122" y="82"/>
                      <a:pt x="122" y="80"/>
                    </a:cubicBezTo>
                    <a:cubicBezTo>
                      <a:pt x="122" y="79"/>
                      <a:pt x="121" y="78"/>
                      <a:pt x="122" y="77"/>
                    </a:cubicBezTo>
                    <a:cubicBezTo>
                      <a:pt x="123" y="76"/>
                      <a:pt x="124" y="76"/>
                      <a:pt x="125" y="75"/>
                    </a:cubicBezTo>
                    <a:cubicBezTo>
                      <a:pt x="126" y="74"/>
                      <a:pt x="128" y="72"/>
                      <a:pt x="128" y="71"/>
                    </a:cubicBezTo>
                    <a:cubicBezTo>
                      <a:pt x="129" y="70"/>
                      <a:pt x="129" y="67"/>
                      <a:pt x="129" y="66"/>
                    </a:cubicBezTo>
                    <a:cubicBezTo>
                      <a:pt x="129" y="63"/>
                      <a:pt x="129" y="63"/>
                      <a:pt x="130" y="62"/>
                    </a:cubicBezTo>
                    <a:cubicBezTo>
                      <a:pt x="130" y="61"/>
                      <a:pt x="130" y="60"/>
                      <a:pt x="131" y="59"/>
                    </a:cubicBezTo>
                    <a:cubicBezTo>
                      <a:pt x="132" y="58"/>
                      <a:pt x="133" y="58"/>
                      <a:pt x="134" y="57"/>
                    </a:cubicBezTo>
                    <a:cubicBezTo>
                      <a:pt x="135" y="56"/>
                      <a:pt x="135" y="55"/>
                      <a:pt x="136" y="55"/>
                    </a:cubicBezTo>
                    <a:cubicBezTo>
                      <a:pt x="136" y="54"/>
                      <a:pt x="138" y="54"/>
                      <a:pt x="138" y="53"/>
                    </a:cubicBezTo>
                    <a:cubicBezTo>
                      <a:pt x="139" y="52"/>
                      <a:pt x="139" y="51"/>
                      <a:pt x="139" y="50"/>
                    </a:cubicBezTo>
                    <a:cubicBezTo>
                      <a:pt x="139" y="48"/>
                      <a:pt x="138" y="47"/>
                      <a:pt x="138" y="45"/>
                    </a:cubicBezTo>
                    <a:cubicBezTo>
                      <a:pt x="138" y="43"/>
                      <a:pt x="138" y="42"/>
                      <a:pt x="138" y="40"/>
                    </a:cubicBezTo>
                    <a:cubicBezTo>
                      <a:pt x="138" y="38"/>
                      <a:pt x="138" y="35"/>
                      <a:pt x="138" y="33"/>
                    </a:cubicBezTo>
                    <a:cubicBezTo>
                      <a:pt x="138" y="32"/>
                      <a:pt x="137" y="30"/>
                      <a:pt x="137" y="29"/>
                    </a:cubicBezTo>
                    <a:cubicBezTo>
                      <a:pt x="137" y="28"/>
                      <a:pt x="136" y="28"/>
                      <a:pt x="136" y="28"/>
                    </a:cubicBezTo>
                    <a:cubicBezTo>
                      <a:pt x="136" y="27"/>
                      <a:pt x="136" y="26"/>
                      <a:pt x="136" y="26"/>
                    </a:cubicBezTo>
                    <a:cubicBezTo>
                      <a:pt x="136" y="24"/>
                      <a:pt x="134" y="22"/>
                      <a:pt x="133" y="21"/>
                    </a:cubicBezTo>
                    <a:cubicBezTo>
                      <a:pt x="131" y="20"/>
                      <a:pt x="131" y="19"/>
                      <a:pt x="130" y="16"/>
                    </a:cubicBezTo>
                    <a:cubicBezTo>
                      <a:pt x="130" y="15"/>
                      <a:pt x="130" y="13"/>
                      <a:pt x="130" y="11"/>
                    </a:cubicBezTo>
                    <a:cubicBezTo>
                      <a:pt x="131" y="9"/>
                      <a:pt x="133" y="8"/>
                      <a:pt x="134" y="6"/>
                    </a:cubicBezTo>
                    <a:cubicBezTo>
                      <a:pt x="136" y="5"/>
                      <a:pt x="141" y="3"/>
                      <a:pt x="142" y="0"/>
                    </a:cubicBezTo>
                    <a:cubicBezTo>
                      <a:pt x="140" y="2"/>
                      <a:pt x="140" y="2"/>
                      <a:pt x="140" y="2"/>
                    </a:cubicBezTo>
                    <a:cubicBezTo>
                      <a:pt x="139" y="2"/>
                      <a:pt x="138" y="2"/>
                      <a:pt x="137" y="2"/>
                    </a:cubicBezTo>
                    <a:cubicBezTo>
                      <a:pt x="135" y="3"/>
                      <a:pt x="135" y="3"/>
                      <a:pt x="134" y="5"/>
                    </a:cubicBezTo>
                    <a:cubicBezTo>
                      <a:pt x="133" y="5"/>
                      <a:pt x="131" y="6"/>
                      <a:pt x="130" y="7"/>
                    </a:cubicBezTo>
                    <a:cubicBezTo>
                      <a:pt x="128" y="7"/>
                      <a:pt x="127" y="9"/>
                      <a:pt x="125" y="10"/>
                    </a:cubicBezTo>
                    <a:cubicBezTo>
                      <a:pt x="123" y="10"/>
                      <a:pt x="122" y="11"/>
                      <a:pt x="120" y="11"/>
                    </a:cubicBezTo>
                    <a:cubicBezTo>
                      <a:pt x="116" y="12"/>
                      <a:pt x="112" y="16"/>
                      <a:pt x="108" y="16"/>
                    </a:cubicBezTo>
                    <a:cubicBezTo>
                      <a:pt x="105" y="16"/>
                      <a:pt x="102" y="16"/>
                      <a:pt x="99" y="16"/>
                    </a:cubicBezTo>
                    <a:cubicBezTo>
                      <a:pt x="99" y="17"/>
                      <a:pt x="99" y="18"/>
                      <a:pt x="98" y="20"/>
                    </a:cubicBezTo>
                    <a:cubicBezTo>
                      <a:pt x="98" y="22"/>
                      <a:pt x="96" y="23"/>
                      <a:pt x="95" y="25"/>
                    </a:cubicBezTo>
                    <a:cubicBezTo>
                      <a:pt x="93" y="28"/>
                      <a:pt x="91" y="30"/>
                      <a:pt x="90" y="33"/>
                    </a:cubicBezTo>
                    <a:cubicBezTo>
                      <a:pt x="90" y="35"/>
                      <a:pt x="89" y="37"/>
                      <a:pt x="89" y="39"/>
                    </a:cubicBezTo>
                    <a:cubicBezTo>
                      <a:pt x="89" y="42"/>
                      <a:pt x="89" y="44"/>
                      <a:pt x="87" y="45"/>
                    </a:cubicBezTo>
                    <a:cubicBezTo>
                      <a:pt x="85" y="47"/>
                      <a:pt x="84" y="48"/>
                      <a:pt x="83" y="49"/>
                    </a:cubicBezTo>
                    <a:cubicBezTo>
                      <a:pt x="81" y="50"/>
                      <a:pt x="80" y="51"/>
                      <a:pt x="79" y="52"/>
                    </a:cubicBezTo>
                    <a:cubicBezTo>
                      <a:pt x="77" y="54"/>
                      <a:pt x="76" y="54"/>
                      <a:pt x="73" y="55"/>
                    </a:cubicBezTo>
                    <a:cubicBezTo>
                      <a:pt x="70" y="55"/>
                      <a:pt x="68" y="56"/>
                      <a:pt x="66" y="58"/>
                    </a:cubicBezTo>
                    <a:cubicBezTo>
                      <a:pt x="65" y="58"/>
                      <a:pt x="65" y="58"/>
                      <a:pt x="64" y="58"/>
                    </a:cubicBezTo>
                    <a:cubicBezTo>
                      <a:pt x="61" y="58"/>
                      <a:pt x="58" y="58"/>
                      <a:pt x="55" y="58"/>
                    </a:cubicBezTo>
                    <a:cubicBezTo>
                      <a:pt x="52" y="58"/>
                      <a:pt x="50" y="59"/>
                      <a:pt x="47" y="60"/>
                    </a:cubicBezTo>
                    <a:cubicBezTo>
                      <a:pt x="46" y="60"/>
                      <a:pt x="44" y="60"/>
                      <a:pt x="43" y="61"/>
                    </a:cubicBezTo>
                    <a:cubicBezTo>
                      <a:pt x="42" y="61"/>
                      <a:pt x="41" y="62"/>
                      <a:pt x="41" y="63"/>
                    </a:cubicBezTo>
                    <a:cubicBezTo>
                      <a:pt x="39" y="65"/>
                      <a:pt x="36" y="66"/>
                      <a:pt x="33" y="66"/>
                    </a:cubicBezTo>
                    <a:cubicBezTo>
                      <a:pt x="32" y="66"/>
                      <a:pt x="31" y="66"/>
                      <a:pt x="30" y="66"/>
                    </a:cubicBezTo>
                    <a:cubicBezTo>
                      <a:pt x="27" y="68"/>
                      <a:pt x="24" y="72"/>
                      <a:pt x="24" y="72"/>
                    </a:cubicBezTo>
                    <a:cubicBezTo>
                      <a:pt x="24" y="73"/>
                      <a:pt x="20" y="77"/>
                      <a:pt x="20" y="78"/>
                    </a:cubicBezTo>
                    <a:cubicBezTo>
                      <a:pt x="18" y="80"/>
                      <a:pt x="17" y="80"/>
                      <a:pt x="14" y="85"/>
                    </a:cubicBezTo>
                    <a:cubicBezTo>
                      <a:pt x="12" y="86"/>
                      <a:pt x="12" y="88"/>
                      <a:pt x="12" y="90"/>
                    </a:cubicBezTo>
                    <a:cubicBezTo>
                      <a:pt x="12" y="93"/>
                      <a:pt x="12" y="96"/>
                      <a:pt x="14" y="98"/>
                    </a:cubicBezTo>
                    <a:cubicBezTo>
                      <a:pt x="15" y="99"/>
                      <a:pt x="16" y="100"/>
                      <a:pt x="17" y="101"/>
                    </a:cubicBezTo>
                    <a:cubicBezTo>
                      <a:pt x="18" y="101"/>
                      <a:pt x="19" y="105"/>
                      <a:pt x="19" y="105"/>
                    </a:cubicBezTo>
                    <a:cubicBezTo>
                      <a:pt x="21" y="107"/>
                      <a:pt x="24" y="107"/>
                      <a:pt x="25" y="109"/>
                    </a:cubicBezTo>
                    <a:cubicBezTo>
                      <a:pt x="26" y="110"/>
                      <a:pt x="26" y="114"/>
                      <a:pt x="28" y="115"/>
                    </a:cubicBezTo>
                    <a:cubicBezTo>
                      <a:pt x="31" y="116"/>
                      <a:pt x="31" y="113"/>
                      <a:pt x="31" y="112"/>
                    </a:cubicBezTo>
                    <a:cubicBezTo>
                      <a:pt x="31" y="111"/>
                      <a:pt x="31" y="110"/>
                      <a:pt x="31" y="109"/>
                    </a:cubicBezTo>
                    <a:cubicBezTo>
                      <a:pt x="31" y="108"/>
                      <a:pt x="32" y="108"/>
                      <a:pt x="32" y="107"/>
                    </a:cubicBezTo>
                    <a:cubicBezTo>
                      <a:pt x="32" y="106"/>
                      <a:pt x="32" y="105"/>
                      <a:pt x="31" y="104"/>
                    </a:cubicBezTo>
                    <a:cubicBezTo>
                      <a:pt x="31" y="103"/>
                      <a:pt x="29" y="103"/>
                      <a:pt x="29" y="103"/>
                    </a:cubicBezTo>
                    <a:cubicBezTo>
                      <a:pt x="28" y="100"/>
                      <a:pt x="29" y="98"/>
                      <a:pt x="31" y="98"/>
                    </a:cubicBezTo>
                    <a:cubicBezTo>
                      <a:pt x="33" y="98"/>
                      <a:pt x="33" y="98"/>
                      <a:pt x="34" y="99"/>
                    </a:cubicBezTo>
                    <a:cubicBezTo>
                      <a:pt x="34" y="100"/>
                      <a:pt x="34" y="100"/>
                      <a:pt x="34" y="101"/>
                    </a:cubicBezTo>
                    <a:cubicBezTo>
                      <a:pt x="34" y="102"/>
                      <a:pt x="35" y="103"/>
                      <a:pt x="36" y="103"/>
                    </a:cubicBezTo>
                    <a:cubicBezTo>
                      <a:pt x="36" y="104"/>
                      <a:pt x="37" y="106"/>
                      <a:pt x="39" y="106"/>
                    </a:cubicBezTo>
                    <a:cubicBezTo>
                      <a:pt x="40" y="106"/>
                      <a:pt x="41" y="105"/>
                      <a:pt x="43" y="106"/>
                    </a:cubicBezTo>
                    <a:cubicBezTo>
                      <a:pt x="42" y="107"/>
                      <a:pt x="40" y="108"/>
                      <a:pt x="39" y="109"/>
                    </a:cubicBezTo>
                    <a:cubicBezTo>
                      <a:pt x="38" y="110"/>
                      <a:pt x="38" y="111"/>
                      <a:pt x="38" y="113"/>
                    </a:cubicBezTo>
                    <a:cubicBezTo>
                      <a:pt x="39" y="114"/>
                      <a:pt x="39" y="115"/>
                      <a:pt x="40" y="116"/>
                    </a:cubicBezTo>
                    <a:cubicBezTo>
                      <a:pt x="41" y="117"/>
                      <a:pt x="42" y="116"/>
                      <a:pt x="43" y="116"/>
                    </a:cubicBezTo>
                    <a:cubicBezTo>
                      <a:pt x="46" y="117"/>
                      <a:pt x="41" y="125"/>
                      <a:pt x="38" y="124"/>
                    </a:cubicBezTo>
                    <a:cubicBezTo>
                      <a:pt x="37" y="124"/>
                      <a:pt x="36" y="124"/>
                      <a:pt x="35" y="123"/>
                    </a:cubicBezTo>
                    <a:cubicBezTo>
                      <a:pt x="34" y="123"/>
                      <a:pt x="32" y="124"/>
                      <a:pt x="31" y="123"/>
                    </a:cubicBezTo>
                    <a:cubicBezTo>
                      <a:pt x="30" y="123"/>
                      <a:pt x="31" y="123"/>
                      <a:pt x="30" y="122"/>
                    </a:cubicBezTo>
                    <a:cubicBezTo>
                      <a:pt x="30" y="122"/>
                      <a:pt x="30" y="121"/>
                      <a:pt x="30" y="121"/>
                    </a:cubicBezTo>
                    <a:cubicBezTo>
                      <a:pt x="29" y="121"/>
                      <a:pt x="27" y="121"/>
                      <a:pt x="27" y="121"/>
                    </a:cubicBezTo>
                    <a:cubicBezTo>
                      <a:pt x="25" y="121"/>
                      <a:pt x="22" y="120"/>
                      <a:pt x="21" y="118"/>
                    </a:cubicBezTo>
                    <a:cubicBezTo>
                      <a:pt x="19" y="117"/>
                      <a:pt x="20" y="116"/>
                      <a:pt x="18" y="116"/>
                    </a:cubicBezTo>
                    <a:cubicBezTo>
                      <a:pt x="16" y="116"/>
                      <a:pt x="14" y="118"/>
                      <a:pt x="11" y="117"/>
                    </a:cubicBezTo>
                    <a:cubicBezTo>
                      <a:pt x="9" y="117"/>
                      <a:pt x="12" y="116"/>
                      <a:pt x="12" y="114"/>
                    </a:cubicBezTo>
                    <a:cubicBezTo>
                      <a:pt x="11" y="113"/>
                      <a:pt x="8" y="111"/>
                      <a:pt x="7" y="112"/>
                    </a:cubicBezTo>
                    <a:cubicBezTo>
                      <a:pt x="6" y="112"/>
                      <a:pt x="5" y="116"/>
                      <a:pt x="5" y="118"/>
                    </a:cubicBezTo>
                    <a:cubicBezTo>
                      <a:pt x="5" y="118"/>
                      <a:pt x="5" y="119"/>
                      <a:pt x="5" y="120"/>
                    </a:cubicBezTo>
                    <a:cubicBezTo>
                      <a:pt x="5" y="121"/>
                      <a:pt x="4" y="121"/>
                      <a:pt x="4" y="122"/>
                    </a:cubicBezTo>
                    <a:cubicBezTo>
                      <a:pt x="4" y="123"/>
                      <a:pt x="4" y="125"/>
                      <a:pt x="4" y="126"/>
                    </a:cubicBezTo>
                    <a:cubicBezTo>
                      <a:pt x="4" y="128"/>
                      <a:pt x="4" y="129"/>
                      <a:pt x="4" y="131"/>
                    </a:cubicBezTo>
                    <a:cubicBezTo>
                      <a:pt x="4" y="135"/>
                      <a:pt x="4" y="139"/>
                      <a:pt x="5" y="143"/>
                    </a:cubicBezTo>
                    <a:cubicBezTo>
                      <a:pt x="6" y="146"/>
                      <a:pt x="5" y="150"/>
                      <a:pt x="5" y="153"/>
                    </a:cubicBezTo>
                    <a:cubicBezTo>
                      <a:pt x="6" y="155"/>
                      <a:pt x="6" y="158"/>
                      <a:pt x="6" y="160"/>
                    </a:cubicBezTo>
                    <a:cubicBezTo>
                      <a:pt x="6" y="164"/>
                      <a:pt x="6" y="167"/>
                      <a:pt x="6" y="171"/>
                    </a:cubicBezTo>
                    <a:cubicBezTo>
                      <a:pt x="7" y="170"/>
                      <a:pt x="8" y="170"/>
                      <a:pt x="9" y="170"/>
                    </a:cubicBezTo>
                    <a:cubicBezTo>
                      <a:pt x="10" y="169"/>
                      <a:pt x="10" y="169"/>
                      <a:pt x="9" y="167"/>
                    </a:cubicBezTo>
                    <a:cubicBezTo>
                      <a:pt x="9" y="165"/>
                      <a:pt x="9" y="163"/>
                      <a:pt x="11" y="163"/>
                    </a:cubicBezTo>
                    <a:cubicBezTo>
                      <a:pt x="13" y="162"/>
                      <a:pt x="15" y="164"/>
                      <a:pt x="14" y="165"/>
                    </a:cubicBezTo>
                    <a:cubicBezTo>
                      <a:pt x="15" y="167"/>
                      <a:pt x="15" y="167"/>
                      <a:pt x="15" y="167"/>
                    </a:cubicBezTo>
                    <a:cubicBezTo>
                      <a:pt x="15" y="169"/>
                      <a:pt x="13" y="169"/>
                      <a:pt x="13" y="171"/>
                    </a:cubicBezTo>
                    <a:cubicBezTo>
                      <a:pt x="13" y="173"/>
                      <a:pt x="13" y="174"/>
                      <a:pt x="14" y="175"/>
                    </a:cubicBezTo>
                    <a:cubicBezTo>
                      <a:pt x="17" y="177"/>
                      <a:pt x="23" y="180"/>
                      <a:pt x="19" y="183"/>
                    </a:cubicBezTo>
                    <a:cubicBezTo>
                      <a:pt x="17" y="184"/>
                      <a:pt x="14" y="186"/>
                      <a:pt x="13" y="184"/>
                    </a:cubicBezTo>
                    <a:cubicBezTo>
                      <a:pt x="13" y="183"/>
                      <a:pt x="13" y="181"/>
                      <a:pt x="13" y="180"/>
                    </a:cubicBezTo>
                    <a:cubicBezTo>
                      <a:pt x="13" y="179"/>
                      <a:pt x="13" y="177"/>
                      <a:pt x="12" y="177"/>
                    </a:cubicBezTo>
                    <a:cubicBezTo>
                      <a:pt x="11" y="176"/>
                      <a:pt x="7" y="178"/>
                      <a:pt x="7" y="178"/>
                    </a:cubicBezTo>
                    <a:cubicBezTo>
                      <a:pt x="7" y="178"/>
                      <a:pt x="6" y="178"/>
                      <a:pt x="6" y="178"/>
                    </a:cubicBezTo>
                    <a:cubicBezTo>
                      <a:pt x="7" y="181"/>
                      <a:pt x="7" y="185"/>
                      <a:pt x="8" y="188"/>
                    </a:cubicBezTo>
                    <a:cubicBezTo>
                      <a:pt x="8" y="190"/>
                      <a:pt x="8" y="192"/>
                      <a:pt x="8" y="195"/>
                    </a:cubicBezTo>
                    <a:cubicBezTo>
                      <a:pt x="8" y="196"/>
                      <a:pt x="8" y="198"/>
                      <a:pt x="8" y="199"/>
                    </a:cubicBezTo>
                    <a:cubicBezTo>
                      <a:pt x="8" y="202"/>
                      <a:pt x="7" y="205"/>
                      <a:pt x="5" y="207"/>
                    </a:cubicBezTo>
                    <a:cubicBezTo>
                      <a:pt x="5" y="208"/>
                      <a:pt x="4" y="209"/>
                      <a:pt x="3" y="209"/>
                    </a:cubicBezTo>
                    <a:cubicBezTo>
                      <a:pt x="2" y="211"/>
                      <a:pt x="2" y="212"/>
                      <a:pt x="0" y="213"/>
                    </a:cubicBezTo>
                    <a:cubicBezTo>
                      <a:pt x="1" y="214"/>
                      <a:pt x="2" y="214"/>
                      <a:pt x="3" y="215"/>
                    </a:cubicBezTo>
                    <a:cubicBezTo>
                      <a:pt x="5" y="216"/>
                      <a:pt x="6" y="218"/>
                      <a:pt x="8" y="220"/>
                    </a:cubicBezTo>
                    <a:cubicBezTo>
                      <a:pt x="9" y="222"/>
                      <a:pt x="11" y="223"/>
                      <a:pt x="12" y="224"/>
                    </a:cubicBezTo>
                    <a:cubicBezTo>
                      <a:pt x="12" y="225"/>
                      <a:pt x="12" y="226"/>
                      <a:pt x="13" y="227"/>
                    </a:cubicBezTo>
                    <a:cubicBezTo>
                      <a:pt x="15" y="230"/>
                      <a:pt x="17" y="231"/>
                      <a:pt x="20" y="233"/>
                    </a:cubicBezTo>
                    <a:cubicBezTo>
                      <a:pt x="21" y="234"/>
                      <a:pt x="22" y="235"/>
                      <a:pt x="23" y="235"/>
                    </a:cubicBezTo>
                    <a:cubicBezTo>
                      <a:pt x="26" y="234"/>
                      <a:pt x="26" y="231"/>
                      <a:pt x="26" y="229"/>
                    </a:cubicBezTo>
                    <a:cubicBezTo>
                      <a:pt x="25" y="228"/>
                      <a:pt x="25" y="228"/>
                      <a:pt x="24" y="227"/>
                    </a:cubicBezTo>
                    <a:cubicBezTo>
                      <a:pt x="24" y="226"/>
                      <a:pt x="24" y="226"/>
                      <a:pt x="24" y="226"/>
                    </a:cubicBezTo>
                    <a:cubicBezTo>
                      <a:pt x="23" y="225"/>
                      <a:pt x="23" y="224"/>
                      <a:pt x="22" y="223"/>
                    </a:cubicBezTo>
                    <a:cubicBezTo>
                      <a:pt x="21" y="222"/>
                      <a:pt x="19" y="221"/>
                      <a:pt x="18" y="220"/>
                    </a:cubicBezTo>
                    <a:cubicBezTo>
                      <a:pt x="17" y="218"/>
                      <a:pt x="14" y="218"/>
                      <a:pt x="16" y="215"/>
                    </a:cubicBezTo>
                    <a:cubicBezTo>
                      <a:pt x="17" y="212"/>
                      <a:pt x="19" y="214"/>
                      <a:pt x="21" y="215"/>
                    </a:cubicBezTo>
                    <a:cubicBezTo>
                      <a:pt x="22" y="216"/>
                      <a:pt x="23" y="220"/>
                      <a:pt x="24" y="220"/>
                    </a:cubicBezTo>
                    <a:cubicBezTo>
                      <a:pt x="24" y="221"/>
                      <a:pt x="26" y="221"/>
                      <a:pt x="26" y="222"/>
                    </a:cubicBezTo>
                    <a:cubicBezTo>
                      <a:pt x="27" y="223"/>
                      <a:pt x="27" y="223"/>
                      <a:pt x="28" y="224"/>
                    </a:cubicBezTo>
                    <a:cubicBezTo>
                      <a:pt x="29" y="225"/>
                      <a:pt x="31" y="226"/>
                      <a:pt x="32" y="227"/>
                    </a:cubicBezTo>
                    <a:cubicBezTo>
                      <a:pt x="32" y="227"/>
                      <a:pt x="34" y="228"/>
                      <a:pt x="34" y="228"/>
                    </a:cubicBezTo>
                    <a:cubicBezTo>
                      <a:pt x="34" y="228"/>
                      <a:pt x="34" y="228"/>
                      <a:pt x="34" y="229"/>
                    </a:cubicBezTo>
                    <a:cubicBezTo>
                      <a:pt x="35" y="231"/>
                      <a:pt x="36" y="232"/>
                      <a:pt x="35" y="234"/>
                    </a:cubicBezTo>
                    <a:cubicBezTo>
                      <a:pt x="35" y="236"/>
                      <a:pt x="34" y="235"/>
                      <a:pt x="34" y="237"/>
                    </a:cubicBezTo>
                    <a:cubicBezTo>
                      <a:pt x="33" y="238"/>
                      <a:pt x="34" y="239"/>
                      <a:pt x="34" y="240"/>
                    </a:cubicBezTo>
                    <a:cubicBezTo>
                      <a:pt x="34" y="241"/>
                      <a:pt x="33" y="244"/>
                      <a:pt x="34" y="245"/>
                    </a:cubicBezTo>
                    <a:cubicBezTo>
                      <a:pt x="34" y="246"/>
                      <a:pt x="35" y="246"/>
                      <a:pt x="35" y="247"/>
                    </a:cubicBezTo>
                    <a:cubicBezTo>
                      <a:pt x="37" y="250"/>
                      <a:pt x="35" y="252"/>
                      <a:pt x="34" y="254"/>
                    </a:cubicBezTo>
                    <a:cubicBezTo>
                      <a:pt x="34" y="255"/>
                      <a:pt x="34" y="255"/>
                      <a:pt x="33" y="256"/>
                    </a:cubicBezTo>
                    <a:cubicBezTo>
                      <a:pt x="33" y="257"/>
                      <a:pt x="32" y="257"/>
                      <a:pt x="32" y="258"/>
                    </a:cubicBezTo>
                    <a:cubicBezTo>
                      <a:pt x="32" y="259"/>
                      <a:pt x="32" y="260"/>
                      <a:pt x="32" y="261"/>
                    </a:cubicBezTo>
                    <a:cubicBezTo>
                      <a:pt x="32" y="263"/>
                      <a:pt x="32" y="266"/>
                      <a:pt x="32" y="268"/>
                    </a:cubicBezTo>
                    <a:cubicBezTo>
                      <a:pt x="32" y="269"/>
                      <a:pt x="32" y="270"/>
                      <a:pt x="32" y="272"/>
                    </a:cubicBezTo>
                    <a:cubicBezTo>
                      <a:pt x="32" y="271"/>
                      <a:pt x="32" y="271"/>
                      <a:pt x="32" y="271"/>
                    </a:cubicBezTo>
                    <a:cubicBezTo>
                      <a:pt x="35" y="271"/>
                      <a:pt x="37" y="272"/>
                      <a:pt x="40" y="272"/>
                    </a:cubicBezTo>
                    <a:cubicBezTo>
                      <a:pt x="41" y="272"/>
                      <a:pt x="43" y="272"/>
                      <a:pt x="45" y="272"/>
                    </a:cubicBezTo>
                    <a:cubicBezTo>
                      <a:pt x="46" y="272"/>
                      <a:pt x="48" y="272"/>
                      <a:pt x="49" y="272"/>
                    </a:cubicBezTo>
                    <a:cubicBezTo>
                      <a:pt x="50" y="273"/>
                      <a:pt x="51" y="274"/>
                      <a:pt x="52" y="274"/>
                    </a:cubicBezTo>
                    <a:cubicBezTo>
                      <a:pt x="53" y="274"/>
                      <a:pt x="55" y="274"/>
                      <a:pt x="56" y="274"/>
                    </a:cubicBezTo>
                    <a:cubicBezTo>
                      <a:pt x="56" y="274"/>
                      <a:pt x="57" y="274"/>
                      <a:pt x="58" y="274"/>
                    </a:cubicBezTo>
                    <a:cubicBezTo>
                      <a:pt x="58" y="273"/>
                      <a:pt x="58" y="273"/>
                      <a:pt x="59" y="272"/>
                    </a:cubicBezTo>
                    <a:cubicBezTo>
                      <a:pt x="59" y="272"/>
                      <a:pt x="61" y="272"/>
                      <a:pt x="62" y="272"/>
                    </a:cubicBezTo>
                    <a:cubicBezTo>
                      <a:pt x="62" y="273"/>
                      <a:pt x="62" y="274"/>
                      <a:pt x="63" y="274"/>
                    </a:cubicBezTo>
                    <a:cubicBezTo>
                      <a:pt x="62" y="275"/>
                      <a:pt x="63" y="275"/>
                      <a:pt x="63" y="275"/>
                    </a:cubicBezTo>
                    <a:cubicBezTo>
                      <a:pt x="63" y="276"/>
                      <a:pt x="63" y="276"/>
                      <a:pt x="63" y="276"/>
                    </a:cubicBezTo>
                    <a:cubicBezTo>
                      <a:pt x="64" y="277"/>
                      <a:pt x="64" y="278"/>
                      <a:pt x="64" y="280"/>
                    </a:cubicBezTo>
                    <a:cubicBezTo>
                      <a:pt x="64" y="282"/>
                      <a:pt x="65" y="282"/>
                      <a:pt x="67" y="282"/>
                    </a:cubicBezTo>
                    <a:cubicBezTo>
                      <a:pt x="68" y="282"/>
                      <a:pt x="69" y="282"/>
                      <a:pt x="70" y="282"/>
                    </a:cubicBezTo>
                    <a:cubicBezTo>
                      <a:pt x="71" y="281"/>
                      <a:pt x="71" y="280"/>
                      <a:pt x="72" y="279"/>
                    </a:cubicBezTo>
                    <a:cubicBezTo>
                      <a:pt x="74" y="279"/>
                      <a:pt x="74" y="279"/>
                      <a:pt x="75" y="278"/>
                    </a:cubicBezTo>
                    <a:cubicBezTo>
                      <a:pt x="76" y="277"/>
                      <a:pt x="76" y="276"/>
                      <a:pt x="77" y="276"/>
                    </a:cubicBezTo>
                    <a:cubicBezTo>
                      <a:pt x="78" y="275"/>
                      <a:pt x="79" y="276"/>
                      <a:pt x="79" y="276"/>
                    </a:cubicBezTo>
                    <a:cubicBezTo>
                      <a:pt x="80" y="276"/>
                      <a:pt x="81" y="276"/>
                      <a:pt x="81" y="276"/>
                    </a:cubicBezTo>
                    <a:cubicBezTo>
                      <a:pt x="82" y="276"/>
                      <a:pt x="82" y="276"/>
                      <a:pt x="83" y="276"/>
                    </a:cubicBezTo>
                    <a:cubicBezTo>
                      <a:pt x="84" y="276"/>
                      <a:pt x="85" y="277"/>
                      <a:pt x="86" y="277"/>
                    </a:cubicBezTo>
                    <a:cubicBezTo>
                      <a:pt x="87" y="279"/>
                      <a:pt x="87" y="280"/>
                      <a:pt x="89" y="280"/>
                    </a:cubicBezTo>
                    <a:cubicBezTo>
                      <a:pt x="91" y="280"/>
                      <a:pt x="92" y="280"/>
                      <a:pt x="94" y="281"/>
                    </a:cubicBezTo>
                    <a:cubicBezTo>
                      <a:pt x="95" y="282"/>
                      <a:pt x="95" y="282"/>
                      <a:pt x="96" y="283"/>
                    </a:cubicBezTo>
                    <a:cubicBezTo>
                      <a:pt x="97" y="283"/>
                      <a:pt x="98" y="284"/>
                      <a:pt x="99" y="284"/>
                    </a:cubicBezTo>
                    <a:cubicBezTo>
                      <a:pt x="100" y="284"/>
                      <a:pt x="100" y="283"/>
                      <a:pt x="101" y="282"/>
                    </a:cubicBezTo>
                    <a:cubicBezTo>
                      <a:pt x="102" y="282"/>
                      <a:pt x="104" y="280"/>
                      <a:pt x="105" y="281"/>
                    </a:cubicBezTo>
                    <a:cubicBezTo>
                      <a:pt x="106" y="281"/>
                      <a:pt x="106" y="282"/>
                      <a:pt x="106" y="282"/>
                    </a:cubicBezTo>
                    <a:cubicBezTo>
                      <a:pt x="107" y="282"/>
                      <a:pt x="107" y="281"/>
                      <a:pt x="108" y="280"/>
                    </a:cubicBezTo>
                    <a:cubicBezTo>
                      <a:pt x="109" y="279"/>
                      <a:pt x="111" y="277"/>
                      <a:pt x="112" y="275"/>
                    </a:cubicBezTo>
                    <a:cubicBezTo>
                      <a:pt x="113" y="272"/>
                      <a:pt x="114" y="267"/>
                      <a:pt x="111" y="264"/>
                    </a:cubicBezTo>
                    <a:cubicBezTo>
                      <a:pt x="108" y="262"/>
                      <a:pt x="105" y="264"/>
                      <a:pt x="103" y="261"/>
                    </a:cubicBezTo>
                    <a:cubicBezTo>
                      <a:pt x="103" y="260"/>
                      <a:pt x="103" y="259"/>
                      <a:pt x="102" y="259"/>
                    </a:cubicBezTo>
                    <a:cubicBezTo>
                      <a:pt x="102" y="258"/>
                      <a:pt x="101" y="258"/>
                      <a:pt x="100" y="258"/>
                    </a:cubicBezTo>
                    <a:cubicBezTo>
                      <a:pt x="99" y="257"/>
                      <a:pt x="99" y="257"/>
                      <a:pt x="98" y="256"/>
                    </a:cubicBezTo>
                    <a:cubicBezTo>
                      <a:pt x="96" y="255"/>
                      <a:pt x="91" y="254"/>
                      <a:pt x="89" y="256"/>
                    </a:cubicBezTo>
                    <a:cubicBezTo>
                      <a:pt x="86" y="258"/>
                      <a:pt x="95" y="263"/>
                      <a:pt x="94" y="267"/>
                    </a:cubicBezTo>
                    <a:cubicBezTo>
                      <a:pt x="92" y="267"/>
                      <a:pt x="93" y="266"/>
                      <a:pt x="92" y="266"/>
                    </a:cubicBezTo>
                    <a:cubicBezTo>
                      <a:pt x="91" y="265"/>
                      <a:pt x="89" y="265"/>
                      <a:pt x="88" y="264"/>
                    </a:cubicBezTo>
                    <a:cubicBezTo>
                      <a:pt x="87" y="263"/>
                      <a:pt x="86" y="262"/>
                      <a:pt x="84" y="261"/>
                    </a:cubicBezTo>
                    <a:cubicBezTo>
                      <a:pt x="82" y="260"/>
                      <a:pt x="81" y="261"/>
                      <a:pt x="81" y="258"/>
                    </a:cubicBezTo>
                    <a:cubicBezTo>
                      <a:pt x="81" y="256"/>
                      <a:pt x="81" y="254"/>
                      <a:pt x="82" y="253"/>
                    </a:cubicBezTo>
                    <a:cubicBezTo>
                      <a:pt x="83" y="252"/>
                      <a:pt x="84" y="251"/>
                      <a:pt x="84" y="250"/>
                    </a:cubicBezTo>
                    <a:cubicBezTo>
                      <a:pt x="85" y="250"/>
                      <a:pt x="88" y="250"/>
                      <a:pt x="89" y="250"/>
                    </a:cubicBezTo>
                    <a:cubicBezTo>
                      <a:pt x="92" y="249"/>
                      <a:pt x="89" y="248"/>
                      <a:pt x="90" y="246"/>
                    </a:cubicBezTo>
                    <a:cubicBezTo>
                      <a:pt x="91" y="244"/>
                      <a:pt x="94" y="244"/>
                      <a:pt x="92" y="242"/>
                    </a:cubicBezTo>
                    <a:cubicBezTo>
                      <a:pt x="92" y="241"/>
                      <a:pt x="91" y="242"/>
                      <a:pt x="90" y="241"/>
                    </a:cubicBezTo>
                    <a:cubicBezTo>
                      <a:pt x="90" y="240"/>
                      <a:pt x="90" y="239"/>
                      <a:pt x="90" y="239"/>
                    </a:cubicBezTo>
                    <a:cubicBezTo>
                      <a:pt x="91" y="233"/>
                      <a:pt x="99" y="237"/>
                      <a:pt x="101" y="239"/>
                    </a:cubicBezTo>
                    <a:cubicBezTo>
                      <a:pt x="102" y="239"/>
                      <a:pt x="103" y="240"/>
                      <a:pt x="103" y="241"/>
                    </a:cubicBezTo>
                    <a:cubicBezTo>
                      <a:pt x="104" y="242"/>
                      <a:pt x="104" y="243"/>
                      <a:pt x="104" y="244"/>
                    </a:cubicBezTo>
                    <a:cubicBezTo>
                      <a:pt x="104" y="245"/>
                      <a:pt x="104" y="244"/>
                      <a:pt x="105" y="245"/>
                    </a:cubicBezTo>
                    <a:cubicBezTo>
                      <a:pt x="107" y="247"/>
                      <a:pt x="109" y="248"/>
                      <a:pt x="111" y="250"/>
                    </a:cubicBezTo>
                    <a:cubicBezTo>
                      <a:pt x="112" y="252"/>
                      <a:pt x="111" y="253"/>
                      <a:pt x="111" y="255"/>
                    </a:cubicBezTo>
                    <a:cubicBezTo>
                      <a:pt x="111" y="257"/>
                      <a:pt x="112" y="257"/>
                      <a:pt x="114" y="257"/>
                    </a:cubicBezTo>
                    <a:cubicBezTo>
                      <a:pt x="115" y="257"/>
                      <a:pt x="117" y="256"/>
                      <a:pt x="117" y="255"/>
                    </a:cubicBezTo>
                    <a:cubicBezTo>
                      <a:pt x="118" y="255"/>
                      <a:pt x="120" y="255"/>
                      <a:pt x="120" y="257"/>
                    </a:cubicBezTo>
                    <a:cubicBezTo>
                      <a:pt x="121" y="258"/>
                      <a:pt x="120" y="259"/>
                      <a:pt x="121" y="259"/>
                    </a:cubicBezTo>
                    <a:cubicBezTo>
                      <a:pt x="122" y="260"/>
                      <a:pt x="125" y="260"/>
                      <a:pt x="126" y="261"/>
                    </a:cubicBezTo>
                    <a:cubicBezTo>
                      <a:pt x="127" y="261"/>
                      <a:pt x="129" y="262"/>
                      <a:pt x="130" y="263"/>
                    </a:cubicBezTo>
                    <a:cubicBezTo>
                      <a:pt x="131" y="263"/>
                      <a:pt x="132" y="264"/>
                      <a:pt x="133" y="264"/>
                    </a:cubicBezTo>
                    <a:cubicBezTo>
                      <a:pt x="136" y="266"/>
                      <a:pt x="137" y="268"/>
                      <a:pt x="137" y="272"/>
                    </a:cubicBezTo>
                    <a:cubicBezTo>
                      <a:pt x="137" y="273"/>
                      <a:pt x="137" y="274"/>
                      <a:pt x="138" y="275"/>
                    </a:cubicBezTo>
                    <a:cubicBezTo>
                      <a:pt x="139" y="276"/>
                      <a:pt x="140" y="277"/>
                      <a:pt x="141" y="278"/>
                    </a:cubicBezTo>
                    <a:cubicBezTo>
                      <a:pt x="142" y="279"/>
                      <a:pt x="142" y="278"/>
                      <a:pt x="143" y="280"/>
                    </a:cubicBezTo>
                    <a:cubicBezTo>
                      <a:pt x="143" y="281"/>
                      <a:pt x="143" y="283"/>
                      <a:pt x="143" y="284"/>
                    </a:cubicBezTo>
                    <a:cubicBezTo>
                      <a:pt x="143" y="286"/>
                      <a:pt x="143" y="297"/>
                      <a:pt x="146" y="296"/>
                    </a:cubicBezTo>
                    <a:cubicBezTo>
                      <a:pt x="147" y="296"/>
                      <a:pt x="147" y="294"/>
                      <a:pt x="148" y="293"/>
                    </a:cubicBezTo>
                    <a:cubicBezTo>
                      <a:pt x="148" y="292"/>
                      <a:pt x="149" y="290"/>
                      <a:pt x="149" y="288"/>
                    </a:cubicBezTo>
                    <a:cubicBezTo>
                      <a:pt x="150" y="286"/>
                      <a:pt x="150" y="284"/>
                      <a:pt x="151" y="282"/>
                    </a:cubicBezTo>
                    <a:cubicBezTo>
                      <a:pt x="152" y="281"/>
                      <a:pt x="152" y="280"/>
                      <a:pt x="152" y="279"/>
                    </a:cubicBezTo>
                    <a:cubicBezTo>
                      <a:pt x="153" y="279"/>
                      <a:pt x="154" y="278"/>
                      <a:pt x="154" y="278"/>
                    </a:cubicBezTo>
                    <a:cubicBezTo>
                      <a:pt x="154" y="277"/>
                      <a:pt x="154" y="276"/>
                      <a:pt x="154" y="275"/>
                    </a:cubicBezTo>
                    <a:cubicBezTo>
                      <a:pt x="154" y="274"/>
                      <a:pt x="155" y="275"/>
                      <a:pt x="155" y="274"/>
                    </a:cubicBezTo>
                    <a:cubicBezTo>
                      <a:pt x="155" y="273"/>
                      <a:pt x="155" y="272"/>
                      <a:pt x="155" y="271"/>
                    </a:cubicBezTo>
                    <a:cubicBezTo>
                      <a:pt x="155" y="268"/>
                      <a:pt x="156" y="265"/>
                      <a:pt x="157" y="261"/>
                    </a:cubicBezTo>
                    <a:cubicBezTo>
                      <a:pt x="157" y="259"/>
                      <a:pt x="159" y="257"/>
                      <a:pt x="160" y="25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58" name="Freeform 107">
                <a:extLst>
                  <a:ext uri="{FF2B5EF4-FFF2-40B4-BE49-F238E27FC236}">
                    <a16:creationId xmlns:a16="http://schemas.microsoft.com/office/drawing/2014/main" id="{D3186004-E3E9-4DAE-866C-8494D0086F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9463" y="3495675"/>
                <a:ext cx="180975" cy="300038"/>
              </a:xfrm>
              <a:custGeom>
                <a:avLst/>
                <a:gdLst/>
                <a:ahLst/>
                <a:cxnLst>
                  <a:cxn ang="0">
                    <a:pos x="44" y="49"/>
                  </a:cxn>
                  <a:cxn ang="0">
                    <a:pos x="52" y="51"/>
                  </a:cxn>
                  <a:cxn ang="0">
                    <a:pos x="63" y="54"/>
                  </a:cxn>
                  <a:cxn ang="0">
                    <a:pos x="57" y="52"/>
                  </a:cxn>
                  <a:cxn ang="0">
                    <a:pos x="53" y="43"/>
                  </a:cxn>
                  <a:cxn ang="0">
                    <a:pos x="54" y="32"/>
                  </a:cxn>
                  <a:cxn ang="0">
                    <a:pos x="60" y="34"/>
                  </a:cxn>
                  <a:cxn ang="0">
                    <a:pos x="51" y="33"/>
                  </a:cxn>
                  <a:cxn ang="0">
                    <a:pos x="59" y="19"/>
                  </a:cxn>
                  <a:cxn ang="0">
                    <a:pos x="68" y="14"/>
                  </a:cxn>
                  <a:cxn ang="0">
                    <a:pos x="73" y="3"/>
                  </a:cxn>
                  <a:cxn ang="0">
                    <a:pos x="80" y="11"/>
                  </a:cxn>
                  <a:cxn ang="0">
                    <a:pos x="89" y="19"/>
                  </a:cxn>
                  <a:cxn ang="0">
                    <a:pos x="86" y="29"/>
                  </a:cxn>
                  <a:cxn ang="0">
                    <a:pos x="93" y="34"/>
                  </a:cxn>
                  <a:cxn ang="0">
                    <a:pos x="96" y="43"/>
                  </a:cxn>
                  <a:cxn ang="0">
                    <a:pos x="93" y="48"/>
                  </a:cxn>
                  <a:cxn ang="0">
                    <a:pos x="95" y="59"/>
                  </a:cxn>
                  <a:cxn ang="0">
                    <a:pos x="94" y="65"/>
                  </a:cxn>
                  <a:cxn ang="0">
                    <a:pos x="78" y="67"/>
                  </a:cxn>
                  <a:cxn ang="0">
                    <a:pos x="75" y="79"/>
                  </a:cxn>
                  <a:cxn ang="0">
                    <a:pos x="82" y="91"/>
                  </a:cxn>
                  <a:cxn ang="0">
                    <a:pos x="71" y="99"/>
                  </a:cxn>
                  <a:cxn ang="0">
                    <a:pos x="60" y="108"/>
                  </a:cxn>
                  <a:cxn ang="0">
                    <a:pos x="66" y="125"/>
                  </a:cxn>
                  <a:cxn ang="0">
                    <a:pos x="75" y="117"/>
                  </a:cxn>
                  <a:cxn ang="0">
                    <a:pos x="81" y="124"/>
                  </a:cxn>
                  <a:cxn ang="0">
                    <a:pos x="72" y="130"/>
                  </a:cxn>
                  <a:cxn ang="0">
                    <a:pos x="67" y="131"/>
                  </a:cxn>
                  <a:cxn ang="0">
                    <a:pos x="62" y="141"/>
                  </a:cxn>
                  <a:cxn ang="0">
                    <a:pos x="50" y="153"/>
                  </a:cxn>
                  <a:cxn ang="0">
                    <a:pos x="50" y="158"/>
                  </a:cxn>
                  <a:cxn ang="0">
                    <a:pos x="42" y="154"/>
                  </a:cxn>
                  <a:cxn ang="0">
                    <a:pos x="34" y="155"/>
                  </a:cxn>
                  <a:cxn ang="0">
                    <a:pos x="25" y="151"/>
                  </a:cxn>
                  <a:cxn ang="0">
                    <a:pos x="7" y="139"/>
                  </a:cxn>
                  <a:cxn ang="0">
                    <a:pos x="10" y="135"/>
                  </a:cxn>
                  <a:cxn ang="0">
                    <a:pos x="9" y="129"/>
                  </a:cxn>
                  <a:cxn ang="0">
                    <a:pos x="16" y="126"/>
                  </a:cxn>
                  <a:cxn ang="0">
                    <a:pos x="23" y="128"/>
                  </a:cxn>
                  <a:cxn ang="0">
                    <a:pos x="33" y="133"/>
                  </a:cxn>
                  <a:cxn ang="0">
                    <a:pos x="42" y="132"/>
                  </a:cxn>
                  <a:cxn ang="0">
                    <a:pos x="49" y="127"/>
                  </a:cxn>
                  <a:cxn ang="0">
                    <a:pos x="56" y="124"/>
                  </a:cxn>
                  <a:cxn ang="0">
                    <a:pos x="51" y="119"/>
                  </a:cxn>
                  <a:cxn ang="0">
                    <a:pos x="41" y="104"/>
                  </a:cxn>
                  <a:cxn ang="0">
                    <a:pos x="29" y="102"/>
                  </a:cxn>
                  <a:cxn ang="0">
                    <a:pos x="18" y="98"/>
                  </a:cxn>
                  <a:cxn ang="0">
                    <a:pos x="13" y="84"/>
                  </a:cxn>
                  <a:cxn ang="0">
                    <a:pos x="10" y="68"/>
                  </a:cxn>
                  <a:cxn ang="0">
                    <a:pos x="3" y="56"/>
                  </a:cxn>
                  <a:cxn ang="0">
                    <a:pos x="4" y="50"/>
                  </a:cxn>
                  <a:cxn ang="0">
                    <a:pos x="18" y="50"/>
                  </a:cxn>
                  <a:cxn ang="0">
                    <a:pos x="34" y="37"/>
                  </a:cxn>
                  <a:cxn ang="0">
                    <a:pos x="21" y="30"/>
                  </a:cxn>
                  <a:cxn ang="0">
                    <a:pos x="34" y="31"/>
                  </a:cxn>
                  <a:cxn ang="0">
                    <a:pos x="49" y="35"/>
                  </a:cxn>
                  <a:cxn ang="0">
                    <a:pos x="45" y="42"/>
                  </a:cxn>
                </a:cxnLst>
                <a:rect l="0" t="0" r="r" b="b"/>
                <a:pathLst>
                  <a:path w="97" h="161">
                    <a:moveTo>
                      <a:pt x="45" y="42"/>
                    </a:moveTo>
                    <a:cubicBezTo>
                      <a:pt x="45" y="43"/>
                      <a:pt x="41" y="46"/>
                      <a:pt x="42" y="48"/>
                    </a:cubicBezTo>
                    <a:cubicBezTo>
                      <a:pt x="42" y="49"/>
                      <a:pt x="43" y="49"/>
                      <a:pt x="44" y="49"/>
                    </a:cubicBezTo>
                    <a:cubicBezTo>
                      <a:pt x="46" y="49"/>
                      <a:pt x="46" y="49"/>
                      <a:pt x="48" y="50"/>
                    </a:cubicBezTo>
                    <a:cubicBezTo>
                      <a:pt x="49" y="52"/>
                      <a:pt x="48" y="54"/>
                      <a:pt x="50" y="56"/>
                    </a:cubicBezTo>
                    <a:cubicBezTo>
                      <a:pt x="53" y="59"/>
                      <a:pt x="52" y="53"/>
                      <a:pt x="52" y="51"/>
                    </a:cubicBezTo>
                    <a:cubicBezTo>
                      <a:pt x="55" y="52"/>
                      <a:pt x="58" y="54"/>
                      <a:pt x="60" y="54"/>
                    </a:cubicBezTo>
                    <a:cubicBezTo>
                      <a:pt x="61" y="54"/>
                      <a:pt x="61" y="54"/>
                      <a:pt x="62" y="54"/>
                    </a:cubicBezTo>
                    <a:cubicBezTo>
                      <a:pt x="62" y="54"/>
                      <a:pt x="62" y="54"/>
                      <a:pt x="63" y="54"/>
                    </a:cubicBezTo>
                    <a:cubicBezTo>
                      <a:pt x="64" y="53"/>
                      <a:pt x="60" y="50"/>
                      <a:pt x="59" y="51"/>
                    </a:cubicBezTo>
                    <a:cubicBezTo>
                      <a:pt x="59" y="51"/>
                      <a:pt x="59" y="52"/>
                      <a:pt x="59" y="52"/>
                    </a:cubicBezTo>
                    <a:cubicBezTo>
                      <a:pt x="58" y="52"/>
                      <a:pt x="58" y="52"/>
                      <a:pt x="57" y="52"/>
                    </a:cubicBezTo>
                    <a:cubicBezTo>
                      <a:pt x="57" y="52"/>
                      <a:pt x="54" y="50"/>
                      <a:pt x="54" y="50"/>
                    </a:cubicBezTo>
                    <a:cubicBezTo>
                      <a:pt x="53" y="49"/>
                      <a:pt x="53" y="48"/>
                      <a:pt x="53" y="48"/>
                    </a:cubicBezTo>
                    <a:cubicBezTo>
                      <a:pt x="52" y="47"/>
                      <a:pt x="52" y="44"/>
                      <a:pt x="53" y="43"/>
                    </a:cubicBezTo>
                    <a:cubicBezTo>
                      <a:pt x="53" y="42"/>
                      <a:pt x="55" y="42"/>
                      <a:pt x="55" y="41"/>
                    </a:cubicBezTo>
                    <a:cubicBezTo>
                      <a:pt x="57" y="39"/>
                      <a:pt x="54" y="38"/>
                      <a:pt x="54" y="36"/>
                    </a:cubicBezTo>
                    <a:cubicBezTo>
                      <a:pt x="53" y="35"/>
                      <a:pt x="54" y="34"/>
                      <a:pt x="54" y="32"/>
                    </a:cubicBezTo>
                    <a:cubicBezTo>
                      <a:pt x="54" y="31"/>
                      <a:pt x="53" y="29"/>
                      <a:pt x="55" y="30"/>
                    </a:cubicBezTo>
                    <a:cubicBezTo>
                      <a:pt x="57" y="30"/>
                      <a:pt x="56" y="34"/>
                      <a:pt x="58" y="35"/>
                    </a:cubicBezTo>
                    <a:cubicBezTo>
                      <a:pt x="58" y="36"/>
                      <a:pt x="60" y="36"/>
                      <a:pt x="60" y="34"/>
                    </a:cubicBezTo>
                    <a:cubicBezTo>
                      <a:pt x="61" y="33"/>
                      <a:pt x="59" y="32"/>
                      <a:pt x="58" y="31"/>
                    </a:cubicBezTo>
                    <a:cubicBezTo>
                      <a:pt x="57" y="31"/>
                      <a:pt x="55" y="31"/>
                      <a:pt x="54" y="31"/>
                    </a:cubicBezTo>
                    <a:cubicBezTo>
                      <a:pt x="52" y="31"/>
                      <a:pt x="52" y="32"/>
                      <a:pt x="51" y="33"/>
                    </a:cubicBezTo>
                    <a:cubicBezTo>
                      <a:pt x="50" y="32"/>
                      <a:pt x="49" y="27"/>
                      <a:pt x="50" y="26"/>
                    </a:cubicBezTo>
                    <a:cubicBezTo>
                      <a:pt x="51" y="25"/>
                      <a:pt x="54" y="26"/>
                      <a:pt x="55" y="25"/>
                    </a:cubicBezTo>
                    <a:cubicBezTo>
                      <a:pt x="57" y="23"/>
                      <a:pt x="58" y="20"/>
                      <a:pt x="59" y="19"/>
                    </a:cubicBezTo>
                    <a:cubicBezTo>
                      <a:pt x="60" y="17"/>
                      <a:pt x="62" y="15"/>
                      <a:pt x="63" y="14"/>
                    </a:cubicBezTo>
                    <a:cubicBezTo>
                      <a:pt x="64" y="14"/>
                      <a:pt x="65" y="13"/>
                      <a:pt x="67" y="12"/>
                    </a:cubicBezTo>
                    <a:cubicBezTo>
                      <a:pt x="67" y="13"/>
                      <a:pt x="67" y="13"/>
                      <a:pt x="68" y="14"/>
                    </a:cubicBezTo>
                    <a:cubicBezTo>
                      <a:pt x="67" y="11"/>
                      <a:pt x="65" y="9"/>
                      <a:pt x="66" y="7"/>
                    </a:cubicBezTo>
                    <a:cubicBezTo>
                      <a:pt x="66" y="4"/>
                      <a:pt x="67" y="0"/>
                      <a:pt x="70" y="0"/>
                    </a:cubicBezTo>
                    <a:cubicBezTo>
                      <a:pt x="72" y="0"/>
                      <a:pt x="72" y="1"/>
                      <a:pt x="73" y="3"/>
                    </a:cubicBezTo>
                    <a:cubicBezTo>
                      <a:pt x="74" y="4"/>
                      <a:pt x="74" y="7"/>
                      <a:pt x="76" y="8"/>
                    </a:cubicBezTo>
                    <a:cubicBezTo>
                      <a:pt x="77" y="8"/>
                      <a:pt x="78" y="7"/>
                      <a:pt x="79" y="8"/>
                    </a:cubicBezTo>
                    <a:cubicBezTo>
                      <a:pt x="79" y="8"/>
                      <a:pt x="79" y="10"/>
                      <a:pt x="80" y="11"/>
                    </a:cubicBezTo>
                    <a:cubicBezTo>
                      <a:pt x="80" y="12"/>
                      <a:pt x="81" y="13"/>
                      <a:pt x="82" y="14"/>
                    </a:cubicBezTo>
                    <a:cubicBezTo>
                      <a:pt x="83" y="14"/>
                      <a:pt x="83" y="12"/>
                      <a:pt x="84" y="11"/>
                    </a:cubicBezTo>
                    <a:cubicBezTo>
                      <a:pt x="86" y="14"/>
                      <a:pt x="89" y="16"/>
                      <a:pt x="89" y="19"/>
                    </a:cubicBezTo>
                    <a:cubicBezTo>
                      <a:pt x="90" y="20"/>
                      <a:pt x="91" y="20"/>
                      <a:pt x="92" y="22"/>
                    </a:cubicBezTo>
                    <a:cubicBezTo>
                      <a:pt x="92" y="23"/>
                      <a:pt x="90" y="23"/>
                      <a:pt x="89" y="24"/>
                    </a:cubicBezTo>
                    <a:cubicBezTo>
                      <a:pt x="87" y="26"/>
                      <a:pt x="85" y="27"/>
                      <a:pt x="86" y="29"/>
                    </a:cubicBezTo>
                    <a:cubicBezTo>
                      <a:pt x="87" y="30"/>
                      <a:pt x="87" y="31"/>
                      <a:pt x="87" y="33"/>
                    </a:cubicBezTo>
                    <a:cubicBezTo>
                      <a:pt x="87" y="33"/>
                      <a:pt x="87" y="36"/>
                      <a:pt x="87" y="36"/>
                    </a:cubicBezTo>
                    <a:cubicBezTo>
                      <a:pt x="89" y="38"/>
                      <a:pt x="91" y="34"/>
                      <a:pt x="93" y="34"/>
                    </a:cubicBezTo>
                    <a:cubicBezTo>
                      <a:pt x="94" y="34"/>
                      <a:pt x="95" y="37"/>
                      <a:pt x="96" y="38"/>
                    </a:cubicBezTo>
                    <a:cubicBezTo>
                      <a:pt x="96" y="39"/>
                      <a:pt x="97" y="40"/>
                      <a:pt x="97" y="41"/>
                    </a:cubicBezTo>
                    <a:cubicBezTo>
                      <a:pt x="97" y="42"/>
                      <a:pt x="96" y="42"/>
                      <a:pt x="96" y="43"/>
                    </a:cubicBezTo>
                    <a:cubicBezTo>
                      <a:pt x="96" y="43"/>
                      <a:pt x="96" y="43"/>
                      <a:pt x="95" y="44"/>
                    </a:cubicBezTo>
                    <a:cubicBezTo>
                      <a:pt x="95" y="45"/>
                      <a:pt x="96" y="45"/>
                      <a:pt x="95" y="46"/>
                    </a:cubicBezTo>
                    <a:cubicBezTo>
                      <a:pt x="95" y="47"/>
                      <a:pt x="95" y="47"/>
                      <a:pt x="93" y="48"/>
                    </a:cubicBezTo>
                    <a:cubicBezTo>
                      <a:pt x="88" y="49"/>
                      <a:pt x="93" y="52"/>
                      <a:pt x="95" y="54"/>
                    </a:cubicBezTo>
                    <a:cubicBezTo>
                      <a:pt x="95" y="55"/>
                      <a:pt x="95" y="56"/>
                      <a:pt x="95" y="57"/>
                    </a:cubicBezTo>
                    <a:cubicBezTo>
                      <a:pt x="95" y="58"/>
                      <a:pt x="95" y="58"/>
                      <a:pt x="95" y="59"/>
                    </a:cubicBezTo>
                    <a:cubicBezTo>
                      <a:pt x="96" y="60"/>
                      <a:pt x="96" y="60"/>
                      <a:pt x="96" y="60"/>
                    </a:cubicBezTo>
                    <a:cubicBezTo>
                      <a:pt x="97" y="62"/>
                      <a:pt x="97" y="60"/>
                      <a:pt x="97" y="62"/>
                    </a:cubicBezTo>
                    <a:cubicBezTo>
                      <a:pt x="96" y="63"/>
                      <a:pt x="94" y="64"/>
                      <a:pt x="94" y="65"/>
                    </a:cubicBezTo>
                    <a:cubicBezTo>
                      <a:pt x="92" y="65"/>
                      <a:pt x="90" y="67"/>
                      <a:pt x="88" y="67"/>
                    </a:cubicBezTo>
                    <a:cubicBezTo>
                      <a:pt x="86" y="66"/>
                      <a:pt x="88" y="65"/>
                      <a:pt x="86" y="65"/>
                    </a:cubicBezTo>
                    <a:cubicBezTo>
                      <a:pt x="84" y="64"/>
                      <a:pt x="80" y="66"/>
                      <a:pt x="78" y="67"/>
                    </a:cubicBezTo>
                    <a:cubicBezTo>
                      <a:pt x="76" y="68"/>
                      <a:pt x="73" y="69"/>
                      <a:pt x="71" y="70"/>
                    </a:cubicBezTo>
                    <a:cubicBezTo>
                      <a:pt x="68" y="71"/>
                      <a:pt x="67" y="72"/>
                      <a:pt x="68" y="75"/>
                    </a:cubicBezTo>
                    <a:cubicBezTo>
                      <a:pt x="69" y="78"/>
                      <a:pt x="72" y="78"/>
                      <a:pt x="75" y="79"/>
                    </a:cubicBezTo>
                    <a:cubicBezTo>
                      <a:pt x="77" y="80"/>
                      <a:pt x="80" y="81"/>
                      <a:pt x="81" y="83"/>
                    </a:cubicBezTo>
                    <a:cubicBezTo>
                      <a:pt x="81" y="84"/>
                      <a:pt x="82" y="85"/>
                      <a:pt x="82" y="86"/>
                    </a:cubicBezTo>
                    <a:cubicBezTo>
                      <a:pt x="83" y="88"/>
                      <a:pt x="82" y="90"/>
                      <a:pt x="82" y="91"/>
                    </a:cubicBezTo>
                    <a:cubicBezTo>
                      <a:pt x="82" y="93"/>
                      <a:pt x="82" y="95"/>
                      <a:pt x="80" y="97"/>
                    </a:cubicBezTo>
                    <a:cubicBezTo>
                      <a:pt x="79" y="98"/>
                      <a:pt x="77" y="99"/>
                      <a:pt x="75" y="99"/>
                    </a:cubicBezTo>
                    <a:cubicBezTo>
                      <a:pt x="74" y="99"/>
                      <a:pt x="72" y="98"/>
                      <a:pt x="71" y="99"/>
                    </a:cubicBezTo>
                    <a:cubicBezTo>
                      <a:pt x="69" y="100"/>
                      <a:pt x="70" y="102"/>
                      <a:pt x="69" y="103"/>
                    </a:cubicBezTo>
                    <a:cubicBezTo>
                      <a:pt x="68" y="104"/>
                      <a:pt x="67" y="105"/>
                      <a:pt x="65" y="105"/>
                    </a:cubicBezTo>
                    <a:cubicBezTo>
                      <a:pt x="63" y="106"/>
                      <a:pt x="60" y="104"/>
                      <a:pt x="60" y="108"/>
                    </a:cubicBezTo>
                    <a:cubicBezTo>
                      <a:pt x="63" y="108"/>
                      <a:pt x="68" y="108"/>
                      <a:pt x="66" y="112"/>
                    </a:cubicBezTo>
                    <a:cubicBezTo>
                      <a:pt x="66" y="115"/>
                      <a:pt x="64" y="116"/>
                      <a:pt x="65" y="119"/>
                    </a:cubicBezTo>
                    <a:cubicBezTo>
                      <a:pt x="67" y="117"/>
                      <a:pt x="66" y="124"/>
                      <a:pt x="66" y="125"/>
                    </a:cubicBezTo>
                    <a:cubicBezTo>
                      <a:pt x="69" y="122"/>
                      <a:pt x="70" y="121"/>
                      <a:pt x="73" y="121"/>
                    </a:cubicBezTo>
                    <a:cubicBezTo>
                      <a:pt x="75" y="121"/>
                      <a:pt x="75" y="122"/>
                      <a:pt x="75" y="120"/>
                    </a:cubicBezTo>
                    <a:cubicBezTo>
                      <a:pt x="76" y="119"/>
                      <a:pt x="75" y="118"/>
                      <a:pt x="75" y="117"/>
                    </a:cubicBezTo>
                    <a:cubicBezTo>
                      <a:pt x="79" y="116"/>
                      <a:pt x="85" y="118"/>
                      <a:pt x="87" y="121"/>
                    </a:cubicBezTo>
                    <a:cubicBezTo>
                      <a:pt x="87" y="123"/>
                      <a:pt x="88" y="123"/>
                      <a:pt x="86" y="124"/>
                    </a:cubicBezTo>
                    <a:cubicBezTo>
                      <a:pt x="85" y="124"/>
                      <a:pt x="83" y="124"/>
                      <a:pt x="81" y="124"/>
                    </a:cubicBezTo>
                    <a:cubicBezTo>
                      <a:pt x="79" y="124"/>
                      <a:pt x="78" y="124"/>
                      <a:pt x="77" y="126"/>
                    </a:cubicBezTo>
                    <a:cubicBezTo>
                      <a:pt x="77" y="126"/>
                      <a:pt x="77" y="128"/>
                      <a:pt x="76" y="128"/>
                    </a:cubicBezTo>
                    <a:cubicBezTo>
                      <a:pt x="74" y="129"/>
                      <a:pt x="73" y="128"/>
                      <a:pt x="72" y="130"/>
                    </a:cubicBezTo>
                    <a:cubicBezTo>
                      <a:pt x="71" y="131"/>
                      <a:pt x="71" y="132"/>
                      <a:pt x="71" y="133"/>
                    </a:cubicBezTo>
                    <a:cubicBezTo>
                      <a:pt x="70" y="133"/>
                      <a:pt x="67" y="134"/>
                      <a:pt x="67" y="133"/>
                    </a:cubicBezTo>
                    <a:cubicBezTo>
                      <a:pt x="66" y="133"/>
                      <a:pt x="67" y="132"/>
                      <a:pt x="67" y="131"/>
                    </a:cubicBezTo>
                    <a:cubicBezTo>
                      <a:pt x="64" y="130"/>
                      <a:pt x="63" y="131"/>
                      <a:pt x="64" y="133"/>
                    </a:cubicBezTo>
                    <a:cubicBezTo>
                      <a:pt x="65" y="135"/>
                      <a:pt x="66" y="138"/>
                      <a:pt x="65" y="139"/>
                    </a:cubicBezTo>
                    <a:cubicBezTo>
                      <a:pt x="64" y="141"/>
                      <a:pt x="63" y="141"/>
                      <a:pt x="62" y="141"/>
                    </a:cubicBezTo>
                    <a:cubicBezTo>
                      <a:pt x="61" y="142"/>
                      <a:pt x="60" y="142"/>
                      <a:pt x="59" y="143"/>
                    </a:cubicBezTo>
                    <a:cubicBezTo>
                      <a:pt x="58" y="144"/>
                      <a:pt x="57" y="145"/>
                      <a:pt x="56" y="146"/>
                    </a:cubicBezTo>
                    <a:cubicBezTo>
                      <a:pt x="54" y="149"/>
                      <a:pt x="53" y="151"/>
                      <a:pt x="50" y="153"/>
                    </a:cubicBezTo>
                    <a:cubicBezTo>
                      <a:pt x="49" y="154"/>
                      <a:pt x="49" y="154"/>
                      <a:pt x="49" y="155"/>
                    </a:cubicBezTo>
                    <a:cubicBezTo>
                      <a:pt x="48" y="157"/>
                      <a:pt x="49" y="159"/>
                      <a:pt x="49" y="161"/>
                    </a:cubicBezTo>
                    <a:cubicBezTo>
                      <a:pt x="49" y="160"/>
                      <a:pt x="50" y="159"/>
                      <a:pt x="50" y="158"/>
                    </a:cubicBezTo>
                    <a:cubicBezTo>
                      <a:pt x="51" y="157"/>
                      <a:pt x="50" y="156"/>
                      <a:pt x="49" y="155"/>
                    </a:cubicBezTo>
                    <a:cubicBezTo>
                      <a:pt x="47" y="154"/>
                      <a:pt x="47" y="154"/>
                      <a:pt x="45" y="154"/>
                    </a:cubicBezTo>
                    <a:cubicBezTo>
                      <a:pt x="44" y="154"/>
                      <a:pt x="43" y="153"/>
                      <a:pt x="42" y="154"/>
                    </a:cubicBezTo>
                    <a:cubicBezTo>
                      <a:pt x="41" y="154"/>
                      <a:pt x="40" y="154"/>
                      <a:pt x="39" y="154"/>
                    </a:cubicBezTo>
                    <a:cubicBezTo>
                      <a:pt x="38" y="154"/>
                      <a:pt x="37" y="154"/>
                      <a:pt x="36" y="154"/>
                    </a:cubicBezTo>
                    <a:cubicBezTo>
                      <a:pt x="35" y="154"/>
                      <a:pt x="35" y="154"/>
                      <a:pt x="34" y="155"/>
                    </a:cubicBezTo>
                    <a:cubicBezTo>
                      <a:pt x="33" y="155"/>
                      <a:pt x="29" y="156"/>
                      <a:pt x="28" y="155"/>
                    </a:cubicBezTo>
                    <a:cubicBezTo>
                      <a:pt x="27" y="154"/>
                      <a:pt x="28" y="153"/>
                      <a:pt x="27" y="153"/>
                    </a:cubicBezTo>
                    <a:cubicBezTo>
                      <a:pt x="27" y="152"/>
                      <a:pt x="26" y="151"/>
                      <a:pt x="25" y="151"/>
                    </a:cubicBezTo>
                    <a:cubicBezTo>
                      <a:pt x="21" y="149"/>
                      <a:pt x="18" y="147"/>
                      <a:pt x="14" y="147"/>
                    </a:cubicBezTo>
                    <a:cubicBezTo>
                      <a:pt x="11" y="147"/>
                      <a:pt x="11" y="146"/>
                      <a:pt x="10" y="144"/>
                    </a:cubicBezTo>
                    <a:cubicBezTo>
                      <a:pt x="8" y="143"/>
                      <a:pt x="5" y="142"/>
                      <a:pt x="7" y="139"/>
                    </a:cubicBezTo>
                    <a:cubicBezTo>
                      <a:pt x="7" y="139"/>
                      <a:pt x="7" y="138"/>
                      <a:pt x="8" y="137"/>
                    </a:cubicBezTo>
                    <a:cubicBezTo>
                      <a:pt x="8" y="137"/>
                      <a:pt x="9" y="137"/>
                      <a:pt x="10" y="137"/>
                    </a:cubicBezTo>
                    <a:cubicBezTo>
                      <a:pt x="10" y="136"/>
                      <a:pt x="11" y="136"/>
                      <a:pt x="10" y="135"/>
                    </a:cubicBezTo>
                    <a:cubicBezTo>
                      <a:pt x="10" y="135"/>
                      <a:pt x="10" y="134"/>
                      <a:pt x="9" y="134"/>
                    </a:cubicBezTo>
                    <a:cubicBezTo>
                      <a:pt x="9" y="134"/>
                      <a:pt x="9" y="134"/>
                      <a:pt x="9" y="133"/>
                    </a:cubicBezTo>
                    <a:cubicBezTo>
                      <a:pt x="8" y="132"/>
                      <a:pt x="8" y="130"/>
                      <a:pt x="9" y="129"/>
                    </a:cubicBezTo>
                    <a:cubicBezTo>
                      <a:pt x="9" y="127"/>
                      <a:pt x="10" y="126"/>
                      <a:pt x="12" y="125"/>
                    </a:cubicBezTo>
                    <a:cubicBezTo>
                      <a:pt x="13" y="125"/>
                      <a:pt x="14" y="124"/>
                      <a:pt x="15" y="125"/>
                    </a:cubicBezTo>
                    <a:cubicBezTo>
                      <a:pt x="16" y="125"/>
                      <a:pt x="16" y="125"/>
                      <a:pt x="16" y="126"/>
                    </a:cubicBezTo>
                    <a:cubicBezTo>
                      <a:pt x="17" y="126"/>
                      <a:pt x="18" y="127"/>
                      <a:pt x="19" y="128"/>
                    </a:cubicBezTo>
                    <a:cubicBezTo>
                      <a:pt x="20" y="128"/>
                      <a:pt x="21" y="128"/>
                      <a:pt x="22" y="128"/>
                    </a:cubicBezTo>
                    <a:cubicBezTo>
                      <a:pt x="22" y="128"/>
                      <a:pt x="22" y="128"/>
                      <a:pt x="23" y="128"/>
                    </a:cubicBezTo>
                    <a:cubicBezTo>
                      <a:pt x="23" y="128"/>
                      <a:pt x="24" y="130"/>
                      <a:pt x="24" y="130"/>
                    </a:cubicBezTo>
                    <a:cubicBezTo>
                      <a:pt x="26" y="132"/>
                      <a:pt x="28" y="133"/>
                      <a:pt x="30" y="132"/>
                    </a:cubicBezTo>
                    <a:cubicBezTo>
                      <a:pt x="32" y="132"/>
                      <a:pt x="32" y="132"/>
                      <a:pt x="33" y="133"/>
                    </a:cubicBezTo>
                    <a:cubicBezTo>
                      <a:pt x="34" y="135"/>
                      <a:pt x="35" y="137"/>
                      <a:pt x="37" y="135"/>
                    </a:cubicBezTo>
                    <a:cubicBezTo>
                      <a:pt x="38" y="134"/>
                      <a:pt x="38" y="133"/>
                      <a:pt x="40" y="132"/>
                    </a:cubicBezTo>
                    <a:cubicBezTo>
                      <a:pt x="40" y="132"/>
                      <a:pt x="41" y="132"/>
                      <a:pt x="42" y="132"/>
                    </a:cubicBezTo>
                    <a:cubicBezTo>
                      <a:pt x="42" y="130"/>
                      <a:pt x="41" y="128"/>
                      <a:pt x="42" y="127"/>
                    </a:cubicBezTo>
                    <a:cubicBezTo>
                      <a:pt x="43" y="126"/>
                      <a:pt x="46" y="124"/>
                      <a:pt x="47" y="125"/>
                    </a:cubicBezTo>
                    <a:cubicBezTo>
                      <a:pt x="48" y="125"/>
                      <a:pt x="48" y="126"/>
                      <a:pt x="49" y="127"/>
                    </a:cubicBezTo>
                    <a:cubicBezTo>
                      <a:pt x="49" y="125"/>
                      <a:pt x="48" y="120"/>
                      <a:pt x="49" y="119"/>
                    </a:cubicBezTo>
                    <a:cubicBezTo>
                      <a:pt x="50" y="119"/>
                      <a:pt x="52" y="121"/>
                      <a:pt x="52" y="121"/>
                    </a:cubicBezTo>
                    <a:cubicBezTo>
                      <a:pt x="54" y="123"/>
                      <a:pt x="54" y="123"/>
                      <a:pt x="56" y="124"/>
                    </a:cubicBezTo>
                    <a:cubicBezTo>
                      <a:pt x="57" y="124"/>
                      <a:pt x="57" y="125"/>
                      <a:pt x="58" y="125"/>
                    </a:cubicBezTo>
                    <a:cubicBezTo>
                      <a:pt x="58" y="124"/>
                      <a:pt x="58" y="123"/>
                      <a:pt x="58" y="123"/>
                    </a:cubicBezTo>
                    <a:cubicBezTo>
                      <a:pt x="57" y="121"/>
                      <a:pt x="52" y="119"/>
                      <a:pt x="51" y="119"/>
                    </a:cubicBezTo>
                    <a:cubicBezTo>
                      <a:pt x="50" y="117"/>
                      <a:pt x="48" y="115"/>
                      <a:pt x="46" y="113"/>
                    </a:cubicBezTo>
                    <a:cubicBezTo>
                      <a:pt x="44" y="112"/>
                      <a:pt x="44" y="111"/>
                      <a:pt x="44" y="109"/>
                    </a:cubicBezTo>
                    <a:cubicBezTo>
                      <a:pt x="44" y="106"/>
                      <a:pt x="44" y="106"/>
                      <a:pt x="41" y="104"/>
                    </a:cubicBezTo>
                    <a:cubicBezTo>
                      <a:pt x="39" y="104"/>
                      <a:pt x="38" y="104"/>
                      <a:pt x="36" y="103"/>
                    </a:cubicBezTo>
                    <a:cubicBezTo>
                      <a:pt x="35" y="103"/>
                      <a:pt x="35" y="103"/>
                      <a:pt x="34" y="102"/>
                    </a:cubicBezTo>
                    <a:cubicBezTo>
                      <a:pt x="33" y="102"/>
                      <a:pt x="31" y="102"/>
                      <a:pt x="29" y="102"/>
                    </a:cubicBezTo>
                    <a:cubicBezTo>
                      <a:pt x="28" y="102"/>
                      <a:pt x="27" y="103"/>
                      <a:pt x="26" y="103"/>
                    </a:cubicBezTo>
                    <a:cubicBezTo>
                      <a:pt x="25" y="103"/>
                      <a:pt x="23" y="101"/>
                      <a:pt x="22" y="100"/>
                    </a:cubicBezTo>
                    <a:cubicBezTo>
                      <a:pt x="21" y="100"/>
                      <a:pt x="18" y="98"/>
                      <a:pt x="18" y="98"/>
                    </a:cubicBezTo>
                    <a:cubicBezTo>
                      <a:pt x="18" y="97"/>
                      <a:pt x="18" y="96"/>
                      <a:pt x="18" y="96"/>
                    </a:cubicBezTo>
                    <a:cubicBezTo>
                      <a:pt x="18" y="93"/>
                      <a:pt x="17" y="77"/>
                      <a:pt x="13" y="78"/>
                    </a:cubicBezTo>
                    <a:cubicBezTo>
                      <a:pt x="12" y="80"/>
                      <a:pt x="13" y="82"/>
                      <a:pt x="13" y="84"/>
                    </a:cubicBezTo>
                    <a:cubicBezTo>
                      <a:pt x="13" y="82"/>
                      <a:pt x="12" y="77"/>
                      <a:pt x="14" y="76"/>
                    </a:cubicBezTo>
                    <a:cubicBezTo>
                      <a:pt x="14" y="75"/>
                      <a:pt x="16" y="75"/>
                      <a:pt x="15" y="73"/>
                    </a:cubicBezTo>
                    <a:cubicBezTo>
                      <a:pt x="14" y="71"/>
                      <a:pt x="11" y="71"/>
                      <a:pt x="10" y="68"/>
                    </a:cubicBezTo>
                    <a:cubicBezTo>
                      <a:pt x="9" y="67"/>
                      <a:pt x="10" y="65"/>
                      <a:pt x="10" y="64"/>
                    </a:cubicBezTo>
                    <a:cubicBezTo>
                      <a:pt x="10" y="63"/>
                      <a:pt x="10" y="62"/>
                      <a:pt x="10" y="61"/>
                    </a:cubicBezTo>
                    <a:cubicBezTo>
                      <a:pt x="9" y="58"/>
                      <a:pt x="5" y="58"/>
                      <a:pt x="3" y="56"/>
                    </a:cubicBezTo>
                    <a:cubicBezTo>
                      <a:pt x="2" y="55"/>
                      <a:pt x="2" y="55"/>
                      <a:pt x="2" y="53"/>
                    </a:cubicBezTo>
                    <a:cubicBezTo>
                      <a:pt x="1" y="52"/>
                      <a:pt x="0" y="51"/>
                      <a:pt x="1" y="50"/>
                    </a:cubicBezTo>
                    <a:cubicBezTo>
                      <a:pt x="2" y="49"/>
                      <a:pt x="3" y="49"/>
                      <a:pt x="4" y="50"/>
                    </a:cubicBezTo>
                    <a:cubicBezTo>
                      <a:pt x="5" y="51"/>
                      <a:pt x="6" y="53"/>
                      <a:pt x="7" y="54"/>
                    </a:cubicBezTo>
                    <a:cubicBezTo>
                      <a:pt x="9" y="55"/>
                      <a:pt x="10" y="50"/>
                      <a:pt x="11" y="49"/>
                    </a:cubicBezTo>
                    <a:cubicBezTo>
                      <a:pt x="13" y="46"/>
                      <a:pt x="16" y="51"/>
                      <a:pt x="18" y="50"/>
                    </a:cubicBezTo>
                    <a:cubicBezTo>
                      <a:pt x="21" y="50"/>
                      <a:pt x="23" y="45"/>
                      <a:pt x="25" y="43"/>
                    </a:cubicBezTo>
                    <a:cubicBezTo>
                      <a:pt x="27" y="42"/>
                      <a:pt x="28" y="41"/>
                      <a:pt x="30" y="41"/>
                    </a:cubicBezTo>
                    <a:cubicBezTo>
                      <a:pt x="31" y="40"/>
                      <a:pt x="35" y="40"/>
                      <a:pt x="34" y="37"/>
                    </a:cubicBezTo>
                    <a:cubicBezTo>
                      <a:pt x="34" y="36"/>
                      <a:pt x="33" y="36"/>
                      <a:pt x="32" y="35"/>
                    </a:cubicBezTo>
                    <a:cubicBezTo>
                      <a:pt x="31" y="35"/>
                      <a:pt x="30" y="34"/>
                      <a:pt x="28" y="33"/>
                    </a:cubicBezTo>
                    <a:cubicBezTo>
                      <a:pt x="26" y="31"/>
                      <a:pt x="24" y="31"/>
                      <a:pt x="21" y="30"/>
                    </a:cubicBezTo>
                    <a:cubicBezTo>
                      <a:pt x="20" y="29"/>
                      <a:pt x="20" y="29"/>
                      <a:pt x="20" y="28"/>
                    </a:cubicBezTo>
                    <a:cubicBezTo>
                      <a:pt x="23" y="27"/>
                      <a:pt x="25" y="29"/>
                      <a:pt x="28" y="30"/>
                    </a:cubicBezTo>
                    <a:cubicBezTo>
                      <a:pt x="30" y="31"/>
                      <a:pt x="32" y="31"/>
                      <a:pt x="34" y="31"/>
                    </a:cubicBezTo>
                    <a:cubicBezTo>
                      <a:pt x="35" y="30"/>
                      <a:pt x="36" y="30"/>
                      <a:pt x="36" y="29"/>
                    </a:cubicBezTo>
                    <a:cubicBezTo>
                      <a:pt x="40" y="28"/>
                      <a:pt x="45" y="28"/>
                      <a:pt x="48" y="28"/>
                    </a:cubicBezTo>
                    <a:cubicBezTo>
                      <a:pt x="49" y="30"/>
                      <a:pt x="50" y="34"/>
                      <a:pt x="49" y="35"/>
                    </a:cubicBezTo>
                    <a:cubicBezTo>
                      <a:pt x="49" y="36"/>
                      <a:pt x="46" y="36"/>
                      <a:pt x="46" y="37"/>
                    </a:cubicBezTo>
                    <a:cubicBezTo>
                      <a:pt x="45" y="39"/>
                      <a:pt x="46" y="41"/>
                      <a:pt x="46" y="43"/>
                    </a:cubicBezTo>
                    <a:lnTo>
                      <a:pt x="45" y="4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59" name="Freeform 108">
                <a:extLst>
                  <a:ext uri="{FF2B5EF4-FFF2-40B4-BE49-F238E27FC236}">
                    <a16:creationId xmlns:a16="http://schemas.microsoft.com/office/drawing/2014/main" id="{A1225941-4307-4221-9E8E-F138BF65E4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0938" y="3663950"/>
                <a:ext cx="55563" cy="58738"/>
              </a:xfrm>
              <a:custGeom>
                <a:avLst/>
                <a:gdLst/>
                <a:ahLst/>
                <a:cxnLst>
                  <a:cxn ang="0">
                    <a:pos x="26" y="15"/>
                  </a:cxn>
                  <a:cxn ang="0">
                    <a:pos x="20" y="8"/>
                  </a:cxn>
                  <a:cxn ang="0">
                    <a:pos x="9" y="0"/>
                  </a:cxn>
                  <a:cxn ang="0">
                    <a:pos x="2" y="5"/>
                  </a:cxn>
                  <a:cxn ang="0">
                    <a:pos x="3" y="18"/>
                  </a:cxn>
                  <a:cxn ang="0">
                    <a:pos x="10" y="29"/>
                  </a:cxn>
                  <a:cxn ang="0">
                    <a:pos x="19" y="31"/>
                  </a:cxn>
                  <a:cxn ang="0">
                    <a:pos x="28" y="28"/>
                  </a:cxn>
                  <a:cxn ang="0">
                    <a:pos x="28" y="16"/>
                  </a:cxn>
                </a:cxnLst>
                <a:rect l="0" t="0" r="r" b="b"/>
                <a:pathLst>
                  <a:path w="30" h="32">
                    <a:moveTo>
                      <a:pt x="26" y="15"/>
                    </a:moveTo>
                    <a:cubicBezTo>
                      <a:pt x="25" y="12"/>
                      <a:pt x="22" y="10"/>
                      <a:pt x="20" y="8"/>
                    </a:cubicBezTo>
                    <a:cubicBezTo>
                      <a:pt x="17" y="5"/>
                      <a:pt x="13" y="0"/>
                      <a:pt x="9" y="0"/>
                    </a:cubicBezTo>
                    <a:cubicBezTo>
                      <a:pt x="7" y="0"/>
                      <a:pt x="3" y="3"/>
                      <a:pt x="2" y="5"/>
                    </a:cubicBezTo>
                    <a:cubicBezTo>
                      <a:pt x="0" y="8"/>
                      <a:pt x="2" y="15"/>
                      <a:pt x="3" y="18"/>
                    </a:cubicBezTo>
                    <a:cubicBezTo>
                      <a:pt x="5" y="22"/>
                      <a:pt x="7" y="26"/>
                      <a:pt x="10" y="29"/>
                    </a:cubicBezTo>
                    <a:cubicBezTo>
                      <a:pt x="12" y="32"/>
                      <a:pt x="15" y="32"/>
                      <a:pt x="19" y="31"/>
                    </a:cubicBezTo>
                    <a:cubicBezTo>
                      <a:pt x="22" y="31"/>
                      <a:pt x="27" y="31"/>
                      <a:pt x="28" y="28"/>
                    </a:cubicBezTo>
                    <a:cubicBezTo>
                      <a:pt x="30" y="26"/>
                      <a:pt x="30" y="18"/>
                      <a:pt x="28" y="16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60" name="Freeform 109">
                <a:extLst>
                  <a:ext uri="{FF2B5EF4-FFF2-40B4-BE49-F238E27FC236}">
                    <a16:creationId xmlns:a16="http://schemas.microsoft.com/office/drawing/2014/main" id="{797983B3-E83E-421D-9A37-173390B1C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5113" y="3727450"/>
                <a:ext cx="927100" cy="1235075"/>
              </a:xfrm>
              <a:custGeom>
                <a:avLst/>
                <a:gdLst/>
                <a:ahLst/>
                <a:cxnLst>
                  <a:cxn ang="0">
                    <a:pos x="480" y="297"/>
                  </a:cxn>
                  <a:cxn ang="0">
                    <a:pos x="483" y="257"/>
                  </a:cxn>
                  <a:cxn ang="0">
                    <a:pos x="476" y="216"/>
                  </a:cxn>
                  <a:cxn ang="0">
                    <a:pos x="458" y="173"/>
                  </a:cxn>
                  <a:cxn ang="0">
                    <a:pos x="446" y="106"/>
                  </a:cxn>
                  <a:cxn ang="0">
                    <a:pos x="445" y="78"/>
                  </a:cxn>
                  <a:cxn ang="0">
                    <a:pos x="401" y="61"/>
                  </a:cxn>
                  <a:cxn ang="0">
                    <a:pos x="426" y="54"/>
                  </a:cxn>
                  <a:cxn ang="0">
                    <a:pos x="419" y="31"/>
                  </a:cxn>
                  <a:cxn ang="0">
                    <a:pos x="405" y="38"/>
                  </a:cxn>
                  <a:cxn ang="0">
                    <a:pos x="398" y="38"/>
                  </a:cxn>
                  <a:cxn ang="0">
                    <a:pos x="390" y="49"/>
                  </a:cxn>
                  <a:cxn ang="0">
                    <a:pos x="352" y="57"/>
                  </a:cxn>
                  <a:cxn ang="0">
                    <a:pos x="321" y="60"/>
                  </a:cxn>
                  <a:cxn ang="0">
                    <a:pos x="304" y="84"/>
                  </a:cxn>
                  <a:cxn ang="0">
                    <a:pos x="286" y="66"/>
                  </a:cxn>
                  <a:cxn ang="0">
                    <a:pos x="282" y="34"/>
                  </a:cxn>
                  <a:cxn ang="0">
                    <a:pos x="256" y="48"/>
                  </a:cxn>
                  <a:cxn ang="0">
                    <a:pos x="223" y="42"/>
                  </a:cxn>
                  <a:cxn ang="0">
                    <a:pos x="222" y="10"/>
                  </a:cxn>
                  <a:cxn ang="0">
                    <a:pos x="187" y="11"/>
                  </a:cxn>
                  <a:cxn ang="0">
                    <a:pos x="157" y="1"/>
                  </a:cxn>
                  <a:cxn ang="0">
                    <a:pos x="163" y="30"/>
                  </a:cxn>
                  <a:cxn ang="0">
                    <a:pos x="173" y="41"/>
                  </a:cxn>
                  <a:cxn ang="0">
                    <a:pos x="155" y="59"/>
                  </a:cxn>
                  <a:cxn ang="0">
                    <a:pos x="158" y="74"/>
                  </a:cxn>
                  <a:cxn ang="0">
                    <a:pos x="169" y="96"/>
                  </a:cxn>
                  <a:cxn ang="0">
                    <a:pos x="169" y="101"/>
                  </a:cxn>
                  <a:cxn ang="0">
                    <a:pos x="138" y="113"/>
                  </a:cxn>
                  <a:cxn ang="0">
                    <a:pos x="123" y="134"/>
                  </a:cxn>
                  <a:cxn ang="0">
                    <a:pos x="96" y="112"/>
                  </a:cxn>
                  <a:cxn ang="0">
                    <a:pos x="66" y="146"/>
                  </a:cxn>
                  <a:cxn ang="0">
                    <a:pos x="56" y="203"/>
                  </a:cxn>
                  <a:cxn ang="0">
                    <a:pos x="59" y="228"/>
                  </a:cxn>
                  <a:cxn ang="0">
                    <a:pos x="43" y="265"/>
                  </a:cxn>
                  <a:cxn ang="0">
                    <a:pos x="0" y="283"/>
                  </a:cxn>
                  <a:cxn ang="0">
                    <a:pos x="10" y="324"/>
                  </a:cxn>
                  <a:cxn ang="0">
                    <a:pos x="4" y="351"/>
                  </a:cxn>
                  <a:cxn ang="0">
                    <a:pos x="1" y="377"/>
                  </a:cxn>
                  <a:cxn ang="0">
                    <a:pos x="13" y="414"/>
                  </a:cxn>
                  <a:cxn ang="0">
                    <a:pos x="28" y="457"/>
                  </a:cxn>
                  <a:cxn ang="0">
                    <a:pos x="79" y="505"/>
                  </a:cxn>
                  <a:cxn ang="0">
                    <a:pos x="95" y="563"/>
                  </a:cxn>
                  <a:cxn ang="0">
                    <a:pos x="110" y="637"/>
                  </a:cxn>
                  <a:cxn ang="0">
                    <a:pos x="147" y="627"/>
                  </a:cxn>
                  <a:cxn ang="0">
                    <a:pos x="189" y="640"/>
                  </a:cxn>
                  <a:cxn ang="0">
                    <a:pos x="233" y="655"/>
                  </a:cxn>
                  <a:cxn ang="0">
                    <a:pos x="289" y="643"/>
                  </a:cxn>
                  <a:cxn ang="0">
                    <a:pos x="341" y="629"/>
                  </a:cxn>
                  <a:cxn ang="0">
                    <a:pos x="375" y="634"/>
                  </a:cxn>
                  <a:cxn ang="0">
                    <a:pos x="364" y="603"/>
                  </a:cxn>
                  <a:cxn ang="0">
                    <a:pos x="398" y="571"/>
                  </a:cxn>
                  <a:cxn ang="0">
                    <a:pos x="418" y="552"/>
                  </a:cxn>
                  <a:cxn ang="0">
                    <a:pos x="398" y="517"/>
                  </a:cxn>
                  <a:cxn ang="0">
                    <a:pos x="365" y="488"/>
                  </a:cxn>
                  <a:cxn ang="0">
                    <a:pos x="354" y="445"/>
                  </a:cxn>
                  <a:cxn ang="0">
                    <a:pos x="339" y="413"/>
                  </a:cxn>
                  <a:cxn ang="0">
                    <a:pos x="361" y="401"/>
                  </a:cxn>
                  <a:cxn ang="0">
                    <a:pos x="392" y="392"/>
                  </a:cxn>
                  <a:cxn ang="0">
                    <a:pos x="412" y="380"/>
                  </a:cxn>
                  <a:cxn ang="0">
                    <a:pos x="446" y="363"/>
                  </a:cxn>
                  <a:cxn ang="0">
                    <a:pos x="472" y="359"/>
                  </a:cxn>
                  <a:cxn ang="0">
                    <a:pos x="496" y="326"/>
                  </a:cxn>
                </a:cxnLst>
                <a:rect l="0" t="0" r="r" b="b"/>
                <a:pathLst>
                  <a:path w="496" h="661">
                    <a:moveTo>
                      <a:pt x="496" y="323"/>
                    </a:moveTo>
                    <a:cubicBezTo>
                      <a:pt x="495" y="322"/>
                      <a:pt x="495" y="321"/>
                      <a:pt x="494" y="320"/>
                    </a:cubicBezTo>
                    <a:cubicBezTo>
                      <a:pt x="494" y="319"/>
                      <a:pt x="493" y="318"/>
                      <a:pt x="492" y="317"/>
                    </a:cubicBezTo>
                    <a:cubicBezTo>
                      <a:pt x="492" y="317"/>
                      <a:pt x="491" y="317"/>
                      <a:pt x="491" y="316"/>
                    </a:cubicBezTo>
                    <a:cubicBezTo>
                      <a:pt x="491" y="316"/>
                      <a:pt x="491" y="315"/>
                      <a:pt x="490" y="314"/>
                    </a:cubicBezTo>
                    <a:cubicBezTo>
                      <a:pt x="490" y="312"/>
                      <a:pt x="490" y="311"/>
                      <a:pt x="489" y="309"/>
                    </a:cubicBezTo>
                    <a:cubicBezTo>
                      <a:pt x="488" y="308"/>
                      <a:pt x="488" y="308"/>
                      <a:pt x="487" y="307"/>
                    </a:cubicBezTo>
                    <a:cubicBezTo>
                      <a:pt x="486" y="306"/>
                      <a:pt x="484" y="306"/>
                      <a:pt x="483" y="305"/>
                    </a:cubicBezTo>
                    <a:cubicBezTo>
                      <a:pt x="482" y="304"/>
                      <a:pt x="481" y="303"/>
                      <a:pt x="479" y="302"/>
                    </a:cubicBezTo>
                    <a:cubicBezTo>
                      <a:pt x="478" y="301"/>
                      <a:pt x="478" y="301"/>
                      <a:pt x="478" y="301"/>
                    </a:cubicBezTo>
                    <a:cubicBezTo>
                      <a:pt x="477" y="300"/>
                      <a:pt x="476" y="299"/>
                      <a:pt x="477" y="298"/>
                    </a:cubicBezTo>
                    <a:cubicBezTo>
                      <a:pt x="478" y="298"/>
                      <a:pt x="479" y="298"/>
                      <a:pt x="479" y="297"/>
                    </a:cubicBezTo>
                    <a:cubicBezTo>
                      <a:pt x="479" y="297"/>
                      <a:pt x="480" y="297"/>
                      <a:pt x="480" y="297"/>
                    </a:cubicBezTo>
                    <a:cubicBezTo>
                      <a:pt x="480" y="296"/>
                      <a:pt x="481" y="296"/>
                      <a:pt x="481" y="295"/>
                    </a:cubicBezTo>
                    <a:cubicBezTo>
                      <a:pt x="481" y="293"/>
                      <a:pt x="480" y="291"/>
                      <a:pt x="480" y="289"/>
                    </a:cubicBezTo>
                    <a:cubicBezTo>
                      <a:pt x="480" y="290"/>
                      <a:pt x="479" y="288"/>
                      <a:pt x="479" y="288"/>
                    </a:cubicBezTo>
                    <a:cubicBezTo>
                      <a:pt x="479" y="288"/>
                      <a:pt x="478" y="288"/>
                      <a:pt x="478" y="287"/>
                    </a:cubicBezTo>
                    <a:cubicBezTo>
                      <a:pt x="478" y="287"/>
                      <a:pt x="478" y="286"/>
                      <a:pt x="478" y="286"/>
                    </a:cubicBezTo>
                    <a:cubicBezTo>
                      <a:pt x="477" y="284"/>
                      <a:pt x="475" y="282"/>
                      <a:pt x="474" y="280"/>
                    </a:cubicBezTo>
                    <a:cubicBezTo>
                      <a:pt x="475" y="279"/>
                      <a:pt x="476" y="278"/>
                      <a:pt x="477" y="278"/>
                    </a:cubicBezTo>
                    <a:cubicBezTo>
                      <a:pt x="476" y="278"/>
                      <a:pt x="475" y="279"/>
                      <a:pt x="474" y="278"/>
                    </a:cubicBezTo>
                    <a:cubicBezTo>
                      <a:pt x="474" y="277"/>
                      <a:pt x="474" y="274"/>
                      <a:pt x="474" y="273"/>
                    </a:cubicBezTo>
                    <a:cubicBezTo>
                      <a:pt x="474" y="270"/>
                      <a:pt x="473" y="269"/>
                      <a:pt x="477" y="268"/>
                    </a:cubicBezTo>
                    <a:cubicBezTo>
                      <a:pt x="479" y="268"/>
                      <a:pt x="481" y="268"/>
                      <a:pt x="482" y="266"/>
                    </a:cubicBezTo>
                    <a:cubicBezTo>
                      <a:pt x="482" y="265"/>
                      <a:pt x="482" y="265"/>
                      <a:pt x="482" y="265"/>
                    </a:cubicBezTo>
                    <a:cubicBezTo>
                      <a:pt x="482" y="262"/>
                      <a:pt x="482" y="260"/>
                      <a:pt x="483" y="257"/>
                    </a:cubicBezTo>
                    <a:cubicBezTo>
                      <a:pt x="483" y="254"/>
                      <a:pt x="485" y="251"/>
                      <a:pt x="482" y="249"/>
                    </a:cubicBezTo>
                    <a:cubicBezTo>
                      <a:pt x="482" y="248"/>
                      <a:pt x="479" y="247"/>
                      <a:pt x="479" y="246"/>
                    </a:cubicBezTo>
                    <a:cubicBezTo>
                      <a:pt x="478" y="245"/>
                      <a:pt x="479" y="245"/>
                      <a:pt x="479" y="244"/>
                    </a:cubicBezTo>
                    <a:cubicBezTo>
                      <a:pt x="479" y="243"/>
                      <a:pt x="478" y="242"/>
                      <a:pt x="478" y="240"/>
                    </a:cubicBezTo>
                    <a:cubicBezTo>
                      <a:pt x="478" y="240"/>
                      <a:pt x="478" y="238"/>
                      <a:pt x="478" y="238"/>
                    </a:cubicBezTo>
                    <a:cubicBezTo>
                      <a:pt x="477" y="237"/>
                      <a:pt x="476" y="237"/>
                      <a:pt x="476" y="237"/>
                    </a:cubicBezTo>
                    <a:cubicBezTo>
                      <a:pt x="476" y="237"/>
                      <a:pt x="476" y="236"/>
                      <a:pt x="475" y="236"/>
                    </a:cubicBezTo>
                    <a:cubicBezTo>
                      <a:pt x="475" y="236"/>
                      <a:pt x="475" y="236"/>
                      <a:pt x="474" y="235"/>
                    </a:cubicBezTo>
                    <a:cubicBezTo>
                      <a:pt x="474" y="234"/>
                      <a:pt x="473" y="231"/>
                      <a:pt x="473" y="230"/>
                    </a:cubicBezTo>
                    <a:cubicBezTo>
                      <a:pt x="473" y="228"/>
                      <a:pt x="473" y="227"/>
                      <a:pt x="473" y="225"/>
                    </a:cubicBezTo>
                    <a:cubicBezTo>
                      <a:pt x="472" y="223"/>
                      <a:pt x="472" y="224"/>
                      <a:pt x="473" y="223"/>
                    </a:cubicBezTo>
                    <a:cubicBezTo>
                      <a:pt x="474" y="221"/>
                      <a:pt x="475" y="221"/>
                      <a:pt x="475" y="219"/>
                    </a:cubicBezTo>
                    <a:cubicBezTo>
                      <a:pt x="476" y="218"/>
                      <a:pt x="476" y="217"/>
                      <a:pt x="476" y="216"/>
                    </a:cubicBezTo>
                    <a:cubicBezTo>
                      <a:pt x="476" y="215"/>
                      <a:pt x="477" y="213"/>
                      <a:pt x="477" y="212"/>
                    </a:cubicBezTo>
                    <a:cubicBezTo>
                      <a:pt x="476" y="209"/>
                      <a:pt x="472" y="209"/>
                      <a:pt x="470" y="206"/>
                    </a:cubicBezTo>
                    <a:cubicBezTo>
                      <a:pt x="470" y="206"/>
                      <a:pt x="470" y="205"/>
                      <a:pt x="470" y="205"/>
                    </a:cubicBezTo>
                    <a:cubicBezTo>
                      <a:pt x="469" y="203"/>
                      <a:pt x="469" y="201"/>
                      <a:pt x="467" y="200"/>
                    </a:cubicBezTo>
                    <a:cubicBezTo>
                      <a:pt x="466" y="198"/>
                      <a:pt x="465" y="198"/>
                      <a:pt x="464" y="197"/>
                    </a:cubicBezTo>
                    <a:cubicBezTo>
                      <a:pt x="463" y="196"/>
                      <a:pt x="462" y="196"/>
                      <a:pt x="461" y="195"/>
                    </a:cubicBezTo>
                    <a:cubicBezTo>
                      <a:pt x="459" y="194"/>
                      <a:pt x="458" y="193"/>
                      <a:pt x="457" y="191"/>
                    </a:cubicBezTo>
                    <a:cubicBezTo>
                      <a:pt x="456" y="190"/>
                      <a:pt x="455" y="189"/>
                      <a:pt x="453" y="188"/>
                    </a:cubicBezTo>
                    <a:cubicBezTo>
                      <a:pt x="453" y="187"/>
                      <a:pt x="451" y="187"/>
                      <a:pt x="451" y="185"/>
                    </a:cubicBezTo>
                    <a:cubicBezTo>
                      <a:pt x="451" y="185"/>
                      <a:pt x="452" y="184"/>
                      <a:pt x="452" y="184"/>
                    </a:cubicBezTo>
                    <a:cubicBezTo>
                      <a:pt x="452" y="184"/>
                      <a:pt x="452" y="183"/>
                      <a:pt x="452" y="183"/>
                    </a:cubicBezTo>
                    <a:cubicBezTo>
                      <a:pt x="453" y="181"/>
                      <a:pt x="454" y="179"/>
                      <a:pt x="455" y="177"/>
                    </a:cubicBezTo>
                    <a:cubicBezTo>
                      <a:pt x="456" y="176"/>
                      <a:pt x="457" y="175"/>
                      <a:pt x="458" y="173"/>
                    </a:cubicBezTo>
                    <a:cubicBezTo>
                      <a:pt x="458" y="172"/>
                      <a:pt x="459" y="171"/>
                      <a:pt x="459" y="170"/>
                    </a:cubicBezTo>
                    <a:cubicBezTo>
                      <a:pt x="460" y="169"/>
                      <a:pt x="461" y="169"/>
                      <a:pt x="461" y="169"/>
                    </a:cubicBezTo>
                    <a:cubicBezTo>
                      <a:pt x="462" y="168"/>
                      <a:pt x="463" y="165"/>
                      <a:pt x="464" y="164"/>
                    </a:cubicBezTo>
                    <a:cubicBezTo>
                      <a:pt x="466" y="162"/>
                      <a:pt x="467" y="161"/>
                      <a:pt x="468" y="158"/>
                    </a:cubicBezTo>
                    <a:cubicBezTo>
                      <a:pt x="469" y="156"/>
                      <a:pt x="469" y="154"/>
                      <a:pt x="469" y="151"/>
                    </a:cubicBezTo>
                    <a:cubicBezTo>
                      <a:pt x="469" y="149"/>
                      <a:pt x="470" y="145"/>
                      <a:pt x="469" y="143"/>
                    </a:cubicBezTo>
                    <a:cubicBezTo>
                      <a:pt x="468" y="140"/>
                      <a:pt x="466" y="137"/>
                      <a:pt x="465" y="135"/>
                    </a:cubicBezTo>
                    <a:cubicBezTo>
                      <a:pt x="463" y="130"/>
                      <a:pt x="462" y="126"/>
                      <a:pt x="460" y="121"/>
                    </a:cubicBezTo>
                    <a:cubicBezTo>
                      <a:pt x="460" y="119"/>
                      <a:pt x="459" y="116"/>
                      <a:pt x="459" y="114"/>
                    </a:cubicBezTo>
                    <a:cubicBezTo>
                      <a:pt x="458" y="112"/>
                      <a:pt x="459" y="109"/>
                      <a:pt x="459" y="107"/>
                    </a:cubicBezTo>
                    <a:cubicBezTo>
                      <a:pt x="459" y="106"/>
                      <a:pt x="458" y="101"/>
                      <a:pt x="457" y="102"/>
                    </a:cubicBezTo>
                    <a:cubicBezTo>
                      <a:pt x="456" y="103"/>
                      <a:pt x="454" y="106"/>
                      <a:pt x="452" y="106"/>
                    </a:cubicBezTo>
                    <a:cubicBezTo>
                      <a:pt x="450" y="107"/>
                      <a:pt x="447" y="106"/>
                      <a:pt x="446" y="106"/>
                    </a:cubicBezTo>
                    <a:cubicBezTo>
                      <a:pt x="445" y="105"/>
                      <a:pt x="444" y="104"/>
                      <a:pt x="443" y="103"/>
                    </a:cubicBezTo>
                    <a:cubicBezTo>
                      <a:pt x="441" y="102"/>
                      <a:pt x="438" y="101"/>
                      <a:pt x="437" y="100"/>
                    </a:cubicBezTo>
                    <a:cubicBezTo>
                      <a:pt x="437" y="100"/>
                      <a:pt x="437" y="99"/>
                      <a:pt x="437" y="98"/>
                    </a:cubicBezTo>
                    <a:cubicBezTo>
                      <a:pt x="437" y="98"/>
                      <a:pt x="436" y="97"/>
                      <a:pt x="436" y="96"/>
                    </a:cubicBezTo>
                    <a:cubicBezTo>
                      <a:pt x="439" y="94"/>
                      <a:pt x="442" y="95"/>
                      <a:pt x="445" y="95"/>
                    </a:cubicBezTo>
                    <a:cubicBezTo>
                      <a:pt x="447" y="95"/>
                      <a:pt x="448" y="94"/>
                      <a:pt x="450" y="94"/>
                    </a:cubicBezTo>
                    <a:cubicBezTo>
                      <a:pt x="451" y="93"/>
                      <a:pt x="452" y="93"/>
                      <a:pt x="453" y="93"/>
                    </a:cubicBezTo>
                    <a:cubicBezTo>
                      <a:pt x="454" y="93"/>
                      <a:pt x="455" y="93"/>
                      <a:pt x="456" y="93"/>
                    </a:cubicBezTo>
                    <a:cubicBezTo>
                      <a:pt x="456" y="92"/>
                      <a:pt x="455" y="92"/>
                      <a:pt x="455" y="91"/>
                    </a:cubicBezTo>
                    <a:cubicBezTo>
                      <a:pt x="454" y="90"/>
                      <a:pt x="454" y="90"/>
                      <a:pt x="454" y="89"/>
                    </a:cubicBezTo>
                    <a:cubicBezTo>
                      <a:pt x="453" y="88"/>
                      <a:pt x="452" y="87"/>
                      <a:pt x="451" y="86"/>
                    </a:cubicBezTo>
                    <a:cubicBezTo>
                      <a:pt x="450" y="84"/>
                      <a:pt x="449" y="83"/>
                      <a:pt x="448" y="81"/>
                    </a:cubicBezTo>
                    <a:cubicBezTo>
                      <a:pt x="447" y="80"/>
                      <a:pt x="446" y="80"/>
                      <a:pt x="445" y="78"/>
                    </a:cubicBezTo>
                    <a:cubicBezTo>
                      <a:pt x="443" y="76"/>
                      <a:pt x="440" y="74"/>
                      <a:pt x="438" y="72"/>
                    </a:cubicBezTo>
                    <a:cubicBezTo>
                      <a:pt x="437" y="72"/>
                      <a:pt x="436" y="71"/>
                      <a:pt x="434" y="71"/>
                    </a:cubicBezTo>
                    <a:cubicBezTo>
                      <a:pt x="434" y="69"/>
                      <a:pt x="426" y="67"/>
                      <a:pt x="426" y="70"/>
                    </a:cubicBezTo>
                    <a:cubicBezTo>
                      <a:pt x="427" y="72"/>
                      <a:pt x="431" y="73"/>
                      <a:pt x="431" y="75"/>
                    </a:cubicBezTo>
                    <a:cubicBezTo>
                      <a:pt x="431" y="77"/>
                      <a:pt x="428" y="75"/>
                      <a:pt x="427" y="74"/>
                    </a:cubicBezTo>
                    <a:cubicBezTo>
                      <a:pt x="425" y="73"/>
                      <a:pt x="424" y="73"/>
                      <a:pt x="422" y="73"/>
                    </a:cubicBezTo>
                    <a:cubicBezTo>
                      <a:pt x="421" y="72"/>
                      <a:pt x="421" y="72"/>
                      <a:pt x="420" y="72"/>
                    </a:cubicBezTo>
                    <a:cubicBezTo>
                      <a:pt x="418" y="71"/>
                      <a:pt x="418" y="72"/>
                      <a:pt x="416" y="72"/>
                    </a:cubicBezTo>
                    <a:cubicBezTo>
                      <a:pt x="415" y="72"/>
                      <a:pt x="413" y="72"/>
                      <a:pt x="412" y="71"/>
                    </a:cubicBezTo>
                    <a:cubicBezTo>
                      <a:pt x="410" y="70"/>
                      <a:pt x="410" y="69"/>
                      <a:pt x="409" y="67"/>
                    </a:cubicBezTo>
                    <a:cubicBezTo>
                      <a:pt x="408" y="66"/>
                      <a:pt x="405" y="65"/>
                      <a:pt x="404" y="63"/>
                    </a:cubicBezTo>
                    <a:cubicBezTo>
                      <a:pt x="403" y="63"/>
                      <a:pt x="403" y="61"/>
                      <a:pt x="402" y="61"/>
                    </a:cubicBezTo>
                    <a:cubicBezTo>
                      <a:pt x="402" y="61"/>
                      <a:pt x="401" y="61"/>
                      <a:pt x="401" y="61"/>
                    </a:cubicBezTo>
                    <a:cubicBezTo>
                      <a:pt x="399" y="61"/>
                      <a:pt x="398" y="60"/>
                      <a:pt x="397" y="60"/>
                    </a:cubicBezTo>
                    <a:cubicBezTo>
                      <a:pt x="396" y="59"/>
                      <a:pt x="396" y="59"/>
                      <a:pt x="395" y="59"/>
                    </a:cubicBezTo>
                    <a:cubicBezTo>
                      <a:pt x="394" y="58"/>
                      <a:pt x="394" y="58"/>
                      <a:pt x="396" y="56"/>
                    </a:cubicBezTo>
                    <a:cubicBezTo>
                      <a:pt x="397" y="55"/>
                      <a:pt x="397" y="55"/>
                      <a:pt x="399" y="55"/>
                    </a:cubicBezTo>
                    <a:cubicBezTo>
                      <a:pt x="399" y="58"/>
                      <a:pt x="403" y="57"/>
                      <a:pt x="405" y="57"/>
                    </a:cubicBezTo>
                    <a:cubicBezTo>
                      <a:pt x="406" y="59"/>
                      <a:pt x="405" y="61"/>
                      <a:pt x="407" y="62"/>
                    </a:cubicBezTo>
                    <a:cubicBezTo>
                      <a:pt x="409" y="63"/>
                      <a:pt x="410" y="61"/>
                      <a:pt x="410" y="59"/>
                    </a:cubicBezTo>
                    <a:cubicBezTo>
                      <a:pt x="410" y="59"/>
                      <a:pt x="410" y="58"/>
                      <a:pt x="410" y="57"/>
                    </a:cubicBezTo>
                    <a:cubicBezTo>
                      <a:pt x="410" y="56"/>
                      <a:pt x="410" y="56"/>
                      <a:pt x="410" y="55"/>
                    </a:cubicBezTo>
                    <a:cubicBezTo>
                      <a:pt x="410" y="53"/>
                      <a:pt x="409" y="51"/>
                      <a:pt x="411" y="50"/>
                    </a:cubicBezTo>
                    <a:cubicBezTo>
                      <a:pt x="413" y="50"/>
                      <a:pt x="413" y="52"/>
                      <a:pt x="415" y="52"/>
                    </a:cubicBezTo>
                    <a:cubicBezTo>
                      <a:pt x="416" y="52"/>
                      <a:pt x="416" y="50"/>
                      <a:pt x="418" y="50"/>
                    </a:cubicBezTo>
                    <a:cubicBezTo>
                      <a:pt x="421" y="50"/>
                      <a:pt x="423" y="53"/>
                      <a:pt x="426" y="54"/>
                    </a:cubicBezTo>
                    <a:cubicBezTo>
                      <a:pt x="429" y="55"/>
                      <a:pt x="429" y="53"/>
                      <a:pt x="429" y="50"/>
                    </a:cubicBezTo>
                    <a:cubicBezTo>
                      <a:pt x="428" y="50"/>
                      <a:pt x="427" y="50"/>
                      <a:pt x="425" y="49"/>
                    </a:cubicBezTo>
                    <a:cubicBezTo>
                      <a:pt x="424" y="49"/>
                      <a:pt x="424" y="48"/>
                      <a:pt x="424" y="47"/>
                    </a:cubicBezTo>
                    <a:cubicBezTo>
                      <a:pt x="422" y="46"/>
                      <a:pt x="420" y="46"/>
                      <a:pt x="419" y="46"/>
                    </a:cubicBezTo>
                    <a:cubicBezTo>
                      <a:pt x="418" y="45"/>
                      <a:pt x="417" y="45"/>
                      <a:pt x="416" y="44"/>
                    </a:cubicBezTo>
                    <a:cubicBezTo>
                      <a:pt x="415" y="44"/>
                      <a:pt x="413" y="43"/>
                      <a:pt x="414" y="42"/>
                    </a:cubicBezTo>
                    <a:cubicBezTo>
                      <a:pt x="415" y="41"/>
                      <a:pt x="418" y="40"/>
                      <a:pt x="419" y="40"/>
                    </a:cubicBezTo>
                    <a:cubicBezTo>
                      <a:pt x="419" y="39"/>
                      <a:pt x="419" y="39"/>
                      <a:pt x="420" y="39"/>
                    </a:cubicBezTo>
                    <a:cubicBezTo>
                      <a:pt x="420" y="38"/>
                      <a:pt x="420" y="38"/>
                      <a:pt x="420" y="37"/>
                    </a:cubicBezTo>
                    <a:cubicBezTo>
                      <a:pt x="420" y="36"/>
                      <a:pt x="421" y="36"/>
                      <a:pt x="422" y="36"/>
                    </a:cubicBezTo>
                    <a:cubicBezTo>
                      <a:pt x="424" y="35"/>
                      <a:pt x="425" y="36"/>
                      <a:pt x="425" y="34"/>
                    </a:cubicBezTo>
                    <a:cubicBezTo>
                      <a:pt x="425" y="33"/>
                      <a:pt x="425" y="32"/>
                      <a:pt x="424" y="31"/>
                    </a:cubicBezTo>
                    <a:cubicBezTo>
                      <a:pt x="422" y="31"/>
                      <a:pt x="421" y="31"/>
                      <a:pt x="419" y="31"/>
                    </a:cubicBezTo>
                    <a:cubicBezTo>
                      <a:pt x="418" y="32"/>
                      <a:pt x="417" y="32"/>
                      <a:pt x="416" y="32"/>
                    </a:cubicBezTo>
                    <a:cubicBezTo>
                      <a:pt x="415" y="32"/>
                      <a:pt x="415" y="31"/>
                      <a:pt x="414" y="31"/>
                    </a:cubicBezTo>
                    <a:cubicBezTo>
                      <a:pt x="414" y="31"/>
                      <a:pt x="414" y="31"/>
                      <a:pt x="413" y="31"/>
                    </a:cubicBezTo>
                    <a:cubicBezTo>
                      <a:pt x="413" y="31"/>
                      <a:pt x="413" y="30"/>
                      <a:pt x="413" y="30"/>
                    </a:cubicBezTo>
                    <a:cubicBezTo>
                      <a:pt x="412" y="30"/>
                      <a:pt x="411" y="30"/>
                      <a:pt x="410" y="30"/>
                    </a:cubicBezTo>
                    <a:cubicBezTo>
                      <a:pt x="410" y="31"/>
                      <a:pt x="410" y="32"/>
                      <a:pt x="410" y="33"/>
                    </a:cubicBezTo>
                    <a:cubicBezTo>
                      <a:pt x="412" y="33"/>
                      <a:pt x="413" y="34"/>
                      <a:pt x="414" y="35"/>
                    </a:cubicBezTo>
                    <a:cubicBezTo>
                      <a:pt x="416" y="35"/>
                      <a:pt x="419" y="35"/>
                      <a:pt x="419" y="36"/>
                    </a:cubicBezTo>
                    <a:cubicBezTo>
                      <a:pt x="418" y="37"/>
                      <a:pt x="417" y="38"/>
                      <a:pt x="416" y="38"/>
                    </a:cubicBezTo>
                    <a:cubicBezTo>
                      <a:pt x="416" y="38"/>
                      <a:pt x="415" y="38"/>
                      <a:pt x="414" y="38"/>
                    </a:cubicBezTo>
                    <a:cubicBezTo>
                      <a:pt x="413" y="38"/>
                      <a:pt x="411" y="40"/>
                      <a:pt x="410" y="39"/>
                    </a:cubicBezTo>
                    <a:cubicBezTo>
                      <a:pt x="409" y="39"/>
                      <a:pt x="409" y="37"/>
                      <a:pt x="408" y="37"/>
                    </a:cubicBezTo>
                    <a:cubicBezTo>
                      <a:pt x="406" y="36"/>
                      <a:pt x="406" y="37"/>
                      <a:pt x="405" y="38"/>
                    </a:cubicBezTo>
                    <a:cubicBezTo>
                      <a:pt x="404" y="36"/>
                      <a:pt x="402" y="33"/>
                      <a:pt x="404" y="31"/>
                    </a:cubicBezTo>
                    <a:cubicBezTo>
                      <a:pt x="404" y="31"/>
                      <a:pt x="404" y="30"/>
                      <a:pt x="405" y="30"/>
                    </a:cubicBezTo>
                    <a:cubicBezTo>
                      <a:pt x="405" y="30"/>
                      <a:pt x="406" y="30"/>
                      <a:pt x="406" y="30"/>
                    </a:cubicBezTo>
                    <a:cubicBezTo>
                      <a:pt x="407" y="30"/>
                      <a:pt x="408" y="29"/>
                      <a:pt x="408" y="29"/>
                    </a:cubicBezTo>
                    <a:cubicBezTo>
                      <a:pt x="409" y="28"/>
                      <a:pt x="408" y="28"/>
                      <a:pt x="407" y="27"/>
                    </a:cubicBezTo>
                    <a:cubicBezTo>
                      <a:pt x="407" y="27"/>
                      <a:pt x="408" y="27"/>
                      <a:pt x="408" y="26"/>
                    </a:cubicBezTo>
                    <a:cubicBezTo>
                      <a:pt x="408" y="25"/>
                      <a:pt x="409" y="24"/>
                      <a:pt x="408" y="23"/>
                    </a:cubicBezTo>
                    <a:cubicBezTo>
                      <a:pt x="406" y="22"/>
                      <a:pt x="403" y="23"/>
                      <a:pt x="402" y="24"/>
                    </a:cubicBezTo>
                    <a:cubicBezTo>
                      <a:pt x="401" y="26"/>
                      <a:pt x="401" y="27"/>
                      <a:pt x="401" y="28"/>
                    </a:cubicBezTo>
                    <a:cubicBezTo>
                      <a:pt x="401" y="29"/>
                      <a:pt x="401" y="29"/>
                      <a:pt x="401" y="30"/>
                    </a:cubicBezTo>
                    <a:cubicBezTo>
                      <a:pt x="401" y="30"/>
                      <a:pt x="401" y="30"/>
                      <a:pt x="400" y="30"/>
                    </a:cubicBezTo>
                    <a:cubicBezTo>
                      <a:pt x="400" y="30"/>
                      <a:pt x="400" y="31"/>
                      <a:pt x="399" y="31"/>
                    </a:cubicBezTo>
                    <a:cubicBezTo>
                      <a:pt x="398" y="33"/>
                      <a:pt x="397" y="36"/>
                      <a:pt x="398" y="38"/>
                    </a:cubicBezTo>
                    <a:cubicBezTo>
                      <a:pt x="400" y="37"/>
                      <a:pt x="401" y="38"/>
                      <a:pt x="403" y="38"/>
                    </a:cubicBezTo>
                    <a:cubicBezTo>
                      <a:pt x="403" y="39"/>
                      <a:pt x="403" y="40"/>
                      <a:pt x="403" y="40"/>
                    </a:cubicBezTo>
                    <a:cubicBezTo>
                      <a:pt x="404" y="41"/>
                      <a:pt x="404" y="41"/>
                      <a:pt x="403" y="42"/>
                    </a:cubicBezTo>
                    <a:cubicBezTo>
                      <a:pt x="402" y="42"/>
                      <a:pt x="401" y="41"/>
                      <a:pt x="401" y="43"/>
                    </a:cubicBezTo>
                    <a:cubicBezTo>
                      <a:pt x="401" y="43"/>
                      <a:pt x="401" y="45"/>
                      <a:pt x="401" y="45"/>
                    </a:cubicBezTo>
                    <a:cubicBezTo>
                      <a:pt x="401" y="46"/>
                      <a:pt x="402" y="46"/>
                      <a:pt x="402" y="46"/>
                    </a:cubicBezTo>
                    <a:cubicBezTo>
                      <a:pt x="403" y="47"/>
                      <a:pt x="404" y="47"/>
                      <a:pt x="404" y="48"/>
                    </a:cubicBezTo>
                    <a:cubicBezTo>
                      <a:pt x="405" y="49"/>
                      <a:pt x="405" y="48"/>
                      <a:pt x="405" y="49"/>
                    </a:cubicBezTo>
                    <a:cubicBezTo>
                      <a:pt x="405" y="51"/>
                      <a:pt x="401" y="51"/>
                      <a:pt x="401" y="49"/>
                    </a:cubicBezTo>
                    <a:cubicBezTo>
                      <a:pt x="399" y="49"/>
                      <a:pt x="399" y="50"/>
                      <a:pt x="398" y="51"/>
                    </a:cubicBezTo>
                    <a:cubicBezTo>
                      <a:pt x="398" y="51"/>
                      <a:pt x="397" y="54"/>
                      <a:pt x="397" y="54"/>
                    </a:cubicBezTo>
                    <a:cubicBezTo>
                      <a:pt x="395" y="55"/>
                      <a:pt x="391" y="54"/>
                      <a:pt x="390" y="53"/>
                    </a:cubicBezTo>
                    <a:cubicBezTo>
                      <a:pt x="389" y="52"/>
                      <a:pt x="390" y="50"/>
                      <a:pt x="390" y="49"/>
                    </a:cubicBezTo>
                    <a:cubicBezTo>
                      <a:pt x="389" y="48"/>
                      <a:pt x="389" y="46"/>
                      <a:pt x="388" y="45"/>
                    </a:cubicBezTo>
                    <a:cubicBezTo>
                      <a:pt x="387" y="44"/>
                      <a:pt x="387" y="44"/>
                      <a:pt x="386" y="45"/>
                    </a:cubicBezTo>
                    <a:cubicBezTo>
                      <a:pt x="385" y="45"/>
                      <a:pt x="385" y="46"/>
                      <a:pt x="384" y="47"/>
                    </a:cubicBezTo>
                    <a:cubicBezTo>
                      <a:pt x="382" y="50"/>
                      <a:pt x="377" y="49"/>
                      <a:pt x="373" y="49"/>
                    </a:cubicBezTo>
                    <a:cubicBezTo>
                      <a:pt x="372" y="49"/>
                      <a:pt x="372" y="49"/>
                      <a:pt x="371" y="48"/>
                    </a:cubicBezTo>
                    <a:cubicBezTo>
                      <a:pt x="371" y="48"/>
                      <a:pt x="371" y="48"/>
                      <a:pt x="370" y="48"/>
                    </a:cubicBezTo>
                    <a:cubicBezTo>
                      <a:pt x="369" y="47"/>
                      <a:pt x="370" y="48"/>
                      <a:pt x="369" y="48"/>
                    </a:cubicBezTo>
                    <a:cubicBezTo>
                      <a:pt x="368" y="48"/>
                      <a:pt x="366" y="49"/>
                      <a:pt x="366" y="49"/>
                    </a:cubicBezTo>
                    <a:cubicBezTo>
                      <a:pt x="365" y="49"/>
                      <a:pt x="364" y="49"/>
                      <a:pt x="363" y="49"/>
                    </a:cubicBezTo>
                    <a:cubicBezTo>
                      <a:pt x="362" y="50"/>
                      <a:pt x="363" y="50"/>
                      <a:pt x="362" y="50"/>
                    </a:cubicBezTo>
                    <a:cubicBezTo>
                      <a:pt x="360" y="51"/>
                      <a:pt x="360" y="51"/>
                      <a:pt x="360" y="53"/>
                    </a:cubicBezTo>
                    <a:cubicBezTo>
                      <a:pt x="359" y="54"/>
                      <a:pt x="360" y="57"/>
                      <a:pt x="358" y="56"/>
                    </a:cubicBezTo>
                    <a:cubicBezTo>
                      <a:pt x="358" y="58"/>
                      <a:pt x="353" y="57"/>
                      <a:pt x="352" y="57"/>
                    </a:cubicBezTo>
                    <a:cubicBezTo>
                      <a:pt x="350" y="58"/>
                      <a:pt x="350" y="59"/>
                      <a:pt x="348" y="59"/>
                    </a:cubicBezTo>
                    <a:cubicBezTo>
                      <a:pt x="347" y="59"/>
                      <a:pt x="346" y="59"/>
                      <a:pt x="345" y="58"/>
                    </a:cubicBezTo>
                    <a:cubicBezTo>
                      <a:pt x="344" y="58"/>
                      <a:pt x="344" y="57"/>
                      <a:pt x="343" y="57"/>
                    </a:cubicBezTo>
                    <a:cubicBezTo>
                      <a:pt x="342" y="59"/>
                      <a:pt x="341" y="61"/>
                      <a:pt x="340" y="60"/>
                    </a:cubicBezTo>
                    <a:cubicBezTo>
                      <a:pt x="339" y="60"/>
                      <a:pt x="338" y="58"/>
                      <a:pt x="337" y="59"/>
                    </a:cubicBezTo>
                    <a:cubicBezTo>
                      <a:pt x="337" y="59"/>
                      <a:pt x="336" y="60"/>
                      <a:pt x="335" y="60"/>
                    </a:cubicBezTo>
                    <a:cubicBezTo>
                      <a:pt x="335" y="61"/>
                      <a:pt x="335" y="61"/>
                      <a:pt x="334" y="62"/>
                    </a:cubicBezTo>
                    <a:cubicBezTo>
                      <a:pt x="332" y="63"/>
                      <a:pt x="331" y="65"/>
                      <a:pt x="329" y="64"/>
                    </a:cubicBezTo>
                    <a:cubicBezTo>
                      <a:pt x="328" y="64"/>
                      <a:pt x="328" y="64"/>
                      <a:pt x="328" y="63"/>
                    </a:cubicBezTo>
                    <a:cubicBezTo>
                      <a:pt x="328" y="62"/>
                      <a:pt x="327" y="62"/>
                      <a:pt x="327" y="61"/>
                    </a:cubicBezTo>
                    <a:cubicBezTo>
                      <a:pt x="325" y="61"/>
                      <a:pt x="325" y="60"/>
                      <a:pt x="323" y="60"/>
                    </a:cubicBezTo>
                    <a:cubicBezTo>
                      <a:pt x="323" y="60"/>
                      <a:pt x="322" y="60"/>
                      <a:pt x="322" y="60"/>
                    </a:cubicBezTo>
                    <a:cubicBezTo>
                      <a:pt x="322" y="60"/>
                      <a:pt x="321" y="60"/>
                      <a:pt x="321" y="60"/>
                    </a:cubicBezTo>
                    <a:cubicBezTo>
                      <a:pt x="320" y="61"/>
                      <a:pt x="319" y="61"/>
                      <a:pt x="318" y="62"/>
                    </a:cubicBezTo>
                    <a:cubicBezTo>
                      <a:pt x="317" y="63"/>
                      <a:pt x="316" y="65"/>
                      <a:pt x="317" y="67"/>
                    </a:cubicBezTo>
                    <a:cubicBezTo>
                      <a:pt x="317" y="68"/>
                      <a:pt x="319" y="69"/>
                      <a:pt x="318" y="70"/>
                    </a:cubicBezTo>
                    <a:cubicBezTo>
                      <a:pt x="318" y="70"/>
                      <a:pt x="317" y="71"/>
                      <a:pt x="316" y="71"/>
                    </a:cubicBezTo>
                    <a:cubicBezTo>
                      <a:pt x="316" y="72"/>
                      <a:pt x="315" y="73"/>
                      <a:pt x="315" y="73"/>
                    </a:cubicBezTo>
                    <a:cubicBezTo>
                      <a:pt x="314" y="74"/>
                      <a:pt x="314" y="74"/>
                      <a:pt x="312" y="74"/>
                    </a:cubicBezTo>
                    <a:cubicBezTo>
                      <a:pt x="310" y="75"/>
                      <a:pt x="309" y="76"/>
                      <a:pt x="308" y="77"/>
                    </a:cubicBezTo>
                    <a:cubicBezTo>
                      <a:pt x="308" y="78"/>
                      <a:pt x="307" y="78"/>
                      <a:pt x="308" y="79"/>
                    </a:cubicBezTo>
                    <a:cubicBezTo>
                      <a:pt x="308" y="80"/>
                      <a:pt x="311" y="80"/>
                      <a:pt x="311" y="80"/>
                    </a:cubicBezTo>
                    <a:cubicBezTo>
                      <a:pt x="311" y="81"/>
                      <a:pt x="311" y="82"/>
                      <a:pt x="310" y="83"/>
                    </a:cubicBezTo>
                    <a:cubicBezTo>
                      <a:pt x="309" y="83"/>
                      <a:pt x="308" y="83"/>
                      <a:pt x="307" y="83"/>
                    </a:cubicBezTo>
                    <a:cubicBezTo>
                      <a:pt x="306" y="83"/>
                      <a:pt x="305" y="82"/>
                      <a:pt x="304" y="83"/>
                    </a:cubicBezTo>
                    <a:cubicBezTo>
                      <a:pt x="304" y="83"/>
                      <a:pt x="304" y="84"/>
                      <a:pt x="304" y="84"/>
                    </a:cubicBezTo>
                    <a:cubicBezTo>
                      <a:pt x="303" y="84"/>
                      <a:pt x="303" y="84"/>
                      <a:pt x="303" y="84"/>
                    </a:cubicBezTo>
                    <a:cubicBezTo>
                      <a:pt x="302" y="84"/>
                      <a:pt x="302" y="84"/>
                      <a:pt x="301" y="85"/>
                    </a:cubicBezTo>
                    <a:cubicBezTo>
                      <a:pt x="301" y="85"/>
                      <a:pt x="300" y="86"/>
                      <a:pt x="299" y="87"/>
                    </a:cubicBezTo>
                    <a:cubicBezTo>
                      <a:pt x="298" y="87"/>
                      <a:pt x="296" y="87"/>
                      <a:pt x="295" y="85"/>
                    </a:cubicBezTo>
                    <a:cubicBezTo>
                      <a:pt x="292" y="83"/>
                      <a:pt x="289" y="80"/>
                      <a:pt x="285" y="80"/>
                    </a:cubicBezTo>
                    <a:cubicBezTo>
                      <a:pt x="283" y="79"/>
                      <a:pt x="283" y="80"/>
                      <a:pt x="281" y="80"/>
                    </a:cubicBezTo>
                    <a:cubicBezTo>
                      <a:pt x="278" y="81"/>
                      <a:pt x="275" y="78"/>
                      <a:pt x="272" y="78"/>
                    </a:cubicBezTo>
                    <a:cubicBezTo>
                      <a:pt x="272" y="77"/>
                      <a:pt x="273" y="76"/>
                      <a:pt x="273" y="76"/>
                    </a:cubicBezTo>
                    <a:cubicBezTo>
                      <a:pt x="274" y="75"/>
                      <a:pt x="275" y="75"/>
                      <a:pt x="275" y="75"/>
                    </a:cubicBezTo>
                    <a:cubicBezTo>
                      <a:pt x="275" y="75"/>
                      <a:pt x="276" y="73"/>
                      <a:pt x="276" y="73"/>
                    </a:cubicBezTo>
                    <a:cubicBezTo>
                      <a:pt x="278" y="71"/>
                      <a:pt x="280" y="70"/>
                      <a:pt x="281" y="69"/>
                    </a:cubicBezTo>
                    <a:cubicBezTo>
                      <a:pt x="282" y="68"/>
                      <a:pt x="282" y="68"/>
                      <a:pt x="283" y="67"/>
                    </a:cubicBezTo>
                    <a:cubicBezTo>
                      <a:pt x="284" y="66"/>
                      <a:pt x="285" y="67"/>
                      <a:pt x="286" y="66"/>
                    </a:cubicBezTo>
                    <a:cubicBezTo>
                      <a:pt x="288" y="65"/>
                      <a:pt x="286" y="63"/>
                      <a:pt x="285" y="61"/>
                    </a:cubicBezTo>
                    <a:cubicBezTo>
                      <a:pt x="284" y="61"/>
                      <a:pt x="284" y="61"/>
                      <a:pt x="284" y="59"/>
                    </a:cubicBezTo>
                    <a:cubicBezTo>
                      <a:pt x="284" y="59"/>
                      <a:pt x="284" y="57"/>
                      <a:pt x="284" y="57"/>
                    </a:cubicBezTo>
                    <a:cubicBezTo>
                      <a:pt x="285" y="54"/>
                      <a:pt x="284" y="50"/>
                      <a:pt x="285" y="48"/>
                    </a:cubicBezTo>
                    <a:cubicBezTo>
                      <a:pt x="286" y="47"/>
                      <a:pt x="289" y="48"/>
                      <a:pt x="290" y="48"/>
                    </a:cubicBezTo>
                    <a:cubicBezTo>
                      <a:pt x="292" y="48"/>
                      <a:pt x="294" y="48"/>
                      <a:pt x="295" y="48"/>
                    </a:cubicBezTo>
                    <a:cubicBezTo>
                      <a:pt x="298" y="47"/>
                      <a:pt x="298" y="46"/>
                      <a:pt x="297" y="43"/>
                    </a:cubicBezTo>
                    <a:cubicBezTo>
                      <a:pt x="296" y="43"/>
                      <a:pt x="296" y="42"/>
                      <a:pt x="295" y="42"/>
                    </a:cubicBezTo>
                    <a:cubicBezTo>
                      <a:pt x="295" y="40"/>
                      <a:pt x="294" y="40"/>
                      <a:pt x="293" y="38"/>
                    </a:cubicBezTo>
                    <a:cubicBezTo>
                      <a:pt x="293" y="37"/>
                      <a:pt x="292" y="35"/>
                      <a:pt x="291" y="35"/>
                    </a:cubicBezTo>
                    <a:cubicBezTo>
                      <a:pt x="291" y="34"/>
                      <a:pt x="289" y="35"/>
                      <a:pt x="288" y="34"/>
                    </a:cubicBezTo>
                    <a:cubicBezTo>
                      <a:pt x="288" y="34"/>
                      <a:pt x="287" y="34"/>
                      <a:pt x="286" y="34"/>
                    </a:cubicBezTo>
                    <a:cubicBezTo>
                      <a:pt x="285" y="34"/>
                      <a:pt x="283" y="34"/>
                      <a:pt x="282" y="34"/>
                    </a:cubicBezTo>
                    <a:cubicBezTo>
                      <a:pt x="281" y="35"/>
                      <a:pt x="280" y="35"/>
                      <a:pt x="280" y="36"/>
                    </a:cubicBezTo>
                    <a:cubicBezTo>
                      <a:pt x="279" y="38"/>
                      <a:pt x="278" y="39"/>
                      <a:pt x="278" y="41"/>
                    </a:cubicBezTo>
                    <a:cubicBezTo>
                      <a:pt x="278" y="42"/>
                      <a:pt x="279" y="43"/>
                      <a:pt x="280" y="43"/>
                    </a:cubicBezTo>
                    <a:cubicBezTo>
                      <a:pt x="281" y="44"/>
                      <a:pt x="284" y="46"/>
                      <a:pt x="285" y="46"/>
                    </a:cubicBezTo>
                    <a:cubicBezTo>
                      <a:pt x="285" y="48"/>
                      <a:pt x="285" y="46"/>
                      <a:pt x="284" y="48"/>
                    </a:cubicBezTo>
                    <a:cubicBezTo>
                      <a:pt x="284" y="48"/>
                      <a:pt x="284" y="50"/>
                      <a:pt x="283" y="50"/>
                    </a:cubicBezTo>
                    <a:cubicBezTo>
                      <a:pt x="283" y="52"/>
                      <a:pt x="280" y="50"/>
                      <a:pt x="279" y="50"/>
                    </a:cubicBezTo>
                    <a:cubicBezTo>
                      <a:pt x="277" y="50"/>
                      <a:pt x="275" y="50"/>
                      <a:pt x="273" y="51"/>
                    </a:cubicBezTo>
                    <a:cubicBezTo>
                      <a:pt x="272" y="52"/>
                      <a:pt x="271" y="52"/>
                      <a:pt x="270" y="53"/>
                    </a:cubicBezTo>
                    <a:cubicBezTo>
                      <a:pt x="268" y="54"/>
                      <a:pt x="268" y="55"/>
                      <a:pt x="266" y="55"/>
                    </a:cubicBezTo>
                    <a:cubicBezTo>
                      <a:pt x="264" y="55"/>
                      <a:pt x="262" y="55"/>
                      <a:pt x="262" y="53"/>
                    </a:cubicBezTo>
                    <a:cubicBezTo>
                      <a:pt x="262" y="51"/>
                      <a:pt x="262" y="49"/>
                      <a:pt x="260" y="48"/>
                    </a:cubicBezTo>
                    <a:cubicBezTo>
                      <a:pt x="259" y="48"/>
                      <a:pt x="257" y="48"/>
                      <a:pt x="256" y="48"/>
                    </a:cubicBezTo>
                    <a:cubicBezTo>
                      <a:pt x="254" y="48"/>
                      <a:pt x="253" y="49"/>
                      <a:pt x="252" y="48"/>
                    </a:cubicBezTo>
                    <a:cubicBezTo>
                      <a:pt x="251" y="47"/>
                      <a:pt x="251" y="46"/>
                      <a:pt x="249" y="46"/>
                    </a:cubicBezTo>
                    <a:cubicBezTo>
                      <a:pt x="248" y="46"/>
                      <a:pt x="247" y="46"/>
                      <a:pt x="245" y="46"/>
                    </a:cubicBezTo>
                    <a:cubicBezTo>
                      <a:pt x="245" y="46"/>
                      <a:pt x="244" y="46"/>
                      <a:pt x="244" y="45"/>
                    </a:cubicBezTo>
                    <a:cubicBezTo>
                      <a:pt x="243" y="45"/>
                      <a:pt x="242" y="45"/>
                      <a:pt x="242" y="46"/>
                    </a:cubicBezTo>
                    <a:cubicBezTo>
                      <a:pt x="241" y="46"/>
                      <a:pt x="242" y="47"/>
                      <a:pt x="241" y="47"/>
                    </a:cubicBezTo>
                    <a:cubicBezTo>
                      <a:pt x="240" y="48"/>
                      <a:pt x="240" y="48"/>
                      <a:pt x="239" y="48"/>
                    </a:cubicBezTo>
                    <a:cubicBezTo>
                      <a:pt x="238" y="49"/>
                      <a:pt x="236" y="50"/>
                      <a:pt x="235" y="48"/>
                    </a:cubicBezTo>
                    <a:cubicBezTo>
                      <a:pt x="235" y="48"/>
                      <a:pt x="236" y="46"/>
                      <a:pt x="236" y="46"/>
                    </a:cubicBezTo>
                    <a:cubicBezTo>
                      <a:pt x="236" y="44"/>
                      <a:pt x="236" y="42"/>
                      <a:pt x="234" y="41"/>
                    </a:cubicBezTo>
                    <a:cubicBezTo>
                      <a:pt x="232" y="41"/>
                      <a:pt x="232" y="42"/>
                      <a:pt x="230" y="42"/>
                    </a:cubicBezTo>
                    <a:cubicBezTo>
                      <a:pt x="229" y="42"/>
                      <a:pt x="229" y="42"/>
                      <a:pt x="228" y="42"/>
                    </a:cubicBezTo>
                    <a:cubicBezTo>
                      <a:pt x="226" y="42"/>
                      <a:pt x="224" y="41"/>
                      <a:pt x="223" y="42"/>
                    </a:cubicBezTo>
                    <a:cubicBezTo>
                      <a:pt x="222" y="42"/>
                      <a:pt x="222" y="43"/>
                      <a:pt x="220" y="43"/>
                    </a:cubicBezTo>
                    <a:cubicBezTo>
                      <a:pt x="219" y="44"/>
                      <a:pt x="218" y="44"/>
                      <a:pt x="217" y="43"/>
                    </a:cubicBezTo>
                    <a:cubicBezTo>
                      <a:pt x="218" y="42"/>
                      <a:pt x="218" y="40"/>
                      <a:pt x="220" y="38"/>
                    </a:cubicBezTo>
                    <a:cubicBezTo>
                      <a:pt x="221" y="38"/>
                      <a:pt x="222" y="37"/>
                      <a:pt x="223" y="37"/>
                    </a:cubicBezTo>
                    <a:cubicBezTo>
                      <a:pt x="223" y="37"/>
                      <a:pt x="225" y="36"/>
                      <a:pt x="225" y="36"/>
                    </a:cubicBezTo>
                    <a:cubicBezTo>
                      <a:pt x="225" y="36"/>
                      <a:pt x="225" y="34"/>
                      <a:pt x="225" y="34"/>
                    </a:cubicBezTo>
                    <a:cubicBezTo>
                      <a:pt x="225" y="32"/>
                      <a:pt x="225" y="31"/>
                      <a:pt x="225" y="30"/>
                    </a:cubicBezTo>
                    <a:cubicBezTo>
                      <a:pt x="225" y="29"/>
                      <a:pt x="226" y="27"/>
                      <a:pt x="226" y="26"/>
                    </a:cubicBezTo>
                    <a:cubicBezTo>
                      <a:pt x="225" y="25"/>
                      <a:pt x="224" y="25"/>
                      <a:pt x="224" y="24"/>
                    </a:cubicBezTo>
                    <a:cubicBezTo>
                      <a:pt x="224" y="23"/>
                      <a:pt x="224" y="23"/>
                      <a:pt x="225" y="22"/>
                    </a:cubicBezTo>
                    <a:cubicBezTo>
                      <a:pt x="225" y="21"/>
                      <a:pt x="224" y="20"/>
                      <a:pt x="222" y="20"/>
                    </a:cubicBezTo>
                    <a:cubicBezTo>
                      <a:pt x="222" y="18"/>
                      <a:pt x="224" y="16"/>
                      <a:pt x="224" y="14"/>
                    </a:cubicBezTo>
                    <a:cubicBezTo>
                      <a:pt x="224" y="13"/>
                      <a:pt x="223" y="10"/>
                      <a:pt x="222" y="10"/>
                    </a:cubicBezTo>
                    <a:cubicBezTo>
                      <a:pt x="221" y="9"/>
                      <a:pt x="219" y="11"/>
                      <a:pt x="218" y="11"/>
                    </a:cubicBezTo>
                    <a:cubicBezTo>
                      <a:pt x="217" y="12"/>
                      <a:pt x="217" y="13"/>
                      <a:pt x="216" y="13"/>
                    </a:cubicBezTo>
                    <a:cubicBezTo>
                      <a:pt x="215" y="13"/>
                      <a:pt x="214" y="12"/>
                      <a:pt x="213" y="12"/>
                    </a:cubicBezTo>
                    <a:cubicBezTo>
                      <a:pt x="212" y="11"/>
                      <a:pt x="212" y="11"/>
                      <a:pt x="211" y="10"/>
                    </a:cubicBezTo>
                    <a:cubicBezTo>
                      <a:pt x="209" y="9"/>
                      <a:pt x="208" y="9"/>
                      <a:pt x="206" y="9"/>
                    </a:cubicBezTo>
                    <a:cubicBezTo>
                      <a:pt x="204" y="9"/>
                      <a:pt x="204" y="8"/>
                      <a:pt x="203" y="6"/>
                    </a:cubicBezTo>
                    <a:cubicBezTo>
                      <a:pt x="202" y="6"/>
                      <a:pt x="201" y="5"/>
                      <a:pt x="200" y="5"/>
                    </a:cubicBezTo>
                    <a:cubicBezTo>
                      <a:pt x="199" y="5"/>
                      <a:pt x="199" y="5"/>
                      <a:pt x="198" y="5"/>
                    </a:cubicBezTo>
                    <a:cubicBezTo>
                      <a:pt x="198" y="5"/>
                      <a:pt x="197" y="5"/>
                      <a:pt x="196" y="5"/>
                    </a:cubicBezTo>
                    <a:cubicBezTo>
                      <a:pt x="196" y="5"/>
                      <a:pt x="195" y="4"/>
                      <a:pt x="194" y="5"/>
                    </a:cubicBezTo>
                    <a:cubicBezTo>
                      <a:pt x="193" y="5"/>
                      <a:pt x="193" y="6"/>
                      <a:pt x="192" y="7"/>
                    </a:cubicBezTo>
                    <a:cubicBezTo>
                      <a:pt x="191" y="8"/>
                      <a:pt x="191" y="8"/>
                      <a:pt x="189" y="8"/>
                    </a:cubicBezTo>
                    <a:cubicBezTo>
                      <a:pt x="188" y="9"/>
                      <a:pt x="188" y="10"/>
                      <a:pt x="187" y="11"/>
                    </a:cubicBezTo>
                    <a:cubicBezTo>
                      <a:pt x="186" y="11"/>
                      <a:pt x="185" y="11"/>
                      <a:pt x="184" y="11"/>
                    </a:cubicBezTo>
                    <a:cubicBezTo>
                      <a:pt x="182" y="11"/>
                      <a:pt x="181" y="11"/>
                      <a:pt x="181" y="9"/>
                    </a:cubicBezTo>
                    <a:cubicBezTo>
                      <a:pt x="181" y="7"/>
                      <a:pt x="181" y="6"/>
                      <a:pt x="180" y="5"/>
                    </a:cubicBezTo>
                    <a:cubicBezTo>
                      <a:pt x="180" y="5"/>
                      <a:pt x="180" y="5"/>
                      <a:pt x="180" y="4"/>
                    </a:cubicBezTo>
                    <a:cubicBezTo>
                      <a:pt x="180" y="4"/>
                      <a:pt x="179" y="4"/>
                      <a:pt x="180" y="3"/>
                    </a:cubicBezTo>
                    <a:cubicBezTo>
                      <a:pt x="179" y="3"/>
                      <a:pt x="179" y="2"/>
                      <a:pt x="179" y="1"/>
                    </a:cubicBezTo>
                    <a:cubicBezTo>
                      <a:pt x="178" y="1"/>
                      <a:pt x="176" y="1"/>
                      <a:pt x="176" y="1"/>
                    </a:cubicBezTo>
                    <a:cubicBezTo>
                      <a:pt x="175" y="2"/>
                      <a:pt x="175" y="2"/>
                      <a:pt x="175" y="3"/>
                    </a:cubicBezTo>
                    <a:cubicBezTo>
                      <a:pt x="174" y="3"/>
                      <a:pt x="173" y="3"/>
                      <a:pt x="173" y="3"/>
                    </a:cubicBezTo>
                    <a:cubicBezTo>
                      <a:pt x="172" y="3"/>
                      <a:pt x="170" y="3"/>
                      <a:pt x="169" y="3"/>
                    </a:cubicBezTo>
                    <a:cubicBezTo>
                      <a:pt x="168" y="3"/>
                      <a:pt x="167" y="2"/>
                      <a:pt x="166" y="1"/>
                    </a:cubicBezTo>
                    <a:cubicBezTo>
                      <a:pt x="165" y="1"/>
                      <a:pt x="163" y="1"/>
                      <a:pt x="162" y="1"/>
                    </a:cubicBezTo>
                    <a:cubicBezTo>
                      <a:pt x="160" y="1"/>
                      <a:pt x="158" y="1"/>
                      <a:pt x="157" y="1"/>
                    </a:cubicBezTo>
                    <a:cubicBezTo>
                      <a:pt x="154" y="1"/>
                      <a:pt x="152" y="0"/>
                      <a:pt x="149" y="0"/>
                    </a:cubicBezTo>
                    <a:cubicBezTo>
                      <a:pt x="149" y="2"/>
                      <a:pt x="148" y="4"/>
                      <a:pt x="148" y="7"/>
                    </a:cubicBezTo>
                    <a:cubicBezTo>
                      <a:pt x="148" y="8"/>
                      <a:pt x="149" y="9"/>
                      <a:pt x="149" y="10"/>
                    </a:cubicBezTo>
                    <a:cubicBezTo>
                      <a:pt x="150" y="11"/>
                      <a:pt x="151" y="9"/>
                      <a:pt x="153" y="9"/>
                    </a:cubicBezTo>
                    <a:cubicBezTo>
                      <a:pt x="153" y="11"/>
                      <a:pt x="152" y="12"/>
                      <a:pt x="152" y="13"/>
                    </a:cubicBezTo>
                    <a:cubicBezTo>
                      <a:pt x="152" y="14"/>
                      <a:pt x="153" y="14"/>
                      <a:pt x="153" y="14"/>
                    </a:cubicBezTo>
                    <a:cubicBezTo>
                      <a:pt x="153" y="14"/>
                      <a:pt x="153" y="16"/>
                      <a:pt x="154" y="17"/>
                    </a:cubicBezTo>
                    <a:cubicBezTo>
                      <a:pt x="154" y="17"/>
                      <a:pt x="153" y="18"/>
                      <a:pt x="154" y="18"/>
                    </a:cubicBezTo>
                    <a:cubicBezTo>
                      <a:pt x="154" y="19"/>
                      <a:pt x="156" y="20"/>
                      <a:pt x="156" y="21"/>
                    </a:cubicBezTo>
                    <a:cubicBezTo>
                      <a:pt x="157" y="22"/>
                      <a:pt x="158" y="25"/>
                      <a:pt x="160" y="25"/>
                    </a:cubicBezTo>
                    <a:cubicBezTo>
                      <a:pt x="160" y="25"/>
                      <a:pt x="161" y="25"/>
                      <a:pt x="161" y="24"/>
                    </a:cubicBezTo>
                    <a:cubicBezTo>
                      <a:pt x="161" y="25"/>
                      <a:pt x="161" y="26"/>
                      <a:pt x="161" y="27"/>
                    </a:cubicBezTo>
                    <a:cubicBezTo>
                      <a:pt x="163" y="27"/>
                      <a:pt x="163" y="29"/>
                      <a:pt x="163" y="30"/>
                    </a:cubicBezTo>
                    <a:cubicBezTo>
                      <a:pt x="163" y="30"/>
                      <a:pt x="163" y="31"/>
                      <a:pt x="163" y="32"/>
                    </a:cubicBezTo>
                    <a:cubicBezTo>
                      <a:pt x="164" y="32"/>
                      <a:pt x="165" y="32"/>
                      <a:pt x="165" y="32"/>
                    </a:cubicBezTo>
                    <a:cubicBezTo>
                      <a:pt x="165" y="32"/>
                      <a:pt x="166" y="34"/>
                      <a:pt x="166" y="34"/>
                    </a:cubicBezTo>
                    <a:cubicBezTo>
                      <a:pt x="166" y="34"/>
                      <a:pt x="166" y="35"/>
                      <a:pt x="166" y="36"/>
                    </a:cubicBezTo>
                    <a:cubicBezTo>
                      <a:pt x="165" y="37"/>
                      <a:pt x="163" y="36"/>
                      <a:pt x="162" y="38"/>
                    </a:cubicBezTo>
                    <a:cubicBezTo>
                      <a:pt x="162" y="38"/>
                      <a:pt x="162" y="39"/>
                      <a:pt x="161" y="39"/>
                    </a:cubicBezTo>
                    <a:cubicBezTo>
                      <a:pt x="161" y="40"/>
                      <a:pt x="160" y="40"/>
                      <a:pt x="160" y="40"/>
                    </a:cubicBezTo>
                    <a:cubicBezTo>
                      <a:pt x="159" y="42"/>
                      <a:pt x="159" y="42"/>
                      <a:pt x="161" y="42"/>
                    </a:cubicBezTo>
                    <a:cubicBezTo>
                      <a:pt x="162" y="42"/>
                      <a:pt x="162" y="43"/>
                      <a:pt x="163" y="42"/>
                    </a:cubicBezTo>
                    <a:cubicBezTo>
                      <a:pt x="164" y="42"/>
                      <a:pt x="165" y="42"/>
                      <a:pt x="166" y="41"/>
                    </a:cubicBezTo>
                    <a:cubicBezTo>
                      <a:pt x="167" y="41"/>
                      <a:pt x="167" y="41"/>
                      <a:pt x="168" y="41"/>
                    </a:cubicBezTo>
                    <a:cubicBezTo>
                      <a:pt x="169" y="40"/>
                      <a:pt x="171" y="40"/>
                      <a:pt x="172" y="41"/>
                    </a:cubicBezTo>
                    <a:cubicBezTo>
                      <a:pt x="173" y="41"/>
                      <a:pt x="173" y="40"/>
                      <a:pt x="173" y="41"/>
                    </a:cubicBezTo>
                    <a:cubicBezTo>
                      <a:pt x="174" y="43"/>
                      <a:pt x="172" y="44"/>
                      <a:pt x="171" y="45"/>
                    </a:cubicBezTo>
                    <a:cubicBezTo>
                      <a:pt x="168" y="48"/>
                      <a:pt x="165" y="48"/>
                      <a:pt x="161" y="48"/>
                    </a:cubicBezTo>
                    <a:cubicBezTo>
                      <a:pt x="159" y="48"/>
                      <a:pt x="157" y="48"/>
                      <a:pt x="155" y="48"/>
                    </a:cubicBezTo>
                    <a:cubicBezTo>
                      <a:pt x="153" y="48"/>
                      <a:pt x="153" y="49"/>
                      <a:pt x="152" y="50"/>
                    </a:cubicBezTo>
                    <a:cubicBezTo>
                      <a:pt x="151" y="51"/>
                      <a:pt x="152" y="51"/>
                      <a:pt x="153" y="53"/>
                    </a:cubicBezTo>
                    <a:cubicBezTo>
                      <a:pt x="152" y="53"/>
                      <a:pt x="152" y="53"/>
                      <a:pt x="151" y="53"/>
                    </a:cubicBezTo>
                    <a:cubicBezTo>
                      <a:pt x="150" y="53"/>
                      <a:pt x="150" y="54"/>
                      <a:pt x="149" y="54"/>
                    </a:cubicBezTo>
                    <a:cubicBezTo>
                      <a:pt x="149" y="54"/>
                      <a:pt x="149" y="54"/>
                      <a:pt x="148" y="55"/>
                    </a:cubicBezTo>
                    <a:cubicBezTo>
                      <a:pt x="148" y="55"/>
                      <a:pt x="148" y="56"/>
                      <a:pt x="148" y="57"/>
                    </a:cubicBezTo>
                    <a:cubicBezTo>
                      <a:pt x="149" y="58"/>
                      <a:pt x="149" y="60"/>
                      <a:pt x="150" y="61"/>
                    </a:cubicBezTo>
                    <a:cubicBezTo>
                      <a:pt x="150" y="61"/>
                      <a:pt x="150" y="61"/>
                      <a:pt x="151" y="61"/>
                    </a:cubicBezTo>
                    <a:cubicBezTo>
                      <a:pt x="152" y="61"/>
                      <a:pt x="152" y="60"/>
                      <a:pt x="154" y="60"/>
                    </a:cubicBezTo>
                    <a:cubicBezTo>
                      <a:pt x="154" y="59"/>
                      <a:pt x="155" y="60"/>
                      <a:pt x="155" y="59"/>
                    </a:cubicBezTo>
                    <a:cubicBezTo>
                      <a:pt x="156" y="59"/>
                      <a:pt x="156" y="57"/>
                      <a:pt x="157" y="57"/>
                    </a:cubicBezTo>
                    <a:cubicBezTo>
                      <a:pt x="158" y="57"/>
                      <a:pt x="158" y="59"/>
                      <a:pt x="160" y="59"/>
                    </a:cubicBezTo>
                    <a:cubicBezTo>
                      <a:pt x="161" y="59"/>
                      <a:pt x="162" y="58"/>
                      <a:pt x="163" y="58"/>
                    </a:cubicBezTo>
                    <a:cubicBezTo>
                      <a:pt x="165" y="58"/>
                      <a:pt x="166" y="59"/>
                      <a:pt x="167" y="60"/>
                    </a:cubicBezTo>
                    <a:cubicBezTo>
                      <a:pt x="168" y="62"/>
                      <a:pt x="161" y="61"/>
                      <a:pt x="160" y="61"/>
                    </a:cubicBezTo>
                    <a:cubicBezTo>
                      <a:pt x="159" y="61"/>
                      <a:pt x="158" y="60"/>
                      <a:pt x="158" y="61"/>
                    </a:cubicBezTo>
                    <a:cubicBezTo>
                      <a:pt x="157" y="61"/>
                      <a:pt x="157" y="61"/>
                      <a:pt x="157" y="62"/>
                    </a:cubicBezTo>
                    <a:cubicBezTo>
                      <a:pt x="156" y="63"/>
                      <a:pt x="156" y="64"/>
                      <a:pt x="156" y="65"/>
                    </a:cubicBezTo>
                    <a:cubicBezTo>
                      <a:pt x="155" y="66"/>
                      <a:pt x="154" y="66"/>
                      <a:pt x="154" y="67"/>
                    </a:cubicBezTo>
                    <a:cubicBezTo>
                      <a:pt x="154" y="68"/>
                      <a:pt x="153" y="69"/>
                      <a:pt x="154" y="70"/>
                    </a:cubicBezTo>
                    <a:cubicBezTo>
                      <a:pt x="154" y="70"/>
                      <a:pt x="154" y="70"/>
                      <a:pt x="155" y="70"/>
                    </a:cubicBezTo>
                    <a:cubicBezTo>
                      <a:pt x="155" y="71"/>
                      <a:pt x="155" y="71"/>
                      <a:pt x="155" y="71"/>
                    </a:cubicBezTo>
                    <a:cubicBezTo>
                      <a:pt x="156" y="72"/>
                      <a:pt x="156" y="73"/>
                      <a:pt x="158" y="74"/>
                    </a:cubicBezTo>
                    <a:cubicBezTo>
                      <a:pt x="158" y="74"/>
                      <a:pt x="161" y="74"/>
                      <a:pt x="161" y="74"/>
                    </a:cubicBezTo>
                    <a:cubicBezTo>
                      <a:pt x="163" y="73"/>
                      <a:pt x="165" y="72"/>
                      <a:pt x="167" y="73"/>
                    </a:cubicBezTo>
                    <a:cubicBezTo>
                      <a:pt x="167" y="74"/>
                      <a:pt x="167" y="74"/>
                      <a:pt x="167" y="75"/>
                    </a:cubicBezTo>
                    <a:cubicBezTo>
                      <a:pt x="167" y="75"/>
                      <a:pt x="168" y="76"/>
                      <a:pt x="168" y="75"/>
                    </a:cubicBezTo>
                    <a:cubicBezTo>
                      <a:pt x="168" y="76"/>
                      <a:pt x="168" y="78"/>
                      <a:pt x="168" y="78"/>
                    </a:cubicBezTo>
                    <a:cubicBezTo>
                      <a:pt x="168" y="79"/>
                      <a:pt x="167" y="80"/>
                      <a:pt x="167" y="81"/>
                    </a:cubicBezTo>
                    <a:cubicBezTo>
                      <a:pt x="166" y="82"/>
                      <a:pt x="165" y="82"/>
                      <a:pt x="164" y="82"/>
                    </a:cubicBezTo>
                    <a:cubicBezTo>
                      <a:pt x="162" y="83"/>
                      <a:pt x="162" y="82"/>
                      <a:pt x="161" y="84"/>
                    </a:cubicBezTo>
                    <a:cubicBezTo>
                      <a:pt x="161" y="84"/>
                      <a:pt x="162" y="85"/>
                      <a:pt x="162" y="86"/>
                    </a:cubicBezTo>
                    <a:cubicBezTo>
                      <a:pt x="163" y="89"/>
                      <a:pt x="162" y="92"/>
                      <a:pt x="165" y="94"/>
                    </a:cubicBezTo>
                    <a:cubicBezTo>
                      <a:pt x="165" y="94"/>
                      <a:pt x="165" y="94"/>
                      <a:pt x="166" y="94"/>
                    </a:cubicBezTo>
                    <a:cubicBezTo>
                      <a:pt x="166" y="95"/>
                      <a:pt x="166" y="95"/>
                      <a:pt x="166" y="95"/>
                    </a:cubicBezTo>
                    <a:cubicBezTo>
                      <a:pt x="167" y="96"/>
                      <a:pt x="168" y="96"/>
                      <a:pt x="169" y="96"/>
                    </a:cubicBezTo>
                    <a:cubicBezTo>
                      <a:pt x="170" y="96"/>
                      <a:pt x="171" y="96"/>
                      <a:pt x="173" y="96"/>
                    </a:cubicBezTo>
                    <a:cubicBezTo>
                      <a:pt x="175" y="96"/>
                      <a:pt x="177" y="96"/>
                      <a:pt x="179" y="97"/>
                    </a:cubicBezTo>
                    <a:cubicBezTo>
                      <a:pt x="181" y="97"/>
                      <a:pt x="182" y="97"/>
                      <a:pt x="184" y="98"/>
                    </a:cubicBezTo>
                    <a:cubicBezTo>
                      <a:pt x="185" y="99"/>
                      <a:pt x="186" y="99"/>
                      <a:pt x="187" y="100"/>
                    </a:cubicBezTo>
                    <a:cubicBezTo>
                      <a:pt x="188" y="101"/>
                      <a:pt x="190" y="101"/>
                      <a:pt x="191" y="102"/>
                    </a:cubicBezTo>
                    <a:cubicBezTo>
                      <a:pt x="192" y="104"/>
                      <a:pt x="192" y="106"/>
                      <a:pt x="192" y="108"/>
                    </a:cubicBezTo>
                    <a:cubicBezTo>
                      <a:pt x="191" y="107"/>
                      <a:pt x="189" y="106"/>
                      <a:pt x="188" y="104"/>
                    </a:cubicBezTo>
                    <a:cubicBezTo>
                      <a:pt x="188" y="104"/>
                      <a:pt x="188" y="103"/>
                      <a:pt x="188" y="103"/>
                    </a:cubicBezTo>
                    <a:cubicBezTo>
                      <a:pt x="187" y="102"/>
                      <a:pt x="186" y="102"/>
                      <a:pt x="186" y="101"/>
                    </a:cubicBezTo>
                    <a:cubicBezTo>
                      <a:pt x="185" y="101"/>
                      <a:pt x="184" y="100"/>
                      <a:pt x="183" y="99"/>
                    </a:cubicBezTo>
                    <a:cubicBezTo>
                      <a:pt x="182" y="98"/>
                      <a:pt x="180" y="99"/>
                      <a:pt x="179" y="99"/>
                    </a:cubicBezTo>
                    <a:cubicBezTo>
                      <a:pt x="176" y="99"/>
                      <a:pt x="173" y="98"/>
                      <a:pt x="171" y="99"/>
                    </a:cubicBezTo>
                    <a:cubicBezTo>
                      <a:pt x="170" y="99"/>
                      <a:pt x="169" y="100"/>
                      <a:pt x="169" y="101"/>
                    </a:cubicBezTo>
                    <a:cubicBezTo>
                      <a:pt x="168" y="101"/>
                      <a:pt x="167" y="101"/>
                      <a:pt x="167" y="101"/>
                    </a:cubicBezTo>
                    <a:cubicBezTo>
                      <a:pt x="165" y="101"/>
                      <a:pt x="164" y="101"/>
                      <a:pt x="162" y="101"/>
                    </a:cubicBezTo>
                    <a:cubicBezTo>
                      <a:pt x="161" y="100"/>
                      <a:pt x="160" y="100"/>
                      <a:pt x="158" y="100"/>
                    </a:cubicBezTo>
                    <a:cubicBezTo>
                      <a:pt x="158" y="100"/>
                      <a:pt x="157" y="100"/>
                      <a:pt x="157" y="100"/>
                    </a:cubicBezTo>
                    <a:cubicBezTo>
                      <a:pt x="156" y="99"/>
                      <a:pt x="156" y="97"/>
                      <a:pt x="155" y="96"/>
                    </a:cubicBezTo>
                    <a:cubicBezTo>
                      <a:pt x="155" y="96"/>
                      <a:pt x="152" y="96"/>
                      <a:pt x="151" y="96"/>
                    </a:cubicBezTo>
                    <a:cubicBezTo>
                      <a:pt x="150" y="96"/>
                      <a:pt x="150" y="96"/>
                      <a:pt x="149" y="97"/>
                    </a:cubicBezTo>
                    <a:cubicBezTo>
                      <a:pt x="149" y="97"/>
                      <a:pt x="149" y="98"/>
                      <a:pt x="149" y="98"/>
                    </a:cubicBezTo>
                    <a:cubicBezTo>
                      <a:pt x="148" y="98"/>
                      <a:pt x="148" y="98"/>
                      <a:pt x="147" y="98"/>
                    </a:cubicBezTo>
                    <a:cubicBezTo>
                      <a:pt x="146" y="99"/>
                      <a:pt x="147" y="100"/>
                      <a:pt x="146" y="101"/>
                    </a:cubicBezTo>
                    <a:cubicBezTo>
                      <a:pt x="145" y="103"/>
                      <a:pt x="142" y="105"/>
                      <a:pt x="141" y="106"/>
                    </a:cubicBezTo>
                    <a:cubicBezTo>
                      <a:pt x="140" y="106"/>
                      <a:pt x="137" y="107"/>
                      <a:pt x="137" y="108"/>
                    </a:cubicBezTo>
                    <a:cubicBezTo>
                      <a:pt x="137" y="109"/>
                      <a:pt x="138" y="112"/>
                      <a:pt x="138" y="113"/>
                    </a:cubicBezTo>
                    <a:cubicBezTo>
                      <a:pt x="138" y="114"/>
                      <a:pt x="141" y="118"/>
                      <a:pt x="142" y="119"/>
                    </a:cubicBezTo>
                    <a:cubicBezTo>
                      <a:pt x="142" y="120"/>
                      <a:pt x="147" y="123"/>
                      <a:pt x="146" y="124"/>
                    </a:cubicBezTo>
                    <a:cubicBezTo>
                      <a:pt x="145" y="123"/>
                      <a:pt x="140" y="121"/>
                      <a:pt x="140" y="121"/>
                    </a:cubicBezTo>
                    <a:cubicBezTo>
                      <a:pt x="138" y="121"/>
                      <a:pt x="137" y="120"/>
                      <a:pt x="136" y="120"/>
                    </a:cubicBezTo>
                    <a:cubicBezTo>
                      <a:pt x="135" y="120"/>
                      <a:pt x="134" y="121"/>
                      <a:pt x="133" y="120"/>
                    </a:cubicBezTo>
                    <a:cubicBezTo>
                      <a:pt x="133" y="120"/>
                      <a:pt x="133" y="120"/>
                      <a:pt x="133" y="120"/>
                    </a:cubicBezTo>
                    <a:cubicBezTo>
                      <a:pt x="131" y="120"/>
                      <a:pt x="128" y="116"/>
                      <a:pt x="127" y="120"/>
                    </a:cubicBezTo>
                    <a:cubicBezTo>
                      <a:pt x="127" y="122"/>
                      <a:pt x="127" y="121"/>
                      <a:pt x="127" y="123"/>
                    </a:cubicBezTo>
                    <a:cubicBezTo>
                      <a:pt x="130" y="123"/>
                      <a:pt x="130" y="126"/>
                      <a:pt x="130" y="129"/>
                    </a:cubicBezTo>
                    <a:cubicBezTo>
                      <a:pt x="131" y="131"/>
                      <a:pt x="131" y="132"/>
                      <a:pt x="130" y="134"/>
                    </a:cubicBezTo>
                    <a:cubicBezTo>
                      <a:pt x="129" y="134"/>
                      <a:pt x="128" y="136"/>
                      <a:pt x="128" y="136"/>
                    </a:cubicBezTo>
                    <a:cubicBezTo>
                      <a:pt x="127" y="136"/>
                      <a:pt x="126" y="135"/>
                      <a:pt x="125" y="135"/>
                    </a:cubicBezTo>
                    <a:cubicBezTo>
                      <a:pt x="124" y="135"/>
                      <a:pt x="123" y="135"/>
                      <a:pt x="123" y="134"/>
                    </a:cubicBezTo>
                    <a:cubicBezTo>
                      <a:pt x="122" y="134"/>
                      <a:pt x="119" y="130"/>
                      <a:pt x="119" y="129"/>
                    </a:cubicBezTo>
                    <a:cubicBezTo>
                      <a:pt x="120" y="127"/>
                      <a:pt x="121" y="126"/>
                      <a:pt x="122" y="124"/>
                    </a:cubicBezTo>
                    <a:cubicBezTo>
                      <a:pt x="122" y="124"/>
                      <a:pt x="124" y="124"/>
                      <a:pt x="124" y="123"/>
                    </a:cubicBezTo>
                    <a:cubicBezTo>
                      <a:pt x="125" y="122"/>
                      <a:pt x="126" y="118"/>
                      <a:pt x="126" y="117"/>
                    </a:cubicBezTo>
                    <a:cubicBezTo>
                      <a:pt x="126" y="114"/>
                      <a:pt x="127" y="113"/>
                      <a:pt x="123" y="112"/>
                    </a:cubicBezTo>
                    <a:cubicBezTo>
                      <a:pt x="122" y="111"/>
                      <a:pt x="120" y="111"/>
                      <a:pt x="119" y="111"/>
                    </a:cubicBezTo>
                    <a:cubicBezTo>
                      <a:pt x="118" y="110"/>
                      <a:pt x="117" y="109"/>
                      <a:pt x="116" y="109"/>
                    </a:cubicBezTo>
                    <a:cubicBezTo>
                      <a:pt x="114" y="109"/>
                      <a:pt x="112" y="109"/>
                      <a:pt x="111" y="109"/>
                    </a:cubicBezTo>
                    <a:cubicBezTo>
                      <a:pt x="109" y="110"/>
                      <a:pt x="107" y="111"/>
                      <a:pt x="105" y="113"/>
                    </a:cubicBezTo>
                    <a:cubicBezTo>
                      <a:pt x="105" y="114"/>
                      <a:pt x="105" y="114"/>
                      <a:pt x="104" y="114"/>
                    </a:cubicBezTo>
                    <a:cubicBezTo>
                      <a:pt x="103" y="114"/>
                      <a:pt x="101" y="113"/>
                      <a:pt x="100" y="113"/>
                    </a:cubicBezTo>
                    <a:cubicBezTo>
                      <a:pt x="99" y="112"/>
                      <a:pt x="99" y="112"/>
                      <a:pt x="98" y="112"/>
                    </a:cubicBezTo>
                    <a:cubicBezTo>
                      <a:pt x="97" y="112"/>
                      <a:pt x="97" y="112"/>
                      <a:pt x="96" y="112"/>
                    </a:cubicBezTo>
                    <a:cubicBezTo>
                      <a:pt x="95" y="113"/>
                      <a:pt x="95" y="113"/>
                      <a:pt x="94" y="114"/>
                    </a:cubicBezTo>
                    <a:cubicBezTo>
                      <a:pt x="93" y="114"/>
                      <a:pt x="91" y="114"/>
                      <a:pt x="90" y="114"/>
                    </a:cubicBezTo>
                    <a:cubicBezTo>
                      <a:pt x="88" y="114"/>
                      <a:pt x="87" y="114"/>
                      <a:pt x="86" y="115"/>
                    </a:cubicBezTo>
                    <a:cubicBezTo>
                      <a:pt x="84" y="115"/>
                      <a:pt x="81" y="115"/>
                      <a:pt x="79" y="115"/>
                    </a:cubicBezTo>
                    <a:cubicBezTo>
                      <a:pt x="76" y="115"/>
                      <a:pt x="73" y="115"/>
                      <a:pt x="71" y="117"/>
                    </a:cubicBezTo>
                    <a:cubicBezTo>
                      <a:pt x="70" y="118"/>
                      <a:pt x="69" y="119"/>
                      <a:pt x="68" y="120"/>
                    </a:cubicBezTo>
                    <a:cubicBezTo>
                      <a:pt x="68" y="122"/>
                      <a:pt x="66" y="122"/>
                      <a:pt x="67" y="124"/>
                    </a:cubicBezTo>
                    <a:cubicBezTo>
                      <a:pt x="66" y="124"/>
                      <a:pt x="66" y="128"/>
                      <a:pt x="65" y="129"/>
                    </a:cubicBezTo>
                    <a:cubicBezTo>
                      <a:pt x="65" y="129"/>
                      <a:pt x="65" y="130"/>
                      <a:pt x="64" y="131"/>
                    </a:cubicBezTo>
                    <a:cubicBezTo>
                      <a:pt x="63" y="131"/>
                      <a:pt x="62" y="131"/>
                      <a:pt x="61" y="132"/>
                    </a:cubicBezTo>
                    <a:cubicBezTo>
                      <a:pt x="59" y="133"/>
                      <a:pt x="61" y="138"/>
                      <a:pt x="62" y="140"/>
                    </a:cubicBezTo>
                    <a:cubicBezTo>
                      <a:pt x="62" y="142"/>
                      <a:pt x="63" y="145"/>
                      <a:pt x="64" y="146"/>
                    </a:cubicBezTo>
                    <a:cubicBezTo>
                      <a:pt x="64" y="146"/>
                      <a:pt x="65" y="146"/>
                      <a:pt x="66" y="146"/>
                    </a:cubicBezTo>
                    <a:cubicBezTo>
                      <a:pt x="68" y="146"/>
                      <a:pt x="70" y="145"/>
                      <a:pt x="71" y="147"/>
                    </a:cubicBezTo>
                    <a:cubicBezTo>
                      <a:pt x="71" y="149"/>
                      <a:pt x="70" y="152"/>
                      <a:pt x="70" y="154"/>
                    </a:cubicBezTo>
                    <a:cubicBezTo>
                      <a:pt x="70" y="157"/>
                      <a:pt x="70" y="160"/>
                      <a:pt x="70" y="163"/>
                    </a:cubicBezTo>
                    <a:cubicBezTo>
                      <a:pt x="70" y="164"/>
                      <a:pt x="70" y="165"/>
                      <a:pt x="69" y="167"/>
                    </a:cubicBezTo>
                    <a:cubicBezTo>
                      <a:pt x="69" y="168"/>
                      <a:pt x="69" y="168"/>
                      <a:pt x="69" y="169"/>
                    </a:cubicBezTo>
                    <a:cubicBezTo>
                      <a:pt x="68" y="171"/>
                      <a:pt x="69" y="174"/>
                      <a:pt x="69" y="176"/>
                    </a:cubicBezTo>
                    <a:cubicBezTo>
                      <a:pt x="69" y="179"/>
                      <a:pt x="69" y="181"/>
                      <a:pt x="68" y="183"/>
                    </a:cubicBezTo>
                    <a:cubicBezTo>
                      <a:pt x="67" y="185"/>
                      <a:pt x="67" y="186"/>
                      <a:pt x="65" y="187"/>
                    </a:cubicBezTo>
                    <a:cubicBezTo>
                      <a:pt x="65" y="188"/>
                      <a:pt x="64" y="188"/>
                      <a:pt x="64" y="189"/>
                    </a:cubicBezTo>
                    <a:cubicBezTo>
                      <a:pt x="62" y="191"/>
                      <a:pt x="61" y="192"/>
                      <a:pt x="63" y="195"/>
                    </a:cubicBezTo>
                    <a:cubicBezTo>
                      <a:pt x="63" y="196"/>
                      <a:pt x="64" y="196"/>
                      <a:pt x="64" y="197"/>
                    </a:cubicBezTo>
                    <a:cubicBezTo>
                      <a:pt x="63" y="199"/>
                      <a:pt x="60" y="199"/>
                      <a:pt x="59" y="200"/>
                    </a:cubicBezTo>
                    <a:cubicBezTo>
                      <a:pt x="58" y="201"/>
                      <a:pt x="57" y="203"/>
                      <a:pt x="56" y="203"/>
                    </a:cubicBezTo>
                    <a:cubicBezTo>
                      <a:pt x="55" y="204"/>
                      <a:pt x="53" y="203"/>
                      <a:pt x="52" y="203"/>
                    </a:cubicBezTo>
                    <a:cubicBezTo>
                      <a:pt x="50" y="203"/>
                      <a:pt x="50" y="203"/>
                      <a:pt x="50" y="204"/>
                    </a:cubicBezTo>
                    <a:cubicBezTo>
                      <a:pt x="49" y="205"/>
                      <a:pt x="49" y="205"/>
                      <a:pt x="48" y="206"/>
                    </a:cubicBezTo>
                    <a:cubicBezTo>
                      <a:pt x="46" y="206"/>
                      <a:pt x="44" y="206"/>
                      <a:pt x="42" y="206"/>
                    </a:cubicBezTo>
                    <a:cubicBezTo>
                      <a:pt x="41" y="206"/>
                      <a:pt x="39" y="206"/>
                      <a:pt x="38" y="206"/>
                    </a:cubicBezTo>
                    <a:cubicBezTo>
                      <a:pt x="37" y="206"/>
                      <a:pt x="36" y="208"/>
                      <a:pt x="35" y="208"/>
                    </a:cubicBezTo>
                    <a:cubicBezTo>
                      <a:pt x="34" y="208"/>
                      <a:pt x="34" y="209"/>
                      <a:pt x="35" y="210"/>
                    </a:cubicBezTo>
                    <a:cubicBezTo>
                      <a:pt x="35" y="210"/>
                      <a:pt x="36" y="212"/>
                      <a:pt x="37" y="212"/>
                    </a:cubicBezTo>
                    <a:cubicBezTo>
                      <a:pt x="37" y="212"/>
                      <a:pt x="38" y="213"/>
                      <a:pt x="38" y="213"/>
                    </a:cubicBezTo>
                    <a:cubicBezTo>
                      <a:pt x="40" y="215"/>
                      <a:pt x="41" y="215"/>
                      <a:pt x="40" y="217"/>
                    </a:cubicBezTo>
                    <a:cubicBezTo>
                      <a:pt x="37" y="226"/>
                      <a:pt x="54" y="225"/>
                      <a:pt x="58" y="227"/>
                    </a:cubicBezTo>
                    <a:cubicBezTo>
                      <a:pt x="58" y="227"/>
                      <a:pt x="58" y="227"/>
                      <a:pt x="58" y="227"/>
                    </a:cubicBezTo>
                    <a:cubicBezTo>
                      <a:pt x="59" y="227"/>
                      <a:pt x="59" y="228"/>
                      <a:pt x="59" y="228"/>
                    </a:cubicBezTo>
                    <a:cubicBezTo>
                      <a:pt x="59" y="228"/>
                      <a:pt x="59" y="229"/>
                      <a:pt x="59" y="229"/>
                    </a:cubicBezTo>
                    <a:cubicBezTo>
                      <a:pt x="60" y="230"/>
                      <a:pt x="60" y="230"/>
                      <a:pt x="61" y="231"/>
                    </a:cubicBezTo>
                    <a:cubicBezTo>
                      <a:pt x="61" y="232"/>
                      <a:pt x="61" y="234"/>
                      <a:pt x="60" y="235"/>
                    </a:cubicBezTo>
                    <a:cubicBezTo>
                      <a:pt x="60" y="236"/>
                      <a:pt x="59" y="236"/>
                      <a:pt x="59" y="237"/>
                    </a:cubicBezTo>
                    <a:cubicBezTo>
                      <a:pt x="58" y="239"/>
                      <a:pt x="60" y="242"/>
                      <a:pt x="58" y="244"/>
                    </a:cubicBezTo>
                    <a:cubicBezTo>
                      <a:pt x="57" y="245"/>
                      <a:pt x="56" y="246"/>
                      <a:pt x="54" y="246"/>
                    </a:cubicBezTo>
                    <a:cubicBezTo>
                      <a:pt x="53" y="247"/>
                      <a:pt x="53" y="248"/>
                      <a:pt x="52" y="249"/>
                    </a:cubicBezTo>
                    <a:cubicBezTo>
                      <a:pt x="50" y="251"/>
                      <a:pt x="48" y="252"/>
                      <a:pt x="46" y="254"/>
                    </a:cubicBezTo>
                    <a:cubicBezTo>
                      <a:pt x="46" y="255"/>
                      <a:pt x="45" y="255"/>
                      <a:pt x="45" y="256"/>
                    </a:cubicBezTo>
                    <a:cubicBezTo>
                      <a:pt x="44" y="256"/>
                      <a:pt x="44" y="256"/>
                      <a:pt x="44" y="256"/>
                    </a:cubicBezTo>
                    <a:cubicBezTo>
                      <a:pt x="43" y="257"/>
                      <a:pt x="43" y="258"/>
                      <a:pt x="43" y="258"/>
                    </a:cubicBezTo>
                    <a:cubicBezTo>
                      <a:pt x="43" y="259"/>
                      <a:pt x="43" y="260"/>
                      <a:pt x="43" y="261"/>
                    </a:cubicBezTo>
                    <a:cubicBezTo>
                      <a:pt x="43" y="262"/>
                      <a:pt x="43" y="264"/>
                      <a:pt x="43" y="265"/>
                    </a:cubicBezTo>
                    <a:cubicBezTo>
                      <a:pt x="44" y="266"/>
                      <a:pt x="45" y="266"/>
                      <a:pt x="44" y="268"/>
                    </a:cubicBezTo>
                    <a:cubicBezTo>
                      <a:pt x="44" y="269"/>
                      <a:pt x="43" y="270"/>
                      <a:pt x="42" y="270"/>
                    </a:cubicBezTo>
                    <a:cubicBezTo>
                      <a:pt x="40" y="271"/>
                      <a:pt x="37" y="273"/>
                      <a:pt x="35" y="274"/>
                    </a:cubicBezTo>
                    <a:cubicBezTo>
                      <a:pt x="34" y="274"/>
                      <a:pt x="32" y="274"/>
                      <a:pt x="31" y="275"/>
                    </a:cubicBezTo>
                    <a:cubicBezTo>
                      <a:pt x="30" y="276"/>
                      <a:pt x="31" y="276"/>
                      <a:pt x="29" y="276"/>
                    </a:cubicBezTo>
                    <a:cubicBezTo>
                      <a:pt x="28" y="276"/>
                      <a:pt x="27" y="277"/>
                      <a:pt x="26" y="277"/>
                    </a:cubicBezTo>
                    <a:cubicBezTo>
                      <a:pt x="25" y="277"/>
                      <a:pt x="23" y="277"/>
                      <a:pt x="22" y="277"/>
                    </a:cubicBezTo>
                    <a:cubicBezTo>
                      <a:pt x="21" y="277"/>
                      <a:pt x="20" y="277"/>
                      <a:pt x="19" y="276"/>
                    </a:cubicBezTo>
                    <a:cubicBezTo>
                      <a:pt x="17" y="275"/>
                      <a:pt x="15" y="274"/>
                      <a:pt x="13" y="273"/>
                    </a:cubicBezTo>
                    <a:cubicBezTo>
                      <a:pt x="11" y="273"/>
                      <a:pt x="8" y="273"/>
                      <a:pt x="8" y="276"/>
                    </a:cubicBezTo>
                    <a:cubicBezTo>
                      <a:pt x="8" y="277"/>
                      <a:pt x="8" y="278"/>
                      <a:pt x="8" y="278"/>
                    </a:cubicBezTo>
                    <a:cubicBezTo>
                      <a:pt x="6" y="278"/>
                      <a:pt x="5" y="278"/>
                      <a:pt x="3" y="278"/>
                    </a:cubicBezTo>
                    <a:cubicBezTo>
                      <a:pt x="1" y="278"/>
                      <a:pt x="0" y="281"/>
                      <a:pt x="0" y="283"/>
                    </a:cubicBezTo>
                    <a:cubicBezTo>
                      <a:pt x="0" y="284"/>
                      <a:pt x="0" y="285"/>
                      <a:pt x="0" y="285"/>
                    </a:cubicBezTo>
                    <a:cubicBezTo>
                      <a:pt x="0" y="287"/>
                      <a:pt x="0" y="287"/>
                      <a:pt x="1" y="288"/>
                    </a:cubicBezTo>
                    <a:cubicBezTo>
                      <a:pt x="2" y="289"/>
                      <a:pt x="5" y="290"/>
                      <a:pt x="5" y="292"/>
                    </a:cubicBezTo>
                    <a:cubicBezTo>
                      <a:pt x="6" y="294"/>
                      <a:pt x="5" y="296"/>
                      <a:pt x="6" y="297"/>
                    </a:cubicBezTo>
                    <a:cubicBezTo>
                      <a:pt x="7" y="299"/>
                      <a:pt x="9" y="299"/>
                      <a:pt x="10" y="300"/>
                    </a:cubicBezTo>
                    <a:cubicBezTo>
                      <a:pt x="10" y="301"/>
                      <a:pt x="10" y="301"/>
                      <a:pt x="10" y="301"/>
                    </a:cubicBezTo>
                    <a:cubicBezTo>
                      <a:pt x="10" y="302"/>
                      <a:pt x="11" y="303"/>
                      <a:pt x="11" y="304"/>
                    </a:cubicBezTo>
                    <a:cubicBezTo>
                      <a:pt x="11" y="305"/>
                      <a:pt x="11" y="306"/>
                      <a:pt x="11" y="307"/>
                    </a:cubicBezTo>
                    <a:cubicBezTo>
                      <a:pt x="11" y="308"/>
                      <a:pt x="11" y="308"/>
                      <a:pt x="12" y="309"/>
                    </a:cubicBezTo>
                    <a:cubicBezTo>
                      <a:pt x="12" y="311"/>
                      <a:pt x="12" y="314"/>
                      <a:pt x="13" y="316"/>
                    </a:cubicBezTo>
                    <a:cubicBezTo>
                      <a:pt x="13" y="317"/>
                      <a:pt x="13" y="319"/>
                      <a:pt x="13" y="320"/>
                    </a:cubicBezTo>
                    <a:cubicBezTo>
                      <a:pt x="13" y="322"/>
                      <a:pt x="13" y="321"/>
                      <a:pt x="12" y="322"/>
                    </a:cubicBezTo>
                    <a:cubicBezTo>
                      <a:pt x="12" y="323"/>
                      <a:pt x="11" y="323"/>
                      <a:pt x="10" y="324"/>
                    </a:cubicBezTo>
                    <a:cubicBezTo>
                      <a:pt x="10" y="325"/>
                      <a:pt x="9" y="325"/>
                      <a:pt x="9" y="326"/>
                    </a:cubicBezTo>
                    <a:cubicBezTo>
                      <a:pt x="7" y="328"/>
                      <a:pt x="9" y="331"/>
                      <a:pt x="8" y="334"/>
                    </a:cubicBezTo>
                    <a:cubicBezTo>
                      <a:pt x="7" y="335"/>
                      <a:pt x="6" y="335"/>
                      <a:pt x="6" y="336"/>
                    </a:cubicBezTo>
                    <a:cubicBezTo>
                      <a:pt x="7" y="336"/>
                      <a:pt x="7" y="336"/>
                      <a:pt x="7" y="337"/>
                    </a:cubicBezTo>
                    <a:cubicBezTo>
                      <a:pt x="7" y="337"/>
                      <a:pt x="7" y="338"/>
                      <a:pt x="7" y="338"/>
                    </a:cubicBezTo>
                    <a:cubicBezTo>
                      <a:pt x="7" y="339"/>
                      <a:pt x="7" y="339"/>
                      <a:pt x="8" y="340"/>
                    </a:cubicBezTo>
                    <a:cubicBezTo>
                      <a:pt x="7" y="341"/>
                      <a:pt x="5" y="341"/>
                      <a:pt x="5" y="342"/>
                    </a:cubicBezTo>
                    <a:cubicBezTo>
                      <a:pt x="4" y="343"/>
                      <a:pt x="4" y="343"/>
                      <a:pt x="3" y="344"/>
                    </a:cubicBezTo>
                    <a:cubicBezTo>
                      <a:pt x="1" y="344"/>
                      <a:pt x="2" y="344"/>
                      <a:pt x="1" y="345"/>
                    </a:cubicBezTo>
                    <a:cubicBezTo>
                      <a:pt x="1" y="347"/>
                      <a:pt x="0" y="349"/>
                      <a:pt x="1" y="351"/>
                    </a:cubicBezTo>
                    <a:cubicBezTo>
                      <a:pt x="1" y="351"/>
                      <a:pt x="1" y="351"/>
                      <a:pt x="2" y="351"/>
                    </a:cubicBezTo>
                    <a:cubicBezTo>
                      <a:pt x="3" y="351"/>
                      <a:pt x="4" y="351"/>
                      <a:pt x="4" y="351"/>
                    </a:cubicBezTo>
                    <a:cubicBezTo>
                      <a:pt x="4" y="351"/>
                      <a:pt x="4" y="351"/>
                      <a:pt x="4" y="351"/>
                    </a:cubicBezTo>
                    <a:cubicBezTo>
                      <a:pt x="4" y="351"/>
                      <a:pt x="4" y="351"/>
                      <a:pt x="5" y="351"/>
                    </a:cubicBezTo>
                    <a:cubicBezTo>
                      <a:pt x="5" y="351"/>
                      <a:pt x="6" y="352"/>
                      <a:pt x="6" y="353"/>
                    </a:cubicBezTo>
                    <a:cubicBezTo>
                      <a:pt x="6" y="354"/>
                      <a:pt x="6" y="356"/>
                      <a:pt x="6" y="358"/>
                    </a:cubicBezTo>
                    <a:cubicBezTo>
                      <a:pt x="5" y="359"/>
                      <a:pt x="5" y="361"/>
                      <a:pt x="4" y="362"/>
                    </a:cubicBezTo>
                    <a:cubicBezTo>
                      <a:pt x="4" y="363"/>
                      <a:pt x="4" y="364"/>
                      <a:pt x="4" y="364"/>
                    </a:cubicBezTo>
                    <a:cubicBezTo>
                      <a:pt x="4" y="365"/>
                      <a:pt x="4" y="365"/>
                      <a:pt x="4" y="365"/>
                    </a:cubicBezTo>
                    <a:cubicBezTo>
                      <a:pt x="4" y="367"/>
                      <a:pt x="4" y="367"/>
                      <a:pt x="4" y="368"/>
                    </a:cubicBezTo>
                    <a:cubicBezTo>
                      <a:pt x="3" y="369"/>
                      <a:pt x="3" y="370"/>
                      <a:pt x="3" y="370"/>
                    </a:cubicBezTo>
                    <a:cubicBezTo>
                      <a:pt x="3" y="371"/>
                      <a:pt x="4" y="371"/>
                      <a:pt x="4" y="371"/>
                    </a:cubicBezTo>
                    <a:cubicBezTo>
                      <a:pt x="3" y="372"/>
                      <a:pt x="2" y="372"/>
                      <a:pt x="1" y="373"/>
                    </a:cubicBezTo>
                    <a:cubicBezTo>
                      <a:pt x="1" y="373"/>
                      <a:pt x="1" y="374"/>
                      <a:pt x="0" y="375"/>
                    </a:cubicBezTo>
                    <a:cubicBezTo>
                      <a:pt x="0" y="375"/>
                      <a:pt x="0" y="375"/>
                      <a:pt x="0" y="376"/>
                    </a:cubicBezTo>
                    <a:cubicBezTo>
                      <a:pt x="0" y="376"/>
                      <a:pt x="1" y="377"/>
                      <a:pt x="1" y="377"/>
                    </a:cubicBezTo>
                    <a:cubicBezTo>
                      <a:pt x="2" y="377"/>
                      <a:pt x="3" y="378"/>
                      <a:pt x="3" y="379"/>
                    </a:cubicBezTo>
                    <a:cubicBezTo>
                      <a:pt x="3" y="379"/>
                      <a:pt x="3" y="380"/>
                      <a:pt x="3" y="380"/>
                    </a:cubicBezTo>
                    <a:cubicBezTo>
                      <a:pt x="3" y="381"/>
                      <a:pt x="3" y="382"/>
                      <a:pt x="3" y="383"/>
                    </a:cubicBezTo>
                    <a:cubicBezTo>
                      <a:pt x="2" y="385"/>
                      <a:pt x="2" y="388"/>
                      <a:pt x="3" y="390"/>
                    </a:cubicBezTo>
                    <a:cubicBezTo>
                      <a:pt x="5" y="391"/>
                      <a:pt x="6" y="392"/>
                      <a:pt x="8" y="393"/>
                    </a:cubicBezTo>
                    <a:cubicBezTo>
                      <a:pt x="9" y="393"/>
                      <a:pt x="9" y="393"/>
                      <a:pt x="10" y="394"/>
                    </a:cubicBezTo>
                    <a:cubicBezTo>
                      <a:pt x="11" y="395"/>
                      <a:pt x="12" y="395"/>
                      <a:pt x="14" y="396"/>
                    </a:cubicBezTo>
                    <a:cubicBezTo>
                      <a:pt x="14" y="396"/>
                      <a:pt x="15" y="397"/>
                      <a:pt x="15" y="397"/>
                    </a:cubicBezTo>
                    <a:cubicBezTo>
                      <a:pt x="17" y="397"/>
                      <a:pt x="18" y="397"/>
                      <a:pt x="19" y="399"/>
                    </a:cubicBezTo>
                    <a:cubicBezTo>
                      <a:pt x="20" y="401"/>
                      <a:pt x="19" y="403"/>
                      <a:pt x="19" y="405"/>
                    </a:cubicBezTo>
                    <a:cubicBezTo>
                      <a:pt x="18" y="406"/>
                      <a:pt x="18" y="407"/>
                      <a:pt x="17" y="409"/>
                    </a:cubicBezTo>
                    <a:cubicBezTo>
                      <a:pt x="16" y="411"/>
                      <a:pt x="14" y="412"/>
                      <a:pt x="13" y="414"/>
                    </a:cubicBezTo>
                    <a:cubicBezTo>
                      <a:pt x="13" y="414"/>
                      <a:pt x="13" y="414"/>
                      <a:pt x="13" y="414"/>
                    </a:cubicBezTo>
                    <a:cubicBezTo>
                      <a:pt x="13" y="414"/>
                      <a:pt x="13" y="414"/>
                      <a:pt x="13" y="414"/>
                    </a:cubicBezTo>
                    <a:cubicBezTo>
                      <a:pt x="12" y="416"/>
                      <a:pt x="10" y="417"/>
                      <a:pt x="10" y="419"/>
                    </a:cubicBezTo>
                    <a:cubicBezTo>
                      <a:pt x="10" y="420"/>
                      <a:pt x="10" y="420"/>
                      <a:pt x="10" y="420"/>
                    </a:cubicBezTo>
                    <a:cubicBezTo>
                      <a:pt x="10" y="422"/>
                      <a:pt x="9" y="423"/>
                      <a:pt x="8" y="424"/>
                    </a:cubicBezTo>
                    <a:cubicBezTo>
                      <a:pt x="7" y="426"/>
                      <a:pt x="7" y="428"/>
                      <a:pt x="7" y="430"/>
                    </a:cubicBezTo>
                    <a:cubicBezTo>
                      <a:pt x="7" y="432"/>
                      <a:pt x="8" y="433"/>
                      <a:pt x="8" y="435"/>
                    </a:cubicBezTo>
                    <a:cubicBezTo>
                      <a:pt x="9" y="436"/>
                      <a:pt x="8" y="438"/>
                      <a:pt x="9" y="439"/>
                    </a:cubicBezTo>
                    <a:cubicBezTo>
                      <a:pt x="10" y="441"/>
                      <a:pt x="11" y="442"/>
                      <a:pt x="12" y="444"/>
                    </a:cubicBezTo>
                    <a:cubicBezTo>
                      <a:pt x="12" y="445"/>
                      <a:pt x="12" y="447"/>
                      <a:pt x="14" y="448"/>
                    </a:cubicBezTo>
                    <a:cubicBezTo>
                      <a:pt x="15" y="448"/>
                      <a:pt x="16" y="448"/>
                      <a:pt x="17" y="449"/>
                    </a:cubicBezTo>
                    <a:cubicBezTo>
                      <a:pt x="17" y="450"/>
                      <a:pt x="18" y="451"/>
                      <a:pt x="19" y="452"/>
                    </a:cubicBezTo>
                    <a:cubicBezTo>
                      <a:pt x="20" y="454"/>
                      <a:pt x="22" y="455"/>
                      <a:pt x="23" y="456"/>
                    </a:cubicBezTo>
                    <a:cubicBezTo>
                      <a:pt x="25" y="457"/>
                      <a:pt x="26" y="457"/>
                      <a:pt x="28" y="457"/>
                    </a:cubicBezTo>
                    <a:cubicBezTo>
                      <a:pt x="29" y="457"/>
                      <a:pt x="31" y="457"/>
                      <a:pt x="31" y="459"/>
                    </a:cubicBezTo>
                    <a:cubicBezTo>
                      <a:pt x="29" y="459"/>
                      <a:pt x="26" y="461"/>
                      <a:pt x="24" y="462"/>
                    </a:cubicBezTo>
                    <a:cubicBezTo>
                      <a:pt x="23" y="463"/>
                      <a:pt x="22" y="464"/>
                      <a:pt x="22" y="466"/>
                    </a:cubicBezTo>
                    <a:cubicBezTo>
                      <a:pt x="21" y="467"/>
                      <a:pt x="20" y="468"/>
                      <a:pt x="19" y="470"/>
                    </a:cubicBezTo>
                    <a:cubicBezTo>
                      <a:pt x="17" y="473"/>
                      <a:pt x="16" y="477"/>
                      <a:pt x="15" y="482"/>
                    </a:cubicBezTo>
                    <a:cubicBezTo>
                      <a:pt x="15" y="482"/>
                      <a:pt x="15" y="482"/>
                      <a:pt x="15" y="482"/>
                    </a:cubicBezTo>
                    <a:cubicBezTo>
                      <a:pt x="21" y="485"/>
                      <a:pt x="26" y="487"/>
                      <a:pt x="30" y="493"/>
                    </a:cubicBezTo>
                    <a:cubicBezTo>
                      <a:pt x="31" y="494"/>
                      <a:pt x="33" y="495"/>
                      <a:pt x="33" y="496"/>
                    </a:cubicBezTo>
                    <a:cubicBezTo>
                      <a:pt x="34" y="498"/>
                      <a:pt x="34" y="498"/>
                      <a:pt x="34" y="500"/>
                    </a:cubicBezTo>
                    <a:cubicBezTo>
                      <a:pt x="36" y="503"/>
                      <a:pt x="36" y="505"/>
                      <a:pt x="40" y="506"/>
                    </a:cubicBezTo>
                    <a:cubicBezTo>
                      <a:pt x="44" y="506"/>
                      <a:pt x="46" y="503"/>
                      <a:pt x="50" y="502"/>
                    </a:cubicBezTo>
                    <a:cubicBezTo>
                      <a:pt x="53" y="501"/>
                      <a:pt x="56" y="501"/>
                      <a:pt x="60" y="501"/>
                    </a:cubicBezTo>
                    <a:cubicBezTo>
                      <a:pt x="67" y="501"/>
                      <a:pt x="73" y="501"/>
                      <a:pt x="79" y="505"/>
                    </a:cubicBezTo>
                    <a:cubicBezTo>
                      <a:pt x="81" y="507"/>
                      <a:pt x="81" y="510"/>
                      <a:pt x="84" y="513"/>
                    </a:cubicBezTo>
                    <a:cubicBezTo>
                      <a:pt x="84" y="513"/>
                      <a:pt x="85" y="513"/>
                      <a:pt x="86" y="514"/>
                    </a:cubicBezTo>
                    <a:cubicBezTo>
                      <a:pt x="87" y="514"/>
                      <a:pt x="86" y="515"/>
                      <a:pt x="87" y="515"/>
                    </a:cubicBezTo>
                    <a:cubicBezTo>
                      <a:pt x="90" y="516"/>
                      <a:pt x="96" y="515"/>
                      <a:pt x="99" y="515"/>
                    </a:cubicBezTo>
                    <a:cubicBezTo>
                      <a:pt x="102" y="515"/>
                      <a:pt x="105" y="515"/>
                      <a:pt x="108" y="516"/>
                    </a:cubicBezTo>
                    <a:cubicBezTo>
                      <a:pt x="107" y="516"/>
                      <a:pt x="111" y="518"/>
                      <a:pt x="110" y="518"/>
                    </a:cubicBezTo>
                    <a:cubicBezTo>
                      <a:pt x="111" y="519"/>
                      <a:pt x="112" y="520"/>
                      <a:pt x="113" y="520"/>
                    </a:cubicBezTo>
                    <a:cubicBezTo>
                      <a:pt x="115" y="521"/>
                      <a:pt x="117" y="520"/>
                      <a:pt x="119" y="523"/>
                    </a:cubicBezTo>
                    <a:cubicBezTo>
                      <a:pt x="120" y="525"/>
                      <a:pt x="120" y="528"/>
                      <a:pt x="119" y="530"/>
                    </a:cubicBezTo>
                    <a:cubicBezTo>
                      <a:pt x="118" y="535"/>
                      <a:pt x="115" y="539"/>
                      <a:pt x="111" y="542"/>
                    </a:cubicBezTo>
                    <a:cubicBezTo>
                      <a:pt x="106" y="546"/>
                      <a:pt x="104" y="549"/>
                      <a:pt x="102" y="555"/>
                    </a:cubicBezTo>
                    <a:cubicBezTo>
                      <a:pt x="101" y="557"/>
                      <a:pt x="101" y="558"/>
                      <a:pt x="98" y="560"/>
                    </a:cubicBezTo>
                    <a:cubicBezTo>
                      <a:pt x="97" y="561"/>
                      <a:pt x="96" y="561"/>
                      <a:pt x="95" y="563"/>
                    </a:cubicBezTo>
                    <a:cubicBezTo>
                      <a:pt x="92" y="567"/>
                      <a:pt x="93" y="572"/>
                      <a:pt x="92" y="577"/>
                    </a:cubicBezTo>
                    <a:cubicBezTo>
                      <a:pt x="90" y="583"/>
                      <a:pt x="92" y="588"/>
                      <a:pt x="87" y="593"/>
                    </a:cubicBezTo>
                    <a:cubicBezTo>
                      <a:pt x="83" y="598"/>
                      <a:pt x="84" y="603"/>
                      <a:pt x="84" y="609"/>
                    </a:cubicBezTo>
                    <a:cubicBezTo>
                      <a:pt x="84" y="617"/>
                      <a:pt x="84" y="624"/>
                      <a:pt x="84" y="632"/>
                    </a:cubicBezTo>
                    <a:cubicBezTo>
                      <a:pt x="84" y="634"/>
                      <a:pt x="85" y="636"/>
                      <a:pt x="86" y="637"/>
                    </a:cubicBezTo>
                    <a:cubicBezTo>
                      <a:pt x="86" y="637"/>
                      <a:pt x="86" y="637"/>
                      <a:pt x="86" y="637"/>
                    </a:cubicBezTo>
                    <a:cubicBezTo>
                      <a:pt x="87" y="638"/>
                      <a:pt x="87" y="638"/>
                      <a:pt x="87" y="639"/>
                    </a:cubicBezTo>
                    <a:cubicBezTo>
                      <a:pt x="88" y="639"/>
                      <a:pt x="88" y="639"/>
                      <a:pt x="88" y="639"/>
                    </a:cubicBezTo>
                    <a:cubicBezTo>
                      <a:pt x="89" y="640"/>
                      <a:pt x="90" y="640"/>
                      <a:pt x="91" y="640"/>
                    </a:cubicBezTo>
                    <a:cubicBezTo>
                      <a:pt x="94" y="641"/>
                      <a:pt x="96" y="641"/>
                      <a:pt x="98" y="640"/>
                    </a:cubicBezTo>
                    <a:cubicBezTo>
                      <a:pt x="99" y="639"/>
                      <a:pt x="101" y="639"/>
                      <a:pt x="102" y="639"/>
                    </a:cubicBezTo>
                    <a:cubicBezTo>
                      <a:pt x="103" y="639"/>
                      <a:pt x="104" y="640"/>
                      <a:pt x="104" y="640"/>
                    </a:cubicBezTo>
                    <a:cubicBezTo>
                      <a:pt x="107" y="640"/>
                      <a:pt x="108" y="638"/>
                      <a:pt x="110" y="637"/>
                    </a:cubicBezTo>
                    <a:cubicBezTo>
                      <a:pt x="111" y="637"/>
                      <a:pt x="112" y="637"/>
                      <a:pt x="112" y="635"/>
                    </a:cubicBezTo>
                    <a:cubicBezTo>
                      <a:pt x="112" y="634"/>
                      <a:pt x="112" y="634"/>
                      <a:pt x="112" y="633"/>
                    </a:cubicBezTo>
                    <a:cubicBezTo>
                      <a:pt x="113" y="632"/>
                      <a:pt x="114" y="630"/>
                      <a:pt x="115" y="630"/>
                    </a:cubicBezTo>
                    <a:cubicBezTo>
                      <a:pt x="117" y="631"/>
                      <a:pt x="116" y="633"/>
                      <a:pt x="117" y="634"/>
                    </a:cubicBezTo>
                    <a:cubicBezTo>
                      <a:pt x="118" y="635"/>
                      <a:pt x="118" y="636"/>
                      <a:pt x="120" y="636"/>
                    </a:cubicBezTo>
                    <a:cubicBezTo>
                      <a:pt x="123" y="636"/>
                      <a:pt x="123" y="633"/>
                      <a:pt x="123" y="630"/>
                    </a:cubicBezTo>
                    <a:cubicBezTo>
                      <a:pt x="123" y="628"/>
                      <a:pt x="125" y="625"/>
                      <a:pt x="127" y="623"/>
                    </a:cubicBezTo>
                    <a:cubicBezTo>
                      <a:pt x="128" y="622"/>
                      <a:pt x="131" y="622"/>
                      <a:pt x="133" y="622"/>
                    </a:cubicBezTo>
                    <a:cubicBezTo>
                      <a:pt x="134" y="622"/>
                      <a:pt x="135" y="622"/>
                      <a:pt x="135" y="622"/>
                    </a:cubicBezTo>
                    <a:cubicBezTo>
                      <a:pt x="136" y="622"/>
                      <a:pt x="137" y="623"/>
                      <a:pt x="137" y="623"/>
                    </a:cubicBezTo>
                    <a:cubicBezTo>
                      <a:pt x="138" y="623"/>
                      <a:pt x="139" y="623"/>
                      <a:pt x="139" y="623"/>
                    </a:cubicBezTo>
                    <a:cubicBezTo>
                      <a:pt x="140" y="623"/>
                      <a:pt x="141" y="623"/>
                      <a:pt x="141" y="624"/>
                    </a:cubicBezTo>
                    <a:cubicBezTo>
                      <a:pt x="143" y="625"/>
                      <a:pt x="146" y="626"/>
                      <a:pt x="147" y="627"/>
                    </a:cubicBezTo>
                    <a:cubicBezTo>
                      <a:pt x="148" y="627"/>
                      <a:pt x="148" y="628"/>
                      <a:pt x="149" y="629"/>
                    </a:cubicBezTo>
                    <a:cubicBezTo>
                      <a:pt x="151" y="630"/>
                      <a:pt x="153" y="631"/>
                      <a:pt x="155" y="631"/>
                    </a:cubicBezTo>
                    <a:cubicBezTo>
                      <a:pt x="157" y="631"/>
                      <a:pt x="158" y="630"/>
                      <a:pt x="160" y="630"/>
                    </a:cubicBezTo>
                    <a:cubicBezTo>
                      <a:pt x="161" y="629"/>
                      <a:pt x="162" y="629"/>
                      <a:pt x="163" y="629"/>
                    </a:cubicBezTo>
                    <a:cubicBezTo>
                      <a:pt x="165" y="629"/>
                      <a:pt x="164" y="629"/>
                      <a:pt x="165" y="630"/>
                    </a:cubicBezTo>
                    <a:cubicBezTo>
                      <a:pt x="166" y="631"/>
                      <a:pt x="167" y="632"/>
                      <a:pt x="168" y="632"/>
                    </a:cubicBezTo>
                    <a:cubicBezTo>
                      <a:pt x="169" y="633"/>
                      <a:pt x="171" y="634"/>
                      <a:pt x="172" y="634"/>
                    </a:cubicBezTo>
                    <a:cubicBezTo>
                      <a:pt x="172" y="635"/>
                      <a:pt x="172" y="635"/>
                      <a:pt x="173" y="635"/>
                    </a:cubicBezTo>
                    <a:cubicBezTo>
                      <a:pt x="174" y="637"/>
                      <a:pt x="175" y="637"/>
                      <a:pt x="176" y="637"/>
                    </a:cubicBezTo>
                    <a:cubicBezTo>
                      <a:pt x="178" y="638"/>
                      <a:pt x="180" y="638"/>
                      <a:pt x="182" y="639"/>
                    </a:cubicBezTo>
                    <a:cubicBezTo>
                      <a:pt x="183" y="639"/>
                      <a:pt x="183" y="639"/>
                      <a:pt x="184" y="639"/>
                    </a:cubicBezTo>
                    <a:cubicBezTo>
                      <a:pt x="185" y="639"/>
                      <a:pt x="187" y="639"/>
                      <a:pt x="188" y="639"/>
                    </a:cubicBezTo>
                    <a:cubicBezTo>
                      <a:pt x="189" y="639"/>
                      <a:pt x="189" y="640"/>
                      <a:pt x="189" y="640"/>
                    </a:cubicBezTo>
                    <a:cubicBezTo>
                      <a:pt x="189" y="640"/>
                      <a:pt x="190" y="640"/>
                      <a:pt x="191" y="640"/>
                    </a:cubicBezTo>
                    <a:cubicBezTo>
                      <a:pt x="194" y="640"/>
                      <a:pt x="197" y="640"/>
                      <a:pt x="200" y="640"/>
                    </a:cubicBezTo>
                    <a:cubicBezTo>
                      <a:pt x="201" y="640"/>
                      <a:pt x="203" y="639"/>
                      <a:pt x="204" y="640"/>
                    </a:cubicBezTo>
                    <a:cubicBezTo>
                      <a:pt x="206" y="642"/>
                      <a:pt x="206" y="644"/>
                      <a:pt x="207" y="646"/>
                    </a:cubicBezTo>
                    <a:cubicBezTo>
                      <a:pt x="208" y="647"/>
                      <a:pt x="208" y="647"/>
                      <a:pt x="210" y="648"/>
                    </a:cubicBezTo>
                    <a:cubicBezTo>
                      <a:pt x="211" y="648"/>
                      <a:pt x="213" y="647"/>
                      <a:pt x="214" y="648"/>
                    </a:cubicBezTo>
                    <a:cubicBezTo>
                      <a:pt x="214" y="649"/>
                      <a:pt x="214" y="649"/>
                      <a:pt x="215" y="649"/>
                    </a:cubicBezTo>
                    <a:cubicBezTo>
                      <a:pt x="215" y="650"/>
                      <a:pt x="215" y="651"/>
                      <a:pt x="215" y="652"/>
                    </a:cubicBezTo>
                    <a:cubicBezTo>
                      <a:pt x="215" y="653"/>
                      <a:pt x="215" y="652"/>
                      <a:pt x="216" y="653"/>
                    </a:cubicBezTo>
                    <a:cubicBezTo>
                      <a:pt x="217" y="655"/>
                      <a:pt x="220" y="656"/>
                      <a:pt x="222" y="657"/>
                    </a:cubicBezTo>
                    <a:cubicBezTo>
                      <a:pt x="225" y="659"/>
                      <a:pt x="226" y="661"/>
                      <a:pt x="230" y="659"/>
                    </a:cubicBezTo>
                    <a:cubicBezTo>
                      <a:pt x="231" y="659"/>
                      <a:pt x="232" y="657"/>
                      <a:pt x="232" y="656"/>
                    </a:cubicBezTo>
                    <a:cubicBezTo>
                      <a:pt x="233" y="656"/>
                      <a:pt x="233" y="655"/>
                      <a:pt x="233" y="655"/>
                    </a:cubicBezTo>
                    <a:cubicBezTo>
                      <a:pt x="234" y="651"/>
                      <a:pt x="230" y="649"/>
                      <a:pt x="229" y="646"/>
                    </a:cubicBezTo>
                    <a:cubicBezTo>
                      <a:pt x="229" y="643"/>
                      <a:pt x="229" y="642"/>
                      <a:pt x="232" y="641"/>
                    </a:cubicBezTo>
                    <a:cubicBezTo>
                      <a:pt x="236" y="640"/>
                      <a:pt x="240" y="642"/>
                      <a:pt x="244" y="641"/>
                    </a:cubicBezTo>
                    <a:cubicBezTo>
                      <a:pt x="247" y="641"/>
                      <a:pt x="250" y="640"/>
                      <a:pt x="252" y="643"/>
                    </a:cubicBezTo>
                    <a:cubicBezTo>
                      <a:pt x="253" y="644"/>
                      <a:pt x="253" y="646"/>
                      <a:pt x="255" y="646"/>
                    </a:cubicBezTo>
                    <a:cubicBezTo>
                      <a:pt x="255" y="646"/>
                      <a:pt x="255" y="646"/>
                      <a:pt x="255" y="646"/>
                    </a:cubicBezTo>
                    <a:cubicBezTo>
                      <a:pt x="257" y="646"/>
                      <a:pt x="263" y="648"/>
                      <a:pt x="263" y="650"/>
                    </a:cubicBezTo>
                    <a:cubicBezTo>
                      <a:pt x="264" y="651"/>
                      <a:pt x="268" y="651"/>
                      <a:pt x="267" y="651"/>
                    </a:cubicBezTo>
                    <a:cubicBezTo>
                      <a:pt x="270" y="651"/>
                      <a:pt x="273" y="651"/>
                      <a:pt x="275" y="651"/>
                    </a:cubicBezTo>
                    <a:cubicBezTo>
                      <a:pt x="277" y="650"/>
                      <a:pt x="278" y="649"/>
                      <a:pt x="279" y="649"/>
                    </a:cubicBezTo>
                    <a:cubicBezTo>
                      <a:pt x="281" y="648"/>
                      <a:pt x="282" y="650"/>
                      <a:pt x="284" y="650"/>
                    </a:cubicBezTo>
                    <a:cubicBezTo>
                      <a:pt x="285" y="649"/>
                      <a:pt x="286" y="647"/>
                      <a:pt x="287" y="646"/>
                    </a:cubicBezTo>
                    <a:cubicBezTo>
                      <a:pt x="288" y="645"/>
                      <a:pt x="288" y="644"/>
                      <a:pt x="289" y="643"/>
                    </a:cubicBezTo>
                    <a:cubicBezTo>
                      <a:pt x="291" y="641"/>
                      <a:pt x="295" y="642"/>
                      <a:pt x="298" y="642"/>
                    </a:cubicBezTo>
                    <a:cubicBezTo>
                      <a:pt x="299" y="642"/>
                      <a:pt x="301" y="643"/>
                      <a:pt x="302" y="641"/>
                    </a:cubicBezTo>
                    <a:cubicBezTo>
                      <a:pt x="302" y="640"/>
                      <a:pt x="301" y="639"/>
                      <a:pt x="302" y="637"/>
                    </a:cubicBezTo>
                    <a:cubicBezTo>
                      <a:pt x="302" y="636"/>
                      <a:pt x="303" y="636"/>
                      <a:pt x="305" y="636"/>
                    </a:cubicBezTo>
                    <a:cubicBezTo>
                      <a:pt x="308" y="636"/>
                      <a:pt x="312" y="636"/>
                      <a:pt x="316" y="637"/>
                    </a:cubicBezTo>
                    <a:cubicBezTo>
                      <a:pt x="318" y="637"/>
                      <a:pt x="320" y="637"/>
                      <a:pt x="323" y="637"/>
                    </a:cubicBezTo>
                    <a:cubicBezTo>
                      <a:pt x="324" y="637"/>
                      <a:pt x="324" y="637"/>
                      <a:pt x="325" y="637"/>
                    </a:cubicBezTo>
                    <a:cubicBezTo>
                      <a:pt x="325" y="636"/>
                      <a:pt x="326" y="636"/>
                      <a:pt x="327" y="636"/>
                    </a:cubicBezTo>
                    <a:cubicBezTo>
                      <a:pt x="328" y="636"/>
                      <a:pt x="328" y="636"/>
                      <a:pt x="329" y="636"/>
                    </a:cubicBezTo>
                    <a:cubicBezTo>
                      <a:pt x="332" y="634"/>
                      <a:pt x="326" y="632"/>
                      <a:pt x="327" y="629"/>
                    </a:cubicBezTo>
                    <a:cubicBezTo>
                      <a:pt x="327" y="628"/>
                      <a:pt x="329" y="628"/>
                      <a:pt x="330" y="628"/>
                    </a:cubicBezTo>
                    <a:cubicBezTo>
                      <a:pt x="332" y="628"/>
                      <a:pt x="334" y="628"/>
                      <a:pt x="336" y="628"/>
                    </a:cubicBezTo>
                    <a:cubicBezTo>
                      <a:pt x="337" y="628"/>
                      <a:pt x="340" y="629"/>
                      <a:pt x="341" y="629"/>
                    </a:cubicBezTo>
                    <a:cubicBezTo>
                      <a:pt x="342" y="630"/>
                      <a:pt x="342" y="631"/>
                      <a:pt x="343" y="632"/>
                    </a:cubicBezTo>
                    <a:cubicBezTo>
                      <a:pt x="344" y="633"/>
                      <a:pt x="347" y="632"/>
                      <a:pt x="348" y="632"/>
                    </a:cubicBezTo>
                    <a:cubicBezTo>
                      <a:pt x="351" y="632"/>
                      <a:pt x="353" y="630"/>
                      <a:pt x="355" y="630"/>
                    </a:cubicBezTo>
                    <a:cubicBezTo>
                      <a:pt x="357" y="631"/>
                      <a:pt x="356" y="631"/>
                      <a:pt x="357" y="631"/>
                    </a:cubicBezTo>
                    <a:cubicBezTo>
                      <a:pt x="358" y="632"/>
                      <a:pt x="359" y="634"/>
                      <a:pt x="360" y="635"/>
                    </a:cubicBezTo>
                    <a:cubicBezTo>
                      <a:pt x="361" y="636"/>
                      <a:pt x="362" y="638"/>
                      <a:pt x="362" y="639"/>
                    </a:cubicBezTo>
                    <a:cubicBezTo>
                      <a:pt x="362" y="639"/>
                      <a:pt x="362" y="640"/>
                      <a:pt x="362" y="640"/>
                    </a:cubicBezTo>
                    <a:cubicBezTo>
                      <a:pt x="363" y="642"/>
                      <a:pt x="365" y="641"/>
                      <a:pt x="366" y="641"/>
                    </a:cubicBezTo>
                    <a:cubicBezTo>
                      <a:pt x="367" y="641"/>
                      <a:pt x="367" y="642"/>
                      <a:pt x="368" y="642"/>
                    </a:cubicBezTo>
                    <a:cubicBezTo>
                      <a:pt x="369" y="642"/>
                      <a:pt x="371" y="642"/>
                      <a:pt x="372" y="642"/>
                    </a:cubicBezTo>
                    <a:cubicBezTo>
                      <a:pt x="373" y="641"/>
                      <a:pt x="373" y="641"/>
                      <a:pt x="374" y="640"/>
                    </a:cubicBezTo>
                    <a:cubicBezTo>
                      <a:pt x="375" y="639"/>
                      <a:pt x="375" y="638"/>
                      <a:pt x="375" y="637"/>
                    </a:cubicBezTo>
                    <a:cubicBezTo>
                      <a:pt x="375" y="636"/>
                      <a:pt x="375" y="635"/>
                      <a:pt x="375" y="634"/>
                    </a:cubicBezTo>
                    <a:cubicBezTo>
                      <a:pt x="376" y="633"/>
                      <a:pt x="378" y="630"/>
                      <a:pt x="375" y="629"/>
                    </a:cubicBezTo>
                    <a:cubicBezTo>
                      <a:pt x="373" y="628"/>
                      <a:pt x="371" y="628"/>
                      <a:pt x="369" y="626"/>
                    </a:cubicBezTo>
                    <a:cubicBezTo>
                      <a:pt x="368" y="625"/>
                      <a:pt x="368" y="625"/>
                      <a:pt x="368" y="624"/>
                    </a:cubicBezTo>
                    <a:cubicBezTo>
                      <a:pt x="368" y="623"/>
                      <a:pt x="367" y="623"/>
                      <a:pt x="367" y="623"/>
                    </a:cubicBezTo>
                    <a:cubicBezTo>
                      <a:pt x="367" y="622"/>
                      <a:pt x="368" y="621"/>
                      <a:pt x="368" y="620"/>
                    </a:cubicBezTo>
                    <a:cubicBezTo>
                      <a:pt x="368" y="619"/>
                      <a:pt x="369" y="619"/>
                      <a:pt x="370" y="618"/>
                    </a:cubicBezTo>
                    <a:cubicBezTo>
                      <a:pt x="371" y="618"/>
                      <a:pt x="371" y="617"/>
                      <a:pt x="372" y="616"/>
                    </a:cubicBezTo>
                    <a:cubicBezTo>
                      <a:pt x="372" y="614"/>
                      <a:pt x="373" y="612"/>
                      <a:pt x="372" y="611"/>
                    </a:cubicBezTo>
                    <a:cubicBezTo>
                      <a:pt x="371" y="610"/>
                      <a:pt x="370" y="609"/>
                      <a:pt x="369" y="608"/>
                    </a:cubicBezTo>
                    <a:cubicBezTo>
                      <a:pt x="369" y="608"/>
                      <a:pt x="368" y="607"/>
                      <a:pt x="368" y="607"/>
                    </a:cubicBezTo>
                    <a:cubicBezTo>
                      <a:pt x="367" y="606"/>
                      <a:pt x="366" y="606"/>
                      <a:pt x="366" y="606"/>
                    </a:cubicBezTo>
                    <a:cubicBezTo>
                      <a:pt x="366" y="606"/>
                      <a:pt x="366" y="605"/>
                      <a:pt x="365" y="604"/>
                    </a:cubicBezTo>
                    <a:cubicBezTo>
                      <a:pt x="365" y="604"/>
                      <a:pt x="365" y="604"/>
                      <a:pt x="364" y="603"/>
                    </a:cubicBezTo>
                    <a:cubicBezTo>
                      <a:pt x="364" y="603"/>
                      <a:pt x="363" y="602"/>
                      <a:pt x="363" y="601"/>
                    </a:cubicBezTo>
                    <a:cubicBezTo>
                      <a:pt x="363" y="598"/>
                      <a:pt x="363" y="595"/>
                      <a:pt x="363" y="593"/>
                    </a:cubicBezTo>
                    <a:cubicBezTo>
                      <a:pt x="362" y="592"/>
                      <a:pt x="362" y="592"/>
                      <a:pt x="362" y="592"/>
                    </a:cubicBezTo>
                    <a:cubicBezTo>
                      <a:pt x="362" y="591"/>
                      <a:pt x="362" y="590"/>
                      <a:pt x="362" y="589"/>
                    </a:cubicBezTo>
                    <a:cubicBezTo>
                      <a:pt x="362" y="588"/>
                      <a:pt x="361" y="587"/>
                      <a:pt x="362" y="586"/>
                    </a:cubicBezTo>
                    <a:cubicBezTo>
                      <a:pt x="363" y="586"/>
                      <a:pt x="364" y="586"/>
                      <a:pt x="365" y="585"/>
                    </a:cubicBezTo>
                    <a:cubicBezTo>
                      <a:pt x="365" y="585"/>
                      <a:pt x="366" y="584"/>
                      <a:pt x="367" y="583"/>
                    </a:cubicBezTo>
                    <a:cubicBezTo>
                      <a:pt x="368" y="582"/>
                      <a:pt x="370" y="581"/>
                      <a:pt x="372" y="581"/>
                    </a:cubicBezTo>
                    <a:cubicBezTo>
                      <a:pt x="374" y="581"/>
                      <a:pt x="376" y="580"/>
                      <a:pt x="378" y="579"/>
                    </a:cubicBezTo>
                    <a:cubicBezTo>
                      <a:pt x="380" y="578"/>
                      <a:pt x="382" y="577"/>
                      <a:pt x="384" y="577"/>
                    </a:cubicBezTo>
                    <a:cubicBezTo>
                      <a:pt x="388" y="577"/>
                      <a:pt x="392" y="577"/>
                      <a:pt x="395" y="575"/>
                    </a:cubicBezTo>
                    <a:cubicBezTo>
                      <a:pt x="396" y="574"/>
                      <a:pt x="397" y="574"/>
                      <a:pt x="397" y="573"/>
                    </a:cubicBezTo>
                    <a:cubicBezTo>
                      <a:pt x="398" y="572"/>
                      <a:pt x="398" y="572"/>
                      <a:pt x="398" y="571"/>
                    </a:cubicBezTo>
                    <a:cubicBezTo>
                      <a:pt x="398" y="571"/>
                      <a:pt x="398" y="570"/>
                      <a:pt x="398" y="570"/>
                    </a:cubicBezTo>
                    <a:cubicBezTo>
                      <a:pt x="398" y="569"/>
                      <a:pt x="398" y="568"/>
                      <a:pt x="399" y="568"/>
                    </a:cubicBezTo>
                    <a:cubicBezTo>
                      <a:pt x="399" y="567"/>
                      <a:pt x="399" y="566"/>
                      <a:pt x="399" y="565"/>
                    </a:cubicBezTo>
                    <a:cubicBezTo>
                      <a:pt x="399" y="566"/>
                      <a:pt x="399" y="566"/>
                      <a:pt x="399" y="566"/>
                    </a:cubicBezTo>
                    <a:cubicBezTo>
                      <a:pt x="399" y="565"/>
                      <a:pt x="399" y="564"/>
                      <a:pt x="400" y="564"/>
                    </a:cubicBezTo>
                    <a:cubicBezTo>
                      <a:pt x="400" y="563"/>
                      <a:pt x="399" y="562"/>
                      <a:pt x="400" y="561"/>
                    </a:cubicBezTo>
                    <a:cubicBezTo>
                      <a:pt x="400" y="560"/>
                      <a:pt x="400" y="559"/>
                      <a:pt x="401" y="559"/>
                    </a:cubicBezTo>
                    <a:cubicBezTo>
                      <a:pt x="401" y="558"/>
                      <a:pt x="402" y="556"/>
                      <a:pt x="402" y="556"/>
                    </a:cubicBezTo>
                    <a:cubicBezTo>
                      <a:pt x="403" y="556"/>
                      <a:pt x="404" y="556"/>
                      <a:pt x="405" y="556"/>
                    </a:cubicBezTo>
                    <a:cubicBezTo>
                      <a:pt x="406" y="556"/>
                      <a:pt x="406" y="557"/>
                      <a:pt x="407" y="558"/>
                    </a:cubicBezTo>
                    <a:cubicBezTo>
                      <a:pt x="408" y="559"/>
                      <a:pt x="414" y="560"/>
                      <a:pt x="415" y="559"/>
                    </a:cubicBezTo>
                    <a:cubicBezTo>
                      <a:pt x="416" y="558"/>
                      <a:pt x="417" y="556"/>
                      <a:pt x="417" y="555"/>
                    </a:cubicBezTo>
                    <a:cubicBezTo>
                      <a:pt x="418" y="554"/>
                      <a:pt x="418" y="553"/>
                      <a:pt x="418" y="552"/>
                    </a:cubicBezTo>
                    <a:cubicBezTo>
                      <a:pt x="418" y="551"/>
                      <a:pt x="419" y="550"/>
                      <a:pt x="419" y="548"/>
                    </a:cubicBezTo>
                    <a:cubicBezTo>
                      <a:pt x="419" y="547"/>
                      <a:pt x="419" y="545"/>
                      <a:pt x="419" y="544"/>
                    </a:cubicBezTo>
                    <a:cubicBezTo>
                      <a:pt x="419" y="543"/>
                      <a:pt x="420" y="543"/>
                      <a:pt x="420" y="542"/>
                    </a:cubicBezTo>
                    <a:cubicBezTo>
                      <a:pt x="420" y="541"/>
                      <a:pt x="420" y="540"/>
                      <a:pt x="420" y="540"/>
                    </a:cubicBezTo>
                    <a:cubicBezTo>
                      <a:pt x="420" y="539"/>
                      <a:pt x="421" y="539"/>
                      <a:pt x="421" y="539"/>
                    </a:cubicBezTo>
                    <a:cubicBezTo>
                      <a:pt x="421" y="539"/>
                      <a:pt x="420" y="538"/>
                      <a:pt x="420" y="537"/>
                    </a:cubicBezTo>
                    <a:cubicBezTo>
                      <a:pt x="420" y="536"/>
                      <a:pt x="420" y="534"/>
                      <a:pt x="419" y="533"/>
                    </a:cubicBezTo>
                    <a:cubicBezTo>
                      <a:pt x="418" y="532"/>
                      <a:pt x="417" y="532"/>
                      <a:pt x="417" y="531"/>
                    </a:cubicBezTo>
                    <a:cubicBezTo>
                      <a:pt x="416" y="531"/>
                      <a:pt x="415" y="530"/>
                      <a:pt x="414" y="529"/>
                    </a:cubicBezTo>
                    <a:cubicBezTo>
                      <a:pt x="413" y="528"/>
                      <a:pt x="412" y="527"/>
                      <a:pt x="411" y="527"/>
                    </a:cubicBezTo>
                    <a:cubicBezTo>
                      <a:pt x="410" y="526"/>
                      <a:pt x="410" y="525"/>
                      <a:pt x="410" y="524"/>
                    </a:cubicBezTo>
                    <a:cubicBezTo>
                      <a:pt x="408" y="519"/>
                      <a:pt x="402" y="526"/>
                      <a:pt x="400" y="520"/>
                    </a:cubicBezTo>
                    <a:cubicBezTo>
                      <a:pt x="400" y="519"/>
                      <a:pt x="399" y="518"/>
                      <a:pt x="398" y="517"/>
                    </a:cubicBezTo>
                    <a:cubicBezTo>
                      <a:pt x="398" y="516"/>
                      <a:pt x="397" y="515"/>
                      <a:pt x="397" y="514"/>
                    </a:cubicBezTo>
                    <a:cubicBezTo>
                      <a:pt x="396" y="514"/>
                      <a:pt x="395" y="513"/>
                      <a:pt x="394" y="513"/>
                    </a:cubicBezTo>
                    <a:cubicBezTo>
                      <a:pt x="394" y="512"/>
                      <a:pt x="394" y="512"/>
                      <a:pt x="394" y="512"/>
                    </a:cubicBezTo>
                    <a:cubicBezTo>
                      <a:pt x="393" y="511"/>
                      <a:pt x="391" y="510"/>
                      <a:pt x="390" y="510"/>
                    </a:cubicBezTo>
                    <a:cubicBezTo>
                      <a:pt x="389" y="509"/>
                      <a:pt x="386" y="509"/>
                      <a:pt x="385" y="508"/>
                    </a:cubicBezTo>
                    <a:cubicBezTo>
                      <a:pt x="385" y="507"/>
                      <a:pt x="385" y="507"/>
                      <a:pt x="385" y="507"/>
                    </a:cubicBezTo>
                    <a:cubicBezTo>
                      <a:pt x="385" y="504"/>
                      <a:pt x="384" y="502"/>
                      <a:pt x="382" y="499"/>
                    </a:cubicBezTo>
                    <a:cubicBezTo>
                      <a:pt x="381" y="498"/>
                      <a:pt x="380" y="496"/>
                      <a:pt x="379" y="495"/>
                    </a:cubicBezTo>
                    <a:cubicBezTo>
                      <a:pt x="378" y="494"/>
                      <a:pt x="376" y="493"/>
                      <a:pt x="375" y="491"/>
                    </a:cubicBezTo>
                    <a:cubicBezTo>
                      <a:pt x="374" y="491"/>
                      <a:pt x="374" y="491"/>
                      <a:pt x="373" y="490"/>
                    </a:cubicBezTo>
                    <a:cubicBezTo>
                      <a:pt x="373" y="490"/>
                      <a:pt x="371" y="491"/>
                      <a:pt x="371" y="491"/>
                    </a:cubicBezTo>
                    <a:cubicBezTo>
                      <a:pt x="369" y="491"/>
                      <a:pt x="369" y="490"/>
                      <a:pt x="368" y="490"/>
                    </a:cubicBezTo>
                    <a:cubicBezTo>
                      <a:pt x="367" y="489"/>
                      <a:pt x="365" y="489"/>
                      <a:pt x="365" y="488"/>
                    </a:cubicBezTo>
                    <a:cubicBezTo>
                      <a:pt x="364" y="488"/>
                      <a:pt x="364" y="488"/>
                      <a:pt x="364" y="487"/>
                    </a:cubicBezTo>
                    <a:cubicBezTo>
                      <a:pt x="363" y="485"/>
                      <a:pt x="362" y="484"/>
                      <a:pt x="361" y="483"/>
                    </a:cubicBezTo>
                    <a:cubicBezTo>
                      <a:pt x="360" y="482"/>
                      <a:pt x="360" y="482"/>
                      <a:pt x="360" y="480"/>
                    </a:cubicBezTo>
                    <a:cubicBezTo>
                      <a:pt x="359" y="479"/>
                      <a:pt x="359" y="476"/>
                      <a:pt x="359" y="475"/>
                    </a:cubicBezTo>
                    <a:cubicBezTo>
                      <a:pt x="358" y="474"/>
                      <a:pt x="358" y="474"/>
                      <a:pt x="358" y="473"/>
                    </a:cubicBezTo>
                    <a:cubicBezTo>
                      <a:pt x="357" y="471"/>
                      <a:pt x="356" y="469"/>
                      <a:pt x="355" y="467"/>
                    </a:cubicBezTo>
                    <a:cubicBezTo>
                      <a:pt x="355" y="466"/>
                      <a:pt x="354" y="464"/>
                      <a:pt x="353" y="463"/>
                    </a:cubicBezTo>
                    <a:cubicBezTo>
                      <a:pt x="352" y="462"/>
                      <a:pt x="351" y="461"/>
                      <a:pt x="349" y="460"/>
                    </a:cubicBezTo>
                    <a:cubicBezTo>
                      <a:pt x="348" y="459"/>
                      <a:pt x="348" y="457"/>
                      <a:pt x="349" y="456"/>
                    </a:cubicBezTo>
                    <a:cubicBezTo>
                      <a:pt x="349" y="455"/>
                      <a:pt x="350" y="454"/>
                      <a:pt x="351" y="453"/>
                    </a:cubicBezTo>
                    <a:cubicBezTo>
                      <a:pt x="351" y="452"/>
                      <a:pt x="352" y="451"/>
                      <a:pt x="352" y="451"/>
                    </a:cubicBezTo>
                    <a:cubicBezTo>
                      <a:pt x="353" y="450"/>
                      <a:pt x="354" y="449"/>
                      <a:pt x="354" y="448"/>
                    </a:cubicBezTo>
                    <a:cubicBezTo>
                      <a:pt x="354" y="447"/>
                      <a:pt x="354" y="446"/>
                      <a:pt x="354" y="445"/>
                    </a:cubicBezTo>
                    <a:cubicBezTo>
                      <a:pt x="354" y="444"/>
                      <a:pt x="355" y="443"/>
                      <a:pt x="355" y="442"/>
                    </a:cubicBezTo>
                    <a:cubicBezTo>
                      <a:pt x="354" y="440"/>
                      <a:pt x="352" y="440"/>
                      <a:pt x="351" y="439"/>
                    </a:cubicBezTo>
                    <a:cubicBezTo>
                      <a:pt x="349" y="439"/>
                      <a:pt x="349" y="438"/>
                      <a:pt x="348" y="437"/>
                    </a:cubicBezTo>
                    <a:cubicBezTo>
                      <a:pt x="347" y="436"/>
                      <a:pt x="345" y="436"/>
                      <a:pt x="345" y="435"/>
                    </a:cubicBezTo>
                    <a:cubicBezTo>
                      <a:pt x="343" y="434"/>
                      <a:pt x="344" y="432"/>
                      <a:pt x="342" y="431"/>
                    </a:cubicBezTo>
                    <a:cubicBezTo>
                      <a:pt x="340" y="430"/>
                      <a:pt x="339" y="431"/>
                      <a:pt x="339" y="429"/>
                    </a:cubicBezTo>
                    <a:cubicBezTo>
                      <a:pt x="338" y="427"/>
                      <a:pt x="338" y="426"/>
                      <a:pt x="338" y="424"/>
                    </a:cubicBezTo>
                    <a:cubicBezTo>
                      <a:pt x="338" y="423"/>
                      <a:pt x="338" y="421"/>
                      <a:pt x="337" y="419"/>
                    </a:cubicBezTo>
                    <a:cubicBezTo>
                      <a:pt x="337" y="416"/>
                      <a:pt x="331" y="416"/>
                      <a:pt x="332" y="412"/>
                    </a:cubicBezTo>
                    <a:cubicBezTo>
                      <a:pt x="333" y="412"/>
                      <a:pt x="333" y="412"/>
                      <a:pt x="333" y="411"/>
                    </a:cubicBezTo>
                    <a:cubicBezTo>
                      <a:pt x="333" y="411"/>
                      <a:pt x="333" y="411"/>
                      <a:pt x="333" y="410"/>
                    </a:cubicBezTo>
                    <a:cubicBezTo>
                      <a:pt x="334" y="409"/>
                      <a:pt x="334" y="409"/>
                      <a:pt x="336" y="408"/>
                    </a:cubicBezTo>
                    <a:cubicBezTo>
                      <a:pt x="338" y="407"/>
                      <a:pt x="339" y="411"/>
                      <a:pt x="339" y="413"/>
                    </a:cubicBezTo>
                    <a:cubicBezTo>
                      <a:pt x="339" y="414"/>
                      <a:pt x="339" y="415"/>
                      <a:pt x="340" y="416"/>
                    </a:cubicBezTo>
                    <a:cubicBezTo>
                      <a:pt x="340" y="417"/>
                      <a:pt x="341" y="417"/>
                      <a:pt x="342" y="418"/>
                    </a:cubicBezTo>
                    <a:cubicBezTo>
                      <a:pt x="342" y="418"/>
                      <a:pt x="342" y="419"/>
                      <a:pt x="342" y="419"/>
                    </a:cubicBezTo>
                    <a:cubicBezTo>
                      <a:pt x="342" y="420"/>
                      <a:pt x="342" y="419"/>
                      <a:pt x="343" y="420"/>
                    </a:cubicBezTo>
                    <a:cubicBezTo>
                      <a:pt x="343" y="421"/>
                      <a:pt x="343" y="421"/>
                      <a:pt x="343" y="422"/>
                    </a:cubicBezTo>
                    <a:cubicBezTo>
                      <a:pt x="344" y="421"/>
                      <a:pt x="344" y="420"/>
                      <a:pt x="344" y="419"/>
                    </a:cubicBezTo>
                    <a:cubicBezTo>
                      <a:pt x="345" y="417"/>
                      <a:pt x="346" y="417"/>
                      <a:pt x="346" y="416"/>
                    </a:cubicBezTo>
                    <a:cubicBezTo>
                      <a:pt x="346" y="415"/>
                      <a:pt x="346" y="414"/>
                      <a:pt x="346" y="413"/>
                    </a:cubicBezTo>
                    <a:cubicBezTo>
                      <a:pt x="346" y="413"/>
                      <a:pt x="347" y="412"/>
                      <a:pt x="348" y="411"/>
                    </a:cubicBezTo>
                    <a:cubicBezTo>
                      <a:pt x="349" y="409"/>
                      <a:pt x="351" y="408"/>
                      <a:pt x="353" y="407"/>
                    </a:cubicBezTo>
                    <a:cubicBezTo>
                      <a:pt x="354" y="406"/>
                      <a:pt x="355" y="404"/>
                      <a:pt x="357" y="404"/>
                    </a:cubicBezTo>
                    <a:cubicBezTo>
                      <a:pt x="357" y="403"/>
                      <a:pt x="358" y="403"/>
                      <a:pt x="359" y="402"/>
                    </a:cubicBezTo>
                    <a:cubicBezTo>
                      <a:pt x="360" y="402"/>
                      <a:pt x="360" y="400"/>
                      <a:pt x="361" y="401"/>
                    </a:cubicBezTo>
                    <a:cubicBezTo>
                      <a:pt x="362" y="401"/>
                      <a:pt x="362" y="402"/>
                      <a:pt x="363" y="402"/>
                    </a:cubicBezTo>
                    <a:cubicBezTo>
                      <a:pt x="364" y="403"/>
                      <a:pt x="364" y="402"/>
                      <a:pt x="365" y="402"/>
                    </a:cubicBezTo>
                    <a:cubicBezTo>
                      <a:pt x="367" y="402"/>
                      <a:pt x="368" y="402"/>
                      <a:pt x="369" y="400"/>
                    </a:cubicBezTo>
                    <a:cubicBezTo>
                      <a:pt x="370" y="400"/>
                      <a:pt x="370" y="398"/>
                      <a:pt x="370" y="398"/>
                    </a:cubicBezTo>
                    <a:cubicBezTo>
                      <a:pt x="371" y="398"/>
                      <a:pt x="373" y="398"/>
                      <a:pt x="373" y="398"/>
                    </a:cubicBezTo>
                    <a:cubicBezTo>
                      <a:pt x="374" y="398"/>
                      <a:pt x="374" y="399"/>
                      <a:pt x="375" y="399"/>
                    </a:cubicBezTo>
                    <a:cubicBezTo>
                      <a:pt x="376" y="399"/>
                      <a:pt x="377" y="398"/>
                      <a:pt x="379" y="399"/>
                    </a:cubicBezTo>
                    <a:cubicBezTo>
                      <a:pt x="379" y="399"/>
                      <a:pt x="380" y="400"/>
                      <a:pt x="380" y="400"/>
                    </a:cubicBezTo>
                    <a:cubicBezTo>
                      <a:pt x="381" y="401"/>
                      <a:pt x="381" y="400"/>
                      <a:pt x="382" y="399"/>
                    </a:cubicBezTo>
                    <a:cubicBezTo>
                      <a:pt x="382" y="398"/>
                      <a:pt x="383" y="398"/>
                      <a:pt x="384" y="397"/>
                    </a:cubicBezTo>
                    <a:cubicBezTo>
                      <a:pt x="385" y="396"/>
                      <a:pt x="386" y="395"/>
                      <a:pt x="386" y="394"/>
                    </a:cubicBezTo>
                    <a:cubicBezTo>
                      <a:pt x="388" y="392"/>
                      <a:pt x="388" y="392"/>
                      <a:pt x="391" y="392"/>
                    </a:cubicBezTo>
                    <a:cubicBezTo>
                      <a:pt x="391" y="392"/>
                      <a:pt x="392" y="392"/>
                      <a:pt x="392" y="392"/>
                    </a:cubicBezTo>
                    <a:cubicBezTo>
                      <a:pt x="392" y="392"/>
                      <a:pt x="392" y="391"/>
                      <a:pt x="392" y="391"/>
                    </a:cubicBezTo>
                    <a:cubicBezTo>
                      <a:pt x="393" y="391"/>
                      <a:pt x="394" y="390"/>
                      <a:pt x="394" y="390"/>
                    </a:cubicBezTo>
                    <a:cubicBezTo>
                      <a:pt x="394" y="389"/>
                      <a:pt x="395" y="389"/>
                      <a:pt x="395" y="388"/>
                    </a:cubicBezTo>
                    <a:cubicBezTo>
                      <a:pt x="395" y="387"/>
                      <a:pt x="395" y="386"/>
                      <a:pt x="396" y="386"/>
                    </a:cubicBezTo>
                    <a:cubicBezTo>
                      <a:pt x="397" y="384"/>
                      <a:pt x="399" y="387"/>
                      <a:pt x="401" y="387"/>
                    </a:cubicBezTo>
                    <a:cubicBezTo>
                      <a:pt x="401" y="386"/>
                      <a:pt x="401" y="385"/>
                      <a:pt x="402" y="384"/>
                    </a:cubicBezTo>
                    <a:cubicBezTo>
                      <a:pt x="402" y="383"/>
                      <a:pt x="402" y="383"/>
                      <a:pt x="402" y="383"/>
                    </a:cubicBezTo>
                    <a:cubicBezTo>
                      <a:pt x="402" y="382"/>
                      <a:pt x="402" y="381"/>
                      <a:pt x="402" y="381"/>
                    </a:cubicBezTo>
                    <a:cubicBezTo>
                      <a:pt x="403" y="379"/>
                      <a:pt x="405" y="380"/>
                      <a:pt x="405" y="381"/>
                    </a:cubicBezTo>
                    <a:cubicBezTo>
                      <a:pt x="406" y="381"/>
                      <a:pt x="406" y="383"/>
                      <a:pt x="406" y="384"/>
                    </a:cubicBezTo>
                    <a:cubicBezTo>
                      <a:pt x="407" y="384"/>
                      <a:pt x="409" y="384"/>
                      <a:pt x="409" y="384"/>
                    </a:cubicBezTo>
                    <a:cubicBezTo>
                      <a:pt x="410" y="384"/>
                      <a:pt x="411" y="384"/>
                      <a:pt x="412" y="383"/>
                    </a:cubicBezTo>
                    <a:cubicBezTo>
                      <a:pt x="413" y="383"/>
                      <a:pt x="412" y="381"/>
                      <a:pt x="412" y="380"/>
                    </a:cubicBezTo>
                    <a:cubicBezTo>
                      <a:pt x="412" y="379"/>
                      <a:pt x="412" y="377"/>
                      <a:pt x="413" y="376"/>
                    </a:cubicBezTo>
                    <a:cubicBezTo>
                      <a:pt x="413" y="375"/>
                      <a:pt x="414" y="375"/>
                      <a:pt x="414" y="375"/>
                    </a:cubicBezTo>
                    <a:cubicBezTo>
                      <a:pt x="415" y="374"/>
                      <a:pt x="416" y="373"/>
                      <a:pt x="417" y="373"/>
                    </a:cubicBezTo>
                    <a:cubicBezTo>
                      <a:pt x="418" y="373"/>
                      <a:pt x="418" y="373"/>
                      <a:pt x="419" y="373"/>
                    </a:cubicBezTo>
                    <a:cubicBezTo>
                      <a:pt x="421" y="373"/>
                      <a:pt x="422" y="372"/>
                      <a:pt x="424" y="372"/>
                    </a:cubicBezTo>
                    <a:cubicBezTo>
                      <a:pt x="425" y="372"/>
                      <a:pt x="427" y="371"/>
                      <a:pt x="428" y="371"/>
                    </a:cubicBezTo>
                    <a:cubicBezTo>
                      <a:pt x="429" y="371"/>
                      <a:pt x="430" y="371"/>
                      <a:pt x="431" y="371"/>
                    </a:cubicBezTo>
                    <a:cubicBezTo>
                      <a:pt x="432" y="371"/>
                      <a:pt x="432" y="370"/>
                      <a:pt x="433" y="369"/>
                    </a:cubicBezTo>
                    <a:cubicBezTo>
                      <a:pt x="434" y="369"/>
                      <a:pt x="435" y="368"/>
                      <a:pt x="436" y="367"/>
                    </a:cubicBezTo>
                    <a:cubicBezTo>
                      <a:pt x="436" y="367"/>
                      <a:pt x="436" y="366"/>
                      <a:pt x="436" y="366"/>
                    </a:cubicBezTo>
                    <a:cubicBezTo>
                      <a:pt x="436" y="365"/>
                      <a:pt x="439" y="364"/>
                      <a:pt x="440" y="364"/>
                    </a:cubicBezTo>
                    <a:cubicBezTo>
                      <a:pt x="441" y="364"/>
                      <a:pt x="442" y="365"/>
                      <a:pt x="443" y="364"/>
                    </a:cubicBezTo>
                    <a:cubicBezTo>
                      <a:pt x="444" y="364"/>
                      <a:pt x="445" y="362"/>
                      <a:pt x="446" y="363"/>
                    </a:cubicBezTo>
                    <a:cubicBezTo>
                      <a:pt x="447" y="364"/>
                      <a:pt x="447" y="363"/>
                      <a:pt x="448" y="363"/>
                    </a:cubicBezTo>
                    <a:cubicBezTo>
                      <a:pt x="449" y="362"/>
                      <a:pt x="451" y="361"/>
                      <a:pt x="452" y="360"/>
                    </a:cubicBezTo>
                    <a:cubicBezTo>
                      <a:pt x="454" y="360"/>
                      <a:pt x="456" y="359"/>
                      <a:pt x="458" y="358"/>
                    </a:cubicBezTo>
                    <a:cubicBezTo>
                      <a:pt x="459" y="357"/>
                      <a:pt x="460" y="357"/>
                      <a:pt x="460" y="356"/>
                    </a:cubicBezTo>
                    <a:cubicBezTo>
                      <a:pt x="461" y="355"/>
                      <a:pt x="457" y="353"/>
                      <a:pt x="457" y="352"/>
                    </a:cubicBezTo>
                    <a:cubicBezTo>
                      <a:pt x="455" y="351"/>
                      <a:pt x="453" y="350"/>
                      <a:pt x="452" y="349"/>
                    </a:cubicBezTo>
                    <a:cubicBezTo>
                      <a:pt x="454" y="349"/>
                      <a:pt x="457" y="348"/>
                      <a:pt x="459" y="347"/>
                    </a:cubicBezTo>
                    <a:cubicBezTo>
                      <a:pt x="460" y="346"/>
                      <a:pt x="461" y="344"/>
                      <a:pt x="462" y="344"/>
                    </a:cubicBezTo>
                    <a:cubicBezTo>
                      <a:pt x="464" y="343"/>
                      <a:pt x="464" y="343"/>
                      <a:pt x="465" y="344"/>
                    </a:cubicBezTo>
                    <a:cubicBezTo>
                      <a:pt x="466" y="345"/>
                      <a:pt x="467" y="346"/>
                      <a:pt x="468" y="347"/>
                    </a:cubicBezTo>
                    <a:cubicBezTo>
                      <a:pt x="470" y="347"/>
                      <a:pt x="473" y="351"/>
                      <a:pt x="473" y="353"/>
                    </a:cubicBezTo>
                    <a:cubicBezTo>
                      <a:pt x="472" y="354"/>
                      <a:pt x="472" y="355"/>
                      <a:pt x="471" y="356"/>
                    </a:cubicBezTo>
                    <a:cubicBezTo>
                      <a:pt x="470" y="358"/>
                      <a:pt x="470" y="358"/>
                      <a:pt x="472" y="359"/>
                    </a:cubicBezTo>
                    <a:cubicBezTo>
                      <a:pt x="473" y="359"/>
                      <a:pt x="475" y="360"/>
                      <a:pt x="476" y="361"/>
                    </a:cubicBezTo>
                    <a:cubicBezTo>
                      <a:pt x="476" y="361"/>
                      <a:pt x="476" y="361"/>
                      <a:pt x="476" y="362"/>
                    </a:cubicBezTo>
                    <a:cubicBezTo>
                      <a:pt x="476" y="363"/>
                      <a:pt x="476" y="364"/>
                      <a:pt x="477" y="365"/>
                    </a:cubicBezTo>
                    <a:cubicBezTo>
                      <a:pt x="477" y="365"/>
                      <a:pt x="480" y="365"/>
                      <a:pt x="481" y="365"/>
                    </a:cubicBezTo>
                    <a:cubicBezTo>
                      <a:pt x="482" y="365"/>
                      <a:pt x="483" y="364"/>
                      <a:pt x="484" y="363"/>
                    </a:cubicBezTo>
                    <a:cubicBezTo>
                      <a:pt x="485" y="362"/>
                      <a:pt x="487" y="359"/>
                      <a:pt x="489" y="361"/>
                    </a:cubicBezTo>
                    <a:cubicBezTo>
                      <a:pt x="488" y="360"/>
                      <a:pt x="488" y="357"/>
                      <a:pt x="488" y="356"/>
                    </a:cubicBezTo>
                    <a:cubicBezTo>
                      <a:pt x="489" y="355"/>
                      <a:pt x="492" y="354"/>
                      <a:pt x="491" y="352"/>
                    </a:cubicBezTo>
                    <a:cubicBezTo>
                      <a:pt x="491" y="351"/>
                      <a:pt x="490" y="351"/>
                      <a:pt x="490" y="349"/>
                    </a:cubicBezTo>
                    <a:cubicBezTo>
                      <a:pt x="490" y="346"/>
                      <a:pt x="492" y="345"/>
                      <a:pt x="492" y="343"/>
                    </a:cubicBezTo>
                    <a:cubicBezTo>
                      <a:pt x="493" y="341"/>
                      <a:pt x="492" y="339"/>
                      <a:pt x="493" y="337"/>
                    </a:cubicBezTo>
                    <a:cubicBezTo>
                      <a:pt x="493" y="335"/>
                      <a:pt x="493" y="334"/>
                      <a:pt x="494" y="332"/>
                    </a:cubicBezTo>
                    <a:cubicBezTo>
                      <a:pt x="495" y="330"/>
                      <a:pt x="495" y="328"/>
                      <a:pt x="496" y="326"/>
                    </a:cubicBezTo>
                    <a:cubicBezTo>
                      <a:pt x="496" y="324"/>
                      <a:pt x="496" y="325"/>
                      <a:pt x="496" y="323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61" name="Freeform 110">
                <a:extLst>
                  <a:ext uri="{FF2B5EF4-FFF2-40B4-BE49-F238E27FC236}">
                    <a16:creationId xmlns:a16="http://schemas.microsoft.com/office/drawing/2014/main" id="{C73B20F8-B671-40BE-998C-2AF324E8A1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4825" y="3700463"/>
                <a:ext cx="23813" cy="61913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9" y="1"/>
                  </a:cxn>
                  <a:cxn ang="0">
                    <a:pos x="7" y="3"/>
                  </a:cxn>
                  <a:cxn ang="0">
                    <a:pos x="6" y="6"/>
                  </a:cxn>
                  <a:cxn ang="0">
                    <a:pos x="5" y="10"/>
                  </a:cxn>
                  <a:cxn ang="0">
                    <a:pos x="4" y="13"/>
                  </a:cxn>
                  <a:cxn ang="0">
                    <a:pos x="3" y="15"/>
                  </a:cxn>
                  <a:cxn ang="0">
                    <a:pos x="3" y="18"/>
                  </a:cxn>
                  <a:cxn ang="0">
                    <a:pos x="1" y="23"/>
                  </a:cxn>
                  <a:cxn ang="0">
                    <a:pos x="1" y="27"/>
                  </a:cxn>
                  <a:cxn ang="0">
                    <a:pos x="1" y="32"/>
                  </a:cxn>
                  <a:cxn ang="0">
                    <a:pos x="2" y="32"/>
                  </a:cxn>
                  <a:cxn ang="0">
                    <a:pos x="4" y="31"/>
                  </a:cxn>
                  <a:cxn ang="0">
                    <a:pos x="4" y="25"/>
                  </a:cxn>
                  <a:cxn ang="0">
                    <a:pos x="4" y="23"/>
                  </a:cxn>
                  <a:cxn ang="0">
                    <a:pos x="5" y="20"/>
                  </a:cxn>
                  <a:cxn ang="0">
                    <a:pos x="6" y="18"/>
                  </a:cxn>
                  <a:cxn ang="0">
                    <a:pos x="8" y="20"/>
                  </a:cxn>
                  <a:cxn ang="0">
                    <a:pos x="8" y="21"/>
                  </a:cxn>
                  <a:cxn ang="0">
                    <a:pos x="10" y="21"/>
                  </a:cxn>
                  <a:cxn ang="0">
                    <a:pos x="12" y="21"/>
                  </a:cxn>
                  <a:cxn ang="0">
                    <a:pos x="12" y="18"/>
                  </a:cxn>
                  <a:cxn ang="0">
                    <a:pos x="9" y="16"/>
                  </a:cxn>
                  <a:cxn ang="0">
                    <a:pos x="9" y="15"/>
                  </a:cxn>
                  <a:cxn ang="0">
                    <a:pos x="8" y="15"/>
                  </a:cxn>
                  <a:cxn ang="0">
                    <a:pos x="8" y="15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9"/>
                  </a:cxn>
                  <a:cxn ang="0">
                    <a:pos x="11" y="5"/>
                  </a:cxn>
                  <a:cxn ang="0">
                    <a:pos x="11" y="4"/>
                  </a:cxn>
                  <a:cxn ang="0">
                    <a:pos x="11" y="3"/>
                  </a:cxn>
                </a:cxnLst>
                <a:rect l="0" t="0" r="r" b="b"/>
                <a:pathLst>
                  <a:path w="13" h="33">
                    <a:moveTo>
                      <a:pt x="12" y="2"/>
                    </a:moveTo>
                    <a:cubicBezTo>
                      <a:pt x="12" y="1"/>
                      <a:pt x="10" y="0"/>
                      <a:pt x="9" y="1"/>
                    </a:cubicBezTo>
                    <a:cubicBezTo>
                      <a:pt x="8" y="2"/>
                      <a:pt x="8" y="2"/>
                      <a:pt x="7" y="3"/>
                    </a:cubicBezTo>
                    <a:cubicBezTo>
                      <a:pt x="7" y="4"/>
                      <a:pt x="7" y="5"/>
                      <a:pt x="6" y="6"/>
                    </a:cubicBezTo>
                    <a:cubicBezTo>
                      <a:pt x="6" y="7"/>
                      <a:pt x="5" y="8"/>
                      <a:pt x="5" y="10"/>
                    </a:cubicBezTo>
                    <a:cubicBezTo>
                      <a:pt x="4" y="11"/>
                      <a:pt x="4" y="12"/>
                      <a:pt x="4" y="13"/>
                    </a:cubicBezTo>
                    <a:cubicBezTo>
                      <a:pt x="4" y="14"/>
                      <a:pt x="3" y="15"/>
                      <a:pt x="3" y="15"/>
                    </a:cubicBezTo>
                    <a:cubicBezTo>
                      <a:pt x="3" y="16"/>
                      <a:pt x="3" y="17"/>
                      <a:pt x="3" y="18"/>
                    </a:cubicBezTo>
                    <a:cubicBezTo>
                      <a:pt x="2" y="19"/>
                      <a:pt x="2" y="21"/>
                      <a:pt x="1" y="23"/>
                    </a:cubicBezTo>
                    <a:cubicBezTo>
                      <a:pt x="1" y="24"/>
                      <a:pt x="1" y="26"/>
                      <a:pt x="1" y="27"/>
                    </a:cubicBezTo>
                    <a:cubicBezTo>
                      <a:pt x="1" y="29"/>
                      <a:pt x="0" y="31"/>
                      <a:pt x="1" y="32"/>
                    </a:cubicBezTo>
                    <a:cubicBezTo>
                      <a:pt x="1" y="33"/>
                      <a:pt x="2" y="32"/>
                      <a:pt x="2" y="32"/>
                    </a:cubicBezTo>
                    <a:cubicBezTo>
                      <a:pt x="3" y="32"/>
                      <a:pt x="3" y="32"/>
                      <a:pt x="4" y="31"/>
                    </a:cubicBezTo>
                    <a:cubicBezTo>
                      <a:pt x="4" y="29"/>
                      <a:pt x="3" y="27"/>
                      <a:pt x="4" y="25"/>
                    </a:cubicBezTo>
                    <a:cubicBezTo>
                      <a:pt x="4" y="24"/>
                      <a:pt x="4" y="24"/>
                      <a:pt x="4" y="23"/>
                    </a:cubicBezTo>
                    <a:cubicBezTo>
                      <a:pt x="5" y="22"/>
                      <a:pt x="5" y="21"/>
                      <a:pt x="5" y="20"/>
                    </a:cubicBezTo>
                    <a:cubicBezTo>
                      <a:pt x="5" y="19"/>
                      <a:pt x="5" y="18"/>
                      <a:pt x="6" y="18"/>
                    </a:cubicBezTo>
                    <a:cubicBezTo>
                      <a:pt x="7" y="19"/>
                      <a:pt x="8" y="20"/>
                      <a:pt x="8" y="20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9" y="21"/>
                      <a:pt x="9" y="21"/>
                      <a:pt x="10" y="21"/>
                    </a:cubicBezTo>
                    <a:cubicBezTo>
                      <a:pt x="11" y="21"/>
                      <a:pt x="11" y="21"/>
                      <a:pt x="12" y="21"/>
                    </a:cubicBezTo>
                    <a:cubicBezTo>
                      <a:pt x="12" y="20"/>
                      <a:pt x="13" y="19"/>
                      <a:pt x="12" y="18"/>
                    </a:cubicBezTo>
                    <a:cubicBezTo>
                      <a:pt x="12" y="17"/>
                      <a:pt x="10" y="17"/>
                      <a:pt x="9" y="16"/>
                    </a:cubicBezTo>
                    <a:cubicBezTo>
                      <a:pt x="9" y="16"/>
                      <a:pt x="9" y="16"/>
                      <a:pt x="9" y="15"/>
                    </a:cubicBezTo>
                    <a:cubicBezTo>
                      <a:pt x="8" y="15"/>
                      <a:pt x="9" y="15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3"/>
                      <a:pt x="8" y="12"/>
                      <a:pt x="8" y="12"/>
                    </a:cubicBezTo>
                    <a:cubicBezTo>
                      <a:pt x="8" y="11"/>
                      <a:pt x="8" y="10"/>
                      <a:pt x="8" y="9"/>
                    </a:cubicBezTo>
                    <a:cubicBezTo>
                      <a:pt x="8" y="8"/>
                      <a:pt x="10" y="6"/>
                      <a:pt x="11" y="5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4"/>
                      <a:pt x="11" y="3"/>
                      <a:pt x="11" y="3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62" name="Freeform 111">
                <a:extLst>
                  <a:ext uri="{FF2B5EF4-FFF2-40B4-BE49-F238E27FC236}">
                    <a16:creationId xmlns:a16="http://schemas.microsoft.com/office/drawing/2014/main" id="{ED1B3012-7277-4EB7-966D-76A7ED7937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2288" y="3754438"/>
                <a:ext cx="17463" cy="17463"/>
              </a:xfrm>
              <a:custGeom>
                <a:avLst/>
                <a:gdLst/>
                <a:ahLst/>
                <a:cxnLst>
                  <a:cxn ang="0">
                    <a:pos x="6" y="1"/>
                  </a:cxn>
                  <a:cxn ang="0">
                    <a:pos x="5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5"/>
                  </a:cxn>
                  <a:cxn ang="0">
                    <a:pos x="4" y="8"/>
                  </a:cxn>
                  <a:cxn ang="0">
                    <a:pos x="9" y="8"/>
                  </a:cxn>
                  <a:cxn ang="0">
                    <a:pos x="9" y="4"/>
                  </a:cxn>
                  <a:cxn ang="0">
                    <a:pos x="8" y="2"/>
                  </a:cxn>
                  <a:cxn ang="0">
                    <a:pos x="7" y="1"/>
                  </a:cxn>
                </a:cxnLst>
                <a:rect l="0" t="0" r="r" b="b"/>
                <a:pathLst>
                  <a:path w="9" h="9">
                    <a:moveTo>
                      <a:pt x="6" y="1"/>
                    </a:move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0" y="1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2" y="6"/>
                      <a:pt x="3" y="7"/>
                      <a:pt x="4" y="8"/>
                    </a:cubicBezTo>
                    <a:cubicBezTo>
                      <a:pt x="5" y="8"/>
                      <a:pt x="8" y="9"/>
                      <a:pt x="9" y="8"/>
                    </a:cubicBezTo>
                    <a:cubicBezTo>
                      <a:pt x="9" y="7"/>
                      <a:pt x="9" y="5"/>
                      <a:pt x="9" y="4"/>
                    </a:cubicBezTo>
                    <a:cubicBezTo>
                      <a:pt x="9" y="3"/>
                      <a:pt x="9" y="3"/>
                      <a:pt x="8" y="2"/>
                    </a:cubicBezTo>
                    <a:cubicBezTo>
                      <a:pt x="8" y="1"/>
                      <a:pt x="8" y="1"/>
                      <a:pt x="7" y="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63" name="Freeform 112">
                <a:extLst>
                  <a:ext uri="{FF2B5EF4-FFF2-40B4-BE49-F238E27FC236}">
                    <a16:creationId xmlns:a16="http://schemas.microsoft.com/office/drawing/2014/main" id="{75D754AD-7BE6-4F93-AA8F-8F927803A0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2763" y="3773488"/>
                <a:ext cx="7938" cy="7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3" y="4"/>
                  </a:cxn>
                  <a:cxn ang="0">
                    <a:pos x="4" y="2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cubicBezTo>
                      <a:pt x="3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3"/>
                      <a:pt x="1" y="3"/>
                      <a:pt x="2" y="3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4" y="3"/>
                      <a:pt x="4" y="2"/>
                      <a:pt x="4" y="2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64" name="Freeform 113">
                <a:extLst>
                  <a:ext uri="{FF2B5EF4-FFF2-40B4-BE49-F238E27FC236}">
                    <a16:creationId xmlns:a16="http://schemas.microsoft.com/office/drawing/2014/main" id="{999C4C9D-14AE-4007-ACCA-BA45C28A2D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2925" y="3792538"/>
                <a:ext cx="7938" cy="9525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1" y="5"/>
                  </a:cxn>
                  <a:cxn ang="0">
                    <a:pos x="3" y="4"/>
                  </a:cxn>
                  <a:cxn ang="0">
                    <a:pos x="4" y="2"/>
                  </a:cxn>
                  <a:cxn ang="0">
                    <a:pos x="2" y="1"/>
                  </a:cxn>
                </a:cxnLst>
                <a:rect l="0" t="0" r="r" b="b"/>
                <a:pathLst>
                  <a:path w="4" h="5">
                    <a:moveTo>
                      <a:pt x="3" y="1"/>
                    </a:moveTo>
                    <a:cubicBezTo>
                      <a:pt x="2" y="0"/>
                      <a:pt x="1" y="1"/>
                      <a:pt x="0" y="2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2" y="5"/>
                      <a:pt x="2" y="5"/>
                      <a:pt x="3" y="4"/>
                    </a:cubicBezTo>
                    <a:cubicBezTo>
                      <a:pt x="3" y="4"/>
                      <a:pt x="4" y="3"/>
                      <a:pt x="4" y="2"/>
                    </a:cubicBezTo>
                    <a:cubicBezTo>
                      <a:pt x="4" y="1"/>
                      <a:pt x="3" y="1"/>
                      <a:pt x="2" y="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65" name="Freeform 114">
                <a:extLst>
                  <a:ext uri="{FF2B5EF4-FFF2-40B4-BE49-F238E27FC236}">
                    <a16:creationId xmlns:a16="http://schemas.microsoft.com/office/drawing/2014/main" id="{4E3C3B92-9E89-4475-A3A0-96B70F754F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3949700"/>
                <a:ext cx="17463" cy="952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1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8" y="2"/>
                  </a:cxn>
                  <a:cxn ang="0">
                    <a:pos x="5" y="0"/>
                  </a:cxn>
                  <a:cxn ang="0">
                    <a:pos x="7" y="0"/>
                  </a:cxn>
                </a:cxnLst>
                <a:rect l="0" t="0" r="r" b="b"/>
                <a:pathLst>
                  <a:path w="9" h="5">
                    <a:moveTo>
                      <a:pt x="7" y="0"/>
                    </a:moveTo>
                    <a:cubicBezTo>
                      <a:pt x="5" y="0"/>
                      <a:pt x="4" y="0"/>
                      <a:pt x="3" y="1"/>
                    </a:cubicBezTo>
                    <a:cubicBezTo>
                      <a:pt x="2" y="1"/>
                      <a:pt x="0" y="2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0" y="5"/>
                      <a:pt x="1" y="5"/>
                      <a:pt x="2" y="5"/>
                    </a:cubicBezTo>
                    <a:cubicBezTo>
                      <a:pt x="4" y="5"/>
                      <a:pt x="7" y="4"/>
                      <a:pt x="8" y="2"/>
                    </a:cubicBezTo>
                    <a:cubicBezTo>
                      <a:pt x="9" y="1"/>
                      <a:pt x="7" y="0"/>
                      <a:pt x="5" y="0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66" name="Freeform 115">
                <a:extLst>
                  <a:ext uri="{FF2B5EF4-FFF2-40B4-BE49-F238E27FC236}">
                    <a16:creationId xmlns:a16="http://schemas.microsoft.com/office/drawing/2014/main" id="{0CFE05FE-DCED-4C7B-BD50-FC4F3CE7C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5125" y="3938588"/>
                <a:ext cx="26988" cy="4763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6" y="1"/>
                  </a:cxn>
                  <a:cxn ang="0">
                    <a:pos x="4" y="1"/>
                  </a:cxn>
                  <a:cxn ang="0">
                    <a:pos x="3" y="1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3" y="3"/>
                  </a:cxn>
                  <a:cxn ang="0">
                    <a:pos x="7" y="3"/>
                  </a:cxn>
                  <a:cxn ang="0">
                    <a:pos x="13" y="2"/>
                  </a:cxn>
                  <a:cxn ang="0">
                    <a:pos x="14" y="1"/>
                  </a:cxn>
                  <a:cxn ang="0">
                    <a:pos x="12" y="0"/>
                  </a:cxn>
                </a:cxnLst>
                <a:rect l="0" t="0" r="r" b="b"/>
                <a:pathLst>
                  <a:path w="14" h="3">
                    <a:moveTo>
                      <a:pt x="12" y="0"/>
                    </a:moveTo>
                    <a:cubicBezTo>
                      <a:pt x="10" y="1"/>
                      <a:pt x="8" y="1"/>
                      <a:pt x="6" y="1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0" y="2"/>
                      <a:pt x="1" y="3"/>
                      <a:pt x="1" y="3"/>
                    </a:cubicBezTo>
                    <a:cubicBezTo>
                      <a:pt x="2" y="3"/>
                      <a:pt x="3" y="3"/>
                      <a:pt x="3" y="3"/>
                    </a:cubicBezTo>
                    <a:cubicBezTo>
                      <a:pt x="5" y="3"/>
                      <a:pt x="6" y="3"/>
                      <a:pt x="7" y="3"/>
                    </a:cubicBezTo>
                    <a:cubicBezTo>
                      <a:pt x="9" y="2"/>
                      <a:pt x="11" y="2"/>
                      <a:pt x="13" y="2"/>
                    </a:cubicBezTo>
                    <a:cubicBezTo>
                      <a:pt x="13" y="1"/>
                      <a:pt x="14" y="1"/>
                      <a:pt x="14" y="1"/>
                    </a:cubicBezTo>
                    <a:lnTo>
                      <a:pt x="12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67" name="Freeform 116">
                <a:extLst>
                  <a:ext uri="{FF2B5EF4-FFF2-40B4-BE49-F238E27FC236}">
                    <a16:creationId xmlns:a16="http://schemas.microsoft.com/office/drawing/2014/main" id="{FD2A6C57-DDE2-480B-BC3E-E31E2084A5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7513" y="3927475"/>
                <a:ext cx="17463" cy="317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5" y="0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7" y="1"/>
                  </a:cxn>
                  <a:cxn ang="0">
                    <a:pos x="9" y="1"/>
                  </a:cxn>
                  <a:cxn ang="0">
                    <a:pos x="7" y="0"/>
                  </a:cxn>
                </a:cxnLst>
                <a:rect l="0" t="0" r="r" b="b"/>
                <a:pathLst>
                  <a:path w="9" h="2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4" y="1"/>
                      <a:pt x="2" y="1"/>
                      <a:pt x="1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5" y="2"/>
                      <a:pt x="6" y="2"/>
                      <a:pt x="7" y="1"/>
                    </a:cubicBezTo>
                    <a:cubicBezTo>
                      <a:pt x="8" y="1"/>
                      <a:pt x="9" y="1"/>
                      <a:pt x="9" y="1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68" name="Freeform 117">
                <a:extLst>
                  <a:ext uri="{FF2B5EF4-FFF2-40B4-BE49-F238E27FC236}">
                    <a16:creationId xmlns:a16="http://schemas.microsoft.com/office/drawing/2014/main" id="{4C800AF5-6EFE-4AC4-B84B-CE9BB50E0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875" y="3932238"/>
                <a:ext cx="17463" cy="158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5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7" y="0"/>
                  </a:cxn>
                  <a:cxn ang="0">
                    <a:pos x="9" y="0"/>
                  </a:cxn>
                  <a:cxn ang="0">
                    <a:pos x="7" y="0"/>
                  </a:cxn>
                </a:cxnLst>
                <a:rect l="0" t="0" r="r" b="b"/>
                <a:pathLst>
                  <a:path w="9" h="1">
                    <a:moveTo>
                      <a:pt x="7" y="0"/>
                    </a:move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4" y="1"/>
                      <a:pt x="6" y="1"/>
                      <a:pt x="7" y="0"/>
                    </a:cubicBezTo>
                    <a:cubicBezTo>
                      <a:pt x="7" y="0"/>
                      <a:pt x="9" y="0"/>
                      <a:pt x="9" y="0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69" name="Freeform 118">
                <a:extLst>
                  <a:ext uri="{FF2B5EF4-FFF2-40B4-BE49-F238E27FC236}">
                    <a16:creationId xmlns:a16="http://schemas.microsoft.com/office/drawing/2014/main" id="{31FF6FD5-07FB-43B0-BE7F-710E7C46A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2913" y="3919538"/>
                <a:ext cx="23813" cy="793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7" y="0"/>
                  </a:cxn>
                  <a:cxn ang="0">
                    <a:pos x="1" y="2"/>
                  </a:cxn>
                  <a:cxn ang="0">
                    <a:pos x="2" y="4"/>
                  </a:cxn>
                  <a:cxn ang="0">
                    <a:pos x="5" y="4"/>
                  </a:cxn>
                  <a:cxn ang="0">
                    <a:pos x="10" y="2"/>
                  </a:cxn>
                  <a:cxn ang="0">
                    <a:pos x="13" y="0"/>
                  </a:cxn>
                  <a:cxn ang="0">
                    <a:pos x="10" y="0"/>
                  </a:cxn>
                </a:cxnLst>
                <a:rect l="0" t="0" r="r" b="b"/>
                <a:pathLst>
                  <a:path w="13" h="4">
                    <a:moveTo>
                      <a:pt x="10" y="0"/>
                    </a:moveTo>
                    <a:cubicBezTo>
                      <a:pt x="9" y="0"/>
                      <a:pt x="8" y="0"/>
                      <a:pt x="7" y="0"/>
                    </a:cubicBezTo>
                    <a:cubicBezTo>
                      <a:pt x="5" y="0"/>
                      <a:pt x="3" y="1"/>
                      <a:pt x="1" y="2"/>
                    </a:cubicBezTo>
                    <a:cubicBezTo>
                      <a:pt x="0" y="2"/>
                      <a:pt x="1" y="3"/>
                      <a:pt x="2" y="4"/>
                    </a:cubicBezTo>
                    <a:cubicBezTo>
                      <a:pt x="2" y="4"/>
                      <a:pt x="4" y="4"/>
                      <a:pt x="5" y="4"/>
                    </a:cubicBezTo>
                    <a:cubicBezTo>
                      <a:pt x="7" y="4"/>
                      <a:pt x="8" y="3"/>
                      <a:pt x="10" y="2"/>
                    </a:cubicBezTo>
                    <a:cubicBezTo>
                      <a:pt x="11" y="2"/>
                      <a:pt x="13" y="2"/>
                      <a:pt x="13" y="0"/>
                    </a:cubicBezTo>
                    <a:lnTo>
                      <a:pt x="1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70" name="Freeform 119">
                <a:extLst>
                  <a:ext uri="{FF2B5EF4-FFF2-40B4-BE49-F238E27FC236}">
                    <a16:creationId xmlns:a16="http://schemas.microsoft.com/office/drawing/2014/main" id="{EEE1E8E6-7DDF-4043-BAB1-8587F8D3BA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3075" y="3919538"/>
                <a:ext cx="19050" cy="31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5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8" y="1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1" h="2">
                    <a:moveTo>
                      <a:pt x="8" y="0"/>
                    </a:moveTo>
                    <a:cubicBezTo>
                      <a:pt x="7" y="0"/>
                      <a:pt x="6" y="0"/>
                      <a:pt x="5" y="0"/>
                    </a:cubicBezTo>
                    <a:cubicBezTo>
                      <a:pt x="4" y="0"/>
                      <a:pt x="1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1" y="2"/>
                      <a:pt x="3" y="2"/>
                      <a:pt x="3" y="2"/>
                    </a:cubicBezTo>
                    <a:cubicBezTo>
                      <a:pt x="5" y="2"/>
                      <a:pt x="7" y="2"/>
                      <a:pt x="8" y="1"/>
                    </a:cubicBezTo>
                    <a:cubicBezTo>
                      <a:pt x="9" y="1"/>
                      <a:pt x="11" y="1"/>
                      <a:pt x="10" y="0"/>
                    </a:cubicBez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71" name="Line 120">
                <a:extLst>
                  <a:ext uri="{FF2B5EF4-FFF2-40B4-BE49-F238E27FC236}">
                    <a16:creationId xmlns:a16="http://schemas.microsoft.com/office/drawing/2014/main" id="{A046A5FC-078E-476F-B62B-C963A21E645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46575" y="4000500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72" name="Line 121">
                <a:extLst>
                  <a:ext uri="{FF2B5EF4-FFF2-40B4-BE49-F238E27FC236}">
                    <a16:creationId xmlns:a16="http://schemas.microsoft.com/office/drawing/2014/main" id="{EEC38E38-71BE-40E5-AD1C-FBE9955B39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46575" y="4000500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73" name="Line 122">
                <a:extLst>
                  <a:ext uri="{FF2B5EF4-FFF2-40B4-BE49-F238E27FC236}">
                    <a16:creationId xmlns:a16="http://schemas.microsoft.com/office/drawing/2014/main" id="{18ED9755-5598-4662-B72E-50400193D8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06888" y="3949700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74" name="Line 123">
                <a:extLst>
                  <a:ext uri="{FF2B5EF4-FFF2-40B4-BE49-F238E27FC236}">
                    <a16:creationId xmlns:a16="http://schemas.microsoft.com/office/drawing/2014/main" id="{48118F0A-F26F-4BF7-8686-95089251A8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06888" y="3949700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75" name="Freeform 124">
                <a:extLst>
                  <a:ext uri="{FF2B5EF4-FFF2-40B4-BE49-F238E27FC236}">
                    <a16:creationId xmlns:a16="http://schemas.microsoft.com/office/drawing/2014/main" id="{504304F0-DCCA-4EAA-931C-73D0FE3CA6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7100" y="3800475"/>
                <a:ext cx="57150" cy="25400"/>
              </a:xfrm>
              <a:custGeom>
                <a:avLst/>
                <a:gdLst/>
                <a:ahLst/>
                <a:cxnLst>
                  <a:cxn ang="0">
                    <a:pos x="21" y="3"/>
                  </a:cxn>
                  <a:cxn ang="0">
                    <a:pos x="16" y="2"/>
                  </a:cxn>
                  <a:cxn ang="0">
                    <a:pos x="9" y="1"/>
                  </a:cxn>
                  <a:cxn ang="0">
                    <a:pos x="4" y="5"/>
                  </a:cxn>
                  <a:cxn ang="0">
                    <a:pos x="3" y="6"/>
                  </a:cxn>
                  <a:cxn ang="0">
                    <a:pos x="2" y="7"/>
                  </a:cxn>
                  <a:cxn ang="0">
                    <a:pos x="1" y="9"/>
                  </a:cxn>
                  <a:cxn ang="0">
                    <a:pos x="0" y="13"/>
                  </a:cxn>
                  <a:cxn ang="0">
                    <a:pos x="1" y="14"/>
                  </a:cxn>
                  <a:cxn ang="0">
                    <a:pos x="3" y="13"/>
                  </a:cxn>
                  <a:cxn ang="0">
                    <a:pos x="3" y="12"/>
                  </a:cxn>
                  <a:cxn ang="0">
                    <a:pos x="5" y="11"/>
                  </a:cxn>
                  <a:cxn ang="0">
                    <a:pos x="7" y="9"/>
                  </a:cxn>
                  <a:cxn ang="0">
                    <a:pos x="9" y="8"/>
                  </a:cxn>
                  <a:cxn ang="0">
                    <a:pos x="10" y="7"/>
                  </a:cxn>
                  <a:cxn ang="0">
                    <a:pos x="13" y="7"/>
                  </a:cxn>
                  <a:cxn ang="0">
                    <a:pos x="14" y="8"/>
                  </a:cxn>
                  <a:cxn ang="0">
                    <a:pos x="21" y="8"/>
                  </a:cxn>
                  <a:cxn ang="0">
                    <a:pos x="31" y="6"/>
                  </a:cxn>
                  <a:cxn ang="0">
                    <a:pos x="27" y="4"/>
                  </a:cxn>
                  <a:cxn ang="0">
                    <a:pos x="24" y="4"/>
                  </a:cxn>
                  <a:cxn ang="0">
                    <a:pos x="21" y="4"/>
                  </a:cxn>
                </a:cxnLst>
                <a:rect l="0" t="0" r="r" b="b"/>
                <a:pathLst>
                  <a:path w="31" h="14">
                    <a:moveTo>
                      <a:pt x="21" y="3"/>
                    </a:moveTo>
                    <a:cubicBezTo>
                      <a:pt x="20" y="3"/>
                      <a:pt x="18" y="2"/>
                      <a:pt x="16" y="2"/>
                    </a:cubicBezTo>
                    <a:cubicBezTo>
                      <a:pt x="14" y="1"/>
                      <a:pt x="11" y="0"/>
                      <a:pt x="9" y="1"/>
                    </a:cubicBezTo>
                    <a:cubicBezTo>
                      <a:pt x="7" y="2"/>
                      <a:pt x="5" y="4"/>
                      <a:pt x="4" y="5"/>
                    </a:cubicBezTo>
                    <a:cubicBezTo>
                      <a:pt x="4" y="6"/>
                      <a:pt x="4" y="6"/>
                      <a:pt x="3" y="6"/>
                    </a:cubicBezTo>
                    <a:cubicBezTo>
                      <a:pt x="3" y="7"/>
                      <a:pt x="3" y="7"/>
                      <a:pt x="2" y="7"/>
                    </a:cubicBezTo>
                    <a:cubicBezTo>
                      <a:pt x="2" y="8"/>
                      <a:pt x="1" y="9"/>
                      <a:pt x="1" y="9"/>
                    </a:cubicBezTo>
                    <a:cubicBezTo>
                      <a:pt x="1" y="10"/>
                      <a:pt x="0" y="12"/>
                      <a:pt x="0" y="13"/>
                    </a:cubicBezTo>
                    <a:cubicBezTo>
                      <a:pt x="0" y="14"/>
                      <a:pt x="0" y="14"/>
                      <a:pt x="1" y="14"/>
                    </a:cubicBezTo>
                    <a:cubicBezTo>
                      <a:pt x="2" y="14"/>
                      <a:pt x="2" y="14"/>
                      <a:pt x="3" y="13"/>
                    </a:cubicBezTo>
                    <a:cubicBezTo>
                      <a:pt x="3" y="13"/>
                      <a:pt x="3" y="12"/>
                      <a:pt x="3" y="12"/>
                    </a:cubicBezTo>
                    <a:cubicBezTo>
                      <a:pt x="4" y="12"/>
                      <a:pt x="4" y="11"/>
                      <a:pt x="5" y="11"/>
                    </a:cubicBezTo>
                    <a:cubicBezTo>
                      <a:pt x="6" y="11"/>
                      <a:pt x="6" y="10"/>
                      <a:pt x="7" y="9"/>
                    </a:cubicBezTo>
                    <a:cubicBezTo>
                      <a:pt x="8" y="9"/>
                      <a:pt x="9" y="9"/>
                      <a:pt x="9" y="8"/>
                    </a:cubicBezTo>
                    <a:cubicBezTo>
                      <a:pt x="10" y="8"/>
                      <a:pt x="10" y="8"/>
                      <a:pt x="10" y="7"/>
                    </a:cubicBezTo>
                    <a:cubicBezTo>
                      <a:pt x="11" y="7"/>
                      <a:pt x="12" y="7"/>
                      <a:pt x="13" y="7"/>
                    </a:cubicBezTo>
                    <a:cubicBezTo>
                      <a:pt x="14" y="8"/>
                      <a:pt x="13" y="8"/>
                      <a:pt x="14" y="8"/>
                    </a:cubicBezTo>
                    <a:cubicBezTo>
                      <a:pt x="17" y="9"/>
                      <a:pt x="19" y="8"/>
                      <a:pt x="21" y="8"/>
                    </a:cubicBezTo>
                    <a:cubicBezTo>
                      <a:pt x="23" y="8"/>
                      <a:pt x="31" y="9"/>
                      <a:pt x="31" y="6"/>
                    </a:cubicBezTo>
                    <a:cubicBezTo>
                      <a:pt x="30" y="4"/>
                      <a:pt x="29" y="4"/>
                      <a:pt x="27" y="4"/>
                    </a:cubicBezTo>
                    <a:cubicBezTo>
                      <a:pt x="26" y="4"/>
                      <a:pt x="25" y="4"/>
                      <a:pt x="24" y="4"/>
                    </a:cubicBezTo>
                    <a:cubicBezTo>
                      <a:pt x="23" y="4"/>
                      <a:pt x="22" y="4"/>
                      <a:pt x="21" y="4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76" name="Freeform 125">
                <a:extLst>
                  <a:ext uri="{FF2B5EF4-FFF2-40B4-BE49-F238E27FC236}">
                    <a16:creationId xmlns:a16="http://schemas.microsoft.com/office/drawing/2014/main" id="{CC1BB953-CE36-4BC8-9673-40584AA45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7663" y="6724650"/>
                <a:ext cx="238125" cy="133350"/>
              </a:xfrm>
              <a:custGeom>
                <a:avLst/>
                <a:gdLst/>
                <a:ahLst/>
                <a:cxnLst>
                  <a:cxn ang="0">
                    <a:pos x="123" y="0"/>
                  </a:cxn>
                  <a:cxn ang="0">
                    <a:pos x="115" y="3"/>
                  </a:cxn>
                  <a:cxn ang="0">
                    <a:pos x="106" y="6"/>
                  </a:cxn>
                  <a:cxn ang="0">
                    <a:pos x="94" y="11"/>
                  </a:cxn>
                  <a:cxn ang="0">
                    <a:pos x="85" y="16"/>
                  </a:cxn>
                  <a:cxn ang="0">
                    <a:pos x="81" y="18"/>
                  </a:cxn>
                  <a:cxn ang="0">
                    <a:pos x="74" y="20"/>
                  </a:cxn>
                  <a:cxn ang="0">
                    <a:pos x="68" y="21"/>
                  </a:cxn>
                  <a:cxn ang="0">
                    <a:pos x="64" y="22"/>
                  </a:cxn>
                  <a:cxn ang="0">
                    <a:pos x="58" y="21"/>
                  </a:cxn>
                  <a:cxn ang="0">
                    <a:pos x="53" y="21"/>
                  </a:cxn>
                  <a:cxn ang="0">
                    <a:pos x="38" y="20"/>
                  </a:cxn>
                  <a:cxn ang="0">
                    <a:pos x="35" y="34"/>
                  </a:cxn>
                  <a:cxn ang="0">
                    <a:pos x="33" y="34"/>
                  </a:cxn>
                  <a:cxn ang="0">
                    <a:pos x="28" y="36"/>
                  </a:cxn>
                  <a:cxn ang="0">
                    <a:pos x="21" y="36"/>
                  </a:cxn>
                  <a:cxn ang="0">
                    <a:pos x="15" y="36"/>
                  </a:cxn>
                  <a:cxn ang="0">
                    <a:pos x="9" y="39"/>
                  </a:cxn>
                  <a:cxn ang="0">
                    <a:pos x="2" y="40"/>
                  </a:cxn>
                  <a:cxn ang="0">
                    <a:pos x="2" y="45"/>
                  </a:cxn>
                  <a:cxn ang="0">
                    <a:pos x="1" y="53"/>
                  </a:cxn>
                  <a:cxn ang="0">
                    <a:pos x="8" y="60"/>
                  </a:cxn>
                  <a:cxn ang="0">
                    <a:pos x="11" y="62"/>
                  </a:cxn>
                  <a:cxn ang="0">
                    <a:pos x="12" y="64"/>
                  </a:cxn>
                  <a:cxn ang="0">
                    <a:pos x="20" y="71"/>
                  </a:cxn>
                  <a:cxn ang="0">
                    <a:pos x="22" y="70"/>
                  </a:cxn>
                  <a:cxn ang="0">
                    <a:pos x="29" y="67"/>
                  </a:cxn>
                  <a:cxn ang="0">
                    <a:pos x="37" y="68"/>
                  </a:cxn>
                  <a:cxn ang="0">
                    <a:pos x="52" y="67"/>
                  </a:cxn>
                  <a:cxn ang="0">
                    <a:pos x="58" y="66"/>
                  </a:cxn>
                  <a:cxn ang="0">
                    <a:pos x="66" y="66"/>
                  </a:cxn>
                  <a:cxn ang="0">
                    <a:pos x="69" y="58"/>
                  </a:cxn>
                  <a:cxn ang="0">
                    <a:pos x="76" y="52"/>
                  </a:cxn>
                  <a:cxn ang="0">
                    <a:pos x="91" y="52"/>
                  </a:cxn>
                  <a:cxn ang="0">
                    <a:pos x="97" y="51"/>
                  </a:cxn>
                  <a:cxn ang="0">
                    <a:pos x="99" y="50"/>
                  </a:cxn>
                  <a:cxn ang="0">
                    <a:pos x="101" y="48"/>
                  </a:cxn>
                  <a:cxn ang="0">
                    <a:pos x="94" y="39"/>
                  </a:cxn>
                  <a:cxn ang="0">
                    <a:pos x="93" y="38"/>
                  </a:cxn>
                  <a:cxn ang="0">
                    <a:pos x="93" y="37"/>
                  </a:cxn>
                  <a:cxn ang="0">
                    <a:pos x="93" y="34"/>
                  </a:cxn>
                  <a:cxn ang="0">
                    <a:pos x="94" y="29"/>
                  </a:cxn>
                  <a:cxn ang="0">
                    <a:pos x="97" y="27"/>
                  </a:cxn>
                  <a:cxn ang="0">
                    <a:pos x="100" y="25"/>
                  </a:cxn>
                  <a:cxn ang="0">
                    <a:pos x="104" y="24"/>
                  </a:cxn>
                  <a:cxn ang="0">
                    <a:pos x="111" y="19"/>
                  </a:cxn>
                  <a:cxn ang="0">
                    <a:pos x="120" y="10"/>
                  </a:cxn>
                  <a:cxn ang="0">
                    <a:pos x="125" y="4"/>
                  </a:cxn>
                  <a:cxn ang="0">
                    <a:pos x="126" y="2"/>
                  </a:cxn>
                  <a:cxn ang="0">
                    <a:pos x="128" y="0"/>
                  </a:cxn>
                  <a:cxn ang="0">
                    <a:pos x="123" y="0"/>
                  </a:cxn>
                </a:cxnLst>
                <a:rect l="0" t="0" r="r" b="b"/>
                <a:pathLst>
                  <a:path w="128" h="71">
                    <a:moveTo>
                      <a:pt x="123" y="0"/>
                    </a:moveTo>
                    <a:cubicBezTo>
                      <a:pt x="120" y="0"/>
                      <a:pt x="117" y="2"/>
                      <a:pt x="115" y="3"/>
                    </a:cubicBezTo>
                    <a:cubicBezTo>
                      <a:pt x="112" y="4"/>
                      <a:pt x="109" y="5"/>
                      <a:pt x="106" y="6"/>
                    </a:cubicBezTo>
                    <a:cubicBezTo>
                      <a:pt x="103" y="9"/>
                      <a:pt x="98" y="10"/>
                      <a:pt x="94" y="11"/>
                    </a:cubicBezTo>
                    <a:cubicBezTo>
                      <a:pt x="91" y="12"/>
                      <a:pt x="88" y="14"/>
                      <a:pt x="85" y="16"/>
                    </a:cubicBezTo>
                    <a:cubicBezTo>
                      <a:pt x="83" y="16"/>
                      <a:pt x="82" y="17"/>
                      <a:pt x="81" y="18"/>
                    </a:cubicBezTo>
                    <a:cubicBezTo>
                      <a:pt x="79" y="19"/>
                      <a:pt x="76" y="19"/>
                      <a:pt x="74" y="20"/>
                    </a:cubicBezTo>
                    <a:cubicBezTo>
                      <a:pt x="72" y="21"/>
                      <a:pt x="70" y="21"/>
                      <a:pt x="68" y="21"/>
                    </a:cubicBezTo>
                    <a:cubicBezTo>
                      <a:pt x="66" y="21"/>
                      <a:pt x="65" y="22"/>
                      <a:pt x="64" y="22"/>
                    </a:cubicBezTo>
                    <a:cubicBezTo>
                      <a:pt x="62" y="22"/>
                      <a:pt x="60" y="21"/>
                      <a:pt x="58" y="21"/>
                    </a:cubicBezTo>
                    <a:cubicBezTo>
                      <a:pt x="56" y="21"/>
                      <a:pt x="55" y="21"/>
                      <a:pt x="53" y="21"/>
                    </a:cubicBezTo>
                    <a:cubicBezTo>
                      <a:pt x="48" y="21"/>
                      <a:pt x="43" y="19"/>
                      <a:pt x="38" y="20"/>
                    </a:cubicBezTo>
                    <a:cubicBezTo>
                      <a:pt x="37" y="24"/>
                      <a:pt x="41" y="33"/>
                      <a:pt x="35" y="34"/>
                    </a:cubicBezTo>
                    <a:cubicBezTo>
                      <a:pt x="34" y="35"/>
                      <a:pt x="33" y="35"/>
                      <a:pt x="33" y="34"/>
                    </a:cubicBezTo>
                    <a:cubicBezTo>
                      <a:pt x="31" y="35"/>
                      <a:pt x="30" y="35"/>
                      <a:pt x="28" y="36"/>
                    </a:cubicBezTo>
                    <a:cubicBezTo>
                      <a:pt x="26" y="36"/>
                      <a:pt x="23" y="37"/>
                      <a:pt x="21" y="36"/>
                    </a:cubicBezTo>
                    <a:cubicBezTo>
                      <a:pt x="19" y="35"/>
                      <a:pt x="17" y="33"/>
                      <a:pt x="15" y="36"/>
                    </a:cubicBezTo>
                    <a:cubicBezTo>
                      <a:pt x="14" y="39"/>
                      <a:pt x="12" y="40"/>
                      <a:pt x="9" y="39"/>
                    </a:cubicBezTo>
                    <a:cubicBezTo>
                      <a:pt x="6" y="39"/>
                      <a:pt x="3" y="36"/>
                      <a:pt x="2" y="40"/>
                    </a:cubicBezTo>
                    <a:cubicBezTo>
                      <a:pt x="2" y="42"/>
                      <a:pt x="3" y="43"/>
                      <a:pt x="2" y="45"/>
                    </a:cubicBezTo>
                    <a:cubicBezTo>
                      <a:pt x="2" y="48"/>
                      <a:pt x="0" y="50"/>
                      <a:pt x="1" y="53"/>
                    </a:cubicBezTo>
                    <a:cubicBezTo>
                      <a:pt x="2" y="57"/>
                      <a:pt x="5" y="58"/>
                      <a:pt x="8" y="60"/>
                    </a:cubicBezTo>
                    <a:cubicBezTo>
                      <a:pt x="9" y="61"/>
                      <a:pt x="10" y="61"/>
                      <a:pt x="11" y="62"/>
                    </a:cubicBezTo>
                    <a:cubicBezTo>
                      <a:pt x="12" y="63"/>
                      <a:pt x="11" y="61"/>
                      <a:pt x="12" y="64"/>
                    </a:cubicBezTo>
                    <a:cubicBezTo>
                      <a:pt x="14" y="66"/>
                      <a:pt x="16" y="71"/>
                      <a:pt x="20" y="71"/>
                    </a:cubicBezTo>
                    <a:cubicBezTo>
                      <a:pt x="20" y="70"/>
                      <a:pt x="21" y="70"/>
                      <a:pt x="22" y="70"/>
                    </a:cubicBezTo>
                    <a:cubicBezTo>
                      <a:pt x="24" y="69"/>
                      <a:pt x="27" y="68"/>
                      <a:pt x="29" y="67"/>
                    </a:cubicBezTo>
                    <a:cubicBezTo>
                      <a:pt x="32" y="67"/>
                      <a:pt x="34" y="67"/>
                      <a:pt x="37" y="68"/>
                    </a:cubicBezTo>
                    <a:cubicBezTo>
                      <a:pt x="42" y="70"/>
                      <a:pt x="47" y="69"/>
                      <a:pt x="52" y="67"/>
                    </a:cubicBezTo>
                    <a:cubicBezTo>
                      <a:pt x="54" y="66"/>
                      <a:pt x="56" y="66"/>
                      <a:pt x="58" y="66"/>
                    </a:cubicBezTo>
                    <a:cubicBezTo>
                      <a:pt x="60" y="66"/>
                      <a:pt x="64" y="67"/>
                      <a:pt x="66" y="66"/>
                    </a:cubicBezTo>
                    <a:cubicBezTo>
                      <a:pt x="69" y="65"/>
                      <a:pt x="68" y="60"/>
                      <a:pt x="69" y="58"/>
                    </a:cubicBezTo>
                    <a:cubicBezTo>
                      <a:pt x="70" y="55"/>
                      <a:pt x="72" y="52"/>
                      <a:pt x="76" y="52"/>
                    </a:cubicBezTo>
                    <a:cubicBezTo>
                      <a:pt x="81" y="51"/>
                      <a:pt x="86" y="53"/>
                      <a:pt x="91" y="52"/>
                    </a:cubicBezTo>
                    <a:cubicBezTo>
                      <a:pt x="94" y="52"/>
                      <a:pt x="95" y="51"/>
                      <a:pt x="97" y="51"/>
                    </a:cubicBezTo>
                    <a:cubicBezTo>
                      <a:pt x="97" y="50"/>
                      <a:pt x="98" y="50"/>
                      <a:pt x="99" y="50"/>
                    </a:cubicBezTo>
                    <a:cubicBezTo>
                      <a:pt x="100" y="50"/>
                      <a:pt x="101" y="49"/>
                      <a:pt x="101" y="48"/>
                    </a:cubicBezTo>
                    <a:cubicBezTo>
                      <a:pt x="99" y="45"/>
                      <a:pt x="96" y="43"/>
                      <a:pt x="94" y="39"/>
                    </a:cubicBezTo>
                    <a:cubicBezTo>
                      <a:pt x="94" y="39"/>
                      <a:pt x="94" y="39"/>
                      <a:pt x="93" y="38"/>
                    </a:cubicBezTo>
                    <a:cubicBezTo>
                      <a:pt x="93" y="38"/>
                      <a:pt x="93" y="37"/>
                      <a:pt x="93" y="37"/>
                    </a:cubicBezTo>
                    <a:cubicBezTo>
                      <a:pt x="93" y="36"/>
                      <a:pt x="93" y="35"/>
                      <a:pt x="93" y="34"/>
                    </a:cubicBezTo>
                    <a:cubicBezTo>
                      <a:pt x="93" y="32"/>
                      <a:pt x="93" y="30"/>
                      <a:pt x="94" y="29"/>
                    </a:cubicBezTo>
                    <a:cubicBezTo>
                      <a:pt x="94" y="28"/>
                      <a:pt x="96" y="27"/>
                      <a:pt x="97" y="27"/>
                    </a:cubicBezTo>
                    <a:cubicBezTo>
                      <a:pt x="98" y="25"/>
                      <a:pt x="98" y="25"/>
                      <a:pt x="100" y="25"/>
                    </a:cubicBezTo>
                    <a:cubicBezTo>
                      <a:pt x="101" y="24"/>
                      <a:pt x="103" y="24"/>
                      <a:pt x="104" y="24"/>
                    </a:cubicBezTo>
                    <a:cubicBezTo>
                      <a:pt x="107" y="23"/>
                      <a:pt x="109" y="22"/>
                      <a:pt x="111" y="19"/>
                    </a:cubicBezTo>
                    <a:cubicBezTo>
                      <a:pt x="114" y="16"/>
                      <a:pt x="116" y="13"/>
                      <a:pt x="120" y="10"/>
                    </a:cubicBezTo>
                    <a:cubicBezTo>
                      <a:pt x="122" y="8"/>
                      <a:pt x="123" y="7"/>
                      <a:pt x="125" y="4"/>
                    </a:cubicBezTo>
                    <a:cubicBezTo>
                      <a:pt x="125" y="4"/>
                      <a:pt x="126" y="3"/>
                      <a:pt x="126" y="2"/>
                    </a:cubicBezTo>
                    <a:cubicBezTo>
                      <a:pt x="127" y="2"/>
                      <a:pt x="128" y="0"/>
                      <a:pt x="128" y="0"/>
                    </a:cubicBezTo>
                    <a:lnTo>
                      <a:pt x="123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77" name="Freeform 126">
                <a:extLst>
                  <a:ext uri="{FF2B5EF4-FFF2-40B4-BE49-F238E27FC236}">
                    <a16:creationId xmlns:a16="http://schemas.microsoft.com/office/drawing/2014/main" id="{125D57FC-1B6A-43F9-9FA8-96B320B7C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8963" y="109538"/>
                <a:ext cx="185738" cy="114300"/>
              </a:xfrm>
              <a:custGeom>
                <a:avLst/>
                <a:gdLst/>
                <a:ahLst/>
                <a:cxnLst>
                  <a:cxn ang="0">
                    <a:pos x="30" y="33"/>
                  </a:cxn>
                  <a:cxn ang="0">
                    <a:pos x="25" y="40"/>
                  </a:cxn>
                  <a:cxn ang="0">
                    <a:pos x="8" y="58"/>
                  </a:cxn>
                  <a:cxn ang="0">
                    <a:pos x="21" y="56"/>
                  </a:cxn>
                  <a:cxn ang="0">
                    <a:pos x="48" y="48"/>
                  </a:cxn>
                  <a:cxn ang="0">
                    <a:pos x="53" y="49"/>
                  </a:cxn>
                  <a:cxn ang="0">
                    <a:pos x="62" y="46"/>
                  </a:cxn>
                  <a:cxn ang="0">
                    <a:pos x="66" y="38"/>
                  </a:cxn>
                  <a:cxn ang="0">
                    <a:pos x="78" y="26"/>
                  </a:cxn>
                  <a:cxn ang="0">
                    <a:pos x="95" y="2"/>
                  </a:cxn>
                  <a:cxn ang="0">
                    <a:pos x="83" y="1"/>
                  </a:cxn>
                  <a:cxn ang="0">
                    <a:pos x="80" y="8"/>
                  </a:cxn>
                  <a:cxn ang="0">
                    <a:pos x="72" y="5"/>
                  </a:cxn>
                  <a:cxn ang="0">
                    <a:pos x="65" y="19"/>
                  </a:cxn>
                  <a:cxn ang="0">
                    <a:pos x="50" y="11"/>
                  </a:cxn>
                  <a:cxn ang="0">
                    <a:pos x="49" y="24"/>
                  </a:cxn>
                  <a:cxn ang="0">
                    <a:pos x="42" y="27"/>
                  </a:cxn>
                  <a:cxn ang="0">
                    <a:pos x="39" y="19"/>
                  </a:cxn>
                  <a:cxn ang="0">
                    <a:pos x="30" y="30"/>
                  </a:cxn>
                  <a:cxn ang="0">
                    <a:pos x="13" y="29"/>
                  </a:cxn>
                  <a:cxn ang="0">
                    <a:pos x="6" y="26"/>
                  </a:cxn>
                  <a:cxn ang="0">
                    <a:pos x="13" y="33"/>
                  </a:cxn>
                  <a:cxn ang="0">
                    <a:pos x="30" y="33"/>
                  </a:cxn>
                </a:cxnLst>
                <a:rect l="0" t="0" r="r" b="b"/>
                <a:pathLst>
                  <a:path w="99" h="61">
                    <a:moveTo>
                      <a:pt x="30" y="33"/>
                    </a:moveTo>
                    <a:cubicBezTo>
                      <a:pt x="27" y="35"/>
                      <a:pt x="26" y="37"/>
                      <a:pt x="25" y="40"/>
                    </a:cubicBezTo>
                    <a:cubicBezTo>
                      <a:pt x="20" y="47"/>
                      <a:pt x="14" y="52"/>
                      <a:pt x="8" y="58"/>
                    </a:cubicBezTo>
                    <a:cubicBezTo>
                      <a:pt x="12" y="61"/>
                      <a:pt x="17" y="58"/>
                      <a:pt x="21" y="56"/>
                    </a:cubicBezTo>
                    <a:cubicBezTo>
                      <a:pt x="30" y="52"/>
                      <a:pt x="37" y="45"/>
                      <a:pt x="48" y="48"/>
                    </a:cubicBezTo>
                    <a:cubicBezTo>
                      <a:pt x="50" y="49"/>
                      <a:pt x="51" y="50"/>
                      <a:pt x="53" y="49"/>
                    </a:cubicBezTo>
                    <a:cubicBezTo>
                      <a:pt x="55" y="49"/>
                      <a:pt x="61" y="40"/>
                      <a:pt x="62" y="46"/>
                    </a:cubicBezTo>
                    <a:cubicBezTo>
                      <a:pt x="64" y="44"/>
                      <a:pt x="64" y="41"/>
                      <a:pt x="66" y="38"/>
                    </a:cubicBezTo>
                    <a:cubicBezTo>
                      <a:pt x="70" y="34"/>
                      <a:pt x="74" y="30"/>
                      <a:pt x="78" y="26"/>
                    </a:cubicBezTo>
                    <a:cubicBezTo>
                      <a:pt x="82" y="21"/>
                      <a:pt x="99" y="10"/>
                      <a:pt x="95" y="2"/>
                    </a:cubicBezTo>
                    <a:cubicBezTo>
                      <a:pt x="91" y="0"/>
                      <a:pt x="87" y="0"/>
                      <a:pt x="83" y="1"/>
                    </a:cubicBezTo>
                    <a:cubicBezTo>
                      <a:pt x="79" y="4"/>
                      <a:pt x="80" y="5"/>
                      <a:pt x="80" y="8"/>
                    </a:cubicBezTo>
                    <a:cubicBezTo>
                      <a:pt x="76" y="10"/>
                      <a:pt x="75" y="4"/>
                      <a:pt x="72" y="5"/>
                    </a:cubicBezTo>
                    <a:cubicBezTo>
                      <a:pt x="70" y="12"/>
                      <a:pt x="74" y="17"/>
                      <a:pt x="65" y="19"/>
                    </a:cubicBezTo>
                    <a:cubicBezTo>
                      <a:pt x="57" y="20"/>
                      <a:pt x="58" y="10"/>
                      <a:pt x="50" y="11"/>
                    </a:cubicBezTo>
                    <a:cubicBezTo>
                      <a:pt x="49" y="16"/>
                      <a:pt x="54" y="20"/>
                      <a:pt x="49" y="24"/>
                    </a:cubicBezTo>
                    <a:cubicBezTo>
                      <a:pt x="48" y="26"/>
                      <a:pt x="45" y="27"/>
                      <a:pt x="42" y="27"/>
                    </a:cubicBezTo>
                    <a:cubicBezTo>
                      <a:pt x="36" y="25"/>
                      <a:pt x="42" y="22"/>
                      <a:pt x="39" y="19"/>
                    </a:cubicBezTo>
                    <a:cubicBezTo>
                      <a:pt x="33" y="12"/>
                      <a:pt x="30" y="26"/>
                      <a:pt x="30" y="30"/>
                    </a:cubicBezTo>
                    <a:cubicBezTo>
                      <a:pt x="25" y="30"/>
                      <a:pt x="18" y="31"/>
                      <a:pt x="13" y="29"/>
                    </a:cubicBezTo>
                    <a:cubicBezTo>
                      <a:pt x="10" y="29"/>
                      <a:pt x="9" y="26"/>
                      <a:pt x="6" y="26"/>
                    </a:cubicBezTo>
                    <a:cubicBezTo>
                      <a:pt x="0" y="32"/>
                      <a:pt x="9" y="34"/>
                      <a:pt x="13" y="33"/>
                    </a:cubicBezTo>
                    <a:lnTo>
                      <a:pt x="30" y="3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78" name="Freeform 127">
                <a:extLst>
                  <a:ext uri="{FF2B5EF4-FFF2-40B4-BE49-F238E27FC236}">
                    <a16:creationId xmlns:a16="http://schemas.microsoft.com/office/drawing/2014/main" id="{86B40B57-C4A2-4E35-8AA0-4B94E4EAC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1350" y="230188"/>
                <a:ext cx="65088" cy="50800"/>
              </a:xfrm>
              <a:custGeom>
                <a:avLst/>
                <a:gdLst/>
                <a:ahLst/>
                <a:cxnLst>
                  <a:cxn ang="0">
                    <a:pos x="31" y="9"/>
                  </a:cxn>
                  <a:cxn ang="0">
                    <a:pos x="30" y="8"/>
                  </a:cxn>
                  <a:cxn ang="0">
                    <a:pos x="15" y="6"/>
                  </a:cxn>
                  <a:cxn ang="0">
                    <a:pos x="1" y="16"/>
                  </a:cxn>
                  <a:cxn ang="0">
                    <a:pos x="19" y="23"/>
                  </a:cxn>
                  <a:cxn ang="0">
                    <a:pos x="22" y="27"/>
                  </a:cxn>
                  <a:cxn ang="0">
                    <a:pos x="31" y="25"/>
                  </a:cxn>
                  <a:cxn ang="0">
                    <a:pos x="24" y="8"/>
                  </a:cxn>
                  <a:cxn ang="0">
                    <a:pos x="31" y="9"/>
                  </a:cxn>
                </a:cxnLst>
                <a:rect l="0" t="0" r="r" b="b"/>
                <a:pathLst>
                  <a:path w="35" h="27">
                    <a:moveTo>
                      <a:pt x="31" y="9"/>
                    </a:moveTo>
                    <a:cubicBezTo>
                      <a:pt x="31" y="9"/>
                      <a:pt x="30" y="9"/>
                      <a:pt x="30" y="8"/>
                    </a:cubicBezTo>
                    <a:cubicBezTo>
                      <a:pt x="30" y="1"/>
                      <a:pt x="13" y="0"/>
                      <a:pt x="15" y="6"/>
                    </a:cubicBezTo>
                    <a:cubicBezTo>
                      <a:pt x="11" y="8"/>
                      <a:pt x="1" y="11"/>
                      <a:pt x="1" y="16"/>
                    </a:cubicBezTo>
                    <a:cubicBezTo>
                      <a:pt x="0" y="26"/>
                      <a:pt x="14" y="20"/>
                      <a:pt x="19" y="23"/>
                    </a:cubicBezTo>
                    <a:cubicBezTo>
                      <a:pt x="20" y="23"/>
                      <a:pt x="21" y="26"/>
                      <a:pt x="22" y="27"/>
                    </a:cubicBezTo>
                    <a:cubicBezTo>
                      <a:pt x="23" y="27"/>
                      <a:pt x="30" y="26"/>
                      <a:pt x="31" y="25"/>
                    </a:cubicBezTo>
                    <a:cubicBezTo>
                      <a:pt x="35" y="20"/>
                      <a:pt x="27" y="11"/>
                      <a:pt x="24" y="8"/>
                    </a:cubicBezTo>
                    <a:lnTo>
                      <a:pt x="31" y="9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79" name="Freeform 128">
                <a:extLst>
                  <a:ext uri="{FF2B5EF4-FFF2-40B4-BE49-F238E27FC236}">
                    <a16:creationId xmlns:a16="http://schemas.microsoft.com/office/drawing/2014/main" id="{CC75DF2A-FCB7-4291-B0C5-485841037F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4850" y="171450"/>
                <a:ext cx="84138" cy="93663"/>
              </a:xfrm>
              <a:custGeom>
                <a:avLst/>
                <a:gdLst/>
                <a:ahLst/>
                <a:cxnLst>
                  <a:cxn ang="0">
                    <a:pos x="5" y="18"/>
                  </a:cxn>
                  <a:cxn ang="0">
                    <a:pos x="3" y="19"/>
                  </a:cxn>
                  <a:cxn ang="0">
                    <a:pos x="0" y="27"/>
                  </a:cxn>
                  <a:cxn ang="0">
                    <a:pos x="6" y="32"/>
                  </a:cxn>
                  <a:cxn ang="0">
                    <a:pos x="5" y="44"/>
                  </a:cxn>
                  <a:cxn ang="0">
                    <a:pos x="11" y="48"/>
                  </a:cxn>
                  <a:cxn ang="0">
                    <a:pos x="13" y="50"/>
                  </a:cxn>
                  <a:cxn ang="0">
                    <a:pos x="16" y="48"/>
                  </a:cxn>
                  <a:cxn ang="0">
                    <a:pos x="27" y="39"/>
                  </a:cxn>
                  <a:cxn ang="0">
                    <a:pos x="44" y="31"/>
                  </a:cxn>
                  <a:cxn ang="0">
                    <a:pos x="42" y="22"/>
                  </a:cxn>
                  <a:cxn ang="0">
                    <a:pos x="42" y="13"/>
                  </a:cxn>
                  <a:cxn ang="0">
                    <a:pos x="39" y="5"/>
                  </a:cxn>
                  <a:cxn ang="0">
                    <a:pos x="34" y="4"/>
                  </a:cxn>
                  <a:cxn ang="0">
                    <a:pos x="32" y="4"/>
                  </a:cxn>
                  <a:cxn ang="0">
                    <a:pos x="29" y="1"/>
                  </a:cxn>
                  <a:cxn ang="0">
                    <a:pos x="20" y="18"/>
                  </a:cxn>
                  <a:cxn ang="0">
                    <a:pos x="5" y="17"/>
                  </a:cxn>
                  <a:cxn ang="0">
                    <a:pos x="5" y="18"/>
                  </a:cxn>
                </a:cxnLst>
                <a:rect l="0" t="0" r="r" b="b"/>
                <a:pathLst>
                  <a:path w="45" h="50">
                    <a:moveTo>
                      <a:pt x="5" y="18"/>
                    </a:moveTo>
                    <a:cubicBezTo>
                      <a:pt x="4" y="18"/>
                      <a:pt x="4" y="18"/>
                      <a:pt x="3" y="19"/>
                    </a:cubicBezTo>
                    <a:cubicBezTo>
                      <a:pt x="3" y="21"/>
                      <a:pt x="0" y="25"/>
                      <a:pt x="0" y="27"/>
                    </a:cubicBezTo>
                    <a:cubicBezTo>
                      <a:pt x="1" y="30"/>
                      <a:pt x="5" y="31"/>
                      <a:pt x="6" y="32"/>
                    </a:cubicBezTo>
                    <a:cubicBezTo>
                      <a:pt x="10" y="37"/>
                      <a:pt x="3" y="38"/>
                      <a:pt x="5" y="44"/>
                    </a:cubicBezTo>
                    <a:cubicBezTo>
                      <a:pt x="6" y="48"/>
                      <a:pt x="8" y="47"/>
                      <a:pt x="11" y="48"/>
                    </a:cubicBezTo>
                    <a:cubicBezTo>
                      <a:pt x="12" y="49"/>
                      <a:pt x="12" y="50"/>
                      <a:pt x="13" y="50"/>
                    </a:cubicBezTo>
                    <a:cubicBezTo>
                      <a:pt x="16" y="50"/>
                      <a:pt x="15" y="50"/>
                      <a:pt x="16" y="48"/>
                    </a:cubicBezTo>
                    <a:cubicBezTo>
                      <a:pt x="20" y="43"/>
                      <a:pt x="19" y="39"/>
                      <a:pt x="27" y="39"/>
                    </a:cubicBezTo>
                    <a:cubicBezTo>
                      <a:pt x="35" y="39"/>
                      <a:pt x="45" y="43"/>
                      <a:pt x="44" y="31"/>
                    </a:cubicBezTo>
                    <a:cubicBezTo>
                      <a:pt x="44" y="27"/>
                      <a:pt x="43" y="25"/>
                      <a:pt x="42" y="22"/>
                    </a:cubicBezTo>
                    <a:cubicBezTo>
                      <a:pt x="42" y="19"/>
                      <a:pt x="42" y="16"/>
                      <a:pt x="42" y="13"/>
                    </a:cubicBezTo>
                    <a:cubicBezTo>
                      <a:pt x="42" y="9"/>
                      <a:pt x="42" y="7"/>
                      <a:pt x="39" y="5"/>
                    </a:cubicBezTo>
                    <a:cubicBezTo>
                      <a:pt x="37" y="4"/>
                      <a:pt x="35" y="4"/>
                      <a:pt x="34" y="4"/>
                    </a:cubicBezTo>
                    <a:cubicBezTo>
                      <a:pt x="33" y="4"/>
                      <a:pt x="32" y="4"/>
                      <a:pt x="32" y="4"/>
                    </a:cubicBezTo>
                    <a:cubicBezTo>
                      <a:pt x="31" y="3"/>
                      <a:pt x="30" y="2"/>
                      <a:pt x="29" y="1"/>
                    </a:cubicBezTo>
                    <a:cubicBezTo>
                      <a:pt x="22" y="0"/>
                      <a:pt x="19" y="12"/>
                      <a:pt x="20" y="18"/>
                    </a:cubicBezTo>
                    <a:cubicBezTo>
                      <a:pt x="15" y="19"/>
                      <a:pt x="10" y="17"/>
                      <a:pt x="5" y="17"/>
                    </a:cubicBezTo>
                    <a:lnTo>
                      <a:pt x="5" y="18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80" name="Freeform 129">
                <a:extLst>
                  <a:ext uri="{FF2B5EF4-FFF2-40B4-BE49-F238E27FC236}">
                    <a16:creationId xmlns:a16="http://schemas.microsoft.com/office/drawing/2014/main" id="{DC2EFAAC-1FE4-4AD7-8C35-3461607AD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6763" y="123825"/>
                <a:ext cx="36513" cy="61913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2" y="11"/>
                  </a:cxn>
                  <a:cxn ang="0">
                    <a:pos x="7" y="19"/>
                  </a:cxn>
                  <a:cxn ang="0">
                    <a:pos x="6" y="27"/>
                  </a:cxn>
                  <a:cxn ang="0">
                    <a:pos x="9" y="30"/>
                  </a:cxn>
                  <a:cxn ang="0">
                    <a:pos x="13" y="33"/>
                  </a:cxn>
                  <a:cxn ang="0">
                    <a:pos x="16" y="29"/>
                  </a:cxn>
                  <a:cxn ang="0">
                    <a:pos x="18" y="20"/>
                  </a:cxn>
                  <a:cxn ang="0">
                    <a:pos x="13" y="3"/>
                  </a:cxn>
                  <a:cxn ang="0">
                    <a:pos x="9" y="0"/>
                  </a:cxn>
                </a:cxnLst>
                <a:rect l="0" t="0" r="r" b="b"/>
                <a:pathLst>
                  <a:path w="20" h="33">
                    <a:moveTo>
                      <a:pt x="9" y="0"/>
                    </a:moveTo>
                    <a:cubicBezTo>
                      <a:pt x="5" y="2"/>
                      <a:pt x="0" y="5"/>
                      <a:pt x="2" y="11"/>
                    </a:cubicBezTo>
                    <a:cubicBezTo>
                      <a:pt x="2" y="14"/>
                      <a:pt x="6" y="15"/>
                      <a:pt x="7" y="19"/>
                    </a:cubicBezTo>
                    <a:cubicBezTo>
                      <a:pt x="7" y="21"/>
                      <a:pt x="6" y="24"/>
                      <a:pt x="6" y="27"/>
                    </a:cubicBezTo>
                    <a:cubicBezTo>
                      <a:pt x="6" y="28"/>
                      <a:pt x="7" y="29"/>
                      <a:pt x="9" y="30"/>
                    </a:cubicBezTo>
                    <a:cubicBezTo>
                      <a:pt x="9" y="29"/>
                      <a:pt x="14" y="33"/>
                      <a:pt x="13" y="33"/>
                    </a:cubicBezTo>
                    <a:cubicBezTo>
                      <a:pt x="17" y="33"/>
                      <a:pt x="16" y="32"/>
                      <a:pt x="16" y="29"/>
                    </a:cubicBezTo>
                    <a:cubicBezTo>
                      <a:pt x="16" y="25"/>
                      <a:pt x="17" y="23"/>
                      <a:pt x="18" y="20"/>
                    </a:cubicBezTo>
                    <a:cubicBezTo>
                      <a:pt x="20" y="12"/>
                      <a:pt x="15" y="9"/>
                      <a:pt x="13" y="3"/>
                    </a:cubicBezTo>
                    <a:lnTo>
                      <a:pt x="9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81" name="Freeform 130">
                <a:extLst>
                  <a:ext uri="{FF2B5EF4-FFF2-40B4-BE49-F238E27FC236}">
                    <a16:creationId xmlns:a16="http://schemas.microsoft.com/office/drawing/2014/main" id="{54AD0439-D1A8-4D19-93FA-F7521984B1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9263" y="269875"/>
                <a:ext cx="73025" cy="85725"/>
              </a:xfrm>
              <a:custGeom>
                <a:avLst/>
                <a:gdLst/>
                <a:ahLst/>
                <a:cxnLst>
                  <a:cxn ang="0">
                    <a:pos x="35" y="15"/>
                  </a:cxn>
                  <a:cxn ang="0">
                    <a:pos x="25" y="3"/>
                  </a:cxn>
                  <a:cxn ang="0">
                    <a:pos x="8" y="12"/>
                  </a:cxn>
                  <a:cxn ang="0">
                    <a:pos x="3" y="26"/>
                  </a:cxn>
                  <a:cxn ang="0">
                    <a:pos x="1" y="35"/>
                  </a:cxn>
                  <a:cxn ang="0">
                    <a:pos x="15" y="35"/>
                  </a:cxn>
                  <a:cxn ang="0">
                    <a:pos x="23" y="45"/>
                  </a:cxn>
                  <a:cxn ang="0">
                    <a:pos x="37" y="25"/>
                  </a:cxn>
                  <a:cxn ang="0">
                    <a:pos x="35" y="8"/>
                  </a:cxn>
                  <a:cxn ang="0">
                    <a:pos x="35" y="15"/>
                  </a:cxn>
                </a:cxnLst>
                <a:rect l="0" t="0" r="r" b="b"/>
                <a:pathLst>
                  <a:path w="39" h="46">
                    <a:moveTo>
                      <a:pt x="35" y="15"/>
                    </a:moveTo>
                    <a:cubicBezTo>
                      <a:pt x="33" y="11"/>
                      <a:pt x="30" y="5"/>
                      <a:pt x="25" y="3"/>
                    </a:cubicBezTo>
                    <a:cubicBezTo>
                      <a:pt x="18" y="0"/>
                      <a:pt x="12" y="8"/>
                      <a:pt x="8" y="12"/>
                    </a:cubicBezTo>
                    <a:cubicBezTo>
                      <a:pt x="4" y="17"/>
                      <a:pt x="4" y="20"/>
                      <a:pt x="3" y="26"/>
                    </a:cubicBezTo>
                    <a:cubicBezTo>
                      <a:pt x="2" y="29"/>
                      <a:pt x="0" y="31"/>
                      <a:pt x="1" y="35"/>
                    </a:cubicBezTo>
                    <a:cubicBezTo>
                      <a:pt x="5" y="35"/>
                      <a:pt x="12" y="33"/>
                      <a:pt x="15" y="35"/>
                    </a:cubicBezTo>
                    <a:cubicBezTo>
                      <a:pt x="20" y="38"/>
                      <a:pt x="16" y="45"/>
                      <a:pt x="23" y="45"/>
                    </a:cubicBezTo>
                    <a:cubicBezTo>
                      <a:pt x="32" y="46"/>
                      <a:pt x="36" y="32"/>
                      <a:pt x="37" y="25"/>
                    </a:cubicBezTo>
                    <a:cubicBezTo>
                      <a:pt x="37" y="19"/>
                      <a:pt x="39" y="13"/>
                      <a:pt x="35" y="8"/>
                    </a:cubicBezTo>
                    <a:lnTo>
                      <a:pt x="35" y="1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82" name="Freeform 131">
                <a:extLst>
                  <a:ext uri="{FF2B5EF4-FFF2-40B4-BE49-F238E27FC236}">
                    <a16:creationId xmlns:a16="http://schemas.microsoft.com/office/drawing/2014/main" id="{3771753F-8319-4CAA-A239-18F400FCA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4513" y="263525"/>
                <a:ext cx="92075" cy="85725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" y="10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9" y="36"/>
                  </a:cxn>
                  <a:cxn ang="0">
                    <a:pos x="20" y="38"/>
                  </a:cxn>
                  <a:cxn ang="0">
                    <a:pos x="39" y="41"/>
                  </a:cxn>
                  <a:cxn ang="0">
                    <a:pos x="44" y="46"/>
                  </a:cxn>
                  <a:cxn ang="0">
                    <a:pos x="48" y="40"/>
                  </a:cxn>
                  <a:cxn ang="0">
                    <a:pos x="34" y="17"/>
                  </a:cxn>
                  <a:cxn ang="0">
                    <a:pos x="30" y="16"/>
                  </a:cxn>
                  <a:cxn ang="0">
                    <a:pos x="24" y="11"/>
                  </a:cxn>
                  <a:cxn ang="0">
                    <a:pos x="12" y="2"/>
                  </a:cxn>
                  <a:cxn ang="0">
                    <a:pos x="9" y="0"/>
                  </a:cxn>
                </a:cxnLst>
                <a:rect l="0" t="0" r="r" b="b"/>
                <a:pathLst>
                  <a:path w="49" h="46">
                    <a:moveTo>
                      <a:pt x="9" y="0"/>
                    </a:moveTo>
                    <a:cubicBezTo>
                      <a:pt x="3" y="0"/>
                      <a:pt x="0" y="3"/>
                      <a:pt x="1" y="10"/>
                    </a:cubicBezTo>
                    <a:cubicBezTo>
                      <a:pt x="1" y="12"/>
                      <a:pt x="3" y="17"/>
                      <a:pt x="4" y="18"/>
                    </a:cubicBezTo>
                    <a:cubicBezTo>
                      <a:pt x="6" y="20"/>
                      <a:pt x="7" y="20"/>
                      <a:pt x="8" y="22"/>
                    </a:cubicBezTo>
                    <a:cubicBezTo>
                      <a:pt x="10" y="27"/>
                      <a:pt x="8" y="31"/>
                      <a:pt x="9" y="36"/>
                    </a:cubicBezTo>
                    <a:cubicBezTo>
                      <a:pt x="11" y="40"/>
                      <a:pt x="16" y="38"/>
                      <a:pt x="20" y="38"/>
                    </a:cubicBezTo>
                    <a:cubicBezTo>
                      <a:pt x="25" y="38"/>
                      <a:pt x="35" y="38"/>
                      <a:pt x="39" y="41"/>
                    </a:cubicBezTo>
                    <a:cubicBezTo>
                      <a:pt x="41" y="43"/>
                      <a:pt x="40" y="46"/>
                      <a:pt x="44" y="46"/>
                    </a:cubicBezTo>
                    <a:cubicBezTo>
                      <a:pt x="48" y="46"/>
                      <a:pt x="48" y="43"/>
                      <a:pt x="48" y="40"/>
                    </a:cubicBezTo>
                    <a:cubicBezTo>
                      <a:pt x="49" y="30"/>
                      <a:pt x="44" y="20"/>
                      <a:pt x="34" y="17"/>
                    </a:cubicBezTo>
                    <a:cubicBezTo>
                      <a:pt x="32" y="17"/>
                      <a:pt x="32" y="17"/>
                      <a:pt x="30" y="16"/>
                    </a:cubicBezTo>
                    <a:cubicBezTo>
                      <a:pt x="28" y="15"/>
                      <a:pt x="26" y="12"/>
                      <a:pt x="24" y="11"/>
                    </a:cubicBezTo>
                    <a:cubicBezTo>
                      <a:pt x="21" y="8"/>
                      <a:pt x="12" y="6"/>
                      <a:pt x="12" y="2"/>
                    </a:cubicBezTo>
                    <a:lnTo>
                      <a:pt x="9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83" name="Freeform 132">
                <a:extLst>
                  <a:ext uri="{FF2B5EF4-FFF2-40B4-BE49-F238E27FC236}">
                    <a16:creationId xmlns:a16="http://schemas.microsoft.com/office/drawing/2014/main" id="{2AF1C027-27F9-4CF8-9DBE-FFE6221643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075" y="357188"/>
                <a:ext cx="38100" cy="222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6" y="9"/>
                  </a:cxn>
                  <a:cxn ang="0">
                    <a:pos x="18" y="11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0" h="12">
                    <a:moveTo>
                      <a:pt x="14" y="0"/>
                    </a:moveTo>
                    <a:cubicBezTo>
                      <a:pt x="9" y="0"/>
                      <a:pt x="0" y="1"/>
                      <a:pt x="6" y="9"/>
                    </a:cubicBezTo>
                    <a:cubicBezTo>
                      <a:pt x="8" y="11"/>
                      <a:pt x="15" y="12"/>
                      <a:pt x="18" y="11"/>
                    </a:cubicBezTo>
                    <a:cubicBezTo>
                      <a:pt x="20" y="9"/>
                      <a:pt x="20" y="3"/>
                      <a:pt x="18" y="0"/>
                    </a:cubicBezTo>
                    <a:lnTo>
                      <a:pt x="14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84" name="Freeform 133">
                <a:extLst>
                  <a:ext uri="{FF2B5EF4-FFF2-40B4-BE49-F238E27FC236}">
                    <a16:creationId xmlns:a16="http://schemas.microsoft.com/office/drawing/2014/main" id="{A38E854E-7C0B-4BDE-9025-F7B3BAB8B9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775" y="271463"/>
                <a:ext cx="60325" cy="77788"/>
              </a:xfrm>
              <a:custGeom>
                <a:avLst/>
                <a:gdLst/>
                <a:ahLst/>
                <a:cxnLst>
                  <a:cxn ang="0">
                    <a:pos x="32" y="22"/>
                  </a:cxn>
                  <a:cxn ang="0">
                    <a:pos x="29" y="9"/>
                  </a:cxn>
                  <a:cxn ang="0">
                    <a:pos x="15" y="11"/>
                  </a:cxn>
                  <a:cxn ang="0">
                    <a:pos x="13" y="7"/>
                  </a:cxn>
                  <a:cxn ang="0">
                    <a:pos x="8" y="3"/>
                  </a:cxn>
                  <a:cxn ang="0">
                    <a:pos x="2" y="4"/>
                  </a:cxn>
                  <a:cxn ang="0">
                    <a:pos x="2" y="17"/>
                  </a:cxn>
                  <a:cxn ang="0">
                    <a:pos x="6" y="23"/>
                  </a:cxn>
                  <a:cxn ang="0">
                    <a:pos x="12" y="25"/>
                  </a:cxn>
                  <a:cxn ang="0">
                    <a:pos x="9" y="41"/>
                  </a:cxn>
                  <a:cxn ang="0">
                    <a:pos x="22" y="33"/>
                  </a:cxn>
                  <a:cxn ang="0">
                    <a:pos x="26" y="22"/>
                  </a:cxn>
                  <a:cxn ang="0">
                    <a:pos x="32" y="22"/>
                  </a:cxn>
                </a:cxnLst>
                <a:rect l="0" t="0" r="r" b="b"/>
                <a:pathLst>
                  <a:path w="32" h="42">
                    <a:moveTo>
                      <a:pt x="32" y="22"/>
                    </a:moveTo>
                    <a:cubicBezTo>
                      <a:pt x="28" y="22"/>
                      <a:pt x="32" y="11"/>
                      <a:pt x="29" y="9"/>
                    </a:cubicBezTo>
                    <a:cubicBezTo>
                      <a:pt x="27" y="7"/>
                      <a:pt x="17" y="14"/>
                      <a:pt x="15" y="11"/>
                    </a:cubicBezTo>
                    <a:cubicBezTo>
                      <a:pt x="14" y="10"/>
                      <a:pt x="14" y="8"/>
                      <a:pt x="13" y="7"/>
                    </a:cubicBezTo>
                    <a:cubicBezTo>
                      <a:pt x="11" y="5"/>
                      <a:pt x="10" y="4"/>
                      <a:pt x="8" y="3"/>
                    </a:cubicBezTo>
                    <a:cubicBezTo>
                      <a:pt x="4" y="1"/>
                      <a:pt x="3" y="0"/>
                      <a:pt x="2" y="4"/>
                    </a:cubicBezTo>
                    <a:cubicBezTo>
                      <a:pt x="0" y="7"/>
                      <a:pt x="1" y="14"/>
                      <a:pt x="2" y="17"/>
                    </a:cubicBezTo>
                    <a:cubicBezTo>
                      <a:pt x="3" y="19"/>
                      <a:pt x="4" y="21"/>
                      <a:pt x="6" y="23"/>
                    </a:cubicBezTo>
                    <a:cubicBezTo>
                      <a:pt x="8" y="23"/>
                      <a:pt x="10" y="24"/>
                      <a:pt x="12" y="25"/>
                    </a:cubicBezTo>
                    <a:cubicBezTo>
                      <a:pt x="15" y="31"/>
                      <a:pt x="7" y="35"/>
                      <a:pt x="9" y="41"/>
                    </a:cubicBezTo>
                    <a:cubicBezTo>
                      <a:pt x="12" y="42"/>
                      <a:pt x="21" y="36"/>
                      <a:pt x="22" y="33"/>
                    </a:cubicBezTo>
                    <a:cubicBezTo>
                      <a:pt x="28" y="25"/>
                      <a:pt x="29" y="30"/>
                      <a:pt x="26" y="22"/>
                    </a:cubicBezTo>
                    <a:lnTo>
                      <a:pt x="32" y="2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85" name="Freeform 134">
                <a:extLst>
                  <a:ext uri="{FF2B5EF4-FFF2-40B4-BE49-F238E27FC236}">
                    <a16:creationId xmlns:a16="http://schemas.microsoft.com/office/drawing/2014/main" id="{5D81872E-F47A-4DAA-8005-797F45F1FE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7363" y="1987550"/>
                <a:ext cx="100013" cy="5715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18" y="7"/>
                  </a:cxn>
                  <a:cxn ang="0">
                    <a:pos x="14" y="11"/>
                  </a:cxn>
                  <a:cxn ang="0">
                    <a:pos x="11" y="13"/>
                  </a:cxn>
                  <a:cxn ang="0">
                    <a:pos x="6" y="15"/>
                  </a:cxn>
                  <a:cxn ang="0">
                    <a:pos x="3" y="29"/>
                  </a:cxn>
                  <a:cxn ang="0">
                    <a:pos x="11" y="29"/>
                  </a:cxn>
                  <a:cxn ang="0">
                    <a:pos x="19" y="25"/>
                  </a:cxn>
                  <a:cxn ang="0">
                    <a:pos x="26" y="25"/>
                  </a:cxn>
                  <a:cxn ang="0">
                    <a:pos x="31" y="26"/>
                  </a:cxn>
                  <a:cxn ang="0">
                    <a:pos x="39" y="23"/>
                  </a:cxn>
                  <a:cxn ang="0">
                    <a:pos x="44" y="20"/>
                  </a:cxn>
                  <a:cxn ang="0">
                    <a:pos x="50" y="19"/>
                  </a:cxn>
                  <a:cxn ang="0">
                    <a:pos x="53" y="15"/>
                  </a:cxn>
                  <a:cxn ang="0">
                    <a:pos x="54" y="13"/>
                  </a:cxn>
                  <a:cxn ang="0">
                    <a:pos x="46" y="10"/>
                  </a:cxn>
                  <a:cxn ang="0">
                    <a:pos x="41" y="9"/>
                  </a:cxn>
                  <a:cxn ang="0">
                    <a:pos x="40" y="4"/>
                  </a:cxn>
                  <a:cxn ang="0">
                    <a:pos x="39" y="1"/>
                  </a:cxn>
                  <a:cxn ang="0">
                    <a:pos x="32" y="2"/>
                  </a:cxn>
                  <a:cxn ang="0">
                    <a:pos x="33" y="0"/>
                  </a:cxn>
                </a:cxnLst>
                <a:rect l="0" t="0" r="r" b="b"/>
                <a:pathLst>
                  <a:path w="54" h="31">
                    <a:moveTo>
                      <a:pt x="33" y="0"/>
                    </a:moveTo>
                    <a:cubicBezTo>
                      <a:pt x="28" y="0"/>
                      <a:pt x="21" y="4"/>
                      <a:pt x="18" y="7"/>
                    </a:cubicBezTo>
                    <a:cubicBezTo>
                      <a:pt x="16" y="9"/>
                      <a:pt x="16" y="10"/>
                      <a:pt x="14" y="11"/>
                    </a:cubicBezTo>
                    <a:cubicBezTo>
                      <a:pt x="13" y="12"/>
                      <a:pt x="12" y="12"/>
                      <a:pt x="11" y="13"/>
                    </a:cubicBezTo>
                    <a:cubicBezTo>
                      <a:pt x="9" y="14"/>
                      <a:pt x="8" y="15"/>
                      <a:pt x="6" y="15"/>
                    </a:cubicBezTo>
                    <a:cubicBezTo>
                      <a:pt x="3" y="18"/>
                      <a:pt x="0" y="25"/>
                      <a:pt x="3" y="29"/>
                    </a:cubicBezTo>
                    <a:cubicBezTo>
                      <a:pt x="5" y="31"/>
                      <a:pt x="8" y="30"/>
                      <a:pt x="11" y="29"/>
                    </a:cubicBezTo>
                    <a:cubicBezTo>
                      <a:pt x="14" y="27"/>
                      <a:pt x="15" y="25"/>
                      <a:pt x="19" y="25"/>
                    </a:cubicBezTo>
                    <a:cubicBezTo>
                      <a:pt x="21" y="24"/>
                      <a:pt x="24" y="24"/>
                      <a:pt x="26" y="25"/>
                    </a:cubicBezTo>
                    <a:cubicBezTo>
                      <a:pt x="28" y="25"/>
                      <a:pt x="29" y="26"/>
                      <a:pt x="31" y="26"/>
                    </a:cubicBezTo>
                    <a:cubicBezTo>
                      <a:pt x="34" y="26"/>
                      <a:pt x="37" y="25"/>
                      <a:pt x="39" y="23"/>
                    </a:cubicBezTo>
                    <a:cubicBezTo>
                      <a:pt x="41" y="22"/>
                      <a:pt x="42" y="21"/>
                      <a:pt x="44" y="20"/>
                    </a:cubicBezTo>
                    <a:cubicBezTo>
                      <a:pt x="46" y="20"/>
                      <a:pt x="48" y="20"/>
                      <a:pt x="50" y="19"/>
                    </a:cubicBezTo>
                    <a:cubicBezTo>
                      <a:pt x="52" y="18"/>
                      <a:pt x="52" y="17"/>
                      <a:pt x="53" y="15"/>
                    </a:cubicBezTo>
                    <a:cubicBezTo>
                      <a:pt x="54" y="14"/>
                      <a:pt x="54" y="14"/>
                      <a:pt x="54" y="13"/>
                    </a:cubicBezTo>
                    <a:cubicBezTo>
                      <a:pt x="51" y="11"/>
                      <a:pt x="49" y="10"/>
                      <a:pt x="46" y="10"/>
                    </a:cubicBezTo>
                    <a:cubicBezTo>
                      <a:pt x="44" y="9"/>
                      <a:pt x="43" y="9"/>
                      <a:pt x="41" y="9"/>
                    </a:cubicBezTo>
                    <a:cubicBezTo>
                      <a:pt x="41" y="8"/>
                      <a:pt x="40" y="6"/>
                      <a:pt x="40" y="4"/>
                    </a:cubicBezTo>
                    <a:cubicBezTo>
                      <a:pt x="40" y="3"/>
                      <a:pt x="40" y="2"/>
                      <a:pt x="39" y="1"/>
                    </a:cubicBezTo>
                    <a:cubicBezTo>
                      <a:pt x="38" y="1"/>
                      <a:pt x="34" y="2"/>
                      <a:pt x="32" y="2"/>
                    </a:cubicBezTo>
                    <a:lnTo>
                      <a:pt x="33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86" name="Freeform 135">
                <a:extLst>
                  <a:ext uri="{FF2B5EF4-FFF2-40B4-BE49-F238E27FC236}">
                    <a16:creationId xmlns:a16="http://schemas.microsoft.com/office/drawing/2014/main" id="{F069D37A-CC2E-46D0-874F-2B0D3EC687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6888" y="1946275"/>
                <a:ext cx="58738" cy="33338"/>
              </a:xfrm>
              <a:custGeom>
                <a:avLst/>
                <a:gdLst/>
                <a:ahLst/>
                <a:cxnLst>
                  <a:cxn ang="0">
                    <a:pos x="23" y="2"/>
                  </a:cxn>
                  <a:cxn ang="0">
                    <a:pos x="9" y="7"/>
                  </a:cxn>
                  <a:cxn ang="0">
                    <a:pos x="3" y="12"/>
                  </a:cxn>
                  <a:cxn ang="0">
                    <a:pos x="1" y="16"/>
                  </a:cxn>
                  <a:cxn ang="0">
                    <a:pos x="9" y="17"/>
                  </a:cxn>
                  <a:cxn ang="0">
                    <a:pos x="24" y="15"/>
                  </a:cxn>
                  <a:cxn ang="0">
                    <a:pos x="28" y="13"/>
                  </a:cxn>
                  <a:cxn ang="0">
                    <a:pos x="26" y="0"/>
                  </a:cxn>
                  <a:cxn ang="0">
                    <a:pos x="23" y="2"/>
                  </a:cxn>
                </a:cxnLst>
                <a:rect l="0" t="0" r="r" b="b"/>
                <a:pathLst>
                  <a:path w="32" h="18">
                    <a:moveTo>
                      <a:pt x="23" y="2"/>
                    </a:moveTo>
                    <a:cubicBezTo>
                      <a:pt x="19" y="2"/>
                      <a:pt x="13" y="5"/>
                      <a:pt x="9" y="7"/>
                    </a:cubicBezTo>
                    <a:cubicBezTo>
                      <a:pt x="5" y="8"/>
                      <a:pt x="5" y="10"/>
                      <a:pt x="3" y="12"/>
                    </a:cubicBezTo>
                    <a:cubicBezTo>
                      <a:pt x="2" y="13"/>
                      <a:pt x="0" y="14"/>
                      <a:pt x="1" y="16"/>
                    </a:cubicBezTo>
                    <a:cubicBezTo>
                      <a:pt x="2" y="18"/>
                      <a:pt x="6" y="17"/>
                      <a:pt x="9" y="17"/>
                    </a:cubicBezTo>
                    <a:cubicBezTo>
                      <a:pt x="14" y="17"/>
                      <a:pt x="19" y="17"/>
                      <a:pt x="24" y="15"/>
                    </a:cubicBezTo>
                    <a:cubicBezTo>
                      <a:pt x="25" y="14"/>
                      <a:pt x="27" y="14"/>
                      <a:pt x="28" y="13"/>
                    </a:cubicBezTo>
                    <a:cubicBezTo>
                      <a:pt x="32" y="9"/>
                      <a:pt x="29" y="3"/>
                      <a:pt x="26" y="0"/>
                    </a:cubicBezTo>
                    <a:lnTo>
                      <a:pt x="23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87" name="Freeform 136">
                <a:extLst>
                  <a:ext uri="{FF2B5EF4-FFF2-40B4-BE49-F238E27FC236}">
                    <a16:creationId xmlns:a16="http://schemas.microsoft.com/office/drawing/2014/main" id="{D3575A09-1299-4DD8-AE77-A9274C9529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6088" y="2024063"/>
                <a:ext cx="41275" cy="39688"/>
              </a:xfrm>
              <a:custGeom>
                <a:avLst/>
                <a:gdLst/>
                <a:ahLst/>
                <a:cxnLst>
                  <a:cxn ang="0">
                    <a:pos x="16" y="5"/>
                  </a:cxn>
                  <a:cxn ang="0">
                    <a:pos x="7" y="4"/>
                  </a:cxn>
                  <a:cxn ang="0">
                    <a:pos x="0" y="12"/>
                  </a:cxn>
                  <a:cxn ang="0">
                    <a:pos x="7" y="19"/>
                  </a:cxn>
                  <a:cxn ang="0">
                    <a:pos x="10" y="20"/>
                  </a:cxn>
                  <a:cxn ang="0">
                    <a:pos x="17" y="18"/>
                  </a:cxn>
                  <a:cxn ang="0">
                    <a:pos x="21" y="13"/>
                  </a:cxn>
                  <a:cxn ang="0">
                    <a:pos x="14" y="0"/>
                  </a:cxn>
                  <a:cxn ang="0">
                    <a:pos x="16" y="5"/>
                  </a:cxn>
                </a:cxnLst>
                <a:rect l="0" t="0" r="r" b="b"/>
                <a:pathLst>
                  <a:path w="22" h="21">
                    <a:moveTo>
                      <a:pt x="16" y="5"/>
                    </a:moveTo>
                    <a:cubicBezTo>
                      <a:pt x="13" y="3"/>
                      <a:pt x="10" y="2"/>
                      <a:pt x="7" y="4"/>
                    </a:cubicBezTo>
                    <a:cubicBezTo>
                      <a:pt x="4" y="5"/>
                      <a:pt x="1" y="9"/>
                      <a:pt x="0" y="12"/>
                    </a:cubicBezTo>
                    <a:cubicBezTo>
                      <a:pt x="0" y="15"/>
                      <a:pt x="4" y="18"/>
                      <a:pt x="7" y="19"/>
                    </a:cubicBezTo>
                    <a:cubicBezTo>
                      <a:pt x="8" y="19"/>
                      <a:pt x="9" y="20"/>
                      <a:pt x="10" y="20"/>
                    </a:cubicBezTo>
                    <a:cubicBezTo>
                      <a:pt x="13" y="21"/>
                      <a:pt x="15" y="19"/>
                      <a:pt x="17" y="18"/>
                    </a:cubicBezTo>
                    <a:cubicBezTo>
                      <a:pt x="19" y="16"/>
                      <a:pt x="21" y="16"/>
                      <a:pt x="21" y="13"/>
                    </a:cubicBezTo>
                    <a:cubicBezTo>
                      <a:pt x="22" y="8"/>
                      <a:pt x="19" y="3"/>
                      <a:pt x="14" y="0"/>
                    </a:cubicBezTo>
                    <a:lnTo>
                      <a:pt x="16" y="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88" name="Freeform 137">
                <a:extLst>
                  <a:ext uri="{FF2B5EF4-FFF2-40B4-BE49-F238E27FC236}">
                    <a16:creationId xmlns:a16="http://schemas.microsoft.com/office/drawing/2014/main" id="{077460C2-C8E7-4298-B90C-7BE176F965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1138" y="285750"/>
                <a:ext cx="187325" cy="206375"/>
              </a:xfrm>
              <a:custGeom>
                <a:avLst/>
                <a:gdLst/>
                <a:ahLst/>
                <a:cxnLst>
                  <a:cxn ang="0">
                    <a:pos x="39" y="61"/>
                  </a:cxn>
                  <a:cxn ang="0">
                    <a:pos x="38" y="59"/>
                  </a:cxn>
                  <a:cxn ang="0">
                    <a:pos x="29" y="68"/>
                  </a:cxn>
                  <a:cxn ang="0">
                    <a:pos x="15" y="70"/>
                  </a:cxn>
                  <a:cxn ang="0">
                    <a:pos x="18" y="80"/>
                  </a:cxn>
                  <a:cxn ang="0">
                    <a:pos x="3" y="82"/>
                  </a:cxn>
                  <a:cxn ang="0">
                    <a:pos x="0" y="93"/>
                  </a:cxn>
                  <a:cxn ang="0">
                    <a:pos x="5" y="102"/>
                  </a:cxn>
                  <a:cxn ang="0">
                    <a:pos x="22" y="104"/>
                  </a:cxn>
                  <a:cxn ang="0">
                    <a:pos x="26" y="109"/>
                  </a:cxn>
                  <a:cxn ang="0">
                    <a:pos x="27" y="105"/>
                  </a:cxn>
                  <a:cxn ang="0">
                    <a:pos x="31" y="96"/>
                  </a:cxn>
                  <a:cxn ang="0">
                    <a:pos x="40" y="92"/>
                  </a:cxn>
                  <a:cxn ang="0">
                    <a:pos x="39" y="61"/>
                  </a:cxn>
                  <a:cxn ang="0">
                    <a:pos x="96" y="40"/>
                  </a:cxn>
                  <a:cxn ang="0">
                    <a:pos x="87" y="36"/>
                  </a:cxn>
                  <a:cxn ang="0">
                    <a:pos x="82" y="35"/>
                  </a:cxn>
                  <a:cxn ang="0">
                    <a:pos x="78" y="32"/>
                  </a:cxn>
                  <a:cxn ang="0">
                    <a:pos x="72" y="30"/>
                  </a:cxn>
                  <a:cxn ang="0">
                    <a:pos x="69" y="30"/>
                  </a:cxn>
                  <a:cxn ang="0">
                    <a:pos x="67" y="29"/>
                  </a:cxn>
                  <a:cxn ang="0">
                    <a:pos x="68" y="29"/>
                  </a:cxn>
                  <a:cxn ang="0">
                    <a:pos x="67" y="29"/>
                  </a:cxn>
                  <a:cxn ang="0">
                    <a:pos x="64" y="25"/>
                  </a:cxn>
                  <a:cxn ang="0">
                    <a:pos x="56" y="15"/>
                  </a:cxn>
                  <a:cxn ang="0">
                    <a:pos x="57" y="2"/>
                  </a:cxn>
                  <a:cxn ang="0">
                    <a:pos x="49" y="1"/>
                  </a:cxn>
                  <a:cxn ang="0">
                    <a:pos x="45" y="7"/>
                  </a:cxn>
                  <a:cxn ang="0">
                    <a:pos x="46" y="11"/>
                  </a:cxn>
                  <a:cxn ang="0">
                    <a:pos x="46" y="18"/>
                  </a:cxn>
                  <a:cxn ang="0">
                    <a:pos x="41" y="23"/>
                  </a:cxn>
                  <a:cxn ang="0">
                    <a:pos x="37" y="24"/>
                  </a:cxn>
                  <a:cxn ang="0">
                    <a:pos x="38" y="37"/>
                  </a:cxn>
                  <a:cxn ang="0">
                    <a:pos x="38" y="59"/>
                  </a:cxn>
                  <a:cxn ang="0">
                    <a:pos x="39" y="58"/>
                  </a:cxn>
                  <a:cxn ang="0">
                    <a:pos x="43" y="62"/>
                  </a:cxn>
                  <a:cxn ang="0">
                    <a:pos x="47" y="65"/>
                  </a:cxn>
                  <a:cxn ang="0">
                    <a:pos x="50" y="67"/>
                  </a:cxn>
                  <a:cxn ang="0">
                    <a:pos x="53" y="71"/>
                  </a:cxn>
                  <a:cxn ang="0">
                    <a:pos x="56" y="71"/>
                  </a:cxn>
                  <a:cxn ang="0">
                    <a:pos x="58" y="71"/>
                  </a:cxn>
                  <a:cxn ang="0">
                    <a:pos x="59" y="72"/>
                  </a:cxn>
                  <a:cxn ang="0">
                    <a:pos x="73" y="68"/>
                  </a:cxn>
                  <a:cxn ang="0">
                    <a:pos x="81" y="57"/>
                  </a:cxn>
                  <a:cxn ang="0">
                    <a:pos x="82" y="51"/>
                  </a:cxn>
                  <a:cxn ang="0">
                    <a:pos x="94" y="46"/>
                  </a:cxn>
                  <a:cxn ang="0">
                    <a:pos x="99" y="43"/>
                  </a:cxn>
                  <a:cxn ang="0">
                    <a:pos x="96" y="40"/>
                  </a:cxn>
                </a:cxnLst>
                <a:rect l="0" t="0" r="r" b="b"/>
                <a:pathLst>
                  <a:path w="100" h="110">
                    <a:moveTo>
                      <a:pt x="39" y="61"/>
                    </a:moveTo>
                    <a:cubicBezTo>
                      <a:pt x="39" y="61"/>
                      <a:pt x="38" y="60"/>
                      <a:pt x="38" y="59"/>
                    </a:cubicBezTo>
                    <a:cubicBezTo>
                      <a:pt x="29" y="68"/>
                      <a:pt x="29" y="68"/>
                      <a:pt x="29" y="68"/>
                    </a:cubicBezTo>
                    <a:cubicBezTo>
                      <a:pt x="29" y="62"/>
                      <a:pt x="17" y="67"/>
                      <a:pt x="15" y="70"/>
                    </a:cubicBezTo>
                    <a:cubicBezTo>
                      <a:pt x="13" y="73"/>
                      <a:pt x="16" y="78"/>
                      <a:pt x="18" y="80"/>
                    </a:cubicBezTo>
                    <a:cubicBezTo>
                      <a:pt x="14" y="84"/>
                      <a:pt x="8" y="79"/>
                      <a:pt x="3" y="82"/>
                    </a:cubicBezTo>
                    <a:cubicBezTo>
                      <a:pt x="0" y="83"/>
                      <a:pt x="0" y="89"/>
                      <a:pt x="0" y="93"/>
                    </a:cubicBezTo>
                    <a:cubicBezTo>
                      <a:pt x="0" y="98"/>
                      <a:pt x="0" y="100"/>
                      <a:pt x="5" y="102"/>
                    </a:cubicBezTo>
                    <a:cubicBezTo>
                      <a:pt x="11" y="104"/>
                      <a:pt x="18" y="102"/>
                      <a:pt x="22" y="104"/>
                    </a:cubicBezTo>
                    <a:cubicBezTo>
                      <a:pt x="22" y="106"/>
                      <a:pt x="23" y="110"/>
                      <a:pt x="26" y="109"/>
                    </a:cubicBezTo>
                    <a:cubicBezTo>
                      <a:pt x="26" y="109"/>
                      <a:pt x="26" y="105"/>
                      <a:pt x="27" y="105"/>
                    </a:cubicBezTo>
                    <a:cubicBezTo>
                      <a:pt x="27" y="102"/>
                      <a:pt x="29" y="99"/>
                      <a:pt x="31" y="96"/>
                    </a:cubicBezTo>
                    <a:cubicBezTo>
                      <a:pt x="34" y="93"/>
                      <a:pt x="35" y="93"/>
                      <a:pt x="40" y="92"/>
                    </a:cubicBezTo>
                    <a:cubicBezTo>
                      <a:pt x="41" y="81"/>
                      <a:pt x="44" y="72"/>
                      <a:pt x="39" y="61"/>
                    </a:cubicBezTo>
                    <a:moveTo>
                      <a:pt x="96" y="40"/>
                    </a:moveTo>
                    <a:cubicBezTo>
                      <a:pt x="93" y="38"/>
                      <a:pt x="90" y="37"/>
                      <a:pt x="87" y="36"/>
                    </a:cubicBezTo>
                    <a:cubicBezTo>
                      <a:pt x="85" y="36"/>
                      <a:pt x="83" y="36"/>
                      <a:pt x="82" y="35"/>
                    </a:cubicBezTo>
                    <a:cubicBezTo>
                      <a:pt x="81" y="35"/>
                      <a:pt x="79" y="33"/>
                      <a:pt x="78" y="32"/>
                    </a:cubicBezTo>
                    <a:cubicBezTo>
                      <a:pt x="76" y="31"/>
                      <a:pt x="75" y="30"/>
                      <a:pt x="72" y="30"/>
                    </a:cubicBezTo>
                    <a:cubicBezTo>
                      <a:pt x="71" y="30"/>
                      <a:pt x="70" y="31"/>
                      <a:pt x="69" y="30"/>
                    </a:cubicBezTo>
                    <a:cubicBezTo>
                      <a:pt x="68" y="30"/>
                      <a:pt x="68" y="30"/>
                      <a:pt x="67" y="29"/>
                    </a:cubicBezTo>
                    <a:cubicBezTo>
                      <a:pt x="68" y="29"/>
                      <a:pt x="68" y="29"/>
                      <a:pt x="68" y="29"/>
                    </a:cubicBezTo>
                    <a:cubicBezTo>
                      <a:pt x="67" y="29"/>
                      <a:pt x="67" y="29"/>
                      <a:pt x="67" y="29"/>
                    </a:cubicBezTo>
                    <a:cubicBezTo>
                      <a:pt x="66" y="28"/>
                      <a:pt x="65" y="26"/>
                      <a:pt x="64" y="25"/>
                    </a:cubicBezTo>
                    <a:cubicBezTo>
                      <a:pt x="61" y="22"/>
                      <a:pt x="58" y="19"/>
                      <a:pt x="56" y="15"/>
                    </a:cubicBezTo>
                    <a:cubicBezTo>
                      <a:pt x="54" y="11"/>
                      <a:pt x="57" y="6"/>
                      <a:pt x="57" y="2"/>
                    </a:cubicBezTo>
                    <a:cubicBezTo>
                      <a:pt x="56" y="0"/>
                      <a:pt x="51" y="0"/>
                      <a:pt x="49" y="1"/>
                    </a:cubicBezTo>
                    <a:cubicBezTo>
                      <a:pt x="46" y="2"/>
                      <a:pt x="45" y="4"/>
                      <a:pt x="45" y="7"/>
                    </a:cubicBezTo>
                    <a:cubicBezTo>
                      <a:pt x="45" y="8"/>
                      <a:pt x="45" y="10"/>
                      <a:pt x="46" y="11"/>
                    </a:cubicBezTo>
                    <a:cubicBezTo>
                      <a:pt x="46" y="14"/>
                      <a:pt x="48" y="15"/>
                      <a:pt x="46" y="18"/>
                    </a:cubicBezTo>
                    <a:cubicBezTo>
                      <a:pt x="46" y="19"/>
                      <a:pt x="43" y="22"/>
                      <a:pt x="41" y="23"/>
                    </a:cubicBezTo>
                    <a:cubicBezTo>
                      <a:pt x="40" y="24"/>
                      <a:pt x="39" y="23"/>
                      <a:pt x="37" y="24"/>
                    </a:cubicBezTo>
                    <a:cubicBezTo>
                      <a:pt x="35" y="27"/>
                      <a:pt x="36" y="34"/>
                      <a:pt x="38" y="37"/>
                    </a:cubicBezTo>
                    <a:cubicBezTo>
                      <a:pt x="29" y="41"/>
                      <a:pt x="34" y="52"/>
                      <a:pt x="38" y="59"/>
                    </a:cubicBezTo>
                    <a:cubicBezTo>
                      <a:pt x="39" y="58"/>
                      <a:pt x="39" y="58"/>
                      <a:pt x="39" y="58"/>
                    </a:cubicBezTo>
                    <a:cubicBezTo>
                      <a:pt x="40" y="59"/>
                      <a:pt x="41" y="60"/>
                      <a:pt x="43" y="62"/>
                    </a:cubicBezTo>
                    <a:cubicBezTo>
                      <a:pt x="44" y="63"/>
                      <a:pt x="45" y="64"/>
                      <a:pt x="47" y="65"/>
                    </a:cubicBezTo>
                    <a:cubicBezTo>
                      <a:pt x="48" y="65"/>
                      <a:pt x="49" y="65"/>
                      <a:pt x="50" y="67"/>
                    </a:cubicBezTo>
                    <a:cubicBezTo>
                      <a:pt x="51" y="68"/>
                      <a:pt x="53" y="70"/>
                      <a:pt x="53" y="71"/>
                    </a:cubicBezTo>
                    <a:cubicBezTo>
                      <a:pt x="54" y="71"/>
                      <a:pt x="55" y="71"/>
                      <a:pt x="56" y="71"/>
                    </a:cubicBezTo>
                    <a:cubicBezTo>
                      <a:pt x="57" y="71"/>
                      <a:pt x="57" y="71"/>
                      <a:pt x="58" y="71"/>
                    </a:cubicBezTo>
                    <a:cubicBezTo>
                      <a:pt x="59" y="71"/>
                      <a:pt x="59" y="72"/>
                      <a:pt x="59" y="72"/>
                    </a:cubicBezTo>
                    <a:cubicBezTo>
                      <a:pt x="65" y="74"/>
                      <a:pt x="68" y="72"/>
                      <a:pt x="73" y="68"/>
                    </a:cubicBezTo>
                    <a:cubicBezTo>
                      <a:pt x="76" y="65"/>
                      <a:pt x="79" y="61"/>
                      <a:pt x="81" y="57"/>
                    </a:cubicBezTo>
                    <a:cubicBezTo>
                      <a:pt x="83" y="55"/>
                      <a:pt x="82" y="54"/>
                      <a:pt x="82" y="51"/>
                    </a:cubicBezTo>
                    <a:cubicBezTo>
                      <a:pt x="86" y="49"/>
                      <a:pt x="90" y="48"/>
                      <a:pt x="94" y="46"/>
                    </a:cubicBezTo>
                    <a:cubicBezTo>
                      <a:pt x="95" y="45"/>
                      <a:pt x="98" y="44"/>
                      <a:pt x="99" y="43"/>
                    </a:cubicBezTo>
                    <a:cubicBezTo>
                      <a:pt x="100" y="41"/>
                      <a:pt x="97" y="40"/>
                      <a:pt x="96" y="40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89" name="Freeform 138">
                <a:extLst>
                  <a:ext uri="{FF2B5EF4-FFF2-40B4-BE49-F238E27FC236}">
                    <a16:creationId xmlns:a16="http://schemas.microsoft.com/office/drawing/2014/main" id="{191CCB36-F1AC-4D39-B097-1439166BA1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1763" y="-1588"/>
                <a:ext cx="2671763" cy="3179763"/>
              </a:xfrm>
              <a:custGeom>
                <a:avLst/>
                <a:gdLst/>
                <a:ahLst/>
                <a:cxnLst>
                  <a:cxn ang="0">
                    <a:pos x="1352" y="75"/>
                  </a:cxn>
                  <a:cxn ang="0">
                    <a:pos x="1254" y="97"/>
                  </a:cxn>
                  <a:cxn ang="0">
                    <a:pos x="1215" y="46"/>
                  </a:cxn>
                  <a:cxn ang="0">
                    <a:pos x="1183" y="71"/>
                  </a:cxn>
                  <a:cxn ang="0">
                    <a:pos x="1101" y="166"/>
                  </a:cxn>
                  <a:cxn ang="0">
                    <a:pos x="1114" y="16"/>
                  </a:cxn>
                  <a:cxn ang="0">
                    <a:pos x="1066" y="82"/>
                  </a:cxn>
                  <a:cxn ang="0">
                    <a:pos x="988" y="172"/>
                  </a:cxn>
                  <a:cxn ang="0">
                    <a:pos x="855" y="247"/>
                  </a:cxn>
                  <a:cxn ang="0">
                    <a:pos x="779" y="240"/>
                  </a:cxn>
                  <a:cxn ang="0">
                    <a:pos x="723" y="294"/>
                  </a:cxn>
                  <a:cxn ang="0">
                    <a:pos x="676" y="334"/>
                  </a:cxn>
                  <a:cxn ang="0">
                    <a:pos x="682" y="368"/>
                  </a:cxn>
                  <a:cxn ang="0">
                    <a:pos x="594" y="355"/>
                  </a:cxn>
                  <a:cxn ang="0">
                    <a:pos x="571" y="378"/>
                  </a:cxn>
                  <a:cxn ang="0">
                    <a:pos x="539" y="409"/>
                  </a:cxn>
                  <a:cxn ang="0">
                    <a:pos x="476" y="472"/>
                  </a:cxn>
                  <a:cxn ang="0">
                    <a:pos x="535" y="461"/>
                  </a:cxn>
                  <a:cxn ang="0">
                    <a:pos x="652" y="435"/>
                  </a:cxn>
                  <a:cxn ang="0">
                    <a:pos x="591" y="478"/>
                  </a:cxn>
                  <a:cxn ang="0">
                    <a:pos x="568" y="557"/>
                  </a:cxn>
                  <a:cxn ang="0">
                    <a:pos x="499" y="629"/>
                  </a:cxn>
                  <a:cxn ang="0">
                    <a:pos x="447" y="712"/>
                  </a:cxn>
                  <a:cxn ang="0">
                    <a:pos x="429" y="788"/>
                  </a:cxn>
                  <a:cxn ang="0">
                    <a:pos x="368" y="906"/>
                  </a:cxn>
                  <a:cxn ang="0">
                    <a:pos x="355" y="948"/>
                  </a:cxn>
                  <a:cxn ang="0">
                    <a:pos x="285" y="1042"/>
                  </a:cxn>
                  <a:cxn ang="0">
                    <a:pos x="326" y="1063"/>
                  </a:cxn>
                  <a:cxn ang="0">
                    <a:pos x="324" y="1087"/>
                  </a:cxn>
                  <a:cxn ang="0">
                    <a:pos x="247" y="1099"/>
                  </a:cxn>
                  <a:cxn ang="0">
                    <a:pos x="193" y="1128"/>
                  </a:cxn>
                  <a:cxn ang="0">
                    <a:pos x="170" y="1142"/>
                  </a:cxn>
                  <a:cxn ang="0">
                    <a:pos x="177" y="1172"/>
                  </a:cxn>
                  <a:cxn ang="0">
                    <a:pos x="77" y="1210"/>
                  </a:cxn>
                  <a:cxn ang="0">
                    <a:pos x="98" y="1233"/>
                  </a:cxn>
                  <a:cxn ang="0">
                    <a:pos x="62" y="1256"/>
                  </a:cxn>
                  <a:cxn ang="0">
                    <a:pos x="66" y="1277"/>
                  </a:cxn>
                  <a:cxn ang="0">
                    <a:pos x="29" y="1343"/>
                  </a:cxn>
                  <a:cxn ang="0">
                    <a:pos x="40" y="1371"/>
                  </a:cxn>
                  <a:cxn ang="0">
                    <a:pos x="21" y="1424"/>
                  </a:cxn>
                  <a:cxn ang="0">
                    <a:pos x="37" y="1490"/>
                  </a:cxn>
                  <a:cxn ang="0">
                    <a:pos x="47" y="1580"/>
                  </a:cxn>
                  <a:cxn ang="0">
                    <a:pos x="69" y="1646"/>
                  </a:cxn>
                  <a:cxn ang="0">
                    <a:pos x="207" y="1675"/>
                  </a:cxn>
                  <a:cxn ang="0">
                    <a:pos x="315" y="1549"/>
                  </a:cxn>
                  <a:cxn ang="0">
                    <a:pos x="357" y="1589"/>
                  </a:cxn>
                  <a:cxn ang="0">
                    <a:pos x="433" y="1431"/>
                  </a:cxn>
                  <a:cxn ang="0">
                    <a:pos x="410" y="1221"/>
                  </a:cxn>
                  <a:cxn ang="0">
                    <a:pos x="444" y="1021"/>
                  </a:cxn>
                  <a:cxn ang="0">
                    <a:pos x="529" y="825"/>
                  </a:cxn>
                  <a:cxn ang="0">
                    <a:pos x="624" y="594"/>
                  </a:cxn>
                  <a:cxn ang="0">
                    <a:pos x="735" y="459"/>
                  </a:cxn>
                  <a:cxn ang="0">
                    <a:pos x="869" y="334"/>
                  </a:cxn>
                  <a:cxn ang="0">
                    <a:pos x="982" y="393"/>
                  </a:cxn>
                  <a:cxn ang="0">
                    <a:pos x="1100" y="388"/>
                  </a:cxn>
                  <a:cxn ang="0">
                    <a:pos x="1145" y="252"/>
                  </a:cxn>
                  <a:cxn ang="0">
                    <a:pos x="1261" y="192"/>
                  </a:cxn>
                  <a:cxn ang="0">
                    <a:pos x="1316" y="340"/>
                  </a:cxn>
                  <a:cxn ang="0">
                    <a:pos x="1375" y="252"/>
                  </a:cxn>
                  <a:cxn ang="0">
                    <a:pos x="1383" y="212"/>
                  </a:cxn>
                  <a:cxn ang="0">
                    <a:pos x="1340" y="204"/>
                  </a:cxn>
                </a:cxnLst>
                <a:rect l="0" t="0" r="r" b="b"/>
                <a:pathLst>
                  <a:path w="1429" h="1701">
                    <a:moveTo>
                      <a:pt x="1115" y="33"/>
                    </a:moveTo>
                    <a:cubicBezTo>
                      <a:pt x="1116" y="33"/>
                      <a:pt x="1117" y="33"/>
                      <a:pt x="1118" y="33"/>
                    </a:cubicBezTo>
                    <a:cubicBezTo>
                      <a:pt x="1117" y="32"/>
                      <a:pt x="1116" y="32"/>
                      <a:pt x="1115" y="33"/>
                    </a:cubicBezTo>
                    <a:moveTo>
                      <a:pt x="272" y="1065"/>
                    </a:moveTo>
                    <a:cubicBezTo>
                      <a:pt x="272" y="1065"/>
                      <a:pt x="272" y="1065"/>
                      <a:pt x="272" y="1065"/>
                    </a:cubicBezTo>
                    <a:cubicBezTo>
                      <a:pt x="271" y="1066"/>
                      <a:pt x="270" y="1066"/>
                      <a:pt x="270" y="1067"/>
                    </a:cubicBezTo>
                    <a:cubicBezTo>
                      <a:pt x="271" y="1067"/>
                      <a:pt x="272" y="1066"/>
                      <a:pt x="272" y="1065"/>
                    </a:cubicBezTo>
                    <a:moveTo>
                      <a:pt x="422" y="1463"/>
                    </a:moveTo>
                    <a:cubicBezTo>
                      <a:pt x="423" y="1463"/>
                      <a:pt x="424" y="1463"/>
                      <a:pt x="425" y="1463"/>
                    </a:cubicBezTo>
                    <a:cubicBezTo>
                      <a:pt x="424" y="1461"/>
                      <a:pt x="423" y="1462"/>
                      <a:pt x="422" y="1463"/>
                    </a:cubicBezTo>
                    <a:moveTo>
                      <a:pt x="1418" y="124"/>
                    </a:moveTo>
                    <a:cubicBezTo>
                      <a:pt x="1416" y="126"/>
                      <a:pt x="1415" y="124"/>
                      <a:pt x="1414" y="123"/>
                    </a:cubicBezTo>
                    <a:cubicBezTo>
                      <a:pt x="1411" y="121"/>
                      <a:pt x="1408" y="119"/>
                      <a:pt x="1405" y="118"/>
                    </a:cubicBezTo>
                    <a:cubicBezTo>
                      <a:pt x="1403" y="117"/>
                      <a:pt x="1401" y="115"/>
                      <a:pt x="1400" y="113"/>
                    </a:cubicBezTo>
                    <a:cubicBezTo>
                      <a:pt x="1399" y="111"/>
                      <a:pt x="1401" y="108"/>
                      <a:pt x="1398" y="106"/>
                    </a:cubicBezTo>
                    <a:cubicBezTo>
                      <a:pt x="1391" y="110"/>
                      <a:pt x="1379" y="109"/>
                      <a:pt x="1370" y="108"/>
                    </a:cubicBezTo>
                    <a:cubicBezTo>
                      <a:pt x="1370" y="104"/>
                      <a:pt x="1378" y="103"/>
                      <a:pt x="1380" y="101"/>
                    </a:cubicBezTo>
                    <a:cubicBezTo>
                      <a:pt x="1385" y="97"/>
                      <a:pt x="1382" y="94"/>
                      <a:pt x="1378" y="90"/>
                    </a:cubicBezTo>
                    <a:cubicBezTo>
                      <a:pt x="1376" y="87"/>
                      <a:pt x="1375" y="80"/>
                      <a:pt x="1371" y="79"/>
                    </a:cubicBezTo>
                    <a:cubicBezTo>
                      <a:pt x="1368" y="77"/>
                      <a:pt x="1366" y="80"/>
                      <a:pt x="1365" y="82"/>
                    </a:cubicBezTo>
                    <a:cubicBezTo>
                      <a:pt x="1361" y="85"/>
                      <a:pt x="1357" y="89"/>
                      <a:pt x="1353" y="91"/>
                    </a:cubicBezTo>
                    <a:cubicBezTo>
                      <a:pt x="1355" y="86"/>
                      <a:pt x="1358" y="77"/>
                      <a:pt x="1352" y="75"/>
                    </a:cubicBezTo>
                    <a:cubicBezTo>
                      <a:pt x="1348" y="74"/>
                      <a:pt x="1343" y="75"/>
                      <a:pt x="1341" y="77"/>
                    </a:cubicBezTo>
                    <a:cubicBezTo>
                      <a:pt x="1338" y="79"/>
                      <a:pt x="1337" y="83"/>
                      <a:pt x="1335" y="85"/>
                    </a:cubicBezTo>
                    <a:cubicBezTo>
                      <a:pt x="1332" y="87"/>
                      <a:pt x="1335" y="87"/>
                      <a:pt x="1332" y="85"/>
                    </a:cubicBezTo>
                    <a:cubicBezTo>
                      <a:pt x="1329" y="84"/>
                      <a:pt x="1328" y="80"/>
                      <a:pt x="1328" y="77"/>
                    </a:cubicBezTo>
                    <a:cubicBezTo>
                      <a:pt x="1328" y="74"/>
                      <a:pt x="1329" y="75"/>
                      <a:pt x="1330" y="72"/>
                    </a:cubicBezTo>
                    <a:cubicBezTo>
                      <a:pt x="1331" y="69"/>
                      <a:pt x="1331" y="65"/>
                      <a:pt x="1330" y="62"/>
                    </a:cubicBezTo>
                    <a:cubicBezTo>
                      <a:pt x="1328" y="58"/>
                      <a:pt x="1324" y="57"/>
                      <a:pt x="1320" y="56"/>
                    </a:cubicBezTo>
                    <a:cubicBezTo>
                      <a:pt x="1317" y="54"/>
                      <a:pt x="1312" y="49"/>
                      <a:pt x="1308" y="51"/>
                    </a:cubicBezTo>
                    <a:cubicBezTo>
                      <a:pt x="1308" y="53"/>
                      <a:pt x="1305" y="55"/>
                      <a:pt x="1304" y="56"/>
                    </a:cubicBezTo>
                    <a:cubicBezTo>
                      <a:pt x="1301" y="59"/>
                      <a:pt x="1299" y="62"/>
                      <a:pt x="1296" y="65"/>
                    </a:cubicBezTo>
                    <a:cubicBezTo>
                      <a:pt x="1291" y="70"/>
                      <a:pt x="1289" y="75"/>
                      <a:pt x="1289" y="82"/>
                    </a:cubicBezTo>
                    <a:cubicBezTo>
                      <a:pt x="1289" y="88"/>
                      <a:pt x="1289" y="94"/>
                      <a:pt x="1289" y="99"/>
                    </a:cubicBezTo>
                    <a:cubicBezTo>
                      <a:pt x="1289" y="106"/>
                      <a:pt x="1286" y="111"/>
                      <a:pt x="1285" y="118"/>
                    </a:cubicBezTo>
                    <a:cubicBezTo>
                      <a:pt x="1281" y="111"/>
                      <a:pt x="1276" y="115"/>
                      <a:pt x="1270" y="118"/>
                    </a:cubicBezTo>
                    <a:cubicBezTo>
                      <a:pt x="1268" y="119"/>
                      <a:pt x="1265" y="120"/>
                      <a:pt x="1263" y="121"/>
                    </a:cubicBezTo>
                    <a:cubicBezTo>
                      <a:pt x="1260" y="122"/>
                      <a:pt x="1247" y="123"/>
                      <a:pt x="1245" y="120"/>
                    </a:cubicBezTo>
                    <a:cubicBezTo>
                      <a:pt x="1248" y="117"/>
                      <a:pt x="1252" y="118"/>
                      <a:pt x="1255" y="115"/>
                    </a:cubicBezTo>
                    <a:cubicBezTo>
                      <a:pt x="1257" y="114"/>
                      <a:pt x="1257" y="112"/>
                      <a:pt x="1259" y="110"/>
                    </a:cubicBezTo>
                    <a:cubicBezTo>
                      <a:pt x="1261" y="107"/>
                      <a:pt x="1265" y="105"/>
                      <a:pt x="1268" y="103"/>
                    </a:cubicBezTo>
                    <a:cubicBezTo>
                      <a:pt x="1274" y="99"/>
                      <a:pt x="1279" y="95"/>
                      <a:pt x="1283" y="89"/>
                    </a:cubicBezTo>
                    <a:cubicBezTo>
                      <a:pt x="1278" y="93"/>
                      <a:pt x="1272" y="93"/>
                      <a:pt x="1267" y="94"/>
                    </a:cubicBezTo>
                    <a:cubicBezTo>
                      <a:pt x="1262" y="95"/>
                      <a:pt x="1259" y="96"/>
                      <a:pt x="1254" y="97"/>
                    </a:cubicBezTo>
                    <a:cubicBezTo>
                      <a:pt x="1247" y="97"/>
                      <a:pt x="1239" y="98"/>
                      <a:pt x="1232" y="97"/>
                    </a:cubicBezTo>
                    <a:cubicBezTo>
                      <a:pt x="1236" y="94"/>
                      <a:pt x="1239" y="90"/>
                      <a:pt x="1243" y="88"/>
                    </a:cubicBezTo>
                    <a:cubicBezTo>
                      <a:pt x="1248" y="85"/>
                      <a:pt x="1254" y="81"/>
                      <a:pt x="1257" y="76"/>
                    </a:cubicBezTo>
                    <a:cubicBezTo>
                      <a:pt x="1260" y="71"/>
                      <a:pt x="1259" y="69"/>
                      <a:pt x="1255" y="67"/>
                    </a:cubicBezTo>
                    <a:cubicBezTo>
                      <a:pt x="1253" y="66"/>
                      <a:pt x="1247" y="66"/>
                      <a:pt x="1249" y="62"/>
                    </a:cubicBezTo>
                    <a:cubicBezTo>
                      <a:pt x="1249" y="61"/>
                      <a:pt x="1252" y="60"/>
                      <a:pt x="1253" y="60"/>
                    </a:cubicBezTo>
                    <a:cubicBezTo>
                      <a:pt x="1258" y="60"/>
                      <a:pt x="1261" y="60"/>
                      <a:pt x="1265" y="62"/>
                    </a:cubicBezTo>
                    <a:cubicBezTo>
                      <a:pt x="1269" y="63"/>
                      <a:pt x="1277" y="63"/>
                      <a:pt x="1279" y="58"/>
                    </a:cubicBezTo>
                    <a:cubicBezTo>
                      <a:pt x="1279" y="57"/>
                      <a:pt x="1278" y="55"/>
                      <a:pt x="1279" y="54"/>
                    </a:cubicBezTo>
                    <a:cubicBezTo>
                      <a:pt x="1279" y="52"/>
                      <a:pt x="1282" y="50"/>
                      <a:pt x="1283" y="48"/>
                    </a:cubicBezTo>
                    <a:cubicBezTo>
                      <a:pt x="1287" y="44"/>
                      <a:pt x="1292" y="41"/>
                      <a:pt x="1290" y="36"/>
                    </a:cubicBezTo>
                    <a:cubicBezTo>
                      <a:pt x="1287" y="30"/>
                      <a:pt x="1276" y="33"/>
                      <a:pt x="1270" y="33"/>
                    </a:cubicBezTo>
                    <a:cubicBezTo>
                      <a:pt x="1270" y="29"/>
                      <a:pt x="1272" y="21"/>
                      <a:pt x="1268" y="18"/>
                    </a:cubicBezTo>
                    <a:cubicBezTo>
                      <a:pt x="1263" y="14"/>
                      <a:pt x="1254" y="21"/>
                      <a:pt x="1250" y="20"/>
                    </a:cubicBezTo>
                    <a:cubicBezTo>
                      <a:pt x="1249" y="16"/>
                      <a:pt x="1251" y="4"/>
                      <a:pt x="1244" y="6"/>
                    </a:cubicBezTo>
                    <a:cubicBezTo>
                      <a:pt x="1240" y="8"/>
                      <a:pt x="1239" y="16"/>
                      <a:pt x="1238" y="20"/>
                    </a:cubicBezTo>
                    <a:cubicBezTo>
                      <a:pt x="1237" y="22"/>
                      <a:pt x="1234" y="32"/>
                      <a:pt x="1231" y="33"/>
                    </a:cubicBezTo>
                    <a:cubicBezTo>
                      <a:pt x="1227" y="34"/>
                      <a:pt x="1225" y="25"/>
                      <a:pt x="1221" y="25"/>
                    </a:cubicBezTo>
                    <a:cubicBezTo>
                      <a:pt x="1215" y="24"/>
                      <a:pt x="1217" y="32"/>
                      <a:pt x="1217" y="36"/>
                    </a:cubicBezTo>
                    <a:cubicBezTo>
                      <a:pt x="1217" y="36"/>
                      <a:pt x="1217" y="36"/>
                      <a:pt x="1217" y="36"/>
                    </a:cubicBezTo>
                    <a:cubicBezTo>
                      <a:pt x="1216" y="38"/>
                      <a:pt x="1211" y="39"/>
                      <a:pt x="1210" y="42"/>
                    </a:cubicBezTo>
                    <a:cubicBezTo>
                      <a:pt x="1209" y="47"/>
                      <a:pt x="1213" y="43"/>
                      <a:pt x="1215" y="46"/>
                    </a:cubicBezTo>
                    <a:cubicBezTo>
                      <a:pt x="1216" y="47"/>
                      <a:pt x="1216" y="49"/>
                      <a:pt x="1217" y="50"/>
                    </a:cubicBezTo>
                    <a:cubicBezTo>
                      <a:pt x="1218" y="51"/>
                      <a:pt x="1222" y="53"/>
                      <a:pt x="1224" y="53"/>
                    </a:cubicBezTo>
                    <a:cubicBezTo>
                      <a:pt x="1219" y="52"/>
                      <a:pt x="1219" y="56"/>
                      <a:pt x="1219" y="60"/>
                    </a:cubicBezTo>
                    <a:cubicBezTo>
                      <a:pt x="1219" y="65"/>
                      <a:pt x="1219" y="67"/>
                      <a:pt x="1216" y="71"/>
                    </a:cubicBezTo>
                    <a:cubicBezTo>
                      <a:pt x="1211" y="77"/>
                      <a:pt x="1205" y="81"/>
                      <a:pt x="1204" y="90"/>
                    </a:cubicBezTo>
                    <a:cubicBezTo>
                      <a:pt x="1203" y="94"/>
                      <a:pt x="1204" y="99"/>
                      <a:pt x="1202" y="104"/>
                    </a:cubicBezTo>
                    <a:cubicBezTo>
                      <a:pt x="1201" y="107"/>
                      <a:pt x="1198" y="108"/>
                      <a:pt x="1197" y="111"/>
                    </a:cubicBezTo>
                    <a:cubicBezTo>
                      <a:pt x="1197" y="114"/>
                      <a:pt x="1198" y="117"/>
                      <a:pt x="1198" y="119"/>
                    </a:cubicBezTo>
                    <a:cubicBezTo>
                      <a:pt x="1197" y="121"/>
                      <a:pt x="1194" y="123"/>
                      <a:pt x="1193" y="124"/>
                    </a:cubicBezTo>
                    <a:cubicBezTo>
                      <a:pt x="1189" y="127"/>
                      <a:pt x="1189" y="128"/>
                      <a:pt x="1187" y="132"/>
                    </a:cubicBezTo>
                    <a:cubicBezTo>
                      <a:pt x="1185" y="135"/>
                      <a:pt x="1183" y="135"/>
                      <a:pt x="1183" y="139"/>
                    </a:cubicBezTo>
                    <a:cubicBezTo>
                      <a:pt x="1183" y="140"/>
                      <a:pt x="1183" y="141"/>
                      <a:pt x="1183" y="142"/>
                    </a:cubicBezTo>
                    <a:cubicBezTo>
                      <a:pt x="1181" y="142"/>
                      <a:pt x="1178" y="142"/>
                      <a:pt x="1176" y="142"/>
                    </a:cubicBezTo>
                    <a:cubicBezTo>
                      <a:pt x="1176" y="142"/>
                      <a:pt x="1176" y="142"/>
                      <a:pt x="1176" y="142"/>
                    </a:cubicBezTo>
                    <a:cubicBezTo>
                      <a:pt x="1177" y="138"/>
                      <a:pt x="1180" y="134"/>
                      <a:pt x="1182" y="129"/>
                    </a:cubicBezTo>
                    <a:cubicBezTo>
                      <a:pt x="1183" y="127"/>
                      <a:pt x="1182" y="125"/>
                      <a:pt x="1183" y="122"/>
                    </a:cubicBezTo>
                    <a:cubicBezTo>
                      <a:pt x="1184" y="119"/>
                      <a:pt x="1185" y="117"/>
                      <a:pt x="1185" y="113"/>
                    </a:cubicBezTo>
                    <a:cubicBezTo>
                      <a:pt x="1185" y="109"/>
                      <a:pt x="1185" y="105"/>
                      <a:pt x="1185" y="101"/>
                    </a:cubicBezTo>
                    <a:cubicBezTo>
                      <a:pt x="1186" y="97"/>
                      <a:pt x="1188" y="92"/>
                      <a:pt x="1187" y="88"/>
                    </a:cubicBezTo>
                    <a:cubicBezTo>
                      <a:pt x="1187" y="87"/>
                      <a:pt x="1186" y="83"/>
                      <a:pt x="1185" y="83"/>
                    </a:cubicBezTo>
                    <a:cubicBezTo>
                      <a:pt x="1182" y="81"/>
                      <a:pt x="1178" y="82"/>
                      <a:pt x="1179" y="77"/>
                    </a:cubicBezTo>
                    <a:cubicBezTo>
                      <a:pt x="1179" y="74"/>
                      <a:pt x="1181" y="73"/>
                      <a:pt x="1183" y="71"/>
                    </a:cubicBezTo>
                    <a:cubicBezTo>
                      <a:pt x="1187" y="69"/>
                      <a:pt x="1189" y="68"/>
                      <a:pt x="1189" y="63"/>
                    </a:cubicBezTo>
                    <a:cubicBezTo>
                      <a:pt x="1189" y="60"/>
                      <a:pt x="1189" y="58"/>
                      <a:pt x="1189" y="55"/>
                    </a:cubicBezTo>
                    <a:cubicBezTo>
                      <a:pt x="1189" y="47"/>
                      <a:pt x="1198" y="40"/>
                      <a:pt x="1193" y="32"/>
                    </a:cubicBezTo>
                    <a:cubicBezTo>
                      <a:pt x="1191" y="32"/>
                      <a:pt x="1185" y="32"/>
                      <a:pt x="1183" y="32"/>
                    </a:cubicBezTo>
                    <a:cubicBezTo>
                      <a:pt x="1182" y="33"/>
                      <a:pt x="1181" y="35"/>
                      <a:pt x="1180" y="37"/>
                    </a:cubicBezTo>
                    <a:cubicBezTo>
                      <a:pt x="1176" y="41"/>
                      <a:pt x="1171" y="45"/>
                      <a:pt x="1167" y="49"/>
                    </a:cubicBezTo>
                    <a:cubicBezTo>
                      <a:pt x="1161" y="53"/>
                      <a:pt x="1156" y="54"/>
                      <a:pt x="1156" y="61"/>
                    </a:cubicBezTo>
                    <a:cubicBezTo>
                      <a:pt x="1156" y="66"/>
                      <a:pt x="1156" y="70"/>
                      <a:pt x="1156" y="75"/>
                    </a:cubicBezTo>
                    <a:cubicBezTo>
                      <a:pt x="1156" y="80"/>
                      <a:pt x="1154" y="83"/>
                      <a:pt x="1151" y="87"/>
                    </a:cubicBezTo>
                    <a:cubicBezTo>
                      <a:pt x="1147" y="93"/>
                      <a:pt x="1141" y="99"/>
                      <a:pt x="1139" y="106"/>
                    </a:cubicBezTo>
                    <a:cubicBezTo>
                      <a:pt x="1138" y="113"/>
                      <a:pt x="1141" y="122"/>
                      <a:pt x="1134" y="128"/>
                    </a:cubicBezTo>
                    <a:cubicBezTo>
                      <a:pt x="1130" y="132"/>
                      <a:pt x="1121" y="131"/>
                      <a:pt x="1118" y="134"/>
                    </a:cubicBezTo>
                    <a:cubicBezTo>
                      <a:pt x="1117" y="135"/>
                      <a:pt x="1116" y="138"/>
                      <a:pt x="1116" y="139"/>
                    </a:cubicBezTo>
                    <a:cubicBezTo>
                      <a:pt x="1117" y="141"/>
                      <a:pt x="1119" y="141"/>
                      <a:pt x="1120" y="142"/>
                    </a:cubicBezTo>
                    <a:cubicBezTo>
                      <a:pt x="1123" y="145"/>
                      <a:pt x="1122" y="147"/>
                      <a:pt x="1119" y="148"/>
                    </a:cubicBezTo>
                    <a:cubicBezTo>
                      <a:pt x="1117" y="149"/>
                      <a:pt x="1116" y="147"/>
                      <a:pt x="1114" y="149"/>
                    </a:cubicBezTo>
                    <a:cubicBezTo>
                      <a:pt x="1115" y="148"/>
                      <a:pt x="1112" y="155"/>
                      <a:pt x="1113" y="153"/>
                    </a:cubicBezTo>
                    <a:cubicBezTo>
                      <a:pt x="1111" y="156"/>
                      <a:pt x="1109" y="160"/>
                      <a:pt x="1108" y="164"/>
                    </a:cubicBezTo>
                    <a:cubicBezTo>
                      <a:pt x="1107" y="168"/>
                      <a:pt x="1108" y="171"/>
                      <a:pt x="1108" y="175"/>
                    </a:cubicBezTo>
                    <a:cubicBezTo>
                      <a:pt x="1108" y="175"/>
                      <a:pt x="1107" y="175"/>
                      <a:pt x="1107" y="176"/>
                    </a:cubicBezTo>
                    <a:cubicBezTo>
                      <a:pt x="1106" y="177"/>
                      <a:pt x="1105" y="178"/>
                      <a:pt x="1103" y="175"/>
                    </a:cubicBezTo>
                    <a:cubicBezTo>
                      <a:pt x="1101" y="173"/>
                      <a:pt x="1102" y="169"/>
                      <a:pt x="1101" y="166"/>
                    </a:cubicBezTo>
                    <a:cubicBezTo>
                      <a:pt x="1101" y="165"/>
                      <a:pt x="1100" y="165"/>
                      <a:pt x="1100" y="164"/>
                    </a:cubicBezTo>
                    <a:cubicBezTo>
                      <a:pt x="1100" y="159"/>
                      <a:pt x="1101" y="159"/>
                      <a:pt x="1095" y="158"/>
                    </a:cubicBezTo>
                    <a:cubicBezTo>
                      <a:pt x="1094" y="158"/>
                      <a:pt x="1093" y="158"/>
                      <a:pt x="1093" y="158"/>
                    </a:cubicBezTo>
                    <a:cubicBezTo>
                      <a:pt x="1094" y="154"/>
                      <a:pt x="1096" y="154"/>
                      <a:pt x="1101" y="152"/>
                    </a:cubicBezTo>
                    <a:cubicBezTo>
                      <a:pt x="1110" y="148"/>
                      <a:pt x="1104" y="137"/>
                      <a:pt x="1106" y="129"/>
                    </a:cubicBezTo>
                    <a:cubicBezTo>
                      <a:pt x="1107" y="124"/>
                      <a:pt x="1112" y="119"/>
                      <a:pt x="1112" y="114"/>
                    </a:cubicBezTo>
                    <a:cubicBezTo>
                      <a:pt x="1111" y="111"/>
                      <a:pt x="1110" y="110"/>
                      <a:pt x="1110" y="108"/>
                    </a:cubicBezTo>
                    <a:cubicBezTo>
                      <a:pt x="1111" y="105"/>
                      <a:pt x="1114" y="101"/>
                      <a:pt x="1117" y="99"/>
                    </a:cubicBezTo>
                    <a:cubicBezTo>
                      <a:pt x="1119" y="96"/>
                      <a:pt x="1120" y="95"/>
                      <a:pt x="1122" y="92"/>
                    </a:cubicBezTo>
                    <a:cubicBezTo>
                      <a:pt x="1124" y="89"/>
                      <a:pt x="1126" y="85"/>
                      <a:pt x="1128" y="83"/>
                    </a:cubicBezTo>
                    <a:cubicBezTo>
                      <a:pt x="1130" y="80"/>
                      <a:pt x="1133" y="80"/>
                      <a:pt x="1134" y="77"/>
                    </a:cubicBezTo>
                    <a:cubicBezTo>
                      <a:pt x="1135" y="74"/>
                      <a:pt x="1132" y="70"/>
                      <a:pt x="1133" y="67"/>
                    </a:cubicBezTo>
                    <a:cubicBezTo>
                      <a:pt x="1133" y="62"/>
                      <a:pt x="1137" y="61"/>
                      <a:pt x="1141" y="58"/>
                    </a:cubicBezTo>
                    <a:cubicBezTo>
                      <a:pt x="1145" y="56"/>
                      <a:pt x="1149" y="47"/>
                      <a:pt x="1142" y="49"/>
                    </a:cubicBezTo>
                    <a:cubicBezTo>
                      <a:pt x="1141" y="45"/>
                      <a:pt x="1141" y="39"/>
                      <a:pt x="1143" y="36"/>
                    </a:cubicBezTo>
                    <a:cubicBezTo>
                      <a:pt x="1146" y="31"/>
                      <a:pt x="1155" y="35"/>
                      <a:pt x="1158" y="29"/>
                    </a:cubicBezTo>
                    <a:cubicBezTo>
                      <a:pt x="1156" y="26"/>
                      <a:pt x="1148" y="26"/>
                      <a:pt x="1145" y="24"/>
                    </a:cubicBezTo>
                    <a:cubicBezTo>
                      <a:pt x="1141" y="23"/>
                      <a:pt x="1139" y="21"/>
                      <a:pt x="1140" y="18"/>
                    </a:cubicBezTo>
                    <a:cubicBezTo>
                      <a:pt x="1141" y="16"/>
                      <a:pt x="1142" y="15"/>
                      <a:pt x="1144" y="15"/>
                    </a:cubicBezTo>
                    <a:cubicBezTo>
                      <a:pt x="1147" y="11"/>
                      <a:pt x="1141" y="0"/>
                      <a:pt x="1136" y="1"/>
                    </a:cubicBezTo>
                    <a:cubicBezTo>
                      <a:pt x="1135" y="5"/>
                      <a:pt x="1133" y="12"/>
                      <a:pt x="1130" y="15"/>
                    </a:cubicBezTo>
                    <a:cubicBezTo>
                      <a:pt x="1127" y="18"/>
                      <a:pt x="1118" y="15"/>
                      <a:pt x="1114" y="16"/>
                    </a:cubicBezTo>
                    <a:cubicBezTo>
                      <a:pt x="1112" y="17"/>
                      <a:pt x="1109" y="19"/>
                      <a:pt x="1111" y="22"/>
                    </a:cubicBezTo>
                    <a:cubicBezTo>
                      <a:pt x="1113" y="25"/>
                      <a:pt x="1115" y="24"/>
                      <a:pt x="1117" y="24"/>
                    </a:cubicBezTo>
                    <a:cubicBezTo>
                      <a:pt x="1121" y="25"/>
                      <a:pt x="1123" y="28"/>
                      <a:pt x="1124" y="32"/>
                    </a:cubicBezTo>
                    <a:cubicBezTo>
                      <a:pt x="1123" y="33"/>
                      <a:pt x="1120" y="33"/>
                      <a:pt x="1118" y="33"/>
                    </a:cubicBezTo>
                    <a:cubicBezTo>
                      <a:pt x="1121" y="34"/>
                      <a:pt x="1122" y="41"/>
                      <a:pt x="1124" y="44"/>
                    </a:cubicBezTo>
                    <a:cubicBezTo>
                      <a:pt x="1127" y="51"/>
                      <a:pt x="1125" y="57"/>
                      <a:pt x="1117" y="58"/>
                    </a:cubicBezTo>
                    <a:cubicBezTo>
                      <a:pt x="1114" y="58"/>
                      <a:pt x="1112" y="58"/>
                      <a:pt x="1111" y="56"/>
                    </a:cubicBezTo>
                    <a:cubicBezTo>
                      <a:pt x="1109" y="54"/>
                      <a:pt x="1108" y="51"/>
                      <a:pt x="1109" y="49"/>
                    </a:cubicBezTo>
                    <a:cubicBezTo>
                      <a:pt x="1106" y="47"/>
                      <a:pt x="1103" y="48"/>
                      <a:pt x="1100" y="48"/>
                    </a:cubicBezTo>
                    <a:cubicBezTo>
                      <a:pt x="1100" y="44"/>
                      <a:pt x="1099" y="38"/>
                      <a:pt x="1096" y="35"/>
                    </a:cubicBezTo>
                    <a:cubicBezTo>
                      <a:pt x="1092" y="37"/>
                      <a:pt x="1092" y="41"/>
                      <a:pt x="1087" y="39"/>
                    </a:cubicBezTo>
                    <a:cubicBezTo>
                      <a:pt x="1082" y="36"/>
                      <a:pt x="1083" y="29"/>
                      <a:pt x="1079" y="26"/>
                    </a:cubicBezTo>
                    <a:cubicBezTo>
                      <a:pt x="1069" y="16"/>
                      <a:pt x="1074" y="39"/>
                      <a:pt x="1075" y="43"/>
                    </a:cubicBezTo>
                    <a:cubicBezTo>
                      <a:pt x="1075" y="47"/>
                      <a:pt x="1077" y="48"/>
                      <a:pt x="1078" y="52"/>
                    </a:cubicBezTo>
                    <a:cubicBezTo>
                      <a:pt x="1078" y="57"/>
                      <a:pt x="1077" y="63"/>
                      <a:pt x="1070" y="60"/>
                    </a:cubicBezTo>
                    <a:cubicBezTo>
                      <a:pt x="1066" y="58"/>
                      <a:pt x="1063" y="50"/>
                      <a:pt x="1058" y="53"/>
                    </a:cubicBezTo>
                    <a:cubicBezTo>
                      <a:pt x="1053" y="56"/>
                      <a:pt x="1056" y="61"/>
                      <a:pt x="1059" y="64"/>
                    </a:cubicBezTo>
                    <a:cubicBezTo>
                      <a:pt x="1062" y="68"/>
                      <a:pt x="1068" y="68"/>
                      <a:pt x="1072" y="71"/>
                    </a:cubicBezTo>
                    <a:cubicBezTo>
                      <a:pt x="1075" y="74"/>
                      <a:pt x="1075" y="77"/>
                      <a:pt x="1076" y="80"/>
                    </a:cubicBezTo>
                    <a:cubicBezTo>
                      <a:pt x="1078" y="82"/>
                      <a:pt x="1081" y="89"/>
                      <a:pt x="1076" y="91"/>
                    </a:cubicBezTo>
                    <a:cubicBezTo>
                      <a:pt x="1072" y="92"/>
                      <a:pt x="1074" y="89"/>
                      <a:pt x="1072" y="87"/>
                    </a:cubicBezTo>
                    <a:cubicBezTo>
                      <a:pt x="1070" y="85"/>
                      <a:pt x="1067" y="86"/>
                      <a:pt x="1066" y="82"/>
                    </a:cubicBezTo>
                    <a:cubicBezTo>
                      <a:pt x="1063" y="83"/>
                      <a:pt x="1062" y="87"/>
                      <a:pt x="1060" y="90"/>
                    </a:cubicBezTo>
                    <a:cubicBezTo>
                      <a:pt x="1057" y="93"/>
                      <a:pt x="1050" y="96"/>
                      <a:pt x="1051" y="102"/>
                    </a:cubicBezTo>
                    <a:cubicBezTo>
                      <a:pt x="1051" y="106"/>
                      <a:pt x="1052" y="107"/>
                      <a:pt x="1055" y="109"/>
                    </a:cubicBezTo>
                    <a:cubicBezTo>
                      <a:pt x="1058" y="111"/>
                      <a:pt x="1058" y="108"/>
                      <a:pt x="1059" y="112"/>
                    </a:cubicBezTo>
                    <a:cubicBezTo>
                      <a:pt x="1060" y="115"/>
                      <a:pt x="1060" y="117"/>
                      <a:pt x="1059" y="119"/>
                    </a:cubicBezTo>
                    <a:cubicBezTo>
                      <a:pt x="1057" y="118"/>
                      <a:pt x="1053" y="117"/>
                      <a:pt x="1051" y="115"/>
                    </a:cubicBezTo>
                    <a:cubicBezTo>
                      <a:pt x="1047" y="113"/>
                      <a:pt x="1048" y="110"/>
                      <a:pt x="1042" y="110"/>
                    </a:cubicBezTo>
                    <a:cubicBezTo>
                      <a:pt x="1036" y="110"/>
                      <a:pt x="1034" y="117"/>
                      <a:pt x="1031" y="122"/>
                    </a:cubicBezTo>
                    <a:cubicBezTo>
                      <a:pt x="1028" y="125"/>
                      <a:pt x="1025" y="129"/>
                      <a:pt x="1022" y="132"/>
                    </a:cubicBezTo>
                    <a:cubicBezTo>
                      <a:pt x="1020" y="134"/>
                      <a:pt x="1015" y="136"/>
                      <a:pt x="1015" y="139"/>
                    </a:cubicBezTo>
                    <a:cubicBezTo>
                      <a:pt x="1016" y="139"/>
                      <a:pt x="1016" y="140"/>
                      <a:pt x="1016" y="141"/>
                    </a:cubicBezTo>
                    <a:cubicBezTo>
                      <a:pt x="1017" y="143"/>
                      <a:pt x="1017" y="144"/>
                      <a:pt x="1016" y="147"/>
                    </a:cubicBezTo>
                    <a:cubicBezTo>
                      <a:pt x="1013" y="158"/>
                      <a:pt x="1006" y="153"/>
                      <a:pt x="998" y="156"/>
                    </a:cubicBezTo>
                    <a:cubicBezTo>
                      <a:pt x="997" y="158"/>
                      <a:pt x="1011" y="165"/>
                      <a:pt x="1013" y="169"/>
                    </a:cubicBezTo>
                    <a:cubicBezTo>
                      <a:pt x="1008" y="171"/>
                      <a:pt x="1000" y="171"/>
                      <a:pt x="1002" y="178"/>
                    </a:cubicBezTo>
                    <a:cubicBezTo>
                      <a:pt x="1003" y="182"/>
                      <a:pt x="1006" y="188"/>
                      <a:pt x="1008" y="190"/>
                    </a:cubicBezTo>
                    <a:cubicBezTo>
                      <a:pt x="1010" y="193"/>
                      <a:pt x="1011" y="193"/>
                      <a:pt x="1012" y="194"/>
                    </a:cubicBezTo>
                    <a:cubicBezTo>
                      <a:pt x="1012" y="194"/>
                      <a:pt x="1011" y="194"/>
                      <a:pt x="1010" y="194"/>
                    </a:cubicBezTo>
                    <a:cubicBezTo>
                      <a:pt x="1006" y="193"/>
                      <a:pt x="1001" y="192"/>
                      <a:pt x="996" y="192"/>
                    </a:cubicBezTo>
                    <a:cubicBezTo>
                      <a:pt x="993" y="191"/>
                      <a:pt x="991" y="191"/>
                      <a:pt x="989" y="188"/>
                    </a:cubicBezTo>
                    <a:cubicBezTo>
                      <a:pt x="987" y="185"/>
                      <a:pt x="986" y="180"/>
                      <a:pt x="987" y="176"/>
                    </a:cubicBezTo>
                    <a:cubicBezTo>
                      <a:pt x="987" y="175"/>
                      <a:pt x="988" y="173"/>
                      <a:pt x="988" y="172"/>
                    </a:cubicBezTo>
                    <a:cubicBezTo>
                      <a:pt x="983" y="170"/>
                      <a:pt x="978" y="178"/>
                      <a:pt x="974" y="174"/>
                    </a:cubicBezTo>
                    <a:cubicBezTo>
                      <a:pt x="968" y="166"/>
                      <a:pt x="984" y="161"/>
                      <a:pt x="982" y="156"/>
                    </a:cubicBezTo>
                    <a:cubicBezTo>
                      <a:pt x="977" y="154"/>
                      <a:pt x="971" y="155"/>
                      <a:pt x="966" y="155"/>
                    </a:cubicBezTo>
                    <a:cubicBezTo>
                      <a:pt x="964" y="154"/>
                      <a:pt x="959" y="152"/>
                      <a:pt x="957" y="154"/>
                    </a:cubicBezTo>
                    <a:cubicBezTo>
                      <a:pt x="955" y="156"/>
                      <a:pt x="958" y="160"/>
                      <a:pt x="956" y="162"/>
                    </a:cubicBezTo>
                    <a:cubicBezTo>
                      <a:pt x="955" y="164"/>
                      <a:pt x="951" y="163"/>
                      <a:pt x="949" y="162"/>
                    </a:cubicBezTo>
                    <a:cubicBezTo>
                      <a:pt x="945" y="161"/>
                      <a:pt x="941" y="158"/>
                      <a:pt x="941" y="154"/>
                    </a:cubicBezTo>
                    <a:cubicBezTo>
                      <a:pt x="942" y="151"/>
                      <a:pt x="945" y="149"/>
                      <a:pt x="943" y="146"/>
                    </a:cubicBezTo>
                    <a:cubicBezTo>
                      <a:pt x="942" y="145"/>
                      <a:pt x="934" y="145"/>
                      <a:pt x="933" y="145"/>
                    </a:cubicBezTo>
                    <a:cubicBezTo>
                      <a:pt x="930" y="146"/>
                      <a:pt x="930" y="147"/>
                      <a:pt x="929" y="150"/>
                    </a:cubicBezTo>
                    <a:cubicBezTo>
                      <a:pt x="929" y="153"/>
                      <a:pt x="929" y="158"/>
                      <a:pt x="929" y="162"/>
                    </a:cubicBezTo>
                    <a:cubicBezTo>
                      <a:pt x="929" y="176"/>
                      <a:pt x="925" y="188"/>
                      <a:pt x="918" y="200"/>
                    </a:cubicBezTo>
                    <a:cubicBezTo>
                      <a:pt x="918" y="201"/>
                      <a:pt x="917" y="201"/>
                      <a:pt x="917" y="202"/>
                    </a:cubicBezTo>
                    <a:cubicBezTo>
                      <a:pt x="915" y="201"/>
                      <a:pt x="913" y="199"/>
                      <a:pt x="912" y="198"/>
                    </a:cubicBezTo>
                    <a:cubicBezTo>
                      <a:pt x="908" y="193"/>
                      <a:pt x="908" y="188"/>
                      <a:pt x="900" y="187"/>
                    </a:cubicBezTo>
                    <a:cubicBezTo>
                      <a:pt x="892" y="187"/>
                      <a:pt x="895" y="199"/>
                      <a:pt x="891" y="204"/>
                    </a:cubicBezTo>
                    <a:cubicBezTo>
                      <a:pt x="889" y="208"/>
                      <a:pt x="885" y="207"/>
                      <a:pt x="881" y="209"/>
                    </a:cubicBezTo>
                    <a:cubicBezTo>
                      <a:pt x="878" y="211"/>
                      <a:pt x="877" y="211"/>
                      <a:pt x="872" y="212"/>
                    </a:cubicBezTo>
                    <a:cubicBezTo>
                      <a:pt x="867" y="213"/>
                      <a:pt x="867" y="216"/>
                      <a:pt x="866" y="220"/>
                    </a:cubicBezTo>
                    <a:cubicBezTo>
                      <a:pt x="865" y="225"/>
                      <a:pt x="860" y="222"/>
                      <a:pt x="857" y="225"/>
                    </a:cubicBezTo>
                    <a:cubicBezTo>
                      <a:pt x="856" y="226"/>
                      <a:pt x="855" y="235"/>
                      <a:pt x="854" y="237"/>
                    </a:cubicBezTo>
                    <a:cubicBezTo>
                      <a:pt x="854" y="240"/>
                      <a:pt x="854" y="244"/>
                      <a:pt x="855" y="247"/>
                    </a:cubicBezTo>
                    <a:cubicBezTo>
                      <a:pt x="856" y="252"/>
                      <a:pt x="860" y="255"/>
                      <a:pt x="858" y="260"/>
                    </a:cubicBezTo>
                    <a:cubicBezTo>
                      <a:pt x="853" y="262"/>
                      <a:pt x="853" y="255"/>
                      <a:pt x="851" y="253"/>
                    </a:cubicBezTo>
                    <a:cubicBezTo>
                      <a:pt x="847" y="256"/>
                      <a:pt x="846" y="261"/>
                      <a:pt x="844" y="265"/>
                    </a:cubicBezTo>
                    <a:cubicBezTo>
                      <a:pt x="843" y="268"/>
                      <a:pt x="841" y="270"/>
                      <a:pt x="839" y="273"/>
                    </a:cubicBezTo>
                    <a:cubicBezTo>
                      <a:pt x="839" y="268"/>
                      <a:pt x="839" y="263"/>
                      <a:pt x="839" y="257"/>
                    </a:cubicBezTo>
                    <a:cubicBezTo>
                      <a:pt x="840" y="252"/>
                      <a:pt x="844" y="251"/>
                      <a:pt x="844" y="246"/>
                    </a:cubicBezTo>
                    <a:cubicBezTo>
                      <a:pt x="845" y="241"/>
                      <a:pt x="840" y="240"/>
                      <a:pt x="839" y="236"/>
                    </a:cubicBezTo>
                    <a:cubicBezTo>
                      <a:pt x="837" y="232"/>
                      <a:pt x="837" y="227"/>
                      <a:pt x="838" y="223"/>
                    </a:cubicBezTo>
                    <a:cubicBezTo>
                      <a:pt x="839" y="219"/>
                      <a:pt x="842" y="214"/>
                      <a:pt x="842" y="210"/>
                    </a:cubicBezTo>
                    <a:cubicBezTo>
                      <a:pt x="842" y="205"/>
                      <a:pt x="837" y="205"/>
                      <a:pt x="833" y="205"/>
                    </a:cubicBezTo>
                    <a:cubicBezTo>
                      <a:pt x="830" y="205"/>
                      <a:pt x="827" y="204"/>
                      <a:pt x="825" y="206"/>
                    </a:cubicBezTo>
                    <a:cubicBezTo>
                      <a:pt x="823" y="208"/>
                      <a:pt x="825" y="211"/>
                      <a:pt x="824" y="214"/>
                    </a:cubicBezTo>
                    <a:cubicBezTo>
                      <a:pt x="822" y="223"/>
                      <a:pt x="815" y="231"/>
                      <a:pt x="815" y="241"/>
                    </a:cubicBezTo>
                    <a:cubicBezTo>
                      <a:pt x="815" y="245"/>
                      <a:pt x="815" y="249"/>
                      <a:pt x="814" y="253"/>
                    </a:cubicBezTo>
                    <a:cubicBezTo>
                      <a:pt x="813" y="256"/>
                      <a:pt x="811" y="260"/>
                      <a:pt x="811" y="263"/>
                    </a:cubicBezTo>
                    <a:cubicBezTo>
                      <a:pt x="806" y="259"/>
                      <a:pt x="804" y="249"/>
                      <a:pt x="807" y="243"/>
                    </a:cubicBezTo>
                    <a:cubicBezTo>
                      <a:pt x="808" y="240"/>
                      <a:pt x="809" y="240"/>
                      <a:pt x="809" y="237"/>
                    </a:cubicBezTo>
                    <a:cubicBezTo>
                      <a:pt x="809" y="235"/>
                      <a:pt x="811" y="231"/>
                      <a:pt x="810" y="229"/>
                    </a:cubicBezTo>
                    <a:cubicBezTo>
                      <a:pt x="809" y="223"/>
                      <a:pt x="798" y="231"/>
                      <a:pt x="794" y="233"/>
                    </a:cubicBezTo>
                    <a:cubicBezTo>
                      <a:pt x="791" y="234"/>
                      <a:pt x="790" y="235"/>
                      <a:pt x="787" y="235"/>
                    </a:cubicBezTo>
                    <a:cubicBezTo>
                      <a:pt x="783" y="235"/>
                      <a:pt x="781" y="234"/>
                      <a:pt x="779" y="236"/>
                    </a:cubicBezTo>
                    <a:cubicBezTo>
                      <a:pt x="779" y="237"/>
                      <a:pt x="779" y="239"/>
                      <a:pt x="779" y="240"/>
                    </a:cubicBezTo>
                    <a:cubicBezTo>
                      <a:pt x="778" y="241"/>
                      <a:pt x="776" y="241"/>
                      <a:pt x="774" y="242"/>
                    </a:cubicBezTo>
                    <a:cubicBezTo>
                      <a:pt x="772" y="243"/>
                      <a:pt x="771" y="243"/>
                      <a:pt x="770" y="245"/>
                    </a:cubicBezTo>
                    <a:cubicBezTo>
                      <a:pt x="767" y="250"/>
                      <a:pt x="767" y="257"/>
                      <a:pt x="770" y="262"/>
                    </a:cubicBezTo>
                    <a:cubicBezTo>
                      <a:pt x="773" y="267"/>
                      <a:pt x="773" y="269"/>
                      <a:pt x="773" y="274"/>
                    </a:cubicBezTo>
                    <a:cubicBezTo>
                      <a:pt x="774" y="281"/>
                      <a:pt x="774" y="286"/>
                      <a:pt x="781" y="287"/>
                    </a:cubicBezTo>
                    <a:cubicBezTo>
                      <a:pt x="783" y="287"/>
                      <a:pt x="787" y="286"/>
                      <a:pt x="788" y="287"/>
                    </a:cubicBezTo>
                    <a:cubicBezTo>
                      <a:pt x="791" y="288"/>
                      <a:pt x="793" y="294"/>
                      <a:pt x="795" y="297"/>
                    </a:cubicBezTo>
                    <a:cubicBezTo>
                      <a:pt x="798" y="301"/>
                      <a:pt x="800" y="304"/>
                      <a:pt x="795" y="306"/>
                    </a:cubicBezTo>
                    <a:cubicBezTo>
                      <a:pt x="793" y="307"/>
                      <a:pt x="790" y="309"/>
                      <a:pt x="789" y="307"/>
                    </a:cubicBezTo>
                    <a:cubicBezTo>
                      <a:pt x="787" y="306"/>
                      <a:pt x="786" y="298"/>
                      <a:pt x="784" y="296"/>
                    </a:cubicBezTo>
                    <a:cubicBezTo>
                      <a:pt x="783" y="292"/>
                      <a:pt x="783" y="291"/>
                      <a:pt x="779" y="290"/>
                    </a:cubicBezTo>
                    <a:cubicBezTo>
                      <a:pt x="777" y="290"/>
                      <a:pt x="776" y="291"/>
                      <a:pt x="774" y="290"/>
                    </a:cubicBezTo>
                    <a:cubicBezTo>
                      <a:pt x="773" y="289"/>
                      <a:pt x="771" y="286"/>
                      <a:pt x="770" y="285"/>
                    </a:cubicBezTo>
                    <a:cubicBezTo>
                      <a:pt x="767" y="283"/>
                      <a:pt x="765" y="280"/>
                      <a:pt x="763" y="276"/>
                    </a:cubicBezTo>
                    <a:cubicBezTo>
                      <a:pt x="763" y="274"/>
                      <a:pt x="764" y="272"/>
                      <a:pt x="763" y="270"/>
                    </a:cubicBezTo>
                    <a:cubicBezTo>
                      <a:pt x="762" y="265"/>
                      <a:pt x="752" y="262"/>
                      <a:pt x="749" y="267"/>
                    </a:cubicBezTo>
                    <a:cubicBezTo>
                      <a:pt x="745" y="273"/>
                      <a:pt x="752" y="279"/>
                      <a:pt x="754" y="283"/>
                    </a:cubicBezTo>
                    <a:cubicBezTo>
                      <a:pt x="755" y="287"/>
                      <a:pt x="756" y="291"/>
                      <a:pt x="755" y="295"/>
                    </a:cubicBezTo>
                    <a:cubicBezTo>
                      <a:pt x="745" y="298"/>
                      <a:pt x="745" y="286"/>
                      <a:pt x="740" y="281"/>
                    </a:cubicBezTo>
                    <a:cubicBezTo>
                      <a:pt x="733" y="273"/>
                      <a:pt x="732" y="283"/>
                      <a:pt x="732" y="289"/>
                    </a:cubicBezTo>
                    <a:cubicBezTo>
                      <a:pt x="730" y="289"/>
                      <a:pt x="727" y="288"/>
                      <a:pt x="725" y="289"/>
                    </a:cubicBezTo>
                    <a:cubicBezTo>
                      <a:pt x="724" y="290"/>
                      <a:pt x="723" y="293"/>
                      <a:pt x="723" y="294"/>
                    </a:cubicBezTo>
                    <a:cubicBezTo>
                      <a:pt x="721" y="294"/>
                      <a:pt x="720" y="285"/>
                      <a:pt x="719" y="282"/>
                    </a:cubicBezTo>
                    <a:cubicBezTo>
                      <a:pt x="718" y="280"/>
                      <a:pt x="715" y="272"/>
                      <a:pt x="713" y="277"/>
                    </a:cubicBezTo>
                    <a:cubicBezTo>
                      <a:pt x="713" y="271"/>
                      <a:pt x="709" y="266"/>
                      <a:pt x="703" y="264"/>
                    </a:cubicBezTo>
                    <a:cubicBezTo>
                      <a:pt x="697" y="261"/>
                      <a:pt x="699" y="266"/>
                      <a:pt x="697" y="269"/>
                    </a:cubicBezTo>
                    <a:cubicBezTo>
                      <a:pt x="695" y="269"/>
                      <a:pt x="692" y="267"/>
                      <a:pt x="690" y="267"/>
                    </a:cubicBezTo>
                    <a:cubicBezTo>
                      <a:pt x="687" y="268"/>
                      <a:pt x="688" y="271"/>
                      <a:pt x="687" y="272"/>
                    </a:cubicBezTo>
                    <a:cubicBezTo>
                      <a:pt x="684" y="276"/>
                      <a:pt x="680" y="274"/>
                      <a:pt x="679" y="280"/>
                    </a:cubicBezTo>
                    <a:cubicBezTo>
                      <a:pt x="681" y="280"/>
                      <a:pt x="684" y="279"/>
                      <a:pt x="687" y="280"/>
                    </a:cubicBezTo>
                    <a:cubicBezTo>
                      <a:pt x="686" y="281"/>
                      <a:pt x="687" y="282"/>
                      <a:pt x="687" y="283"/>
                    </a:cubicBezTo>
                    <a:cubicBezTo>
                      <a:pt x="689" y="283"/>
                      <a:pt x="690" y="283"/>
                      <a:pt x="690" y="284"/>
                    </a:cubicBezTo>
                    <a:cubicBezTo>
                      <a:pt x="686" y="287"/>
                      <a:pt x="674" y="284"/>
                      <a:pt x="671" y="289"/>
                    </a:cubicBezTo>
                    <a:cubicBezTo>
                      <a:pt x="670" y="290"/>
                      <a:pt x="671" y="294"/>
                      <a:pt x="671" y="296"/>
                    </a:cubicBezTo>
                    <a:cubicBezTo>
                      <a:pt x="671" y="299"/>
                      <a:pt x="673" y="302"/>
                      <a:pt x="672" y="304"/>
                    </a:cubicBezTo>
                    <a:cubicBezTo>
                      <a:pt x="672" y="306"/>
                      <a:pt x="672" y="305"/>
                      <a:pt x="671" y="306"/>
                    </a:cubicBezTo>
                    <a:cubicBezTo>
                      <a:pt x="670" y="306"/>
                      <a:pt x="669" y="307"/>
                      <a:pt x="668" y="307"/>
                    </a:cubicBezTo>
                    <a:cubicBezTo>
                      <a:pt x="667" y="308"/>
                      <a:pt x="667" y="308"/>
                      <a:pt x="667" y="309"/>
                    </a:cubicBezTo>
                    <a:cubicBezTo>
                      <a:pt x="664" y="312"/>
                      <a:pt x="665" y="311"/>
                      <a:pt x="664" y="315"/>
                    </a:cubicBezTo>
                    <a:cubicBezTo>
                      <a:pt x="664" y="319"/>
                      <a:pt x="662" y="325"/>
                      <a:pt x="660" y="327"/>
                    </a:cubicBezTo>
                    <a:cubicBezTo>
                      <a:pt x="658" y="329"/>
                      <a:pt x="653" y="333"/>
                      <a:pt x="658" y="336"/>
                    </a:cubicBezTo>
                    <a:cubicBezTo>
                      <a:pt x="659" y="337"/>
                      <a:pt x="661" y="336"/>
                      <a:pt x="663" y="337"/>
                    </a:cubicBezTo>
                    <a:cubicBezTo>
                      <a:pt x="665" y="338"/>
                      <a:pt x="666" y="341"/>
                      <a:pt x="668" y="343"/>
                    </a:cubicBezTo>
                    <a:cubicBezTo>
                      <a:pt x="672" y="342"/>
                      <a:pt x="674" y="337"/>
                      <a:pt x="676" y="334"/>
                    </a:cubicBezTo>
                    <a:cubicBezTo>
                      <a:pt x="678" y="331"/>
                      <a:pt x="681" y="329"/>
                      <a:pt x="684" y="327"/>
                    </a:cubicBezTo>
                    <a:cubicBezTo>
                      <a:pt x="686" y="327"/>
                      <a:pt x="687" y="325"/>
                      <a:pt x="689" y="326"/>
                    </a:cubicBezTo>
                    <a:cubicBezTo>
                      <a:pt x="690" y="326"/>
                      <a:pt x="690" y="328"/>
                      <a:pt x="691" y="328"/>
                    </a:cubicBezTo>
                    <a:cubicBezTo>
                      <a:pt x="693" y="328"/>
                      <a:pt x="694" y="329"/>
                      <a:pt x="694" y="326"/>
                    </a:cubicBezTo>
                    <a:cubicBezTo>
                      <a:pt x="697" y="325"/>
                      <a:pt x="699" y="326"/>
                      <a:pt x="701" y="325"/>
                    </a:cubicBezTo>
                    <a:cubicBezTo>
                      <a:pt x="702" y="325"/>
                      <a:pt x="703" y="324"/>
                      <a:pt x="704" y="324"/>
                    </a:cubicBezTo>
                    <a:cubicBezTo>
                      <a:pt x="705" y="323"/>
                      <a:pt x="707" y="324"/>
                      <a:pt x="708" y="323"/>
                    </a:cubicBezTo>
                    <a:cubicBezTo>
                      <a:pt x="712" y="322"/>
                      <a:pt x="723" y="306"/>
                      <a:pt x="726" y="318"/>
                    </a:cubicBezTo>
                    <a:cubicBezTo>
                      <a:pt x="728" y="325"/>
                      <a:pt x="714" y="323"/>
                      <a:pt x="709" y="325"/>
                    </a:cubicBezTo>
                    <a:cubicBezTo>
                      <a:pt x="706" y="326"/>
                      <a:pt x="703" y="328"/>
                      <a:pt x="702" y="331"/>
                    </a:cubicBezTo>
                    <a:cubicBezTo>
                      <a:pt x="701" y="334"/>
                      <a:pt x="702" y="336"/>
                      <a:pt x="701" y="339"/>
                    </a:cubicBezTo>
                    <a:cubicBezTo>
                      <a:pt x="698" y="343"/>
                      <a:pt x="692" y="342"/>
                      <a:pt x="692" y="348"/>
                    </a:cubicBezTo>
                    <a:cubicBezTo>
                      <a:pt x="692" y="351"/>
                      <a:pt x="694" y="352"/>
                      <a:pt x="692" y="355"/>
                    </a:cubicBezTo>
                    <a:cubicBezTo>
                      <a:pt x="691" y="355"/>
                      <a:pt x="688" y="355"/>
                      <a:pt x="687" y="356"/>
                    </a:cubicBezTo>
                    <a:cubicBezTo>
                      <a:pt x="685" y="357"/>
                      <a:pt x="687" y="359"/>
                      <a:pt x="684" y="360"/>
                    </a:cubicBezTo>
                    <a:cubicBezTo>
                      <a:pt x="682" y="361"/>
                      <a:pt x="677" y="359"/>
                      <a:pt x="675" y="361"/>
                    </a:cubicBezTo>
                    <a:cubicBezTo>
                      <a:pt x="674" y="361"/>
                      <a:pt x="671" y="365"/>
                      <a:pt x="671" y="366"/>
                    </a:cubicBezTo>
                    <a:cubicBezTo>
                      <a:pt x="669" y="368"/>
                      <a:pt x="669" y="370"/>
                      <a:pt x="667" y="372"/>
                    </a:cubicBezTo>
                    <a:cubicBezTo>
                      <a:pt x="665" y="376"/>
                      <a:pt x="663" y="376"/>
                      <a:pt x="660" y="378"/>
                    </a:cubicBezTo>
                    <a:cubicBezTo>
                      <a:pt x="666" y="383"/>
                      <a:pt x="668" y="375"/>
                      <a:pt x="671" y="372"/>
                    </a:cubicBezTo>
                    <a:cubicBezTo>
                      <a:pt x="673" y="370"/>
                      <a:pt x="677" y="371"/>
                      <a:pt x="680" y="370"/>
                    </a:cubicBezTo>
                    <a:cubicBezTo>
                      <a:pt x="680" y="369"/>
                      <a:pt x="681" y="368"/>
                      <a:pt x="682" y="368"/>
                    </a:cubicBezTo>
                    <a:cubicBezTo>
                      <a:pt x="683" y="368"/>
                      <a:pt x="685" y="368"/>
                      <a:pt x="687" y="368"/>
                    </a:cubicBezTo>
                    <a:cubicBezTo>
                      <a:pt x="690" y="367"/>
                      <a:pt x="691" y="365"/>
                      <a:pt x="694" y="364"/>
                    </a:cubicBezTo>
                    <a:cubicBezTo>
                      <a:pt x="696" y="363"/>
                      <a:pt x="700" y="362"/>
                      <a:pt x="702" y="366"/>
                    </a:cubicBezTo>
                    <a:cubicBezTo>
                      <a:pt x="703" y="372"/>
                      <a:pt x="690" y="375"/>
                      <a:pt x="686" y="377"/>
                    </a:cubicBezTo>
                    <a:cubicBezTo>
                      <a:pt x="680" y="380"/>
                      <a:pt x="683" y="382"/>
                      <a:pt x="682" y="387"/>
                    </a:cubicBezTo>
                    <a:cubicBezTo>
                      <a:pt x="681" y="388"/>
                      <a:pt x="678" y="392"/>
                      <a:pt x="676" y="393"/>
                    </a:cubicBezTo>
                    <a:cubicBezTo>
                      <a:pt x="672" y="396"/>
                      <a:pt x="665" y="396"/>
                      <a:pt x="660" y="396"/>
                    </a:cubicBezTo>
                    <a:cubicBezTo>
                      <a:pt x="659" y="396"/>
                      <a:pt x="654" y="395"/>
                      <a:pt x="652" y="397"/>
                    </a:cubicBezTo>
                    <a:cubicBezTo>
                      <a:pt x="651" y="398"/>
                      <a:pt x="652" y="400"/>
                      <a:pt x="651" y="402"/>
                    </a:cubicBezTo>
                    <a:cubicBezTo>
                      <a:pt x="650" y="406"/>
                      <a:pt x="645" y="410"/>
                      <a:pt x="641" y="408"/>
                    </a:cubicBezTo>
                    <a:cubicBezTo>
                      <a:pt x="634" y="404"/>
                      <a:pt x="639" y="389"/>
                      <a:pt x="639" y="383"/>
                    </a:cubicBezTo>
                    <a:cubicBezTo>
                      <a:pt x="639" y="379"/>
                      <a:pt x="639" y="376"/>
                      <a:pt x="636" y="373"/>
                    </a:cubicBezTo>
                    <a:cubicBezTo>
                      <a:pt x="634" y="371"/>
                      <a:pt x="629" y="366"/>
                      <a:pt x="625" y="368"/>
                    </a:cubicBezTo>
                    <a:cubicBezTo>
                      <a:pt x="624" y="369"/>
                      <a:pt x="623" y="373"/>
                      <a:pt x="622" y="374"/>
                    </a:cubicBezTo>
                    <a:cubicBezTo>
                      <a:pt x="621" y="377"/>
                      <a:pt x="618" y="380"/>
                      <a:pt x="617" y="383"/>
                    </a:cubicBezTo>
                    <a:cubicBezTo>
                      <a:pt x="616" y="385"/>
                      <a:pt x="617" y="390"/>
                      <a:pt x="613" y="390"/>
                    </a:cubicBezTo>
                    <a:cubicBezTo>
                      <a:pt x="612" y="388"/>
                      <a:pt x="611" y="384"/>
                      <a:pt x="611" y="382"/>
                    </a:cubicBezTo>
                    <a:cubicBezTo>
                      <a:pt x="611" y="380"/>
                      <a:pt x="612" y="377"/>
                      <a:pt x="611" y="376"/>
                    </a:cubicBezTo>
                    <a:cubicBezTo>
                      <a:pt x="610" y="374"/>
                      <a:pt x="608" y="375"/>
                      <a:pt x="608" y="374"/>
                    </a:cubicBezTo>
                    <a:cubicBezTo>
                      <a:pt x="606" y="373"/>
                      <a:pt x="606" y="372"/>
                      <a:pt x="606" y="369"/>
                    </a:cubicBezTo>
                    <a:cubicBezTo>
                      <a:pt x="606" y="365"/>
                      <a:pt x="607" y="359"/>
                      <a:pt x="603" y="356"/>
                    </a:cubicBezTo>
                    <a:cubicBezTo>
                      <a:pt x="600" y="354"/>
                      <a:pt x="597" y="356"/>
                      <a:pt x="594" y="355"/>
                    </a:cubicBezTo>
                    <a:cubicBezTo>
                      <a:pt x="594" y="352"/>
                      <a:pt x="597" y="348"/>
                      <a:pt x="598" y="346"/>
                    </a:cubicBezTo>
                    <a:cubicBezTo>
                      <a:pt x="599" y="345"/>
                      <a:pt x="601" y="343"/>
                      <a:pt x="601" y="342"/>
                    </a:cubicBezTo>
                    <a:cubicBezTo>
                      <a:pt x="602" y="341"/>
                      <a:pt x="601" y="340"/>
                      <a:pt x="602" y="339"/>
                    </a:cubicBezTo>
                    <a:cubicBezTo>
                      <a:pt x="603" y="337"/>
                      <a:pt x="607" y="336"/>
                      <a:pt x="608" y="335"/>
                    </a:cubicBezTo>
                    <a:cubicBezTo>
                      <a:pt x="610" y="333"/>
                      <a:pt x="611" y="331"/>
                      <a:pt x="612" y="328"/>
                    </a:cubicBezTo>
                    <a:cubicBezTo>
                      <a:pt x="614" y="326"/>
                      <a:pt x="615" y="325"/>
                      <a:pt x="616" y="322"/>
                    </a:cubicBezTo>
                    <a:cubicBezTo>
                      <a:pt x="619" y="318"/>
                      <a:pt x="618" y="316"/>
                      <a:pt x="618" y="311"/>
                    </a:cubicBezTo>
                    <a:cubicBezTo>
                      <a:pt x="619" y="308"/>
                      <a:pt x="622" y="303"/>
                      <a:pt x="620" y="300"/>
                    </a:cubicBezTo>
                    <a:cubicBezTo>
                      <a:pt x="618" y="298"/>
                      <a:pt x="612" y="299"/>
                      <a:pt x="610" y="300"/>
                    </a:cubicBezTo>
                    <a:cubicBezTo>
                      <a:pt x="608" y="301"/>
                      <a:pt x="607" y="304"/>
                      <a:pt x="605" y="305"/>
                    </a:cubicBezTo>
                    <a:cubicBezTo>
                      <a:pt x="604" y="307"/>
                      <a:pt x="604" y="306"/>
                      <a:pt x="603" y="309"/>
                    </a:cubicBezTo>
                    <a:cubicBezTo>
                      <a:pt x="603" y="310"/>
                      <a:pt x="604" y="312"/>
                      <a:pt x="604" y="313"/>
                    </a:cubicBezTo>
                    <a:cubicBezTo>
                      <a:pt x="603" y="316"/>
                      <a:pt x="599" y="317"/>
                      <a:pt x="597" y="318"/>
                    </a:cubicBezTo>
                    <a:cubicBezTo>
                      <a:pt x="595" y="321"/>
                      <a:pt x="592" y="323"/>
                      <a:pt x="590" y="326"/>
                    </a:cubicBezTo>
                    <a:cubicBezTo>
                      <a:pt x="584" y="334"/>
                      <a:pt x="581" y="343"/>
                      <a:pt x="581" y="353"/>
                    </a:cubicBezTo>
                    <a:cubicBezTo>
                      <a:pt x="582" y="355"/>
                      <a:pt x="581" y="358"/>
                      <a:pt x="581" y="361"/>
                    </a:cubicBezTo>
                    <a:cubicBezTo>
                      <a:pt x="582" y="364"/>
                      <a:pt x="580" y="369"/>
                      <a:pt x="581" y="372"/>
                    </a:cubicBezTo>
                    <a:cubicBezTo>
                      <a:pt x="590" y="372"/>
                      <a:pt x="579" y="377"/>
                      <a:pt x="578" y="381"/>
                    </a:cubicBezTo>
                    <a:cubicBezTo>
                      <a:pt x="576" y="384"/>
                      <a:pt x="582" y="394"/>
                      <a:pt x="575" y="395"/>
                    </a:cubicBezTo>
                    <a:cubicBezTo>
                      <a:pt x="572" y="392"/>
                      <a:pt x="574" y="389"/>
                      <a:pt x="573" y="387"/>
                    </a:cubicBezTo>
                    <a:cubicBezTo>
                      <a:pt x="573" y="387"/>
                      <a:pt x="571" y="384"/>
                      <a:pt x="572" y="385"/>
                    </a:cubicBezTo>
                    <a:cubicBezTo>
                      <a:pt x="571" y="383"/>
                      <a:pt x="571" y="381"/>
                      <a:pt x="571" y="378"/>
                    </a:cubicBezTo>
                    <a:cubicBezTo>
                      <a:pt x="571" y="376"/>
                      <a:pt x="571" y="373"/>
                      <a:pt x="571" y="371"/>
                    </a:cubicBezTo>
                    <a:cubicBezTo>
                      <a:pt x="571" y="368"/>
                      <a:pt x="570" y="366"/>
                      <a:pt x="570" y="363"/>
                    </a:cubicBezTo>
                    <a:cubicBezTo>
                      <a:pt x="569" y="363"/>
                      <a:pt x="568" y="363"/>
                      <a:pt x="567" y="364"/>
                    </a:cubicBezTo>
                    <a:cubicBezTo>
                      <a:pt x="566" y="361"/>
                      <a:pt x="566" y="358"/>
                      <a:pt x="564" y="355"/>
                    </a:cubicBezTo>
                    <a:cubicBezTo>
                      <a:pt x="563" y="354"/>
                      <a:pt x="562" y="349"/>
                      <a:pt x="561" y="348"/>
                    </a:cubicBezTo>
                    <a:cubicBezTo>
                      <a:pt x="555" y="343"/>
                      <a:pt x="554" y="359"/>
                      <a:pt x="554" y="362"/>
                    </a:cubicBezTo>
                    <a:cubicBezTo>
                      <a:pt x="554" y="365"/>
                      <a:pt x="554" y="366"/>
                      <a:pt x="555" y="368"/>
                    </a:cubicBezTo>
                    <a:cubicBezTo>
                      <a:pt x="555" y="370"/>
                      <a:pt x="556" y="370"/>
                      <a:pt x="556" y="372"/>
                    </a:cubicBezTo>
                    <a:cubicBezTo>
                      <a:pt x="553" y="372"/>
                      <a:pt x="551" y="372"/>
                      <a:pt x="549" y="372"/>
                    </a:cubicBezTo>
                    <a:cubicBezTo>
                      <a:pt x="548" y="374"/>
                      <a:pt x="549" y="377"/>
                      <a:pt x="548" y="379"/>
                    </a:cubicBezTo>
                    <a:cubicBezTo>
                      <a:pt x="546" y="377"/>
                      <a:pt x="544" y="372"/>
                      <a:pt x="541" y="372"/>
                    </a:cubicBezTo>
                    <a:cubicBezTo>
                      <a:pt x="537" y="372"/>
                      <a:pt x="535" y="377"/>
                      <a:pt x="534" y="379"/>
                    </a:cubicBezTo>
                    <a:cubicBezTo>
                      <a:pt x="532" y="382"/>
                      <a:pt x="531" y="384"/>
                      <a:pt x="529" y="387"/>
                    </a:cubicBezTo>
                    <a:cubicBezTo>
                      <a:pt x="528" y="389"/>
                      <a:pt x="527" y="390"/>
                      <a:pt x="525" y="393"/>
                    </a:cubicBezTo>
                    <a:cubicBezTo>
                      <a:pt x="525" y="395"/>
                      <a:pt x="522" y="398"/>
                      <a:pt x="522" y="400"/>
                    </a:cubicBezTo>
                    <a:cubicBezTo>
                      <a:pt x="521" y="403"/>
                      <a:pt x="522" y="407"/>
                      <a:pt x="525" y="408"/>
                    </a:cubicBezTo>
                    <a:cubicBezTo>
                      <a:pt x="529" y="409"/>
                      <a:pt x="532" y="403"/>
                      <a:pt x="534" y="400"/>
                    </a:cubicBezTo>
                    <a:cubicBezTo>
                      <a:pt x="537" y="396"/>
                      <a:pt x="537" y="397"/>
                      <a:pt x="542" y="397"/>
                    </a:cubicBezTo>
                    <a:cubicBezTo>
                      <a:pt x="545" y="397"/>
                      <a:pt x="547" y="395"/>
                      <a:pt x="549" y="396"/>
                    </a:cubicBezTo>
                    <a:cubicBezTo>
                      <a:pt x="550" y="398"/>
                      <a:pt x="548" y="399"/>
                      <a:pt x="548" y="401"/>
                    </a:cubicBezTo>
                    <a:cubicBezTo>
                      <a:pt x="547" y="404"/>
                      <a:pt x="548" y="406"/>
                      <a:pt x="546" y="408"/>
                    </a:cubicBezTo>
                    <a:cubicBezTo>
                      <a:pt x="544" y="409"/>
                      <a:pt x="542" y="408"/>
                      <a:pt x="539" y="409"/>
                    </a:cubicBezTo>
                    <a:cubicBezTo>
                      <a:pt x="536" y="410"/>
                      <a:pt x="535" y="414"/>
                      <a:pt x="536" y="417"/>
                    </a:cubicBezTo>
                    <a:cubicBezTo>
                      <a:pt x="538" y="426"/>
                      <a:pt x="549" y="428"/>
                      <a:pt x="556" y="425"/>
                    </a:cubicBezTo>
                    <a:cubicBezTo>
                      <a:pt x="559" y="424"/>
                      <a:pt x="560" y="423"/>
                      <a:pt x="559" y="420"/>
                    </a:cubicBezTo>
                    <a:cubicBezTo>
                      <a:pt x="558" y="417"/>
                      <a:pt x="555" y="416"/>
                      <a:pt x="559" y="413"/>
                    </a:cubicBezTo>
                    <a:cubicBezTo>
                      <a:pt x="560" y="412"/>
                      <a:pt x="562" y="412"/>
                      <a:pt x="564" y="410"/>
                    </a:cubicBezTo>
                    <a:cubicBezTo>
                      <a:pt x="566" y="409"/>
                      <a:pt x="567" y="407"/>
                      <a:pt x="569" y="405"/>
                    </a:cubicBezTo>
                    <a:cubicBezTo>
                      <a:pt x="570" y="404"/>
                      <a:pt x="572" y="403"/>
                      <a:pt x="574" y="402"/>
                    </a:cubicBezTo>
                    <a:cubicBezTo>
                      <a:pt x="575" y="401"/>
                      <a:pt x="580" y="400"/>
                      <a:pt x="581" y="400"/>
                    </a:cubicBezTo>
                    <a:cubicBezTo>
                      <a:pt x="585" y="403"/>
                      <a:pt x="576" y="408"/>
                      <a:pt x="575" y="410"/>
                    </a:cubicBezTo>
                    <a:cubicBezTo>
                      <a:pt x="571" y="414"/>
                      <a:pt x="571" y="418"/>
                      <a:pt x="566" y="421"/>
                    </a:cubicBezTo>
                    <a:cubicBezTo>
                      <a:pt x="569" y="426"/>
                      <a:pt x="570" y="427"/>
                      <a:pt x="565" y="430"/>
                    </a:cubicBezTo>
                    <a:cubicBezTo>
                      <a:pt x="559" y="432"/>
                      <a:pt x="554" y="430"/>
                      <a:pt x="549" y="432"/>
                    </a:cubicBezTo>
                    <a:cubicBezTo>
                      <a:pt x="544" y="433"/>
                      <a:pt x="542" y="434"/>
                      <a:pt x="537" y="434"/>
                    </a:cubicBezTo>
                    <a:cubicBezTo>
                      <a:pt x="534" y="434"/>
                      <a:pt x="530" y="433"/>
                      <a:pt x="528" y="435"/>
                    </a:cubicBezTo>
                    <a:cubicBezTo>
                      <a:pt x="525" y="438"/>
                      <a:pt x="527" y="443"/>
                      <a:pt x="520" y="444"/>
                    </a:cubicBezTo>
                    <a:cubicBezTo>
                      <a:pt x="514" y="444"/>
                      <a:pt x="508" y="440"/>
                      <a:pt x="503" y="443"/>
                    </a:cubicBezTo>
                    <a:cubicBezTo>
                      <a:pt x="502" y="444"/>
                      <a:pt x="502" y="445"/>
                      <a:pt x="500" y="446"/>
                    </a:cubicBezTo>
                    <a:cubicBezTo>
                      <a:pt x="499" y="446"/>
                      <a:pt x="498" y="446"/>
                      <a:pt x="498" y="446"/>
                    </a:cubicBezTo>
                    <a:cubicBezTo>
                      <a:pt x="496" y="446"/>
                      <a:pt x="495" y="447"/>
                      <a:pt x="495" y="448"/>
                    </a:cubicBezTo>
                    <a:cubicBezTo>
                      <a:pt x="493" y="449"/>
                      <a:pt x="489" y="449"/>
                      <a:pt x="487" y="450"/>
                    </a:cubicBezTo>
                    <a:cubicBezTo>
                      <a:pt x="484" y="452"/>
                      <a:pt x="480" y="457"/>
                      <a:pt x="478" y="460"/>
                    </a:cubicBezTo>
                    <a:cubicBezTo>
                      <a:pt x="474" y="463"/>
                      <a:pt x="476" y="467"/>
                      <a:pt x="476" y="472"/>
                    </a:cubicBezTo>
                    <a:cubicBezTo>
                      <a:pt x="473" y="472"/>
                      <a:pt x="469" y="470"/>
                      <a:pt x="467" y="471"/>
                    </a:cubicBezTo>
                    <a:cubicBezTo>
                      <a:pt x="466" y="472"/>
                      <a:pt x="462" y="476"/>
                      <a:pt x="462" y="478"/>
                    </a:cubicBezTo>
                    <a:cubicBezTo>
                      <a:pt x="460" y="481"/>
                      <a:pt x="461" y="482"/>
                      <a:pt x="457" y="484"/>
                    </a:cubicBezTo>
                    <a:cubicBezTo>
                      <a:pt x="454" y="486"/>
                      <a:pt x="451" y="486"/>
                      <a:pt x="447" y="487"/>
                    </a:cubicBezTo>
                    <a:cubicBezTo>
                      <a:pt x="447" y="489"/>
                      <a:pt x="448" y="491"/>
                      <a:pt x="447" y="493"/>
                    </a:cubicBezTo>
                    <a:cubicBezTo>
                      <a:pt x="447" y="495"/>
                      <a:pt x="447" y="497"/>
                      <a:pt x="446" y="499"/>
                    </a:cubicBezTo>
                    <a:cubicBezTo>
                      <a:pt x="445" y="501"/>
                      <a:pt x="444" y="501"/>
                      <a:pt x="443" y="502"/>
                    </a:cubicBezTo>
                    <a:cubicBezTo>
                      <a:pt x="440" y="505"/>
                      <a:pt x="441" y="511"/>
                      <a:pt x="441" y="515"/>
                    </a:cubicBezTo>
                    <a:cubicBezTo>
                      <a:pt x="444" y="516"/>
                      <a:pt x="453" y="512"/>
                      <a:pt x="455" y="509"/>
                    </a:cubicBezTo>
                    <a:cubicBezTo>
                      <a:pt x="456" y="507"/>
                      <a:pt x="457" y="504"/>
                      <a:pt x="458" y="501"/>
                    </a:cubicBezTo>
                    <a:cubicBezTo>
                      <a:pt x="459" y="500"/>
                      <a:pt x="461" y="498"/>
                      <a:pt x="462" y="497"/>
                    </a:cubicBezTo>
                    <a:cubicBezTo>
                      <a:pt x="464" y="498"/>
                      <a:pt x="464" y="499"/>
                      <a:pt x="467" y="498"/>
                    </a:cubicBezTo>
                    <a:cubicBezTo>
                      <a:pt x="470" y="497"/>
                      <a:pt x="469" y="495"/>
                      <a:pt x="470" y="494"/>
                    </a:cubicBezTo>
                    <a:cubicBezTo>
                      <a:pt x="471" y="492"/>
                      <a:pt x="476" y="491"/>
                      <a:pt x="475" y="488"/>
                    </a:cubicBezTo>
                    <a:cubicBezTo>
                      <a:pt x="478" y="487"/>
                      <a:pt x="488" y="490"/>
                      <a:pt x="489" y="484"/>
                    </a:cubicBezTo>
                    <a:cubicBezTo>
                      <a:pt x="492" y="484"/>
                      <a:pt x="493" y="485"/>
                      <a:pt x="495" y="483"/>
                    </a:cubicBezTo>
                    <a:cubicBezTo>
                      <a:pt x="498" y="481"/>
                      <a:pt x="498" y="474"/>
                      <a:pt x="501" y="472"/>
                    </a:cubicBezTo>
                    <a:cubicBezTo>
                      <a:pt x="504" y="470"/>
                      <a:pt x="509" y="471"/>
                      <a:pt x="510" y="467"/>
                    </a:cubicBezTo>
                    <a:cubicBezTo>
                      <a:pt x="510" y="467"/>
                      <a:pt x="510" y="465"/>
                      <a:pt x="510" y="464"/>
                    </a:cubicBezTo>
                    <a:cubicBezTo>
                      <a:pt x="511" y="466"/>
                      <a:pt x="511" y="467"/>
                      <a:pt x="510" y="467"/>
                    </a:cubicBezTo>
                    <a:cubicBezTo>
                      <a:pt x="512" y="471"/>
                      <a:pt x="521" y="470"/>
                      <a:pt x="524" y="469"/>
                    </a:cubicBezTo>
                    <a:cubicBezTo>
                      <a:pt x="530" y="468"/>
                      <a:pt x="531" y="465"/>
                      <a:pt x="535" y="461"/>
                    </a:cubicBezTo>
                    <a:cubicBezTo>
                      <a:pt x="536" y="459"/>
                      <a:pt x="538" y="455"/>
                      <a:pt x="541" y="454"/>
                    </a:cubicBezTo>
                    <a:cubicBezTo>
                      <a:pt x="542" y="456"/>
                      <a:pt x="543" y="458"/>
                      <a:pt x="543" y="460"/>
                    </a:cubicBezTo>
                    <a:cubicBezTo>
                      <a:pt x="545" y="460"/>
                      <a:pt x="546" y="460"/>
                      <a:pt x="548" y="460"/>
                    </a:cubicBezTo>
                    <a:cubicBezTo>
                      <a:pt x="553" y="459"/>
                      <a:pt x="553" y="453"/>
                      <a:pt x="557" y="451"/>
                    </a:cubicBezTo>
                    <a:cubicBezTo>
                      <a:pt x="558" y="450"/>
                      <a:pt x="559" y="449"/>
                      <a:pt x="560" y="449"/>
                    </a:cubicBezTo>
                    <a:cubicBezTo>
                      <a:pt x="561" y="450"/>
                      <a:pt x="561" y="450"/>
                      <a:pt x="562" y="450"/>
                    </a:cubicBezTo>
                    <a:cubicBezTo>
                      <a:pt x="564" y="449"/>
                      <a:pt x="564" y="446"/>
                      <a:pt x="565" y="445"/>
                    </a:cubicBezTo>
                    <a:cubicBezTo>
                      <a:pt x="567" y="444"/>
                      <a:pt x="567" y="447"/>
                      <a:pt x="569" y="446"/>
                    </a:cubicBezTo>
                    <a:cubicBezTo>
                      <a:pt x="571" y="446"/>
                      <a:pt x="576" y="442"/>
                      <a:pt x="578" y="441"/>
                    </a:cubicBezTo>
                    <a:cubicBezTo>
                      <a:pt x="580" y="439"/>
                      <a:pt x="584" y="437"/>
                      <a:pt x="586" y="435"/>
                    </a:cubicBezTo>
                    <a:cubicBezTo>
                      <a:pt x="590" y="440"/>
                      <a:pt x="586" y="447"/>
                      <a:pt x="596" y="445"/>
                    </a:cubicBezTo>
                    <a:cubicBezTo>
                      <a:pt x="600" y="444"/>
                      <a:pt x="603" y="440"/>
                      <a:pt x="606" y="437"/>
                    </a:cubicBezTo>
                    <a:cubicBezTo>
                      <a:pt x="609" y="435"/>
                      <a:pt x="610" y="434"/>
                      <a:pt x="612" y="431"/>
                    </a:cubicBezTo>
                    <a:cubicBezTo>
                      <a:pt x="616" y="434"/>
                      <a:pt x="623" y="422"/>
                      <a:pt x="625" y="419"/>
                    </a:cubicBezTo>
                    <a:cubicBezTo>
                      <a:pt x="625" y="420"/>
                      <a:pt x="625" y="423"/>
                      <a:pt x="625" y="424"/>
                    </a:cubicBezTo>
                    <a:cubicBezTo>
                      <a:pt x="624" y="426"/>
                      <a:pt x="621" y="427"/>
                      <a:pt x="621" y="429"/>
                    </a:cubicBezTo>
                    <a:cubicBezTo>
                      <a:pt x="621" y="435"/>
                      <a:pt x="631" y="436"/>
                      <a:pt x="636" y="435"/>
                    </a:cubicBezTo>
                    <a:cubicBezTo>
                      <a:pt x="642" y="433"/>
                      <a:pt x="647" y="430"/>
                      <a:pt x="653" y="429"/>
                    </a:cubicBezTo>
                    <a:cubicBezTo>
                      <a:pt x="660" y="427"/>
                      <a:pt x="667" y="425"/>
                      <a:pt x="674" y="422"/>
                    </a:cubicBezTo>
                    <a:cubicBezTo>
                      <a:pt x="675" y="425"/>
                      <a:pt x="674" y="428"/>
                      <a:pt x="670" y="428"/>
                    </a:cubicBezTo>
                    <a:cubicBezTo>
                      <a:pt x="669" y="432"/>
                      <a:pt x="674" y="436"/>
                      <a:pt x="669" y="439"/>
                    </a:cubicBezTo>
                    <a:cubicBezTo>
                      <a:pt x="665" y="441"/>
                      <a:pt x="653" y="440"/>
                      <a:pt x="652" y="435"/>
                    </a:cubicBezTo>
                    <a:cubicBezTo>
                      <a:pt x="651" y="435"/>
                      <a:pt x="649" y="435"/>
                      <a:pt x="648" y="435"/>
                    </a:cubicBezTo>
                    <a:cubicBezTo>
                      <a:pt x="645" y="435"/>
                      <a:pt x="644" y="436"/>
                      <a:pt x="642" y="437"/>
                    </a:cubicBezTo>
                    <a:cubicBezTo>
                      <a:pt x="640" y="437"/>
                      <a:pt x="639" y="437"/>
                      <a:pt x="637" y="437"/>
                    </a:cubicBezTo>
                    <a:cubicBezTo>
                      <a:pt x="634" y="437"/>
                      <a:pt x="633" y="439"/>
                      <a:pt x="630" y="440"/>
                    </a:cubicBezTo>
                    <a:cubicBezTo>
                      <a:pt x="627" y="441"/>
                      <a:pt x="622" y="443"/>
                      <a:pt x="624" y="447"/>
                    </a:cubicBezTo>
                    <a:cubicBezTo>
                      <a:pt x="626" y="451"/>
                      <a:pt x="634" y="452"/>
                      <a:pt x="638" y="452"/>
                    </a:cubicBezTo>
                    <a:cubicBezTo>
                      <a:pt x="639" y="455"/>
                      <a:pt x="638" y="455"/>
                      <a:pt x="637" y="457"/>
                    </a:cubicBezTo>
                    <a:cubicBezTo>
                      <a:pt x="635" y="460"/>
                      <a:pt x="633" y="459"/>
                      <a:pt x="631" y="461"/>
                    </a:cubicBezTo>
                    <a:cubicBezTo>
                      <a:pt x="630" y="457"/>
                      <a:pt x="626" y="453"/>
                      <a:pt x="622" y="451"/>
                    </a:cubicBezTo>
                    <a:cubicBezTo>
                      <a:pt x="622" y="453"/>
                      <a:pt x="622" y="454"/>
                      <a:pt x="622" y="455"/>
                    </a:cubicBezTo>
                    <a:cubicBezTo>
                      <a:pt x="622" y="458"/>
                      <a:pt x="623" y="458"/>
                      <a:pt x="624" y="460"/>
                    </a:cubicBezTo>
                    <a:cubicBezTo>
                      <a:pt x="625" y="463"/>
                      <a:pt x="625" y="466"/>
                      <a:pt x="625" y="469"/>
                    </a:cubicBezTo>
                    <a:cubicBezTo>
                      <a:pt x="624" y="473"/>
                      <a:pt x="623" y="480"/>
                      <a:pt x="618" y="482"/>
                    </a:cubicBezTo>
                    <a:cubicBezTo>
                      <a:pt x="619" y="476"/>
                      <a:pt x="620" y="470"/>
                      <a:pt x="616" y="465"/>
                    </a:cubicBezTo>
                    <a:cubicBezTo>
                      <a:pt x="615" y="465"/>
                      <a:pt x="613" y="460"/>
                      <a:pt x="612" y="460"/>
                    </a:cubicBezTo>
                    <a:cubicBezTo>
                      <a:pt x="609" y="461"/>
                      <a:pt x="609" y="466"/>
                      <a:pt x="609" y="468"/>
                    </a:cubicBezTo>
                    <a:cubicBezTo>
                      <a:pt x="609" y="470"/>
                      <a:pt x="609" y="471"/>
                      <a:pt x="608" y="473"/>
                    </a:cubicBezTo>
                    <a:cubicBezTo>
                      <a:pt x="606" y="474"/>
                      <a:pt x="604" y="474"/>
                      <a:pt x="603" y="475"/>
                    </a:cubicBezTo>
                    <a:cubicBezTo>
                      <a:pt x="601" y="476"/>
                      <a:pt x="601" y="477"/>
                      <a:pt x="600" y="478"/>
                    </a:cubicBezTo>
                    <a:cubicBezTo>
                      <a:pt x="597" y="481"/>
                      <a:pt x="593" y="485"/>
                      <a:pt x="588" y="484"/>
                    </a:cubicBezTo>
                    <a:cubicBezTo>
                      <a:pt x="588" y="482"/>
                      <a:pt x="588" y="480"/>
                      <a:pt x="588" y="479"/>
                    </a:cubicBezTo>
                    <a:cubicBezTo>
                      <a:pt x="589" y="479"/>
                      <a:pt x="590" y="479"/>
                      <a:pt x="591" y="478"/>
                    </a:cubicBezTo>
                    <a:cubicBezTo>
                      <a:pt x="593" y="473"/>
                      <a:pt x="587" y="472"/>
                      <a:pt x="583" y="474"/>
                    </a:cubicBezTo>
                    <a:cubicBezTo>
                      <a:pt x="580" y="475"/>
                      <a:pt x="579" y="476"/>
                      <a:pt x="578" y="478"/>
                    </a:cubicBezTo>
                    <a:cubicBezTo>
                      <a:pt x="575" y="481"/>
                      <a:pt x="575" y="481"/>
                      <a:pt x="575" y="485"/>
                    </a:cubicBezTo>
                    <a:cubicBezTo>
                      <a:pt x="575" y="488"/>
                      <a:pt x="574" y="490"/>
                      <a:pt x="577" y="491"/>
                    </a:cubicBezTo>
                    <a:cubicBezTo>
                      <a:pt x="580" y="492"/>
                      <a:pt x="586" y="490"/>
                      <a:pt x="589" y="492"/>
                    </a:cubicBezTo>
                    <a:cubicBezTo>
                      <a:pt x="592" y="493"/>
                      <a:pt x="591" y="499"/>
                      <a:pt x="591" y="502"/>
                    </a:cubicBezTo>
                    <a:cubicBezTo>
                      <a:pt x="587" y="503"/>
                      <a:pt x="582" y="504"/>
                      <a:pt x="578" y="503"/>
                    </a:cubicBezTo>
                    <a:cubicBezTo>
                      <a:pt x="576" y="503"/>
                      <a:pt x="575" y="503"/>
                      <a:pt x="574" y="503"/>
                    </a:cubicBezTo>
                    <a:cubicBezTo>
                      <a:pt x="573" y="503"/>
                      <a:pt x="572" y="502"/>
                      <a:pt x="571" y="501"/>
                    </a:cubicBezTo>
                    <a:cubicBezTo>
                      <a:pt x="571" y="501"/>
                      <a:pt x="571" y="500"/>
                      <a:pt x="570" y="499"/>
                    </a:cubicBezTo>
                    <a:cubicBezTo>
                      <a:pt x="562" y="495"/>
                      <a:pt x="558" y="502"/>
                      <a:pt x="555" y="509"/>
                    </a:cubicBezTo>
                    <a:cubicBezTo>
                      <a:pt x="553" y="513"/>
                      <a:pt x="547" y="517"/>
                      <a:pt x="547" y="522"/>
                    </a:cubicBezTo>
                    <a:cubicBezTo>
                      <a:pt x="548" y="529"/>
                      <a:pt x="556" y="525"/>
                      <a:pt x="557" y="529"/>
                    </a:cubicBezTo>
                    <a:cubicBezTo>
                      <a:pt x="558" y="533"/>
                      <a:pt x="553" y="534"/>
                      <a:pt x="551" y="537"/>
                    </a:cubicBezTo>
                    <a:cubicBezTo>
                      <a:pt x="549" y="539"/>
                      <a:pt x="547" y="545"/>
                      <a:pt x="548" y="548"/>
                    </a:cubicBezTo>
                    <a:cubicBezTo>
                      <a:pt x="554" y="550"/>
                      <a:pt x="563" y="543"/>
                      <a:pt x="567" y="539"/>
                    </a:cubicBezTo>
                    <a:cubicBezTo>
                      <a:pt x="569" y="537"/>
                      <a:pt x="569" y="537"/>
                      <a:pt x="571" y="535"/>
                    </a:cubicBezTo>
                    <a:cubicBezTo>
                      <a:pt x="573" y="531"/>
                      <a:pt x="576" y="527"/>
                      <a:pt x="579" y="523"/>
                    </a:cubicBezTo>
                    <a:cubicBezTo>
                      <a:pt x="582" y="528"/>
                      <a:pt x="580" y="532"/>
                      <a:pt x="579" y="536"/>
                    </a:cubicBezTo>
                    <a:cubicBezTo>
                      <a:pt x="578" y="541"/>
                      <a:pt x="578" y="542"/>
                      <a:pt x="573" y="544"/>
                    </a:cubicBezTo>
                    <a:cubicBezTo>
                      <a:pt x="571" y="546"/>
                      <a:pt x="567" y="546"/>
                      <a:pt x="566" y="549"/>
                    </a:cubicBezTo>
                    <a:cubicBezTo>
                      <a:pt x="566" y="552"/>
                      <a:pt x="566" y="556"/>
                      <a:pt x="568" y="557"/>
                    </a:cubicBezTo>
                    <a:cubicBezTo>
                      <a:pt x="566" y="558"/>
                      <a:pt x="563" y="556"/>
                      <a:pt x="561" y="556"/>
                    </a:cubicBezTo>
                    <a:cubicBezTo>
                      <a:pt x="558" y="556"/>
                      <a:pt x="554" y="555"/>
                      <a:pt x="552" y="556"/>
                    </a:cubicBezTo>
                    <a:cubicBezTo>
                      <a:pt x="548" y="557"/>
                      <a:pt x="546" y="560"/>
                      <a:pt x="543" y="563"/>
                    </a:cubicBezTo>
                    <a:cubicBezTo>
                      <a:pt x="541" y="565"/>
                      <a:pt x="538" y="566"/>
                      <a:pt x="535" y="568"/>
                    </a:cubicBezTo>
                    <a:cubicBezTo>
                      <a:pt x="533" y="569"/>
                      <a:pt x="525" y="573"/>
                      <a:pt x="525" y="577"/>
                    </a:cubicBezTo>
                    <a:cubicBezTo>
                      <a:pt x="525" y="581"/>
                      <a:pt x="531" y="582"/>
                      <a:pt x="531" y="584"/>
                    </a:cubicBezTo>
                    <a:cubicBezTo>
                      <a:pt x="533" y="588"/>
                      <a:pt x="529" y="585"/>
                      <a:pt x="527" y="587"/>
                    </a:cubicBezTo>
                    <a:cubicBezTo>
                      <a:pt x="524" y="588"/>
                      <a:pt x="526" y="590"/>
                      <a:pt x="525" y="591"/>
                    </a:cubicBezTo>
                    <a:cubicBezTo>
                      <a:pt x="523" y="592"/>
                      <a:pt x="523" y="592"/>
                      <a:pt x="522" y="593"/>
                    </a:cubicBezTo>
                    <a:cubicBezTo>
                      <a:pt x="518" y="596"/>
                      <a:pt x="516" y="600"/>
                      <a:pt x="516" y="605"/>
                    </a:cubicBezTo>
                    <a:cubicBezTo>
                      <a:pt x="520" y="606"/>
                      <a:pt x="524" y="603"/>
                      <a:pt x="528" y="602"/>
                    </a:cubicBezTo>
                    <a:cubicBezTo>
                      <a:pt x="533" y="600"/>
                      <a:pt x="540" y="599"/>
                      <a:pt x="546" y="600"/>
                    </a:cubicBezTo>
                    <a:cubicBezTo>
                      <a:pt x="548" y="600"/>
                      <a:pt x="550" y="601"/>
                      <a:pt x="552" y="601"/>
                    </a:cubicBezTo>
                    <a:cubicBezTo>
                      <a:pt x="555" y="601"/>
                      <a:pt x="558" y="601"/>
                      <a:pt x="559" y="604"/>
                    </a:cubicBezTo>
                    <a:cubicBezTo>
                      <a:pt x="559" y="604"/>
                      <a:pt x="559" y="605"/>
                      <a:pt x="559" y="605"/>
                    </a:cubicBezTo>
                    <a:cubicBezTo>
                      <a:pt x="558" y="605"/>
                      <a:pt x="558" y="606"/>
                      <a:pt x="558" y="607"/>
                    </a:cubicBezTo>
                    <a:cubicBezTo>
                      <a:pt x="556" y="608"/>
                      <a:pt x="551" y="607"/>
                      <a:pt x="548" y="607"/>
                    </a:cubicBezTo>
                    <a:cubicBezTo>
                      <a:pt x="542" y="607"/>
                      <a:pt x="528" y="605"/>
                      <a:pt x="523" y="610"/>
                    </a:cubicBezTo>
                    <a:cubicBezTo>
                      <a:pt x="518" y="613"/>
                      <a:pt x="519" y="622"/>
                      <a:pt x="516" y="627"/>
                    </a:cubicBezTo>
                    <a:cubicBezTo>
                      <a:pt x="513" y="623"/>
                      <a:pt x="515" y="615"/>
                      <a:pt x="509" y="614"/>
                    </a:cubicBezTo>
                    <a:cubicBezTo>
                      <a:pt x="505" y="612"/>
                      <a:pt x="503" y="617"/>
                      <a:pt x="503" y="620"/>
                    </a:cubicBezTo>
                    <a:cubicBezTo>
                      <a:pt x="502" y="626"/>
                      <a:pt x="503" y="625"/>
                      <a:pt x="499" y="629"/>
                    </a:cubicBezTo>
                    <a:cubicBezTo>
                      <a:pt x="495" y="632"/>
                      <a:pt x="496" y="634"/>
                      <a:pt x="495" y="639"/>
                    </a:cubicBezTo>
                    <a:cubicBezTo>
                      <a:pt x="493" y="640"/>
                      <a:pt x="491" y="642"/>
                      <a:pt x="488" y="643"/>
                    </a:cubicBezTo>
                    <a:cubicBezTo>
                      <a:pt x="486" y="644"/>
                      <a:pt x="484" y="643"/>
                      <a:pt x="482" y="644"/>
                    </a:cubicBezTo>
                    <a:cubicBezTo>
                      <a:pt x="477" y="646"/>
                      <a:pt x="482" y="647"/>
                      <a:pt x="483" y="650"/>
                    </a:cubicBezTo>
                    <a:cubicBezTo>
                      <a:pt x="484" y="652"/>
                      <a:pt x="483" y="653"/>
                      <a:pt x="484" y="655"/>
                    </a:cubicBezTo>
                    <a:cubicBezTo>
                      <a:pt x="484" y="656"/>
                      <a:pt x="486" y="657"/>
                      <a:pt x="487" y="657"/>
                    </a:cubicBezTo>
                    <a:cubicBezTo>
                      <a:pt x="490" y="659"/>
                      <a:pt x="495" y="661"/>
                      <a:pt x="497" y="665"/>
                    </a:cubicBezTo>
                    <a:cubicBezTo>
                      <a:pt x="489" y="666"/>
                      <a:pt x="480" y="664"/>
                      <a:pt x="473" y="666"/>
                    </a:cubicBezTo>
                    <a:cubicBezTo>
                      <a:pt x="469" y="667"/>
                      <a:pt x="468" y="667"/>
                      <a:pt x="467" y="670"/>
                    </a:cubicBezTo>
                    <a:cubicBezTo>
                      <a:pt x="466" y="673"/>
                      <a:pt x="466" y="674"/>
                      <a:pt x="467" y="676"/>
                    </a:cubicBezTo>
                    <a:cubicBezTo>
                      <a:pt x="467" y="677"/>
                      <a:pt x="469" y="676"/>
                      <a:pt x="468" y="679"/>
                    </a:cubicBezTo>
                    <a:cubicBezTo>
                      <a:pt x="465" y="679"/>
                      <a:pt x="465" y="680"/>
                      <a:pt x="464" y="682"/>
                    </a:cubicBezTo>
                    <a:cubicBezTo>
                      <a:pt x="462" y="683"/>
                      <a:pt x="456" y="684"/>
                      <a:pt x="455" y="687"/>
                    </a:cubicBezTo>
                    <a:cubicBezTo>
                      <a:pt x="454" y="689"/>
                      <a:pt x="455" y="690"/>
                      <a:pt x="456" y="691"/>
                    </a:cubicBezTo>
                    <a:cubicBezTo>
                      <a:pt x="457" y="694"/>
                      <a:pt x="457" y="695"/>
                      <a:pt x="458" y="699"/>
                    </a:cubicBezTo>
                    <a:cubicBezTo>
                      <a:pt x="461" y="699"/>
                      <a:pt x="465" y="699"/>
                      <a:pt x="468" y="699"/>
                    </a:cubicBezTo>
                    <a:cubicBezTo>
                      <a:pt x="472" y="698"/>
                      <a:pt x="476" y="696"/>
                      <a:pt x="476" y="702"/>
                    </a:cubicBezTo>
                    <a:cubicBezTo>
                      <a:pt x="475" y="705"/>
                      <a:pt x="471" y="706"/>
                      <a:pt x="470" y="708"/>
                    </a:cubicBezTo>
                    <a:cubicBezTo>
                      <a:pt x="467" y="711"/>
                      <a:pt x="466" y="714"/>
                      <a:pt x="462" y="713"/>
                    </a:cubicBezTo>
                    <a:cubicBezTo>
                      <a:pt x="460" y="709"/>
                      <a:pt x="462" y="705"/>
                      <a:pt x="457" y="702"/>
                    </a:cubicBezTo>
                    <a:cubicBezTo>
                      <a:pt x="452" y="699"/>
                      <a:pt x="446" y="701"/>
                      <a:pt x="446" y="706"/>
                    </a:cubicBezTo>
                    <a:cubicBezTo>
                      <a:pt x="446" y="708"/>
                      <a:pt x="448" y="710"/>
                      <a:pt x="447" y="712"/>
                    </a:cubicBezTo>
                    <a:cubicBezTo>
                      <a:pt x="447" y="715"/>
                      <a:pt x="446" y="717"/>
                      <a:pt x="447" y="720"/>
                    </a:cubicBezTo>
                    <a:cubicBezTo>
                      <a:pt x="447" y="723"/>
                      <a:pt x="447" y="724"/>
                      <a:pt x="451" y="726"/>
                    </a:cubicBezTo>
                    <a:cubicBezTo>
                      <a:pt x="455" y="728"/>
                      <a:pt x="460" y="727"/>
                      <a:pt x="465" y="728"/>
                    </a:cubicBezTo>
                    <a:cubicBezTo>
                      <a:pt x="463" y="730"/>
                      <a:pt x="459" y="731"/>
                      <a:pt x="456" y="732"/>
                    </a:cubicBezTo>
                    <a:cubicBezTo>
                      <a:pt x="455" y="733"/>
                      <a:pt x="454" y="736"/>
                      <a:pt x="453" y="737"/>
                    </a:cubicBezTo>
                    <a:cubicBezTo>
                      <a:pt x="452" y="739"/>
                      <a:pt x="450" y="740"/>
                      <a:pt x="447" y="740"/>
                    </a:cubicBezTo>
                    <a:cubicBezTo>
                      <a:pt x="443" y="741"/>
                      <a:pt x="442" y="740"/>
                      <a:pt x="438" y="744"/>
                    </a:cubicBezTo>
                    <a:cubicBezTo>
                      <a:pt x="436" y="747"/>
                      <a:pt x="436" y="745"/>
                      <a:pt x="436" y="749"/>
                    </a:cubicBezTo>
                    <a:cubicBezTo>
                      <a:pt x="436" y="750"/>
                      <a:pt x="436" y="752"/>
                      <a:pt x="436" y="754"/>
                    </a:cubicBezTo>
                    <a:cubicBezTo>
                      <a:pt x="436" y="761"/>
                      <a:pt x="429" y="758"/>
                      <a:pt x="427" y="763"/>
                    </a:cubicBezTo>
                    <a:cubicBezTo>
                      <a:pt x="426" y="765"/>
                      <a:pt x="427" y="767"/>
                      <a:pt x="426" y="769"/>
                    </a:cubicBezTo>
                    <a:cubicBezTo>
                      <a:pt x="425" y="770"/>
                      <a:pt x="423" y="771"/>
                      <a:pt x="422" y="773"/>
                    </a:cubicBezTo>
                    <a:cubicBezTo>
                      <a:pt x="422" y="774"/>
                      <a:pt x="422" y="775"/>
                      <a:pt x="421" y="776"/>
                    </a:cubicBezTo>
                    <a:cubicBezTo>
                      <a:pt x="420" y="778"/>
                      <a:pt x="417" y="778"/>
                      <a:pt x="417" y="779"/>
                    </a:cubicBezTo>
                    <a:cubicBezTo>
                      <a:pt x="416" y="781"/>
                      <a:pt x="416" y="783"/>
                      <a:pt x="416" y="785"/>
                    </a:cubicBezTo>
                    <a:cubicBezTo>
                      <a:pt x="416" y="787"/>
                      <a:pt x="415" y="789"/>
                      <a:pt x="418" y="790"/>
                    </a:cubicBezTo>
                    <a:cubicBezTo>
                      <a:pt x="421" y="790"/>
                      <a:pt x="421" y="787"/>
                      <a:pt x="422" y="785"/>
                    </a:cubicBezTo>
                    <a:cubicBezTo>
                      <a:pt x="425" y="782"/>
                      <a:pt x="431" y="781"/>
                      <a:pt x="436" y="780"/>
                    </a:cubicBezTo>
                    <a:cubicBezTo>
                      <a:pt x="437" y="779"/>
                      <a:pt x="438" y="779"/>
                      <a:pt x="441" y="780"/>
                    </a:cubicBezTo>
                    <a:cubicBezTo>
                      <a:pt x="439" y="780"/>
                      <a:pt x="438" y="780"/>
                      <a:pt x="436" y="780"/>
                    </a:cubicBezTo>
                    <a:cubicBezTo>
                      <a:pt x="435" y="782"/>
                      <a:pt x="434" y="784"/>
                      <a:pt x="433" y="785"/>
                    </a:cubicBezTo>
                    <a:cubicBezTo>
                      <a:pt x="432" y="786"/>
                      <a:pt x="429" y="787"/>
                      <a:pt x="429" y="788"/>
                    </a:cubicBezTo>
                    <a:cubicBezTo>
                      <a:pt x="428" y="790"/>
                      <a:pt x="429" y="792"/>
                      <a:pt x="428" y="794"/>
                    </a:cubicBezTo>
                    <a:cubicBezTo>
                      <a:pt x="427" y="798"/>
                      <a:pt x="423" y="799"/>
                      <a:pt x="421" y="801"/>
                    </a:cubicBezTo>
                    <a:cubicBezTo>
                      <a:pt x="419" y="804"/>
                      <a:pt x="419" y="808"/>
                      <a:pt x="415" y="811"/>
                    </a:cubicBezTo>
                    <a:cubicBezTo>
                      <a:pt x="411" y="813"/>
                      <a:pt x="408" y="810"/>
                      <a:pt x="407" y="815"/>
                    </a:cubicBezTo>
                    <a:cubicBezTo>
                      <a:pt x="407" y="818"/>
                      <a:pt x="406" y="823"/>
                      <a:pt x="407" y="825"/>
                    </a:cubicBezTo>
                    <a:cubicBezTo>
                      <a:pt x="408" y="828"/>
                      <a:pt x="418" y="833"/>
                      <a:pt x="416" y="837"/>
                    </a:cubicBezTo>
                    <a:cubicBezTo>
                      <a:pt x="415" y="839"/>
                      <a:pt x="406" y="839"/>
                      <a:pt x="407" y="835"/>
                    </a:cubicBezTo>
                    <a:cubicBezTo>
                      <a:pt x="404" y="836"/>
                      <a:pt x="403" y="844"/>
                      <a:pt x="401" y="847"/>
                    </a:cubicBezTo>
                    <a:cubicBezTo>
                      <a:pt x="399" y="850"/>
                      <a:pt x="394" y="853"/>
                      <a:pt x="393" y="857"/>
                    </a:cubicBezTo>
                    <a:cubicBezTo>
                      <a:pt x="391" y="861"/>
                      <a:pt x="392" y="866"/>
                      <a:pt x="396" y="870"/>
                    </a:cubicBezTo>
                    <a:cubicBezTo>
                      <a:pt x="397" y="871"/>
                      <a:pt x="400" y="872"/>
                      <a:pt x="399" y="874"/>
                    </a:cubicBezTo>
                    <a:cubicBezTo>
                      <a:pt x="399" y="876"/>
                      <a:pt x="395" y="874"/>
                      <a:pt x="396" y="877"/>
                    </a:cubicBezTo>
                    <a:cubicBezTo>
                      <a:pt x="399" y="878"/>
                      <a:pt x="400" y="876"/>
                      <a:pt x="403" y="876"/>
                    </a:cubicBezTo>
                    <a:cubicBezTo>
                      <a:pt x="403" y="877"/>
                      <a:pt x="403" y="878"/>
                      <a:pt x="403" y="880"/>
                    </a:cubicBezTo>
                    <a:cubicBezTo>
                      <a:pt x="403" y="880"/>
                      <a:pt x="402" y="881"/>
                      <a:pt x="402" y="882"/>
                    </a:cubicBezTo>
                    <a:cubicBezTo>
                      <a:pt x="398" y="882"/>
                      <a:pt x="394" y="884"/>
                      <a:pt x="391" y="887"/>
                    </a:cubicBezTo>
                    <a:cubicBezTo>
                      <a:pt x="389" y="889"/>
                      <a:pt x="389" y="890"/>
                      <a:pt x="386" y="892"/>
                    </a:cubicBezTo>
                    <a:cubicBezTo>
                      <a:pt x="383" y="894"/>
                      <a:pt x="380" y="895"/>
                      <a:pt x="380" y="898"/>
                    </a:cubicBezTo>
                    <a:cubicBezTo>
                      <a:pt x="375" y="897"/>
                      <a:pt x="374" y="886"/>
                      <a:pt x="370" y="889"/>
                    </a:cubicBezTo>
                    <a:cubicBezTo>
                      <a:pt x="369" y="890"/>
                      <a:pt x="367" y="895"/>
                      <a:pt x="367" y="896"/>
                    </a:cubicBezTo>
                    <a:cubicBezTo>
                      <a:pt x="366" y="899"/>
                      <a:pt x="368" y="900"/>
                      <a:pt x="369" y="902"/>
                    </a:cubicBezTo>
                    <a:cubicBezTo>
                      <a:pt x="369" y="903"/>
                      <a:pt x="369" y="905"/>
                      <a:pt x="368" y="906"/>
                    </a:cubicBezTo>
                    <a:cubicBezTo>
                      <a:pt x="368" y="907"/>
                      <a:pt x="365" y="907"/>
                      <a:pt x="364" y="908"/>
                    </a:cubicBezTo>
                    <a:cubicBezTo>
                      <a:pt x="363" y="908"/>
                      <a:pt x="363" y="909"/>
                      <a:pt x="362" y="910"/>
                    </a:cubicBezTo>
                    <a:cubicBezTo>
                      <a:pt x="360" y="911"/>
                      <a:pt x="360" y="912"/>
                      <a:pt x="357" y="912"/>
                    </a:cubicBezTo>
                    <a:cubicBezTo>
                      <a:pt x="356" y="912"/>
                      <a:pt x="352" y="909"/>
                      <a:pt x="350" y="909"/>
                    </a:cubicBezTo>
                    <a:cubicBezTo>
                      <a:pt x="348" y="908"/>
                      <a:pt x="347" y="909"/>
                      <a:pt x="345" y="908"/>
                    </a:cubicBezTo>
                    <a:cubicBezTo>
                      <a:pt x="345" y="906"/>
                      <a:pt x="346" y="903"/>
                      <a:pt x="345" y="902"/>
                    </a:cubicBezTo>
                    <a:cubicBezTo>
                      <a:pt x="344" y="898"/>
                      <a:pt x="340" y="901"/>
                      <a:pt x="338" y="904"/>
                    </a:cubicBezTo>
                    <a:cubicBezTo>
                      <a:pt x="336" y="906"/>
                      <a:pt x="336" y="908"/>
                      <a:pt x="334" y="910"/>
                    </a:cubicBezTo>
                    <a:cubicBezTo>
                      <a:pt x="332" y="913"/>
                      <a:pt x="330" y="914"/>
                      <a:pt x="328" y="917"/>
                    </a:cubicBezTo>
                    <a:cubicBezTo>
                      <a:pt x="327" y="918"/>
                      <a:pt x="326" y="922"/>
                      <a:pt x="326" y="924"/>
                    </a:cubicBezTo>
                    <a:cubicBezTo>
                      <a:pt x="328" y="925"/>
                      <a:pt x="332" y="925"/>
                      <a:pt x="334" y="925"/>
                    </a:cubicBezTo>
                    <a:cubicBezTo>
                      <a:pt x="336" y="924"/>
                      <a:pt x="339" y="923"/>
                      <a:pt x="341" y="924"/>
                    </a:cubicBezTo>
                    <a:cubicBezTo>
                      <a:pt x="346" y="924"/>
                      <a:pt x="352" y="929"/>
                      <a:pt x="357" y="929"/>
                    </a:cubicBezTo>
                    <a:cubicBezTo>
                      <a:pt x="360" y="929"/>
                      <a:pt x="363" y="926"/>
                      <a:pt x="366" y="927"/>
                    </a:cubicBezTo>
                    <a:cubicBezTo>
                      <a:pt x="369" y="928"/>
                      <a:pt x="368" y="930"/>
                      <a:pt x="369" y="931"/>
                    </a:cubicBezTo>
                    <a:cubicBezTo>
                      <a:pt x="369" y="931"/>
                      <a:pt x="369" y="931"/>
                      <a:pt x="369" y="931"/>
                    </a:cubicBezTo>
                    <a:cubicBezTo>
                      <a:pt x="367" y="932"/>
                      <a:pt x="360" y="934"/>
                      <a:pt x="361" y="936"/>
                    </a:cubicBezTo>
                    <a:cubicBezTo>
                      <a:pt x="362" y="937"/>
                      <a:pt x="370" y="936"/>
                      <a:pt x="372" y="936"/>
                    </a:cubicBezTo>
                    <a:cubicBezTo>
                      <a:pt x="374" y="942"/>
                      <a:pt x="359" y="938"/>
                      <a:pt x="357" y="941"/>
                    </a:cubicBezTo>
                    <a:cubicBezTo>
                      <a:pt x="355" y="942"/>
                      <a:pt x="356" y="943"/>
                      <a:pt x="357" y="945"/>
                    </a:cubicBezTo>
                    <a:cubicBezTo>
                      <a:pt x="358" y="948"/>
                      <a:pt x="359" y="950"/>
                      <a:pt x="360" y="953"/>
                    </a:cubicBezTo>
                    <a:cubicBezTo>
                      <a:pt x="358" y="952"/>
                      <a:pt x="357" y="949"/>
                      <a:pt x="355" y="948"/>
                    </a:cubicBezTo>
                    <a:cubicBezTo>
                      <a:pt x="352" y="946"/>
                      <a:pt x="352" y="948"/>
                      <a:pt x="351" y="949"/>
                    </a:cubicBezTo>
                    <a:cubicBezTo>
                      <a:pt x="349" y="950"/>
                      <a:pt x="351" y="951"/>
                      <a:pt x="348" y="951"/>
                    </a:cubicBezTo>
                    <a:cubicBezTo>
                      <a:pt x="346" y="951"/>
                      <a:pt x="345" y="950"/>
                      <a:pt x="344" y="949"/>
                    </a:cubicBezTo>
                    <a:cubicBezTo>
                      <a:pt x="343" y="953"/>
                      <a:pt x="345" y="954"/>
                      <a:pt x="343" y="957"/>
                    </a:cubicBezTo>
                    <a:cubicBezTo>
                      <a:pt x="341" y="961"/>
                      <a:pt x="336" y="960"/>
                      <a:pt x="332" y="960"/>
                    </a:cubicBezTo>
                    <a:cubicBezTo>
                      <a:pt x="330" y="955"/>
                      <a:pt x="330" y="955"/>
                      <a:pt x="330" y="955"/>
                    </a:cubicBezTo>
                    <a:cubicBezTo>
                      <a:pt x="326" y="959"/>
                      <a:pt x="319" y="962"/>
                      <a:pt x="318" y="967"/>
                    </a:cubicBezTo>
                    <a:cubicBezTo>
                      <a:pt x="317" y="970"/>
                      <a:pt x="317" y="972"/>
                      <a:pt x="316" y="974"/>
                    </a:cubicBezTo>
                    <a:cubicBezTo>
                      <a:pt x="315" y="976"/>
                      <a:pt x="313" y="976"/>
                      <a:pt x="314" y="979"/>
                    </a:cubicBezTo>
                    <a:cubicBezTo>
                      <a:pt x="317" y="979"/>
                      <a:pt x="321" y="978"/>
                      <a:pt x="325" y="979"/>
                    </a:cubicBezTo>
                    <a:cubicBezTo>
                      <a:pt x="329" y="986"/>
                      <a:pt x="314" y="983"/>
                      <a:pt x="311" y="985"/>
                    </a:cubicBezTo>
                    <a:cubicBezTo>
                      <a:pt x="312" y="985"/>
                      <a:pt x="310" y="989"/>
                      <a:pt x="310" y="988"/>
                    </a:cubicBezTo>
                    <a:cubicBezTo>
                      <a:pt x="309" y="989"/>
                      <a:pt x="310" y="992"/>
                      <a:pt x="309" y="993"/>
                    </a:cubicBezTo>
                    <a:cubicBezTo>
                      <a:pt x="308" y="995"/>
                      <a:pt x="300" y="994"/>
                      <a:pt x="302" y="998"/>
                    </a:cubicBezTo>
                    <a:cubicBezTo>
                      <a:pt x="304" y="998"/>
                      <a:pt x="304" y="999"/>
                      <a:pt x="304" y="1001"/>
                    </a:cubicBezTo>
                    <a:cubicBezTo>
                      <a:pt x="304" y="1004"/>
                      <a:pt x="303" y="1004"/>
                      <a:pt x="300" y="1005"/>
                    </a:cubicBezTo>
                    <a:cubicBezTo>
                      <a:pt x="294" y="1008"/>
                      <a:pt x="296" y="1007"/>
                      <a:pt x="297" y="1013"/>
                    </a:cubicBezTo>
                    <a:cubicBezTo>
                      <a:pt x="292" y="1016"/>
                      <a:pt x="291" y="1018"/>
                      <a:pt x="297" y="1019"/>
                    </a:cubicBezTo>
                    <a:cubicBezTo>
                      <a:pt x="297" y="1025"/>
                      <a:pt x="285" y="1020"/>
                      <a:pt x="283" y="1017"/>
                    </a:cubicBezTo>
                    <a:cubicBezTo>
                      <a:pt x="278" y="1023"/>
                      <a:pt x="285" y="1027"/>
                      <a:pt x="289" y="1028"/>
                    </a:cubicBezTo>
                    <a:cubicBezTo>
                      <a:pt x="289" y="1031"/>
                      <a:pt x="283" y="1033"/>
                      <a:pt x="282" y="1037"/>
                    </a:cubicBezTo>
                    <a:cubicBezTo>
                      <a:pt x="284" y="1038"/>
                      <a:pt x="288" y="1039"/>
                      <a:pt x="285" y="1042"/>
                    </a:cubicBezTo>
                    <a:cubicBezTo>
                      <a:pt x="282" y="1044"/>
                      <a:pt x="277" y="1039"/>
                      <a:pt x="274" y="1040"/>
                    </a:cubicBezTo>
                    <a:cubicBezTo>
                      <a:pt x="273" y="1041"/>
                      <a:pt x="274" y="1045"/>
                      <a:pt x="273" y="1047"/>
                    </a:cubicBezTo>
                    <a:cubicBezTo>
                      <a:pt x="272" y="1048"/>
                      <a:pt x="269" y="1048"/>
                      <a:pt x="267" y="1047"/>
                    </a:cubicBezTo>
                    <a:cubicBezTo>
                      <a:pt x="267" y="1047"/>
                      <a:pt x="267" y="1046"/>
                      <a:pt x="266" y="1046"/>
                    </a:cubicBezTo>
                    <a:cubicBezTo>
                      <a:pt x="262" y="1046"/>
                      <a:pt x="266" y="1052"/>
                      <a:pt x="268" y="1053"/>
                    </a:cubicBezTo>
                    <a:cubicBezTo>
                      <a:pt x="270" y="1054"/>
                      <a:pt x="272" y="1053"/>
                      <a:pt x="271" y="1056"/>
                    </a:cubicBezTo>
                    <a:cubicBezTo>
                      <a:pt x="271" y="1058"/>
                      <a:pt x="263" y="1061"/>
                      <a:pt x="260" y="1061"/>
                    </a:cubicBezTo>
                    <a:cubicBezTo>
                      <a:pt x="259" y="1067"/>
                      <a:pt x="267" y="1065"/>
                      <a:pt x="272" y="1065"/>
                    </a:cubicBezTo>
                    <a:cubicBezTo>
                      <a:pt x="272" y="1065"/>
                      <a:pt x="273" y="1064"/>
                      <a:pt x="273" y="1064"/>
                    </a:cubicBezTo>
                    <a:cubicBezTo>
                      <a:pt x="274" y="1063"/>
                      <a:pt x="275" y="1061"/>
                      <a:pt x="277" y="1060"/>
                    </a:cubicBezTo>
                    <a:cubicBezTo>
                      <a:pt x="278" y="1059"/>
                      <a:pt x="283" y="1060"/>
                      <a:pt x="285" y="1060"/>
                    </a:cubicBezTo>
                    <a:cubicBezTo>
                      <a:pt x="283" y="1063"/>
                      <a:pt x="275" y="1068"/>
                      <a:pt x="278" y="1073"/>
                    </a:cubicBezTo>
                    <a:cubicBezTo>
                      <a:pt x="279" y="1075"/>
                      <a:pt x="284" y="1075"/>
                      <a:pt x="286" y="1079"/>
                    </a:cubicBezTo>
                    <a:cubicBezTo>
                      <a:pt x="287" y="1082"/>
                      <a:pt x="286" y="1083"/>
                      <a:pt x="291" y="1084"/>
                    </a:cubicBezTo>
                    <a:cubicBezTo>
                      <a:pt x="293" y="1084"/>
                      <a:pt x="296" y="1083"/>
                      <a:pt x="298" y="1084"/>
                    </a:cubicBezTo>
                    <a:cubicBezTo>
                      <a:pt x="299" y="1084"/>
                      <a:pt x="299" y="1085"/>
                      <a:pt x="301" y="1085"/>
                    </a:cubicBezTo>
                    <a:cubicBezTo>
                      <a:pt x="303" y="1083"/>
                      <a:pt x="302" y="1079"/>
                      <a:pt x="305" y="1077"/>
                    </a:cubicBezTo>
                    <a:cubicBezTo>
                      <a:pt x="306" y="1076"/>
                      <a:pt x="308" y="1076"/>
                      <a:pt x="309" y="1076"/>
                    </a:cubicBezTo>
                    <a:cubicBezTo>
                      <a:pt x="311" y="1076"/>
                      <a:pt x="311" y="1078"/>
                      <a:pt x="312" y="1078"/>
                    </a:cubicBezTo>
                    <a:cubicBezTo>
                      <a:pt x="315" y="1078"/>
                      <a:pt x="314" y="1073"/>
                      <a:pt x="315" y="1071"/>
                    </a:cubicBezTo>
                    <a:cubicBezTo>
                      <a:pt x="316" y="1068"/>
                      <a:pt x="319" y="1066"/>
                      <a:pt x="322" y="1065"/>
                    </a:cubicBezTo>
                    <a:cubicBezTo>
                      <a:pt x="325" y="1064"/>
                      <a:pt x="325" y="1065"/>
                      <a:pt x="326" y="1063"/>
                    </a:cubicBezTo>
                    <a:cubicBezTo>
                      <a:pt x="328" y="1061"/>
                      <a:pt x="328" y="1060"/>
                      <a:pt x="330" y="1058"/>
                    </a:cubicBezTo>
                    <a:cubicBezTo>
                      <a:pt x="331" y="1057"/>
                      <a:pt x="332" y="1056"/>
                      <a:pt x="333" y="1056"/>
                    </a:cubicBezTo>
                    <a:cubicBezTo>
                      <a:pt x="334" y="1054"/>
                      <a:pt x="334" y="1055"/>
                      <a:pt x="336" y="1054"/>
                    </a:cubicBezTo>
                    <a:cubicBezTo>
                      <a:pt x="341" y="1052"/>
                      <a:pt x="351" y="1050"/>
                      <a:pt x="353" y="1044"/>
                    </a:cubicBezTo>
                    <a:cubicBezTo>
                      <a:pt x="348" y="1044"/>
                      <a:pt x="345" y="1037"/>
                      <a:pt x="348" y="1033"/>
                    </a:cubicBezTo>
                    <a:cubicBezTo>
                      <a:pt x="343" y="1032"/>
                      <a:pt x="339" y="1035"/>
                      <a:pt x="334" y="1035"/>
                    </a:cubicBezTo>
                    <a:cubicBezTo>
                      <a:pt x="332" y="1030"/>
                      <a:pt x="338" y="1028"/>
                      <a:pt x="343" y="1026"/>
                    </a:cubicBezTo>
                    <a:cubicBezTo>
                      <a:pt x="346" y="1025"/>
                      <a:pt x="350" y="1024"/>
                      <a:pt x="353" y="1023"/>
                    </a:cubicBezTo>
                    <a:cubicBezTo>
                      <a:pt x="355" y="1022"/>
                      <a:pt x="357" y="1020"/>
                      <a:pt x="359" y="1020"/>
                    </a:cubicBezTo>
                    <a:cubicBezTo>
                      <a:pt x="361" y="1020"/>
                      <a:pt x="363" y="1022"/>
                      <a:pt x="361" y="1025"/>
                    </a:cubicBezTo>
                    <a:cubicBezTo>
                      <a:pt x="360" y="1026"/>
                      <a:pt x="355" y="1027"/>
                      <a:pt x="354" y="1029"/>
                    </a:cubicBezTo>
                    <a:cubicBezTo>
                      <a:pt x="352" y="1030"/>
                      <a:pt x="350" y="1033"/>
                      <a:pt x="353" y="1035"/>
                    </a:cubicBezTo>
                    <a:cubicBezTo>
                      <a:pt x="355" y="1037"/>
                      <a:pt x="360" y="1033"/>
                      <a:pt x="361" y="1037"/>
                    </a:cubicBezTo>
                    <a:cubicBezTo>
                      <a:pt x="362" y="1038"/>
                      <a:pt x="361" y="1039"/>
                      <a:pt x="361" y="1040"/>
                    </a:cubicBezTo>
                    <a:cubicBezTo>
                      <a:pt x="362" y="1042"/>
                      <a:pt x="362" y="1041"/>
                      <a:pt x="364" y="1042"/>
                    </a:cubicBezTo>
                    <a:cubicBezTo>
                      <a:pt x="367" y="1044"/>
                      <a:pt x="368" y="1046"/>
                      <a:pt x="368" y="1050"/>
                    </a:cubicBezTo>
                    <a:cubicBezTo>
                      <a:pt x="362" y="1050"/>
                      <a:pt x="356" y="1049"/>
                      <a:pt x="351" y="1050"/>
                    </a:cubicBezTo>
                    <a:cubicBezTo>
                      <a:pt x="350" y="1054"/>
                      <a:pt x="348" y="1058"/>
                      <a:pt x="345" y="1061"/>
                    </a:cubicBezTo>
                    <a:cubicBezTo>
                      <a:pt x="341" y="1066"/>
                      <a:pt x="335" y="1064"/>
                      <a:pt x="330" y="1068"/>
                    </a:cubicBezTo>
                    <a:cubicBezTo>
                      <a:pt x="327" y="1071"/>
                      <a:pt x="326" y="1077"/>
                      <a:pt x="327" y="1080"/>
                    </a:cubicBezTo>
                    <a:cubicBezTo>
                      <a:pt x="328" y="1082"/>
                      <a:pt x="332" y="1089"/>
                      <a:pt x="331" y="1091"/>
                    </a:cubicBezTo>
                    <a:cubicBezTo>
                      <a:pt x="329" y="1095"/>
                      <a:pt x="325" y="1088"/>
                      <a:pt x="324" y="1087"/>
                    </a:cubicBezTo>
                    <a:cubicBezTo>
                      <a:pt x="321" y="1086"/>
                      <a:pt x="320" y="1087"/>
                      <a:pt x="317" y="1086"/>
                    </a:cubicBezTo>
                    <a:cubicBezTo>
                      <a:pt x="314" y="1085"/>
                      <a:pt x="310" y="1081"/>
                      <a:pt x="307" y="1083"/>
                    </a:cubicBezTo>
                    <a:cubicBezTo>
                      <a:pt x="304" y="1085"/>
                      <a:pt x="306" y="1087"/>
                      <a:pt x="302" y="1088"/>
                    </a:cubicBezTo>
                    <a:cubicBezTo>
                      <a:pt x="300" y="1089"/>
                      <a:pt x="296" y="1088"/>
                      <a:pt x="294" y="1090"/>
                    </a:cubicBezTo>
                    <a:cubicBezTo>
                      <a:pt x="293" y="1092"/>
                      <a:pt x="295" y="1094"/>
                      <a:pt x="293" y="1096"/>
                    </a:cubicBezTo>
                    <a:cubicBezTo>
                      <a:pt x="292" y="1098"/>
                      <a:pt x="286" y="1100"/>
                      <a:pt x="289" y="1103"/>
                    </a:cubicBezTo>
                    <a:cubicBezTo>
                      <a:pt x="291" y="1104"/>
                      <a:pt x="295" y="1103"/>
                      <a:pt x="297" y="1103"/>
                    </a:cubicBezTo>
                    <a:cubicBezTo>
                      <a:pt x="296" y="1105"/>
                      <a:pt x="289" y="1106"/>
                      <a:pt x="287" y="1105"/>
                    </a:cubicBezTo>
                    <a:cubicBezTo>
                      <a:pt x="285" y="1104"/>
                      <a:pt x="285" y="1103"/>
                      <a:pt x="285" y="1101"/>
                    </a:cubicBezTo>
                    <a:cubicBezTo>
                      <a:pt x="285" y="1100"/>
                      <a:pt x="286" y="1097"/>
                      <a:pt x="286" y="1097"/>
                    </a:cubicBezTo>
                    <a:cubicBezTo>
                      <a:pt x="286" y="1095"/>
                      <a:pt x="282" y="1094"/>
                      <a:pt x="281" y="1092"/>
                    </a:cubicBezTo>
                    <a:cubicBezTo>
                      <a:pt x="279" y="1090"/>
                      <a:pt x="278" y="1085"/>
                      <a:pt x="277" y="1082"/>
                    </a:cubicBezTo>
                    <a:cubicBezTo>
                      <a:pt x="277" y="1080"/>
                      <a:pt x="278" y="1077"/>
                      <a:pt x="277" y="1075"/>
                    </a:cubicBezTo>
                    <a:cubicBezTo>
                      <a:pt x="277" y="1073"/>
                      <a:pt x="274" y="1072"/>
                      <a:pt x="274" y="1070"/>
                    </a:cubicBezTo>
                    <a:cubicBezTo>
                      <a:pt x="269" y="1069"/>
                      <a:pt x="268" y="1075"/>
                      <a:pt x="265" y="1076"/>
                    </a:cubicBezTo>
                    <a:cubicBezTo>
                      <a:pt x="263" y="1074"/>
                      <a:pt x="259" y="1073"/>
                      <a:pt x="257" y="1075"/>
                    </a:cubicBezTo>
                    <a:cubicBezTo>
                      <a:pt x="255" y="1076"/>
                      <a:pt x="255" y="1079"/>
                      <a:pt x="253" y="1081"/>
                    </a:cubicBezTo>
                    <a:cubicBezTo>
                      <a:pt x="251" y="1082"/>
                      <a:pt x="240" y="1081"/>
                      <a:pt x="242" y="1087"/>
                    </a:cubicBezTo>
                    <a:cubicBezTo>
                      <a:pt x="246" y="1088"/>
                      <a:pt x="249" y="1087"/>
                      <a:pt x="252" y="1088"/>
                    </a:cubicBezTo>
                    <a:cubicBezTo>
                      <a:pt x="253" y="1089"/>
                      <a:pt x="254" y="1090"/>
                      <a:pt x="254" y="1091"/>
                    </a:cubicBezTo>
                    <a:cubicBezTo>
                      <a:pt x="256" y="1091"/>
                      <a:pt x="257" y="1090"/>
                      <a:pt x="258" y="1092"/>
                    </a:cubicBezTo>
                    <a:cubicBezTo>
                      <a:pt x="255" y="1093"/>
                      <a:pt x="244" y="1094"/>
                      <a:pt x="247" y="1099"/>
                    </a:cubicBezTo>
                    <a:cubicBezTo>
                      <a:pt x="249" y="1104"/>
                      <a:pt x="260" y="1101"/>
                      <a:pt x="264" y="1101"/>
                    </a:cubicBezTo>
                    <a:cubicBezTo>
                      <a:pt x="264" y="1104"/>
                      <a:pt x="260" y="1103"/>
                      <a:pt x="258" y="1104"/>
                    </a:cubicBezTo>
                    <a:cubicBezTo>
                      <a:pt x="255" y="1105"/>
                      <a:pt x="254" y="1108"/>
                      <a:pt x="252" y="1110"/>
                    </a:cubicBezTo>
                    <a:cubicBezTo>
                      <a:pt x="247" y="1112"/>
                      <a:pt x="248" y="1104"/>
                      <a:pt x="245" y="1103"/>
                    </a:cubicBezTo>
                    <a:cubicBezTo>
                      <a:pt x="243" y="1103"/>
                      <a:pt x="240" y="1105"/>
                      <a:pt x="239" y="1105"/>
                    </a:cubicBezTo>
                    <a:cubicBezTo>
                      <a:pt x="238" y="1102"/>
                      <a:pt x="240" y="1097"/>
                      <a:pt x="239" y="1095"/>
                    </a:cubicBezTo>
                    <a:cubicBezTo>
                      <a:pt x="238" y="1093"/>
                      <a:pt x="234" y="1090"/>
                      <a:pt x="232" y="1090"/>
                    </a:cubicBezTo>
                    <a:cubicBezTo>
                      <a:pt x="226" y="1088"/>
                      <a:pt x="224" y="1093"/>
                      <a:pt x="219" y="1094"/>
                    </a:cubicBezTo>
                    <a:cubicBezTo>
                      <a:pt x="216" y="1094"/>
                      <a:pt x="214" y="1093"/>
                      <a:pt x="212" y="1094"/>
                    </a:cubicBezTo>
                    <a:cubicBezTo>
                      <a:pt x="210" y="1094"/>
                      <a:pt x="208" y="1095"/>
                      <a:pt x="206" y="1097"/>
                    </a:cubicBezTo>
                    <a:cubicBezTo>
                      <a:pt x="205" y="1098"/>
                      <a:pt x="205" y="1099"/>
                      <a:pt x="204" y="1100"/>
                    </a:cubicBezTo>
                    <a:cubicBezTo>
                      <a:pt x="203" y="1102"/>
                      <a:pt x="203" y="1101"/>
                      <a:pt x="202" y="1102"/>
                    </a:cubicBezTo>
                    <a:cubicBezTo>
                      <a:pt x="200" y="1103"/>
                      <a:pt x="199" y="1106"/>
                      <a:pt x="197" y="1107"/>
                    </a:cubicBezTo>
                    <a:cubicBezTo>
                      <a:pt x="200" y="1108"/>
                      <a:pt x="205" y="1110"/>
                      <a:pt x="200" y="1112"/>
                    </a:cubicBezTo>
                    <a:cubicBezTo>
                      <a:pt x="198" y="1113"/>
                      <a:pt x="195" y="1112"/>
                      <a:pt x="193" y="1113"/>
                    </a:cubicBezTo>
                    <a:cubicBezTo>
                      <a:pt x="192" y="1113"/>
                      <a:pt x="192" y="1115"/>
                      <a:pt x="190" y="1116"/>
                    </a:cubicBezTo>
                    <a:cubicBezTo>
                      <a:pt x="189" y="1117"/>
                      <a:pt x="188" y="1117"/>
                      <a:pt x="187" y="1117"/>
                    </a:cubicBezTo>
                    <a:cubicBezTo>
                      <a:pt x="184" y="1118"/>
                      <a:pt x="182" y="1120"/>
                      <a:pt x="179" y="1121"/>
                    </a:cubicBezTo>
                    <a:cubicBezTo>
                      <a:pt x="176" y="1122"/>
                      <a:pt x="170" y="1122"/>
                      <a:pt x="172" y="1127"/>
                    </a:cubicBezTo>
                    <a:cubicBezTo>
                      <a:pt x="176" y="1127"/>
                      <a:pt x="179" y="1124"/>
                      <a:pt x="183" y="1124"/>
                    </a:cubicBezTo>
                    <a:cubicBezTo>
                      <a:pt x="186" y="1124"/>
                      <a:pt x="185" y="1127"/>
                      <a:pt x="187" y="1128"/>
                    </a:cubicBezTo>
                    <a:cubicBezTo>
                      <a:pt x="190" y="1129"/>
                      <a:pt x="191" y="1126"/>
                      <a:pt x="193" y="1128"/>
                    </a:cubicBezTo>
                    <a:cubicBezTo>
                      <a:pt x="195" y="1129"/>
                      <a:pt x="186" y="1129"/>
                      <a:pt x="188" y="1133"/>
                    </a:cubicBezTo>
                    <a:cubicBezTo>
                      <a:pt x="188" y="1134"/>
                      <a:pt x="190" y="1136"/>
                      <a:pt x="191" y="1136"/>
                    </a:cubicBezTo>
                    <a:cubicBezTo>
                      <a:pt x="193" y="1138"/>
                      <a:pt x="194" y="1141"/>
                      <a:pt x="196" y="1143"/>
                    </a:cubicBezTo>
                    <a:cubicBezTo>
                      <a:pt x="200" y="1147"/>
                      <a:pt x="201" y="1146"/>
                      <a:pt x="205" y="1147"/>
                    </a:cubicBezTo>
                    <a:cubicBezTo>
                      <a:pt x="212" y="1148"/>
                      <a:pt x="205" y="1149"/>
                      <a:pt x="203" y="1151"/>
                    </a:cubicBezTo>
                    <a:cubicBezTo>
                      <a:pt x="203" y="1152"/>
                      <a:pt x="202" y="1154"/>
                      <a:pt x="203" y="1155"/>
                    </a:cubicBezTo>
                    <a:cubicBezTo>
                      <a:pt x="203" y="1157"/>
                      <a:pt x="205" y="1156"/>
                      <a:pt x="207" y="1157"/>
                    </a:cubicBezTo>
                    <a:cubicBezTo>
                      <a:pt x="211" y="1159"/>
                      <a:pt x="211" y="1162"/>
                      <a:pt x="212" y="1165"/>
                    </a:cubicBezTo>
                    <a:cubicBezTo>
                      <a:pt x="209" y="1164"/>
                      <a:pt x="205" y="1164"/>
                      <a:pt x="202" y="1163"/>
                    </a:cubicBezTo>
                    <a:cubicBezTo>
                      <a:pt x="202" y="1161"/>
                      <a:pt x="200" y="1162"/>
                      <a:pt x="198" y="1161"/>
                    </a:cubicBezTo>
                    <a:cubicBezTo>
                      <a:pt x="198" y="1160"/>
                      <a:pt x="198" y="1160"/>
                      <a:pt x="198" y="1159"/>
                    </a:cubicBezTo>
                    <a:cubicBezTo>
                      <a:pt x="196" y="1158"/>
                      <a:pt x="195" y="1159"/>
                      <a:pt x="194" y="1157"/>
                    </a:cubicBezTo>
                    <a:cubicBezTo>
                      <a:pt x="192" y="1154"/>
                      <a:pt x="195" y="1153"/>
                      <a:pt x="191" y="1150"/>
                    </a:cubicBezTo>
                    <a:cubicBezTo>
                      <a:pt x="187" y="1148"/>
                      <a:pt x="186" y="1148"/>
                      <a:pt x="186" y="1143"/>
                    </a:cubicBezTo>
                    <a:cubicBezTo>
                      <a:pt x="186" y="1142"/>
                      <a:pt x="186" y="1140"/>
                      <a:pt x="185" y="1138"/>
                    </a:cubicBezTo>
                    <a:cubicBezTo>
                      <a:pt x="185" y="1138"/>
                      <a:pt x="184" y="1138"/>
                      <a:pt x="184" y="1137"/>
                    </a:cubicBezTo>
                    <a:cubicBezTo>
                      <a:pt x="183" y="1137"/>
                      <a:pt x="183" y="1135"/>
                      <a:pt x="183" y="1134"/>
                    </a:cubicBezTo>
                    <a:cubicBezTo>
                      <a:pt x="182" y="1133"/>
                      <a:pt x="180" y="1132"/>
                      <a:pt x="178" y="1132"/>
                    </a:cubicBezTo>
                    <a:cubicBezTo>
                      <a:pt x="175" y="1133"/>
                      <a:pt x="176" y="1133"/>
                      <a:pt x="174" y="1135"/>
                    </a:cubicBezTo>
                    <a:cubicBezTo>
                      <a:pt x="174" y="1136"/>
                      <a:pt x="174" y="1136"/>
                      <a:pt x="174" y="1137"/>
                    </a:cubicBezTo>
                    <a:cubicBezTo>
                      <a:pt x="174" y="1138"/>
                      <a:pt x="174" y="1138"/>
                      <a:pt x="173" y="1139"/>
                    </a:cubicBezTo>
                    <a:cubicBezTo>
                      <a:pt x="173" y="1139"/>
                      <a:pt x="171" y="1141"/>
                      <a:pt x="170" y="1142"/>
                    </a:cubicBezTo>
                    <a:cubicBezTo>
                      <a:pt x="168" y="1144"/>
                      <a:pt x="167" y="1148"/>
                      <a:pt x="165" y="1150"/>
                    </a:cubicBezTo>
                    <a:cubicBezTo>
                      <a:pt x="164" y="1150"/>
                      <a:pt x="160" y="1150"/>
                      <a:pt x="159" y="1150"/>
                    </a:cubicBezTo>
                    <a:cubicBezTo>
                      <a:pt x="157" y="1151"/>
                      <a:pt x="156" y="1152"/>
                      <a:pt x="154" y="1151"/>
                    </a:cubicBezTo>
                    <a:cubicBezTo>
                      <a:pt x="152" y="1146"/>
                      <a:pt x="176" y="1136"/>
                      <a:pt x="167" y="1131"/>
                    </a:cubicBezTo>
                    <a:cubicBezTo>
                      <a:pt x="165" y="1130"/>
                      <a:pt x="162" y="1130"/>
                      <a:pt x="160" y="1130"/>
                    </a:cubicBezTo>
                    <a:cubicBezTo>
                      <a:pt x="156" y="1130"/>
                      <a:pt x="154" y="1130"/>
                      <a:pt x="152" y="1133"/>
                    </a:cubicBezTo>
                    <a:cubicBezTo>
                      <a:pt x="151" y="1134"/>
                      <a:pt x="152" y="1134"/>
                      <a:pt x="150" y="1136"/>
                    </a:cubicBezTo>
                    <a:cubicBezTo>
                      <a:pt x="148" y="1137"/>
                      <a:pt x="146" y="1136"/>
                      <a:pt x="144" y="1137"/>
                    </a:cubicBezTo>
                    <a:cubicBezTo>
                      <a:pt x="142" y="1139"/>
                      <a:pt x="141" y="1142"/>
                      <a:pt x="140" y="1144"/>
                    </a:cubicBezTo>
                    <a:cubicBezTo>
                      <a:pt x="138" y="1145"/>
                      <a:pt x="136" y="1144"/>
                      <a:pt x="134" y="1145"/>
                    </a:cubicBezTo>
                    <a:cubicBezTo>
                      <a:pt x="132" y="1145"/>
                      <a:pt x="129" y="1147"/>
                      <a:pt x="128" y="1148"/>
                    </a:cubicBezTo>
                    <a:cubicBezTo>
                      <a:pt x="125" y="1150"/>
                      <a:pt x="123" y="1154"/>
                      <a:pt x="122" y="1158"/>
                    </a:cubicBezTo>
                    <a:cubicBezTo>
                      <a:pt x="122" y="1163"/>
                      <a:pt x="126" y="1166"/>
                      <a:pt x="130" y="1167"/>
                    </a:cubicBezTo>
                    <a:cubicBezTo>
                      <a:pt x="132" y="1167"/>
                      <a:pt x="135" y="1165"/>
                      <a:pt x="136" y="1167"/>
                    </a:cubicBezTo>
                    <a:cubicBezTo>
                      <a:pt x="137" y="1170"/>
                      <a:pt x="126" y="1170"/>
                      <a:pt x="125" y="1170"/>
                    </a:cubicBezTo>
                    <a:cubicBezTo>
                      <a:pt x="124" y="1173"/>
                      <a:pt x="125" y="1174"/>
                      <a:pt x="126" y="1176"/>
                    </a:cubicBezTo>
                    <a:cubicBezTo>
                      <a:pt x="127" y="1180"/>
                      <a:pt x="127" y="1180"/>
                      <a:pt x="131" y="1180"/>
                    </a:cubicBezTo>
                    <a:cubicBezTo>
                      <a:pt x="135" y="1180"/>
                      <a:pt x="137" y="1179"/>
                      <a:pt x="140" y="1179"/>
                    </a:cubicBezTo>
                    <a:cubicBezTo>
                      <a:pt x="143" y="1179"/>
                      <a:pt x="144" y="1181"/>
                      <a:pt x="147" y="1182"/>
                    </a:cubicBezTo>
                    <a:cubicBezTo>
                      <a:pt x="153" y="1183"/>
                      <a:pt x="155" y="1177"/>
                      <a:pt x="160" y="1175"/>
                    </a:cubicBezTo>
                    <a:cubicBezTo>
                      <a:pt x="162" y="1174"/>
                      <a:pt x="165" y="1175"/>
                      <a:pt x="168" y="1174"/>
                    </a:cubicBezTo>
                    <a:cubicBezTo>
                      <a:pt x="170" y="1173"/>
                      <a:pt x="174" y="1172"/>
                      <a:pt x="177" y="1172"/>
                    </a:cubicBezTo>
                    <a:cubicBezTo>
                      <a:pt x="178" y="1177"/>
                      <a:pt x="171" y="1176"/>
                      <a:pt x="169" y="1176"/>
                    </a:cubicBezTo>
                    <a:cubicBezTo>
                      <a:pt x="165" y="1176"/>
                      <a:pt x="161" y="1178"/>
                      <a:pt x="159" y="1179"/>
                    </a:cubicBezTo>
                    <a:cubicBezTo>
                      <a:pt x="153" y="1183"/>
                      <a:pt x="146" y="1183"/>
                      <a:pt x="147" y="1191"/>
                    </a:cubicBezTo>
                    <a:cubicBezTo>
                      <a:pt x="151" y="1192"/>
                      <a:pt x="156" y="1194"/>
                      <a:pt x="155" y="1198"/>
                    </a:cubicBezTo>
                    <a:cubicBezTo>
                      <a:pt x="151" y="1200"/>
                      <a:pt x="148" y="1196"/>
                      <a:pt x="145" y="1194"/>
                    </a:cubicBezTo>
                    <a:cubicBezTo>
                      <a:pt x="144" y="1193"/>
                      <a:pt x="142" y="1192"/>
                      <a:pt x="141" y="1191"/>
                    </a:cubicBezTo>
                    <a:cubicBezTo>
                      <a:pt x="138" y="1191"/>
                      <a:pt x="138" y="1191"/>
                      <a:pt x="136" y="1192"/>
                    </a:cubicBezTo>
                    <a:cubicBezTo>
                      <a:pt x="133" y="1193"/>
                      <a:pt x="130" y="1191"/>
                      <a:pt x="128" y="1191"/>
                    </a:cubicBezTo>
                    <a:cubicBezTo>
                      <a:pt x="126" y="1190"/>
                      <a:pt x="125" y="1189"/>
                      <a:pt x="123" y="1187"/>
                    </a:cubicBezTo>
                    <a:cubicBezTo>
                      <a:pt x="122" y="1187"/>
                      <a:pt x="123" y="1185"/>
                      <a:pt x="121" y="1186"/>
                    </a:cubicBezTo>
                    <a:cubicBezTo>
                      <a:pt x="120" y="1186"/>
                      <a:pt x="121" y="1188"/>
                      <a:pt x="120" y="1188"/>
                    </a:cubicBezTo>
                    <a:cubicBezTo>
                      <a:pt x="118" y="1189"/>
                      <a:pt x="117" y="1188"/>
                      <a:pt x="115" y="1187"/>
                    </a:cubicBezTo>
                    <a:cubicBezTo>
                      <a:pt x="112" y="1187"/>
                      <a:pt x="112" y="1188"/>
                      <a:pt x="110" y="1189"/>
                    </a:cubicBezTo>
                    <a:cubicBezTo>
                      <a:pt x="108" y="1190"/>
                      <a:pt x="106" y="1189"/>
                      <a:pt x="104" y="1189"/>
                    </a:cubicBezTo>
                    <a:cubicBezTo>
                      <a:pt x="102" y="1189"/>
                      <a:pt x="99" y="1189"/>
                      <a:pt x="97" y="1189"/>
                    </a:cubicBezTo>
                    <a:cubicBezTo>
                      <a:pt x="95" y="1189"/>
                      <a:pt x="93" y="1191"/>
                      <a:pt x="92" y="1191"/>
                    </a:cubicBezTo>
                    <a:cubicBezTo>
                      <a:pt x="88" y="1192"/>
                      <a:pt x="83" y="1191"/>
                      <a:pt x="83" y="1196"/>
                    </a:cubicBezTo>
                    <a:cubicBezTo>
                      <a:pt x="84" y="1201"/>
                      <a:pt x="87" y="1199"/>
                      <a:pt x="89" y="1200"/>
                    </a:cubicBezTo>
                    <a:cubicBezTo>
                      <a:pt x="91" y="1200"/>
                      <a:pt x="92" y="1201"/>
                      <a:pt x="94" y="1202"/>
                    </a:cubicBezTo>
                    <a:cubicBezTo>
                      <a:pt x="90" y="1203"/>
                      <a:pt x="82" y="1201"/>
                      <a:pt x="79" y="1205"/>
                    </a:cubicBezTo>
                    <a:cubicBezTo>
                      <a:pt x="78" y="1206"/>
                      <a:pt x="79" y="1207"/>
                      <a:pt x="79" y="1208"/>
                    </a:cubicBezTo>
                    <a:cubicBezTo>
                      <a:pt x="78" y="1209"/>
                      <a:pt x="78" y="1209"/>
                      <a:pt x="77" y="1210"/>
                    </a:cubicBezTo>
                    <a:cubicBezTo>
                      <a:pt x="76" y="1211"/>
                      <a:pt x="75" y="1210"/>
                      <a:pt x="74" y="1211"/>
                    </a:cubicBezTo>
                    <a:cubicBezTo>
                      <a:pt x="74" y="1212"/>
                      <a:pt x="74" y="1214"/>
                      <a:pt x="74" y="1214"/>
                    </a:cubicBezTo>
                    <a:cubicBezTo>
                      <a:pt x="77" y="1215"/>
                      <a:pt x="77" y="1217"/>
                      <a:pt x="80" y="1218"/>
                    </a:cubicBezTo>
                    <a:cubicBezTo>
                      <a:pt x="82" y="1218"/>
                      <a:pt x="83" y="1217"/>
                      <a:pt x="85" y="1217"/>
                    </a:cubicBezTo>
                    <a:cubicBezTo>
                      <a:pt x="87" y="1216"/>
                      <a:pt x="90" y="1216"/>
                      <a:pt x="91" y="1216"/>
                    </a:cubicBezTo>
                    <a:cubicBezTo>
                      <a:pt x="94" y="1215"/>
                      <a:pt x="95" y="1211"/>
                      <a:pt x="97" y="1208"/>
                    </a:cubicBezTo>
                    <a:cubicBezTo>
                      <a:pt x="99" y="1206"/>
                      <a:pt x="101" y="1206"/>
                      <a:pt x="103" y="1206"/>
                    </a:cubicBezTo>
                    <a:cubicBezTo>
                      <a:pt x="110" y="1206"/>
                      <a:pt x="113" y="1206"/>
                      <a:pt x="118" y="1211"/>
                    </a:cubicBezTo>
                    <a:cubicBezTo>
                      <a:pt x="120" y="1213"/>
                      <a:pt x="124" y="1214"/>
                      <a:pt x="126" y="1217"/>
                    </a:cubicBezTo>
                    <a:cubicBezTo>
                      <a:pt x="127" y="1219"/>
                      <a:pt x="126" y="1222"/>
                      <a:pt x="126" y="1224"/>
                    </a:cubicBezTo>
                    <a:cubicBezTo>
                      <a:pt x="128" y="1225"/>
                      <a:pt x="131" y="1224"/>
                      <a:pt x="133" y="1225"/>
                    </a:cubicBezTo>
                    <a:cubicBezTo>
                      <a:pt x="133" y="1225"/>
                      <a:pt x="133" y="1226"/>
                      <a:pt x="133" y="1227"/>
                    </a:cubicBezTo>
                    <a:cubicBezTo>
                      <a:pt x="129" y="1228"/>
                      <a:pt x="127" y="1227"/>
                      <a:pt x="125" y="1225"/>
                    </a:cubicBezTo>
                    <a:cubicBezTo>
                      <a:pt x="125" y="1224"/>
                      <a:pt x="125" y="1224"/>
                      <a:pt x="124" y="1223"/>
                    </a:cubicBezTo>
                    <a:cubicBezTo>
                      <a:pt x="124" y="1223"/>
                      <a:pt x="123" y="1223"/>
                      <a:pt x="123" y="1222"/>
                    </a:cubicBezTo>
                    <a:cubicBezTo>
                      <a:pt x="122" y="1222"/>
                      <a:pt x="122" y="1222"/>
                      <a:pt x="121" y="1222"/>
                    </a:cubicBezTo>
                    <a:cubicBezTo>
                      <a:pt x="120" y="1221"/>
                      <a:pt x="121" y="1219"/>
                      <a:pt x="120" y="1219"/>
                    </a:cubicBezTo>
                    <a:cubicBezTo>
                      <a:pt x="118" y="1217"/>
                      <a:pt x="115" y="1217"/>
                      <a:pt x="113" y="1216"/>
                    </a:cubicBezTo>
                    <a:cubicBezTo>
                      <a:pt x="109" y="1214"/>
                      <a:pt x="108" y="1214"/>
                      <a:pt x="104" y="1215"/>
                    </a:cubicBezTo>
                    <a:cubicBezTo>
                      <a:pt x="102" y="1216"/>
                      <a:pt x="97" y="1215"/>
                      <a:pt x="96" y="1217"/>
                    </a:cubicBezTo>
                    <a:cubicBezTo>
                      <a:pt x="94" y="1220"/>
                      <a:pt x="95" y="1222"/>
                      <a:pt x="96" y="1224"/>
                    </a:cubicBezTo>
                    <a:cubicBezTo>
                      <a:pt x="97" y="1227"/>
                      <a:pt x="97" y="1230"/>
                      <a:pt x="98" y="1233"/>
                    </a:cubicBezTo>
                    <a:cubicBezTo>
                      <a:pt x="98" y="1236"/>
                      <a:pt x="99" y="1239"/>
                      <a:pt x="100" y="1241"/>
                    </a:cubicBezTo>
                    <a:cubicBezTo>
                      <a:pt x="101" y="1243"/>
                      <a:pt x="102" y="1243"/>
                      <a:pt x="101" y="1245"/>
                    </a:cubicBezTo>
                    <a:cubicBezTo>
                      <a:pt x="99" y="1245"/>
                      <a:pt x="99" y="1242"/>
                      <a:pt x="97" y="1240"/>
                    </a:cubicBezTo>
                    <a:cubicBezTo>
                      <a:pt x="96" y="1238"/>
                      <a:pt x="93" y="1236"/>
                      <a:pt x="92" y="1233"/>
                    </a:cubicBezTo>
                    <a:cubicBezTo>
                      <a:pt x="91" y="1230"/>
                      <a:pt x="89" y="1221"/>
                      <a:pt x="84" y="1221"/>
                    </a:cubicBezTo>
                    <a:cubicBezTo>
                      <a:pt x="80" y="1221"/>
                      <a:pt x="78" y="1228"/>
                      <a:pt x="75" y="1230"/>
                    </a:cubicBezTo>
                    <a:cubicBezTo>
                      <a:pt x="74" y="1231"/>
                      <a:pt x="71" y="1230"/>
                      <a:pt x="70" y="1231"/>
                    </a:cubicBezTo>
                    <a:cubicBezTo>
                      <a:pt x="69" y="1232"/>
                      <a:pt x="68" y="1235"/>
                      <a:pt x="67" y="1237"/>
                    </a:cubicBezTo>
                    <a:cubicBezTo>
                      <a:pt x="64" y="1235"/>
                      <a:pt x="63" y="1232"/>
                      <a:pt x="64" y="1229"/>
                    </a:cubicBezTo>
                    <a:cubicBezTo>
                      <a:pt x="69" y="1227"/>
                      <a:pt x="77" y="1222"/>
                      <a:pt x="70" y="1216"/>
                    </a:cubicBezTo>
                    <a:cubicBezTo>
                      <a:pt x="67" y="1214"/>
                      <a:pt x="63" y="1212"/>
                      <a:pt x="61" y="1215"/>
                    </a:cubicBezTo>
                    <a:cubicBezTo>
                      <a:pt x="59" y="1218"/>
                      <a:pt x="62" y="1228"/>
                      <a:pt x="58" y="1229"/>
                    </a:cubicBezTo>
                    <a:cubicBezTo>
                      <a:pt x="56" y="1229"/>
                      <a:pt x="55" y="1227"/>
                      <a:pt x="54" y="1226"/>
                    </a:cubicBezTo>
                    <a:cubicBezTo>
                      <a:pt x="53" y="1225"/>
                      <a:pt x="51" y="1225"/>
                      <a:pt x="50" y="1225"/>
                    </a:cubicBezTo>
                    <a:cubicBezTo>
                      <a:pt x="47" y="1226"/>
                      <a:pt x="44" y="1228"/>
                      <a:pt x="43" y="1231"/>
                    </a:cubicBezTo>
                    <a:cubicBezTo>
                      <a:pt x="41" y="1239"/>
                      <a:pt x="52" y="1238"/>
                      <a:pt x="57" y="1237"/>
                    </a:cubicBezTo>
                    <a:cubicBezTo>
                      <a:pt x="57" y="1237"/>
                      <a:pt x="57" y="1236"/>
                      <a:pt x="57" y="1236"/>
                    </a:cubicBezTo>
                    <a:cubicBezTo>
                      <a:pt x="59" y="1236"/>
                      <a:pt x="59" y="1238"/>
                      <a:pt x="59" y="1240"/>
                    </a:cubicBezTo>
                    <a:cubicBezTo>
                      <a:pt x="62" y="1240"/>
                      <a:pt x="63" y="1241"/>
                      <a:pt x="65" y="1242"/>
                    </a:cubicBezTo>
                    <a:cubicBezTo>
                      <a:pt x="68" y="1244"/>
                      <a:pt x="68" y="1244"/>
                      <a:pt x="68" y="1248"/>
                    </a:cubicBezTo>
                    <a:cubicBezTo>
                      <a:pt x="69" y="1253"/>
                      <a:pt x="70" y="1259"/>
                      <a:pt x="63" y="1258"/>
                    </a:cubicBezTo>
                    <a:cubicBezTo>
                      <a:pt x="63" y="1257"/>
                      <a:pt x="63" y="1256"/>
                      <a:pt x="62" y="1256"/>
                    </a:cubicBezTo>
                    <a:cubicBezTo>
                      <a:pt x="62" y="1255"/>
                      <a:pt x="61" y="1255"/>
                      <a:pt x="61" y="1254"/>
                    </a:cubicBezTo>
                    <a:cubicBezTo>
                      <a:pt x="61" y="1254"/>
                      <a:pt x="61" y="1253"/>
                      <a:pt x="61" y="1253"/>
                    </a:cubicBezTo>
                    <a:cubicBezTo>
                      <a:pt x="59" y="1250"/>
                      <a:pt x="56" y="1247"/>
                      <a:pt x="53" y="1247"/>
                    </a:cubicBezTo>
                    <a:cubicBezTo>
                      <a:pt x="50" y="1246"/>
                      <a:pt x="48" y="1248"/>
                      <a:pt x="46" y="1246"/>
                    </a:cubicBezTo>
                    <a:cubicBezTo>
                      <a:pt x="45" y="1245"/>
                      <a:pt x="46" y="1244"/>
                      <a:pt x="45" y="1243"/>
                    </a:cubicBezTo>
                    <a:cubicBezTo>
                      <a:pt x="44" y="1242"/>
                      <a:pt x="41" y="1242"/>
                      <a:pt x="40" y="1242"/>
                    </a:cubicBezTo>
                    <a:cubicBezTo>
                      <a:pt x="40" y="1244"/>
                      <a:pt x="40" y="1246"/>
                      <a:pt x="40" y="1248"/>
                    </a:cubicBezTo>
                    <a:cubicBezTo>
                      <a:pt x="44" y="1248"/>
                      <a:pt x="45" y="1260"/>
                      <a:pt x="39" y="1256"/>
                    </a:cubicBezTo>
                    <a:cubicBezTo>
                      <a:pt x="33" y="1252"/>
                      <a:pt x="35" y="1247"/>
                      <a:pt x="34" y="1241"/>
                    </a:cubicBezTo>
                    <a:cubicBezTo>
                      <a:pt x="33" y="1237"/>
                      <a:pt x="31" y="1235"/>
                      <a:pt x="27" y="1236"/>
                    </a:cubicBezTo>
                    <a:cubicBezTo>
                      <a:pt x="23" y="1237"/>
                      <a:pt x="24" y="1240"/>
                      <a:pt x="24" y="1243"/>
                    </a:cubicBezTo>
                    <a:cubicBezTo>
                      <a:pt x="24" y="1247"/>
                      <a:pt x="25" y="1248"/>
                      <a:pt x="28" y="1249"/>
                    </a:cubicBezTo>
                    <a:cubicBezTo>
                      <a:pt x="30" y="1250"/>
                      <a:pt x="32" y="1250"/>
                      <a:pt x="33" y="1252"/>
                    </a:cubicBezTo>
                    <a:cubicBezTo>
                      <a:pt x="34" y="1254"/>
                      <a:pt x="34" y="1257"/>
                      <a:pt x="34" y="1259"/>
                    </a:cubicBezTo>
                    <a:cubicBezTo>
                      <a:pt x="35" y="1262"/>
                      <a:pt x="36" y="1265"/>
                      <a:pt x="32" y="1267"/>
                    </a:cubicBezTo>
                    <a:cubicBezTo>
                      <a:pt x="31" y="1267"/>
                      <a:pt x="26" y="1267"/>
                      <a:pt x="25" y="1267"/>
                    </a:cubicBezTo>
                    <a:cubicBezTo>
                      <a:pt x="24" y="1266"/>
                      <a:pt x="24" y="1264"/>
                      <a:pt x="22" y="1264"/>
                    </a:cubicBezTo>
                    <a:cubicBezTo>
                      <a:pt x="22" y="1264"/>
                      <a:pt x="19" y="1264"/>
                      <a:pt x="19" y="1264"/>
                    </a:cubicBezTo>
                    <a:cubicBezTo>
                      <a:pt x="14" y="1267"/>
                      <a:pt x="21" y="1271"/>
                      <a:pt x="24" y="1271"/>
                    </a:cubicBezTo>
                    <a:cubicBezTo>
                      <a:pt x="29" y="1273"/>
                      <a:pt x="36" y="1271"/>
                      <a:pt x="42" y="1271"/>
                    </a:cubicBezTo>
                    <a:cubicBezTo>
                      <a:pt x="47" y="1272"/>
                      <a:pt x="53" y="1272"/>
                      <a:pt x="58" y="1273"/>
                    </a:cubicBezTo>
                    <a:cubicBezTo>
                      <a:pt x="61" y="1273"/>
                      <a:pt x="66" y="1273"/>
                      <a:pt x="66" y="1277"/>
                    </a:cubicBezTo>
                    <a:cubicBezTo>
                      <a:pt x="62" y="1278"/>
                      <a:pt x="57" y="1277"/>
                      <a:pt x="54" y="1277"/>
                    </a:cubicBezTo>
                    <a:cubicBezTo>
                      <a:pt x="52" y="1277"/>
                      <a:pt x="49" y="1277"/>
                      <a:pt x="48" y="1277"/>
                    </a:cubicBezTo>
                    <a:cubicBezTo>
                      <a:pt x="45" y="1276"/>
                      <a:pt x="42" y="1275"/>
                      <a:pt x="39" y="1274"/>
                    </a:cubicBezTo>
                    <a:cubicBezTo>
                      <a:pt x="36" y="1274"/>
                      <a:pt x="34" y="1274"/>
                      <a:pt x="33" y="1277"/>
                    </a:cubicBezTo>
                    <a:cubicBezTo>
                      <a:pt x="31" y="1280"/>
                      <a:pt x="30" y="1283"/>
                      <a:pt x="30" y="1286"/>
                    </a:cubicBezTo>
                    <a:cubicBezTo>
                      <a:pt x="25" y="1287"/>
                      <a:pt x="14" y="1286"/>
                      <a:pt x="18" y="1294"/>
                    </a:cubicBezTo>
                    <a:cubicBezTo>
                      <a:pt x="15" y="1294"/>
                      <a:pt x="15" y="1299"/>
                      <a:pt x="15" y="1302"/>
                    </a:cubicBezTo>
                    <a:cubicBezTo>
                      <a:pt x="17" y="1306"/>
                      <a:pt x="23" y="1304"/>
                      <a:pt x="27" y="1305"/>
                    </a:cubicBezTo>
                    <a:cubicBezTo>
                      <a:pt x="31" y="1307"/>
                      <a:pt x="30" y="1311"/>
                      <a:pt x="35" y="1311"/>
                    </a:cubicBezTo>
                    <a:cubicBezTo>
                      <a:pt x="38" y="1310"/>
                      <a:pt x="38" y="1310"/>
                      <a:pt x="40" y="1309"/>
                    </a:cubicBezTo>
                    <a:cubicBezTo>
                      <a:pt x="43" y="1308"/>
                      <a:pt x="48" y="1309"/>
                      <a:pt x="50" y="1309"/>
                    </a:cubicBezTo>
                    <a:cubicBezTo>
                      <a:pt x="51" y="1311"/>
                      <a:pt x="44" y="1315"/>
                      <a:pt x="42" y="1315"/>
                    </a:cubicBezTo>
                    <a:cubicBezTo>
                      <a:pt x="39" y="1316"/>
                      <a:pt x="35" y="1313"/>
                      <a:pt x="32" y="1312"/>
                    </a:cubicBezTo>
                    <a:cubicBezTo>
                      <a:pt x="30" y="1311"/>
                      <a:pt x="28" y="1311"/>
                      <a:pt x="25" y="1312"/>
                    </a:cubicBezTo>
                    <a:cubicBezTo>
                      <a:pt x="25" y="1313"/>
                      <a:pt x="25" y="1314"/>
                      <a:pt x="25" y="1316"/>
                    </a:cubicBezTo>
                    <a:cubicBezTo>
                      <a:pt x="27" y="1316"/>
                      <a:pt x="30" y="1319"/>
                      <a:pt x="32" y="1320"/>
                    </a:cubicBezTo>
                    <a:cubicBezTo>
                      <a:pt x="34" y="1321"/>
                      <a:pt x="34" y="1321"/>
                      <a:pt x="35" y="1321"/>
                    </a:cubicBezTo>
                    <a:cubicBezTo>
                      <a:pt x="37" y="1322"/>
                      <a:pt x="39" y="1321"/>
                      <a:pt x="41" y="1322"/>
                    </a:cubicBezTo>
                    <a:cubicBezTo>
                      <a:pt x="43" y="1327"/>
                      <a:pt x="31" y="1327"/>
                      <a:pt x="28" y="1329"/>
                    </a:cubicBezTo>
                    <a:cubicBezTo>
                      <a:pt x="24" y="1331"/>
                      <a:pt x="13" y="1332"/>
                      <a:pt x="16" y="1339"/>
                    </a:cubicBezTo>
                    <a:cubicBezTo>
                      <a:pt x="24" y="1340"/>
                      <a:pt x="31" y="1333"/>
                      <a:pt x="40" y="1335"/>
                    </a:cubicBezTo>
                    <a:cubicBezTo>
                      <a:pt x="42" y="1339"/>
                      <a:pt x="32" y="1343"/>
                      <a:pt x="29" y="1343"/>
                    </a:cubicBezTo>
                    <a:cubicBezTo>
                      <a:pt x="26" y="1343"/>
                      <a:pt x="20" y="1340"/>
                      <a:pt x="18" y="1342"/>
                    </a:cubicBezTo>
                    <a:cubicBezTo>
                      <a:pt x="16" y="1343"/>
                      <a:pt x="17" y="1345"/>
                      <a:pt x="16" y="1346"/>
                    </a:cubicBezTo>
                    <a:cubicBezTo>
                      <a:pt x="16" y="1347"/>
                      <a:pt x="13" y="1349"/>
                      <a:pt x="15" y="1351"/>
                    </a:cubicBezTo>
                    <a:cubicBezTo>
                      <a:pt x="15" y="1351"/>
                      <a:pt x="18" y="1351"/>
                      <a:pt x="19" y="1351"/>
                    </a:cubicBezTo>
                    <a:cubicBezTo>
                      <a:pt x="19" y="1352"/>
                      <a:pt x="21" y="1353"/>
                      <a:pt x="21" y="1353"/>
                    </a:cubicBezTo>
                    <a:cubicBezTo>
                      <a:pt x="24" y="1354"/>
                      <a:pt x="27" y="1353"/>
                      <a:pt x="30" y="1354"/>
                    </a:cubicBezTo>
                    <a:cubicBezTo>
                      <a:pt x="32" y="1357"/>
                      <a:pt x="30" y="1362"/>
                      <a:pt x="33" y="1365"/>
                    </a:cubicBezTo>
                    <a:cubicBezTo>
                      <a:pt x="37" y="1369"/>
                      <a:pt x="46" y="1365"/>
                      <a:pt x="50" y="1364"/>
                    </a:cubicBezTo>
                    <a:cubicBezTo>
                      <a:pt x="62" y="1364"/>
                      <a:pt x="73" y="1364"/>
                      <a:pt x="84" y="1364"/>
                    </a:cubicBezTo>
                    <a:cubicBezTo>
                      <a:pt x="88" y="1364"/>
                      <a:pt x="94" y="1365"/>
                      <a:pt x="97" y="1363"/>
                    </a:cubicBezTo>
                    <a:cubicBezTo>
                      <a:pt x="102" y="1361"/>
                      <a:pt x="102" y="1356"/>
                      <a:pt x="108" y="1355"/>
                    </a:cubicBezTo>
                    <a:cubicBezTo>
                      <a:pt x="111" y="1355"/>
                      <a:pt x="113" y="1355"/>
                      <a:pt x="116" y="1357"/>
                    </a:cubicBezTo>
                    <a:cubicBezTo>
                      <a:pt x="117" y="1358"/>
                      <a:pt x="119" y="1361"/>
                      <a:pt x="120" y="1362"/>
                    </a:cubicBezTo>
                    <a:cubicBezTo>
                      <a:pt x="123" y="1364"/>
                      <a:pt x="132" y="1362"/>
                      <a:pt x="130" y="1369"/>
                    </a:cubicBezTo>
                    <a:cubicBezTo>
                      <a:pt x="128" y="1369"/>
                      <a:pt x="124" y="1369"/>
                      <a:pt x="122" y="1369"/>
                    </a:cubicBezTo>
                    <a:cubicBezTo>
                      <a:pt x="120" y="1368"/>
                      <a:pt x="120" y="1366"/>
                      <a:pt x="118" y="1365"/>
                    </a:cubicBezTo>
                    <a:cubicBezTo>
                      <a:pt x="115" y="1363"/>
                      <a:pt x="108" y="1363"/>
                      <a:pt x="105" y="1365"/>
                    </a:cubicBezTo>
                    <a:cubicBezTo>
                      <a:pt x="98" y="1369"/>
                      <a:pt x="89" y="1365"/>
                      <a:pt x="81" y="1365"/>
                    </a:cubicBezTo>
                    <a:cubicBezTo>
                      <a:pt x="76" y="1365"/>
                      <a:pt x="71" y="1365"/>
                      <a:pt x="67" y="1365"/>
                    </a:cubicBezTo>
                    <a:cubicBezTo>
                      <a:pt x="64" y="1365"/>
                      <a:pt x="61" y="1365"/>
                      <a:pt x="59" y="1366"/>
                    </a:cubicBezTo>
                    <a:cubicBezTo>
                      <a:pt x="55" y="1366"/>
                      <a:pt x="54" y="1367"/>
                      <a:pt x="51" y="1369"/>
                    </a:cubicBezTo>
                    <a:cubicBezTo>
                      <a:pt x="47" y="1371"/>
                      <a:pt x="44" y="1371"/>
                      <a:pt x="40" y="1371"/>
                    </a:cubicBezTo>
                    <a:cubicBezTo>
                      <a:pt x="37" y="1372"/>
                      <a:pt x="36" y="1374"/>
                      <a:pt x="33" y="1373"/>
                    </a:cubicBezTo>
                    <a:cubicBezTo>
                      <a:pt x="30" y="1373"/>
                      <a:pt x="29" y="1370"/>
                      <a:pt x="29" y="1367"/>
                    </a:cubicBezTo>
                    <a:cubicBezTo>
                      <a:pt x="26" y="1367"/>
                      <a:pt x="21" y="1366"/>
                      <a:pt x="18" y="1367"/>
                    </a:cubicBezTo>
                    <a:cubicBezTo>
                      <a:pt x="14" y="1369"/>
                      <a:pt x="14" y="1372"/>
                      <a:pt x="10" y="1370"/>
                    </a:cubicBezTo>
                    <a:cubicBezTo>
                      <a:pt x="6" y="1368"/>
                      <a:pt x="6" y="1367"/>
                      <a:pt x="4" y="1370"/>
                    </a:cubicBezTo>
                    <a:cubicBezTo>
                      <a:pt x="3" y="1371"/>
                      <a:pt x="2" y="1373"/>
                      <a:pt x="2" y="1375"/>
                    </a:cubicBezTo>
                    <a:cubicBezTo>
                      <a:pt x="1" y="1377"/>
                      <a:pt x="0" y="1382"/>
                      <a:pt x="1" y="1383"/>
                    </a:cubicBezTo>
                    <a:cubicBezTo>
                      <a:pt x="2" y="1386"/>
                      <a:pt x="5" y="1385"/>
                      <a:pt x="7" y="1385"/>
                    </a:cubicBezTo>
                    <a:cubicBezTo>
                      <a:pt x="7" y="1388"/>
                      <a:pt x="6" y="1389"/>
                      <a:pt x="6" y="1391"/>
                    </a:cubicBezTo>
                    <a:cubicBezTo>
                      <a:pt x="5" y="1394"/>
                      <a:pt x="4" y="1397"/>
                      <a:pt x="9" y="1396"/>
                    </a:cubicBezTo>
                    <a:cubicBezTo>
                      <a:pt x="11" y="1399"/>
                      <a:pt x="12" y="1403"/>
                      <a:pt x="15" y="1406"/>
                    </a:cubicBezTo>
                    <a:cubicBezTo>
                      <a:pt x="16" y="1406"/>
                      <a:pt x="16" y="1404"/>
                      <a:pt x="17" y="1403"/>
                    </a:cubicBezTo>
                    <a:cubicBezTo>
                      <a:pt x="18" y="1400"/>
                      <a:pt x="19" y="1399"/>
                      <a:pt x="22" y="1398"/>
                    </a:cubicBezTo>
                    <a:cubicBezTo>
                      <a:pt x="27" y="1397"/>
                      <a:pt x="29" y="1398"/>
                      <a:pt x="34" y="1400"/>
                    </a:cubicBezTo>
                    <a:cubicBezTo>
                      <a:pt x="34" y="1412"/>
                      <a:pt x="40" y="1400"/>
                      <a:pt x="44" y="1399"/>
                    </a:cubicBezTo>
                    <a:cubicBezTo>
                      <a:pt x="44" y="1401"/>
                      <a:pt x="44" y="1403"/>
                      <a:pt x="44" y="1404"/>
                    </a:cubicBezTo>
                    <a:cubicBezTo>
                      <a:pt x="41" y="1405"/>
                      <a:pt x="39" y="1407"/>
                      <a:pt x="36" y="1407"/>
                    </a:cubicBezTo>
                    <a:cubicBezTo>
                      <a:pt x="34" y="1406"/>
                      <a:pt x="33" y="1404"/>
                      <a:pt x="31" y="1403"/>
                    </a:cubicBezTo>
                    <a:cubicBezTo>
                      <a:pt x="29" y="1402"/>
                      <a:pt x="25" y="1402"/>
                      <a:pt x="23" y="1403"/>
                    </a:cubicBezTo>
                    <a:cubicBezTo>
                      <a:pt x="17" y="1404"/>
                      <a:pt x="20" y="1414"/>
                      <a:pt x="15" y="1413"/>
                    </a:cubicBezTo>
                    <a:cubicBezTo>
                      <a:pt x="13" y="1418"/>
                      <a:pt x="19" y="1417"/>
                      <a:pt x="22" y="1418"/>
                    </a:cubicBezTo>
                    <a:cubicBezTo>
                      <a:pt x="23" y="1422"/>
                      <a:pt x="24" y="1423"/>
                      <a:pt x="21" y="1424"/>
                    </a:cubicBezTo>
                    <a:cubicBezTo>
                      <a:pt x="18" y="1426"/>
                      <a:pt x="15" y="1427"/>
                      <a:pt x="13" y="1430"/>
                    </a:cubicBezTo>
                    <a:cubicBezTo>
                      <a:pt x="11" y="1434"/>
                      <a:pt x="16" y="1434"/>
                      <a:pt x="18" y="1437"/>
                    </a:cubicBezTo>
                    <a:cubicBezTo>
                      <a:pt x="20" y="1440"/>
                      <a:pt x="19" y="1445"/>
                      <a:pt x="18" y="1448"/>
                    </a:cubicBezTo>
                    <a:cubicBezTo>
                      <a:pt x="16" y="1453"/>
                      <a:pt x="13" y="1466"/>
                      <a:pt x="20" y="1469"/>
                    </a:cubicBezTo>
                    <a:cubicBezTo>
                      <a:pt x="28" y="1471"/>
                      <a:pt x="25" y="1455"/>
                      <a:pt x="26" y="1451"/>
                    </a:cubicBezTo>
                    <a:cubicBezTo>
                      <a:pt x="33" y="1450"/>
                      <a:pt x="34" y="1453"/>
                      <a:pt x="35" y="1459"/>
                    </a:cubicBezTo>
                    <a:cubicBezTo>
                      <a:pt x="35" y="1466"/>
                      <a:pt x="36" y="1475"/>
                      <a:pt x="45" y="1473"/>
                    </a:cubicBezTo>
                    <a:cubicBezTo>
                      <a:pt x="45" y="1471"/>
                      <a:pt x="47" y="1472"/>
                      <a:pt x="48" y="1470"/>
                    </a:cubicBezTo>
                    <a:cubicBezTo>
                      <a:pt x="49" y="1469"/>
                      <a:pt x="49" y="1467"/>
                      <a:pt x="50" y="1466"/>
                    </a:cubicBezTo>
                    <a:cubicBezTo>
                      <a:pt x="50" y="1463"/>
                      <a:pt x="50" y="1459"/>
                      <a:pt x="52" y="1457"/>
                    </a:cubicBezTo>
                    <a:cubicBezTo>
                      <a:pt x="53" y="1458"/>
                      <a:pt x="55" y="1458"/>
                      <a:pt x="55" y="1459"/>
                    </a:cubicBezTo>
                    <a:cubicBezTo>
                      <a:pt x="56" y="1461"/>
                      <a:pt x="55" y="1463"/>
                      <a:pt x="55" y="1464"/>
                    </a:cubicBezTo>
                    <a:cubicBezTo>
                      <a:pt x="55" y="1466"/>
                      <a:pt x="55" y="1467"/>
                      <a:pt x="56" y="1469"/>
                    </a:cubicBezTo>
                    <a:cubicBezTo>
                      <a:pt x="56" y="1470"/>
                      <a:pt x="58" y="1471"/>
                      <a:pt x="57" y="1473"/>
                    </a:cubicBezTo>
                    <a:cubicBezTo>
                      <a:pt x="57" y="1474"/>
                      <a:pt x="55" y="1474"/>
                      <a:pt x="54" y="1475"/>
                    </a:cubicBezTo>
                    <a:cubicBezTo>
                      <a:pt x="54" y="1476"/>
                      <a:pt x="54" y="1477"/>
                      <a:pt x="53" y="1477"/>
                    </a:cubicBezTo>
                    <a:cubicBezTo>
                      <a:pt x="51" y="1478"/>
                      <a:pt x="46" y="1479"/>
                      <a:pt x="45" y="1478"/>
                    </a:cubicBezTo>
                    <a:cubicBezTo>
                      <a:pt x="41" y="1480"/>
                      <a:pt x="39" y="1479"/>
                      <a:pt x="38" y="1484"/>
                    </a:cubicBezTo>
                    <a:cubicBezTo>
                      <a:pt x="33" y="1484"/>
                      <a:pt x="33" y="1480"/>
                      <a:pt x="28" y="1481"/>
                    </a:cubicBezTo>
                    <a:cubicBezTo>
                      <a:pt x="28" y="1483"/>
                      <a:pt x="26" y="1485"/>
                      <a:pt x="26" y="1487"/>
                    </a:cubicBezTo>
                    <a:cubicBezTo>
                      <a:pt x="28" y="1489"/>
                      <a:pt x="32" y="1486"/>
                      <a:pt x="35" y="1488"/>
                    </a:cubicBezTo>
                    <a:cubicBezTo>
                      <a:pt x="35" y="1488"/>
                      <a:pt x="36" y="1490"/>
                      <a:pt x="37" y="1490"/>
                    </a:cubicBezTo>
                    <a:cubicBezTo>
                      <a:pt x="38" y="1492"/>
                      <a:pt x="41" y="1492"/>
                      <a:pt x="42" y="1493"/>
                    </a:cubicBezTo>
                    <a:cubicBezTo>
                      <a:pt x="40" y="1495"/>
                      <a:pt x="38" y="1495"/>
                      <a:pt x="36" y="1494"/>
                    </a:cubicBezTo>
                    <a:cubicBezTo>
                      <a:pt x="34" y="1494"/>
                      <a:pt x="35" y="1492"/>
                      <a:pt x="32" y="1493"/>
                    </a:cubicBezTo>
                    <a:cubicBezTo>
                      <a:pt x="32" y="1496"/>
                      <a:pt x="33" y="1499"/>
                      <a:pt x="33" y="1502"/>
                    </a:cubicBezTo>
                    <a:cubicBezTo>
                      <a:pt x="30" y="1503"/>
                      <a:pt x="28" y="1499"/>
                      <a:pt x="26" y="1498"/>
                    </a:cubicBezTo>
                    <a:cubicBezTo>
                      <a:pt x="25" y="1498"/>
                      <a:pt x="23" y="1498"/>
                      <a:pt x="21" y="1498"/>
                    </a:cubicBezTo>
                    <a:cubicBezTo>
                      <a:pt x="20" y="1503"/>
                      <a:pt x="26" y="1506"/>
                      <a:pt x="29" y="1509"/>
                    </a:cubicBezTo>
                    <a:cubicBezTo>
                      <a:pt x="31" y="1513"/>
                      <a:pt x="28" y="1515"/>
                      <a:pt x="28" y="1519"/>
                    </a:cubicBezTo>
                    <a:cubicBezTo>
                      <a:pt x="27" y="1522"/>
                      <a:pt x="27" y="1526"/>
                      <a:pt x="27" y="1529"/>
                    </a:cubicBezTo>
                    <a:cubicBezTo>
                      <a:pt x="26" y="1534"/>
                      <a:pt x="28" y="1536"/>
                      <a:pt x="33" y="1535"/>
                    </a:cubicBezTo>
                    <a:cubicBezTo>
                      <a:pt x="34" y="1531"/>
                      <a:pt x="32" y="1526"/>
                      <a:pt x="38" y="1526"/>
                    </a:cubicBezTo>
                    <a:cubicBezTo>
                      <a:pt x="40" y="1527"/>
                      <a:pt x="41" y="1529"/>
                      <a:pt x="43" y="1527"/>
                    </a:cubicBezTo>
                    <a:cubicBezTo>
                      <a:pt x="45" y="1526"/>
                      <a:pt x="44" y="1522"/>
                      <a:pt x="48" y="1523"/>
                    </a:cubicBezTo>
                    <a:cubicBezTo>
                      <a:pt x="49" y="1529"/>
                      <a:pt x="40" y="1527"/>
                      <a:pt x="38" y="1530"/>
                    </a:cubicBezTo>
                    <a:cubicBezTo>
                      <a:pt x="37" y="1532"/>
                      <a:pt x="38" y="1534"/>
                      <a:pt x="37" y="1536"/>
                    </a:cubicBezTo>
                    <a:cubicBezTo>
                      <a:pt x="35" y="1538"/>
                      <a:pt x="34" y="1539"/>
                      <a:pt x="32" y="1539"/>
                    </a:cubicBezTo>
                    <a:cubicBezTo>
                      <a:pt x="31" y="1546"/>
                      <a:pt x="32" y="1553"/>
                      <a:pt x="32" y="1559"/>
                    </a:cubicBezTo>
                    <a:cubicBezTo>
                      <a:pt x="32" y="1566"/>
                      <a:pt x="28" y="1572"/>
                      <a:pt x="30" y="1578"/>
                    </a:cubicBezTo>
                    <a:cubicBezTo>
                      <a:pt x="31" y="1579"/>
                      <a:pt x="32" y="1583"/>
                      <a:pt x="34" y="1583"/>
                    </a:cubicBezTo>
                    <a:cubicBezTo>
                      <a:pt x="38" y="1585"/>
                      <a:pt x="39" y="1580"/>
                      <a:pt x="39" y="1577"/>
                    </a:cubicBezTo>
                    <a:cubicBezTo>
                      <a:pt x="39" y="1576"/>
                      <a:pt x="38" y="1572"/>
                      <a:pt x="40" y="1571"/>
                    </a:cubicBezTo>
                    <a:cubicBezTo>
                      <a:pt x="43" y="1569"/>
                      <a:pt x="47" y="1578"/>
                      <a:pt x="47" y="1580"/>
                    </a:cubicBezTo>
                    <a:cubicBezTo>
                      <a:pt x="52" y="1582"/>
                      <a:pt x="51" y="1574"/>
                      <a:pt x="53" y="1571"/>
                    </a:cubicBezTo>
                    <a:cubicBezTo>
                      <a:pt x="55" y="1569"/>
                      <a:pt x="57" y="1570"/>
                      <a:pt x="58" y="1568"/>
                    </a:cubicBezTo>
                    <a:cubicBezTo>
                      <a:pt x="60" y="1567"/>
                      <a:pt x="59" y="1564"/>
                      <a:pt x="59" y="1562"/>
                    </a:cubicBezTo>
                    <a:cubicBezTo>
                      <a:pt x="62" y="1561"/>
                      <a:pt x="72" y="1561"/>
                      <a:pt x="70" y="1566"/>
                    </a:cubicBezTo>
                    <a:cubicBezTo>
                      <a:pt x="67" y="1566"/>
                      <a:pt x="66" y="1569"/>
                      <a:pt x="67" y="1571"/>
                    </a:cubicBezTo>
                    <a:cubicBezTo>
                      <a:pt x="71" y="1571"/>
                      <a:pt x="75" y="1570"/>
                      <a:pt x="79" y="1571"/>
                    </a:cubicBezTo>
                    <a:cubicBezTo>
                      <a:pt x="80" y="1575"/>
                      <a:pt x="80" y="1576"/>
                      <a:pt x="76" y="1578"/>
                    </a:cubicBezTo>
                    <a:cubicBezTo>
                      <a:pt x="75" y="1578"/>
                      <a:pt x="73" y="1579"/>
                      <a:pt x="72" y="1579"/>
                    </a:cubicBezTo>
                    <a:cubicBezTo>
                      <a:pt x="69" y="1578"/>
                      <a:pt x="68" y="1576"/>
                      <a:pt x="66" y="1577"/>
                    </a:cubicBezTo>
                    <a:cubicBezTo>
                      <a:pt x="65" y="1579"/>
                      <a:pt x="64" y="1583"/>
                      <a:pt x="65" y="1585"/>
                    </a:cubicBezTo>
                    <a:cubicBezTo>
                      <a:pt x="65" y="1588"/>
                      <a:pt x="67" y="1588"/>
                      <a:pt x="66" y="1591"/>
                    </a:cubicBezTo>
                    <a:cubicBezTo>
                      <a:pt x="65" y="1591"/>
                      <a:pt x="64" y="1591"/>
                      <a:pt x="63" y="1591"/>
                    </a:cubicBezTo>
                    <a:cubicBezTo>
                      <a:pt x="63" y="1589"/>
                      <a:pt x="63" y="1587"/>
                      <a:pt x="63" y="1585"/>
                    </a:cubicBezTo>
                    <a:cubicBezTo>
                      <a:pt x="58" y="1585"/>
                      <a:pt x="52" y="1584"/>
                      <a:pt x="47" y="1585"/>
                    </a:cubicBezTo>
                    <a:cubicBezTo>
                      <a:pt x="46" y="1589"/>
                      <a:pt x="49" y="1590"/>
                      <a:pt x="49" y="1593"/>
                    </a:cubicBezTo>
                    <a:cubicBezTo>
                      <a:pt x="50" y="1596"/>
                      <a:pt x="49" y="1597"/>
                      <a:pt x="49" y="1599"/>
                    </a:cubicBezTo>
                    <a:cubicBezTo>
                      <a:pt x="47" y="1604"/>
                      <a:pt x="48" y="1608"/>
                      <a:pt x="47" y="1613"/>
                    </a:cubicBezTo>
                    <a:cubicBezTo>
                      <a:pt x="47" y="1615"/>
                      <a:pt x="46" y="1619"/>
                      <a:pt x="47" y="1622"/>
                    </a:cubicBezTo>
                    <a:cubicBezTo>
                      <a:pt x="47" y="1624"/>
                      <a:pt x="49" y="1624"/>
                      <a:pt x="50" y="1626"/>
                    </a:cubicBezTo>
                    <a:cubicBezTo>
                      <a:pt x="52" y="1628"/>
                      <a:pt x="53" y="1631"/>
                      <a:pt x="54" y="1633"/>
                    </a:cubicBezTo>
                    <a:cubicBezTo>
                      <a:pt x="57" y="1637"/>
                      <a:pt x="62" y="1639"/>
                      <a:pt x="67" y="1641"/>
                    </a:cubicBezTo>
                    <a:cubicBezTo>
                      <a:pt x="66" y="1644"/>
                      <a:pt x="68" y="1644"/>
                      <a:pt x="69" y="1646"/>
                    </a:cubicBezTo>
                    <a:cubicBezTo>
                      <a:pt x="69" y="1647"/>
                      <a:pt x="68" y="1649"/>
                      <a:pt x="68" y="1651"/>
                    </a:cubicBezTo>
                    <a:cubicBezTo>
                      <a:pt x="69" y="1654"/>
                      <a:pt x="69" y="1657"/>
                      <a:pt x="72" y="1658"/>
                    </a:cubicBezTo>
                    <a:cubicBezTo>
                      <a:pt x="73" y="1659"/>
                      <a:pt x="76" y="1658"/>
                      <a:pt x="78" y="1659"/>
                    </a:cubicBezTo>
                    <a:cubicBezTo>
                      <a:pt x="80" y="1660"/>
                      <a:pt x="80" y="1663"/>
                      <a:pt x="83" y="1664"/>
                    </a:cubicBezTo>
                    <a:cubicBezTo>
                      <a:pt x="84" y="1664"/>
                      <a:pt x="86" y="1663"/>
                      <a:pt x="88" y="1664"/>
                    </a:cubicBezTo>
                    <a:cubicBezTo>
                      <a:pt x="90" y="1666"/>
                      <a:pt x="91" y="1668"/>
                      <a:pt x="93" y="1670"/>
                    </a:cubicBezTo>
                    <a:cubicBezTo>
                      <a:pt x="95" y="1671"/>
                      <a:pt x="95" y="1672"/>
                      <a:pt x="97" y="1673"/>
                    </a:cubicBezTo>
                    <a:cubicBezTo>
                      <a:pt x="99" y="1674"/>
                      <a:pt x="102" y="1673"/>
                      <a:pt x="105" y="1674"/>
                    </a:cubicBezTo>
                    <a:cubicBezTo>
                      <a:pt x="112" y="1676"/>
                      <a:pt x="108" y="1680"/>
                      <a:pt x="106" y="1684"/>
                    </a:cubicBezTo>
                    <a:cubicBezTo>
                      <a:pt x="104" y="1690"/>
                      <a:pt x="109" y="1690"/>
                      <a:pt x="114" y="1690"/>
                    </a:cubicBezTo>
                    <a:cubicBezTo>
                      <a:pt x="116" y="1690"/>
                      <a:pt x="118" y="1688"/>
                      <a:pt x="120" y="1689"/>
                    </a:cubicBezTo>
                    <a:cubicBezTo>
                      <a:pt x="122" y="1690"/>
                      <a:pt x="122" y="1692"/>
                      <a:pt x="123" y="1693"/>
                    </a:cubicBezTo>
                    <a:cubicBezTo>
                      <a:pt x="125" y="1697"/>
                      <a:pt x="129" y="1696"/>
                      <a:pt x="133" y="1698"/>
                    </a:cubicBezTo>
                    <a:cubicBezTo>
                      <a:pt x="135" y="1699"/>
                      <a:pt x="136" y="1701"/>
                      <a:pt x="138" y="1700"/>
                    </a:cubicBezTo>
                    <a:cubicBezTo>
                      <a:pt x="138" y="1693"/>
                      <a:pt x="143" y="1695"/>
                      <a:pt x="149" y="1697"/>
                    </a:cubicBezTo>
                    <a:cubicBezTo>
                      <a:pt x="154" y="1698"/>
                      <a:pt x="161" y="1699"/>
                      <a:pt x="167" y="1698"/>
                    </a:cubicBezTo>
                    <a:cubicBezTo>
                      <a:pt x="169" y="1697"/>
                      <a:pt x="171" y="1696"/>
                      <a:pt x="174" y="1695"/>
                    </a:cubicBezTo>
                    <a:cubicBezTo>
                      <a:pt x="177" y="1695"/>
                      <a:pt x="180" y="1695"/>
                      <a:pt x="183" y="1695"/>
                    </a:cubicBezTo>
                    <a:cubicBezTo>
                      <a:pt x="187" y="1696"/>
                      <a:pt x="187" y="1695"/>
                      <a:pt x="190" y="1692"/>
                    </a:cubicBezTo>
                    <a:cubicBezTo>
                      <a:pt x="194" y="1689"/>
                      <a:pt x="199" y="1690"/>
                      <a:pt x="202" y="1685"/>
                    </a:cubicBezTo>
                    <a:cubicBezTo>
                      <a:pt x="203" y="1683"/>
                      <a:pt x="202" y="1681"/>
                      <a:pt x="204" y="1679"/>
                    </a:cubicBezTo>
                    <a:cubicBezTo>
                      <a:pt x="204" y="1677"/>
                      <a:pt x="206" y="1676"/>
                      <a:pt x="207" y="1675"/>
                    </a:cubicBezTo>
                    <a:cubicBezTo>
                      <a:pt x="209" y="1672"/>
                      <a:pt x="212" y="1668"/>
                      <a:pt x="217" y="1666"/>
                    </a:cubicBezTo>
                    <a:cubicBezTo>
                      <a:pt x="220" y="1665"/>
                      <a:pt x="221" y="1666"/>
                      <a:pt x="223" y="1663"/>
                    </a:cubicBezTo>
                    <a:cubicBezTo>
                      <a:pt x="225" y="1661"/>
                      <a:pt x="225" y="1660"/>
                      <a:pt x="227" y="1658"/>
                    </a:cubicBezTo>
                    <a:cubicBezTo>
                      <a:pt x="229" y="1656"/>
                      <a:pt x="230" y="1655"/>
                      <a:pt x="232" y="1653"/>
                    </a:cubicBezTo>
                    <a:cubicBezTo>
                      <a:pt x="234" y="1649"/>
                      <a:pt x="237" y="1647"/>
                      <a:pt x="240" y="1644"/>
                    </a:cubicBezTo>
                    <a:cubicBezTo>
                      <a:pt x="243" y="1641"/>
                      <a:pt x="245" y="1639"/>
                      <a:pt x="248" y="1637"/>
                    </a:cubicBezTo>
                    <a:cubicBezTo>
                      <a:pt x="252" y="1634"/>
                      <a:pt x="252" y="1629"/>
                      <a:pt x="256" y="1625"/>
                    </a:cubicBezTo>
                    <a:cubicBezTo>
                      <a:pt x="257" y="1624"/>
                      <a:pt x="260" y="1623"/>
                      <a:pt x="261" y="1622"/>
                    </a:cubicBezTo>
                    <a:cubicBezTo>
                      <a:pt x="263" y="1620"/>
                      <a:pt x="264" y="1619"/>
                      <a:pt x="265" y="1617"/>
                    </a:cubicBezTo>
                    <a:cubicBezTo>
                      <a:pt x="266" y="1615"/>
                      <a:pt x="267" y="1614"/>
                      <a:pt x="268" y="1612"/>
                    </a:cubicBezTo>
                    <a:cubicBezTo>
                      <a:pt x="270" y="1610"/>
                      <a:pt x="272" y="1609"/>
                      <a:pt x="274" y="1605"/>
                    </a:cubicBezTo>
                    <a:cubicBezTo>
                      <a:pt x="275" y="1601"/>
                      <a:pt x="277" y="1597"/>
                      <a:pt x="279" y="1594"/>
                    </a:cubicBezTo>
                    <a:cubicBezTo>
                      <a:pt x="281" y="1592"/>
                      <a:pt x="280" y="1593"/>
                      <a:pt x="282" y="1592"/>
                    </a:cubicBezTo>
                    <a:cubicBezTo>
                      <a:pt x="283" y="1592"/>
                      <a:pt x="286" y="1592"/>
                      <a:pt x="287" y="1593"/>
                    </a:cubicBezTo>
                    <a:cubicBezTo>
                      <a:pt x="288" y="1594"/>
                      <a:pt x="287" y="1595"/>
                      <a:pt x="288" y="1596"/>
                    </a:cubicBezTo>
                    <a:cubicBezTo>
                      <a:pt x="290" y="1603"/>
                      <a:pt x="294" y="1599"/>
                      <a:pt x="296" y="1596"/>
                    </a:cubicBezTo>
                    <a:cubicBezTo>
                      <a:pt x="297" y="1594"/>
                      <a:pt x="298" y="1592"/>
                      <a:pt x="300" y="1592"/>
                    </a:cubicBezTo>
                    <a:cubicBezTo>
                      <a:pt x="302" y="1592"/>
                      <a:pt x="302" y="1594"/>
                      <a:pt x="304" y="1594"/>
                    </a:cubicBezTo>
                    <a:cubicBezTo>
                      <a:pt x="305" y="1595"/>
                      <a:pt x="307" y="1594"/>
                      <a:pt x="309" y="1594"/>
                    </a:cubicBezTo>
                    <a:cubicBezTo>
                      <a:pt x="316" y="1591"/>
                      <a:pt x="314" y="1581"/>
                      <a:pt x="314" y="1574"/>
                    </a:cubicBezTo>
                    <a:cubicBezTo>
                      <a:pt x="314" y="1568"/>
                      <a:pt x="316" y="1563"/>
                      <a:pt x="316" y="1557"/>
                    </a:cubicBezTo>
                    <a:cubicBezTo>
                      <a:pt x="316" y="1554"/>
                      <a:pt x="316" y="1552"/>
                      <a:pt x="315" y="1549"/>
                    </a:cubicBezTo>
                    <a:cubicBezTo>
                      <a:pt x="314" y="1545"/>
                      <a:pt x="312" y="1542"/>
                      <a:pt x="308" y="1540"/>
                    </a:cubicBezTo>
                    <a:cubicBezTo>
                      <a:pt x="307" y="1540"/>
                      <a:pt x="305" y="1540"/>
                      <a:pt x="304" y="1539"/>
                    </a:cubicBezTo>
                    <a:cubicBezTo>
                      <a:pt x="304" y="1538"/>
                      <a:pt x="303" y="1536"/>
                      <a:pt x="304" y="1535"/>
                    </a:cubicBezTo>
                    <a:cubicBezTo>
                      <a:pt x="307" y="1532"/>
                      <a:pt x="313" y="1539"/>
                      <a:pt x="316" y="1540"/>
                    </a:cubicBezTo>
                    <a:cubicBezTo>
                      <a:pt x="320" y="1540"/>
                      <a:pt x="321" y="1537"/>
                      <a:pt x="323" y="1534"/>
                    </a:cubicBezTo>
                    <a:cubicBezTo>
                      <a:pt x="325" y="1531"/>
                      <a:pt x="326" y="1530"/>
                      <a:pt x="325" y="1526"/>
                    </a:cubicBezTo>
                    <a:cubicBezTo>
                      <a:pt x="325" y="1525"/>
                      <a:pt x="324" y="1524"/>
                      <a:pt x="325" y="1522"/>
                    </a:cubicBezTo>
                    <a:cubicBezTo>
                      <a:pt x="331" y="1520"/>
                      <a:pt x="329" y="1530"/>
                      <a:pt x="329" y="1533"/>
                    </a:cubicBezTo>
                    <a:cubicBezTo>
                      <a:pt x="329" y="1538"/>
                      <a:pt x="333" y="1544"/>
                      <a:pt x="332" y="1548"/>
                    </a:cubicBezTo>
                    <a:cubicBezTo>
                      <a:pt x="331" y="1551"/>
                      <a:pt x="329" y="1552"/>
                      <a:pt x="329" y="1555"/>
                    </a:cubicBezTo>
                    <a:cubicBezTo>
                      <a:pt x="329" y="1556"/>
                      <a:pt x="330" y="1558"/>
                      <a:pt x="330" y="1559"/>
                    </a:cubicBezTo>
                    <a:cubicBezTo>
                      <a:pt x="331" y="1561"/>
                      <a:pt x="332" y="1562"/>
                      <a:pt x="333" y="1565"/>
                    </a:cubicBezTo>
                    <a:cubicBezTo>
                      <a:pt x="334" y="1568"/>
                      <a:pt x="334" y="1570"/>
                      <a:pt x="334" y="1573"/>
                    </a:cubicBezTo>
                    <a:cubicBezTo>
                      <a:pt x="336" y="1573"/>
                      <a:pt x="338" y="1573"/>
                      <a:pt x="340" y="1572"/>
                    </a:cubicBezTo>
                    <a:cubicBezTo>
                      <a:pt x="341" y="1574"/>
                      <a:pt x="345" y="1579"/>
                      <a:pt x="346" y="1580"/>
                    </a:cubicBezTo>
                    <a:cubicBezTo>
                      <a:pt x="350" y="1582"/>
                      <a:pt x="352" y="1578"/>
                      <a:pt x="352" y="1584"/>
                    </a:cubicBezTo>
                    <a:cubicBezTo>
                      <a:pt x="353" y="1593"/>
                      <a:pt x="346" y="1586"/>
                      <a:pt x="341" y="1587"/>
                    </a:cubicBezTo>
                    <a:cubicBezTo>
                      <a:pt x="340" y="1590"/>
                      <a:pt x="341" y="1592"/>
                      <a:pt x="343" y="1593"/>
                    </a:cubicBezTo>
                    <a:cubicBezTo>
                      <a:pt x="344" y="1594"/>
                      <a:pt x="345" y="1594"/>
                      <a:pt x="346" y="1594"/>
                    </a:cubicBezTo>
                    <a:cubicBezTo>
                      <a:pt x="347" y="1595"/>
                      <a:pt x="346" y="1595"/>
                      <a:pt x="346" y="1596"/>
                    </a:cubicBezTo>
                    <a:cubicBezTo>
                      <a:pt x="348" y="1601"/>
                      <a:pt x="345" y="1607"/>
                      <a:pt x="350" y="1610"/>
                    </a:cubicBezTo>
                    <a:cubicBezTo>
                      <a:pt x="355" y="1605"/>
                      <a:pt x="352" y="1595"/>
                      <a:pt x="357" y="1589"/>
                    </a:cubicBezTo>
                    <a:cubicBezTo>
                      <a:pt x="358" y="1588"/>
                      <a:pt x="361" y="1586"/>
                      <a:pt x="363" y="1587"/>
                    </a:cubicBezTo>
                    <a:cubicBezTo>
                      <a:pt x="366" y="1588"/>
                      <a:pt x="366" y="1594"/>
                      <a:pt x="367" y="1597"/>
                    </a:cubicBezTo>
                    <a:cubicBezTo>
                      <a:pt x="368" y="1600"/>
                      <a:pt x="368" y="1603"/>
                      <a:pt x="371" y="1605"/>
                    </a:cubicBezTo>
                    <a:cubicBezTo>
                      <a:pt x="372" y="1605"/>
                      <a:pt x="373" y="1605"/>
                      <a:pt x="374" y="1606"/>
                    </a:cubicBezTo>
                    <a:cubicBezTo>
                      <a:pt x="376" y="1606"/>
                      <a:pt x="375" y="1608"/>
                      <a:pt x="376" y="1608"/>
                    </a:cubicBezTo>
                    <a:cubicBezTo>
                      <a:pt x="381" y="1609"/>
                      <a:pt x="383" y="1605"/>
                      <a:pt x="384" y="1601"/>
                    </a:cubicBezTo>
                    <a:cubicBezTo>
                      <a:pt x="385" y="1597"/>
                      <a:pt x="384" y="1593"/>
                      <a:pt x="385" y="1588"/>
                    </a:cubicBezTo>
                    <a:cubicBezTo>
                      <a:pt x="388" y="1579"/>
                      <a:pt x="388" y="1570"/>
                      <a:pt x="388" y="1561"/>
                    </a:cubicBezTo>
                    <a:cubicBezTo>
                      <a:pt x="388" y="1553"/>
                      <a:pt x="385" y="1545"/>
                      <a:pt x="385" y="1537"/>
                    </a:cubicBezTo>
                    <a:cubicBezTo>
                      <a:pt x="385" y="1535"/>
                      <a:pt x="385" y="1532"/>
                      <a:pt x="385" y="1530"/>
                    </a:cubicBezTo>
                    <a:cubicBezTo>
                      <a:pt x="386" y="1527"/>
                      <a:pt x="390" y="1524"/>
                      <a:pt x="391" y="1522"/>
                    </a:cubicBezTo>
                    <a:cubicBezTo>
                      <a:pt x="393" y="1520"/>
                      <a:pt x="393" y="1519"/>
                      <a:pt x="394" y="1516"/>
                    </a:cubicBezTo>
                    <a:cubicBezTo>
                      <a:pt x="394" y="1512"/>
                      <a:pt x="389" y="1508"/>
                      <a:pt x="390" y="1504"/>
                    </a:cubicBezTo>
                    <a:cubicBezTo>
                      <a:pt x="396" y="1504"/>
                      <a:pt x="399" y="1499"/>
                      <a:pt x="404" y="1497"/>
                    </a:cubicBezTo>
                    <a:cubicBezTo>
                      <a:pt x="407" y="1496"/>
                      <a:pt x="412" y="1493"/>
                      <a:pt x="415" y="1489"/>
                    </a:cubicBezTo>
                    <a:cubicBezTo>
                      <a:pt x="417" y="1485"/>
                      <a:pt x="416" y="1478"/>
                      <a:pt x="418" y="1473"/>
                    </a:cubicBezTo>
                    <a:cubicBezTo>
                      <a:pt x="419" y="1470"/>
                      <a:pt x="421" y="1469"/>
                      <a:pt x="422" y="1466"/>
                    </a:cubicBezTo>
                    <a:cubicBezTo>
                      <a:pt x="422" y="1466"/>
                      <a:pt x="422" y="1464"/>
                      <a:pt x="422" y="1463"/>
                    </a:cubicBezTo>
                    <a:cubicBezTo>
                      <a:pt x="422" y="1463"/>
                      <a:pt x="421" y="1463"/>
                      <a:pt x="420" y="1464"/>
                    </a:cubicBezTo>
                    <a:cubicBezTo>
                      <a:pt x="422" y="1457"/>
                      <a:pt x="427" y="1451"/>
                      <a:pt x="430" y="1446"/>
                    </a:cubicBezTo>
                    <a:cubicBezTo>
                      <a:pt x="432" y="1443"/>
                      <a:pt x="433" y="1442"/>
                      <a:pt x="433" y="1440"/>
                    </a:cubicBezTo>
                    <a:cubicBezTo>
                      <a:pt x="434" y="1437"/>
                      <a:pt x="433" y="1434"/>
                      <a:pt x="433" y="1431"/>
                    </a:cubicBezTo>
                    <a:cubicBezTo>
                      <a:pt x="431" y="1419"/>
                      <a:pt x="423" y="1410"/>
                      <a:pt x="420" y="1398"/>
                    </a:cubicBezTo>
                    <a:cubicBezTo>
                      <a:pt x="419" y="1394"/>
                      <a:pt x="418" y="1390"/>
                      <a:pt x="417" y="1386"/>
                    </a:cubicBezTo>
                    <a:cubicBezTo>
                      <a:pt x="417" y="1383"/>
                      <a:pt x="415" y="1377"/>
                      <a:pt x="416" y="1374"/>
                    </a:cubicBezTo>
                    <a:cubicBezTo>
                      <a:pt x="418" y="1374"/>
                      <a:pt x="419" y="1375"/>
                      <a:pt x="421" y="1374"/>
                    </a:cubicBezTo>
                    <a:cubicBezTo>
                      <a:pt x="424" y="1374"/>
                      <a:pt x="426" y="1373"/>
                      <a:pt x="428" y="1372"/>
                    </a:cubicBezTo>
                    <a:cubicBezTo>
                      <a:pt x="429" y="1371"/>
                      <a:pt x="430" y="1371"/>
                      <a:pt x="431" y="1371"/>
                    </a:cubicBezTo>
                    <a:cubicBezTo>
                      <a:pt x="431" y="1370"/>
                      <a:pt x="431" y="1370"/>
                      <a:pt x="432" y="1370"/>
                    </a:cubicBezTo>
                    <a:cubicBezTo>
                      <a:pt x="434" y="1370"/>
                      <a:pt x="435" y="1369"/>
                      <a:pt x="436" y="1369"/>
                    </a:cubicBezTo>
                    <a:cubicBezTo>
                      <a:pt x="437" y="1367"/>
                      <a:pt x="436" y="1367"/>
                      <a:pt x="437" y="1365"/>
                    </a:cubicBezTo>
                    <a:cubicBezTo>
                      <a:pt x="437" y="1363"/>
                      <a:pt x="437" y="1364"/>
                      <a:pt x="439" y="1361"/>
                    </a:cubicBezTo>
                    <a:cubicBezTo>
                      <a:pt x="441" y="1356"/>
                      <a:pt x="443" y="1351"/>
                      <a:pt x="445" y="1346"/>
                    </a:cubicBezTo>
                    <a:cubicBezTo>
                      <a:pt x="447" y="1343"/>
                      <a:pt x="452" y="1338"/>
                      <a:pt x="451" y="1334"/>
                    </a:cubicBezTo>
                    <a:cubicBezTo>
                      <a:pt x="448" y="1333"/>
                      <a:pt x="445" y="1327"/>
                      <a:pt x="443" y="1325"/>
                    </a:cubicBezTo>
                    <a:cubicBezTo>
                      <a:pt x="442" y="1324"/>
                      <a:pt x="441" y="1324"/>
                      <a:pt x="440" y="1322"/>
                    </a:cubicBezTo>
                    <a:cubicBezTo>
                      <a:pt x="439" y="1322"/>
                      <a:pt x="440" y="1320"/>
                      <a:pt x="439" y="1320"/>
                    </a:cubicBezTo>
                    <a:cubicBezTo>
                      <a:pt x="435" y="1314"/>
                      <a:pt x="427" y="1318"/>
                      <a:pt x="423" y="1314"/>
                    </a:cubicBezTo>
                    <a:cubicBezTo>
                      <a:pt x="420" y="1311"/>
                      <a:pt x="419" y="1308"/>
                      <a:pt x="416" y="1306"/>
                    </a:cubicBezTo>
                    <a:cubicBezTo>
                      <a:pt x="413" y="1304"/>
                      <a:pt x="408" y="1303"/>
                      <a:pt x="406" y="1299"/>
                    </a:cubicBezTo>
                    <a:cubicBezTo>
                      <a:pt x="403" y="1293"/>
                      <a:pt x="408" y="1285"/>
                      <a:pt x="409" y="1279"/>
                    </a:cubicBezTo>
                    <a:cubicBezTo>
                      <a:pt x="412" y="1266"/>
                      <a:pt x="412" y="1253"/>
                      <a:pt x="412" y="1239"/>
                    </a:cubicBezTo>
                    <a:cubicBezTo>
                      <a:pt x="412" y="1235"/>
                      <a:pt x="413" y="1231"/>
                      <a:pt x="412" y="1227"/>
                    </a:cubicBezTo>
                    <a:cubicBezTo>
                      <a:pt x="412" y="1225"/>
                      <a:pt x="411" y="1223"/>
                      <a:pt x="410" y="1221"/>
                    </a:cubicBezTo>
                    <a:cubicBezTo>
                      <a:pt x="407" y="1214"/>
                      <a:pt x="404" y="1207"/>
                      <a:pt x="400" y="1201"/>
                    </a:cubicBezTo>
                    <a:cubicBezTo>
                      <a:pt x="399" y="1198"/>
                      <a:pt x="398" y="1198"/>
                      <a:pt x="398" y="1195"/>
                    </a:cubicBezTo>
                    <a:cubicBezTo>
                      <a:pt x="399" y="1190"/>
                      <a:pt x="400" y="1186"/>
                      <a:pt x="400" y="1182"/>
                    </a:cubicBezTo>
                    <a:cubicBezTo>
                      <a:pt x="400" y="1176"/>
                      <a:pt x="400" y="1171"/>
                      <a:pt x="400" y="1165"/>
                    </a:cubicBezTo>
                    <a:cubicBezTo>
                      <a:pt x="400" y="1163"/>
                      <a:pt x="399" y="1159"/>
                      <a:pt x="400" y="1157"/>
                    </a:cubicBezTo>
                    <a:cubicBezTo>
                      <a:pt x="400" y="1156"/>
                      <a:pt x="402" y="1157"/>
                      <a:pt x="402" y="1156"/>
                    </a:cubicBezTo>
                    <a:cubicBezTo>
                      <a:pt x="403" y="1155"/>
                      <a:pt x="403" y="1153"/>
                      <a:pt x="404" y="1152"/>
                    </a:cubicBezTo>
                    <a:cubicBezTo>
                      <a:pt x="405" y="1151"/>
                      <a:pt x="408" y="1149"/>
                      <a:pt x="408" y="1147"/>
                    </a:cubicBezTo>
                    <a:cubicBezTo>
                      <a:pt x="409" y="1145"/>
                      <a:pt x="408" y="1144"/>
                      <a:pt x="407" y="1142"/>
                    </a:cubicBezTo>
                    <a:cubicBezTo>
                      <a:pt x="405" y="1138"/>
                      <a:pt x="405" y="1134"/>
                      <a:pt x="404" y="1130"/>
                    </a:cubicBezTo>
                    <a:cubicBezTo>
                      <a:pt x="403" y="1127"/>
                      <a:pt x="402" y="1124"/>
                      <a:pt x="400" y="1121"/>
                    </a:cubicBezTo>
                    <a:cubicBezTo>
                      <a:pt x="400" y="1119"/>
                      <a:pt x="399" y="1117"/>
                      <a:pt x="399" y="1115"/>
                    </a:cubicBezTo>
                    <a:cubicBezTo>
                      <a:pt x="399" y="1113"/>
                      <a:pt x="400" y="1112"/>
                      <a:pt x="401" y="1110"/>
                    </a:cubicBezTo>
                    <a:cubicBezTo>
                      <a:pt x="404" y="1105"/>
                      <a:pt x="403" y="1097"/>
                      <a:pt x="403" y="1092"/>
                    </a:cubicBezTo>
                    <a:cubicBezTo>
                      <a:pt x="403" y="1088"/>
                      <a:pt x="403" y="1084"/>
                      <a:pt x="403" y="1080"/>
                    </a:cubicBezTo>
                    <a:cubicBezTo>
                      <a:pt x="404" y="1073"/>
                      <a:pt x="409" y="1071"/>
                      <a:pt x="412" y="1066"/>
                    </a:cubicBezTo>
                    <a:cubicBezTo>
                      <a:pt x="415" y="1062"/>
                      <a:pt x="418" y="1057"/>
                      <a:pt x="419" y="1053"/>
                    </a:cubicBezTo>
                    <a:cubicBezTo>
                      <a:pt x="420" y="1050"/>
                      <a:pt x="421" y="1047"/>
                      <a:pt x="422" y="1045"/>
                    </a:cubicBezTo>
                    <a:cubicBezTo>
                      <a:pt x="423" y="1041"/>
                      <a:pt x="422" y="1039"/>
                      <a:pt x="425" y="1036"/>
                    </a:cubicBezTo>
                    <a:cubicBezTo>
                      <a:pt x="427" y="1034"/>
                      <a:pt x="429" y="1032"/>
                      <a:pt x="431" y="1031"/>
                    </a:cubicBezTo>
                    <a:cubicBezTo>
                      <a:pt x="433" y="1030"/>
                      <a:pt x="435" y="1030"/>
                      <a:pt x="436" y="1029"/>
                    </a:cubicBezTo>
                    <a:cubicBezTo>
                      <a:pt x="439" y="1027"/>
                      <a:pt x="440" y="1023"/>
                      <a:pt x="444" y="1021"/>
                    </a:cubicBezTo>
                    <a:cubicBezTo>
                      <a:pt x="449" y="1019"/>
                      <a:pt x="453" y="1018"/>
                      <a:pt x="458" y="1018"/>
                    </a:cubicBezTo>
                    <a:cubicBezTo>
                      <a:pt x="463" y="1018"/>
                      <a:pt x="467" y="1017"/>
                      <a:pt x="472" y="1017"/>
                    </a:cubicBezTo>
                    <a:cubicBezTo>
                      <a:pt x="478" y="1018"/>
                      <a:pt x="483" y="1019"/>
                      <a:pt x="489" y="1019"/>
                    </a:cubicBezTo>
                    <a:cubicBezTo>
                      <a:pt x="493" y="1020"/>
                      <a:pt x="499" y="1020"/>
                      <a:pt x="503" y="1022"/>
                    </a:cubicBezTo>
                    <a:cubicBezTo>
                      <a:pt x="505" y="1019"/>
                      <a:pt x="506" y="1014"/>
                      <a:pt x="507" y="1011"/>
                    </a:cubicBezTo>
                    <a:cubicBezTo>
                      <a:pt x="509" y="1007"/>
                      <a:pt x="510" y="1004"/>
                      <a:pt x="510" y="1000"/>
                    </a:cubicBezTo>
                    <a:cubicBezTo>
                      <a:pt x="509" y="996"/>
                      <a:pt x="507" y="992"/>
                      <a:pt x="506" y="988"/>
                    </a:cubicBezTo>
                    <a:cubicBezTo>
                      <a:pt x="506" y="985"/>
                      <a:pt x="506" y="981"/>
                      <a:pt x="506" y="977"/>
                    </a:cubicBezTo>
                    <a:cubicBezTo>
                      <a:pt x="506" y="971"/>
                      <a:pt x="508" y="963"/>
                      <a:pt x="503" y="959"/>
                    </a:cubicBezTo>
                    <a:cubicBezTo>
                      <a:pt x="500" y="957"/>
                      <a:pt x="498" y="956"/>
                      <a:pt x="495" y="955"/>
                    </a:cubicBezTo>
                    <a:cubicBezTo>
                      <a:pt x="493" y="953"/>
                      <a:pt x="492" y="951"/>
                      <a:pt x="489" y="950"/>
                    </a:cubicBezTo>
                    <a:cubicBezTo>
                      <a:pt x="490" y="947"/>
                      <a:pt x="492" y="944"/>
                      <a:pt x="494" y="941"/>
                    </a:cubicBezTo>
                    <a:cubicBezTo>
                      <a:pt x="497" y="937"/>
                      <a:pt x="500" y="933"/>
                      <a:pt x="502" y="928"/>
                    </a:cubicBezTo>
                    <a:cubicBezTo>
                      <a:pt x="504" y="925"/>
                      <a:pt x="505" y="921"/>
                      <a:pt x="506" y="917"/>
                    </a:cubicBezTo>
                    <a:cubicBezTo>
                      <a:pt x="506" y="915"/>
                      <a:pt x="506" y="913"/>
                      <a:pt x="507" y="911"/>
                    </a:cubicBezTo>
                    <a:cubicBezTo>
                      <a:pt x="508" y="909"/>
                      <a:pt x="508" y="907"/>
                      <a:pt x="509" y="905"/>
                    </a:cubicBezTo>
                    <a:cubicBezTo>
                      <a:pt x="512" y="902"/>
                      <a:pt x="512" y="896"/>
                      <a:pt x="515" y="891"/>
                    </a:cubicBezTo>
                    <a:cubicBezTo>
                      <a:pt x="517" y="887"/>
                      <a:pt x="518" y="882"/>
                      <a:pt x="520" y="878"/>
                    </a:cubicBezTo>
                    <a:cubicBezTo>
                      <a:pt x="521" y="875"/>
                      <a:pt x="523" y="871"/>
                      <a:pt x="526" y="869"/>
                    </a:cubicBezTo>
                    <a:cubicBezTo>
                      <a:pt x="530" y="866"/>
                      <a:pt x="530" y="865"/>
                      <a:pt x="530" y="859"/>
                    </a:cubicBezTo>
                    <a:cubicBezTo>
                      <a:pt x="530" y="853"/>
                      <a:pt x="530" y="848"/>
                      <a:pt x="530" y="843"/>
                    </a:cubicBezTo>
                    <a:cubicBezTo>
                      <a:pt x="529" y="837"/>
                      <a:pt x="528" y="831"/>
                      <a:pt x="529" y="825"/>
                    </a:cubicBezTo>
                    <a:cubicBezTo>
                      <a:pt x="529" y="820"/>
                      <a:pt x="532" y="816"/>
                      <a:pt x="533" y="812"/>
                    </a:cubicBezTo>
                    <a:cubicBezTo>
                      <a:pt x="534" y="810"/>
                      <a:pt x="534" y="808"/>
                      <a:pt x="535" y="806"/>
                    </a:cubicBezTo>
                    <a:cubicBezTo>
                      <a:pt x="536" y="806"/>
                      <a:pt x="537" y="805"/>
                      <a:pt x="538" y="804"/>
                    </a:cubicBezTo>
                    <a:cubicBezTo>
                      <a:pt x="539" y="802"/>
                      <a:pt x="539" y="801"/>
                      <a:pt x="539" y="798"/>
                    </a:cubicBezTo>
                    <a:cubicBezTo>
                      <a:pt x="541" y="791"/>
                      <a:pt x="537" y="784"/>
                      <a:pt x="536" y="776"/>
                    </a:cubicBezTo>
                    <a:cubicBezTo>
                      <a:pt x="535" y="770"/>
                      <a:pt x="534" y="763"/>
                      <a:pt x="533" y="757"/>
                    </a:cubicBezTo>
                    <a:cubicBezTo>
                      <a:pt x="533" y="757"/>
                      <a:pt x="533" y="751"/>
                      <a:pt x="533" y="750"/>
                    </a:cubicBezTo>
                    <a:cubicBezTo>
                      <a:pt x="535" y="747"/>
                      <a:pt x="548" y="750"/>
                      <a:pt x="552" y="749"/>
                    </a:cubicBezTo>
                    <a:cubicBezTo>
                      <a:pt x="556" y="748"/>
                      <a:pt x="561" y="747"/>
                      <a:pt x="564" y="745"/>
                    </a:cubicBezTo>
                    <a:cubicBezTo>
                      <a:pt x="570" y="743"/>
                      <a:pt x="570" y="736"/>
                      <a:pt x="575" y="733"/>
                    </a:cubicBezTo>
                    <a:cubicBezTo>
                      <a:pt x="578" y="731"/>
                      <a:pt x="583" y="732"/>
                      <a:pt x="585" y="729"/>
                    </a:cubicBezTo>
                    <a:cubicBezTo>
                      <a:pt x="588" y="723"/>
                      <a:pt x="580" y="714"/>
                      <a:pt x="580" y="709"/>
                    </a:cubicBezTo>
                    <a:cubicBezTo>
                      <a:pt x="579" y="703"/>
                      <a:pt x="582" y="701"/>
                      <a:pt x="586" y="698"/>
                    </a:cubicBezTo>
                    <a:cubicBezTo>
                      <a:pt x="591" y="695"/>
                      <a:pt x="592" y="692"/>
                      <a:pt x="594" y="687"/>
                    </a:cubicBezTo>
                    <a:cubicBezTo>
                      <a:pt x="598" y="679"/>
                      <a:pt x="602" y="670"/>
                      <a:pt x="605" y="662"/>
                    </a:cubicBezTo>
                    <a:cubicBezTo>
                      <a:pt x="607" y="658"/>
                      <a:pt x="610" y="654"/>
                      <a:pt x="611" y="649"/>
                    </a:cubicBezTo>
                    <a:cubicBezTo>
                      <a:pt x="611" y="645"/>
                      <a:pt x="613" y="641"/>
                      <a:pt x="616" y="638"/>
                    </a:cubicBezTo>
                    <a:cubicBezTo>
                      <a:pt x="620" y="635"/>
                      <a:pt x="624" y="634"/>
                      <a:pt x="628" y="632"/>
                    </a:cubicBezTo>
                    <a:cubicBezTo>
                      <a:pt x="632" y="629"/>
                      <a:pt x="631" y="617"/>
                      <a:pt x="630" y="613"/>
                    </a:cubicBezTo>
                    <a:cubicBezTo>
                      <a:pt x="629" y="610"/>
                      <a:pt x="627" y="607"/>
                      <a:pt x="627" y="605"/>
                    </a:cubicBezTo>
                    <a:cubicBezTo>
                      <a:pt x="627" y="603"/>
                      <a:pt x="627" y="601"/>
                      <a:pt x="627" y="600"/>
                    </a:cubicBezTo>
                    <a:cubicBezTo>
                      <a:pt x="626" y="598"/>
                      <a:pt x="624" y="596"/>
                      <a:pt x="624" y="594"/>
                    </a:cubicBezTo>
                    <a:cubicBezTo>
                      <a:pt x="623" y="591"/>
                      <a:pt x="623" y="588"/>
                      <a:pt x="622" y="584"/>
                    </a:cubicBezTo>
                    <a:cubicBezTo>
                      <a:pt x="621" y="582"/>
                      <a:pt x="621" y="580"/>
                      <a:pt x="621" y="578"/>
                    </a:cubicBezTo>
                    <a:cubicBezTo>
                      <a:pt x="621" y="574"/>
                      <a:pt x="621" y="572"/>
                      <a:pt x="622" y="569"/>
                    </a:cubicBezTo>
                    <a:cubicBezTo>
                      <a:pt x="623" y="564"/>
                      <a:pt x="624" y="562"/>
                      <a:pt x="629" y="559"/>
                    </a:cubicBezTo>
                    <a:cubicBezTo>
                      <a:pt x="633" y="558"/>
                      <a:pt x="634" y="555"/>
                      <a:pt x="634" y="551"/>
                    </a:cubicBezTo>
                    <a:cubicBezTo>
                      <a:pt x="635" y="546"/>
                      <a:pt x="637" y="542"/>
                      <a:pt x="639" y="537"/>
                    </a:cubicBezTo>
                    <a:cubicBezTo>
                      <a:pt x="640" y="534"/>
                      <a:pt x="642" y="530"/>
                      <a:pt x="643" y="527"/>
                    </a:cubicBezTo>
                    <a:cubicBezTo>
                      <a:pt x="644" y="525"/>
                      <a:pt x="644" y="523"/>
                      <a:pt x="645" y="522"/>
                    </a:cubicBezTo>
                    <a:cubicBezTo>
                      <a:pt x="645" y="522"/>
                      <a:pt x="644" y="522"/>
                      <a:pt x="643" y="523"/>
                    </a:cubicBezTo>
                    <a:cubicBezTo>
                      <a:pt x="644" y="521"/>
                      <a:pt x="645" y="520"/>
                      <a:pt x="646" y="518"/>
                    </a:cubicBezTo>
                    <a:cubicBezTo>
                      <a:pt x="647" y="516"/>
                      <a:pt x="647" y="513"/>
                      <a:pt x="650" y="512"/>
                    </a:cubicBezTo>
                    <a:cubicBezTo>
                      <a:pt x="650" y="510"/>
                      <a:pt x="653" y="508"/>
                      <a:pt x="654" y="507"/>
                    </a:cubicBezTo>
                    <a:cubicBezTo>
                      <a:pt x="657" y="503"/>
                      <a:pt x="660" y="498"/>
                      <a:pt x="663" y="494"/>
                    </a:cubicBezTo>
                    <a:cubicBezTo>
                      <a:pt x="666" y="490"/>
                      <a:pt x="668" y="488"/>
                      <a:pt x="672" y="486"/>
                    </a:cubicBezTo>
                    <a:cubicBezTo>
                      <a:pt x="674" y="484"/>
                      <a:pt x="677" y="481"/>
                      <a:pt x="680" y="480"/>
                    </a:cubicBezTo>
                    <a:cubicBezTo>
                      <a:pt x="684" y="479"/>
                      <a:pt x="691" y="479"/>
                      <a:pt x="695" y="481"/>
                    </a:cubicBezTo>
                    <a:cubicBezTo>
                      <a:pt x="698" y="482"/>
                      <a:pt x="700" y="484"/>
                      <a:pt x="704" y="486"/>
                    </a:cubicBezTo>
                    <a:cubicBezTo>
                      <a:pt x="709" y="487"/>
                      <a:pt x="714" y="490"/>
                      <a:pt x="719" y="492"/>
                    </a:cubicBezTo>
                    <a:cubicBezTo>
                      <a:pt x="720" y="490"/>
                      <a:pt x="720" y="488"/>
                      <a:pt x="721" y="486"/>
                    </a:cubicBezTo>
                    <a:cubicBezTo>
                      <a:pt x="723" y="482"/>
                      <a:pt x="726" y="477"/>
                      <a:pt x="728" y="472"/>
                    </a:cubicBezTo>
                    <a:cubicBezTo>
                      <a:pt x="730" y="469"/>
                      <a:pt x="732" y="467"/>
                      <a:pt x="733" y="464"/>
                    </a:cubicBezTo>
                    <a:cubicBezTo>
                      <a:pt x="733" y="463"/>
                      <a:pt x="734" y="461"/>
                      <a:pt x="735" y="459"/>
                    </a:cubicBezTo>
                    <a:cubicBezTo>
                      <a:pt x="735" y="458"/>
                      <a:pt x="735" y="454"/>
                      <a:pt x="735" y="452"/>
                    </a:cubicBezTo>
                    <a:cubicBezTo>
                      <a:pt x="735" y="429"/>
                      <a:pt x="735" y="429"/>
                      <a:pt x="735" y="429"/>
                    </a:cubicBezTo>
                    <a:cubicBezTo>
                      <a:pt x="735" y="424"/>
                      <a:pt x="735" y="418"/>
                      <a:pt x="734" y="413"/>
                    </a:cubicBezTo>
                    <a:cubicBezTo>
                      <a:pt x="737" y="416"/>
                      <a:pt x="742" y="415"/>
                      <a:pt x="746" y="415"/>
                    </a:cubicBezTo>
                    <a:cubicBezTo>
                      <a:pt x="748" y="415"/>
                      <a:pt x="749" y="416"/>
                      <a:pt x="752" y="417"/>
                    </a:cubicBezTo>
                    <a:cubicBezTo>
                      <a:pt x="754" y="418"/>
                      <a:pt x="758" y="418"/>
                      <a:pt x="760" y="419"/>
                    </a:cubicBezTo>
                    <a:cubicBezTo>
                      <a:pt x="769" y="422"/>
                      <a:pt x="778" y="424"/>
                      <a:pt x="787" y="426"/>
                    </a:cubicBezTo>
                    <a:cubicBezTo>
                      <a:pt x="793" y="427"/>
                      <a:pt x="799" y="426"/>
                      <a:pt x="804" y="429"/>
                    </a:cubicBezTo>
                    <a:cubicBezTo>
                      <a:pt x="811" y="433"/>
                      <a:pt x="817" y="435"/>
                      <a:pt x="824" y="436"/>
                    </a:cubicBezTo>
                    <a:cubicBezTo>
                      <a:pt x="826" y="436"/>
                      <a:pt x="827" y="437"/>
                      <a:pt x="829" y="436"/>
                    </a:cubicBezTo>
                    <a:cubicBezTo>
                      <a:pt x="830" y="435"/>
                      <a:pt x="833" y="431"/>
                      <a:pt x="833" y="429"/>
                    </a:cubicBezTo>
                    <a:cubicBezTo>
                      <a:pt x="835" y="427"/>
                      <a:pt x="835" y="426"/>
                      <a:pt x="836" y="424"/>
                    </a:cubicBezTo>
                    <a:cubicBezTo>
                      <a:pt x="836" y="423"/>
                      <a:pt x="839" y="421"/>
                      <a:pt x="839" y="420"/>
                    </a:cubicBezTo>
                    <a:cubicBezTo>
                      <a:pt x="839" y="416"/>
                      <a:pt x="826" y="413"/>
                      <a:pt x="823" y="411"/>
                    </a:cubicBezTo>
                    <a:cubicBezTo>
                      <a:pt x="825" y="408"/>
                      <a:pt x="830" y="407"/>
                      <a:pt x="833" y="405"/>
                    </a:cubicBezTo>
                    <a:cubicBezTo>
                      <a:pt x="838" y="402"/>
                      <a:pt x="842" y="399"/>
                      <a:pt x="847" y="395"/>
                    </a:cubicBezTo>
                    <a:cubicBezTo>
                      <a:pt x="852" y="391"/>
                      <a:pt x="855" y="389"/>
                      <a:pt x="855" y="382"/>
                    </a:cubicBezTo>
                    <a:cubicBezTo>
                      <a:pt x="855" y="374"/>
                      <a:pt x="853" y="368"/>
                      <a:pt x="848" y="361"/>
                    </a:cubicBezTo>
                    <a:cubicBezTo>
                      <a:pt x="845" y="357"/>
                      <a:pt x="842" y="352"/>
                      <a:pt x="840" y="347"/>
                    </a:cubicBezTo>
                    <a:cubicBezTo>
                      <a:pt x="838" y="345"/>
                      <a:pt x="837" y="341"/>
                      <a:pt x="835" y="339"/>
                    </a:cubicBezTo>
                    <a:cubicBezTo>
                      <a:pt x="836" y="336"/>
                      <a:pt x="849" y="336"/>
                      <a:pt x="852" y="336"/>
                    </a:cubicBezTo>
                    <a:cubicBezTo>
                      <a:pt x="857" y="335"/>
                      <a:pt x="863" y="335"/>
                      <a:pt x="869" y="334"/>
                    </a:cubicBezTo>
                    <a:cubicBezTo>
                      <a:pt x="869" y="333"/>
                      <a:pt x="869" y="332"/>
                      <a:pt x="869" y="332"/>
                    </a:cubicBezTo>
                    <a:cubicBezTo>
                      <a:pt x="871" y="331"/>
                      <a:pt x="875" y="334"/>
                      <a:pt x="877" y="335"/>
                    </a:cubicBezTo>
                    <a:cubicBezTo>
                      <a:pt x="880" y="336"/>
                      <a:pt x="883" y="338"/>
                      <a:pt x="886" y="339"/>
                    </a:cubicBezTo>
                    <a:cubicBezTo>
                      <a:pt x="886" y="336"/>
                      <a:pt x="886" y="332"/>
                      <a:pt x="886" y="329"/>
                    </a:cubicBezTo>
                    <a:cubicBezTo>
                      <a:pt x="885" y="324"/>
                      <a:pt x="883" y="322"/>
                      <a:pt x="882" y="319"/>
                    </a:cubicBezTo>
                    <a:cubicBezTo>
                      <a:pt x="879" y="312"/>
                      <a:pt x="886" y="310"/>
                      <a:pt x="891" y="308"/>
                    </a:cubicBezTo>
                    <a:cubicBezTo>
                      <a:pt x="896" y="307"/>
                      <a:pt x="901" y="304"/>
                      <a:pt x="907" y="304"/>
                    </a:cubicBezTo>
                    <a:cubicBezTo>
                      <a:pt x="909" y="304"/>
                      <a:pt x="914" y="303"/>
                      <a:pt x="916" y="305"/>
                    </a:cubicBezTo>
                    <a:cubicBezTo>
                      <a:pt x="918" y="307"/>
                      <a:pt x="918" y="311"/>
                      <a:pt x="919" y="313"/>
                    </a:cubicBezTo>
                    <a:cubicBezTo>
                      <a:pt x="920" y="315"/>
                      <a:pt x="922" y="316"/>
                      <a:pt x="923" y="317"/>
                    </a:cubicBezTo>
                    <a:cubicBezTo>
                      <a:pt x="924" y="319"/>
                      <a:pt x="924" y="320"/>
                      <a:pt x="925" y="322"/>
                    </a:cubicBezTo>
                    <a:cubicBezTo>
                      <a:pt x="926" y="326"/>
                      <a:pt x="928" y="331"/>
                      <a:pt x="931" y="335"/>
                    </a:cubicBezTo>
                    <a:cubicBezTo>
                      <a:pt x="933" y="338"/>
                      <a:pt x="935" y="340"/>
                      <a:pt x="937" y="342"/>
                    </a:cubicBezTo>
                    <a:cubicBezTo>
                      <a:pt x="940" y="345"/>
                      <a:pt x="943" y="349"/>
                      <a:pt x="945" y="352"/>
                    </a:cubicBezTo>
                    <a:cubicBezTo>
                      <a:pt x="946" y="353"/>
                      <a:pt x="947" y="355"/>
                      <a:pt x="948" y="356"/>
                    </a:cubicBezTo>
                    <a:cubicBezTo>
                      <a:pt x="949" y="358"/>
                      <a:pt x="951" y="359"/>
                      <a:pt x="951" y="361"/>
                    </a:cubicBezTo>
                    <a:cubicBezTo>
                      <a:pt x="952" y="362"/>
                      <a:pt x="952" y="363"/>
                      <a:pt x="953" y="364"/>
                    </a:cubicBezTo>
                    <a:cubicBezTo>
                      <a:pt x="955" y="366"/>
                      <a:pt x="955" y="364"/>
                      <a:pt x="956" y="367"/>
                    </a:cubicBezTo>
                    <a:cubicBezTo>
                      <a:pt x="957" y="374"/>
                      <a:pt x="956" y="382"/>
                      <a:pt x="957" y="389"/>
                    </a:cubicBezTo>
                    <a:cubicBezTo>
                      <a:pt x="959" y="389"/>
                      <a:pt x="960" y="388"/>
                      <a:pt x="962" y="388"/>
                    </a:cubicBezTo>
                    <a:cubicBezTo>
                      <a:pt x="964" y="388"/>
                      <a:pt x="966" y="388"/>
                      <a:pt x="967" y="389"/>
                    </a:cubicBezTo>
                    <a:cubicBezTo>
                      <a:pt x="973" y="390"/>
                      <a:pt x="977" y="391"/>
                      <a:pt x="982" y="393"/>
                    </a:cubicBezTo>
                    <a:cubicBezTo>
                      <a:pt x="984" y="394"/>
                      <a:pt x="985" y="395"/>
                      <a:pt x="987" y="395"/>
                    </a:cubicBezTo>
                    <a:cubicBezTo>
                      <a:pt x="989" y="395"/>
                      <a:pt x="992" y="395"/>
                      <a:pt x="994" y="395"/>
                    </a:cubicBezTo>
                    <a:cubicBezTo>
                      <a:pt x="998" y="397"/>
                      <a:pt x="998" y="400"/>
                      <a:pt x="1002" y="401"/>
                    </a:cubicBezTo>
                    <a:cubicBezTo>
                      <a:pt x="1006" y="402"/>
                      <a:pt x="1011" y="398"/>
                      <a:pt x="1015" y="398"/>
                    </a:cubicBezTo>
                    <a:cubicBezTo>
                      <a:pt x="1017" y="398"/>
                      <a:pt x="1019" y="398"/>
                      <a:pt x="1021" y="398"/>
                    </a:cubicBezTo>
                    <a:cubicBezTo>
                      <a:pt x="1024" y="398"/>
                      <a:pt x="1022" y="398"/>
                      <a:pt x="1024" y="395"/>
                    </a:cubicBezTo>
                    <a:cubicBezTo>
                      <a:pt x="1024" y="395"/>
                      <a:pt x="1024" y="394"/>
                      <a:pt x="1024" y="393"/>
                    </a:cubicBezTo>
                    <a:cubicBezTo>
                      <a:pt x="1024" y="392"/>
                      <a:pt x="1026" y="393"/>
                      <a:pt x="1027" y="392"/>
                    </a:cubicBezTo>
                    <a:cubicBezTo>
                      <a:pt x="1028" y="390"/>
                      <a:pt x="1028" y="387"/>
                      <a:pt x="1030" y="384"/>
                    </a:cubicBezTo>
                    <a:cubicBezTo>
                      <a:pt x="1031" y="383"/>
                      <a:pt x="1033" y="381"/>
                      <a:pt x="1034" y="380"/>
                    </a:cubicBezTo>
                    <a:cubicBezTo>
                      <a:pt x="1035" y="378"/>
                      <a:pt x="1035" y="376"/>
                      <a:pt x="1036" y="374"/>
                    </a:cubicBezTo>
                    <a:cubicBezTo>
                      <a:pt x="1042" y="374"/>
                      <a:pt x="1047" y="378"/>
                      <a:pt x="1052" y="381"/>
                    </a:cubicBezTo>
                    <a:cubicBezTo>
                      <a:pt x="1056" y="384"/>
                      <a:pt x="1061" y="386"/>
                      <a:pt x="1065" y="389"/>
                    </a:cubicBezTo>
                    <a:cubicBezTo>
                      <a:pt x="1065" y="390"/>
                      <a:pt x="1066" y="390"/>
                      <a:pt x="1066" y="391"/>
                    </a:cubicBezTo>
                    <a:cubicBezTo>
                      <a:pt x="1067" y="391"/>
                      <a:pt x="1068" y="391"/>
                      <a:pt x="1069" y="392"/>
                    </a:cubicBezTo>
                    <a:cubicBezTo>
                      <a:pt x="1070" y="393"/>
                      <a:pt x="1072" y="393"/>
                      <a:pt x="1074" y="394"/>
                    </a:cubicBezTo>
                    <a:cubicBezTo>
                      <a:pt x="1077" y="395"/>
                      <a:pt x="1081" y="397"/>
                      <a:pt x="1084" y="398"/>
                    </a:cubicBezTo>
                    <a:cubicBezTo>
                      <a:pt x="1086" y="399"/>
                      <a:pt x="1086" y="401"/>
                      <a:pt x="1087" y="402"/>
                    </a:cubicBezTo>
                    <a:cubicBezTo>
                      <a:pt x="1089" y="404"/>
                      <a:pt x="1088" y="410"/>
                      <a:pt x="1091" y="410"/>
                    </a:cubicBezTo>
                    <a:cubicBezTo>
                      <a:pt x="1093" y="409"/>
                      <a:pt x="1093" y="407"/>
                      <a:pt x="1095" y="406"/>
                    </a:cubicBezTo>
                    <a:cubicBezTo>
                      <a:pt x="1097" y="404"/>
                      <a:pt x="1099" y="406"/>
                      <a:pt x="1101" y="405"/>
                    </a:cubicBezTo>
                    <a:cubicBezTo>
                      <a:pt x="1107" y="402"/>
                      <a:pt x="1099" y="392"/>
                      <a:pt x="1100" y="388"/>
                    </a:cubicBezTo>
                    <a:cubicBezTo>
                      <a:pt x="1101" y="385"/>
                      <a:pt x="1104" y="381"/>
                      <a:pt x="1106" y="379"/>
                    </a:cubicBezTo>
                    <a:cubicBezTo>
                      <a:pt x="1102" y="379"/>
                      <a:pt x="1095" y="376"/>
                      <a:pt x="1093" y="373"/>
                    </a:cubicBezTo>
                    <a:cubicBezTo>
                      <a:pt x="1096" y="374"/>
                      <a:pt x="1101" y="373"/>
                      <a:pt x="1104" y="376"/>
                    </a:cubicBezTo>
                    <a:cubicBezTo>
                      <a:pt x="1106" y="377"/>
                      <a:pt x="1106" y="379"/>
                      <a:pt x="1107" y="379"/>
                    </a:cubicBezTo>
                    <a:cubicBezTo>
                      <a:pt x="1107" y="380"/>
                      <a:pt x="1107" y="381"/>
                      <a:pt x="1108" y="381"/>
                    </a:cubicBezTo>
                    <a:cubicBezTo>
                      <a:pt x="1108" y="379"/>
                      <a:pt x="1109" y="380"/>
                      <a:pt x="1110" y="379"/>
                    </a:cubicBezTo>
                    <a:cubicBezTo>
                      <a:pt x="1111" y="378"/>
                      <a:pt x="1112" y="377"/>
                      <a:pt x="1112" y="376"/>
                    </a:cubicBezTo>
                    <a:cubicBezTo>
                      <a:pt x="1112" y="376"/>
                      <a:pt x="1115" y="374"/>
                      <a:pt x="1115" y="374"/>
                    </a:cubicBezTo>
                    <a:cubicBezTo>
                      <a:pt x="1117" y="372"/>
                      <a:pt x="1117" y="370"/>
                      <a:pt x="1118" y="367"/>
                    </a:cubicBezTo>
                    <a:cubicBezTo>
                      <a:pt x="1120" y="363"/>
                      <a:pt x="1120" y="363"/>
                      <a:pt x="1123" y="364"/>
                    </a:cubicBezTo>
                    <a:cubicBezTo>
                      <a:pt x="1126" y="364"/>
                      <a:pt x="1127" y="365"/>
                      <a:pt x="1130" y="365"/>
                    </a:cubicBezTo>
                    <a:cubicBezTo>
                      <a:pt x="1131" y="363"/>
                      <a:pt x="1130" y="362"/>
                      <a:pt x="1130" y="361"/>
                    </a:cubicBezTo>
                    <a:cubicBezTo>
                      <a:pt x="1131" y="358"/>
                      <a:pt x="1132" y="356"/>
                      <a:pt x="1133" y="355"/>
                    </a:cubicBezTo>
                    <a:cubicBezTo>
                      <a:pt x="1134" y="353"/>
                      <a:pt x="1135" y="350"/>
                      <a:pt x="1136" y="348"/>
                    </a:cubicBezTo>
                    <a:cubicBezTo>
                      <a:pt x="1137" y="347"/>
                      <a:pt x="1138" y="347"/>
                      <a:pt x="1139" y="345"/>
                    </a:cubicBezTo>
                    <a:cubicBezTo>
                      <a:pt x="1140" y="343"/>
                      <a:pt x="1140" y="342"/>
                      <a:pt x="1140" y="338"/>
                    </a:cubicBezTo>
                    <a:cubicBezTo>
                      <a:pt x="1140" y="330"/>
                      <a:pt x="1140" y="321"/>
                      <a:pt x="1140" y="313"/>
                    </a:cubicBezTo>
                    <a:cubicBezTo>
                      <a:pt x="1140" y="306"/>
                      <a:pt x="1140" y="299"/>
                      <a:pt x="1140" y="293"/>
                    </a:cubicBezTo>
                    <a:cubicBezTo>
                      <a:pt x="1140" y="288"/>
                      <a:pt x="1141" y="285"/>
                      <a:pt x="1142" y="280"/>
                    </a:cubicBezTo>
                    <a:cubicBezTo>
                      <a:pt x="1144" y="275"/>
                      <a:pt x="1143" y="269"/>
                      <a:pt x="1144" y="264"/>
                    </a:cubicBezTo>
                    <a:cubicBezTo>
                      <a:pt x="1144" y="261"/>
                      <a:pt x="1145" y="258"/>
                      <a:pt x="1145" y="256"/>
                    </a:cubicBezTo>
                    <a:cubicBezTo>
                      <a:pt x="1145" y="255"/>
                      <a:pt x="1144" y="253"/>
                      <a:pt x="1145" y="252"/>
                    </a:cubicBezTo>
                    <a:cubicBezTo>
                      <a:pt x="1145" y="251"/>
                      <a:pt x="1145" y="251"/>
                      <a:pt x="1146" y="250"/>
                    </a:cubicBezTo>
                    <a:cubicBezTo>
                      <a:pt x="1146" y="249"/>
                      <a:pt x="1146" y="248"/>
                      <a:pt x="1147" y="247"/>
                    </a:cubicBezTo>
                    <a:cubicBezTo>
                      <a:pt x="1149" y="243"/>
                      <a:pt x="1155" y="245"/>
                      <a:pt x="1158" y="242"/>
                    </a:cubicBezTo>
                    <a:cubicBezTo>
                      <a:pt x="1161" y="239"/>
                      <a:pt x="1158" y="234"/>
                      <a:pt x="1159" y="230"/>
                    </a:cubicBezTo>
                    <a:cubicBezTo>
                      <a:pt x="1159" y="228"/>
                      <a:pt x="1160" y="227"/>
                      <a:pt x="1161" y="226"/>
                    </a:cubicBezTo>
                    <a:cubicBezTo>
                      <a:pt x="1163" y="224"/>
                      <a:pt x="1163" y="221"/>
                      <a:pt x="1164" y="219"/>
                    </a:cubicBezTo>
                    <a:cubicBezTo>
                      <a:pt x="1167" y="214"/>
                      <a:pt x="1173" y="208"/>
                      <a:pt x="1178" y="205"/>
                    </a:cubicBezTo>
                    <a:cubicBezTo>
                      <a:pt x="1182" y="203"/>
                      <a:pt x="1187" y="204"/>
                      <a:pt x="1191" y="204"/>
                    </a:cubicBezTo>
                    <a:cubicBezTo>
                      <a:pt x="1195" y="204"/>
                      <a:pt x="1200" y="203"/>
                      <a:pt x="1204" y="204"/>
                    </a:cubicBezTo>
                    <a:cubicBezTo>
                      <a:pt x="1204" y="204"/>
                      <a:pt x="1204" y="206"/>
                      <a:pt x="1204" y="206"/>
                    </a:cubicBezTo>
                    <a:cubicBezTo>
                      <a:pt x="1207" y="207"/>
                      <a:pt x="1211" y="205"/>
                      <a:pt x="1214" y="205"/>
                    </a:cubicBezTo>
                    <a:cubicBezTo>
                      <a:pt x="1217" y="204"/>
                      <a:pt x="1220" y="204"/>
                      <a:pt x="1223" y="203"/>
                    </a:cubicBezTo>
                    <a:cubicBezTo>
                      <a:pt x="1224" y="199"/>
                      <a:pt x="1223" y="195"/>
                      <a:pt x="1226" y="192"/>
                    </a:cubicBezTo>
                    <a:cubicBezTo>
                      <a:pt x="1227" y="190"/>
                      <a:pt x="1229" y="189"/>
                      <a:pt x="1231" y="187"/>
                    </a:cubicBezTo>
                    <a:cubicBezTo>
                      <a:pt x="1233" y="185"/>
                      <a:pt x="1234" y="182"/>
                      <a:pt x="1237" y="180"/>
                    </a:cubicBezTo>
                    <a:cubicBezTo>
                      <a:pt x="1237" y="180"/>
                      <a:pt x="1238" y="179"/>
                      <a:pt x="1239" y="179"/>
                    </a:cubicBezTo>
                    <a:cubicBezTo>
                      <a:pt x="1240" y="179"/>
                      <a:pt x="1241" y="179"/>
                      <a:pt x="1242" y="178"/>
                    </a:cubicBezTo>
                    <a:cubicBezTo>
                      <a:pt x="1244" y="179"/>
                      <a:pt x="1244" y="180"/>
                      <a:pt x="1245" y="181"/>
                    </a:cubicBezTo>
                    <a:cubicBezTo>
                      <a:pt x="1249" y="183"/>
                      <a:pt x="1253" y="181"/>
                      <a:pt x="1256" y="181"/>
                    </a:cubicBezTo>
                    <a:cubicBezTo>
                      <a:pt x="1260" y="182"/>
                      <a:pt x="1257" y="180"/>
                      <a:pt x="1259" y="183"/>
                    </a:cubicBezTo>
                    <a:cubicBezTo>
                      <a:pt x="1260" y="183"/>
                      <a:pt x="1261" y="186"/>
                      <a:pt x="1261" y="187"/>
                    </a:cubicBezTo>
                    <a:cubicBezTo>
                      <a:pt x="1261" y="188"/>
                      <a:pt x="1260" y="191"/>
                      <a:pt x="1261" y="192"/>
                    </a:cubicBezTo>
                    <a:cubicBezTo>
                      <a:pt x="1262" y="195"/>
                      <a:pt x="1264" y="194"/>
                      <a:pt x="1266" y="195"/>
                    </a:cubicBezTo>
                    <a:cubicBezTo>
                      <a:pt x="1267" y="196"/>
                      <a:pt x="1269" y="199"/>
                      <a:pt x="1269" y="199"/>
                    </a:cubicBezTo>
                    <a:cubicBezTo>
                      <a:pt x="1271" y="202"/>
                      <a:pt x="1274" y="204"/>
                      <a:pt x="1275" y="207"/>
                    </a:cubicBezTo>
                    <a:cubicBezTo>
                      <a:pt x="1277" y="210"/>
                      <a:pt x="1278" y="212"/>
                      <a:pt x="1280" y="214"/>
                    </a:cubicBezTo>
                    <a:cubicBezTo>
                      <a:pt x="1280" y="215"/>
                      <a:pt x="1281" y="217"/>
                      <a:pt x="1282" y="218"/>
                    </a:cubicBezTo>
                    <a:cubicBezTo>
                      <a:pt x="1283" y="220"/>
                      <a:pt x="1284" y="221"/>
                      <a:pt x="1286" y="223"/>
                    </a:cubicBezTo>
                    <a:cubicBezTo>
                      <a:pt x="1293" y="226"/>
                      <a:pt x="1299" y="229"/>
                      <a:pt x="1304" y="234"/>
                    </a:cubicBezTo>
                    <a:cubicBezTo>
                      <a:pt x="1308" y="237"/>
                      <a:pt x="1310" y="241"/>
                      <a:pt x="1314" y="243"/>
                    </a:cubicBezTo>
                    <a:cubicBezTo>
                      <a:pt x="1316" y="244"/>
                      <a:pt x="1317" y="245"/>
                      <a:pt x="1318" y="247"/>
                    </a:cubicBezTo>
                    <a:cubicBezTo>
                      <a:pt x="1318" y="248"/>
                      <a:pt x="1318" y="250"/>
                      <a:pt x="1319" y="251"/>
                    </a:cubicBezTo>
                    <a:cubicBezTo>
                      <a:pt x="1320" y="255"/>
                      <a:pt x="1321" y="258"/>
                      <a:pt x="1323" y="262"/>
                    </a:cubicBezTo>
                    <a:cubicBezTo>
                      <a:pt x="1324" y="265"/>
                      <a:pt x="1326" y="269"/>
                      <a:pt x="1326" y="272"/>
                    </a:cubicBezTo>
                    <a:cubicBezTo>
                      <a:pt x="1326" y="274"/>
                      <a:pt x="1325" y="276"/>
                      <a:pt x="1324" y="278"/>
                    </a:cubicBezTo>
                    <a:cubicBezTo>
                      <a:pt x="1322" y="280"/>
                      <a:pt x="1321" y="282"/>
                      <a:pt x="1319" y="285"/>
                    </a:cubicBezTo>
                    <a:cubicBezTo>
                      <a:pt x="1315" y="290"/>
                      <a:pt x="1312" y="296"/>
                      <a:pt x="1308" y="303"/>
                    </a:cubicBezTo>
                    <a:cubicBezTo>
                      <a:pt x="1307" y="305"/>
                      <a:pt x="1306" y="308"/>
                      <a:pt x="1304" y="311"/>
                    </a:cubicBezTo>
                    <a:cubicBezTo>
                      <a:pt x="1303" y="312"/>
                      <a:pt x="1302" y="313"/>
                      <a:pt x="1302" y="314"/>
                    </a:cubicBezTo>
                    <a:cubicBezTo>
                      <a:pt x="1300" y="318"/>
                      <a:pt x="1299" y="321"/>
                      <a:pt x="1301" y="325"/>
                    </a:cubicBezTo>
                    <a:cubicBezTo>
                      <a:pt x="1302" y="326"/>
                      <a:pt x="1302" y="328"/>
                      <a:pt x="1303" y="330"/>
                    </a:cubicBezTo>
                    <a:cubicBezTo>
                      <a:pt x="1304" y="332"/>
                      <a:pt x="1305" y="334"/>
                      <a:pt x="1306" y="336"/>
                    </a:cubicBezTo>
                    <a:cubicBezTo>
                      <a:pt x="1307" y="337"/>
                      <a:pt x="1308" y="339"/>
                      <a:pt x="1310" y="340"/>
                    </a:cubicBezTo>
                    <a:cubicBezTo>
                      <a:pt x="1311" y="342"/>
                      <a:pt x="1314" y="341"/>
                      <a:pt x="1316" y="340"/>
                    </a:cubicBezTo>
                    <a:cubicBezTo>
                      <a:pt x="1319" y="339"/>
                      <a:pt x="1320" y="339"/>
                      <a:pt x="1322" y="337"/>
                    </a:cubicBezTo>
                    <a:cubicBezTo>
                      <a:pt x="1323" y="336"/>
                      <a:pt x="1325" y="336"/>
                      <a:pt x="1325" y="335"/>
                    </a:cubicBezTo>
                    <a:cubicBezTo>
                      <a:pt x="1326" y="333"/>
                      <a:pt x="1326" y="331"/>
                      <a:pt x="1327" y="330"/>
                    </a:cubicBezTo>
                    <a:cubicBezTo>
                      <a:pt x="1327" y="327"/>
                      <a:pt x="1327" y="325"/>
                      <a:pt x="1327" y="323"/>
                    </a:cubicBezTo>
                    <a:cubicBezTo>
                      <a:pt x="1328" y="320"/>
                      <a:pt x="1328" y="317"/>
                      <a:pt x="1329" y="315"/>
                    </a:cubicBezTo>
                    <a:cubicBezTo>
                      <a:pt x="1329" y="312"/>
                      <a:pt x="1330" y="309"/>
                      <a:pt x="1331" y="306"/>
                    </a:cubicBezTo>
                    <a:cubicBezTo>
                      <a:pt x="1331" y="305"/>
                      <a:pt x="1330" y="303"/>
                      <a:pt x="1330" y="302"/>
                    </a:cubicBezTo>
                    <a:cubicBezTo>
                      <a:pt x="1331" y="301"/>
                      <a:pt x="1332" y="300"/>
                      <a:pt x="1333" y="299"/>
                    </a:cubicBezTo>
                    <a:cubicBezTo>
                      <a:pt x="1335" y="298"/>
                      <a:pt x="1336" y="298"/>
                      <a:pt x="1338" y="298"/>
                    </a:cubicBezTo>
                    <a:cubicBezTo>
                      <a:pt x="1341" y="298"/>
                      <a:pt x="1344" y="295"/>
                      <a:pt x="1347" y="293"/>
                    </a:cubicBezTo>
                    <a:cubicBezTo>
                      <a:pt x="1348" y="292"/>
                      <a:pt x="1350" y="290"/>
                      <a:pt x="1351" y="289"/>
                    </a:cubicBezTo>
                    <a:cubicBezTo>
                      <a:pt x="1352" y="288"/>
                      <a:pt x="1353" y="288"/>
                      <a:pt x="1354" y="288"/>
                    </a:cubicBezTo>
                    <a:cubicBezTo>
                      <a:pt x="1354" y="287"/>
                      <a:pt x="1355" y="286"/>
                      <a:pt x="1356" y="286"/>
                    </a:cubicBezTo>
                    <a:cubicBezTo>
                      <a:pt x="1357" y="285"/>
                      <a:pt x="1358" y="285"/>
                      <a:pt x="1359" y="283"/>
                    </a:cubicBezTo>
                    <a:cubicBezTo>
                      <a:pt x="1360" y="282"/>
                      <a:pt x="1360" y="282"/>
                      <a:pt x="1362" y="282"/>
                    </a:cubicBezTo>
                    <a:cubicBezTo>
                      <a:pt x="1362" y="282"/>
                      <a:pt x="1363" y="282"/>
                      <a:pt x="1363" y="282"/>
                    </a:cubicBezTo>
                    <a:cubicBezTo>
                      <a:pt x="1364" y="282"/>
                      <a:pt x="1365" y="283"/>
                      <a:pt x="1365" y="283"/>
                    </a:cubicBezTo>
                    <a:cubicBezTo>
                      <a:pt x="1366" y="283"/>
                      <a:pt x="1366" y="281"/>
                      <a:pt x="1366" y="280"/>
                    </a:cubicBezTo>
                    <a:cubicBezTo>
                      <a:pt x="1367" y="278"/>
                      <a:pt x="1368" y="276"/>
                      <a:pt x="1370" y="274"/>
                    </a:cubicBezTo>
                    <a:cubicBezTo>
                      <a:pt x="1371" y="272"/>
                      <a:pt x="1372" y="269"/>
                      <a:pt x="1373" y="267"/>
                    </a:cubicBezTo>
                    <a:cubicBezTo>
                      <a:pt x="1374" y="265"/>
                      <a:pt x="1375" y="264"/>
                      <a:pt x="1375" y="261"/>
                    </a:cubicBezTo>
                    <a:cubicBezTo>
                      <a:pt x="1375" y="258"/>
                      <a:pt x="1375" y="255"/>
                      <a:pt x="1375" y="252"/>
                    </a:cubicBezTo>
                    <a:cubicBezTo>
                      <a:pt x="1375" y="251"/>
                      <a:pt x="1375" y="250"/>
                      <a:pt x="1374" y="249"/>
                    </a:cubicBezTo>
                    <a:cubicBezTo>
                      <a:pt x="1373" y="248"/>
                      <a:pt x="1370" y="247"/>
                      <a:pt x="1371" y="246"/>
                    </a:cubicBezTo>
                    <a:cubicBezTo>
                      <a:pt x="1372" y="245"/>
                      <a:pt x="1373" y="246"/>
                      <a:pt x="1374" y="246"/>
                    </a:cubicBezTo>
                    <a:cubicBezTo>
                      <a:pt x="1376" y="247"/>
                      <a:pt x="1378" y="248"/>
                      <a:pt x="1380" y="249"/>
                    </a:cubicBezTo>
                    <a:cubicBezTo>
                      <a:pt x="1382" y="250"/>
                      <a:pt x="1384" y="253"/>
                      <a:pt x="1385" y="256"/>
                    </a:cubicBezTo>
                    <a:cubicBezTo>
                      <a:pt x="1386" y="258"/>
                      <a:pt x="1388" y="258"/>
                      <a:pt x="1389" y="259"/>
                    </a:cubicBezTo>
                    <a:cubicBezTo>
                      <a:pt x="1392" y="260"/>
                      <a:pt x="1395" y="261"/>
                      <a:pt x="1397" y="263"/>
                    </a:cubicBezTo>
                    <a:cubicBezTo>
                      <a:pt x="1400" y="264"/>
                      <a:pt x="1402" y="266"/>
                      <a:pt x="1405" y="266"/>
                    </a:cubicBezTo>
                    <a:cubicBezTo>
                      <a:pt x="1408" y="267"/>
                      <a:pt x="1413" y="265"/>
                      <a:pt x="1415" y="264"/>
                    </a:cubicBezTo>
                    <a:cubicBezTo>
                      <a:pt x="1416" y="262"/>
                      <a:pt x="1417" y="260"/>
                      <a:pt x="1418" y="259"/>
                    </a:cubicBezTo>
                    <a:cubicBezTo>
                      <a:pt x="1420" y="255"/>
                      <a:pt x="1419" y="250"/>
                      <a:pt x="1418" y="246"/>
                    </a:cubicBezTo>
                    <a:cubicBezTo>
                      <a:pt x="1417" y="244"/>
                      <a:pt x="1417" y="242"/>
                      <a:pt x="1416" y="240"/>
                    </a:cubicBezTo>
                    <a:cubicBezTo>
                      <a:pt x="1416" y="238"/>
                      <a:pt x="1415" y="237"/>
                      <a:pt x="1415" y="235"/>
                    </a:cubicBezTo>
                    <a:cubicBezTo>
                      <a:pt x="1415" y="233"/>
                      <a:pt x="1414" y="232"/>
                      <a:pt x="1414" y="230"/>
                    </a:cubicBezTo>
                    <a:cubicBezTo>
                      <a:pt x="1413" y="229"/>
                      <a:pt x="1413" y="227"/>
                      <a:pt x="1412" y="226"/>
                    </a:cubicBezTo>
                    <a:cubicBezTo>
                      <a:pt x="1410" y="224"/>
                      <a:pt x="1407" y="227"/>
                      <a:pt x="1405" y="227"/>
                    </a:cubicBezTo>
                    <a:cubicBezTo>
                      <a:pt x="1403" y="227"/>
                      <a:pt x="1401" y="226"/>
                      <a:pt x="1400" y="226"/>
                    </a:cubicBezTo>
                    <a:cubicBezTo>
                      <a:pt x="1398" y="225"/>
                      <a:pt x="1397" y="224"/>
                      <a:pt x="1396" y="223"/>
                    </a:cubicBezTo>
                    <a:cubicBezTo>
                      <a:pt x="1396" y="223"/>
                      <a:pt x="1396" y="222"/>
                      <a:pt x="1396" y="222"/>
                    </a:cubicBezTo>
                    <a:cubicBezTo>
                      <a:pt x="1394" y="221"/>
                      <a:pt x="1392" y="223"/>
                      <a:pt x="1390" y="223"/>
                    </a:cubicBezTo>
                    <a:cubicBezTo>
                      <a:pt x="1386" y="222"/>
                      <a:pt x="1390" y="218"/>
                      <a:pt x="1390" y="215"/>
                    </a:cubicBezTo>
                    <a:cubicBezTo>
                      <a:pt x="1390" y="214"/>
                      <a:pt x="1384" y="212"/>
                      <a:pt x="1383" y="212"/>
                    </a:cubicBezTo>
                    <a:cubicBezTo>
                      <a:pt x="1381" y="211"/>
                      <a:pt x="1376" y="210"/>
                      <a:pt x="1374" y="213"/>
                    </a:cubicBezTo>
                    <a:cubicBezTo>
                      <a:pt x="1372" y="217"/>
                      <a:pt x="1377" y="220"/>
                      <a:pt x="1376" y="224"/>
                    </a:cubicBezTo>
                    <a:cubicBezTo>
                      <a:pt x="1375" y="224"/>
                      <a:pt x="1373" y="224"/>
                      <a:pt x="1372" y="224"/>
                    </a:cubicBezTo>
                    <a:cubicBezTo>
                      <a:pt x="1372" y="226"/>
                      <a:pt x="1373" y="228"/>
                      <a:pt x="1373" y="229"/>
                    </a:cubicBezTo>
                    <a:cubicBezTo>
                      <a:pt x="1374" y="230"/>
                      <a:pt x="1374" y="234"/>
                      <a:pt x="1373" y="235"/>
                    </a:cubicBezTo>
                    <a:cubicBezTo>
                      <a:pt x="1372" y="234"/>
                      <a:pt x="1373" y="233"/>
                      <a:pt x="1372" y="232"/>
                    </a:cubicBezTo>
                    <a:cubicBezTo>
                      <a:pt x="1371" y="231"/>
                      <a:pt x="1371" y="231"/>
                      <a:pt x="1370" y="230"/>
                    </a:cubicBezTo>
                    <a:cubicBezTo>
                      <a:pt x="1369" y="230"/>
                      <a:pt x="1367" y="229"/>
                      <a:pt x="1367" y="228"/>
                    </a:cubicBezTo>
                    <a:cubicBezTo>
                      <a:pt x="1367" y="226"/>
                      <a:pt x="1369" y="226"/>
                      <a:pt x="1370" y="225"/>
                    </a:cubicBezTo>
                    <a:cubicBezTo>
                      <a:pt x="1371" y="224"/>
                      <a:pt x="1372" y="223"/>
                      <a:pt x="1371" y="222"/>
                    </a:cubicBezTo>
                    <a:cubicBezTo>
                      <a:pt x="1371" y="221"/>
                      <a:pt x="1370" y="221"/>
                      <a:pt x="1370" y="220"/>
                    </a:cubicBezTo>
                    <a:cubicBezTo>
                      <a:pt x="1368" y="218"/>
                      <a:pt x="1369" y="218"/>
                      <a:pt x="1371" y="218"/>
                    </a:cubicBezTo>
                    <a:cubicBezTo>
                      <a:pt x="1372" y="218"/>
                      <a:pt x="1373" y="216"/>
                      <a:pt x="1373" y="215"/>
                    </a:cubicBezTo>
                    <a:cubicBezTo>
                      <a:pt x="1373" y="214"/>
                      <a:pt x="1371" y="213"/>
                      <a:pt x="1370" y="213"/>
                    </a:cubicBezTo>
                    <a:cubicBezTo>
                      <a:pt x="1369" y="211"/>
                      <a:pt x="1368" y="210"/>
                      <a:pt x="1367" y="209"/>
                    </a:cubicBezTo>
                    <a:cubicBezTo>
                      <a:pt x="1365" y="207"/>
                      <a:pt x="1362" y="207"/>
                      <a:pt x="1359" y="208"/>
                    </a:cubicBezTo>
                    <a:cubicBezTo>
                      <a:pt x="1357" y="208"/>
                      <a:pt x="1355" y="208"/>
                      <a:pt x="1353" y="208"/>
                    </a:cubicBezTo>
                    <a:cubicBezTo>
                      <a:pt x="1352" y="207"/>
                      <a:pt x="1350" y="207"/>
                      <a:pt x="1349" y="207"/>
                    </a:cubicBezTo>
                    <a:cubicBezTo>
                      <a:pt x="1348" y="207"/>
                      <a:pt x="1348" y="206"/>
                      <a:pt x="1347" y="206"/>
                    </a:cubicBezTo>
                    <a:cubicBezTo>
                      <a:pt x="1346" y="206"/>
                      <a:pt x="1345" y="206"/>
                      <a:pt x="1344" y="206"/>
                    </a:cubicBezTo>
                    <a:cubicBezTo>
                      <a:pt x="1342" y="206"/>
                      <a:pt x="1342" y="205"/>
                      <a:pt x="1341" y="204"/>
                    </a:cubicBezTo>
                    <a:cubicBezTo>
                      <a:pt x="1341" y="204"/>
                      <a:pt x="1340" y="204"/>
                      <a:pt x="1340" y="204"/>
                    </a:cubicBezTo>
                    <a:cubicBezTo>
                      <a:pt x="1339" y="203"/>
                      <a:pt x="1339" y="203"/>
                      <a:pt x="1339" y="202"/>
                    </a:cubicBezTo>
                    <a:cubicBezTo>
                      <a:pt x="1338" y="202"/>
                      <a:pt x="1338" y="202"/>
                      <a:pt x="1338" y="202"/>
                    </a:cubicBezTo>
                    <a:cubicBezTo>
                      <a:pt x="1339" y="202"/>
                      <a:pt x="1339" y="202"/>
                      <a:pt x="1339" y="200"/>
                    </a:cubicBezTo>
                    <a:cubicBezTo>
                      <a:pt x="1340" y="195"/>
                      <a:pt x="1338" y="195"/>
                      <a:pt x="1335" y="193"/>
                    </a:cubicBezTo>
                    <a:cubicBezTo>
                      <a:pt x="1325" y="188"/>
                      <a:pt x="1314" y="183"/>
                      <a:pt x="1303" y="180"/>
                    </a:cubicBezTo>
                    <a:cubicBezTo>
                      <a:pt x="1298" y="179"/>
                      <a:pt x="1295" y="177"/>
                      <a:pt x="1295" y="174"/>
                    </a:cubicBezTo>
                    <a:cubicBezTo>
                      <a:pt x="1307" y="173"/>
                      <a:pt x="1320" y="172"/>
                      <a:pt x="1332" y="174"/>
                    </a:cubicBezTo>
                    <a:cubicBezTo>
                      <a:pt x="1338" y="174"/>
                      <a:pt x="1346" y="173"/>
                      <a:pt x="1352" y="175"/>
                    </a:cubicBezTo>
                    <a:cubicBezTo>
                      <a:pt x="1355" y="176"/>
                      <a:pt x="1356" y="178"/>
                      <a:pt x="1359" y="178"/>
                    </a:cubicBezTo>
                    <a:cubicBezTo>
                      <a:pt x="1361" y="178"/>
                      <a:pt x="1363" y="178"/>
                      <a:pt x="1365" y="178"/>
                    </a:cubicBezTo>
                    <a:cubicBezTo>
                      <a:pt x="1369" y="178"/>
                      <a:pt x="1377" y="179"/>
                      <a:pt x="1381" y="178"/>
                    </a:cubicBezTo>
                    <a:cubicBezTo>
                      <a:pt x="1382" y="177"/>
                      <a:pt x="1386" y="174"/>
                      <a:pt x="1387" y="172"/>
                    </a:cubicBezTo>
                    <a:cubicBezTo>
                      <a:pt x="1390" y="169"/>
                      <a:pt x="1389" y="164"/>
                      <a:pt x="1392" y="162"/>
                    </a:cubicBezTo>
                    <a:cubicBezTo>
                      <a:pt x="1393" y="161"/>
                      <a:pt x="1397" y="161"/>
                      <a:pt x="1399" y="160"/>
                    </a:cubicBezTo>
                    <a:cubicBezTo>
                      <a:pt x="1401" y="159"/>
                      <a:pt x="1404" y="157"/>
                      <a:pt x="1406" y="156"/>
                    </a:cubicBezTo>
                    <a:cubicBezTo>
                      <a:pt x="1407" y="155"/>
                      <a:pt x="1406" y="154"/>
                      <a:pt x="1407" y="154"/>
                    </a:cubicBezTo>
                    <a:cubicBezTo>
                      <a:pt x="1408" y="154"/>
                      <a:pt x="1409" y="154"/>
                      <a:pt x="1410" y="154"/>
                    </a:cubicBezTo>
                    <a:cubicBezTo>
                      <a:pt x="1412" y="153"/>
                      <a:pt x="1411" y="151"/>
                      <a:pt x="1413" y="149"/>
                    </a:cubicBezTo>
                    <a:cubicBezTo>
                      <a:pt x="1416" y="146"/>
                      <a:pt x="1420" y="149"/>
                      <a:pt x="1423" y="146"/>
                    </a:cubicBezTo>
                    <a:cubicBezTo>
                      <a:pt x="1429" y="142"/>
                      <a:pt x="1419" y="130"/>
                      <a:pt x="1418" y="124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190" name="Freeform 139">
                <a:extLst>
                  <a:ext uri="{FF2B5EF4-FFF2-40B4-BE49-F238E27FC236}">
                    <a16:creationId xmlns:a16="http://schemas.microsoft.com/office/drawing/2014/main" id="{DB5B052D-0486-46C7-8006-04116E5872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0138" y="6602413"/>
                <a:ext cx="34925" cy="20638"/>
              </a:xfrm>
              <a:custGeom>
                <a:avLst/>
                <a:gdLst/>
                <a:ahLst/>
                <a:cxnLst>
                  <a:cxn ang="0">
                    <a:pos x="16" y="2"/>
                  </a:cxn>
                  <a:cxn ang="0">
                    <a:pos x="3" y="3"/>
                  </a:cxn>
                  <a:cxn ang="0">
                    <a:pos x="1" y="7"/>
                  </a:cxn>
                  <a:cxn ang="0">
                    <a:pos x="5" y="10"/>
                  </a:cxn>
                  <a:cxn ang="0">
                    <a:pos x="14" y="11"/>
                  </a:cxn>
                  <a:cxn ang="0">
                    <a:pos x="17" y="7"/>
                  </a:cxn>
                  <a:cxn ang="0">
                    <a:pos x="19" y="3"/>
                  </a:cxn>
                  <a:cxn ang="0">
                    <a:pos x="16" y="2"/>
                  </a:cxn>
                </a:cxnLst>
                <a:rect l="0" t="0" r="r" b="b"/>
                <a:pathLst>
                  <a:path w="19" h="11">
                    <a:moveTo>
                      <a:pt x="16" y="2"/>
                    </a:moveTo>
                    <a:cubicBezTo>
                      <a:pt x="12" y="0"/>
                      <a:pt x="6" y="0"/>
                      <a:pt x="3" y="3"/>
                    </a:cubicBezTo>
                    <a:cubicBezTo>
                      <a:pt x="2" y="4"/>
                      <a:pt x="0" y="5"/>
                      <a:pt x="1" y="7"/>
                    </a:cubicBezTo>
                    <a:cubicBezTo>
                      <a:pt x="1" y="9"/>
                      <a:pt x="3" y="9"/>
                      <a:pt x="5" y="10"/>
                    </a:cubicBezTo>
                    <a:cubicBezTo>
                      <a:pt x="7" y="11"/>
                      <a:pt x="11" y="11"/>
                      <a:pt x="14" y="11"/>
                    </a:cubicBezTo>
                    <a:cubicBezTo>
                      <a:pt x="15" y="10"/>
                      <a:pt x="15" y="9"/>
                      <a:pt x="17" y="7"/>
                    </a:cubicBezTo>
                    <a:cubicBezTo>
                      <a:pt x="19" y="6"/>
                      <a:pt x="19" y="6"/>
                      <a:pt x="19" y="3"/>
                    </a:cubicBezTo>
                    <a:lnTo>
                      <a:pt x="16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</p:grp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6064164-402A-4EEF-833C-5C8E0533AC1C}"/>
              </a:ext>
            </a:extLst>
          </p:cNvPr>
          <p:cNvGrpSpPr/>
          <p:nvPr/>
        </p:nvGrpSpPr>
        <p:grpSpPr>
          <a:xfrm>
            <a:off x="7799229" y="3374439"/>
            <a:ext cx="1004240" cy="1010596"/>
            <a:chOff x="10758022" y="1894530"/>
            <a:chExt cx="1004240" cy="1010596"/>
          </a:xfrm>
        </p:grpSpPr>
        <p:sp>
          <p:nvSpPr>
            <p:cNvPr id="37" name="Oval 7">
              <a:extLst>
                <a:ext uri="{FF2B5EF4-FFF2-40B4-BE49-F238E27FC236}">
                  <a16:creationId xmlns:a16="http://schemas.microsoft.com/office/drawing/2014/main" id="{38D3F603-CCC2-4ACE-83C6-3B34B73699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58022" y="1894530"/>
              <a:ext cx="1004240" cy="1010596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grpSp>
          <p:nvGrpSpPr>
            <p:cNvPr id="191" name="Gruppieren 190">
              <a:extLst>
                <a:ext uri="{FF2B5EF4-FFF2-40B4-BE49-F238E27FC236}">
                  <a16:creationId xmlns:a16="http://schemas.microsoft.com/office/drawing/2014/main" id="{3D383682-0C3D-4C2E-8C41-89AD69CC9627}"/>
                </a:ext>
              </a:extLst>
            </p:cNvPr>
            <p:cNvGrpSpPr/>
            <p:nvPr/>
          </p:nvGrpSpPr>
          <p:grpSpPr>
            <a:xfrm>
              <a:off x="10916787" y="2172203"/>
              <a:ext cx="686711" cy="455250"/>
              <a:chOff x="3363913" y="1768476"/>
              <a:chExt cx="2416175" cy="1601788"/>
            </a:xfrm>
            <a:solidFill>
              <a:schemeClr val="accent4"/>
            </a:solidFill>
          </p:grpSpPr>
          <p:sp>
            <p:nvSpPr>
              <p:cNvPr id="192" name="Rectangle 14">
                <a:extLst>
                  <a:ext uri="{FF2B5EF4-FFF2-40B4-BE49-F238E27FC236}">
                    <a16:creationId xmlns:a16="http://schemas.microsoft.com/office/drawing/2014/main" id="{3DA00444-6E03-41C9-A009-DF84DF4BFB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57776" y="3262313"/>
                <a:ext cx="53975" cy="1079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3" name="Rectangle 15">
                <a:extLst>
                  <a:ext uri="{FF2B5EF4-FFF2-40B4-BE49-F238E27FC236}">
                    <a16:creationId xmlns:a16="http://schemas.microsoft.com/office/drawing/2014/main" id="{FB4F18F1-FAB0-49FF-8A59-CBD3F8D33D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5813" y="3262313"/>
                <a:ext cx="114300" cy="1079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4" name="Rectangle 16">
                <a:extLst>
                  <a:ext uri="{FF2B5EF4-FFF2-40B4-BE49-F238E27FC236}">
                    <a16:creationId xmlns:a16="http://schemas.microsoft.com/office/drawing/2014/main" id="{AD8A1613-95D0-41AD-9966-AF418C4026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038" y="3262313"/>
                <a:ext cx="114300" cy="1079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5" name="Rectangle 17">
                <a:extLst>
                  <a:ext uri="{FF2B5EF4-FFF2-40B4-BE49-F238E27FC236}">
                    <a16:creationId xmlns:a16="http://schemas.microsoft.com/office/drawing/2014/main" id="{E94F562C-269C-4C01-86EB-531A8BD254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6001" y="3262313"/>
                <a:ext cx="117475" cy="1079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6" name="Rectangle 18">
                <a:extLst>
                  <a:ext uri="{FF2B5EF4-FFF2-40B4-BE49-F238E27FC236}">
                    <a16:creationId xmlns:a16="http://schemas.microsoft.com/office/drawing/2014/main" id="{8CF81CB6-04E1-4E49-B32F-A5B1180C91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2588" y="3262313"/>
                <a:ext cx="53975" cy="1079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7" name="Freeform 19">
                <a:extLst>
                  <a:ext uri="{FF2B5EF4-FFF2-40B4-BE49-F238E27FC236}">
                    <a16:creationId xmlns:a16="http://schemas.microsoft.com/office/drawing/2014/main" id="{24622D7C-0EBE-467A-8976-6EFA37A2E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3913" y="1768476"/>
                <a:ext cx="2416175" cy="1601788"/>
              </a:xfrm>
              <a:custGeom>
                <a:avLst/>
                <a:gdLst>
                  <a:gd name="T0" fmla="*/ 828 w 887"/>
                  <a:gd name="T1" fmla="*/ 232 h 590"/>
                  <a:gd name="T2" fmla="*/ 704 w 887"/>
                  <a:gd name="T3" fmla="*/ 185 h 590"/>
                  <a:gd name="T4" fmla="*/ 78 w 887"/>
                  <a:gd name="T5" fmla="*/ 185 h 590"/>
                  <a:gd name="T6" fmla="*/ 233 w 887"/>
                  <a:gd name="T7" fmla="*/ 36 h 590"/>
                  <a:gd name="T8" fmla="*/ 233 w 887"/>
                  <a:gd name="T9" fmla="*/ 8 h 590"/>
                  <a:gd name="T10" fmla="*/ 205 w 887"/>
                  <a:gd name="T11" fmla="*/ 7 h 590"/>
                  <a:gd name="T12" fmla="*/ 0 w 887"/>
                  <a:gd name="T13" fmla="*/ 205 h 590"/>
                  <a:gd name="T14" fmla="*/ 205 w 887"/>
                  <a:gd name="T15" fmla="*/ 402 h 590"/>
                  <a:gd name="T16" fmla="*/ 219 w 887"/>
                  <a:gd name="T17" fmla="*/ 407 h 590"/>
                  <a:gd name="T18" fmla="*/ 233 w 887"/>
                  <a:gd name="T19" fmla="*/ 401 h 590"/>
                  <a:gd name="T20" fmla="*/ 233 w 887"/>
                  <a:gd name="T21" fmla="*/ 373 h 590"/>
                  <a:gd name="T22" fmla="*/ 78 w 887"/>
                  <a:gd name="T23" fmla="*/ 225 h 590"/>
                  <a:gd name="T24" fmla="*/ 704 w 887"/>
                  <a:gd name="T25" fmla="*/ 225 h 590"/>
                  <a:gd name="T26" fmla="*/ 705 w 887"/>
                  <a:gd name="T27" fmla="*/ 225 h 590"/>
                  <a:gd name="T28" fmla="*/ 800 w 887"/>
                  <a:gd name="T29" fmla="*/ 261 h 590"/>
                  <a:gd name="T30" fmla="*/ 847 w 887"/>
                  <a:gd name="T31" fmla="*/ 396 h 590"/>
                  <a:gd name="T32" fmla="*/ 704 w 887"/>
                  <a:gd name="T33" fmla="*/ 550 h 590"/>
                  <a:gd name="T34" fmla="*/ 676 w 887"/>
                  <a:gd name="T35" fmla="*/ 550 h 590"/>
                  <a:gd name="T36" fmla="*/ 676 w 887"/>
                  <a:gd name="T37" fmla="*/ 590 h 590"/>
                  <a:gd name="T38" fmla="*/ 704 w 887"/>
                  <a:gd name="T39" fmla="*/ 590 h 590"/>
                  <a:gd name="T40" fmla="*/ 864 w 887"/>
                  <a:gd name="T41" fmla="*/ 491 h 590"/>
                  <a:gd name="T42" fmla="*/ 887 w 887"/>
                  <a:gd name="T43" fmla="*/ 396 h 590"/>
                  <a:gd name="T44" fmla="*/ 828 w 887"/>
                  <a:gd name="T45" fmla="*/ 232 h 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87" h="590">
                    <a:moveTo>
                      <a:pt x="828" y="232"/>
                    </a:moveTo>
                    <a:cubicBezTo>
                      <a:pt x="777" y="184"/>
                      <a:pt x="711" y="185"/>
                      <a:pt x="704" y="185"/>
                    </a:cubicBezTo>
                    <a:cubicBezTo>
                      <a:pt x="78" y="185"/>
                      <a:pt x="78" y="185"/>
                      <a:pt x="78" y="185"/>
                    </a:cubicBezTo>
                    <a:cubicBezTo>
                      <a:pt x="233" y="36"/>
                      <a:pt x="233" y="36"/>
                      <a:pt x="233" y="36"/>
                    </a:cubicBezTo>
                    <a:cubicBezTo>
                      <a:pt x="241" y="28"/>
                      <a:pt x="241" y="16"/>
                      <a:pt x="233" y="8"/>
                    </a:cubicBezTo>
                    <a:cubicBezTo>
                      <a:pt x="225" y="0"/>
                      <a:pt x="213" y="0"/>
                      <a:pt x="205" y="7"/>
                    </a:cubicBezTo>
                    <a:cubicBezTo>
                      <a:pt x="0" y="205"/>
                      <a:pt x="0" y="205"/>
                      <a:pt x="0" y="205"/>
                    </a:cubicBezTo>
                    <a:cubicBezTo>
                      <a:pt x="205" y="402"/>
                      <a:pt x="205" y="402"/>
                      <a:pt x="205" y="402"/>
                    </a:cubicBezTo>
                    <a:cubicBezTo>
                      <a:pt x="209" y="406"/>
                      <a:pt x="214" y="407"/>
                      <a:pt x="219" y="407"/>
                    </a:cubicBezTo>
                    <a:cubicBezTo>
                      <a:pt x="224" y="407"/>
                      <a:pt x="229" y="405"/>
                      <a:pt x="233" y="401"/>
                    </a:cubicBezTo>
                    <a:cubicBezTo>
                      <a:pt x="241" y="393"/>
                      <a:pt x="241" y="381"/>
                      <a:pt x="233" y="373"/>
                    </a:cubicBezTo>
                    <a:cubicBezTo>
                      <a:pt x="78" y="225"/>
                      <a:pt x="78" y="225"/>
                      <a:pt x="78" y="225"/>
                    </a:cubicBezTo>
                    <a:cubicBezTo>
                      <a:pt x="704" y="225"/>
                      <a:pt x="704" y="225"/>
                      <a:pt x="704" y="225"/>
                    </a:cubicBezTo>
                    <a:cubicBezTo>
                      <a:pt x="705" y="225"/>
                      <a:pt x="705" y="225"/>
                      <a:pt x="705" y="225"/>
                    </a:cubicBezTo>
                    <a:cubicBezTo>
                      <a:pt x="706" y="225"/>
                      <a:pt x="759" y="222"/>
                      <a:pt x="800" y="261"/>
                    </a:cubicBezTo>
                    <a:cubicBezTo>
                      <a:pt x="831" y="290"/>
                      <a:pt x="847" y="336"/>
                      <a:pt x="847" y="396"/>
                    </a:cubicBezTo>
                    <a:cubicBezTo>
                      <a:pt x="847" y="402"/>
                      <a:pt x="844" y="550"/>
                      <a:pt x="704" y="550"/>
                    </a:cubicBezTo>
                    <a:cubicBezTo>
                      <a:pt x="676" y="550"/>
                      <a:pt x="676" y="550"/>
                      <a:pt x="676" y="550"/>
                    </a:cubicBezTo>
                    <a:cubicBezTo>
                      <a:pt x="676" y="590"/>
                      <a:pt x="676" y="590"/>
                      <a:pt x="676" y="590"/>
                    </a:cubicBezTo>
                    <a:cubicBezTo>
                      <a:pt x="704" y="590"/>
                      <a:pt x="704" y="590"/>
                      <a:pt x="704" y="590"/>
                    </a:cubicBezTo>
                    <a:cubicBezTo>
                      <a:pt x="799" y="590"/>
                      <a:pt x="843" y="536"/>
                      <a:pt x="864" y="491"/>
                    </a:cubicBezTo>
                    <a:cubicBezTo>
                      <a:pt x="886" y="445"/>
                      <a:pt x="887" y="398"/>
                      <a:pt x="887" y="396"/>
                    </a:cubicBezTo>
                    <a:cubicBezTo>
                      <a:pt x="887" y="324"/>
                      <a:pt x="867" y="269"/>
                      <a:pt x="828" y="23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8AF5308D-5AA4-4018-A876-1DCBDC056258}"/>
              </a:ext>
            </a:extLst>
          </p:cNvPr>
          <p:cNvGrpSpPr/>
          <p:nvPr/>
        </p:nvGrpSpPr>
        <p:grpSpPr>
          <a:xfrm>
            <a:off x="2541753" y="2073573"/>
            <a:ext cx="1002969" cy="1010596"/>
            <a:chOff x="3521309" y="1894530"/>
            <a:chExt cx="1002969" cy="1010596"/>
          </a:xfrm>
        </p:grpSpPr>
        <p:sp>
          <p:nvSpPr>
            <p:cNvPr id="12" name="Oval 8">
              <a:extLst>
                <a:ext uri="{FF2B5EF4-FFF2-40B4-BE49-F238E27FC236}">
                  <a16:creationId xmlns:a16="http://schemas.microsoft.com/office/drawing/2014/main" id="{363B2280-57E1-4440-B809-EB250D24E6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1309" y="1894530"/>
              <a:ext cx="1002969" cy="1010596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grpSp>
          <p:nvGrpSpPr>
            <p:cNvPr id="198" name="Gruppieren 197">
              <a:extLst>
                <a:ext uri="{FF2B5EF4-FFF2-40B4-BE49-F238E27FC236}">
                  <a16:creationId xmlns:a16="http://schemas.microsoft.com/office/drawing/2014/main" id="{A08A4BE7-83B1-43FC-98F3-4B69FF68C500}"/>
                </a:ext>
              </a:extLst>
            </p:cNvPr>
            <p:cNvGrpSpPr/>
            <p:nvPr/>
          </p:nvGrpSpPr>
          <p:grpSpPr>
            <a:xfrm>
              <a:off x="3650761" y="2252174"/>
              <a:ext cx="744065" cy="295308"/>
              <a:chOff x="1504868" y="1362965"/>
              <a:chExt cx="1143979" cy="454025"/>
            </a:xfrm>
            <a:solidFill>
              <a:schemeClr val="accent4"/>
            </a:solidFill>
          </p:grpSpPr>
          <p:grpSp>
            <p:nvGrpSpPr>
              <p:cNvPr id="199" name="Group 250">
                <a:extLst>
                  <a:ext uri="{FF2B5EF4-FFF2-40B4-BE49-F238E27FC236}">
                    <a16:creationId xmlns:a16="http://schemas.microsoft.com/office/drawing/2014/main" id="{19E829A0-44F0-4AF0-9A0E-013D8766ADCC}"/>
                  </a:ext>
                </a:extLst>
              </p:cNvPr>
              <p:cNvGrpSpPr/>
              <p:nvPr/>
            </p:nvGrpSpPr>
            <p:grpSpPr>
              <a:xfrm>
                <a:off x="1504868" y="1362965"/>
                <a:ext cx="1143979" cy="454025"/>
                <a:chOff x="-2701925" y="2127250"/>
                <a:chExt cx="1323975" cy="525463"/>
              </a:xfrm>
              <a:grpFill/>
            </p:grpSpPr>
            <p:sp>
              <p:nvSpPr>
                <p:cNvPr id="201" name="Freeform 44">
                  <a:extLst>
                    <a:ext uri="{FF2B5EF4-FFF2-40B4-BE49-F238E27FC236}">
                      <a16:creationId xmlns:a16="http://schemas.microsoft.com/office/drawing/2014/main" id="{EBA7D084-2F82-46A0-88CA-D927849C13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278063" y="2462213"/>
                  <a:ext cx="184150" cy="190500"/>
                </a:xfrm>
                <a:custGeom>
                  <a:avLst/>
                  <a:gdLst>
                    <a:gd name="T0" fmla="*/ 49 w 49"/>
                    <a:gd name="T1" fmla="*/ 25 h 51"/>
                    <a:gd name="T2" fmla="*/ 25 w 49"/>
                    <a:gd name="T3" fmla="*/ 0 h 51"/>
                    <a:gd name="T4" fmla="*/ 0 w 49"/>
                    <a:gd name="T5" fmla="*/ 25 h 51"/>
                    <a:gd name="T6" fmla="*/ 25 w 49"/>
                    <a:gd name="T7" fmla="*/ 51 h 51"/>
                    <a:gd name="T8" fmla="*/ 49 w 49"/>
                    <a:gd name="T9" fmla="*/ 25 h 51"/>
                    <a:gd name="T10" fmla="*/ 36 w 49"/>
                    <a:gd name="T11" fmla="*/ 25 h 51"/>
                    <a:gd name="T12" fmla="*/ 25 w 49"/>
                    <a:gd name="T13" fmla="*/ 37 h 51"/>
                    <a:gd name="T14" fmla="*/ 15 w 49"/>
                    <a:gd name="T15" fmla="*/ 25 h 51"/>
                    <a:gd name="T16" fmla="*/ 25 w 49"/>
                    <a:gd name="T17" fmla="*/ 14 h 51"/>
                    <a:gd name="T18" fmla="*/ 36 w 49"/>
                    <a:gd name="T19" fmla="*/ 25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9" h="51">
                      <a:moveTo>
                        <a:pt x="49" y="25"/>
                      </a:moveTo>
                      <a:cubicBezTo>
                        <a:pt x="49" y="12"/>
                        <a:pt x="38" y="0"/>
                        <a:pt x="25" y="0"/>
                      </a:cubicBezTo>
                      <a:cubicBezTo>
                        <a:pt x="12" y="0"/>
                        <a:pt x="0" y="12"/>
                        <a:pt x="0" y="25"/>
                      </a:cubicBezTo>
                      <a:cubicBezTo>
                        <a:pt x="0" y="39"/>
                        <a:pt x="12" y="51"/>
                        <a:pt x="25" y="51"/>
                      </a:cubicBezTo>
                      <a:cubicBezTo>
                        <a:pt x="38" y="51"/>
                        <a:pt x="49" y="39"/>
                        <a:pt x="49" y="25"/>
                      </a:cubicBezTo>
                      <a:close/>
                      <a:moveTo>
                        <a:pt x="36" y="25"/>
                      </a:moveTo>
                      <a:cubicBezTo>
                        <a:pt x="36" y="32"/>
                        <a:pt x="31" y="37"/>
                        <a:pt x="25" y="37"/>
                      </a:cubicBezTo>
                      <a:cubicBezTo>
                        <a:pt x="19" y="37"/>
                        <a:pt x="15" y="32"/>
                        <a:pt x="15" y="25"/>
                      </a:cubicBezTo>
                      <a:cubicBezTo>
                        <a:pt x="15" y="19"/>
                        <a:pt x="19" y="14"/>
                        <a:pt x="25" y="14"/>
                      </a:cubicBezTo>
                      <a:cubicBezTo>
                        <a:pt x="31" y="14"/>
                        <a:pt x="36" y="19"/>
                        <a:pt x="36" y="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202" name="Freeform 45">
                  <a:extLst>
                    <a:ext uri="{FF2B5EF4-FFF2-40B4-BE49-F238E27FC236}">
                      <a16:creationId xmlns:a16="http://schemas.microsoft.com/office/drawing/2014/main" id="{F0E97B97-0E36-4143-A72B-EE6771A7649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636713" y="2462213"/>
                  <a:ext cx="179388" cy="190500"/>
                </a:xfrm>
                <a:custGeom>
                  <a:avLst/>
                  <a:gdLst>
                    <a:gd name="T0" fmla="*/ 48 w 48"/>
                    <a:gd name="T1" fmla="*/ 25 h 51"/>
                    <a:gd name="T2" fmla="*/ 23 w 48"/>
                    <a:gd name="T3" fmla="*/ 0 h 51"/>
                    <a:gd name="T4" fmla="*/ 0 w 48"/>
                    <a:gd name="T5" fmla="*/ 25 h 51"/>
                    <a:gd name="T6" fmla="*/ 23 w 48"/>
                    <a:gd name="T7" fmla="*/ 51 h 51"/>
                    <a:gd name="T8" fmla="*/ 48 w 48"/>
                    <a:gd name="T9" fmla="*/ 25 h 51"/>
                    <a:gd name="T10" fmla="*/ 35 w 48"/>
                    <a:gd name="T11" fmla="*/ 25 h 51"/>
                    <a:gd name="T12" fmla="*/ 23 w 48"/>
                    <a:gd name="T13" fmla="*/ 37 h 51"/>
                    <a:gd name="T14" fmla="*/ 13 w 48"/>
                    <a:gd name="T15" fmla="*/ 25 h 51"/>
                    <a:gd name="T16" fmla="*/ 23 w 48"/>
                    <a:gd name="T17" fmla="*/ 14 h 51"/>
                    <a:gd name="T18" fmla="*/ 35 w 48"/>
                    <a:gd name="T19" fmla="*/ 25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8" h="51">
                      <a:moveTo>
                        <a:pt x="48" y="25"/>
                      </a:moveTo>
                      <a:cubicBezTo>
                        <a:pt x="48" y="12"/>
                        <a:pt x="37" y="0"/>
                        <a:pt x="23" y="0"/>
                      </a:cubicBezTo>
                      <a:cubicBezTo>
                        <a:pt x="10" y="0"/>
                        <a:pt x="0" y="12"/>
                        <a:pt x="0" y="25"/>
                      </a:cubicBezTo>
                      <a:cubicBezTo>
                        <a:pt x="0" y="39"/>
                        <a:pt x="10" y="51"/>
                        <a:pt x="23" y="51"/>
                      </a:cubicBezTo>
                      <a:cubicBezTo>
                        <a:pt x="37" y="51"/>
                        <a:pt x="48" y="39"/>
                        <a:pt x="48" y="25"/>
                      </a:cubicBezTo>
                      <a:close/>
                      <a:moveTo>
                        <a:pt x="35" y="25"/>
                      </a:moveTo>
                      <a:cubicBezTo>
                        <a:pt x="35" y="32"/>
                        <a:pt x="29" y="37"/>
                        <a:pt x="23" y="37"/>
                      </a:cubicBezTo>
                      <a:cubicBezTo>
                        <a:pt x="17" y="37"/>
                        <a:pt x="13" y="32"/>
                        <a:pt x="13" y="25"/>
                      </a:cubicBezTo>
                      <a:cubicBezTo>
                        <a:pt x="13" y="19"/>
                        <a:pt x="17" y="14"/>
                        <a:pt x="23" y="14"/>
                      </a:cubicBezTo>
                      <a:cubicBezTo>
                        <a:pt x="29" y="14"/>
                        <a:pt x="35" y="19"/>
                        <a:pt x="35" y="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203" name="Freeform 46">
                  <a:extLst>
                    <a:ext uri="{FF2B5EF4-FFF2-40B4-BE49-F238E27FC236}">
                      <a16:creationId xmlns:a16="http://schemas.microsoft.com/office/drawing/2014/main" id="{D59EB1E4-7E6B-4F64-93B9-33F5808436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338388" y="2473325"/>
                  <a:ext cx="79375" cy="82550"/>
                </a:xfrm>
                <a:custGeom>
                  <a:avLst/>
                  <a:gdLst>
                    <a:gd name="T0" fmla="*/ 0 w 21"/>
                    <a:gd name="T1" fmla="*/ 0 h 22"/>
                    <a:gd name="T2" fmla="*/ 0 w 21"/>
                    <a:gd name="T3" fmla="*/ 20 h 22"/>
                    <a:gd name="T4" fmla="*/ 4 w 21"/>
                    <a:gd name="T5" fmla="*/ 22 h 22"/>
                    <a:gd name="T6" fmla="*/ 11 w 21"/>
                    <a:gd name="T7" fmla="*/ 22 h 22"/>
                    <a:gd name="T8" fmla="*/ 11 w 21"/>
                    <a:gd name="T9" fmla="*/ 22 h 22"/>
                    <a:gd name="T10" fmla="*/ 21 w 21"/>
                    <a:gd name="T11" fmla="*/ 0 h 22"/>
                    <a:gd name="T12" fmla="*/ 0 w 21"/>
                    <a:gd name="T1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" h="22">
                      <a:moveTo>
                        <a:pt x="0" y="0"/>
                      </a:move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21"/>
                        <a:pt x="1" y="22"/>
                        <a:pt x="4" y="22"/>
                      </a:cubicBezTo>
                      <a:cubicBezTo>
                        <a:pt x="11" y="22"/>
                        <a:pt x="11" y="22"/>
                        <a:pt x="11" y="22"/>
                      </a:cubicBezTo>
                      <a:cubicBezTo>
                        <a:pt x="11" y="22"/>
                        <a:pt x="11" y="22"/>
                        <a:pt x="11" y="22"/>
                      </a:cubicBezTo>
                      <a:cubicBezTo>
                        <a:pt x="11" y="13"/>
                        <a:pt x="15" y="5"/>
                        <a:pt x="2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204" name="Freeform 47">
                  <a:extLst>
                    <a:ext uri="{FF2B5EF4-FFF2-40B4-BE49-F238E27FC236}">
                      <a16:creationId xmlns:a16="http://schemas.microsoft.com/office/drawing/2014/main" id="{CFFB3E71-CBFF-4B18-9E8C-75021FB0FE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338388" y="2127250"/>
                  <a:ext cx="646113" cy="330200"/>
                </a:xfrm>
                <a:custGeom>
                  <a:avLst/>
                  <a:gdLst>
                    <a:gd name="T0" fmla="*/ 169 w 172"/>
                    <a:gd name="T1" fmla="*/ 0 h 88"/>
                    <a:gd name="T2" fmla="*/ 4 w 172"/>
                    <a:gd name="T3" fmla="*/ 0 h 88"/>
                    <a:gd name="T4" fmla="*/ 0 w 172"/>
                    <a:gd name="T5" fmla="*/ 3 h 88"/>
                    <a:gd name="T6" fmla="*/ 0 w 172"/>
                    <a:gd name="T7" fmla="*/ 88 h 88"/>
                    <a:gd name="T8" fmla="*/ 26 w 172"/>
                    <a:gd name="T9" fmla="*/ 88 h 88"/>
                    <a:gd name="T10" fmla="*/ 41 w 172"/>
                    <a:gd name="T11" fmla="*/ 83 h 88"/>
                    <a:gd name="T12" fmla="*/ 56 w 172"/>
                    <a:gd name="T13" fmla="*/ 88 h 88"/>
                    <a:gd name="T14" fmla="*/ 172 w 172"/>
                    <a:gd name="T15" fmla="*/ 88 h 88"/>
                    <a:gd name="T16" fmla="*/ 172 w 172"/>
                    <a:gd name="T17" fmla="*/ 3 h 88"/>
                    <a:gd name="T18" fmla="*/ 169 w 172"/>
                    <a:gd name="T19" fmla="*/ 0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72" h="88">
                      <a:moveTo>
                        <a:pt x="169" y="0"/>
                      </a:moveTo>
                      <a:cubicBezTo>
                        <a:pt x="0" y="0"/>
                        <a:pt x="4" y="0"/>
                        <a:pt x="4" y="0"/>
                      </a:cubicBezTo>
                      <a:cubicBezTo>
                        <a:pt x="1" y="0"/>
                        <a:pt x="0" y="1"/>
                        <a:pt x="0" y="3"/>
                      </a:cubicBezTo>
                      <a:cubicBezTo>
                        <a:pt x="0" y="88"/>
                        <a:pt x="0" y="88"/>
                        <a:pt x="0" y="88"/>
                      </a:cubicBezTo>
                      <a:cubicBezTo>
                        <a:pt x="26" y="88"/>
                        <a:pt x="26" y="88"/>
                        <a:pt x="26" y="88"/>
                      </a:cubicBezTo>
                      <a:cubicBezTo>
                        <a:pt x="31" y="85"/>
                        <a:pt x="36" y="83"/>
                        <a:pt x="41" y="83"/>
                      </a:cubicBezTo>
                      <a:cubicBezTo>
                        <a:pt x="47" y="83"/>
                        <a:pt x="52" y="85"/>
                        <a:pt x="56" y="88"/>
                      </a:cubicBezTo>
                      <a:cubicBezTo>
                        <a:pt x="172" y="88"/>
                        <a:pt x="172" y="88"/>
                        <a:pt x="172" y="88"/>
                      </a:cubicBezTo>
                      <a:cubicBezTo>
                        <a:pt x="172" y="3"/>
                        <a:pt x="172" y="3"/>
                        <a:pt x="172" y="3"/>
                      </a:cubicBezTo>
                      <a:cubicBezTo>
                        <a:pt x="172" y="1"/>
                        <a:pt x="171" y="0"/>
                        <a:pt x="16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205" name="Freeform 48">
                  <a:extLst>
                    <a:ext uri="{FF2B5EF4-FFF2-40B4-BE49-F238E27FC236}">
                      <a16:creationId xmlns:a16="http://schemas.microsoft.com/office/drawing/2014/main" id="{625DB013-9EC3-402B-A69E-3C46F5BF200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109788" y="2198688"/>
                  <a:ext cx="731838" cy="357188"/>
                </a:xfrm>
                <a:custGeom>
                  <a:avLst/>
                  <a:gdLst>
                    <a:gd name="T0" fmla="*/ 176 w 195"/>
                    <a:gd name="T1" fmla="*/ 4 h 95"/>
                    <a:gd name="T2" fmla="*/ 171 w 195"/>
                    <a:gd name="T3" fmla="*/ 2 h 95"/>
                    <a:gd name="T4" fmla="*/ 123 w 195"/>
                    <a:gd name="T5" fmla="*/ 2 h 95"/>
                    <a:gd name="T6" fmla="*/ 119 w 195"/>
                    <a:gd name="T7" fmla="*/ 4 h 95"/>
                    <a:gd name="T8" fmla="*/ 119 w 195"/>
                    <a:gd name="T9" fmla="*/ 73 h 95"/>
                    <a:gd name="T10" fmla="*/ 108 w 195"/>
                    <a:gd name="T11" fmla="*/ 73 h 95"/>
                    <a:gd name="T12" fmla="*/ 108 w 195"/>
                    <a:gd name="T13" fmla="*/ 73 h 95"/>
                    <a:gd name="T14" fmla="*/ 95 w 195"/>
                    <a:gd name="T15" fmla="*/ 73 h 95"/>
                    <a:gd name="T16" fmla="*/ 55 w 195"/>
                    <a:gd name="T17" fmla="*/ 73 h 95"/>
                    <a:gd name="T18" fmla="*/ 0 w 195"/>
                    <a:gd name="T19" fmla="*/ 73 h 95"/>
                    <a:gd name="T20" fmla="*/ 9 w 195"/>
                    <a:gd name="T21" fmla="*/ 95 h 95"/>
                    <a:gd name="T22" fmla="*/ 9 w 195"/>
                    <a:gd name="T23" fmla="*/ 95 h 95"/>
                    <a:gd name="T24" fmla="*/ 45 w 195"/>
                    <a:gd name="T25" fmla="*/ 95 h 95"/>
                    <a:gd name="T26" fmla="*/ 104 w 195"/>
                    <a:gd name="T27" fmla="*/ 95 h 95"/>
                    <a:gd name="T28" fmla="*/ 108 w 195"/>
                    <a:gd name="T29" fmla="*/ 95 h 95"/>
                    <a:gd name="T30" fmla="*/ 108 w 195"/>
                    <a:gd name="T31" fmla="*/ 95 h 95"/>
                    <a:gd name="T32" fmla="*/ 120 w 195"/>
                    <a:gd name="T33" fmla="*/ 95 h 95"/>
                    <a:gd name="T34" fmla="*/ 120 w 195"/>
                    <a:gd name="T35" fmla="*/ 88 h 95"/>
                    <a:gd name="T36" fmla="*/ 149 w 195"/>
                    <a:gd name="T37" fmla="*/ 64 h 95"/>
                    <a:gd name="T38" fmla="*/ 180 w 195"/>
                    <a:gd name="T39" fmla="*/ 95 h 95"/>
                    <a:gd name="T40" fmla="*/ 195 w 195"/>
                    <a:gd name="T41" fmla="*/ 95 h 95"/>
                    <a:gd name="T42" fmla="*/ 195 w 195"/>
                    <a:gd name="T43" fmla="*/ 48 h 95"/>
                    <a:gd name="T44" fmla="*/ 176 w 195"/>
                    <a:gd name="T45" fmla="*/ 4 h 95"/>
                    <a:gd name="T46" fmla="*/ 141 w 195"/>
                    <a:gd name="T47" fmla="*/ 39 h 95"/>
                    <a:gd name="T48" fmla="*/ 141 w 195"/>
                    <a:gd name="T49" fmla="*/ 10 h 95"/>
                    <a:gd name="T50" fmla="*/ 167 w 195"/>
                    <a:gd name="T51" fmla="*/ 10 h 95"/>
                    <a:gd name="T52" fmla="*/ 179 w 195"/>
                    <a:gd name="T53" fmla="*/ 39 h 95"/>
                    <a:gd name="T54" fmla="*/ 141 w 195"/>
                    <a:gd name="T55" fmla="*/ 39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95" h="95">
                      <a:moveTo>
                        <a:pt x="176" y="4"/>
                      </a:moveTo>
                      <a:cubicBezTo>
                        <a:pt x="176" y="0"/>
                        <a:pt x="171" y="2"/>
                        <a:pt x="171" y="2"/>
                      </a:cubicBezTo>
                      <a:cubicBezTo>
                        <a:pt x="171" y="2"/>
                        <a:pt x="171" y="2"/>
                        <a:pt x="123" y="2"/>
                      </a:cubicBezTo>
                      <a:cubicBezTo>
                        <a:pt x="123" y="2"/>
                        <a:pt x="119" y="0"/>
                        <a:pt x="119" y="4"/>
                      </a:cubicBezTo>
                      <a:cubicBezTo>
                        <a:pt x="119" y="4"/>
                        <a:pt x="119" y="4"/>
                        <a:pt x="119" y="73"/>
                      </a:cubicBezTo>
                      <a:cubicBezTo>
                        <a:pt x="108" y="73"/>
                        <a:pt x="108" y="73"/>
                        <a:pt x="108" y="73"/>
                      </a:cubicBezTo>
                      <a:cubicBezTo>
                        <a:pt x="108" y="73"/>
                        <a:pt x="108" y="73"/>
                        <a:pt x="108" y="73"/>
                      </a:cubicBezTo>
                      <a:cubicBezTo>
                        <a:pt x="95" y="73"/>
                        <a:pt x="95" y="73"/>
                        <a:pt x="95" y="73"/>
                      </a:cubicBezTo>
                      <a:cubicBezTo>
                        <a:pt x="55" y="73"/>
                        <a:pt x="55" y="73"/>
                        <a:pt x="55" y="73"/>
                      </a:cubicBezTo>
                      <a:cubicBezTo>
                        <a:pt x="0" y="73"/>
                        <a:pt x="0" y="73"/>
                        <a:pt x="0" y="73"/>
                      </a:cubicBezTo>
                      <a:cubicBezTo>
                        <a:pt x="6" y="78"/>
                        <a:pt x="9" y="86"/>
                        <a:pt x="9" y="95"/>
                      </a:cubicBezTo>
                      <a:cubicBezTo>
                        <a:pt x="9" y="95"/>
                        <a:pt x="9" y="95"/>
                        <a:pt x="9" y="95"/>
                      </a:cubicBezTo>
                      <a:cubicBezTo>
                        <a:pt x="44" y="95"/>
                        <a:pt x="45" y="95"/>
                        <a:pt x="45" y="95"/>
                      </a:cubicBezTo>
                      <a:cubicBezTo>
                        <a:pt x="104" y="95"/>
                        <a:pt x="104" y="95"/>
                        <a:pt x="104" y="95"/>
                      </a:cubicBezTo>
                      <a:cubicBezTo>
                        <a:pt x="107" y="95"/>
                        <a:pt x="107" y="95"/>
                        <a:pt x="108" y="95"/>
                      </a:cubicBezTo>
                      <a:cubicBezTo>
                        <a:pt x="108" y="95"/>
                        <a:pt x="108" y="95"/>
                        <a:pt x="108" y="95"/>
                      </a:cubicBezTo>
                      <a:cubicBezTo>
                        <a:pt x="120" y="95"/>
                        <a:pt x="120" y="95"/>
                        <a:pt x="120" y="95"/>
                      </a:cubicBezTo>
                      <a:cubicBezTo>
                        <a:pt x="120" y="88"/>
                        <a:pt x="120" y="88"/>
                        <a:pt x="120" y="88"/>
                      </a:cubicBezTo>
                      <a:cubicBezTo>
                        <a:pt x="123" y="75"/>
                        <a:pt x="135" y="64"/>
                        <a:pt x="149" y="64"/>
                      </a:cubicBezTo>
                      <a:cubicBezTo>
                        <a:pt x="165" y="64"/>
                        <a:pt x="180" y="78"/>
                        <a:pt x="180" y="95"/>
                      </a:cubicBezTo>
                      <a:cubicBezTo>
                        <a:pt x="180" y="95"/>
                        <a:pt x="180" y="95"/>
                        <a:pt x="195" y="95"/>
                      </a:cubicBezTo>
                      <a:cubicBezTo>
                        <a:pt x="195" y="48"/>
                        <a:pt x="195" y="48"/>
                        <a:pt x="195" y="48"/>
                      </a:cubicBezTo>
                      <a:cubicBezTo>
                        <a:pt x="195" y="48"/>
                        <a:pt x="177" y="8"/>
                        <a:pt x="176" y="4"/>
                      </a:cubicBezTo>
                      <a:close/>
                      <a:moveTo>
                        <a:pt x="141" y="39"/>
                      </a:moveTo>
                      <a:cubicBezTo>
                        <a:pt x="141" y="39"/>
                        <a:pt x="141" y="39"/>
                        <a:pt x="141" y="10"/>
                      </a:cubicBezTo>
                      <a:cubicBezTo>
                        <a:pt x="141" y="10"/>
                        <a:pt x="141" y="10"/>
                        <a:pt x="167" y="10"/>
                      </a:cubicBezTo>
                      <a:cubicBezTo>
                        <a:pt x="179" y="39"/>
                        <a:pt x="179" y="39"/>
                        <a:pt x="179" y="39"/>
                      </a:cubicBezTo>
                      <a:cubicBezTo>
                        <a:pt x="179" y="39"/>
                        <a:pt x="172" y="39"/>
                        <a:pt x="141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206" name="Freeform 49">
                  <a:extLst>
                    <a:ext uri="{FF2B5EF4-FFF2-40B4-BE49-F238E27FC236}">
                      <a16:creationId xmlns:a16="http://schemas.microsoft.com/office/drawing/2014/main" id="{757595CB-C4CD-4238-84A0-AF42734233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701925" y="2449513"/>
                  <a:ext cx="398463" cy="98425"/>
                </a:xfrm>
                <a:custGeom>
                  <a:avLst/>
                  <a:gdLst>
                    <a:gd name="T0" fmla="*/ 106 w 106"/>
                    <a:gd name="T1" fmla="*/ 15 h 26"/>
                    <a:gd name="T2" fmla="*/ 101 w 106"/>
                    <a:gd name="T3" fmla="*/ 12 h 26"/>
                    <a:gd name="T4" fmla="*/ 83 w 106"/>
                    <a:gd name="T5" fmla="*/ 17 h 26"/>
                    <a:gd name="T6" fmla="*/ 81 w 106"/>
                    <a:gd name="T7" fmla="*/ 8 h 26"/>
                    <a:gd name="T8" fmla="*/ 89 w 106"/>
                    <a:gd name="T9" fmla="*/ 8 h 26"/>
                    <a:gd name="T10" fmla="*/ 93 w 106"/>
                    <a:gd name="T11" fmla="*/ 4 h 26"/>
                    <a:gd name="T12" fmla="*/ 89 w 106"/>
                    <a:gd name="T13" fmla="*/ 0 h 26"/>
                    <a:gd name="T14" fmla="*/ 4 w 106"/>
                    <a:gd name="T15" fmla="*/ 0 h 26"/>
                    <a:gd name="T16" fmla="*/ 0 w 106"/>
                    <a:gd name="T17" fmla="*/ 4 h 26"/>
                    <a:gd name="T18" fmla="*/ 4 w 106"/>
                    <a:gd name="T19" fmla="*/ 8 h 26"/>
                    <a:gd name="T20" fmla="*/ 73 w 106"/>
                    <a:gd name="T21" fmla="*/ 8 h 26"/>
                    <a:gd name="T22" fmla="*/ 77 w 106"/>
                    <a:gd name="T23" fmla="*/ 23 h 26"/>
                    <a:gd name="T24" fmla="*/ 78 w 106"/>
                    <a:gd name="T25" fmla="*/ 25 h 26"/>
                    <a:gd name="T26" fmla="*/ 80 w 106"/>
                    <a:gd name="T27" fmla="*/ 26 h 26"/>
                    <a:gd name="T28" fmla="*/ 81 w 106"/>
                    <a:gd name="T29" fmla="*/ 26 h 26"/>
                    <a:gd name="T30" fmla="*/ 103 w 106"/>
                    <a:gd name="T31" fmla="*/ 20 h 26"/>
                    <a:gd name="T32" fmla="*/ 106 w 106"/>
                    <a:gd name="T33" fmla="*/ 15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6" h="26">
                      <a:moveTo>
                        <a:pt x="106" y="15"/>
                      </a:moveTo>
                      <a:cubicBezTo>
                        <a:pt x="105" y="13"/>
                        <a:pt x="103" y="12"/>
                        <a:pt x="101" y="12"/>
                      </a:cubicBezTo>
                      <a:cubicBezTo>
                        <a:pt x="83" y="17"/>
                        <a:pt x="83" y="17"/>
                        <a:pt x="83" y="17"/>
                      </a:cubicBezTo>
                      <a:cubicBezTo>
                        <a:pt x="81" y="8"/>
                        <a:pt x="81" y="8"/>
                        <a:pt x="81" y="8"/>
                      </a:cubicBezTo>
                      <a:cubicBezTo>
                        <a:pt x="89" y="8"/>
                        <a:pt x="89" y="8"/>
                        <a:pt x="89" y="8"/>
                      </a:cubicBezTo>
                      <a:cubicBezTo>
                        <a:pt x="91" y="8"/>
                        <a:pt x="93" y="6"/>
                        <a:pt x="93" y="4"/>
                      </a:cubicBezTo>
                      <a:cubicBezTo>
                        <a:pt x="93" y="2"/>
                        <a:pt x="91" y="0"/>
                        <a:pt x="89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1" y="0"/>
                        <a:pt x="0" y="2"/>
                        <a:pt x="0" y="4"/>
                      </a:cubicBezTo>
                      <a:cubicBezTo>
                        <a:pt x="0" y="6"/>
                        <a:pt x="1" y="8"/>
                        <a:pt x="4" y="8"/>
                      </a:cubicBezTo>
                      <a:cubicBezTo>
                        <a:pt x="73" y="8"/>
                        <a:pt x="73" y="8"/>
                        <a:pt x="73" y="8"/>
                      </a:cubicBezTo>
                      <a:cubicBezTo>
                        <a:pt x="77" y="23"/>
                        <a:pt x="77" y="23"/>
                        <a:pt x="77" y="23"/>
                      </a:cubicBezTo>
                      <a:cubicBezTo>
                        <a:pt x="77" y="24"/>
                        <a:pt x="77" y="25"/>
                        <a:pt x="78" y="25"/>
                      </a:cubicBezTo>
                      <a:cubicBezTo>
                        <a:pt x="79" y="26"/>
                        <a:pt x="80" y="26"/>
                        <a:pt x="80" y="26"/>
                      </a:cubicBezTo>
                      <a:cubicBezTo>
                        <a:pt x="81" y="26"/>
                        <a:pt x="81" y="26"/>
                        <a:pt x="81" y="26"/>
                      </a:cubicBezTo>
                      <a:cubicBezTo>
                        <a:pt x="103" y="20"/>
                        <a:pt x="103" y="20"/>
                        <a:pt x="103" y="20"/>
                      </a:cubicBezTo>
                      <a:cubicBezTo>
                        <a:pt x="105" y="19"/>
                        <a:pt x="106" y="17"/>
                        <a:pt x="106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sp>
            <p:nvSpPr>
              <p:cNvPr id="200" name="Rechteck 199">
                <a:extLst>
                  <a:ext uri="{FF2B5EF4-FFF2-40B4-BE49-F238E27FC236}">
                    <a16:creationId xmlns:a16="http://schemas.microsoft.com/office/drawing/2014/main" id="{EBC3FF36-2806-4F25-8390-2D835D9853F1}"/>
                  </a:ext>
                </a:extLst>
              </p:cNvPr>
              <p:cNvSpPr/>
              <p:nvPr/>
            </p:nvSpPr>
            <p:spPr>
              <a:xfrm>
                <a:off x="1552575" y="1434557"/>
                <a:ext cx="185899" cy="18589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t">
                <a:spAutoFit/>
              </a:bodyPr>
              <a:lstStyle/>
              <a:p>
                <a:pPr algn="l" rtl="0"/>
                <a:endParaRPr lang="fr-FR" sz="1200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08" name="Rectangle 42">
            <a:extLst>
              <a:ext uri="{FF2B5EF4-FFF2-40B4-BE49-F238E27FC236}">
                <a16:creationId xmlns:a16="http://schemas.microsoft.com/office/drawing/2014/main" id="{325F370C-0DE4-4458-AA3C-67CDBC60347D}"/>
              </a:ext>
            </a:extLst>
          </p:cNvPr>
          <p:cNvSpPr/>
          <p:nvPr/>
        </p:nvSpPr>
        <p:spPr>
          <a:xfrm>
            <a:off x="6041815" y="2600643"/>
            <a:ext cx="1024901" cy="6432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100" b="0" i="0" u="none" baseline="0" dirty="0"/>
              <a:t>Dernier kilomètre</a:t>
            </a:r>
          </a:p>
          <a:p>
            <a:pPr algn="ctr" rtl="0">
              <a:lnSpc>
                <a:spcPct val="95000"/>
              </a:lnSpc>
            </a:pPr>
            <a:r>
              <a:rPr lang="fr-FR" sz="1100" b="0" i="0" u="none" baseline="0" dirty="0"/>
              <a:t>indépendant du transporteur</a:t>
            </a:r>
          </a:p>
        </p:txBody>
      </p:sp>
      <p:sp>
        <p:nvSpPr>
          <p:cNvPr id="210" name="Rectangle 46">
            <a:extLst>
              <a:ext uri="{FF2B5EF4-FFF2-40B4-BE49-F238E27FC236}">
                <a16:creationId xmlns:a16="http://schemas.microsoft.com/office/drawing/2014/main" id="{4C4A8826-EFF2-4A55-ABB7-3CFBC26085C6}"/>
              </a:ext>
            </a:extLst>
          </p:cNvPr>
          <p:cNvSpPr/>
          <p:nvPr/>
        </p:nvSpPr>
        <p:spPr>
          <a:xfrm>
            <a:off x="2554639" y="3166200"/>
            <a:ext cx="1024901" cy="48244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100" b="0" i="0" u="none" baseline="0" dirty="0"/>
              <a:t>Manutention des expéditions entrantes</a:t>
            </a:r>
          </a:p>
        </p:txBody>
      </p:sp>
      <p:sp>
        <p:nvSpPr>
          <p:cNvPr id="211" name="Rectangle 62">
            <a:extLst>
              <a:ext uri="{FF2B5EF4-FFF2-40B4-BE49-F238E27FC236}">
                <a16:creationId xmlns:a16="http://schemas.microsoft.com/office/drawing/2014/main" id="{68C1B866-F204-4BB6-89DD-DAF5E2E382C4}"/>
              </a:ext>
            </a:extLst>
          </p:cNvPr>
          <p:cNvSpPr/>
          <p:nvPr/>
        </p:nvSpPr>
        <p:spPr>
          <a:xfrm>
            <a:off x="4218300" y="4180482"/>
            <a:ext cx="1024901" cy="32162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100" b="0" i="0" u="none" baseline="0" dirty="0"/>
              <a:t>Stockage et traitement</a:t>
            </a:r>
          </a:p>
        </p:txBody>
      </p:sp>
      <p:grpSp>
        <p:nvGrpSpPr>
          <p:cNvPr id="216" name="Gruppieren 215">
            <a:extLst>
              <a:ext uri="{FF2B5EF4-FFF2-40B4-BE49-F238E27FC236}">
                <a16:creationId xmlns:a16="http://schemas.microsoft.com/office/drawing/2014/main" id="{711E6B36-432D-4651-A123-84495788D306}"/>
              </a:ext>
            </a:extLst>
          </p:cNvPr>
          <p:cNvGrpSpPr/>
          <p:nvPr/>
        </p:nvGrpSpPr>
        <p:grpSpPr>
          <a:xfrm>
            <a:off x="2564157" y="1112838"/>
            <a:ext cx="6255993" cy="252923"/>
            <a:chOff x="323850" y="2384509"/>
            <a:chExt cx="8496300" cy="252923"/>
          </a:xfrm>
        </p:grpSpPr>
        <p:sp>
          <p:nvSpPr>
            <p:cNvPr id="213" name="Rectangle 80">
              <a:extLst>
                <a:ext uri="{FF2B5EF4-FFF2-40B4-BE49-F238E27FC236}">
                  <a16:creationId xmlns:a16="http://schemas.microsoft.com/office/drawing/2014/main" id="{E9EAE64A-AC01-4B1F-9F67-910483755468}"/>
                </a:ext>
              </a:extLst>
            </p:cNvPr>
            <p:cNvSpPr/>
            <p:nvPr/>
          </p:nvSpPr>
          <p:spPr>
            <a:xfrm>
              <a:off x="323850" y="2384509"/>
              <a:ext cx="4670908" cy="20467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l" rtl="0">
                <a:lnSpc>
                  <a:spcPct val="95000"/>
                </a:lnSpc>
              </a:pPr>
              <a:r>
                <a:rPr lang="fr-FR" sz="1400" b="1" i="0" u="none" baseline="0"/>
                <a:t>Caractéristiques clés du produit</a:t>
              </a:r>
            </a:p>
          </p:txBody>
        </p:sp>
        <p:cxnSp>
          <p:nvCxnSpPr>
            <p:cNvPr id="215" name="Gerader Verbinder 214">
              <a:extLst>
                <a:ext uri="{FF2B5EF4-FFF2-40B4-BE49-F238E27FC236}">
                  <a16:creationId xmlns:a16="http://schemas.microsoft.com/office/drawing/2014/main" id="{A856B5FF-CC12-4606-B29E-06E752253DCD}"/>
                </a:ext>
              </a:extLst>
            </p:cNvPr>
            <p:cNvCxnSpPr/>
            <p:nvPr/>
          </p:nvCxnSpPr>
          <p:spPr>
            <a:xfrm>
              <a:off x="323850" y="2637432"/>
              <a:ext cx="8496300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D86836A4-D5EB-4112-9774-6F34283BE374}"/>
              </a:ext>
            </a:extLst>
          </p:cNvPr>
          <p:cNvSpPr/>
          <p:nvPr/>
        </p:nvSpPr>
        <p:spPr>
          <a:xfrm>
            <a:off x="1355614" y="2471871"/>
            <a:ext cx="1212739" cy="277723"/>
          </a:xfrm>
          <a:custGeom>
            <a:avLst/>
            <a:gdLst>
              <a:gd name="connsiteX0" fmla="*/ 0 w 1209675"/>
              <a:gd name="connsiteY0" fmla="*/ 571500 h 571500"/>
              <a:gd name="connsiteX1" fmla="*/ 1209675 w 1209675"/>
              <a:gd name="connsiteY1" fmla="*/ 0 h 571500"/>
              <a:gd name="connsiteX0" fmla="*/ 0 w 1209675"/>
              <a:gd name="connsiteY0" fmla="*/ 571500 h 571500"/>
              <a:gd name="connsiteX1" fmla="*/ 1209675 w 1209675"/>
              <a:gd name="connsiteY1" fmla="*/ 0 h 571500"/>
              <a:gd name="connsiteX0" fmla="*/ 0 w 1257300"/>
              <a:gd name="connsiteY0" fmla="*/ 609600 h 609600"/>
              <a:gd name="connsiteX1" fmla="*/ 1257300 w 1257300"/>
              <a:gd name="connsiteY1" fmla="*/ 0 h 609600"/>
              <a:gd name="connsiteX0" fmla="*/ 0 w 1257300"/>
              <a:gd name="connsiteY0" fmla="*/ 609600 h 609600"/>
              <a:gd name="connsiteX1" fmla="*/ 1257300 w 1257300"/>
              <a:gd name="connsiteY1" fmla="*/ 0 h 609600"/>
              <a:gd name="connsiteX0" fmla="*/ 0 w 1257300"/>
              <a:gd name="connsiteY0" fmla="*/ 609600 h 609600"/>
              <a:gd name="connsiteX1" fmla="*/ 1257300 w 1257300"/>
              <a:gd name="connsiteY1" fmla="*/ 0 h 609600"/>
              <a:gd name="connsiteX0" fmla="*/ 0 w 1257300"/>
              <a:gd name="connsiteY0" fmla="*/ 609600 h 609600"/>
              <a:gd name="connsiteX1" fmla="*/ 1257300 w 1257300"/>
              <a:gd name="connsiteY1" fmla="*/ 0 h 609600"/>
              <a:gd name="connsiteX0" fmla="*/ 0 w 1323975"/>
              <a:gd name="connsiteY0" fmla="*/ 342900 h 342900"/>
              <a:gd name="connsiteX1" fmla="*/ 1323975 w 1323975"/>
              <a:gd name="connsiteY1" fmla="*/ 0 h 342900"/>
              <a:gd name="connsiteX0" fmla="*/ 0 w 1323975"/>
              <a:gd name="connsiteY0" fmla="*/ 343400 h 343400"/>
              <a:gd name="connsiteX1" fmla="*/ 1323975 w 1323975"/>
              <a:gd name="connsiteY1" fmla="*/ 500 h 34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23975" h="343400">
                <a:moveTo>
                  <a:pt x="0" y="343400"/>
                </a:moveTo>
                <a:cubicBezTo>
                  <a:pt x="361950" y="44950"/>
                  <a:pt x="733425" y="-5850"/>
                  <a:pt x="1323975" y="500"/>
                </a:cubicBezTo>
              </a:path>
            </a:pathLst>
          </a:custGeom>
          <a:noFill/>
          <a:ln w="2540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B8C9E2BC-2FF1-4C77-B0B8-66CC29A97F8A}"/>
              </a:ext>
            </a:extLst>
          </p:cNvPr>
          <p:cNvSpPr/>
          <p:nvPr/>
        </p:nvSpPr>
        <p:spPr>
          <a:xfrm>
            <a:off x="869639" y="1691754"/>
            <a:ext cx="5179468" cy="603836"/>
          </a:xfrm>
          <a:custGeom>
            <a:avLst/>
            <a:gdLst>
              <a:gd name="connsiteX0" fmla="*/ 0 w 4712677"/>
              <a:gd name="connsiteY0" fmla="*/ 313325 h 313325"/>
              <a:gd name="connsiteX1" fmla="*/ 2973398 w 4712677"/>
              <a:gd name="connsiteY1" fmla="*/ 134282 h 313325"/>
              <a:gd name="connsiteX2" fmla="*/ 4712677 w 4712677"/>
              <a:gd name="connsiteY2" fmla="*/ 0 h 313325"/>
              <a:gd name="connsiteX0" fmla="*/ 0 w 5192257"/>
              <a:gd name="connsiteY0" fmla="*/ 626651 h 626651"/>
              <a:gd name="connsiteX1" fmla="*/ 3452978 w 5192257"/>
              <a:gd name="connsiteY1" fmla="*/ 134282 h 626651"/>
              <a:gd name="connsiteX2" fmla="*/ 5192257 w 5192257"/>
              <a:gd name="connsiteY2" fmla="*/ 0 h 626651"/>
              <a:gd name="connsiteX0" fmla="*/ 0 w 5179468"/>
              <a:gd name="connsiteY0" fmla="*/ 515793 h 515793"/>
              <a:gd name="connsiteX1" fmla="*/ 3452978 w 5179468"/>
              <a:gd name="connsiteY1" fmla="*/ 23424 h 515793"/>
              <a:gd name="connsiteX2" fmla="*/ 5179468 w 5179468"/>
              <a:gd name="connsiteY2" fmla="*/ 49002 h 515793"/>
              <a:gd name="connsiteX0" fmla="*/ 0 w 5179468"/>
              <a:gd name="connsiteY0" fmla="*/ 597859 h 597859"/>
              <a:gd name="connsiteX1" fmla="*/ 2378718 w 5179468"/>
              <a:gd name="connsiteY1" fmla="*/ 15968 h 597859"/>
              <a:gd name="connsiteX2" fmla="*/ 5179468 w 5179468"/>
              <a:gd name="connsiteY2" fmla="*/ 131068 h 597859"/>
              <a:gd name="connsiteX0" fmla="*/ 0 w 5179468"/>
              <a:gd name="connsiteY0" fmla="*/ 603836 h 603836"/>
              <a:gd name="connsiteX1" fmla="*/ 2378718 w 5179468"/>
              <a:gd name="connsiteY1" fmla="*/ 21945 h 603836"/>
              <a:gd name="connsiteX2" fmla="*/ 5179468 w 5179468"/>
              <a:gd name="connsiteY2" fmla="*/ 137045 h 603836"/>
              <a:gd name="connsiteX0" fmla="*/ 0 w 5179468"/>
              <a:gd name="connsiteY0" fmla="*/ 603836 h 603836"/>
              <a:gd name="connsiteX1" fmla="*/ 2378718 w 5179468"/>
              <a:gd name="connsiteY1" fmla="*/ 21945 h 603836"/>
              <a:gd name="connsiteX2" fmla="*/ 5179468 w 5179468"/>
              <a:gd name="connsiteY2" fmla="*/ 137045 h 603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79468" h="603836">
                <a:moveTo>
                  <a:pt x="0" y="603836"/>
                </a:moveTo>
                <a:cubicBezTo>
                  <a:pt x="1119021" y="241487"/>
                  <a:pt x="1515473" y="99744"/>
                  <a:pt x="2378718" y="21945"/>
                </a:cubicBezTo>
                <a:cubicBezTo>
                  <a:pt x="3241963" y="-55853"/>
                  <a:pt x="4740917" y="94947"/>
                  <a:pt x="5179468" y="137045"/>
                </a:cubicBezTo>
              </a:path>
            </a:pathLst>
          </a:custGeom>
          <a:noFill/>
          <a:ln w="2540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2993F025-BD20-48A2-8C59-313647774FD9}"/>
              </a:ext>
            </a:extLst>
          </p:cNvPr>
          <p:cNvSpPr/>
          <p:nvPr/>
        </p:nvSpPr>
        <p:spPr>
          <a:xfrm>
            <a:off x="1195754" y="3146048"/>
            <a:ext cx="3024554" cy="646344"/>
          </a:xfrm>
          <a:custGeom>
            <a:avLst/>
            <a:gdLst>
              <a:gd name="connsiteX0" fmla="*/ 0 w 3024554"/>
              <a:gd name="connsiteY0" fmla="*/ 0 h 691199"/>
              <a:gd name="connsiteX1" fmla="*/ 1860772 w 3024554"/>
              <a:gd name="connsiteY1" fmla="*/ 658623 h 691199"/>
              <a:gd name="connsiteX2" fmla="*/ 3024554 w 3024554"/>
              <a:gd name="connsiteY2" fmla="*/ 530735 h 691199"/>
              <a:gd name="connsiteX0" fmla="*/ 0 w 3024554"/>
              <a:gd name="connsiteY0" fmla="*/ 0 h 646344"/>
              <a:gd name="connsiteX1" fmla="*/ 1489897 w 3024554"/>
              <a:gd name="connsiteY1" fmla="*/ 601073 h 646344"/>
              <a:gd name="connsiteX2" fmla="*/ 3024554 w 3024554"/>
              <a:gd name="connsiteY2" fmla="*/ 530735 h 646344"/>
              <a:gd name="connsiteX0" fmla="*/ 0 w 3024554"/>
              <a:gd name="connsiteY0" fmla="*/ 0 h 646344"/>
              <a:gd name="connsiteX1" fmla="*/ 1489897 w 3024554"/>
              <a:gd name="connsiteY1" fmla="*/ 601073 h 646344"/>
              <a:gd name="connsiteX2" fmla="*/ 3024554 w 3024554"/>
              <a:gd name="connsiteY2" fmla="*/ 530735 h 646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24554" h="646344">
                <a:moveTo>
                  <a:pt x="0" y="0"/>
                </a:moveTo>
                <a:cubicBezTo>
                  <a:pt x="671946" y="349027"/>
                  <a:pt x="985805" y="512617"/>
                  <a:pt x="1489897" y="601073"/>
                </a:cubicBezTo>
                <a:cubicBezTo>
                  <a:pt x="1993989" y="689529"/>
                  <a:pt x="2694709" y="638907"/>
                  <a:pt x="3024554" y="530735"/>
                </a:cubicBezTo>
              </a:path>
            </a:pathLst>
          </a:custGeom>
          <a:noFill/>
          <a:ln w="2540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-FR" b="0" i="0" u="none" baseline="0"/>
              <a:t> </a:t>
            </a:r>
            <a:endParaRPr lang="fr-FR" dirty="0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9DB93D0C-3576-4240-8827-9463DCE3BCCC}"/>
              </a:ext>
            </a:extLst>
          </p:cNvPr>
          <p:cNvSpPr/>
          <p:nvPr/>
        </p:nvSpPr>
        <p:spPr>
          <a:xfrm>
            <a:off x="850456" y="3325091"/>
            <a:ext cx="7040241" cy="1283396"/>
          </a:xfrm>
          <a:custGeom>
            <a:avLst/>
            <a:gdLst>
              <a:gd name="connsiteX0" fmla="*/ 0 w 7040241"/>
              <a:gd name="connsiteY0" fmla="*/ 0 h 1279338"/>
              <a:gd name="connsiteX1" fmla="*/ 3395429 w 7040241"/>
              <a:gd name="connsiteY1" fmla="*/ 1227726 h 1279338"/>
              <a:gd name="connsiteX2" fmla="*/ 7040241 w 7040241"/>
              <a:gd name="connsiteY2" fmla="*/ 933583 h 1279338"/>
              <a:gd name="connsiteX0" fmla="*/ 0 w 7040241"/>
              <a:gd name="connsiteY0" fmla="*/ 0 h 1296033"/>
              <a:gd name="connsiteX1" fmla="*/ 3241963 w 7040241"/>
              <a:gd name="connsiteY1" fmla="*/ 1246909 h 1296033"/>
              <a:gd name="connsiteX2" fmla="*/ 7040241 w 7040241"/>
              <a:gd name="connsiteY2" fmla="*/ 933583 h 1296033"/>
              <a:gd name="connsiteX0" fmla="*/ 0 w 7040241"/>
              <a:gd name="connsiteY0" fmla="*/ 0 h 1283396"/>
              <a:gd name="connsiteX1" fmla="*/ 3241963 w 7040241"/>
              <a:gd name="connsiteY1" fmla="*/ 1246909 h 1283396"/>
              <a:gd name="connsiteX2" fmla="*/ 7040241 w 7040241"/>
              <a:gd name="connsiteY2" fmla="*/ 933583 h 1283396"/>
              <a:gd name="connsiteX0" fmla="*/ 0 w 7040241"/>
              <a:gd name="connsiteY0" fmla="*/ 0 h 1283396"/>
              <a:gd name="connsiteX1" fmla="*/ 3241963 w 7040241"/>
              <a:gd name="connsiteY1" fmla="*/ 1246909 h 1283396"/>
              <a:gd name="connsiteX2" fmla="*/ 7040241 w 7040241"/>
              <a:gd name="connsiteY2" fmla="*/ 933583 h 1283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040241" h="1283396">
                <a:moveTo>
                  <a:pt x="0" y="0"/>
                </a:moveTo>
                <a:cubicBezTo>
                  <a:pt x="1047084" y="568036"/>
                  <a:pt x="1985463" y="1123284"/>
                  <a:pt x="3241963" y="1246909"/>
                </a:cubicBezTo>
                <a:cubicBezTo>
                  <a:pt x="4498463" y="1370534"/>
                  <a:pt x="5804521" y="1158453"/>
                  <a:pt x="7040241" y="933583"/>
                </a:cubicBezTo>
              </a:path>
            </a:pathLst>
          </a:custGeom>
          <a:noFill/>
          <a:ln w="2540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6BADE867-A7E0-4102-B5BB-F264F48B20D8}"/>
              </a:ext>
            </a:extLst>
          </p:cNvPr>
          <p:cNvSpPr/>
          <p:nvPr/>
        </p:nvSpPr>
        <p:spPr>
          <a:xfrm>
            <a:off x="3568078" y="2551368"/>
            <a:ext cx="780118" cy="709779"/>
          </a:xfrm>
          <a:custGeom>
            <a:avLst/>
            <a:gdLst>
              <a:gd name="connsiteX0" fmla="*/ 0 w 818484"/>
              <a:gd name="connsiteY0" fmla="*/ 0 h 524341"/>
              <a:gd name="connsiteX1" fmla="*/ 818484 w 818484"/>
              <a:gd name="connsiteY1" fmla="*/ 524341 h 524341"/>
              <a:gd name="connsiteX0" fmla="*/ 0 w 818484"/>
              <a:gd name="connsiteY0" fmla="*/ 0 h 524341"/>
              <a:gd name="connsiteX1" fmla="*/ 818484 w 818484"/>
              <a:gd name="connsiteY1" fmla="*/ 524341 h 524341"/>
              <a:gd name="connsiteX0" fmla="*/ 0 w 780118"/>
              <a:gd name="connsiteY0" fmla="*/ 0 h 709779"/>
              <a:gd name="connsiteX1" fmla="*/ 780118 w 780118"/>
              <a:gd name="connsiteY1" fmla="*/ 709779 h 709779"/>
              <a:gd name="connsiteX0" fmla="*/ 0 w 780118"/>
              <a:gd name="connsiteY0" fmla="*/ 0 h 709779"/>
              <a:gd name="connsiteX1" fmla="*/ 780118 w 780118"/>
              <a:gd name="connsiteY1" fmla="*/ 709779 h 709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80118" h="709779">
                <a:moveTo>
                  <a:pt x="0" y="0"/>
                </a:moveTo>
                <a:cubicBezTo>
                  <a:pt x="362350" y="117230"/>
                  <a:pt x="603206" y="362351"/>
                  <a:pt x="780118" y="709779"/>
                </a:cubicBezTo>
              </a:path>
            </a:pathLst>
          </a:custGeom>
          <a:noFill/>
          <a:ln w="2540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A7012BEB-952F-4010-A2E7-39C6AD9259F9}"/>
              </a:ext>
            </a:extLst>
          </p:cNvPr>
          <p:cNvSpPr/>
          <p:nvPr/>
        </p:nvSpPr>
        <p:spPr>
          <a:xfrm>
            <a:off x="5070764" y="2199676"/>
            <a:ext cx="1003921" cy="1042288"/>
          </a:xfrm>
          <a:custGeom>
            <a:avLst/>
            <a:gdLst>
              <a:gd name="connsiteX0" fmla="*/ 0 w 1003921"/>
              <a:gd name="connsiteY0" fmla="*/ 1042288 h 1042288"/>
              <a:gd name="connsiteX1" fmla="*/ 1003921 w 1003921"/>
              <a:gd name="connsiteY1" fmla="*/ 0 h 1042288"/>
              <a:gd name="connsiteX0" fmla="*/ 0 w 1003921"/>
              <a:gd name="connsiteY0" fmla="*/ 1042288 h 1042288"/>
              <a:gd name="connsiteX1" fmla="*/ 1003921 w 1003921"/>
              <a:gd name="connsiteY1" fmla="*/ 0 h 1042288"/>
              <a:gd name="connsiteX0" fmla="*/ 0 w 1003921"/>
              <a:gd name="connsiteY0" fmla="*/ 1042288 h 1042288"/>
              <a:gd name="connsiteX1" fmla="*/ 1003921 w 1003921"/>
              <a:gd name="connsiteY1" fmla="*/ 0 h 1042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3921" h="1042288">
                <a:moveTo>
                  <a:pt x="0" y="1042288"/>
                </a:moveTo>
                <a:cubicBezTo>
                  <a:pt x="277091" y="483844"/>
                  <a:pt x="598943" y="289879"/>
                  <a:pt x="1003921" y="0"/>
                </a:cubicBezTo>
              </a:path>
            </a:pathLst>
          </a:custGeom>
          <a:noFill/>
          <a:ln w="2540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9AF69520-8E69-4731-9421-664D24E81147}"/>
              </a:ext>
            </a:extLst>
          </p:cNvPr>
          <p:cNvSpPr/>
          <p:nvPr/>
        </p:nvSpPr>
        <p:spPr>
          <a:xfrm>
            <a:off x="7033846" y="2052604"/>
            <a:ext cx="1253570" cy="1305391"/>
          </a:xfrm>
          <a:custGeom>
            <a:avLst/>
            <a:gdLst>
              <a:gd name="connsiteX0" fmla="*/ 0 w 1291670"/>
              <a:gd name="connsiteY0" fmla="*/ 0 h 1438741"/>
              <a:gd name="connsiteX1" fmla="*/ 1291670 w 1291670"/>
              <a:gd name="connsiteY1" fmla="*/ 1438741 h 1438741"/>
              <a:gd name="connsiteX0" fmla="*/ 0 w 1291670"/>
              <a:gd name="connsiteY0" fmla="*/ 0 h 1438741"/>
              <a:gd name="connsiteX1" fmla="*/ 1291670 w 1291670"/>
              <a:gd name="connsiteY1" fmla="*/ 1438741 h 1438741"/>
              <a:gd name="connsiteX0" fmla="*/ 0 w 1291670"/>
              <a:gd name="connsiteY0" fmla="*/ 0 h 1438741"/>
              <a:gd name="connsiteX1" fmla="*/ 1291670 w 1291670"/>
              <a:gd name="connsiteY1" fmla="*/ 1438741 h 1438741"/>
              <a:gd name="connsiteX0" fmla="*/ 0 w 1253570"/>
              <a:gd name="connsiteY0" fmla="*/ 0 h 1305391"/>
              <a:gd name="connsiteX1" fmla="*/ 1253570 w 1253570"/>
              <a:gd name="connsiteY1" fmla="*/ 1305391 h 1305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3570" h="1305391">
                <a:moveTo>
                  <a:pt x="0" y="0"/>
                </a:moveTo>
                <a:cubicBezTo>
                  <a:pt x="756672" y="377270"/>
                  <a:pt x="976479" y="544457"/>
                  <a:pt x="1253570" y="1305391"/>
                </a:cubicBezTo>
              </a:path>
            </a:pathLst>
          </a:custGeom>
          <a:noFill/>
          <a:ln w="2540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3B677F9D-D2A7-4A1E-AA50-E7EA197A88EA}"/>
              </a:ext>
            </a:extLst>
          </p:cNvPr>
          <p:cNvSpPr/>
          <p:nvPr/>
        </p:nvSpPr>
        <p:spPr>
          <a:xfrm>
            <a:off x="6957060" y="1678117"/>
            <a:ext cx="2263140" cy="463103"/>
          </a:xfrm>
          <a:custGeom>
            <a:avLst/>
            <a:gdLst>
              <a:gd name="connsiteX0" fmla="*/ 0 w 2263140"/>
              <a:gd name="connsiteY0" fmla="*/ 51623 h 463103"/>
              <a:gd name="connsiteX1" fmla="*/ 1280160 w 2263140"/>
              <a:gd name="connsiteY1" fmla="*/ 36383 h 463103"/>
              <a:gd name="connsiteX2" fmla="*/ 2263140 w 2263140"/>
              <a:gd name="connsiteY2" fmla="*/ 463103 h 463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63140" h="463103">
                <a:moveTo>
                  <a:pt x="0" y="51623"/>
                </a:moveTo>
                <a:cubicBezTo>
                  <a:pt x="451485" y="9713"/>
                  <a:pt x="902970" y="-32197"/>
                  <a:pt x="1280160" y="36383"/>
                </a:cubicBezTo>
                <a:cubicBezTo>
                  <a:pt x="1657350" y="104963"/>
                  <a:pt x="1960245" y="284033"/>
                  <a:pt x="2263140" y="463103"/>
                </a:cubicBezTo>
              </a:path>
            </a:pathLst>
          </a:custGeom>
          <a:noFill/>
          <a:ln w="25400">
            <a:solidFill>
              <a:schemeClr val="bg1">
                <a:alpha val="60000"/>
              </a:schemeClr>
            </a:solidFill>
            <a:prstDash val="dash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-FR"/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6CE74D29-35C7-4286-80B0-3C7E6B06B801}"/>
              </a:ext>
            </a:extLst>
          </p:cNvPr>
          <p:cNvSpPr/>
          <p:nvPr/>
        </p:nvSpPr>
        <p:spPr>
          <a:xfrm>
            <a:off x="8618220" y="4251960"/>
            <a:ext cx="662940" cy="228600"/>
          </a:xfrm>
          <a:custGeom>
            <a:avLst/>
            <a:gdLst>
              <a:gd name="connsiteX0" fmla="*/ 0 w 662940"/>
              <a:gd name="connsiteY0" fmla="*/ 0 h 228600"/>
              <a:gd name="connsiteX1" fmla="*/ 350520 w 662940"/>
              <a:gd name="connsiteY1" fmla="*/ 190500 h 228600"/>
              <a:gd name="connsiteX2" fmla="*/ 662940 w 662940"/>
              <a:gd name="connsiteY2" fmla="*/ 22860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62940" h="228600">
                <a:moveTo>
                  <a:pt x="0" y="0"/>
                </a:moveTo>
                <a:cubicBezTo>
                  <a:pt x="120015" y="76200"/>
                  <a:pt x="240030" y="152400"/>
                  <a:pt x="350520" y="190500"/>
                </a:cubicBezTo>
                <a:cubicBezTo>
                  <a:pt x="461010" y="228600"/>
                  <a:pt x="561975" y="228600"/>
                  <a:pt x="662940" y="228600"/>
                </a:cubicBezTo>
              </a:path>
            </a:pathLst>
          </a:custGeom>
          <a:noFill/>
          <a:ln w="25400">
            <a:solidFill>
              <a:schemeClr val="bg1">
                <a:alpha val="60000"/>
              </a:schemeClr>
            </a:solidFill>
            <a:prstDash val="dash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-FR"/>
          </a:p>
        </p:txBody>
      </p:sp>
      <p:sp>
        <p:nvSpPr>
          <p:cNvPr id="212" name="Rectangle 78">
            <a:extLst>
              <a:ext uri="{FF2B5EF4-FFF2-40B4-BE49-F238E27FC236}">
                <a16:creationId xmlns:a16="http://schemas.microsoft.com/office/drawing/2014/main" id="{7751DDCC-F097-4D33-A512-A402B04AFB68}"/>
              </a:ext>
            </a:extLst>
          </p:cNvPr>
          <p:cNvSpPr/>
          <p:nvPr/>
        </p:nvSpPr>
        <p:spPr>
          <a:xfrm>
            <a:off x="209885" y="3412175"/>
            <a:ext cx="1206563" cy="4824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100" b="0" i="0" u="none" baseline="0" dirty="0" err="1"/>
              <a:t>European</a:t>
            </a:r>
            <a:endParaRPr lang="fr-FR" sz="1100" b="0" i="0" u="none" baseline="0" dirty="0"/>
          </a:p>
          <a:p>
            <a:pPr algn="ctr" rtl="0">
              <a:lnSpc>
                <a:spcPct val="95000"/>
              </a:lnSpc>
            </a:pPr>
            <a:r>
              <a:rPr lang="fr-FR" sz="1100" b="0" i="0" u="none" baseline="0" dirty="0" err="1"/>
              <a:t>Fulfillment</a:t>
            </a:r>
            <a:r>
              <a:rPr lang="fr-FR" sz="1100" b="0" i="0" u="none" baseline="0" dirty="0"/>
              <a:t> Network</a:t>
            </a:r>
          </a:p>
        </p:txBody>
      </p:sp>
      <p:sp>
        <p:nvSpPr>
          <p:cNvPr id="209" name="Rectangle 43">
            <a:extLst>
              <a:ext uri="{FF2B5EF4-FFF2-40B4-BE49-F238E27FC236}">
                <a16:creationId xmlns:a16="http://schemas.microsoft.com/office/drawing/2014/main" id="{43233864-A9E0-4DA0-9A04-AA4AF2D74305}"/>
              </a:ext>
            </a:extLst>
          </p:cNvPr>
          <p:cNvSpPr/>
          <p:nvPr/>
        </p:nvSpPr>
        <p:spPr>
          <a:xfrm>
            <a:off x="7788898" y="4462870"/>
            <a:ext cx="1024901" cy="48244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100" b="0" i="0" u="none" baseline="0" dirty="0"/>
              <a:t>Traitement et expédition des retours</a:t>
            </a:r>
          </a:p>
        </p:txBody>
      </p:sp>
    </p:spTree>
    <p:extLst>
      <p:ext uri="{BB962C8B-B14F-4D97-AF65-F5344CB8AC3E}">
        <p14:creationId xmlns:p14="http://schemas.microsoft.com/office/powerpoint/2010/main" val="27989394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17796B2-12F1-4AAA-8482-383F9901DC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37410" y="0"/>
            <a:ext cx="3006589" cy="5143500"/>
          </a:xfrm>
        </p:spPr>
        <p:txBody>
          <a:bodyPr/>
          <a:lstStyle/>
          <a:p>
            <a:pPr algn="l" rtl="0"/>
            <a:r>
              <a:rPr lang="fr-FR" b="0" i="0" u="none" baseline="0"/>
              <a:t> </a:t>
            </a:r>
            <a:endParaRPr lang="fr-FR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D3F938-DD09-4A2C-8C19-09760F0CC6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  <a:endParaRPr lang="fr-FR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BBB826-20D6-4809-8C59-CA9F260038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7</a:t>
            </a:fld>
            <a:endParaRPr lang="fr-FR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29140B4-9CC6-4264-8D66-5DA5BEA63EB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3999" y="1286611"/>
            <a:ext cx="2646973" cy="2100466"/>
          </a:xfrm>
        </p:spPr>
        <p:txBody>
          <a:bodyPr anchor="t" anchorCtr="0"/>
          <a:lstStyle/>
          <a:p>
            <a:pPr algn="l" rtl="0"/>
            <a:r>
              <a:rPr lang="fr-FR" sz="1600" b="0" i="0" u="none" baseline="0" dirty="0"/>
              <a:t>L’</a:t>
            </a:r>
            <a:r>
              <a:rPr lang="fr-FR" sz="1600" b="1" i="0" u="none" baseline="0" dirty="0"/>
              <a:t>EFN</a:t>
            </a:r>
            <a:r>
              <a:rPr lang="fr-FR" sz="1600" b="0" i="0" u="none" baseline="0" dirty="0"/>
              <a:t> est un réseau </a:t>
            </a:r>
            <a:r>
              <a:rPr lang="fr-FR" sz="1600" b="1" i="0" u="none" baseline="0" dirty="0"/>
              <a:t>paneuropéen de gestion des commandes en ligne </a:t>
            </a:r>
            <a:r>
              <a:rPr lang="fr-FR" sz="1600" b="0" i="0" u="none" baseline="0" dirty="0"/>
              <a:t>permettant la </a:t>
            </a:r>
            <a:r>
              <a:rPr lang="fr-FR" sz="1600" b="1" i="0" u="none" baseline="0" dirty="0"/>
              <a:t>livraison le lendemain </a:t>
            </a:r>
            <a:r>
              <a:rPr lang="fr-FR" sz="1600" b="0" i="0" u="none" baseline="0" dirty="0"/>
              <a:t>sur tous les principaux marchés européens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D47F287-5D85-4694-BA2D-ED70D15F4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5593510" cy="493950"/>
          </a:xfrm>
        </p:spPr>
        <p:txBody>
          <a:bodyPr/>
          <a:lstStyle/>
          <a:p>
            <a:pPr algn="l" rtl="0"/>
            <a:r>
              <a:rPr lang="fr-FR" b="1" i="0" u="none" baseline="0"/>
              <a:t>Qu’est-ce que le European Fulfillment Network ?</a:t>
            </a:r>
            <a:endParaRPr lang="fr-FR" dirty="0"/>
          </a:p>
        </p:txBody>
      </p:sp>
      <p:sp>
        <p:nvSpPr>
          <p:cNvPr id="208" name="Rectangle 42">
            <a:extLst>
              <a:ext uri="{FF2B5EF4-FFF2-40B4-BE49-F238E27FC236}">
                <a16:creationId xmlns:a16="http://schemas.microsoft.com/office/drawing/2014/main" id="{325F370C-0DE4-4458-AA3C-67CDBC60347D}"/>
              </a:ext>
            </a:extLst>
          </p:cNvPr>
          <p:cNvSpPr/>
          <p:nvPr/>
        </p:nvSpPr>
        <p:spPr>
          <a:xfrm>
            <a:off x="7834587" y="3740250"/>
            <a:ext cx="1024901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 dirty="0">
                <a:solidFill>
                  <a:schemeClr val="accent1"/>
                </a:solidFill>
              </a:rPr>
              <a:t>Dernier kilomètre</a:t>
            </a:r>
          </a:p>
          <a:p>
            <a:pPr algn="ctr" rtl="0">
              <a:lnSpc>
                <a:spcPct val="95000"/>
              </a:lnSpc>
            </a:pPr>
            <a:r>
              <a:rPr lang="fr-FR" sz="1000" b="0" i="0" u="none" baseline="0" dirty="0">
                <a:solidFill>
                  <a:schemeClr val="accent1"/>
                </a:solidFill>
              </a:rPr>
              <a:t>indépendant du transporteur</a:t>
            </a:r>
          </a:p>
        </p:txBody>
      </p:sp>
      <p:sp>
        <p:nvSpPr>
          <p:cNvPr id="209" name="Rectangle 43">
            <a:extLst>
              <a:ext uri="{FF2B5EF4-FFF2-40B4-BE49-F238E27FC236}">
                <a16:creationId xmlns:a16="http://schemas.microsoft.com/office/drawing/2014/main" id="{43233864-A9E0-4DA0-9A04-AA4AF2D74305}"/>
              </a:ext>
            </a:extLst>
          </p:cNvPr>
          <p:cNvSpPr/>
          <p:nvPr/>
        </p:nvSpPr>
        <p:spPr>
          <a:xfrm>
            <a:off x="6768977" y="4414343"/>
            <a:ext cx="1024901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Traitement et expédition des retours</a:t>
            </a:r>
          </a:p>
        </p:txBody>
      </p:sp>
      <p:sp>
        <p:nvSpPr>
          <p:cNvPr id="210" name="Rectangle 46">
            <a:extLst>
              <a:ext uri="{FF2B5EF4-FFF2-40B4-BE49-F238E27FC236}">
                <a16:creationId xmlns:a16="http://schemas.microsoft.com/office/drawing/2014/main" id="{4C4A8826-EFF2-4A55-ABB7-3CFBC26085C6}"/>
              </a:ext>
            </a:extLst>
          </p:cNvPr>
          <p:cNvSpPr/>
          <p:nvPr/>
        </p:nvSpPr>
        <p:spPr>
          <a:xfrm>
            <a:off x="7855980" y="2300782"/>
            <a:ext cx="1024901" cy="14619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 dirty="0">
                <a:solidFill>
                  <a:schemeClr val="accent1"/>
                </a:solidFill>
              </a:rPr>
              <a:t>Manutention des expéditions entrantes</a:t>
            </a:r>
          </a:p>
        </p:txBody>
      </p:sp>
      <p:sp>
        <p:nvSpPr>
          <p:cNvPr id="211" name="Rectangle 62">
            <a:extLst>
              <a:ext uri="{FF2B5EF4-FFF2-40B4-BE49-F238E27FC236}">
                <a16:creationId xmlns:a16="http://schemas.microsoft.com/office/drawing/2014/main" id="{68C1B866-F204-4BB6-89DD-DAF5E2E382C4}"/>
              </a:ext>
            </a:extLst>
          </p:cNvPr>
          <p:cNvSpPr/>
          <p:nvPr/>
        </p:nvSpPr>
        <p:spPr>
          <a:xfrm>
            <a:off x="6784217" y="2929660"/>
            <a:ext cx="1024901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Stockage et traitement</a:t>
            </a:r>
          </a:p>
        </p:txBody>
      </p:sp>
      <p:sp>
        <p:nvSpPr>
          <p:cNvPr id="212" name="Rectangle 78">
            <a:extLst>
              <a:ext uri="{FF2B5EF4-FFF2-40B4-BE49-F238E27FC236}">
                <a16:creationId xmlns:a16="http://schemas.microsoft.com/office/drawing/2014/main" id="{7751DDCC-F097-4D33-A512-A402B04AFB68}"/>
              </a:ext>
            </a:extLst>
          </p:cNvPr>
          <p:cNvSpPr/>
          <p:nvPr/>
        </p:nvSpPr>
        <p:spPr>
          <a:xfrm>
            <a:off x="6560697" y="381000"/>
            <a:ext cx="1468266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1" i="0" u="none" baseline="0"/>
              <a:t>European</a:t>
            </a:r>
          </a:p>
          <a:p>
            <a:pPr algn="ctr" rtl="0">
              <a:lnSpc>
                <a:spcPct val="95000"/>
              </a:lnSpc>
            </a:pPr>
            <a:r>
              <a:rPr lang="fr-FR" sz="1000" b="1" i="0" u="none" baseline="0"/>
              <a:t>Fulfillment Network</a:t>
            </a:r>
          </a:p>
        </p:txBody>
      </p:sp>
      <p:sp>
        <p:nvSpPr>
          <p:cNvPr id="213" name="Rectangle 80">
            <a:extLst>
              <a:ext uri="{FF2B5EF4-FFF2-40B4-BE49-F238E27FC236}">
                <a16:creationId xmlns:a16="http://schemas.microsoft.com/office/drawing/2014/main" id="{E9EAE64A-AC01-4B1F-9F67-910483755468}"/>
              </a:ext>
            </a:extLst>
          </p:cNvPr>
          <p:cNvSpPr/>
          <p:nvPr/>
        </p:nvSpPr>
        <p:spPr>
          <a:xfrm rot="16200000">
            <a:off x="4698242" y="2792169"/>
            <a:ext cx="3530600" cy="248136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200" b="1" i="0" u="none" baseline="0"/>
              <a:t>Caractéristiques clés du produit</a:t>
            </a:r>
          </a:p>
        </p:txBody>
      </p:sp>
      <p:grpSp>
        <p:nvGrpSpPr>
          <p:cNvPr id="221" name="Group 289">
            <a:extLst>
              <a:ext uri="{FF2B5EF4-FFF2-40B4-BE49-F238E27FC236}">
                <a16:creationId xmlns:a16="http://schemas.microsoft.com/office/drawing/2014/main" id="{3BAFA6C0-EF01-421D-82EF-D5EAC5E83AFE}"/>
              </a:ext>
            </a:extLst>
          </p:cNvPr>
          <p:cNvGrpSpPr/>
          <p:nvPr/>
        </p:nvGrpSpPr>
        <p:grpSpPr>
          <a:xfrm>
            <a:off x="2430160" y="1151573"/>
            <a:ext cx="3516206" cy="3590332"/>
            <a:chOff x="5619751" y="-21632"/>
            <a:chExt cx="5832992" cy="5955958"/>
          </a:xfrm>
          <a:solidFill>
            <a:srgbClr val="FFCC00"/>
          </a:solidFill>
        </p:grpSpPr>
        <p:sp>
          <p:nvSpPr>
            <p:cNvPr id="222" name="Freeform 57">
              <a:extLst>
                <a:ext uri="{FF2B5EF4-FFF2-40B4-BE49-F238E27FC236}">
                  <a16:creationId xmlns:a16="http://schemas.microsoft.com/office/drawing/2014/main" id="{691F2846-1776-4F7C-AD0D-9082404BE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1946" y="3452678"/>
              <a:ext cx="391251" cy="328649"/>
            </a:xfrm>
            <a:custGeom>
              <a:avLst/>
              <a:gdLst/>
              <a:ahLst/>
              <a:cxnLst>
                <a:cxn ang="0">
                  <a:pos x="24" y="218"/>
                </a:cxn>
                <a:cxn ang="0">
                  <a:pos x="24" y="299"/>
                </a:cxn>
                <a:cxn ang="0">
                  <a:pos x="105" y="355"/>
                </a:cxn>
                <a:cxn ang="0">
                  <a:pos x="136" y="331"/>
                </a:cxn>
                <a:cxn ang="0">
                  <a:pos x="191" y="355"/>
                </a:cxn>
                <a:cxn ang="0">
                  <a:pos x="216" y="436"/>
                </a:cxn>
                <a:cxn ang="0">
                  <a:pos x="272" y="461"/>
                </a:cxn>
                <a:cxn ang="0">
                  <a:pos x="297" y="492"/>
                </a:cxn>
                <a:cxn ang="0">
                  <a:pos x="322" y="542"/>
                </a:cxn>
                <a:cxn ang="0">
                  <a:pos x="377" y="542"/>
                </a:cxn>
                <a:cxn ang="0">
                  <a:pos x="458" y="573"/>
                </a:cxn>
                <a:cxn ang="0">
                  <a:pos x="488" y="654"/>
                </a:cxn>
                <a:cxn ang="0">
                  <a:pos x="488" y="679"/>
                </a:cxn>
                <a:cxn ang="0">
                  <a:pos x="458" y="735"/>
                </a:cxn>
                <a:cxn ang="0">
                  <a:pos x="514" y="735"/>
                </a:cxn>
                <a:cxn ang="0">
                  <a:pos x="569" y="760"/>
                </a:cxn>
                <a:cxn ang="0">
                  <a:pos x="650" y="735"/>
                </a:cxn>
                <a:cxn ang="0">
                  <a:pos x="674" y="679"/>
                </a:cxn>
                <a:cxn ang="0">
                  <a:pos x="700" y="679"/>
                </a:cxn>
                <a:cxn ang="0">
                  <a:pos x="674" y="735"/>
                </a:cxn>
                <a:cxn ang="0">
                  <a:pos x="700" y="791"/>
                </a:cxn>
                <a:cxn ang="0">
                  <a:pos x="731" y="840"/>
                </a:cxn>
                <a:cxn ang="0">
                  <a:pos x="786" y="873"/>
                </a:cxn>
                <a:cxn ang="0">
                  <a:pos x="836" y="928"/>
                </a:cxn>
                <a:cxn ang="0">
                  <a:pos x="892" y="978"/>
                </a:cxn>
                <a:cxn ang="0">
                  <a:pos x="916" y="978"/>
                </a:cxn>
                <a:cxn ang="0">
                  <a:pos x="972" y="978"/>
                </a:cxn>
                <a:cxn ang="0">
                  <a:pos x="997" y="953"/>
                </a:cxn>
                <a:cxn ang="0">
                  <a:pos x="997" y="873"/>
                </a:cxn>
                <a:cxn ang="0">
                  <a:pos x="972" y="791"/>
                </a:cxn>
                <a:cxn ang="0">
                  <a:pos x="997" y="735"/>
                </a:cxn>
                <a:cxn ang="0">
                  <a:pos x="1028" y="654"/>
                </a:cxn>
                <a:cxn ang="0">
                  <a:pos x="1083" y="654"/>
                </a:cxn>
                <a:cxn ang="0">
                  <a:pos x="1109" y="654"/>
                </a:cxn>
                <a:cxn ang="0">
                  <a:pos x="1133" y="598"/>
                </a:cxn>
                <a:cxn ang="0">
                  <a:pos x="1164" y="542"/>
                </a:cxn>
                <a:cxn ang="0">
                  <a:pos x="1109" y="492"/>
                </a:cxn>
                <a:cxn ang="0">
                  <a:pos x="1083" y="411"/>
                </a:cxn>
                <a:cxn ang="0">
                  <a:pos x="997" y="380"/>
                </a:cxn>
                <a:cxn ang="0">
                  <a:pos x="972" y="355"/>
                </a:cxn>
                <a:cxn ang="0">
                  <a:pos x="972" y="331"/>
                </a:cxn>
                <a:cxn ang="0">
                  <a:pos x="997" y="243"/>
                </a:cxn>
                <a:cxn ang="0">
                  <a:pos x="997" y="218"/>
                </a:cxn>
                <a:cxn ang="0">
                  <a:pos x="972" y="161"/>
                </a:cxn>
                <a:cxn ang="0">
                  <a:pos x="916" y="137"/>
                </a:cxn>
                <a:cxn ang="0">
                  <a:pos x="867" y="137"/>
                </a:cxn>
                <a:cxn ang="0">
                  <a:pos x="811" y="112"/>
                </a:cxn>
                <a:cxn ang="0">
                  <a:pos x="786" y="31"/>
                </a:cxn>
                <a:cxn ang="0">
                  <a:pos x="700" y="56"/>
                </a:cxn>
                <a:cxn ang="0">
                  <a:pos x="700" y="31"/>
                </a:cxn>
                <a:cxn ang="0">
                  <a:pos x="674" y="31"/>
                </a:cxn>
                <a:cxn ang="0">
                  <a:pos x="619" y="0"/>
                </a:cxn>
                <a:cxn ang="0">
                  <a:pos x="569" y="81"/>
                </a:cxn>
                <a:cxn ang="0">
                  <a:pos x="538" y="81"/>
                </a:cxn>
                <a:cxn ang="0">
                  <a:pos x="458" y="112"/>
                </a:cxn>
                <a:cxn ang="0">
                  <a:pos x="402" y="137"/>
                </a:cxn>
                <a:cxn ang="0">
                  <a:pos x="352" y="81"/>
                </a:cxn>
                <a:cxn ang="0">
                  <a:pos x="297" y="112"/>
                </a:cxn>
                <a:cxn ang="0">
                  <a:pos x="241" y="56"/>
                </a:cxn>
                <a:cxn ang="0">
                  <a:pos x="79" y="137"/>
                </a:cxn>
              </a:cxnLst>
              <a:rect l="0" t="0" r="r" b="b"/>
              <a:pathLst>
                <a:path w="1164" h="978">
                  <a:moveTo>
                    <a:pt x="24" y="161"/>
                  </a:moveTo>
                  <a:lnTo>
                    <a:pt x="0" y="218"/>
                  </a:lnTo>
                  <a:lnTo>
                    <a:pt x="24" y="218"/>
                  </a:lnTo>
                  <a:lnTo>
                    <a:pt x="24" y="243"/>
                  </a:lnTo>
                  <a:lnTo>
                    <a:pt x="24" y="274"/>
                  </a:lnTo>
                  <a:lnTo>
                    <a:pt x="24" y="299"/>
                  </a:lnTo>
                  <a:lnTo>
                    <a:pt x="55" y="299"/>
                  </a:lnTo>
                  <a:lnTo>
                    <a:pt x="79" y="355"/>
                  </a:lnTo>
                  <a:lnTo>
                    <a:pt x="105" y="355"/>
                  </a:lnTo>
                  <a:lnTo>
                    <a:pt x="105" y="380"/>
                  </a:lnTo>
                  <a:lnTo>
                    <a:pt x="105" y="355"/>
                  </a:lnTo>
                  <a:lnTo>
                    <a:pt x="136" y="331"/>
                  </a:lnTo>
                  <a:lnTo>
                    <a:pt x="160" y="331"/>
                  </a:lnTo>
                  <a:lnTo>
                    <a:pt x="191" y="331"/>
                  </a:lnTo>
                  <a:lnTo>
                    <a:pt x="191" y="355"/>
                  </a:lnTo>
                  <a:lnTo>
                    <a:pt x="216" y="380"/>
                  </a:lnTo>
                  <a:lnTo>
                    <a:pt x="216" y="411"/>
                  </a:lnTo>
                  <a:lnTo>
                    <a:pt x="216" y="436"/>
                  </a:lnTo>
                  <a:lnTo>
                    <a:pt x="216" y="461"/>
                  </a:lnTo>
                  <a:lnTo>
                    <a:pt x="241" y="492"/>
                  </a:lnTo>
                  <a:lnTo>
                    <a:pt x="272" y="461"/>
                  </a:lnTo>
                  <a:lnTo>
                    <a:pt x="297" y="461"/>
                  </a:lnTo>
                  <a:lnTo>
                    <a:pt x="272" y="492"/>
                  </a:lnTo>
                  <a:lnTo>
                    <a:pt x="297" y="492"/>
                  </a:lnTo>
                  <a:lnTo>
                    <a:pt x="322" y="492"/>
                  </a:lnTo>
                  <a:lnTo>
                    <a:pt x="322" y="516"/>
                  </a:lnTo>
                  <a:lnTo>
                    <a:pt x="322" y="542"/>
                  </a:lnTo>
                  <a:lnTo>
                    <a:pt x="322" y="573"/>
                  </a:lnTo>
                  <a:lnTo>
                    <a:pt x="352" y="573"/>
                  </a:lnTo>
                  <a:lnTo>
                    <a:pt x="377" y="542"/>
                  </a:lnTo>
                  <a:lnTo>
                    <a:pt x="402" y="573"/>
                  </a:lnTo>
                  <a:lnTo>
                    <a:pt x="433" y="542"/>
                  </a:lnTo>
                  <a:lnTo>
                    <a:pt x="458" y="573"/>
                  </a:lnTo>
                  <a:lnTo>
                    <a:pt x="488" y="598"/>
                  </a:lnTo>
                  <a:lnTo>
                    <a:pt x="488" y="629"/>
                  </a:lnTo>
                  <a:lnTo>
                    <a:pt x="488" y="654"/>
                  </a:lnTo>
                  <a:lnTo>
                    <a:pt x="458" y="654"/>
                  </a:lnTo>
                  <a:lnTo>
                    <a:pt x="488" y="654"/>
                  </a:lnTo>
                  <a:lnTo>
                    <a:pt x="488" y="679"/>
                  </a:lnTo>
                  <a:lnTo>
                    <a:pt x="488" y="710"/>
                  </a:lnTo>
                  <a:lnTo>
                    <a:pt x="458" y="710"/>
                  </a:lnTo>
                  <a:lnTo>
                    <a:pt x="458" y="735"/>
                  </a:lnTo>
                  <a:lnTo>
                    <a:pt x="488" y="735"/>
                  </a:lnTo>
                  <a:lnTo>
                    <a:pt x="488" y="760"/>
                  </a:lnTo>
                  <a:lnTo>
                    <a:pt x="514" y="735"/>
                  </a:lnTo>
                  <a:lnTo>
                    <a:pt x="538" y="735"/>
                  </a:lnTo>
                  <a:lnTo>
                    <a:pt x="538" y="760"/>
                  </a:lnTo>
                  <a:lnTo>
                    <a:pt x="569" y="760"/>
                  </a:lnTo>
                  <a:lnTo>
                    <a:pt x="595" y="760"/>
                  </a:lnTo>
                  <a:lnTo>
                    <a:pt x="619" y="735"/>
                  </a:lnTo>
                  <a:lnTo>
                    <a:pt x="650" y="735"/>
                  </a:lnTo>
                  <a:lnTo>
                    <a:pt x="650" y="710"/>
                  </a:lnTo>
                  <a:lnTo>
                    <a:pt x="650" y="679"/>
                  </a:lnTo>
                  <a:lnTo>
                    <a:pt x="674" y="679"/>
                  </a:lnTo>
                  <a:lnTo>
                    <a:pt x="674" y="654"/>
                  </a:lnTo>
                  <a:lnTo>
                    <a:pt x="700" y="654"/>
                  </a:lnTo>
                  <a:lnTo>
                    <a:pt x="700" y="679"/>
                  </a:lnTo>
                  <a:lnTo>
                    <a:pt x="674" y="710"/>
                  </a:lnTo>
                  <a:lnTo>
                    <a:pt x="700" y="710"/>
                  </a:lnTo>
                  <a:lnTo>
                    <a:pt x="674" y="735"/>
                  </a:lnTo>
                  <a:lnTo>
                    <a:pt x="674" y="760"/>
                  </a:lnTo>
                  <a:lnTo>
                    <a:pt x="700" y="760"/>
                  </a:lnTo>
                  <a:lnTo>
                    <a:pt x="700" y="791"/>
                  </a:lnTo>
                  <a:lnTo>
                    <a:pt x="700" y="816"/>
                  </a:lnTo>
                  <a:lnTo>
                    <a:pt x="700" y="840"/>
                  </a:lnTo>
                  <a:lnTo>
                    <a:pt x="731" y="840"/>
                  </a:lnTo>
                  <a:lnTo>
                    <a:pt x="755" y="840"/>
                  </a:lnTo>
                  <a:lnTo>
                    <a:pt x="755" y="873"/>
                  </a:lnTo>
                  <a:lnTo>
                    <a:pt x="786" y="873"/>
                  </a:lnTo>
                  <a:lnTo>
                    <a:pt x="786" y="897"/>
                  </a:lnTo>
                  <a:lnTo>
                    <a:pt x="811" y="897"/>
                  </a:lnTo>
                  <a:lnTo>
                    <a:pt x="836" y="928"/>
                  </a:lnTo>
                  <a:lnTo>
                    <a:pt x="867" y="928"/>
                  </a:lnTo>
                  <a:lnTo>
                    <a:pt x="867" y="953"/>
                  </a:lnTo>
                  <a:lnTo>
                    <a:pt x="892" y="978"/>
                  </a:lnTo>
                  <a:lnTo>
                    <a:pt x="867" y="978"/>
                  </a:lnTo>
                  <a:lnTo>
                    <a:pt x="892" y="978"/>
                  </a:lnTo>
                  <a:lnTo>
                    <a:pt x="916" y="978"/>
                  </a:lnTo>
                  <a:lnTo>
                    <a:pt x="947" y="953"/>
                  </a:lnTo>
                  <a:lnTo>
                    <a:pt x="947" y="978"/>
                  </a:lnTo>
                  <a:lnTo>
                    <a:pt x="972" y="978"/>
                  </a:lnTo>
                  <a:lnTo>
                    <a:pt x="972" y="953"/>
                  </a:lnTo>
                  <a:lnTo>
                    <a:pt x="997" y="978"/>
                  </a:lnTo>
                  <a:lnTo>
                    <a:pt x="997" y="953"/>
                  </a:lnTo>
                  <a:lnTo>
                    <a:pt x="1028" y="928"/>
                  </a:lnTo>
                  <a:lnTo>
                    <a:pt x="997" y="897"/>
                  </a:lnTo>
                  <a:lnTo>
                    <a:pt x="997" y="873"/>
                  </a:lnTo>
                  <a:lnTo>
                    <a:pt x="972" y="840"/>
                  </a:lnTo>
                  <a:lnTo>
                    <a:pt x="972" y="816"/>
                  </a:lnTo>
                  <a:lnTo>
                    <a:pt x="972" y="791"/>
                  </a:lnTo>
                  <a:lnTo>
                    <a:pt x="972" y="760"/>
                  </a:lnTo>
                  <a:lnTo>
                    <a:pt x="997" y="760"/>
                  </a:lnTo>
                  <a:lnTo>
                    <a:pt x="997" y="735"/>
                  </a:lnTo>
                  <a:lnTo>
                    <a:pt x="997" y="710"/>
                  </a:lnTo>
                  <a:lnTo>
                    <a:pt x="1028" y="679"/>
                  </a:lnTo>
                  <a:lnTo>
                    <a:pt x="1028" y="654"/>
                  </a:lnTo>
                  <a:lnTo>
                    <a:pt x="1052" y="654"/>
                  </a:lnTo>
                  <a:lnTo>
                    <a:pt x="1052" y="679"/>
                  </a:lnTo>
                  <a:lnTo>
                    <a:pt x="1083" y="654"/>
                  </a:lnTo>
                  <a:lnTo>
                    <a:pt x="1083" y="679"/>
                  </a:lnTo>
                  <a:lnTo>
                    <a:pt x="1083" y="654"/>
                  </a:lnTo>
                  <a:lnTo>
                    <a:pt x="1109" y="654"/>
                  </a:lnTo>
                  <a:lnTo>
                    <a:pt x="1109" y="629"/>
                  </a:lnTo>
                  <a:lnTo>
                    <a:pt x="1133" y="629"/>
                  </a:lnTo>
                  <a:lnTo>
                    <a:pt x="1133" y="598"/>
                  </a:lnTo>
                  <a:lnTo>
                    <a:pt x="1164" y="598"/>
                  </a:lnTo>
                  <a:lnTo>
                    <a:pt x="1164" y="573"/>
                  </a:lnTo>
                  <a:lnTo>
                    <a:pt x="1164" y="542"/>
                  </a:lnTo>
                  <a:lnTo>
                    <a:pt x="1164" y="516"/>
                  </a:lnTo>
                  <a:lnTo>
                    <a:pt x="1133" y="516"/>
                  </a:lnTo>
                  <a:lnTo>
                    <a:pt x="1109" y="492"/>
                  </a:lnTo>
                  <a:lnTo>
                    <a:pt x="1133" y="436"/>
                  </a:lnTo>
                  <a:lnTo>
                    <a:pt x="1109" y="436"/>
                  </a:lnTo>
                  <a:lnTo>
                    <a:pt x="1083" y="411"/>
                  </a:lnTo>
                  <a:lnTo>
                    <a:pt x="1052" y="380"/>
                  </a:lnTo>
                  <a:lnTo>
                    <a:pt x="1028" y="380"/>
                  </a:lnTo>
                  <a:lnTo>
                    <a:pt x="997" y="380"/>
                  </a:lnTo>
                  <a:lnTo>
                    <a:pt x="972" y="380"/>
                  </a:lnTo>
                  <a:lnTo>
                    <a:pt x="947" y="380"/>
                  </a:lnTo>
                  <a:lnTo>
                    <a:pt x="972" y="355"/>
                  </a:lnTo>
                  <a:lnTo>
                    <a:pt x="947" y="355"/>
                  </a:lnTo>
                  <a:lnTo>
                    <a:pt x="947" y="331"/>
                  </a:lnTo>
                  <a:lnTo>
                    <a:pt x="972" y="331"/>
                  </a:lnTo>
                  <a:lnTo>
                    <a:pt x="972" y="299"/>
                  </a:lnTo>
                  <a:lnTo>
                    <a:pt x="972" y="274"/>
                  </a:lnTo>
                  <a:lnTo>
                    <a:pt x="997" y="243"/>
                  </a:lnTo>
                  <a:lnTo>
                    <a:pt x="972" y="243"/>
                  </a:lnTo>
                  <a:lnTo>
                    <a:pt x="997" y="243"/>
                  </a:lnTo>
                  <a:lnTo>
                    <a:pt x="997" y="218"/>
                  </a:lnTo>
                  <a:lnTo>
                    <a:pt x="997" y="194"/>
                  </a:lnTo>
                  <a:lnTo>
                    <a:pt x="997" y="161"/>
                  </a:lnTo>
                  <a:lnTo>
                    <a:pt x="972" y="161"/>
                  </a:lnTo>
                  <a:lnTo>
                    <a:pt x="947" y="161"/>
                  </a:lnTo>
                  <a:lnTo>
                    <a:pt x="916" y="161"/>
                  </a:lnTo>
                  <a:lnTo>
                    <a:pt x="916" y="137"/>
                  </a:lnTo>
                  <a:lnTo>
                    <a:pt x="916" y="112"/>
                  </a:lnTo>
                  <a:lnTo>
                    <a:pt x="892" y="137"/>
                  </a:lnTo>
                  <a:lnTo>
                    <a:pt x="867" y="137"/>
                  </a:lnTo>
                  <a:lnTo>
                    <a:pt x="836" y="137"/>
                  </a:lnTo>
                  <a:lnTo>
                    <a:pt x="836" y="112"/>
                  </a:lnTo>
                  <a:lnTo>
                    <a:pt x="811" y="112"/>
                  </a:lnTo>
                  <a:lnTo>
                    <a:pt x="811" y="81"/>
                  </a:lnTo>
                  <a:lnTo>
                    <a:pt x="786" y="56"/>
                  </a:lnTo>
                  <a:lnTo>
                    <a:pt x="786" y="31"/>
                  </a:lnTo>
                  <a:lnTo>
                    <a:pt x="755" y="31"/>
                  </a:lnTo>
                  <a:lnTo>
                    <a:pt x="731" y="56"/>
                  </a:lnTo>
                  <a:lnTo>
                    <a:pt x="700" y="56"/>
                  </a:lnTo>
                  <a:lnTo>
                    <a:pt x="700" y="31"/>
                  </a:lnTo>
                  <a:lnTo>
                    <a:pt x="700" y="56"/>
                  </a:lnTo>
                  <a:lnTo>
                    <a:pt x="700" y="31"/>
                  </a:lnTo>
                  <a:lnTo>
                    <a:pt x="731" y="31"/>
                  </a:lnTo>
                  <a:lnTo>
                    <a:pt x="700" y="0"/>
                  </a:lnTo>
                  <a:lnTo>
                    <a:pt x="674" y="31"/>
                  </a:lnTo>
                  <a:lnTo>
                    <a:pt x="650" y="31"/>
                  </a:lnTo>
                  <a:lnTo>
                    <a:pt x="619" y="31"/>
                  </a:lnTo>
                  <a:lnTo>
                    <a:pt x="619" y="0"/>
                  </a:lnTo>
                  <a:lnTo>
                    <a:pt x="595" y="31"/>
                  </a:lnTo>
                  <a:lnTo>
                    <a:pt x="595" y="56"/>
                  </a:lnTo>
                  <a:lnTo>
                    <a:pt x="569" y="81"/>
                  </a:lnTo>
                  <a:lnTo>
                    <a:pt x="569" y="56"/>
                  </a:lnTo>
                  <a:lnTo>
                    <a:pt x="538" y="56"/>
                  </a:lnTo>
                  <a:lnTo>
                    <a:pt x="538" y="81"/>
                  </a:lnTo>
                  <a:lnTo>
                    <a:pt x="514" y="81"/>
                  </a:lnTo>
                  <a:lnTo>
                    <a:pt x="488" y="112"/>
                  </a:lnTo>
                  <a:lnTo>
                    <a:pt x="458" y="112"/>
                  </a:lnTo>
                  <a:lnTo>
                    <a:pt x="458" y="137"/>
                  </a:lnTo>
                  <a:lnTo>
                    <a:pt x="433" y="137"/>
                  </a:lnTo>
                  <a:lnTo>
                    <a:pt x="402" y="137"/>
                  </a:lnTo>
                  <a:lnTo>
                    <a:pt x="402" y="112"/>
                  </a:lnTo>
                  <a:lnTo>
                    <a:pt x="377" y="112"/>
                  </a:lnTo>
                  <a:lnTo>
                    <a:pt x="352" y="81"/>
                  </a:lnTo>
                  <a:lnTo>
                    <a:pt x="322" y="81"/>
                  </a:lnTo>
                  <a:lnTo>
                    <a:pt x="322" y="112"/>
                  </a:lnTo>
                  <a:lnTo>
                    <a:pt x="297" y="112"/>
                  </a:lnTo>
                  <a:lnTo>
                    <a:pt x="272" y="81"/>
                  </a:lnTo>
                  <a:lnTo>
                    <a:pt x="272" y="56"/>
                  </a:lnTo>
                  <a:lnTo>
                    <a:pt x="241" y="56"/>
                  </a:lnTo>
                  <a:lnTo>
                    <a:pt x="216" y="81"/>
                  </a:lnTo>
                  <a:lnTo>
                    <a:pt x="160" y="81"/>
                  </a:lnTo>
                  <a:lnTo>
                    <a:pt x="79" y="137"/>
                  </a:lnTo>
                  <a:lnTo>
                    <a:pt x="55" y="161"/>
                  </a:lnTo>
                  <a:lnTo>
                    <a:pt x="24" y="161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23" name="Freeform 58">
              <a:extLst>
                <a:ext uri="{FF2B5EF4-FFF2-40B4-BE49-F238E27FC236}">
                  <a16:creationId xmlns:a16="http://schemas.microsoft.com/office/drawing/2014/main" id="{12045596-D60F-48FB-BAD1-5F0969F86A5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3588" y="1536665"/>
              <a:ext cx="1900363" cy="1415212"/>
            </a:xfrm>
            <a:custGeom>
              <a:avLst/>
              <a:gdLst/>
              <a:ahLst/>
              <a:cxnLst>
                <a:cxn ang="0">
                  <a:pos x="57" y="328"/>
                </a:cxn>
                <a:cxn ang="0">
                  <a:pos x="137" y="216"/>
                </a:cxn>
                <a:cxn ang="0">
                  <a:pos x="81" y="216"/>
                </a:cxn>
                <a:cxn ang="0">
                  <a:pos x="162" y="0"/>
                </a:cxn>
                <a:cxn ang="0">
                  <a:pos x="3719" y="3796"/>
                </a:cxn>
                <a:cxn ang="0">
                  <a:pos x="3774" y="3901"/>
                </a:cxn>
                <a:cxn ang="0">
                  <a:pos x="3911" y="4093"/>
                </a:cxn>
                <a:cxn ang="0">
                  <a:pos x="4129" y="4062"/>
                </a:cxn>
                <a:cxn ang="0">
                  <a:pos x="4073" y="3901"/>
                </a:cxn>
                <a:cxn ang="0">
                  <a:pos x="4129" y="3709"/>
                </a:cxn>
                <a:cxn ang="0">
                  <a:pos x="4179" y="3604"/>
                </a:cxn>
                <a:cxn ang="0">
                  <a:pos x="4291" y="3361"/>
                </a:cxn>
                <a:cxn ang="0">
                  <a:pos x="4315" y="3411"/>
                </a:cxn>
                <a:cxn ang="0">
                  <a:pos x="4396" y="3281"/>
                </a:cxn>
                <a:cxn ang="0">
                  <a:pos x="4260" y="3200"/>
                </a:cxn>
                <a:cxn ang="0">
                  <a:pos x="4234" y="3064"/>
                </a:cxn>
                <a:cxn ang="0">
                  <a:pos x="3992" y="3007"/>
                </a:cxn>
                <a:cxn ang="0">
                  <a:pos x="3911" y="3225"/>
                </a:cxn>
                <a:cxn ang="0">
                  <a:pos x="3800" y="3225"/>
                </a:cxn>
                <a:cxn ang="0">
                  <a:pos x="3800" y="3033"/>
                </a:cxn>
                <a:cxn ang="0">
                  <a:pos x="4098" y="2952"/>
                </a:cxn>
                <a:cxn ang="0">
                  <a:pos x="4291" y="2655"/>
                </a:cxn>
                <a:cxn ang="0">
                  <a:pos x="4042" y="2896"/>
                </a:cxn>
                <a:cxn ang="0">
                  <a:pos x="3663" y="3114"/>
                </a:cxn>
                <a:cxn ang="0">
                  <a:pos x="3663" y="3200"/>
                </a:cxn>
                <a:cxn ang="0">
                  <a:pos x="3663" y="3466"/>
                </a:cxn>
                <a:cxn ang="0">
                  <a:pos x="3637" y="3684"/>
                </a:cxn>
                <a:cxn ang="0">
                  <a:pos x="3800" y="3926"/>
                </a:cxn>
                <a:cxn ang="0">
                  <a:pos x="3774" y="3145"/>
                </a:cxn>
                <a:cxn ang="0">
                  <a:pos x="4073" y="3982"/>
                </a:cxn>
                <a:cxn ang="0">
                  <a:pos x="4179" y="4062"/>
                </a:cxn>
                <a:cxn ang="0">
                  <a:pos x="4260" y="4038"/>
                </a:cxn>
                <a:cxn ang="0">
                  <a:pos x="4340" y="3578"/>
                </a:cxn>
                <a:cxn ang="0">
                  <a:pos x="4396" y="3957"/>
                </a:cxn>
                <a:cxn ang="0">
                  <a:pos x="4340" y="3765"/>
                </a:cxn>
                <a:cxn ang="0">
                  <a:pos x="4129" y="3740"/>
                </a:cxn>
                <a:cxn ang="0">
                  <a:pos x="4210" y="3982"/>
                </a:cxn>
                <a:cxn ang="0">
                  <a:pos x="4371" y="3982"/>
                </a:cxn>
                <a:cxn ang="0">
                  <a:pos x="4452" y="2896"/>
                </a:cxn>
                <a:cxn ang="0">
                  <a:pos x="4340" y="4062"/>
                </a:cxn>
                <a:cxn ang="0">
                  <a:pos x="4589" y="3169"/>
                </a:cxn>
                <a:cxn ang="0">
                  <a:pos x="4670" y="3926"/>
                </a:cxn>
                <a:cxn ang="0">
                  <a:pos x="4807" y="3926"/>
                </a:cxn>
                <a:cxn ang="0">
                  <a:pos x="4857" y="3796"/>
                </a:cxn>
                <a:cxn ang="0">
                  <a:pos x="4888" y="3578"/>
                </a:cxn>
                <a:cxn ang="0">
                  <a:pos x="4694" y="3523"/>
                </a:cxn>
                <a:cxn ang="0">
                  <a:pos x="4725" y="3547"/>
                </a:cxn>
                <a:cxn ang="0">
                  <a:pos x="4639" y="3578"/>
                </a:cxn>
                <a:cxn ang="0">
                  <a:pos x="4509" y="3498"/>
                </a:cxn>
                <a:cxn ang="0">
                  <a:pos x="4396" y="3628"/>
                </a:cxn>
                <a:cxn ang="0">
                  <a:pos x="4509" y="3796"/>
                </a:cxn>
                <a:cxn ang="0">
                  <a:pos x="4639" y="4038"/>
                </a:cxn>
                <a:cxn ang="0">
                  <a:pos x="4478" y="4093"/>
                </a:cxn>
                <a:cxn ang="0">
                  <a:pos x="4725" y="4119"/>
                </a:cxn>
                <a:cxn ang="0">
                  <a:pos x="4725" y="4093"/>
                </a:cxn>
                <a:cxn ang="0">
                  <a:pos x="4807" y="3957"/>
                </a:cxn>
                <a:cxn ang="0">
                  <a:pos x="4912" y="4007"/>
                </a:cxn>
                <a:cxn ang="0">
                  <a:pos x="4888" y="3684"/>
                </a:cxn>
                <a:cxn ang="0">
                  <a:pos x="5509" y="3820"/>
                </a:cxn>
              </a:cxnLst>
              <a:rect l="0" t="0" r="r" b="b"/>
              <a:pathLst>
                <a:path w="5646" h="4199">
                  <a:moveTo>
                    <a:pt x="81" y="79"/>
                  </a:moveTo>
                  <a:lnTo>
                    <a:pt x="25" y="55"/>
                  </a:lnTo>
                  <a:lnTo>
                    <a:pt x="0" y="55"/>
                  </a:lnTo>
                  <a:lnTo>
                    <a:pt x="0" y="79"/>
                  </a:lnTo>
                  <a:lnTo>
                    <a:pt x="25" y="111"/>
                  </a:lnTo>
                  <a:lnTo>
                    <a:pt x="57" y="111"/>
                  </a:lnTo>
                  <a:lnTo>
                    <a:pt x="81" y="79"/>
                  </a:lnTo>
                  <a:close/>
                  <a:moveTo>
                    <a:pt x="81" y="352"/>
                  </a:moveTo>
                  <a:lnTo>
                    <a:pt x="57" y="352"/>
                  </a:lnTo>
                  <a:lnTo>
                    <a:pt x="57" y="328"/>
                  </a:lnTo>
                  <a:lnTo>
                    <a:pt x="57" y="352"/>
                  </a:lnTo>
                  <a:lnTo>
                    <a:pt x="25" y="352"/>
                  </a:lnTo>
                  <a:lnTo>
                    <a:pt x="25" y="378"/>
                  </a:lnTo>
                  <a:lnTo>
                    <a:pt x="81" y="464"/>
                  </a:lnTo>
                  <a:lnTo>
                    <a:pt x="81" y="433"/>
                  </a:lnTo>
                  <a:lnTo>
                    <a:pt x="81" y="409"/>
                  </a:lnTo>
                  <a:lnTo>
                    <a:pt x="81" y="352"/>
                  </a:lnTo>
                  <a:close/>
                  <a:moveTo>
                    <a:pt x="137" y="272"/>
                  </a:moveTo>
                  <a:lnTo>
                    <a:pt x="137" y="247"/>
                  </a:lnTo>
                  <a:lnTo>
                    <a:pt x="137" y="216"/>
                  </a:lnTo>
                  <a:lnTo>
                    <a:pt x="137" y="191"/>
                  </a:lnTo>
                  <a:lnTo>
                    <a:pt x="162" y="166"/>
                  </a:lnTo>
                  <a:lnTo>
                    <a:pt x="137" y="79"/>
                  </a:lnTo>
                  <a:lnTo>
                    <a:pt x="137" y="30"/>
                  </a:lnTo>
                  <a:lnTo>
                    <a:pt x="137" y="0"/>
                  </a:lnTo>
                  <a:lnTo>
                    <a:pt x="81" y="30"/>
                  </a:lnTo>
                  <a:lnTo>
                    <a:pt x="112" y="55"/>
                  </a:lnTo>
                  <a:lnTo>
                    <a:pt x="81" y="111"/>
                  </a:lnTo>
                  <a:lnTo>
                    <a:pt x="81" y="191"/>
                  </a:lnTo>
                  <a:lnTo>
                    <a:pt x="81" y="216"/>
                  </a:lnTo>
                  <a:lnTo>
                    <a:pt x="81" y="272"/>
                  </a:lnTo>
                  <a:lnTo>
                    <a:pt x="137" y="272"/>
                  </a:lnTo>
                  <a:close/>
                  <a:moveTo>
                    <a:pt x="162" y="111"/>
                  </a:moveTo>
                  <a:lnTo>
                    <a:pt x="193" y="79"/>
                  </a:lnTo>
                  <a:lnTo>
                    <a:pt x="193" y="0"/>
                  </a:lnTo>
                  <a:lnTo>
                    <a:pt x="218" y="55"/>
                  </a:lnTo>
                  <a:lnTo>
                    <a:pt x="218" y="30"/>
                  </a:lnTo>
                  <a:lnTo>
                    <a:pt x="218" y="0"/>
                  </a:lnTo>
                  <a:lnTo>
                    <a:pt x="193" y="0"/>
                  </a:lnTo>
                  <a:lnTo>
                    <a:pt x="162" y="0"/>
                  </a:lnTo>
                  <a:lnTo>
                    <a:pt x="137" y="30"/>
                  </a:lnTo>
                  <a:lnTo>
                    <a:pt x="162" y="55"/>
                  </a:lnTo>
                  <a:lnTo>
                    <a:pt x="162" y="111"/>
                  </a:lnTo>
                  <a:close/>
                  <a:moveTo>
                    <a:pt x="242" y="30"/>
                  </a:moveTo>
                  <a:lnTo>
                    <a:pt x="218" y="30"/>
                  </a:lnTo>
                  <a:lnTo>
                    <a:pt x="242" y="55"/>
                  </a:lnTo>
                  <a:lnTo>
                    <a:pt x="273" y="30"/>
                  </a:lnTo>
                  <a:lnTo>
                    <a:pt x="242" y="30"/>
                  </a:lnTo>
                  <a:close/>
                  <a:moveTo>
                    <a:pt x="3719" y="3765"/>
                  </a:moveTo>
                  <a:lnTo>
                    <a:pt x="3719" y="3796"/>
                  </a:lnTo>
                  <a:lnTo>
                    <a:pt x="3743" y="3846"/>
                  </a:lnTo>
                  <a:lnTo>
                    <a:pt x="3774" y="3846"/>
                  </a:lnTo>
                  <a:lnTo>
                    <a:pt x="3774" y="3820"/>
                  </a:lnTo>
                  <a:lnTo>
                    <a:pt x="3743" y="3820"/>
                  </a:lnTo>
                  <a:lnTo>
                    <a:pt x="3743" y="3846"/>
                  </a:lnTo>
                  <a:lnTo>
                    <a:pt x="3743" y="3820"/>
                  </a:lnTo>
                  <a:lnTo>
                    <a:pt x="3743" y="3796"/>
                  </a:lnTo>
                  <a:lnTo>
                    <a:pt x="3719" y="3765"/>
                  </a:lnTo>
                  <a:close/>
                  <a:moveTo>
                    <a:pt x="3774" y="3926"/>
                  </a:moveTo>
                  <a:lnTo>
                    <a:pt x="3774" y="3901"/>
                  </a:lnTo>
                  <a:lnTo>
                    <a:pt x="3743" y="3901"/>
                  </a:lnTo>
                  <a:lnTo>
                    <a:pt x="3743" y="3926"/>
                  </a:lnTo>
                  <a:lnTo>
                    <a:pt x="3743" y="3957"/>
                  </a:lnTo>
                  <a:lnTo>
                    <a:pt x="3743" y="3982"/>
                  </a:lnTo>
                  <a:lnTo>
                    <a:pt x="3774" y="3957"/>
                  </a:lnTo>
                  <a:lnTo>
                    <a:pt x="3774" y="3926"/>
                  </a:lnTo>
                  <a:close/>
                  <a:moveTo>
                    <a:pt x="3800" y="4062"/>
                  </a:moveTo>
                  <a:lnTo>
                    <a:pt x="3831" y="4062"/>
                  </a:lnTo>
                  <a:lnTo>
                    <a:pt x="3880" y="4062"/>
                  </a:lnTo>
                  <a:lnTo>
                    <a:pt x="3911" y="4093"/>
                  </a:lnTo>
                  <a:lnTo>
                    <a:pt x="3936" y="4093"/>
                  </a:lnTo>
                  <a:lnTo>
                    <a:pt x="3961" y="4093"/>
                  </a:lnTo>
                  <a:lnTo>
                    <a:pt x="3961" y="4119"/>
                  </a:lnTo>
                  <a:lnTo>
                    <a:pt x="3992" y="4119"/>
                  </a:lnTo>
                  <a:lnTo>
                    <a:pt x="4016" y="4093"/>
                  </a:lnTo>
                  <a:lnTo>
                    <a:pt x="4042" y="4062"/>
                  </a:lnTo>
                  <a:lnTo>
                    <a:pt x="4073" y="4038"/>
                  </a:lnTo>
                  <a:lnTo>
                    <a:pt x="4073" y="4062"/>
                  </a:lnTo>
                  <a:lnTo>
                    <a:pt x="4098" y="4093"/>
                  </a:lnTo>
                  <a:lnTo>
                    <a:pt x="4129" y="4062"/>
                  </a:lnTo>
                  <a:lnTo>
                    <a:pt x="4098" y="4062"/>
                  </a:lnTo>
                  <a:lnTo>
                    <a:pt x="4098" y="4038"/>
                  </a:lnTo>
                  <a:lnTo>
                    <a:pt x="4098" y="4007"/>
                  </a:lnTo>
                  <a:lnTo>
                    <a:pt x="4042" y="3982"/>
                  </a:lnTo>
                  <a:lnTo>
                    <a:pt x="4016" y="4007"/>
                  </a:lnTo>
                  <a:lnTo>
                    <a:pt x="4016" y="3982"/>
                  </a:lnTo>
                  <a:lnTo>
                    <a:pt x="4042" y="3982"/>
                  </a:lnTo>
                  <a:lnTo>
                    <a:pt x="4042" y="3957"/>
                  </a:lnTo>
                  <a:lnTo>
                    <a:pt x="4042" y="3926"/>
                  </a:lnTo>
                  <a:lnTo>
                    <a:pt x="4073" y="3901"/>
                  </a:lnTo>
                  <a:lnTo>
                    <a:pt x="4073" y="3926"/>
                  </a:lnTo>
                  <a:lnTo>
                    <a:pt x="4098" y="3877"/>
                  </a:lnTo>
                  <a:lnTo>
                    <a:pt x="4073" y="3877"/>
                  </a:lnTo>
                  <a:lnTo>
                    <a:pt x="4073" y="3846"/>
                  </a:lnTo>
                  <a:lnTo>
                    <a:pt x="4073" y="3796"/>
                  </a:lnTo>
                  <a:lnTo>
                    <a:pt x="4073" y="3765"/>
                  </a:lnTo>
                  <a:lnTo>
                    <a:pt x="4042" y="3765"/>
                  </a:lnTo>
                  <a:lnTo>
                    <a:pt x="4042" y="3740"/>
                  </a:lnTo>
                  <a:lnTo>
                    <a:pt x="4098" y="3740"/>
                  </a:lnTo>
                  <a:lnTo>
                    <a:pt x="4129" y="3709"/>
                  </a:lnTo>
                  <a:lnTo>
                    <a:pt x="4129" y="3684"/>
                  </a:lnTo>
                  <a:lnTo>
                    <a:pt x="4098" y="3709"/>
                  </a:lnTo>
                  <a:lnTo>
                    <a:pt x="4073" y="3659"/>
                  </a:lnTo>
                  <a:lnTo>
                    <a:pt x="4042" y="3659"/>
                  </a:lnTo>
                  <a:lnTo>
                    <a:pt x="4073" y="3659"/>
                  </a:lnTo>
                  <a:lnTo>
                    <a:pt x="4098" y="3659"/>
                  </a:lnTo>
                  <a:lnTo>
                    <a:pt x="4129" y="3659"/>
                  </a:lnTo>
                  <a:lnTo>
                    <a:pt x="4154" y="3659"/>
                  </a:lnTo>
                  <a:lnTo>
                    <a:pt x="4179" y="3659"/>
                  </a:lnTo>
                  <a:lnTo>
                    <a:pt x="4179" y="3604"/>
                  </a:lnTo>
                  <a:lnTo>
                    <a:pt x="4129" y="3578"/>
                  </a:lnTo>
                  <a:lnTo>
                    <a:pt x="4179" y="3578"/>
                  </a:lnTo>
                  <a:lnTo>
                    <a:pt x="4210" y="3578"/>
                  </a:lnTo>
                  <a:lnTo>
                    <a:pt x="4234" y="3604"/>
                  </a:lnTo>
                  <a:lnTo>
                    <a:pt x="4234" y="3578"/>
                  </a:lnTo>
                  <a:lnTo>
                    <a:pt x="4234" y="3547"/>
                  </a:lnTo>
                  <a:lnTo>
                    <a:pt x="4234" y="3498"/>
                  </a:lnTo>
                  <a:lnTo>
                    <a:pt x="4234" y="3466"/>
                  </a:lnTo>
                  <a:lnTo>
                    <a:pt x="4234" y="3442"/>
                  </a:lnTo>
                  <a:lnTo>
                    <a:pt x="4291" y="3361"/>
                  </a:lnTo>
                  <a:lnTo>
                    <a:pt x="4315" y="3361"/>
                  </a:lnTo>
                  <a:lnTo>
                    <a:pt x="4291" y="3387"/>
                  </a:lnTo>
                  <a:lnTo>
                    <a:pt x="4260" y="3411"/>
                  </a:lnTo>
                  <a:lnTo>
                    <a:pt x="4291" y="3442"/>
                  </a:lnTo>
                  <a:lnTo>
                    <a:pt x="4291" y="3411"/>
                  </a:lnTo>
                  <a:lnTo>
                    <a:pt x="4315" y="3411"/>
                  </a:lnTo>
                  <a:lnTo>
                    <a:pt x="4291" y="3442"/>
                  </a:lnTo>
                  <a:lnTo>
                    <a:pt x="4315" y="3466"/>
                  </a:lnTo>
                  <a:lnTo>
                    <a:pt x="4315" y="3442"/>
                  </a:lnTo>
                  <a:lnTo>
                    <a:pt x="4315" y="3411"/>
                  </a:lnTo>
                  <a:lnTo>
                    <a:pt x="4340" y="3387"/>
                  </a:lnTo>
                  <a:lnTo>
                    <a:pt x="4340" y="3411"/>
                  </a:lnTo>
                  <a:lnTo>
                    <a:pt x="4340" y="3442"/>
                  </a:lnTo>
                  <a:lnTo>
                    <a:pt x="4371" y="3442"/>
                  </a:lnTo>
                  <a:lnTo>
                    <a:pt x="4371" y="3387"/>
                  </a:lnTo>
                  <a:lnTo>
                    <a:pt x="4396" y="3387"/>
                  </a:lnTo>
                  <a:lnTo>
                    <a:pt x="4396" y="3361"/>
                  </a:lnTo>
                  <a:lnTo>
                    <a:pt x="4428" y="3330"/>
                  </a:lnTo>
                  <a:lnTo>
                    <a:pt x="4428" y="3281"/>
                  </a:lnTo>
                  <a:lnTo>
                    <a:pt x="4396" y="3281"/>
                  </a:lnTo>
                  <a:lnTo>
                    <a:pt x="4396" y="3225"/>
                  </a:lnTo>
                  <a:lnTo>
                    <a:pt x="4371" y="3225"/>
                  </a:lnTo>
                  <a:lnTo>
                    <a:pt x="4291" y="3250"/>
                  </a:lnTo>
                  <a:lnTo>
                    <a:pt x="4260" y="3225"/>
                  </a:lnTo>
                  <a:lnTo>
                    <a:pt x="4234" y="3250"/>
                  </a:lnTo>
                  <a:lnTo>
                    <a:pt x="4234" y="3281"/>
                  </a:lnTo>
                  <a:lnTo>
                    <a:pt x="4210" y="3281"/>
                  </a:lnTo>
                  <a:lnTo>
                    <a:pt x="4210" y="3250"/>
                  </a:lnTo>
                  <a:lnTo>
                    <a:pt x="4234" y="3200"/>
                  </a:lnTo>
                  <a:lnTo>
                    <a:pt x="4260" y="3200"/>
                  </a:lnTo>
                  <a:lnTo>
                    <a:pt x="4260" y="3169"/>
                  </a:lnTo>
                  <a:lnTo>
                    <a:pt x="4234" y="3169"/>
                  </a:lnTo>
                  <a:lnTo>
                    <a:pt x="4210" y="3169"/>
                  </a:lnTo>
                  <a:lnTo>
                    <a:pt x="4154" y="3200"/>
                  </a:lnTo>
                  <a:lnTo>
                    <a:pt x="4098" y="3200"/>
                  </a:lnTo>
                  <a:lnTo>
                    <a:pt x="4154" y="3169"/>
                  </a:lnTo>
                  <a:lnTo>
                    <a:pt x="4210" y="3145"/>
                  </a:lnTo>
                  <a:lnTo>
                    <a:pt x="4234" y="3145"/>
                  </a:lnTo>
                  <a:lnTo>
                    <a:pt x="4234" y="3088"/>
                  </a:lnTo>
                  <a:lnTo>
                    <a:pt x="4234" y="3064"/>
                  </a:lnTo>
                  <a:lnTo>
                    <a:pt x="4234" y="3033"/>
                  </a:lnTo>
                  <a:lnTo>
                    <a:pt x="4210" y="3033"/>
                  </a:lnTo>
                  <a:lnTo>
                    <a:pt x="4154" y="2983"/>
                  </a:lnTo>
                  <a:lnTo>
                    <a:pt x="4129" y="2983"/>
                  </a:lnTo>
                  <a:lnTo>
                    <a:pt x="4098" y="3007"/>
                  </a:lnTo>
                  <a:lnTo>
                    <a:pt x="4073" y="3007"/>
                  </a:lnTo>
                  <a:lnTo>
                    <a:pt x="4073" y="3033"/>
                  </a:lnTo>
                  <a:lnTo>
                    <a:pt x="4016" y="3033"/>
                  </a:lnTo>
                  <a:lnTo>
                    <a:pt x="4016" y="3007"/>
                  </a:lnTo>
                  <a:lnTo>
                    <a:pt x="3992" y="3007"/>
                  </a:lnTo>
                  <a:lnTo>
                    <a:pt x="3961" y="3033"/>
                  </a:lnTo>
                  <a:lnTo>
                    <a:pt x="3936" y="3033"/>
                  </a:lnTo>
                  <a:lnTo>
                    <a:pt x="3936" y="3064"/>
                  </a:lnTo>
                  <a:lnTo>
                    <a:pt x="3936" y="3088"/>
                  </a:lnTo>
                  <a:lnTo>
                    <a:pt x="3936" y="3114"/>
                  </a:lnTo>
                  <a:lnTo>
                    <a:pt x="3961" y="3145"/>
                  </a:lnTo>
                  <a:lnTo>
                    <a:pt x="3936" y="3169"/>
                  </a:lnTo>
                  <a:lnTo>
                    <a:pt x="3936" y="3200"/>
                  </a:lnTo>
                  <a:lnTo>
                    <a:pt x="3911" y="3200"/>
                  </a:lnTo>
                  <a:lnTo>
                    <a:pt x="3911" y="3225"/>
                  </a:lnTo>
                  <a:lnTo>
                    <a:pt x="3911" y="3250"/>
                  </a:lnTo>
                  <a:lnTo>
                    <a:pt x="3880" y="3225"/>
                  </a:lnTo>
                  <a:lnTo>
                    <a:pt x="3911" y="3169"/>
                  </a:lnTo>
                  <a:lnTo>
                    <a:pt x="3911" y="3114"/>
                  </a:lnTo>
                  <a:lnTo>
                    <a:pt x="3855" y="3114"/>
                  </a:lnTo>
                  <a:lnTo>
                    <a:pt x="3855" y="3169"/>
                  </a:lnTo>
                  <a:lnTo>
                    <a:pt x="3831" y="3169"/>
                  </a:lnTo>
                  <a:lnTo>
                    <a:pt x="3831" y="3200"/>
                  </a:lnTo>
                  <a:lnTo>
                    <a:pt x="3800" y="3200"/>
                  </a:lnTo>
                  <a:lnTo>
                    <a:pt x="3800" y="3225"/>
                  </a:lnTo>
                  <a:lnTo>
                    <a:pt x="3831" y="3225"/>
                  </a:lnTo>
                  <a:lnTo>
                    <a:pt x="3800" y="3281"/>
                  </a:lnTo>
                  <a:lnTo>
                    <a:pt x="3774" y="3281"/>
                  </a:lnTo>
                  <a:lnTo>
                    <a:pt x="3743" y="3225"/>
                  </a:lnTo>
                  <a:lnTo>
                    <a:pt x="3774" y="3225"/>
                  </a:lnTo>
                  <a:lnTo>
                    <a:pt x="3743" y="3169"/>
                  </a:lnTo>
                  <a:lnTo>
                    <a:pt x="3743" y="3145"/>
                  </a:lnTo>
                  <a:lnTo>
                    <a:pt x="3719" y="3114"/>
                  </a:lnTo>
                  <a:lnTo>
                    <a:pt x="3774" y="3114"/>
                  </a:lnTo>
                  <a:lnTo>
                    <a:pt x="3800" y="3033"/>
                  </a:lnTo>
                  <a:lnTo>
                    <a:pt x="3831" y="3033"/>
                  </a:lnTo>
                  <a:lnTo>
                    <a:pt x="3855" y="3007"/>
                  </a:lnTo>
                  <a:lnTo>
                    <a:pt x="3880" y="3007"/>
                  </a:lnTo>
                  <a:lnTo>
                    <a:pt x="3911" y="3007"/>
                  </a:lnTo>
                  <a:lnTo>
                    <a:pt x="3936" y="3007"/>
                  </a:lnTo>
                  <a:lnTo>
                    <a:pt x="3961" y="3033"/>
                  </a:lnTo>
                  <a:lnTo>
                    <a:pt x="4016" y="3007"/>
                  </a:lnTo>
                  <a:lnTo>
                    <a:pt x="4042" y="2983"/>
                  </a:lnTo>
                  <a:lnTo>
                    <a:pt x="4073" y="2983"/>
                  </a:lnTo>
                  <a:lnTo>
                    <a:pt x="4098" y="2952"/>
                  </a:lnTo>
                  <a:lnTo>
                    <a:pt x="4129" y="2983"/>
                  </a:lnTo>
                  <a:lnTo>
                    <a:pt x="4179" y="2983"/>
                  </a:lnTo>
                  <a:lnTo>
                    <a:pt x="4210" y="3007"/>
                  </a:lnTo>
                  <a:lnTo>
                    <a:pt x="4260" y="3007"/>
                  </a:lnTo>
                  <a:lnTo>
                    <a:pt x="4260" y="2927"/>
                  </a:lnTo>
                  <a:lnTo>
                    <a:pt x="4291" y="2896"/>
                  </a:lnTo>
                  <a:lnTo>
                    <a:pt x="4291" y="2791"/>
                  </a:lnTo>
                  <a:lnTo>
                    <a:pt x="4260" y="2734"/>
                  </a:lnTo>
                  <a:lnTo>
                    <a:pt x="4260" y="2710"/>
                  </a:lnTo>
                  <a:lnTo>
                    <a:pt x="4291" y="2655"/>
                  </a:lnTo>
                  <a:lnTo>
                    <a:pt x="4315" y="2655"/>
                  </a:lnTo>
                  <a:lnTo>
                    <a:pt x="4315" y="2629"/>
                  </a:lnTo>
                  <a:lnTo>
                    <a:pt x="4291" y="2629"/>
                  </a:lnTo>
                  <a:lnTo>
                    <a:pt x="4234" y="2710"/>
                  </a:lnTo>
                  <a:lnTo>
                    <a:pt x="4179" y="2710"/>
                  </a:lnTo>
                  <a:lnTo>
                    <a:pt x="4154" y="2710"/>
                  </a:lnTo>
                  <a:lnTo>
                    <a:pt x="4129" y="2734"/>
                  </a:lnTo>
                  <a:lnTo>
                    <a:pt x="4098" y="2766"/>
                  </a:lnTo>
                  <a:lnTo>
                    <a:pt x="4098" y="2791"/>
                  </a:lnTo>
                  <a:lnTo>
                    <a:pt x="4042" y="2896"/>
                  </a:lnTo>
                  <a:lnTo>
                    <a:pt x="3961" y="2952"/>
                  </a:lnTo>
                  <a:lnTo>
                    <a:pt x="3936" y="2952"/>
                  </a:lnTo>
                  <a:lnTo>
                    <a:pt x="3880" y="2952"/>
                  </a:lnTo>
                  <a:lnTo>
                    <a:pt x="3855" y="2927"/>
                  </a:lnTo>
                  <a:lnTo>
                    <a:pt x="3855" y="2952"/>
                  </a:lnTo>
                  <a:lnTo>
                    <a:pt x="3800" y="2983"/>
                  </a:lnTo>
                  <a:lnTo>
                    <a:pt x="3774" y="2952"/>
                  </a:lnTo>
                  <a:lnTo>
                    <a:pt x="3774" y="2983"/>
                  </a:lnTo>
                  <a:lnTo>
                    <a:pt x="3719" y="3007"/>
                  </a:lnTo>
                  <a:lnTo>
                    <a:pt x="3663" y="3114"/>
                  </a:lnTo>
                  <a:lnTo>
                    <a:pt x="3663" y="3169"/>
                  </a:lnTo>
                  <a:lnTo>
                    <a:pt x="3694" y="3145"/>
                  </a:lnTo>
                  <a:lnTo>
                    <a:pt x="3719" y="3169"/>
                  </a:lnTo>
                  <a:lnTo>
                    <a:pt x="3743" y="3200"/>
                  </a:lnTo>
                  <a:lnTo>
                    <a:pt x="3774" y="3250"/>
                  </a:lnTo>
                  <a:lnTo>
                    <a:pt x="3743" y="3250"/>
                  </a:lnTo>
                  <a:lnTo>
                    <a:pt x="3719" y="3225"/>
                  </a:lnTo>
                  <a:lnTo>
                    <a:pt x="3694" y="3250"/>
                  </a:lnTo>
                  <a:lnTo>
                    <a:pt x="3694" y="3225"/>
                  </a:lnTo>
                  <a:lnTo>
                    <a:pt x="3663" y="3200"/>
                  </a:lnTo>
                  <a:lnTo>
                    <a:pt x="3663" y="3169"/>
                  </a:lnTo>
                  <a:lnTo>
                    <a:pt x="3637" y="3225"/>
                  </a:lnTo>
                  <a:lnTo>
                    <a:pt x="3637" y="3250"/>
                  </a:lnTo>
                  <a:lnTo>
                    <a:pt x="3637" y="3330"/>
                  </a:lnTo>
                  <a:lnTo>
                    <a:pt x="3637" y="3411"/>
                  </a:lnTo>
                  <a:lnTo>
                    <a:pt x="3637" y="3442"/>
                  </a:lnTo>
                  <a:lnTo>
                    <a:pt x="3637" y="3466"/>
                  </a:lnTo>
                  <a:lnTo>
                    <a:pt x="3637" y="3523"/>
                  </a:lnTo>
                  <a:lnTo>
                    <a:pt x="3637" y="3498"/>
                  </a:lnTo>
                  <a:lnTo>
                    <a:pt x="3663" y="3466"/>
                  </a:lnTo>
                  <a:lnTo>
                    <a:pt x="3694" y="3498"/>
                  </a:lnTo>
                  <a:lnTo>
                    <a:pt x="3694" y="3523"/>
                  </a:lnTo>
                  <a:lnTo>
                    <a:pt x="3719" y="3547"/>
                  </a:lnTo>
                  <a:lnTo>
                    <a:pt x="3694" y="3604"/>
                  </a:lnTo>
                  <a:lnTo>
                    <a:pt x="3663" y="3604"/>
                  </a:lnTo>
                  <a:lnTo>
                    <a:pt x="3663" y="3547"/>
                  </a:lnTo>
                  <a:lnTo>
                    <a:pt x="3637" y="3523"/>
                  </a:lnTo>
                  <a:lnTo>
                    <a:pt x="3637" y="3578"/>
                  </a:lnTo>
                  <a:lnTo>
                    <a:pt x="3663" y="3659"/>
                  </a:lnTo>
                  <a:lnTo>
                    <a:pt x="3637" y="3684"/>
                  </a:lnTo>
                  <a:lnTo>
                    <a:pt x="3637" y="3740"/>
                  </a:lnTo>
                  <a:lnTo>
                    <a:pt x="3694" y="3796"/>
                  </a:lnTo>
                  <a:lnTo>
                    <a:pt x="3663" y="3709"/>
                  </a:lnTo>
                  <a:lnTo>
                    <a:pt x="3694" y="3709"/>
                  </a:lnTo>
                  <a:lnTo>
                    <a:pt x="3743" y="3765"/>
                  </a:lnTo>
                  <a:lnTo>
                    <a:pt x="3774" y="3765"/>
                  </a:lnTo>
                  <a:lnTo>
                    <a:pt x="3800" y="3796"/>
                  </a:lnTo>
                  <a:lnTo>
                    <a:pt x="3800" y="3846"/>
                  </a:lnTo>
                  <a:lnTo>
                    <a:pt x="3800" y="3901"/>
                  </a:lnTo>
                  <a:lnTo>
                    <a:pt x="3800" y="3926"/>
                  </a:lnTo>
                  <a:lnTo>
                    <a:pt x="3800" y="3957"/>
                  </a:lnTo>
                  <a:lnTo>
                    <a:pt x="3800" y="3982"/>
                  </a:lnTo>
                  <a:lnTo>
                    <a:pt x="3800" y="4007"/>
                  </a:lnTo>
                  <a:lnTo>
                    <a:pt x="3800" y="4062"/>
                  </a:lnTo>
                  <a:close/>
                  <a:moveTo>
                    <a:pt x="3855" y="3033"/>
                  </a:moveTo>
                  <a:lnTo>
                    <a:pt x="3831" y="3064"/>
                  </a:lnTo>
                  <a:lnTo>
                    <a:pt x="3800" y="3064"/>
                  </a:lnTo>
                  <a:lnTo>
                    <a:pt x="3774" y="3088"/>
                  </a:lnTo>
                  <a:lnTo>
                    <a:pt x="3774" y="3114"/>
                  </a:lnTo>
                  <a:lnTo>
                    <a:pt x="3774" y="3145"/>
                  </a:lnTo>
                  <a:lnTo>
                    <a:pt x="3743" y="3145"/>
                  </a:lnTo>
                  <a:lnTo>
                    <a:pt x="3774" y="3145"/>
                  </a:lnTo>
                  <a:lnTo>
                    <a:pt x="3800" y="3169"/>
                  </a:lnTo>
                  <a:lnTo>
                    <a:pt x="3831" y="3169"/>
                  </a:lnTo>
                  <a:lnTo>
                    <a:pt x="3855" y="3114"/>
                  </a:lnTo>
                  <a:lnTo>
                    <a:pt x="3831" y="3088"/>
                  </a:lnTo>
                  <a:lnTo>
                    <a:pt x="3855" y="3088"/>
                  </a:lnTo>
                  <a:lnTo>
                    <a:pt x="3855" y="3033"/>
                  </a:lnTo>
                  <a:close/>
                  <a:moveTo>
                    <a:pt x="4073" y="3957"/>
                  </a:moveTo>
                  <a:lnTo>
                    <a:pt x="4073" y="3982"/>
                  </a:lnTo>
                  <a:lnTo>
                    <a:pt x="4098" y="3982"/>
                  </a:lnTo>
                  <a:lnTo>
                    <a:pt x="4129" y="3982"/>
                  </a:lnTo>
                  <a:lnTo>
                    <a:pt x="4129" y="4007"/>
                  </a:lnTo>
                  <a:lnTo>
                    <a:pt x="4154" y="4007"/>
                  </a:lnTo>
                  <a:lnTo>
                    <a:pt x="4129" y="4038"/>
                  </a:lnTo>
                  <a:lnTo>
                    <a:pt x="4129" y="4007"/>
                  </a:lnTo>
                  <a:lnTo>
                    <a:pt x="4129" y="4038"/>
                  </a:lnTo>
                  <a:lnTo>
                    <a:pt x="4129" y="4062"/>
                  </a:lnTo>
                  <a:lnTo>
                    <a:pt x="4154" y="4038"/>
                  </a:lnTo>
                  <a:lnTo>
                    <a:pt x="4179" y="4062"/>
                  </a:lnTo>
                  <a:lnTo>
                    <a:pt x="4154" y="4062"/>
                  </a:lnTo>
                  <a:lnTo>
                    <a:pt x="4154" y="4093"/>
                  </a:lnTo>
                  <a:lnTo>
                    <a:pt x="4179" y="4093"/>
                  </a:lnTo>
                  <a:lnTo>
                    <a:pt x="4210" y="4062"/>
                  </a:lnTo>
                  <a:lnTo>
                    <a:pt x="4179" y="4007"/>
                  </a:lnTo>
                  <a:lnTo>
                    <a:pt x="4154" y="3982"/>
                  </a:lnTo>
                  <a:lnTo>
                    <a:pt x="4098" y="3957"/>
                  </a:lnTo>
                  <a:lnTo>
                    <a:pt x="4073" y="3957"/>
                  </a:lnTo>
                  <a:close/>
                  <a:moveTo>
                    <a:pt x="4234" y="4007"/>
                  </a:moveTo>
                  <a:lnTo>
                    <a:pt x="4260" y="4038"/>
                  </a:lnTo>
                  <a:lnTo>
                    <a:pt x="4291" y="4093"/>
                  </a:lnTo>
                  <a:lnTo>
                    <a:pt x="4315" y="4093"/>
                  </a:lnTo>
                  <a:lnTo>
                    <a:pt x="4340" y="4062"/>
                  </a:lnTo>
                  <a:lnTo>
                    <a:pt x="4315" y="4038"/>
                  </a:lnTo>
                  <a:lnTo>
                    <a:pt x="4315" y="4062"/>
                  </a:lnTo>
                  <a:lnTo>
                    <a:pt x="4291" y="4038"/>
                  </a:lnTo>
                  <a:lnTo>
                    <a:pt x="4291" y="4062"/>
                  </a:lnTo>
                  <a:lnTo>
                    <a:pt x="4234" y="4007"/>
                  </a:lnTo>
                  <a:close/>
                  <a:moveTo>
                    <a:pt x="4340" y="3628"/>
                  </a:moveTo>
                  <a:lnTo>
                    <a:pt x="4340" y="3578"/>
                  </a:lnTo>
                  <a:lnTo>
                    <a:pt x="4371" y="3578"/>
                  </a:lnTo>
                  <a:lnTo>
                    <a:pt x="4371" y="3547"/>
                  </a:lnTo>
                  <a:lnTo>
                    <a:pt x="4340" y="3547"/>
                  </a:lnTo>
                  <a:lnTo>
                    <a:pt x="4340" y="3523"/>
                  </a:lnTo>
                  <a:lnTo>
                    <a:pt x="4315" y="3498"/>
                  </a:lnTo>
                  <a:lnTo>
                    <a:pt x="4315" y="3523"/>
                  </a:lnTo>
                  <a:lnTo>
                    <a:pt x="4315" y="3547"/>
                  </a:lnTo>
                  <a:lnTo>
                    <a:pt x="4315" y="3604"/>
                  </a:lnTo>
                  <a:lnTo>
                    <a:pt x="4340" y="3628"/>
                  </a:lnTo>
                  <a:close/>
                  <a:moveTo>
                    <a:pt x="4396" y="3957"/>
                  </a:moveTo>
                  <a:lnTo>
                    <a:pt x="4396" y="3877"/>
                  </a:lnTo>
                  <a:lnTo>
                    <a:pt x="4396" y="3846"/>
                  </a:lnTo>
                  <a:lnTo>
                    <a:pt x="4428" y="3846"/>
                  </a:lnTo>
                  <a:lnTo>
                    <a:pt x="4371" y="3765"/>
                  </a:lnTo>
                  <a:lnTo>
                    <a:pt x="4396" y="3765"/>
                  </a:lnTo>
                  <a:lnTo>
                    <a:pt x="4371" y="3740"/>
                  </a:lnTo>
                  <a:lnTo>
                    <a:pt x="4340" y="3684"/>
                  </a:lnTo>
                  <a:lnTo>
                    <a:pt x="4340" y="3709"/>
                  </a:lnTo>
                  <a:lnTo>
                    <a:pt x="4340" y="3740"/>
                  </a:lnTo>
                  <a:lnTo>
                    <a:pt x="4340" y="3765"/>
                  </a:lnTo>
                  <a:lnTo>
                    <a:pt x="4315" y="3765"/>
                  </a:lnTo>
                  <a:lnTo>
                    <a:pt x="4291" y="3765"/>
                  </a:lnTo>
                  <a:lnTo>
                    <a:pt x="4315" y="3740"/>
                  </a:lnTo>
                  <a:lnTo>
                    <a:pt x="4291" y="3709"/>
                  </a:lnTo>
                  <a:lnTo>
                    <a:pt x="4260" y="3684"/>
                  </a:lnTo>
                  <a:lnTo>
                    <a:pt x="4260" y="3709"/>
                  </a:lnTo>
                  <a:lnTo>
                    <a:pt x="4234" y="3709"/>
                  </a:lnTo>
                  <a:lnTo>
                    <a:pt x="4210" y="3709"/>
                  </a:lnTo>
                  <a:lnTo>
                    <a:pt x="4154" y="3740"/>
                  </a:lnTo>
                  <a:lnTo>
                    <a:pt x="4129" y="3740"/>
                  </a:lnTo>
                  <a:lnTo>
                    <a:pt x="4073" y="3765"/>
                  </a:lnTo>
                  <a:lnTo>
                    <a:pt x="4098" y="3796"/>
                  </a:lnTo>
                  <a:lnTo>
                    <a:pt x="4129" y="3820"/>
                  </a:lnTo>
                  <a:lnTo>
                    <a:pt x="4098" y="3820"/>
                  </a:lnTo>
                  <a:lnTo>
                    <a:pt x="4154" y="3846"/>
                  </a:lnTo>
                  <a:lnTo>
                    <a:pt x="4154" y="3901"/>
                  </a:lnTo>
                  <a:lnTo>
                    <a:pt x="4210" y="3926"/>
                  </a:lnTo>
                  <a:lnTo>
                    <a:pt x="4234" y="3957"/>
                  </a:lnTo>
                  <a:lnTo>
                    <a:pt x="4210" y="3957"/>
                  </a:lnTo>
                  <a:lnTo>
                    <a:pt x="4210" y="3982"/>
                  </a:lnTo>
                  <a:lnTo>
                    <a:pt x="4210" y="3957"/>
                  </a:lnTo>
                  <a:lnTo>
                    <a:pt x="4234" y="3982"/>
                  </a:lnTo>
                  <a:lnTo>
                    <a:pt x="4260" y="3957"/>
                  </a:lnTo>
                  <a:lnTo>
                    <a:pt x="4291" y="3982"/>
                  </a:lnTo>
                  <a:lnTo>
                    <a:pt x="4315" y="3982"/>
                  </a:lnTo>
                  <a:lnTo>
                    <a:pt x="4340" y="3982"/>
                  </a:lnTo>
                  <a:lnTo>
                    <a:pt x="4315" y="4007"/>
                  </a:lnTo>
                  <a:lnTo>
                    <a:pt x="4340" y="4038"/>
                  </a:lnTo>
                  <a:lnTo>
                    <a:pt x="4371" y="4007"/>
                  </a:lnTo>
                  <a:lnTo>
                    <a:pt x="4371" y="3982"/>
                  </a:lnTo>
                  <a:lnTo>
                    <a:pt x="4371" y="4007"/>
                  </a:lnTo>
                  <a:lnTo>
                    <a:pt x="4371" y="3982"/>
                  </a:lnTo>
                  <a:lnTo>
                    <a:pt x="4371" y="3957"/>
                  </a:lnTo>
                  <a:lnTo>
                    <a:pt x="4396" y="3957"/>
                  </a:lnTo>
                  <a:close/>
                  <a:moveTo>
                    <a:pt x="4428" y="2846"/>
                  </a:moveTo>
                  <a:lnTo>
                    <a:pt x="4396" y="2846"/>
                  </a:lnTo>
                  <a:lnTo>
                    <a:pt x="4371" y="2871"/>
                  </a:lnTo>
                  <a:lnTo>
                    <a:pt x="4396" y="2871"/>
                  </a:lnTo>
                  <a:lnTo>
                    <a:pt x="4428" y="2896"/>
                  </a:lnTo>
                  <a:lnTo>
                    <a:pt x="4452" y="2896"/>
                  </a:lnTo>
                  <a:lnTo>
                    <a:pt x="4452" y="2846"/>
                  </a:lnTo>
                  <a:lnTo>
                    <a:pt x="4478" y="2846"/>
                  </a:lnTo>
                  <a:lnTo>
                    <a:pt x="4428" y="2846"/>
                  </a:lnTo>
                  <a:close/>
                  <a:moveTo>
                    <a:pt x="4452" y="3901"/>
                  </a:moveTo>
                  <a:lnTo>
                    <a:pt x="4428" y="3926"/>
                  </a:lnTo>
                  <a:lnTo>
                    <a:pt x="4428" y="3982"/>
                  </a:lnTo>
                  <a:lnTo>
                    <a:pt x="4371" y="4038"/>
                  </a:lnTo>
                  <a:lnTo>
                    <a:pt x="4396" y="4062"/>
                  </a:lnTo>
                  <a:lnTo>
                    <a:pt x="4371" y="4062"/>
                  </a:lnTo>
                  <a:lnTo>
                    <a:pt x="4340" y="4062"/>
                  </a:lnTo>
                  <a:lnTo>
                    <a:pt x="4371" y="4093"/>
                  </a:lnTo>
                  <a:lnTo>
                    <a:pt x="4371" y="4119"/>
                  </a:lnTo>
                  <a:lnTo>
                    <a:pt x="4396" y="4119"/>
                  </a:lnTo>
                  <a:lnTo>
                    <a:pt x="4428" y="4038"/>
                  </a:lnTo>
                  <a:lnTo>
                    <a:pt x="4428" y="4007"/>
                  </a:lnTo>
                  <a:lnTo>
                    <a:pt x="4452" y="3926"/>
                  </a:lnTo>
                  <a:lnTo>
                    <a:pt x="4452" y="3901"/>
                  </a:lnTo>
                  <a:close/>
                  <a:moveTo>
                    <a:pt x="4589" y="3145"/>
                  </a:moveTo>
                  <a:lnTo>
                    <a:pt x="4558" y="3145"/>
                  </a:lnTo>
                  <a:lnTo>
                    <a:pt x="4589" y="3169"/>
                  </a:lnTo>
                  <a:lnTo>
                    <a:pt x="4614" y="3145"/>
                  </a:lnTo>
                  <a:lnTo>
                    <a:pt x="4614" y="3114"/>
                  </a:lnTo>
                  <a:lnTo>
                    <a:pt x="4589" y="3145"/>
                  </a:lnTo>
                  <a:close/>
                  <a:moveTo>
                    <a:pt x="4614" y="3901"/>
                  </a:moveTo>
                  <a:lnTo>
                    <a:pt x="4639" y="3901"/>
                  </a:lnTo>
                  <a:lnTo>
                    <a:pt x="4639" y="3877"/>
                  </a:lnTo>
                  <a:lnTo>
                    <a:pt x="4670" y="3877"/>
                  </a:lnTo>
                  <a:lnTo>
                    <a:pt x="4670" y="3901"/>
                  </a:lnTo>
                  <a:lnTo>
                    <a:pt x="4694" y="3901"/>
                  </a:lnTo>
                  <a:lnTo>
                    <a:pt x="4670" y="3926"/>
                  </a:lnTo>
                  <a:lnTo>
                    <a:pt x="4694" y="3957"/>
                  </a:lnTo>
                  <a:lnTo>
                    <a:pt x="4639" y="3926"/>
                  </a:lnTo>
                  <a:lnTo>
                    <a:pt x="4639" y="3957"/>
                  </a:lnTo>
                  <a:lnTo>
                    <a:pt x="4694" y="3982"/>
                  </a:lnTo>
                  <a:lnTo>
                    <a:pt x="4725" y="3982"/>
                  </a:lnTo>
                  <a:lnTo>
                    <a:pt x="4751" y="4007"/>
                  </a:lnTo>
                  <a:lnTo>
                    <a:pt x="4775" y="3982"/>
                  </a:lnTo>
                  <a:lnTo>
                    <a:pt x="4807" y="3982"/>
                  </a:lnTo>
                  <a:lnTo>
                    <a:pt x="4775" y="3926"/>
                  </a:lnTo>
                  <a:lnTo>
                    <a:pt x="4807" y="3926"/>
                  </a:lnTo>
                  <a:lnTo>
                    <a:pt x="4751" y="3926"/>
                  </a:lnTo>
                  <a:lnTo>
                    <a:pt x="4751" y="3901"/>
                  </a:lnTo>
                  <a:lnTo>
                    <a:pt x="4775" y="3901"/>
                  </a:lnTo>
                  <a:lnTo>
                    <a:pt x="4775" y="3877"/>
                  </a:lnTo>
                  <a:lnTo>
                    <a:pt x="4807" y="3877"/>
                  </a:lnTo>
                  <a:lnTo>
                    <a:pt x="4831" y="3877"/>
                  </a:lnTo>
                  <a:lnTo>
                    <a:pt x="4831" y="3846"/>
                  </a:lnTo>
                  <a:lnTo>
                    <a:pt x="4857" y="3846"/>
                  </a:lnTo>
                  <a:lnTo>
                    <a:pt x="4857" y="3820"/>
                  </a:lnTo>
                  <a:lnTo>
                    <a:pt x="4857" y="3796"/>
                  </a:lnTo>
                  <a:lnTo>
                    <a:pt x="4831" y="3765"/>
                  </a:lnTo>
                  <a:lnTo>
                    <a:pt x="4775" y="3765"/>
                  </a:lnTo>
                  <a:lnTo>
                    <a:pt x="4807" y="3709"/>
                  </a:lnTo>
                  <a:lnTo>
                    <a:pt x="4831" y="3684"/>
                  </a:lnTo>
                  <a:lnTo>
                    <a:pt x="4857" y="3684"/>
                  </a:lnTo>
                  <a:lnTo>
                    <a:pt x="4857" y="3659"/>
                  </a:lnTo>
                  <a:lnTo>
                    <a:pt x="4912" y="3628"/>
                  </a:lnTo>
                  <a:lnTo>
                    <a:pt x="4888" y="3628"/>
                  </a:lnTo>
                  <a:lnTo>
                    <a:pt x="4912" y="3628"/>
                  </a:lnTo>
                  <a:lnTo>
                    <a:pt x="4888" y="3578"/>
                  </a:lnTo>
                  <a:lnTo>
                    <a:pt x="4888" y="3547"/>
                  </a:lnTo>
                  <a:lnTo>
                    <a:pt x="4888" y="3498"/>
                  </a:lnTo>
                  <a:lnTo>
                    <a:pt x="4888" y="3466"/>
                  </a:lnTo>
                  <a:lnTo>
                    <a:pt x="4888" y="3442"/>
                  </a:lnTo>
                  <a:lnTo>
                    <a:pt x="4831" y="3442"/>
                  </a:lnTo>
                  <a:lnTo>
                    <a:pt x="4807" y="3411"/>
                  </a:lnTo>
                  <a:lnTo>
                    <a:pt x="4775" y="3411"/>
                  </a:lnTo>
                  <a:lnTo>
                    <a:pt x="4751" y="3442"/>
                  </a:lnTo>
                  <a:lnTo>
                    <a:pt x="4670" y="3498"/>
                  </a:lnTo>
                  <a:lnTo>
                    <a:pt x="4694" y="3523"/>
                  </a:lnTo>
                  <a:lnTo>
                    <a:pt x="4725" y="3498"/>
                  </a:lnTo>
                  <a:lnTo>
                    <a:pt x="4751" y="3628"/>
                  </a:lnTo>
                  <a:lnTo>
                    <a:pt x="4751" y="3659"/>
                  </a:lnTo>
                  <a:lnTo>
                    <a:pt x="4751" y="3628"/>
                  </a:lnTo>
                  <a:lnTo>
                    <a:pt x="4725" y="3628"/>
                  </a:lnTo>
                  <a:lnTo>
                    <a:pt x="4725" y="3659"/>
                  </a:lnTo>
                  <a:lnTo>
                    <a:pt x="4694" y="3659"/>
                  </a:lnTo>
                  <a:lnTo>
                    <a:pt x="4725" y="3628"/>
                  </a:lnTo>
                  <a:lnTo>
                    <a:pt x="4751" y="3604"/>
                  </a:lnTo>
                  <a:lnTo>
                    <a:pt x="4725" y="3547"/>
                  </a:lnTo>
                  <a:lnTo>
                    <a:pt x="4725" y="3523"/>
                  </a:lnTo>
                  <a:lnTo>
                    <a:pt x="4694" y="3523"/>
                  </a:lnTo>
                  <a:lnTo>
                    <a:pt x="4694" y="3578"/>
                  </a:lnTo>
                  <a:lnTo>
                    <a:pt x="4694" y="3628"/>
                  </a:lnTo>
                  <a:lnTo>
                    <a:pt x="4670" y="3659"/>
                  </a:lnTo>
                  <a:lnTo>
                    <a:pt x="4670" y="3628"/>
                  </a:lnTo>
                  <a:lnTo>
                    <a:pt x="4639" y="3628"/>
                  </a:lnTo>
                  <a:lnTo>
                    <a:pt x="4670" y="3604"/>
                  </a:lnTo>
                  <a:lnTo>
                    <a:pt x="4639" y="3604"/>
                  </a:lnTo>
                  <a:lnTo>
                    <a:pt x="4639" y="3578"/>
                  </a:lnTo>
                  <a:lnTo>
                    <a:pt x="4670" y="3578"/>
                  </a:lnTo>
                  <a:lnTo>
                    <a:pt x="4639" y="3578"/>
                  </a:lnTo>
                  <a:lnTo>
                    <a:pt x="4639" y="3547"/>
                  </a:lnTo>
                  <a:lnTo>
                    <a:pt x="4639" y="3523"/>
                  </a:lnTo>
                  <a:lnTo>
                    <a:pt x="4670" y="3547"/>
                  </a:lnTo>
                  <a:lnTo>
                    <a:pt x="4670" y="3498"/>
                  </a:lnTo>
                  <a:lnTo>
                    <a:pt x="4639" y="3498"/>
                  </a:lnTo>
                  <a:lnTo>
                    <a:pt x="4614" y="3523"/>
                  </a:lnTo>
                  <a:lnTo>
                    <a:pt x="4533" y="3498"/>
                  </a:lnTo>
                  <a:lnTo>
                    <a:pt x="4509" y="3498"/>
                  </a:lnTo>
                  <a:lnTo>
                    <a:pt x="4533" y="3523"/>
                  </a:lnTo>
                  <a:lnTo>
                    <a:pt x="4589" y="3523"/>
                  </a:lnTo>
                  <a:lnTo>
                    <a:pt x="4589" y="3578"/>
                  </a:lnTo>
                  <a:lnTo>
                    <a:pt x="4533" y="3578"/>
                  </a:lnTo>
                  <a:lnTo>
                    <a:pt x="4558" y="3604"/>
                  </a:lnTo>
                  <a:lnTo>
                    <a:pt x="4533" y="3628"/>
                  </a:lnTo>
                  <a:lnTo>
                    <a:pt x="4478" y="3628"/>
                  </a:lnTo>
                  <a:lnTo>
                    <a:pt x="4452" y="3628"/>
                  </a:lnTo>
                  <a:lnTo>
                    <a:pt x="4428" y="3604"/>
                  </a:lnTo>
                  <a:lnTo>
                    <a:pt x="4396" y="3628"/>
                  </a:lnTo>
                  <a:lnTo>
                    <a:pt x="4428" y="3628"/>
                  </a:lnTo>
                  <a:lnTo>
                    <a:pt x="4452" y="3628"/>
                  </a:lnTo>
                  <a:lnTo>
                    <a:pt x="4478" y="3659"/>
                  </a:lnTo>
                  <a:lnTo>
                    <a:pt x="4428" y="3659"/>
                  </a:lnTo>
                  <a:lnTo>
                    <a:pt x="4478" y="3684"/>
                  </a:lnTo>
                  <a:lnTo>
                    <a:pt x="4478" y="3709"/>
                  </a:lnTo>
                  <a:lnTo>
                    <a:pt x="4452" y="3740"/>
                  </a:lnTo>
                  <a:lnTo>
                    <a:pt x="4478" y="3740"/>
                  </a:lnTo>
                  <a:lnTo>
                    <a:pt x="4509" y="3740"/>
                  </a:lnTo>
                  <a:lnTo>
                    <a:pt x="4509" y="3796"/>
                  </a:lnTo>
                  <a:lnTo>
                    <a:pt x="4478" y="3820"/>
                  </a:lnTo>
                  <a:lnTo>
                    <a:pt x="4509" y="3846"/>
                  </a:lnTo>
                  <a:lnTo>
                    <a:pt x="4533" y="3846"/>
                  </a:lnTo>
                  <a:lnTo>
                    <a:pt x="4533" y="3877"/>
                  </a:lnTo>
                  <a:lnTo>
                    <a:pt x="4533" y="3901"/>
                  </a:lnTo>
                  <a:lnTo>
                    <a:pt x="4558" y="3877"/>
                  </a:lnTo>
                  <a:lnTo>
                    <a:pt x="4589" y="3877"/>
                  </a:lnTo>
                  <a:lnTo>
                    <a:pt x="4589" y="3901"/>
                  </a:lnTo>
                  <a:lnTo>
                    <a:pt x="4614" y="3901"/>
                  </a:lnTo>
                  <a:close/>
                  <a:moveTo>
                    <a:pt x="4639" y="4038"/>
                  </a:moveTo>
                  <a:lnTo>
                    <a:pt x="4639" y="4062"/>
                  </a:lnTo>
                  <a:lnTo>
                    <a:pt x="4614" y="4062"/>
                  </a:lnTo>
                  <a:lnTo>
                    <a:pt x="4589" y="4038"/>
                  </a:lnTo>
                  <a:lnTo>
                    <a:pt x="4558" y="4038"/>
                  </a:lnTo>
                  <a:lnTo>
                    <a:pt x="4533" y="4007"/>
                  </a:lnTo>
                  <a:lnTo>
                    <a:pt x="4509" y="4007"/>
                  </a:lnTo>
                  <a:lnTo>
                    <a:pt x="4478" y="4038"/>
                  </a:lnTo>
                  <a:lnTo>
                    <a:pt x="4478" y="4062"/>
                  </a:lnTo>
                  <a:lnTo>
                    <a:pt x="4509" y="4062"/>
                  </a:lnTo>
                  <a:lnTo>
                    <a:pt x="4478" y="4093"/>
                  </a:lnTo>
                  <a:lnTo>
                    <a:pt x="4452" y="4062"/>
                  </a:lnTo>
                  <a:lnTo>
                    <a:pt x="4452" y="4093"/>
                  </a:lnTo>
                  <a:lnTo>
                    <a:pt x="4509" y="4119"/>
                  </a:lnTo>
                  <a:lnTo>
                    <a:pt x="4589" y="4174"/>
                  </a:lnTo>
                  <a:lnTo>
                    <a:pt x="4639" y="4143"/>
                  </a:lnTo>
                  <a:lnTo>
                    <a:pt x="4670" y="4143"/>
                  </a:lnTo>
                  <a:lnTo>
                    <a:pt x="4694" y="4143"/>
                  </a:lnTo>
                  <a:lnTo>
                    <a:pt x="4725" y="4143"/>
                  </a:lnTo>
                  <a:lnTo>
                    <a:pt x="4694" y="4119"/>
                  </a:lnTo>
                  <a:lnTo>
                    <a:pt x="4725" y="4119"/>
                  </a:lnTo>
                  <a:lnTo>
                    <a:pt x="4694" y="4062"/>
                  </a:lnTo>
                  <a:lnTo>
                    <a:pt x="4639" y="4038"/>
                  </a:lnTo>
                  <a:close/>
                  <a:moveTo>
                    <a:pt x="4751" y="4038"/>
                  </a:moveTo>
                  <a:lnTo>
                    <a:pt x="4751" y="4007"/>
                  </a:lnTo>
                  <a:lnTo>
                    <a:pt x="4725" y="4007"/>
                  </a:lnTo>
                  <a:lnTo>
                    <a:pt x="4694" y="4007"/>
                  </a:lnTo>
                  <a:lnTo>
                    <a:pt x="4670" y="3982"/>
                  </a:lnTo>
                  <a:lnTo>
                    <a:pt x="4670" y="4007"/>
                  </a:lnTo>
                  <a:lnTo>
                    <a:pt x="4694" y="4038"/>
                  </a:lnTo>
                  <a:lnTo>
                    <a:pt x="4725" y="4093"/>
                  </a:lnTo>
                  <a:lnTo>
                    <a:pt x="4725" y="4119"/>
                  </a:lnTo>
                  <a:lnTo>
                    <a:pt x="4725" y="4143"/>
                  </a:lnTo>
                  <a:lnTo>
                    <a:pt x="4725" y="4199"/>
                  </a:lnTo>
                  <a:lnTo>
                    <a:pt x="4751" y="4199"/>
                  </a:lnTo>
                  <a:lnTo>
                    <a:pt x="4751" y="4143"/>
                  </a:lnTo>
                  <a:lnTo>
                    <a:pt x="4807" y="4062"/>
                  </a:lnTo>
                  <a:lnTo>
                    <a:pt x="4775" y="4038"/>
                  </a:lnTo>
                  <a:lnTo>
                    <a:pt x="4751" y="4038"/>
                  </a:lnTo>
                  <a:close/>
                  <a:moveTo>
                    <a:pt x="4831" y="3957"/>
                  </a:moveTo>
                  <a:lnTo>
                    <a:pt x="4807" y="3957"/>
                  </a:lnTo>
                  <a:lnTo>
                    <a:pt x="4831" y="3982"/>
                  </a:lnTo>
                  <a:lnTo>
                    <a:pt x="4807" y="3982"/>
                  </a:lnTo>
                  <a:lnTo>
                    <a:pt x="4807" y="4007"/>
                  </a:lnTo>
                  <a:lnTo>
                    <a:pt x="4775" y="4007"/>
                  </a:lnTo>
                  <a:lnTo>
                    <a:pt x="4775" y="4038"/>
                  </a:lnTo>
                  <a:lnTo>
                    <a:pt x="4807" y="4038"/>
                  </a:lnTo>
                  <a:lnTo>
                    <a:pt x="4831" y="4007"/>
                  </a:lnTo>
                  <a:lnTo>
                    <a:pt x="4857" y="3982"/>
                  </a:lnTo>
                  <a:lnTo>
                    <a:pt x="4888" y="4007"/>
                  </a:lnTo>
                  <a:lnTo>
                    <a:pt x="4912" y="4007"/>
                  </a:lnTo>
                  <a:lnTo>
                    <a:pt x="4912" y="3982"/>
                  </a:lnTo>
                  <a:lnTo>
                    <a:pt x="4888" y="3957"/>
                  </a:lnTo>
                  <a:lnTo>
                    <a:pt x="4831" y="3957"/>
                  </a:lnTo>
                  <a:close/>
                  <a:moveTo>
                    <a:pt x="4888" y="3684"/>
                  </a:moveTo>
                  <a:lnTo>
                    <a:pt x="4888" y="3709"/>
                  </a:lnTo>
                  <a:lnTo>
                    <a:pt x="4912" y="3684"/>
                  </a:lnTo>
                  <a:lnTo>
                    <a:pt x="4912" y="3659"/>
                  </a:lnTo>
                  <a:lnTo>
                    <a:pt x="4912" y="3628"/>
                  </a:lnTo>
                  <a:lnTo>
                    <a:pt x="4888" y="3659"/>
                  </a:lnTo>
                  <a:lnTo>
                    <a:pt x="4888" y="3684"/>
                  </a:lnTo>
                  <a:close/>
                  <a:moveTo>
                    <a:pt x="5509" y="3901"/>
                  </a:moveTo>
                  <a:lnTo>
                    <a:pt x="5621" y="3926"/>
                  </a:lnTo>
                  <a:lnTo>
                    <a:pt x="5621" y="3901"/>
                  </a:lnTo>
                  <a:lnTo>
                    <a:pt x="5646" y="3877"/>
                  </a:lnTo>
                  <a:lnTo>
                    <a:pt x="5621" y="3846"/>
                  </a:lnTo>
                  <a:lnTo>
                    <a:pt x="5590" y="3820"/>
                  </a:lnTo>
                  <a:lnTo>
                    <a:pt x="5534" y="3796"/>
                  </a:lnTo>
                  <a:lnTo>
                    <a:pt x="5509" y="3765"/>
                  </a:lnTo>
                  <a:lnTo>
                    <a:pt x="5509" y="3796"/>
                  </a:lnTo>
                  <a:lnTo>
                    <a:pt x="5509" y="3820"/>
                  </a:lnTo>
                  <a:lnTo>
                    <a:pt x="5509" y="3877"/>
                  </a:lnTo>
                  <a:lnTo>
                    <a:pt x="5509" y="3901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25" name="Freeform 59">
              <a:extLst>
                <a:ext uri="{FF2B5EF4-FFF2-40B4-BE49-F238E27FC236}">
                  <a16:creationId xmlns:a16="http://schemas.microsoft.com/office/drawing/2014/main" id="{3076516C-4008-4201-B1B9-BF5CB9D57B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18485" y="2878098"/>
              <a:ext cx="947946" cy="1269889"/>
            </a:xfrm>
            <a:custGeom>
              <a:avLst/>
              <a:gdLst/>
              <a:ahLst/>
              <a:cxnLst>
                <a:cxn ang="0">
                  <a:pos x="55" y="2117"/>
                </a:cxn>
                <a:cxn ang="0">
                  <a:pos x="80" y="1869"/>
                </a:cxn>
                <a:cxn ang="0">
                  <a:pos x="24" y="1601"/>
                </a:cxn>
                <a:cxn ang="0">
                  <a:pos x="266" y="1465"/>
                </a:cxn>
                <a:cxn ang="0">
                  <a:pos x="266" y="1247"/>
                </a:cxn>
                <a:cxn ang="0">
                  <a:pos x="402" y="893"/>
                </a:cxn>
                <a:cxn ang="0">
                  <a:pos x="539" y="677"/>
                </a:cxn>
                <a:cxn ang="0">
                  <a:pos x="732" y="813"/>
                </a:cxn>
                <a:cxn ang="0">
                  <a:pos x="868" y="572"/>
                </a:cxn>
                <a:cxn ang="0">
                  <a:pos x="917" y="459"/>
                </a:cxn>
                <a:cxn ang="0">
                  <a:pos x="917" y="273"/>
                </a:cxn>
                <a:cxn ang="0">
                  <a:pos x="732" y="81"/>
                </a:cxn>
                <a:cxn ang="0">
                  <a:pos x="948" y="112"/>
                </a:cxn>
                <a:cxn ang="0">
                  <a:pos x="1216" y="218"/>
                </a:cxn>
                <a:cxn ang="0">
                  <a:pos x="1352" y="298"/>
                </a:cxn>
                <a:cxn ang="0">
                  <a:pos x="1513" y="434"/>
                </a:cxn>
                <a:cxn ang="0">
                  <a:pos x="1675" y="459"/>
                </a:cxn>
                <a:cxn ang="0">
                  <a:pos x="1892" y="354"/>
                </a:cxn>
                <a:cxn ang="0">
                  <a:pos x="1948" y="354"/>
                </a:cxn>
                <a:cxn ang="0">
                  <a:pos x="2108" y="273"/>
                </a:cxn>
                <a:cxn ang="0">
                  <a:pos x="2326" y="410"/>
                </a:cxn>
                <a:cxn ang="0">
                  <a:pos x="2462" y="572"/>
                </a:cxn>
                <a:cxn ang="0">
                  <a:pos x="2519" y="838"/>
                </a:cxn>
                <a:cxn ang="0">
                  <a:pos x="2624" y="1247"/>
                </a:cxn>
                <a:cxn ang="0">
                  <a:pos x="2704" y="1546"/>
                </a:cxn>
                <a:cxn ang="0">
                  <a:pos x="2785" y="1738"/>
                </a:cxn>
                <a:cxn ang="0">
                  <a:pos x="2680" y="1924"/>
                </a:cxn>
                <a:cxn ang="0">
                  <a:pos x="2543" y="1980"/>
                </a:cxn>
                <a:cxn ang="0">
                  <a:pos x="2357" y="2117"/>
                </a:cxn>
                <a:cxn ang="0">
                  <a:pos x="2140" y="2197"/>
                </a:cxn>
                <a:cxn ang="0">
                  <a:pos x="1948" y="2278"/>
                </a:cxn>
                <a:cxn ang="0">
                  <a:pos x="2108" y="2601"/>
                </a:cxn>
                <a:cxn ang="0">
                  <a:pos x="2381" y="2874"/>
                </a:cxn>
                <a:cxn ang="0">
                  <a:pos x="2543" y="3092"/>
                </a:cxn>
                <a:cxn ang="0">
                  <a:pos x="2301" y="3278"/>
                </a:cxn>
                <a:cxn ang="0">
                  <a:pos x="2301" y="3525"/>
                </a:cxn>
                <a:cxn ang="0">
                  <a:pos x="2220" y="3551"/>
                </a:cxn>
                <a:cxn ang="0">
                  <a:pos x="1923" y="3575"/>
                </a:cxn>
                <a:cxn ang="0">
                  <a:pos x="1649" y="3687"/>
                </a:cxn>
                <a:cxn ang="0">
                  <a:pos x="1464" y="3712"/>
                </a:cxn>
                <a:cxn ang="0">
                  <a:pos x="1271" y="3606"/>
                </a:cxn>
                <a:cxn ang="0">
                  <a:pos x="1029" y="3575"/>
                </a:cxn>
                <a:cxn ang="0">
                  <a:pos x="868" y="3551"/>
                </a:cxn>
                <a:cxn ang="0">
                  <a:pos x="837" y="3606"/>
                </a:cxn>
                <a:cxn ang="0">
                  <a:pos x="514" y="3632"/>
                </a:cxn>
                <a:cxn ang="0">
                  <a:pos x="563" y="3278"/>
                </a:cxn>
                <a:cxn ang="0">
                  <a:pos x="594" y="2899"/>
                </a:cxn>
                <a:cxn ang="0">
                  <a:pos x="242" y="2850"/>
                </a:cxn>
                <a:cxn ang="0">
                  <a:pos x="297" y="708"/>
                </a:cxn>
                <a:cxn ang="0">
                  <a:pos x="458" y="651"/>
                </a:cxn>
                <a:cxn ang="0">
                  <a:pos x="594" y="627"/>
                </a:cxn>
                <a:cxn ang="0">
                  <a:pos x="781" y="161"/>
                </a:cxn>
                <a:cxn ang="0">
                  <a:pos x="868" y="3575"/>
                </a:cxn>
                <a:cxn ang="0">
                  <a:pos x="917" y="273"/>
                </a:cxn>
                <a:cxn ang="0">
                  <a:pos x="1625" y="515"/>
                </a:cxn>
                <a:cxn ang="0">
                  <a:pos x="2108" y="161"/>
                </a:cxn>
                <a:cxn ang="0">
                  <a:pos x="2270" y="298"/>
                </a:cxn>
                <a:cxn ang="0">
                  <a:pos x="2165" y="137"/>
                </a:cxn>
                <a:cxn ang="0">
                  <a:pos x="2189" y="161"/>
                </a:cxn>
                <a:cxn ang="0">
                  <a:pos x="2108" y="242"/>
                </a:cxn>
                <a:cxn ang="0">
                  <a:pos x="2357" y="434"/>
                </a:cxn>
                <a:cxn ang="0">
                  <a:pos x="2438" y="515"/>
                </a:cxn>
              </a:cxnLst>
              <a:rect l="0" t="0" r="r" b="b"/>
              <a:pathLst>
                <a:path w="2816" h="3768">
                  <a:moveTo>
                    <a:pt x="55" y="2384"/>
                  </a:moveTo>
                  <a:lnTo>
                    <a:pt x="55" y="2359"/>
                  </a:lnTo>
                  <a:lnTo>
                    <a:pt x="80" y="2359"/>
                  </a:lnTo>
                  <a:lnTo>
                    <a:pt x="80" y="2334"/>
                  </a:lnTo>
                  <a:lnTo>
                    <a:pt x="105" y="2334"/>
                  </a:lnTo>
                  <a:lnTo>
                    <a:pt x="105" y="2303"/>
                  </a:lnTo>
                  <a:lnTo>
                    <a:pt x="136" y="2303"/>
                  </a:lnTo>
                  <a:lnTo>
                    <a:pt x="136" y="2278"/>
                  </a:lnTo>
                  <a:lnTo>
                    <a:pt x="136" y="2247"/>
                  </a:lnTo>
                  <a:lnTo>
                    <a:pt x="136" y="2223"/>
                  </a:lnTo>
                  <a:lnTo>
                    <a:pt x="105" y="2223"/>
                  </a:lnTo>
                  <a:lnTo>
                    <a:pt x="80" y="2197"/>
                  </a:lnTo>
                  <a:lnTo>
                    <a:pt x="105" y="2142"/>
                  </a:lnTo>
                  <a:lnTo>
                    <a:pt x="80" y="2142"/>
                  </a:lnTo>
                  <a:lnTo>
                    <a:pt x="55" y="2117"/>
                  </a:lnTo>
                  <a:lnTo>
                    <a:pt x="24" y="2086"/>
                  </a:lnTo>
                  <a:lnTo>
                    <a:pt x="24" y="2061"/>
                  </a:lnTo>
                  <a:lnTo>
                    <a:pt x="24" y="2036"/>
                  </a:lnTo>
                  <a:lnTo>
                    <a:pt x="55" y="2036"/>
                  </a:lnTo>
                  <a:lnTo>
                    <a:pt x="55" y="2005"/>
                  </a:lnTo>
                  <a:lnTo>
                    <a:pt x="24" y="2005"/>
                  </a:lnTo>
                  <a:lnTo>
                    <a:pt x="24" y="1980"/>
                  </a:lnTo>
                  <a:lnTo>
                    <a:pt x="0" y="1980"/>
                  </a:lnTo>
                  <a:lnTo>
                    <a:pt x="0" y="1950"/>
                  </a:lnTo>
                  <a:lnTo>
                    <a:pt x="0" y="1924"/>
                  </a:lnTo>
                  <a:lnTo>
                    <a:pt x="24" y="1950"/>
                  </a:lnTo>
                  <a:lnTo>
                    <a:pt x="24" y="1924"/>
                  </a:lnTo>
                  <a:lnTo>
                    <a:pt x="55" y="1900"/>
                  </a:lnTo>
                  <a:lnTo>
                    <a:pt x="80" y="1900"/>
                  </a:lnTo>
                  <a:lnTo>
                    <a:pt x="80" y="1869"/>
                  </a:lnTo>
                  <a:lnTo>
                    <a:pt x="55" y="1900"/>
                  </a:lnTo>
                  <a:lnTo>
                    <a:pt x="55" y="1869"/>
                  </a:lnTo>
                  <a:lnTo>
                    <a:pt x="55" y="1843"/>
                  </a:lnTo>
                  <a:lnTo>
                    <a:pt x="80" y="1843"/>
                  </a:lnTo>
                  <a:lnTo>
                    <a:pt x="80" y="1819"/>
                  </a:lnTo>
                  <a:lnTo>
                    <a:pt x="105" y="1788"/>
                  </a:lnTo>
                  <a:lnTo>
                    <a:pt x="80" y="1788"/>
                  </a:lnTo>
                  <a:lnTo>
                    <a:pt x="105" y="1738"/>
                  </a:lnTo>
                  <a:lnTo>
                    <a:pt x="105" y="1707"/>
                  </a:lnTo>
                  <a:lnTo>
                    <a:pt x="80" y="1707"/>
                  </a:lnTo>
                  <a:lnTo>
                    <a:pt x="55" y="1682"/>
                  </a:lnTo>
                  <a:lnTo>
                    <a:pt x="80" y="1651"/>
                  </a:lnTo>
                  <a:lnTo>
                    <a:pt x="55" y="1651"/>
                  </a:lnTo>
                  <a:lnTo>
                    <a:pt x="55" y="1627"/>
                  </a:lnTo>
                  <a:lnTo>
                    <a:pt x="24" y="1601"/>
                  </a:lnTo>
                  <a:lnTo>
                    <a:pt x="24" y="1570"/>
                  </a:lnTo>
                  <a:lnTo>
                    <a:pt x="55" y="1570"/>
                  </a:lnTo>
                  <a:lnTo>
                    <a:pt x="55" y="1546"/>
                  </a:lnTo>
                  <a:lnTo>
                    <a:pt x="80" y="1570"/>
                  </a:lnTo>
                  <a:lnTo>
                    <a:pt x="80" y="1546"/>
                  </a:lnTo>
                  <a:lnTo>
                    <a:pt x="80" y="1520"/>
                  </a:lnTo>
                  <a:lnTo>
                    <a:pt x="105" y="1546"/>
                  </a:lnTo>
                  <a:lnTo>
                    <a:pt x="161" y="1546"/>
                  </a:lnTo>
                  <a:lnTo>
                    <a:pt x="185" y="1546"/>
                  </a:lnTo>
                  <a:lnTo>
                    <a:pt x="216" y="1546"/>
                  </a:lnTo>
                  <a:lnTo>
                    <a:pt x="242" y="1520"/>
                  </a:lnTo>
                  <a:lnTo>
                    <a:pt x="242" y="1546"/>
                  </a:lnTo>
                  <a:lnTo>
                    <a:pt x="266" y="1520"/>
                  </a:lnTo>
                  <a:lnTo>
                    <a:pt x="297" y="1489"/>
                  </a:lnTo>
                  <a:lnTo>
                    <a:pt x="266" y="1465"/>
                  </a:lnTo>
                  <a:lnTo>
                    <a:pt x="242" y="1465"/>
                  </a:lnTo>
                  <a:lnTo>
                    <a:pt x="266" y="1465"/>
                  </a:lnTo>
                  <a:lnTo>
                    <a:pt x="266" y="1440"/>
                  </a:lnTo>
                  <a:lnTo>
                    <a:pt x="297" y="1440"/>
                  </a:lnTo>
                  <a:lnTo>
                    <a:pt x="322" y="1409"/>
                  </a:lnTo>
                  <a:lnTo>
                    <a:pt x="353" y="1384"/>
                  </a:lnTo>
                  <a:lnTo>
                    <a:pt x="353" y="1353"/>
                  </a:lnTo>
                  <a:lnTo>
                    <a:pt x="353" y="1328"/>
                  </a:lnTo>
                  <a:lnTo>
                    <a:pt x="378" y="1328"/>
                  </a:lnTo>
                  <a:lnTo>
                    <a:pt x="353" y="1304"/>
                  </a:lnTo>
                  <a:lnTo>
                    <a:pt x="353" y="1273"/>
                  </a:lnTo>
                  <a:lnTo>
                    <a:pt x="322" y="1273"/>
                  </a:lnTo>
                  <a:lnTo>
                    <a:pt x="297" y="1273"/>
                  </a:lnTo>
                  <a:lnTo>
                    <a:pt x="266" y="1273"/>
                  </a:lnTo>
                  <a:lnTo>
                    <a:pt x="266" y="1247"/>
                  </a:lnTo>
                  <a:lnTo>
                    <a:pt x="266" y="1223"/>
                  </a:lnTo>
                  <a:lnTo>
                    <a:pt x="266" y="1192"/>
                  </a:lnTo>
                  <a:lnTo>
                    <a:pt x="266" y="1167"/>
                  </a:lnTo>
                  <a:lnTo>
                    <a:pt x="322" y="1167"/>
                  </a:lnTo>
                  <a:lnTo>
                    <a:pt x="322" y="1192"/>
                  </a:lnTo>
                  <a:lnTo>
                    <a:pt x="353" y="1192"/>
                  </a:lnTo>
                  <a:lnTo>
                    <a:pt x="378" y="1136"/>
                  </a:lnTo>
                  <a:lnTo>
                    <a:pt x="378" y="1111"/>
                  </a:lnTo>
                  <a:lnTo>
                    <a:pt x="378" y="1086"/>
                  </a:lnTo>
                  <a:lnTo>
                    <a:pt x="402" y="1031"/>
                  </a:lnTo>
                  <a:lnTo>
                    <a:pt x="402" y="1005"/>
                  </a:lnTo>
                  <a:lnTo>
                    <a:pt x="402" y="974"/>
                  </a:lnTo>
                  <a:lnTo>
                    <a:pt x="402" y="950"/>
                  </a:lnTo>
                  <a:lnTo>
                    <a:pt x="402" y="924"/>
                  </a:lnTo>
                  <a:lnTo>
                    <a:pt x="402" y="893"/>
                  </a:lnTo>
                  <a:lnTo>
                    <a:pt x="434" y="869"/>
                  </a:lnTo>
                  <a:lnTo>
                    <a:pt x="434" y="838"/>
                  </a:lnTo>
                  <a:lnTo>
                    <a:pt x="353" y="838"/>
                  </a:lnTo>
                  <a:lnTo>
                    <a:pt x="353" y="813"/>
                  </a:lnTo>
                  <a:lnTo>
                    <a:pt x="353" y="788"/>
                  </a:lnTo>
                  <a:lnTo>
                    <a:pt x="378" y="757"/>
                  </a:lnTo>
                  <a:lnTo>
                    <a:pt x="402" y="732"/>
                  </a:lnTo>
                  <a:lnTo>
                    <a:pt x="378" y="732"/>
                  </a:lnTo>
                  <a:lnTo>
                    <a:pt x="378" y="708"/>
                  </a:lnTo>
                  <a:lnTo>
                    <a:pt x="402" y="708"/>
                  </a:lnTo>
                  <a:lnTo>
                    <a:pt x="434" y="677"/>
                  </a:lnTo>
                  <a:lnTo>
                    <a:pt x="458" y="677"/>
                  </a:lnTo>
                  <a:lnTo>
                    <a:pt x="483" y="677"/>
                  </a:lnTo>
                  <a:lnTo>
                    <a:pt x="514" y="677"/>
                  </a:lnTo>
                  <a:lnTo>
                    <a:pt x="539" y="677"/>
                  </a:lnTo>
                  <a:lnTo>
                    <a:pt x="563" y="651"/>
                  </a:lnTo>
                  <a:lnTo>
                    <a:pt x="563" y="677"/>
                  </a:lnTo>
                  <a:lnTo>
                    <a:pt x="594" y="651"/>
                  </a:lnTo>
                  <a:lnTo>
                    <a:pt x="620" y="651"/>
                  </a:lnTo>
                  <a:lnTo>
                    <a:pt x="651" y="651"/>
                  </a:lnTo>
                  <a:lnTo>
                    <a:pt x="651" y="677"/>
                  </a:lnTo>
                  <a:lnTo>
                    <a:pt x="675" y="708"/>
                  </a:lnTo>
                  <a:lnTo>
                    <a:pt x="675" y="677"/>
                  </a:lnTo>
                  <a:lnTo>
                    <a:pt x="701" y="732"/>
                  </a:lnTo>
                  <a:lnTo>
                    <a:pt x="701" y="757"/>
                  </a:lnTo>
                  <a:lnTo>
                    <a:pt x="675" y="757"/>
                  </a:lnTo>
                  <a:lnTo>
                    <a:pt x="675" y="788"/>
                  </a:lnTo>
                  <a:lnTo>
                    <a:pt x="701" y="788"/>
                  </a:lnTo>
                  <a:lnTo>
                    <a:pt x="701" y="813"/>
                  </a:lnTo>
                  <a:lnTo>
                    <a:pt x="732" y="813"/>
                  </a:lnTo>
                  <a:lnTo>
                    <a:pt x="732" y="788"/>
                  </a:lnTo>
                  <a:lnTo>
                    <a:pt x="756" y="788"/>
                  </a:lnTo>
                  <a:lnTo>
                    <a:pt x="756" y="757"/>
                  </a:lnTo>
                  <a:lnTo>
                    <a:pt x="732" y="757"/>
                  </a:lnTo>
                  <a:lnTo>
                    <a:pt x="732" y="732"/>
                  </a:lnTo>
                  <a:lnTo>
                    <a:pt x="732" y="708"/>
                  </a:lnTo>
                  <a:lnTo>
                    <a:pt x="756" y="708"/>
                  </a:lnTo>
                  <a:lnTo>
                    <a:pt x="756" y="732"/>
                  </a:lnTo>
                  <a:lnTo>
                    <a:pt x="781" y="732"/>
                  </a:lnTo>
                  <a:lnTo>
                    <a:pt x="812" y="732"/>
                  </a:lnTo>
                  <a:lnTo>
                    <a:pt x="812" y="708"/>
                  </a:lnTo>
                  <a:lnTo>
                    <a:pt x="781" y="677"/>
                  </a:lnTo>
                  <a:lnTo>
                    <a:pt x="812" y="596"/>
                  </a:lnTo>
                  <a:lnTo>
                    <a:pt x="837" y="572"/>
                  </a:lnTo>
                  <a:lnTo>
                    <a:pt x="868" y="572"/>
                  </a:lnTo>
                  <a:lnTo>
                    <a:pt x="893" y="596"/>
                  </a:lnTo>
                  <a:lnTo>
                    <a:pt x="917" y="596"/>
                  </a:lnTo>
                  <a:lnTo>
                    <a:pt x="948" y="596"/>
                  </a:lnTo>
                  <a:lnTo>
                    <a:pt x="974" y="572"/>
                  </a:lnTo>
                  <a:lnTo>
                    <a:pt x="1029" y="596"/>
                  </a:lnTo>
                  <a:lnTo>
                    <a:pt x="998" y="572"/>
                  </a:lnTo>
                  <a:lnTo>
                    <a:pt x="974" y="572"/>
                  </a:lnTo>
                  <a:lnTo>
                    <a:pt x="948" y="572"/>
                  </a:lnTo>
                  <a:lnTo>
                    <a:pt x="917" y="540"/>
                  </a:lnTo>
                  <a:lnTo>
                    <a:pt x="917" y="515"/>
                  </a:lnTo>
                  <a:lnTo>
                    <a:pt x="893" y="491"/>
                  </a:lnTo>
                  <a:lnTo>
                    <a:pt x="917" y="491"/>
                  </a:lnTo>
                  <a:lnTo>
                    <a:pt x="917" y="515"/>
                  </a:lnTo>
                  <a:lnTo>
                    <a:pt x="948" y="491"/>
                  </a:lnTo>
                  <a:lnTo>
                    <a:pt x="917" y="459"/>
                  </a:lnTo>
                  <a:lnTo>
                    <a:pt x="893" y="459"/>
                  </a:lnTo>
                  <a:lnTo>
                    <a:pt x="893" y="434"/>
                  </a:lnTo>
                  <a:lnTo>
                    <a:pt x="893" y="410"/>
                  </a:lnTo>
                  <a:lnTo>
                    <a:pt x="893" y="379"/>
                  </a:lnTo>
                  <a:lnTo>
                    <a:pt x="868" y="379"/>
                  </a:lnTo>
                  <a:lnTo>
                    <a:pt x="837" y="379"/>
                  </a:lnTo>
                  <a:lnTo>
                    <a:pt x="812" y="354"/>
                  </a:lnTo>
                  <a:lnTo>
                    <a:pt x="837" y="354"/>
                  </a:lnTo>
                  <a:lnTo>
                    <a:pt x="837" y="329"/>
                  </a:lnTo>
                  <a:lnTo>
                    <a:pt x="868" y="329"/>
                  </a:lnTo>
                  <a:lnTo>
                    <a:pt x="893" y="329"/>
                  </a:lnTo>
                  <a:lnTo>
                    <a:pt x="917" y="329"/>
                  </a:lnTo>
                  <a:lnTo>
                    <a:pt x="917" y="298"/>
                  </a:lnTo>
                  <a:lnTo>
                    <a:pt x="948" y="273"/>
                  </a:lnTo>
                  <a:lnTo>
                    <a:pt x="917" y="273"/>
                  </a:lnTo>
                  <a:lnTo>
                    <a:pt x="917" y="242"/>
                  </a:lnTo>
                  <a:lnTo>
                    <a:pt x="893" y="218"/>
                  </a:lnTo>
                  <a:lnTo>
                    <a:pt x="893" y="192"/>
                  </a:lnTo>
                  <a:lnTo>
                    <a:pt x="868" y="192"/>
                  </a:lnTo>
                  <a:lnTo>
                    <a:pt x="868" y="161"/>
                  </a:lnTo>
                  <a:lnTo>
                    <a:pt x="837" y="161"/>
                  </a:lnTo>
                  <a:lnTo>
                    <a:pt x="837" y="137"/>
                  </a:lnTo>
                  <a:lnTo>
                    <a:pt x="837" y="112"/>
                  </a:lnTo>
                  <a:lnTo>
                    <a:pt x="812" y="112"/>
                  </a:lnTo>
                  <a:lnTo>
                    <a:pt x="781" y="112"/>
                  </a:lnTo>
                  <a:lnTo>
                    <a:pt x="756" y="112"/>
                  </a:lnTo>
                  <a:lnTo>
                    <a:pt x="732" y="112"/>
                  </a:lnTo>
                  <a:lnTo>
                    <a:pt x="732" y="137"/>
                  </a:lnTo>
                  <a:lnTo>
                    <a:pt x="732" y="161"/>
                  </a:lnTo>
                  <a:lnTo>
                    <a:pt x="732" y="81"/>
                  </a:lnTo>
                  <a:lnTo>
                    <a:pt x="732" y="56"/>
                  </a:lnTo>
                  <a:lnTo>
                    <a:pt x="756" y="0"/>
                  </a:lnTo>
                  <a:lnTo>
                    <a:pt x="781" y="0"/>
                  </a:lnTo>
                  <a:lnTo>
                    <a:pt x="781" y="25"/>
                  </a:lnTo>
                  <a:lnTo>
                    <a:pt x="756" y="25"/>
                  </a:lnTo>
                  <a:lnTo>
                    <a:pt x="781" y="25"/>
                  </a:lnTo>
                  <a:lnTo>
                    <a:pt x="756" y="25"/>
                  </a:lnTo>
                  <a:lnTo>
                    <a:pt x="756" y="56"/>
                  </a:lnTo>
                  <a:lnTo>
                    <a:pt x="756" y="81"/>
                  </a:lnTo>
                  <a:lnTo>
                    <a:pt x="781" y="112"/>
                  </a:lnTo>
                  <a:lnTo>
                    <a:pt x="812" y="81"/>
                  </a:lnTo>
                  <a:lnTo>
                    <a:pt x="837" y="81"/>
                  </a:lnTo>
                  <a:lnTo>
                    <a:pt x="868" y="81"/>
                  </a:lnTo>
                  <a:lnTo>
                    <a:pt x="917" y="81"/>
                  </a:lnTo>
                  <a:lnTo>
                    <a:pt x="948" y="112"/>
                  </a:lnTo>
                  <a:lnTo>
                    <a:pt x="974" y="112"/>
                  </a:lnTo>
                  <a:lnTo>
                    <a:pt x="998" y="112"/>
                  </a:lnTo>
                  <a:lnTo>
                    <a:pt x="998" y="137"/>
                  </a:lnTo>
                  <a:lnTo>
                    <a:pt x="1029" y="137"/>
                  </a:lnTo>
                  <a:lnTo>
                    <a:pt x="1054" y="112"/>
                  </a:lnTo>
                  <a:lnTo>
                    <a:pt x="1079" y="112"/>
                  </a:lnTo>
                  <a:lnTo>
                    <a:pt x="1110" y="81"/>
                  </a:lnTo>
                  <a:lnTo>
                    <a:pt x="1110" y="112"/>
                  </a:lnTo>
                  <a:lnTo>
                    <a:pt x="1135" y="137"/>
                  </a:lnTo>
                  <a:lnTo>
                    <a:pt x="1166" y="137"/>
                  </a:lnTo>
                  <a:lnTo>
                    <a:pt x="1190" y="137"/>
                  </a:lnTo>
                  <a:lnTo>
                    <a:pt x="1216" y="137"/>
                  </a:lnTo>
                  <a:lnTo>
                    <a:pt x="1216" y="161"/>
                  </a:lnTo>
                  <a:lnTo>
                    <a:pt x="1216" y="192"/>
                  </a:lnTo>
                  <a:lnTo>
                    <a:pt x="1216" y="218"/>
                  </a:lnTo>
                  <a:lnTo>
                    <a:pt x="1216" y="242"/>
                  </a:lnTo>
                  <a:lnTo>
                    <a:pt x="1216" y="273"/>
                  </a:lnTo>
                  <a:lnTo>
                    <a:pt x="1190" y="273"/>
                  </a:lnTo>
                  <a:lnTo>
                    <a:pt x="1166" y="273"/>
                  </a:lnTo>
                  <a:lnTo>
                    <a:pt x="1190" y="298"/>
                  </a:lnTo>
                  <a:lnTo>
                    <a:pt x="1216" y="273"/>
                  </a:lnTo>
                  <a:lnTo>
                    <a:pt x="1247" y="273"/>
                  </a:lnTo>
                  <a:lnTo>
                    <a:pt x="1271" y="273"/>
                  </a:lnTo>
                  <a:lnTo>
                    <a:pt x="1271" y="298"/>
                  </a:lnTo>
                  <a:lnTo>
                    <a:pt x="1271" y="329"/>
                  </a:lnTo>
                  <a:lnTo>
                    <a:pt x="1271" y="354"/>
                  </a:lnTo>
                  <a:lnTo>
                    <a:pt x="1271" y="298"/>
                  </a:lnTo>
                  <a:lnTo>
                    <a:pt x="1296" y="298"/>
                  </a:lnTo>
                  <a:lnTo>
                    <a:pt x="1328" y="298"/>
                  </a:lnTo>
                  <a:lnTo>
                    <a:pt x="1352" y="298"/>
                  </a:lnTo>
                  <a:lnTo>
                    <a:pt x="1352" y="329"/>
                  </a:lnTo>
                  <a:lnTo>
                    <a:pt x="1376" y="329"/>
                  </a:lnTo>
                  <a:lnTo>
                    <a:pt x="1407" y="329"/>
                  </a:lnTo>
                  <a:lnTo>
                    <a:pt x="1407" y="354"/>
                  </a:lnTo>
                  <a:lnTo>
                    <a:pt x="1433" y="354"/>
                  </a:lnTo>
                  <a:lnTo>
                    <a:pt x="1464" y="354"/>
                  </a:lnTo>
                  <a:lnTo>
                    <a:pt x="1464" y="329"/>
                  </a:lnTo>
                  <a:lnTo>
                    <a:pt x="1488" y="329"/>
                  </a:lnTo>
                  <a:lnTo>
                    <a:pt x="1513" y="329"/>
                  </a:lnTo>
                  <a:lnTo>
                    <a:pt x="1544" y="329"/>
                  </a:lnTo>
                  <a:lnTo>
                    <a:pt x="1544" y="298"/>
                  </a:lnTo>
                  <a:lnTo>
                    <a:pt x="1544" y="329"/>
                  </a:lnTo>
                  <a:lnTo>
                    <a:pt x="1544" y="379"/>
                  </a:lnTo>
                  <a:lnTo>
                    <a:pt x="1544" y="410"/>
                  </a:lnTo>
                  <a:lnTo>
                    <a:pt x="1513" y="434"/>
                  </a:lnTo>
                  <a:lnTo>
                    <a:pt x="1488" y="459"/>
                  </a:lnTo>
                  <a:lnTo>
                    <a:pt x="1464" y="459"/>
                  </a:lnTo>
                  <a:lnTo>
                    <a:pt x="1433" y="459"/>
                  </a:lnTo>
                  <a:lnTo>
                    <a:pt x="1464" y="515"/>
                  </a:lnTo>
                  <a:lnTo>
                    <a:pt x="1488" y="515"/>
                  </a:lnTo>
                  <a:lnTo>
                    <a:pt x="1544" y="491"/>
                  </a:lnTo>
                  <a:lnTo>
                    <a:pt x="1569" y="491"/>
                  </a:lnTo>
                  <a:lnTo>
                    <a:pt x="1569" y="515"/>
                  </a:lnTo>
                  <a:lnTo>
                    <a:pt x="1594" y="515"/>
                  </a:lnTo>
                  <a:lnTo>
                    <a:pt x="1625" y="515"/>
                  </a:lnTo>
                  <a:lnTo>
                    <a:pt x="1649" y="515"/>
                  </a:lnTo>
                  <a:lnTo>
                    <a:pt x="1649" y="540"/>
                  </a:lnTo>
                  <a:lnTo>
                    <a:pt x="1649" y="515"/>
                  </a:lnTo>
                  <a:lnTo>
                    <a:pt x="1675" y="491"/>
                  </a:lnTo>
                  <a:lnTo>
                    <a:pt x="1675" y="459"/>
                  </a:lnTo>
                  <a:lnTo>
                    <a:pt x="1706" y="459"/>
                  </a:lnTo>
                  <a:lnTo>
                    <a:pt x="1706" y="434"/>
                  </a:lnTo>
                  <a:lnTo>
                    <a:pt x="1675" y="459"/>
                  </a:lnTo>
                  <a:lnTo>
                    <a:pt x="1675" y="434"/>
                  </a:lnTo>
                  <a:lnTo>
                    <a:pt x="1706" y="410"/>
                  </a:lnTo>
                  <a:lnTo>
                    <a:pt x="1730" y="410"/>
                  </a:lnTo>
                  <a:lnTo>
                    <a:pt x="1761" y="410"/>
                  </a:lnTo>
                  <a:lnTo>
                    <a:pt x="1811" y="410"/>
                  </a:lnTo>
                  <a:lnTo>
                    <a:pt x="1842" y="379"/>
                  </a:lnTo>
                  <a:lnTo>
                    <a:pt x="1842" y="410"/>
                  </a:lnTo>
                  <a:lnTo>
                    <a:pt x="1842" y="434"/>
                  </a:lnTo>
                  <a:lnTo>
                    <a:pt x="1842" y="410"/>
                  </a:lnTo>
                  <a:lnTo>
                    <a:pt x="1842" y="379"/>
                  </a:lnTo>
                  <a:lnTo>
                    <a:pt x="1867" y="354"/>
                  </a:lnTo>
                  <a:lnTo>
                    <a:pt x="1892" y="354"/>
                  </a:lnTo>
                  <a:lnTo>
                    <a:pt x="1892" y="329"/>
                  </a:lnTo>
                  <a:lnTo>
                    <a:pt x="1923" y="298"/>
                  </a:lnTo>
                  <a:lnTo>
                    <a:pt x="1923" y="273"/>
                  </a:lnTo>
                  <a:lnTo>
                    <a:pt x="1948" y="242"/>
                  </a:lnTo>
                  <a:lnTo>
                    <a:pt x="2003" y="273"/>
                  </a:lnTo>
                  <a:lnTo>
                    <a:pt x="2084" y="242"/>
                  </a:lnTo>
                  <a:lnTo>
                    <a:pt x="2060" y="273"/>
                  </a:lnTo>
                  <a:lnTo>
                    <a:pt x="2029" y="273"/>
                  </a:lnTo>
                  <a:lnTo>
                    <a:pt x="2003" y="273"/>
                  </a:lnTo>
                  <a:lnTo>
                    <a:pt x="1972" y="273"/>
                  </a:lnTo>
                  <a:lnTo>
                    <a:pt x="1948" y="298"/>
                  </a:lnTo>
                  <a:lnTo>
                    <a:pt x="1923" y="298"/>
                  </a:lnTo>
                  <a:lnTo>
                    <a:pt x="1923" y="329"/>
                  </a:lnTo>
                  <a:lnTo>
                    <a:pt x="1923" y="354"/>
                  </a:lnTo>
                  <a:lnTo>
                    <a:pt x="1948" y="354"/>
                  </a:lnTo>
                  <a:lnTo>
                    <a:pt x="1923" y="354"/>
                  </a:lnTo>
                  <a:lnTo>
                    <a:pt x="1923" y="329"/>
                  </a:lnTo>
                  <a:lnTo>
                    <a:pt x="1948" y="329"/>
                  </a:lnTo>
                  <a:lnTo>
                    <a:pt x="1948" y="298"/>
                  </a:lnTo>
                  <a:lnTo>
                    <a:pt x="1972" y="298"/>
                  </a:lnTo>
                  <a:lnTo>
                    <a:pt x="2003" y="273"/>
                  </a:lnTo>
                  <a:lnTo>
                    <a:pt x="2003" y="298"/>
                  </a:lnTo>
                  <a:lnTo>
                    <a:pt x="2029" y="298"/>
                  </a:lnTo>
                  <a:lnTo>
                    <a:pt x="2029" y="273"/>
                  </a:lnTo>
                  <a:lnTo>
                    <a:pt x="2029" y="298"/>
                  </a:lnTo>
                  <a:lnTo>
                    <a:pt x="2060" y="298"/>
                  </a:lnTo>
                  <a:lnTo>
                    <a:pt x="2060" y="273"/>
                  </a:lnTo>
                  <a:lnTo>
                    <a:pt x="2084" y="242"/>
                  </a:lnTo>
                  <a:lnTo>
                    <a:pt x="2084" y="273"/>
                  </a:lnTo>
                  <a:lnTo>
                    <a:pt x="2108" y="273"/>
                  </a:lnTo>
                  <a:lnTo>
                    <a:pt x="2108" y="298"/>
                  </a:lnTo>
                  <a:lnTo>
                    <a:pt x="2108" y="329"/>
                  </a:lnTo>
                  <a:lnTo>
                    <a:pt x="2140" y="329"/>
                  </a:lnTo>
                  <a:lnTo>
                    <a:pt x="2165" y="354"/>
                  </a:lnTo>
                  <a:lnTo>
                    <a:pt x="2189" y="354"/>
                  </a:lnTo>
                  <a:lnTo>
                    <a:pt x="2189" y="379"/>
                  </a:lnTo>
                  <a:lnTo>
                    <a:pt x="2220" y="379"/>
                  </a:lnTo>
                  <a:lnTo>
                    <a:pt x="2189" y="379"/>
                  </a:lnTo>
                  <a:lnTo>
                    <a:pt x="2220" y="379"/>
                  </a:lnTo>
                  <a:lnTo>
                    <a:pt x="2220" y="410"/>
                  </a:lnTo>
                  <a:lnTo>
                    <a:pt x="2245" y="410"/>
                  </a:lnTo>
                  <a:lnTo>
                    <a:pt x="2220" y="410"/>
                  </a:lnTo>
                  <a:lnTo>
                    <a:pt x="2270" y="379"/>
                  </a:lnTo>
                  <a:lnTo>
                    <a:pt x="2301" y="379"/>
                  </a:lnTo>
                  <a:lnTo>
                    <a:pt x="2326" y="410"/>
                  </a:lnTo>
                  <a:lnTo>
                    <a:pt x="2326" y="434"/>
                  </a:lnTo>
                  <a:lnTo>
                    <a:pt x="2301" y="434"/>
                  </a:lnTo>
                  <a:lnTo>
                    <a:pt x="2326" y="459"/>
                  </a:lnTo>
                  <a:lnTo>
                    <a:pt x="2357" y="459"/>
                  </a:lnTo>
                  <a:lnTo>
                    <a:pt x="2357" y="491"/>
                  </a:lnTo>
                  <a:lnTo>
                    <a:pt x="2326" y="515"/>
                  </a:lnTo>
                  <a:lnTo>
                    <a:pt x="2357" y="515"/>
                  </a:lnTo>
                  <a:lnTo>
                    <a:pt x="2357" y="540"/>
                  </a:lnTo>
                  <a:lnTo>
                    <a:pt x="2381" y="540"/>
                  </a:lnTo>
                  <a:lnTo>
                    <a:pt x="2381" y="572"/>
                  </a:lnTo>
                  <a:lnTo>
                    <a:pt x="2407" y="572"/>
                  </a:lnTo>
                  <a:lnTo>
                    <a:pt x="2438" y="572"/>
                  </a:lnTo>
                  <a:lnTo>
                    <a:pt x="2462" y="572"/>
                  </a:lnTo>
                  <a:lnTo>
                    <a:pt x="2462" y="540"/>
                  </a:lnTo>
                  <a:lnTo>
                    <a:pt x="2462" y="572"/>
                  </a:lnTo>
                  <a:lnTo>
                    <a:pt x="2462" y="596"/>
                  </a:lnTo>
                  <a:lnTo>
                    <a:pt x="2488" y="572"/>
                  </a:lnTo>
                  <a:lnTo>
                    <a:pt x="2488" y="596"/>
                  </a:lnTo>
                  <a:lnTo>
                    <a:pt x="2488" y="627"/>
                  </a:lnTo>
                  <a:lnTo>
                    <a:pt x="2488" y="651"/>
                  </a:lnTo>
                  <a:lnTo>
                    <a:pt x="2488" y="677"/>
                  </a:lnTo>
                  <a:lnTo>
                    <a:pt x="2519" y="677"/>
                  </a:lnTo>
                  <a:lnTo>
                    <a:pt x="2519" y="708"/>
                  </a:lnTo>
                  <a:lnTo>
                    <a:pt x="2519" y="732"/>
                  </a:lnTo>
                  <a:lnTo>
                    <a:pt x="2519" y="757"/>
                  </a:lnTo>
                  <a:lnTo>
                    <a:pt x="2543" y="757"/>
                  </a:lnTo>
                  <a:lnTo>
                    <a:pt x="2543" y="788"/>
                  </a:lnTo>
                  <a:lnTo>
                    <a:pt x="2543" y="813"/>
                  </a:lnTo>
                  <a:lnTo>
                    <a:pt x="2519" y="813"/>
                  </a:lnTo>
                  <a:lnTo>
                    <a:pt x="2519" y="838"/>
                  </a:lnTo>
                  <a:lnTo>
                    <a:pt x="2543" y="838"/>
                  </a:lnTo>
                  <a:lnTo>
                    <a:pt x="2519" y="893"/>
                  </a:lnTo>
                  <a:lnTo>
                    <a:pt x="2519" y="924"/>
                  </a:lnTo>
                  <a:lnTo>
                    <a:pt x="2462" y="950"/>
                  </a:lnTo>
                  <a:lnTo>
                    <a:pt x="2462" y="974"/>
                  </a:lnTo>
                  <a:lnTo>
                    <a:pt x="2462" y="1005"/>
                  </a:lnTo>
                  <a:lnTo>
                    <a:pt x="2488" y="1005"/>
                  </a:lnTo>
                  <a:lnTo>
                    <a:pt x="2543" y="1031"/>
                  </a:lnTo>
                  <a:lnTo>
                    <a:pt x="2568" y="1086"/>
                  </a:lnTo>
                  <a:lnTo>
                    <a:pt x="2624" y="1111"/>
                  </a:lnTo>
                  <a:lnTo>
                    <a:pt x="2624" y="1136"/>
                  </a:lnTo>
                  <a:lnTo>
                    <a:pt x="2624" y="1167"/>
                  </a:lnTo>
                  <a:lnTo>
                    <a:pt x="2599" y="1192"/>
                  </a:lnTo>
                  <a:lnTo>
                    <a:pt x="2624" y="1223"/>
                  </a:lnTo>
                  <a:lnTo>
                    <a:pt x="2624" y="1247"/>
                  </a:lnTo>
                  <a:lnTo>
                    <a:pt x="2624" y="1273"/>
                  </a:lnTo>
                  <a:lnTo>
                    <a:pt x="2655" y="1273"/>
                  </a:lnTo>
                  <a:lnTo>
                    <a:pt x="2680" y="1273"/>
                  </a:lnTo>
                  <a:lnTo>
                    <a:pt x="2655" y="1304"/>
                  </a:lnTo>
                  <a:lnTo>
                    <a:pt x="2655" y="1328"/>
                  </a:lnTo>
                  <a:lnTo>
                    <a:pt x="2655" y="1353"/>
                  </a:lnTo>
                  <a:lnTo>
                    <a:pt x="2680" y="1353"/>
                  </a:lnTo>
                  <a:lnTo>
                    <a:pt x="2680" y="1384"/>
                  </a:lnTo>
                  <a:lnTo>
                    <a:pt x="2680" y="1409"/>
                  </a:lnTo>
                  <a:lnTo>
                    <a:pt x="2680" y="1440"/>
                  </a:lnTo>
                  <a:lnTo>
                    <a:pt x="2655" y="1465"/>
                  </a:lnTo>
                  <a:lnTo>
                    <a:pt x="2655" y="1489"/>
                  </a:lnTo>
                  <a:lnTo>
                    <a:pt x="2680" y="1520"/>
                  </a:lnTo>
                  <a:lnTo>
                    <a:pt x="2680" y="1546"/>
                  </a:lnTo>
                  <a:lnTo>
                    <a:pt x="2704" y="1546"/>
                  </a:lnTo>
                  <a:lnTo>
                    <a:pt x="2704" y="1570"/>
                  </a:lnTo>
                  <a:lnTo>
                    <a:pt x="2704" y="1601"/>
                  </a:lnTo>
                  <a:lnTo>
                    <a:pt x="2680" y="1601"/>
                  </a:lnTo>
                  <a:lnTo>
                    <a:pt x="2704" y="1627"/>
                  </a:lnTo>
                  <a:lnTo>
                    <a:pt x="2735" y="1627"/>
                  </a:lnTo>
                  <a:lnTo>
                    <a:pt x="2761" y="1627"/>
                  </a:lnTo>
                  <a:lnTo>
                    <a:pt x="2761" y="1651"/>
                  </a:lnTo>
                  <a:lnTo>
                    <a:pt x="2761" y="1682"/>
                  </a:lnTo>
                  <a:lnTo>
                    <a:pt x="2785" y="1682"/>
                  </a:lnTo>
                  <a:lnTo>
                    <a:pt x="2761" y="1682"/>
                  </a:lnTo>
                  <a:lnTo>
                    <a:pt x="2785" y="1682"/>
                  </a:lnTo>
                  <a:lnTo>
                    <a:pt x="2785" y="1707"/>
                  </a:lnTo>
                  <a:lnTo>
                    <a:pt x="2785" y="1738"/>
                  </a:lnTo>
                  <a:lnTo>
                    <a:pt x="2816" y="1738"/>
                  </a:lnTo>
                  <a:lnTo>
                    <a:pt x="2785" y="1738"/>
                  </a:lnTo>
                  <a:lnTo>
                    <a:pt x="2785" y="1763"/>
                  </a:lnTo>
                  <a:lnTo>
                    <a:pt x="2816" y="1763"/>
                  </a:lnTo>
                  <a:lnTo>
                    <a:pt x="2785" y="1763"/>
                  </a:lnTo>
                  <a:lnTo>
                    <a:pt x="2785" y="1788"/>
                  </a:lnTo>
                  <a:lnTo>
                    <a:pt x="2785" y="1819"/>
                  </a:lnTo>
                  <a:lnTo>
                    <a:pt x="2785" y="1843"/>
                  </a:lnTo>
                  <a:lnTo>
                    <a:pt x="2785" y="1869"/>
                  </a:lnTo>
                  <a:lnTo>
                    <a:pt x="2785" y="1900"/>
                  </a:lnTo>
                  <a:lnTo>
                    <a:pt x="2761" y="1924"/>
                  </a:lnTo>
                  <a:lnTo>
                    <a:pt x="2761" y="1950"/>
                  </a:lnTo>
                  <a:lnTo>
                    <a:pt x="2735" y="1950"/>
                  </a:lnTo>
                  <a:lnTo>
                    <a:pt x="2704" y="1950"/>
                  </a:lnTo>
                  <a:lnTo>
                    <a:pt x="2704" y="1924"/>
                  </a:lnTo>
                  <a:lnTo>
                    <a:pt x="2704" y="1900"/>
                  </a:lnTo>
                  <a:lnTo>
                    <a:pt x="2680" y="1924"/>
                  </a:lnTo>
                  <a:lnTo>
                    <a:pt x="2680" y="1900"/>
                  </a:lnTo>
                  <a:lnTo>
                    <a:pt x="2680" y="1869"/>
                  </a:lnTo>
                  <a:lnTo>
                    <a:pt x="2655" y="1869"/>
                  </a:lnTo>
                  <a:lnTo>
                    <a:pt x="2624" y="1869"/>
                  </a:lnTo>
                  <a:lnTo>
                    <a:pt x="2599" y="1869"/>
                  </a:lnTo>
                  <a:lnTo>
                    <a:pt x="2568" y="1869"/>
                  </a:lnTo>
                  <a:lnTo>
                    <a:pt x="2568" y="1900"/>
                  </a:lnTo>
                  <a:lnTo>
                    <a:pt x="2599" y="1900"/>
                  </a:lnTo>
                  <a:lnTo>
                    <a:pt x="2599" y="1924"/>
                  </a:lnTo>
                  <a:lnTo>
                    <a:pt x="2624" y="1924"/>
                  </a:lnTo>
                  <a:lnTo>
                    <a:pt x="2599" y="1924"/>
                  </a:lnTo>
                  <a:lnTo>
                    <a:pt x="2599" y="1950"/>
                  </a:lnTo>
                  <a:lnTo>
                    <a:pt x="2568" y="1924"/>
                  </a:lnTo>
                  <a:lnTo>
                    <a:pt x="2568" y="1950"/>
                  </a:lnTo>
                  <a:lnTo>
                    <a:pt x="2543" y="1980"/>
                  </a:lnTo>
                  <a:lnTo>
                    <a:pt x="2519" y="1980"/>
                  </a:lnTo>
                  <a:lnTo>
                    <a:pt x="2488" y="1980"/>
                  </a:lnTo>
                  <a:lnTo>
                    <a:pt x="2488" y="2005"/>
                  </a:lnTo>
                  <a:lnTo>
                    <a:pt x="2462" y="2005"/>
                  </a:lnTo>
                  <a:lnTo>
                    <a:pt x="2462" y="2036"/>
                  </a:lnTo>
                  <a:lnTo>
                    <a:pt x="2438" y="2036"/>
                  </a:lnTo>
                  <a:lnTo>
                    <a:pt x="2407" y="2036"/>
                  </a:lnTo>
                  <a:lnTo>
                    <a:pt x="2381" y="2036"/>
                  </a:lnTo>
                  <a:lnTo>
                    <a:pt x="2381" y="2061"/>
                  </a:lnTo>
                  <a:lnTo>
                    <a:pt x="2357" y="2061"/>
                  </a:lnTo>
                  <a:lnTo>
                    <a:pt x="2381" y="2061"/>
                  </a:lnTo>
                  <a:lnTo>
                    <a:pt x="2357" y="2061"/>
                  </a:lnTo>
                  <a:lnTo>
                    <a:pt x="2381" y="2061"/>
                  </a:lnTo>
                  <a:lnTo>
                    <a:pt x="2357" y="2086"/>
                  </a:lnTo>
                  <a:lnTo>
                    <a:pt x="2357" y="2117"/>
                  </a:lnTo>
                  <a:lnTo>
                    <a:pt x="2326" y="2086"/>
                  </a:lnTo>
                  <a:lnTo>
                    <a:pt x="2301" y="2117"/>
                  </a:lnTo>
                  <a:lnTo>
                    <a:pt x="2270" y="2117"/>
                  </a:lnTo>
                  <a:lnTo>
                    <a:pt x="2270" y="2142"/>
                  </a:lnTo>
                  <a:lnTo>
                    <a:pt x="2270" y="2166"/>
                  </a:lnTo>
                  <a:lnTo>
                    <a:pt x="2245" y="2166"/>
                  </a:lnTo>
                  <a:lnTo>
                    <a:pt x="2245" y="2142"/>
                  </a:lnTo>
                  <a:lnTo>
                    <a:pt x="2245" y="2166"/>
                  </a:lnTo>
                  <a:lnTo>
                    <a:pt x="2220" y="2166"/>
                  </a:lnTo>
                  <a:lnTo>
                    <a:pt x="2220" y="2197"/>
                  </a:lnTo>
                  <a:lnTo>
                    <a:pt x="2189" y="2197"/>
                  </a:lnTo>
                  <a:lnTo>
                    <a:pt x="2189" y="2223"/>
                  </a:lnTo>
                  <a:lnTo>
                    <a:pt x="2189" y="2197"/>
                  </a:lnTo>
                  <a:lnTo>
                    <a:pt x="2165" y="2197"/>
                  </a:lnTo>
                  <a:lnTo>
                    <a:pt x="2140" y="2197"/>
                  </a:lnTo>
                  <a:lnTo>
                    <a:pt x="2140" y="2223"/>
                  </a:lnTo>
                  <a:lnTo>
                    <a:pt x="2108" y="2223"/>
                  </a:lnTo>
                  <a:lnTo>
                    <a:pt x="2084" y="2223"/>
                  </a:lnTo>
                  <a:lnTo>
                    <a:pt x="2060" y="2223"/>
                  </a:lnTo>
                  <a:lnTo>
                    <a:pt x="2060" y="2247"/>
                  </a:lnTo>
                  <a:lnTo>
                    <a:pt x="2029" y="2278"/>
                  </a:lnTo>
                  <a:lnTo>
                    <a:pt x="2029" y="2303"/>
                  </a:lnTo>
                  <a:lnTo>
                    <a:pt x="2003" y="2303"/>
                  </a:lnTo>
                  <a:lnTo>
                    <a:pt x="2003" y="2334"/>
                  </a:lnTo>
                  <a:lnTo>
                    <a:pt x="2003" y="2303"/>
                  </a:lnTo>
                  <a:lnTo>
                    <a:pt x="1972" y="2303"/>
                  </a:lnTo>
                  <a:lnTo>
                    <a:pt x="2003" y="2303"/>
                  </a:lnTo>
                  <a:lnTo>
                    <a:pt x="1972" y="2303"/>
                  </a:lnTo>
                  <a:lnTo>
                    <a:pt x="1972" y="2278"/>
                  </a:lnTo>
                  <a:lnTo>
                    <a:pt x="1948" y="2278"/>
                  </a:lnTo>
                  <a:lnTo>
                    <a:pt x="1948" y="2303"/>
                  </a:lnTo>
                  <a:lnTo>
                    <a:pt x="1972" y="2303"/>
                  </a:lnTo>
                  <a:lnTo>
                    <a:pt x="1972" y="2334"/>
                  </a:lnTo>
                  <a:lnTo>
                    <a:pt x="1972" y="2359"/>
                  </a:lnTo>
                  <a:lnTo>
                    <a:pt x="2003" y="2384"/>
                  </a:lnTo>
                  <a:lnTo>
                    <a:pt x="2060" y="2415"/>
                  </a:lnTo>
                  <a:lnTo>
                    <a:pt x="2084" y="2439"/>
                  </a:lnTo>
                  <a:lnTo>
                    <a:pt x="2108" y="2465"/>
                  </a:lnTo>
                  <a:lnTo>
                    <a:pt x="2084" y="2465"/>
                  </a:lnTo>
                  <a:lnTo>
                    <a:pt x="2084" y="2520"/>
                  </a:lnTo>
                  <a:lnTo>
                    <a:pt x="2060" y="2520"/>
                  </a:lnTo>
                  <a:lnTo>
                    <a:pt x="2060" y="2546"/>
                  </a:lnTo>
                  <a:lnTo>
                    <a:pt x="2084" y="2577"/>
                  </a:lnTo>
                  <a:lnTo>
                    <a:pt x="2084" y="2601"/>
                  </a:lnTo>
                  <a:lnTo>
                    <a:pt x="2108" y="2601"/>
                  </a:lnTo>
                  <a:lnTo>
                    <a:pt x="2108" y="2632"/>
                  </a:lnTo>
                  <a:lnTo>
                    <a:pt x="2108" y="2657"/>
                  </a:lnTo>
                  <a:lnTo>
                    <a:pt x="2140" y="2657"/>
                  </a:lnTo>
                  <a:lnTo>
                    <a:pt x="2140" y="2682"/>
                  </a:lnTo>
                  <a:lnTo>
                    <a:pt x="2165" y="2682"/>
                  </a:lnTo>
                  <a:lnTo>
                    <a:pt x="2165" y="2713"/>
                  </a:lnTo>
                  <a:lnTo>
                    <a:pt x="2189" y="2738"/>
                  </a:lnTo>
                  <a:lnTo>
                    <a:pt x="2220" y="2738"/>
                  </a:lnTo>
                  <a:lnTo>
                    <a:pt x="2245" y="2738"/>
                  </a:lnTo>
                  <a:lnTo>
                    <a:pt x="2270" y="2738"/>
                  </a:lnTo>
                  <a:lnTo>
                    <a:pt x="2245" y="2762"/>
                  </a:lnTo>
                  <a:lnTo>
                    <a:pt x="2301" y="2819"/>
                  </a:lnTo>
                  <a:lnTo>
                    <a:pt x="2326" y="2850"/>
                  </a:lnTo>
                  <a:lnTo>
                    <a:pt x="2357" y="2850"/>
                  </a:lnTo>
                  <a:lnTo>
                    <a:pt x="2381" y="2874"/>
                  </a:lnTo>
                  <a:lnTo>
                    <a:pt x="2381" y="2899"/>
                  </a:lnTo>
                  <a:lnTo>
                    <a:pt x="2407" y="2930"/>
                  </a:lnTo>
                  <a:lnTo>
                    <a:pt x="2407" y="2899"/>
                  </a:lnTo>
                  <a:lnTo>
                    <a:pt x="2438" y="2899"/>
                  </a:lnTo>
                  <a:lnTo>
                    <a:pt x="2462" y="2899"/>
                  </a:lnTo>
                  <a:lnTo>
                    <a:pt x="2488" y="2930"/>
                  </a:lnTo>
                  <a:lnTo>
                    <a:pt x="2519" y="2955"/>
                  </a:lnTo>
                  <a:lnTo>
                    <a:pt x="2543" y="2979"/>
                  </a:lnTo>
                  <a:lnTo>
                    <a:pt x="2519" y="3011"/>
                  </a:lnTo>
                  <a:lnTo>
                    <a:pt x="2543" y="3011"/>
                  </a:lnTo>
                  <a:lnTo>
                    <a:pt x="2519" y="3035"/>
                  </a:lnTo>
                  <a:lnTo>
                    <a:pt x="2543" y="3035"/>
                  </a:lnTo>
                  <a:lnTo>
                    <a:pt x="2543" y="3060"/>
                  </a:lnTo>
                  <a:lnTo>
                    <a:pt x="2519" y="3092"/>
                  </a:lnTo>
                  <a:lnTo>
                    <a:pt x="2543" y="3092"/>
                  </a:lnTo>
                  <a:lnTo>
                    <a:pt x="2519" y="3092"/>
                  </a:lnTo>
                  <a:lnTo>
                    <a:pt x="2519" y="3116"/>
                  </a:lnTo>
                  <a:lnTo>
                    <a:pt x="2462" y="3092"/>
                  </a:lnTo>
                  <a:lnTo>
                    <a:pt x="2438" y="3092"/>
                  </a:lnTo>
                  <a:lnTo>
                    <a:pt x="2407" y="3092"/>
                  </a:lnTo>
                  <a:lnTo>
                    <a:pt x="2407" y="3116"/>
                  </a:lnTo>
                  <a:lnTo>
                    <a:pt x="2438" y="3116"/>
                  </a:lnTo>
                  <a:lnTo>
                    <a:pt x="2407" y="3147"/>
                  </a:lnTo>
                  <a:lnTo>
                    <a:pt x="2407" y="3172"/>
                  </a:lnTo>
                  <a:lnTo>
                    <a:pt x="2407" y="3197"/>
                  </a:lnTo>
                  <a:lnTo>
                    <a:pt x="2381" y="3228"/>
                  </a:lnTo>
                  <a:lnTo>
                    <a:pt x="2357" y="3228"/>
                  </a:lnTo>
                  <a:lnTo>
                    <a:pt x="2326" y="3252"/>
                  </a:lnTo>
                  <a:lnTo>
                    <a:pt x="2301" y="3252"/>
                  </a:lnTo>
                  <a:lnTo>
                    <a:pt x="2301" y="3278"/>
                  </a:lnTo>
                  <a:lnTo>
                    <a:pt x="2270" y="3278"/>
                  </a:lnTo>
                  <a:lnTo>
                    <a:pt x="2245" y="3278"/>
                  </a:lnTo>
                  <a:lnTo>
                    <a:pt x="2245" y="3309"/>
                  </a:lnTo>
                  <a:lnTo>
                    <a:pt x="2220" y="3309"/>
                  </a:lnTo>
                  <a:lnTo>
                    <a:pt x="2220" y="3333"/>
                  </a:lnTo>
                  <a:lnTo>
                    <a:pt x="2220" y="3358"/>
                  </a:lnTo>
                  <a:lnTo>
                    <a:pt x="2245" y="3358"/>
                  </a:lnTo>
                  <a:lnTo>
                    <a:pt x="2245" y="3389"/>
                  </a:lnTo>
                  <a:lnTo>
                    <a:pt x="2245" y="3414"/>
                  </a:lnTo>
                  <a:lnTo>
                    <a:pt x="2270" y="3414"/>
                  </a:lnTo>
                  <a:lnTo>
                    <a:pt x="2301" y="3445"/>
                  </a:lnTo>
                  <a:lnTo>
                    <a:pt x="2301" y="3470"/>
                  </a:lnTo>
                  <a:lnTo>
                    <a:pt x="2270" y="3494"/>
                  </a:lnTo>
                  <a:lnTo>
                    <a:pt x="2270" y="3525"/>
                  </a:lnTo>
                  <a:lnTo>
                    <a:pt x="2301" y="3525"/>
                  </a:lnTo>
                  <a:lnTo>
                    <a:pt x="2326" y="3525"/>
                  </a:lnTo>
                  <a:lnTo>
                    <a:pt x="2326" y="3551"/>
                  </a:lnTo>
                  <a:lnTo>
                    <a:pt x="2326" y="3575"/>
                  </a:lnTo>
                  <a:lnTo>
                    <a:pt x="2301" y="3575"/>
                  </a:lnTo>
                  <a:lnTo>
                    <a:pt x="2326" y="3575"/>
                  </a:lnTo>
                  <a:lnTo>
                    <a:pt x="2301" y="3606"/>
                  </a:lnTo>
                  <a:lnTo>
                    <a:pt x="2326" y="3606"/>
                  </a:lnTo>
                  <a:lnTo>
                    <a:pt x="2326" y="3632"/>
                  </a:lnTo>
                  <a:lnTo>
                    <a:pt x="2301" y="3632"/>
                  </a:lnTo>
                  <a:lnTo>
                    <a:pt x="2270" y="3632"/>
                  </a:lnTo>
                  <a:lnTo>
                    <a:pt x="2245" y="3606"/>
                  </a:lnTo>
                  <a:lnTo>
                    <a:pt x="2220" y="3575"/>
                  </a:lnTo>
                  <a:lnTo>
                    <a:pt x="2245" y="3575"/>
                  </a:lnTo>
                  <a:lnTo>
                    <a:pt x="2245" y="3551"/>
                  </a:lnTo>
                  <a:lnTo>
                    <a:pt x="2220" y="3551"/>
                  </a:lnTo>
                  <a:lnTo>
                    <a:pt x="2220" y="3525"/>
                  </a:lnTo>
                  <a:lnTo>
                    <a:pt x="2165" y="3551"/>
                  </a:lnTo>
                  <a:lnTo>
                    <a:pt x="2140" y="3551"/>
                  </a:lnTo>
                  <a:lnTo>
                    <a:pt x="2140" y="3575"/>
                  </a:lnTo>
                  <a:lnTo>
                    <a:pt x="2108" y="3551"/>
                  </a:lnTo>
                  <a:lnTo>
                    <a:pt x="2108" y="3525"/>
                  </a:lnTo>
                  <a:lnTo>
                    <a:pt x="2084" y="3551"/>
                  </a:lnTo>
                  <a:lnTo>
                    <a:pt x="2084" y="3525"/>
                  </a:lnTo>
                  <a:lnTo>
                    <a:pt x="2060" y="3551"/>
                  </a:lnTo>
                  <a:lnTo>
                    <a:pt x="2060" y="3525"/>
                  </a:lnTo>
                  <a:lnTo>
                    <a:pt x="2029" y="3525"/>
                  </a:lnTo>
                  <a:lnTo>
                    <a:pt x="2029" y="3575"/>
                  </a:lnTo>
                  <a:lnTo>
                    <a:pt x="2003" y="3575"/>
                  </a:lnTo>
                  <a:lnTo>
                    <a:pt x="1972" y="3575"/>
                  </a:lnTo>
                  <a:lnTo>
                    <a:pt x="1923" y="3575"/>
                  </a:lnTo>
                  <a:lnTo>
                    <a:pt x="1923" y="3606"/>
                  </a:lnTo>
                  <a:lnTo>
                    <a:pt x="1892" y="3606"/>
                  </a:lnTo>
                  <a:lnTo>
                    <a:pt x="1867" y="3606"/>
                  </a:lnTo>
                  <a:lnTo>
                    <a:pt x="1842" y="3606"/>
                  </a:lnTo>
                  <a:lnTo>
                    <a:pt x="1842" y="3632"/>
                  </a:lnTo>
                  <a:lnTo>
                    <a:pt x="1787" y="3632"/>
                  </a:lnTo>
                  <a:lnTo>
                    <a:pt x="1761" y="3656"/>
                  </a:lnTo>
                  <a:lnTo>
                    <a:pt x="1787" y="3656"/>
                  </a:lnTo>
                  <a:lnTo>
                    <a:pt x="1761" y="3656"/>
                  </a:lnTo>
                  <a:lnTo>
                    <a:pt x="1730" y="3687"/>
                  </a:lnTo>
                  <a:lnTo>
                    <a:pt x="1706" y="3687"/>
                  </a:lnTo>
                  <a:lnTo>
                    <a:pt x="1675" y="3687"/>
                  </a:lnTo>
                  <a:lnTo>
                    <a:pt x="1649" y="3687"/>
                  </a:lnTo>
                  <a:lnTo>
                    <a:pt x="1625" y="3687"/>
                  </a:lnTo>
                  <a:lnTo>
                    <a:pt x="1649" y="3687"/>
                  </a:lnTo>
                  <a:lnTo>
                    <a:pt x="1625" y="3656"/>
                  </a:lnTo>
                  <a:lnTo>
                    <a:pt x="1594" y="3656"/>
                  </a:lnTo>
                  <a:lnTo>
                    <a:pt x="1625" y="3632"/>
                  </a:lnTo>
                  <a:lnTo>
                    <a:pt x="1569" y="3632"/>
                  </a:lnTo>
                  <a:lnTo>
                    <a:pt x="1544" y="3632"/>
                  </a:lnTo>
                  <a:lnTo>
                    <a:pt x="1513" y="3606"/>
                  </a:lnTo>
                  <a:lnTo>
                    <a:pt x="1513" y="3632"/>
                  </a:lnTo>
                  <a:lnTo>
                    <a:pt x="1488" y="3632"/>
                  </a:lnTo>
                  <a:lnTo>
                    <a:pt x="1464" y="3632"/>
                  </a:lnTo>
                  <a:lnTo>
                    <a:pt x="1488" y="3606"/>
                  </a:lnTo>
                  <a:lnTo>
                    <a:pt x="1464" y="3606"/>
                  </a:lnTo>
                  <a:lnTo>
                    <a:pt x="1464" y="3632"/>
                  </a:lnTo>
                  <a:lnTo>
                    <a:pt x="1464" y="3656"/>
                  </a:lnTo>
                  <a:lnTo>
                    <a:pt x="1464" y="3687"/>
                  </a:lnTo>
                  <a:lnTo>
                    <a:pt x="1464" y="3712"/>
                  </a:lnTo>
                  <a:lnTo>
                    <a:pt x="1433" y="3712"/>
                  </a:lnTo>
                  <a:lnTo>
                    <a:pt x="1433" y="3743"/>
                  </a:lnTo>
                  <a:lnTo>
                    <a:pt x="1407" y="3743"/>
                  </a:lnTo>
                  <a:lnTo>
                    <a:pt x="1407" y="3768"/>
                  </a:lnTo>
                  <a:lnTo>
                    <a:pt x="1376" y="3768"/>
                  </a:lnTo>
                  <a:lnTo>
                    <a:pt x="1376" y="3743"/>
                  </a:lnTo>
                  <a:lnTo>
                    <a:pt x="1407" y="3712"/>
                  </a:lnTo>
                  <a:lnTo>
                    <a:pt x="1376" y="3712"/>
                  </a:lnTo>
                  <a:lnTo>
                    <a:pt x="1352" y="3712"/>
                  </a:lnTo>
                  <a:lnTo>
                    <a:pt x="1352" y="3687"/>
                  </a:lnTo>
                  <a:lnTo>
                    <a:pt x="1328" y="3656"/>
                  </a:lnTo>
                  <a:lnTo>
                    <a:pt x="1296" y="3632"/>
                  </a:lnTo>
                  <a:lnTo>
                    <a:pt x="1271" y="3632"/>
                  </a:lnTo>
                  <a:lnTo>
                    <a:pt x="1247" y="3632"/>
                  </a:lnTo>
                  <a:lnTo>
                    <a:pt x="1271" y="3606"/>
                  </a:lnTo>
                  <a:lnTo>
                    <a:pt x="1247" y="3606"/>
                  </a:lnTo>
                  <a:lnTo>
                    <a:pt x="1216" y="3632"/>
                  </a:lnTo>
                  <a:lnTo>
                    <a:pt x="1190" y="3632"/>
                  </a:lnTo>
                  <a:lnTo>
                    <a:pt x="1166" y="3632"/>
                  </a:lnTo>
                  <a:lnTo>
                    <a:pt x="1166" y="3606"/>
                  </a:lnTo>
                  <a:lnTo>
                    <a:pt x="1166" y="3575"/>
                  </a:lnTo>
                  <a:lnTo>
                    <a:pt x="1135" y="3575"/>
                  </a:lnTo>
                  <a:lnTo>
                    <a:pt x="1110" y="3575"/>
                  </a:lnTo>
                  <a:lnTo>
                    <a:pt x="1079" y="3575"/>
                  </a:lnTo>
                  <a:lnTo>
                    <a:pt x="1054" y="3551"/>
                  </a:lnTo>
                  <a:lnTo>
                    <a:pt x="998" y="3525"/>
                  </a:lnTo>
                  <a:lnTo>
                    <a:pt x="1029" y="3551"/>
                  </a:lnTo>
                  <a:lnTo>
                    <a:pt x="1054" y="3551"/>
                  </a:lnTo>
                  <a:lnTo>
                    <a:pt x="1054" y="3575"/>
                  </a:lnTo>
                  <a:lnTo>
                    <a:pt x="1029" y="3575"/>
                  </a:lnTo>
                  <a:lnTo>
                    <a:pt x="974" y="3551"/>
                  </a:lnTo>
                  <a:lnTo>
                    <a:pt x="974" y="3575"/>
                  </a:lnTo>
                  <a:lnTo>
                    <a:pt x="948" y="3575"/>
                  </a:lnTo>
                  <a:lnTo>
                    <a:pt x="917" y="3575"/>
                  </a:lnTo>
                  <a:lnTo>
                    <a:pt x="948" y="3575"/>
                  </a:lnTo>
                  <a:lnTo>
                    <a:pt x="917" y="3551"/>
                  </a:lnTo>
                  <a:lnTo>
                    <a:pt x="893" y="3551"/>
                  </a:lnTo>
                  <a:lnTo>
                    <a:pt x="893" y="3575"/>
                  </a:lnTo>
                  <a:lnTo>
                    <a:pt x="917" y="3575"/>
                  </a:lnTo>
                  <a:lnTo>
                    <a:pt x="893" y="3575"/>
                  </a:lnTo>
                  <a:lnTo>
                    <a:pt x="893" y="3551"/>
                  </a:lnTo>
                  <a:lnTo>
                    <a:pt x="893" y="3525"/>
                  </a:lnTo>
                  <a:lnTo>
                    <a:pt x="893" y="3551"/>
                  </a:lnTo>
                  <a:lnTo>
                    <a:pt x="868" y="3525"/>
                  </a:lnTo>
                  <a:lnTo>
                    <a:pt x="868" y="3551"/>
                  </a:lnTo>
                  <a:lnTo>
                    <a:pt x="868" y="3525"/>
                  </a:lnTo>
                  <a:lnTo>
                    <a:pt x="837" y="3525"/>
                  </a:lnTo>
                  <a:lnTo>
                    <a:pt x="812" y="3525"/>
                  </a:lnTo>
                  <a:lnTo>
                    <a:pt x="812" y="3551"/>
                  </a:lnTo>
                  <a:lnTo>
                    <a:pt x="781" y="3575"/>
                  </a:lnTo>
                  <a:lnTo>
                    <a:pt x="812" y="3575"/>
                  </a:lnTo>
                  <a:lnTo>
                    <a:pt x="812" y="3606"/>
                  </a:lnTo>
                  <a:lnTo>
                    <a:pt x="837" y="3606"/>
                  </a:lnTo>
                  <a:lnTo>
                    <a:pt x="837" y="3575"/>
                  </a:lnTo>
                  <a:lnTo>
                    <a:pt x="868" y="3606"/>
                  </a:lnTo>
                  <a:lnTo>
                    <a:pt x="837" y="3606"/>
                  </a:lnTo>
                  <a:lnTo>
                    <a:pt x="868" y="3606"/>
                  </a:lnTo>
                  <a:lnTo>
                    <a:pt x="837" y="3606"/>
                  </a:lnTo>
                  <a:lnTo>
                    <a:pt x="837" y="3632"/>
                  </a:lnTo>
                  <a:lnTo>
                    <a:pt x="837" y="3606"/>
                  </a:lnTo>
                  <a:lnTo>
                    <a:pt x="812" y="3606"/>
                  </a:lnTo>
                  <a:lnTo>
                    <a:pt x="812" y="3632"/>
                  </a:lnTo>
                  <a:lnTo>
                    <a:pt x="781" y="3632"/>
                  </a:lnTo>
                  <a:lnTo>
                    <a:pt x="756" y="3632"/>
                  </a:lnTo>
                  <a:lnTo>
                    <a:pt x="756" y="3606"/>
                  </a:lnTo>
                  <a:lnTo>
                    <a:pt x="732" y="3606"/>
                  </a:lnTo>
                  <a:lnTo>
                    <a:pt x="701" y="3606"/>
                  </a:lnTo>
                  <a:lnTo>
                    <a:pt x="675" y="3632"/>
                  </a:lnTo>
                  <a:lnTo>
                    <a:pt x="651" y="3632"/>
                  </a:lnTo>
                  <a:lnTo>
                    <a:pt x="620" y="3632"/>
                  </a:lnTo>
                  <a:lnTo>
                    <a:pt x="594" y="3632"/>
                  </a:lnTo>
                  <a:lnTo>
                    <a:pt x="563" y="3656"/>
                  </a:lnTo>
                  <a:lnTo>
                    <a:pt x="539" y="3656"/>
                  </a:lnTo>
                  <a:lnTo>
                    <a:pt x="539" y="3632"/>
                  </a:lnTo>
                  <a:lnTo>
                    <a:pt x="514" y="3632"/>
                  </a:lnTo>
                  <a:lnTo>
                    <a:pt x="514" y="3606"/>
                  </a:lnTo>
                  <a:lnTo>
                    <a:pt x="483" y="3606"/>
                  </a:lnTo>
                  <a:lnTo>
                    <a:pt x="483" y="3575"/>
                  </a:lnTo>
                  <a:lnTo>
                    <a:pt x="483" y="3551"/>
                  </a:lnTo>
                  <a:lnTo>
                    <a:pt x="483" y="3525"/>
                  </a:lnTo>
                  <a:lnTo>
                    <a:pt x="514" y="3494"/>
                  </a:lnTo>
                  <a:lnTo>
                    <a:pt x="514" y="3470"/>
                  </a:lnTo>
                  <a:lnTo>
                    <a:pt x="514" y="3445"/>
                  </a:lnTo>
                  <a:lnTo>
                    <a:pt x="514" y="3414"/>
                  </a:lnTo>
                  <a:lnTo>
                    <a:pt x="514" y="3389"/>
                  </a:lnTo>
                  <a:lnTo>
                    <a:pt x="514" y="3358"/>
                  </a:lnTo>
                  <a:lnTo>
                    <a:pt x="539" y="3333"/>
                  </a:lnTo>
                  <a:lnTo>
                    <a:pt x="539" y="3309"/>
                  </a:lnTo>
                  <a:lnTo>
                    <a:pt x="539" y="3278"/>
                  </a:lnTo>
                  <a:lnTo>
                    <a:pt x="563" y="3278"/>
                  </a:lnTo>
                  <a:lnTo>
                    <a:pt x="563" y="3252"/>
                  </a:lnTo>
                  <a:lnTo>
                    <a:pt x="563" y="3197"/>
                  </a:lnTo>
                  <a:lnTo>
                    <a:pt x="594" y="3172"/>
                  </a:lnTo>
                  <a:lnTo>
                    <a:pt x="594" y="3147"/>
                  </a:lnTo>
                  <a:lnTo>
                    <a:pt x="594" y="3116"/>
                  </a:lnTo>
                  <a:lnTo>
                    <a:pt x="651" y="3092"/>
                  </a:lnTo>
                  <a:lnTo>
                    <a:pt x="651" y="3060"/>
                  </a:lnTo>
                  <a:lnTo>
                    <a:pt x="651" y="3035"/>
                  </a:lnTo>
                  <a:lnTo>
                    <a:pt x="675" y="3035"/>
                  </a:lnTo>
                  <a:lnTo>
                    <a:pt x="675" y="3011"/>
                  </a:lnTo>
                  <a:lnTo>
                    <a:pt x="701" y="2955"/>
                  </a:lnTo>
                  <a:lnTo>
                    <a:pt x="675" y="2955"/>
                  </a:lnTo>
                  <a:lnTo>
                    <a:pt x="620" y="2930"/>
                  </a:lnTo>
                  <a:lnTo>
                    <a:pt x="594" y="2930"/>
                  </a:lnTo>
                  <a:lnTo>
                    <a:pt x="594" y="2899"/>
                  </a:lnTo>
                  <a:lnTo>
                    <a:pt x="563" y="2930"/>
                  </a:lnTo>
                  <a:lnTo>
                    <a:pt x="539" y="2930"/>
                  </a:lnTo>
                  <a:lnTo>
                    <a:pt x="514" y="2899"/>
                  </a:lnTo>
                  <a:lnTo>
                    <a:pt x="483" y="2874"/>
                  </a:lnTo>
                  <a:lnTo>
                    <a:pt x="458" y="2850"/>
                  </a:lnTo>
                  <a:lnTo>
                    <a:pt x="434" y="2874"/>
                  </a:lnTo>
                  <a:lnTo>
                    <a:pt x="378" y="2874"/>
                  </a:lnTo>
                  <a:lnTo>
                    <a:pt x="353" y="2874"/>
                  </a:lnTo>
                  <a:lnTo>
                    <a:pt x="353" y="2899"/>
                  </a:lnTo>
                  <a:lnTo>
                    <a:pt x="322" y="2850"/>
                  </a:lnTo>
                  <a:lnTo>
                    <a:pt x="297" y="2850"/>
                  </a:lnTo>
                  <a:lnTo>
                    <a:pt x="266" y="2850"/>
                  </a:lnTo>
                  <a:lnTo>
                    <a:pt x="266" y="2874"/>
                  </a:lnTo>
                  <a:lnTo>
                    <a:pt x="242" y="2874"/>
                  </a:lnTo>
                  <a:lnTo>
                    <a:pt x="242" y="2850"/>
                  </a:lnTo>
                  <a:lnTo>
                    <a:pt x="216" y="2819"/>
                  </a:lnTo>
                  <a:lnTo>
                    <a:pt x="185" y="2762"/>
                  </a:lnTo>
                  <a:lnTo>
                    <a:pt x="185" y="2738"/>
                  </a:lnTo>
                  <a:lnTo>
                    <a:pt x="136" y="2713"/>
                  </a:lnTo>
                  <a:lnTo>
                    <a:pt x="136" y="2682"/>
                  </a:lnTo>
                  <a:lnTo>
                    <a:pt x="136" y="2657"/>
                  </a:lnTo>
                  <a:lnTo>
                    <a:pt x="136" y="2632"/>
                  </a:lnTo>
                  <a:lnTo>
                    <a:pt x="161" y="2601"/>
                  </a:lnTo>
                  <a:lnTo>
                    <a:pt x="185" y="2546"/>
                  </a:lnTo>
                  <a:lnTo>
                    <a:pt x="161" y="2546"/>
                  </a:lnTo>
                  <a:lnTo>
                    <a:pt x="80" y="2496"/>
                  </a:lnTo>
                  <a:lnTo>
                    <a:pt x="80" y="2465"/>
                  </a:lnTo>
                  <a:lnTo>
                    <a:pt x="55" y="2415"/>
                  </a:lnTo>
                  <a:lnTo>
                    <a:pt x="55" y="2384"/>
                  </a:lnTo>
                  <a:close/>
                  <a:moveTo>
                    <a:pt x="297" y="708"/>
                  </a:moveTo>
                  <a:lnTo>
                    <a:pt x="266" y="708"/>
                  </a:lnTo>
                  <a:lnTo>
                    <a:pt x="266" y="732"/>
                  </a:lnTo>
                  <a:lnTo>
                    <a:pt x="297" y="732"/>
                  </a:lnTo>
                  <a:lnTo>
                    <a:pt x="266" y="732"/>
                  </a:lnTo>
                  <a:lnTo>
                    <a:pt x="297" y="708"/>
                  </a:lnTo>
                  <a:close/>
                  <a:moveTo>
                    <a:pt x="322" y="677"/>
                  </a:moveTo>
                  <a:lnTo>
                    <a:pt x="322" y="708"/>
                  </a:lnTo>
                  <a:lnTo>
                    <a:pt x="322" y="677"/>
                  </a:lnTo>
                  <a:close/>
                  <a:moveTo>
                    <a:pt x="378" y="677"/>
                  </a:moveTo>
                  <a:lnTo>
                    <a:pt x="322" y="677"/>
                  </a:lnTo>
                  <a:lnTo>
                    <a:pt x="378" y="677"/>
                  </a:lnTo>
                  <a:close/>
                  <a:moveTo>
                    <a:pt x="402" y="651"/>
                  </a:moveTo>
                  <a:lnTo>
                    <a:pt x="402" y="677"/>
                  </a:lnTo>
                  <a:lnTo>
                    <a:pt x="434" y="651"/>
                  </a:lnTo>
                  <a:lnTo>
                    <a:pt x="458" y="651"/>
                  </a:lnTo>
                  <a:lnTo>
                    <a:pt x="402" y="651"/>
                  </a:lnTo>
                  <a:close/>
                  <a:moveTo>
                    <a:pt x="458" y="651"/>
                  </a:moveTo>
                  <a:lnTo>
                    <a:pt x="483" y="651"/>
                  </a:lnTo>
                  <a:lnTo>
                    <a:pt x="458" y="651"/>
                  </a:lnTo>
                  <a:close/>
                  <a:moveTo>
                    <a:pt x="483" y="627"/>
                  </a:moveTo>
                  <a:lnTo>
                    <a:pt x="483" y="651"/>
                  </a:lnTo>
                  <a:lnTo>
                    <a:pt x="514" y="651"/>
                  </a:lnTo>
                  <a:lnTo>
                    <a:pt x="539" y="651"/>
                  </a:lnTo>
                  <a:lnTo>
                    <a:pt x="539" y="627"/>
                  </a:lnTo>
                  <a:lnTo>
                    <a:pt x="483" y="627"/>
                  </a:lnTo>
                  <a:close/>
                  <a:moveTo>
                    <a:pt x="563" y="627"/>
                  </a:moveTo>
                  <a:lnTo>
                    <a:pt x="539" y="627"/>
                  </a:lnTo>
                  <a:lnTo>
                    <a:pt x="563" y="651"/>
                  </a:lnTo>
                  <a:lnTo>
                    <a:pt x="563" y="627"/>
                  </a:lnTo>
                  <a:lnTo>
                    <a:pt x="594" y="627"/>
                  </a:lnTo>
                  <a:lnTo>
                    <a:pt x="563" y="627"/>
                  </a:lnTo>
                  <a:close/>
                  <a:moveTo>
                    <a:pt x="620" y="434"/>
                  </a:moveTo>
                  <a:lnTo>
                    <a:pt x="620" y="627"/>
                  </a:lnTo>
                  <a:lnTo>
                    <a:pt x="594" y="627"/>
                  </a:lnTo>
                  <a:lnTo>
                    <a:pt x="620" y="627"/>
                  </a:lnTo>
                  <a:lnTo>
                    <a:pt x="651" y="627"/>
                  </a:lnTo>
                  <a:lnTo>
                    <a:pt x="620" y="627"/>
                  </a:lnTo>
                  <a:lnTo>
                    <a:pt x="620" y="434"/>
                  </a:lnTo>
                  <a:close/>
                  <a:moveTo>
                    <a:pt x="756" y="218"/>
                  </a:moveTo>
                  <a:lnTo>
                    <a:pt x="756" y="192"/>
                  </a:lnTo>
                  <a:lnTo>
                    <a:pt x="732" y="192"/>
                  </a:lnTo>
                  <a:lnTo>
                    <a:pt x="732" y="218"/>
                  </a:lnTo>
                  <a:lnTo>
                    <a:pt x="756" y="218"/>
                  </a:lnTo>
                  <a:close/>
                  <a:moveTo>
                    <a:pt x="812" y="161"/>
                  </a:moveTo>
                  <a:lnTo>
                    <a:pt x="781" y="161"/>
                  </a:lnTo>
                  <a:lnTo>
                    <a:pt x="756" y="161"/>
                  </a:lnTo>
                  <a:lnTo>
                    <a:pt x="756" y="192"/>
                  </a:lnTo>
                  <a:lnTo>
                    <a:pt x="781" y="192"/>
                  </a:lnTo>
                  <a:lnTo>
                    <a:pt x="812" y="192"/>
                  </a:lnTo>
                  <a:lnTo>
                    <a:pt x="812" y="161"/>
                  </a:lnTo>
                  <a:close/>
                  <a:moveTo>
                    <a:pt x="837" y="192"/>
                  </a:moveTo>
                  <a:lnTo>
                    <a:pt x="812" y="218"/>
                  </a:lnTo>
                  <a:lnTo>
                    <a:pt x="837" y="218"/>
                  </a:lnTo>
                  <a:lnTo>
                    <a:pt x="837" y="192"/>
                  </a:lnTo>
                  <a:close/>
                  <a:moveTo>
                    <a:pt x="837" y="242"/>
                  </a:moveTo>
                  <a:lnTo>
                    <a:pt x="837" y="273"/>
                  </a:lnTo>
                  <a:lnTo>
                    <a:pt x="812" y="273"/>
                  </a:lnTo>
                  <a:lnTo>
                    <a:pt x="837" y="273"/>
                  </a:lnTo>
                  <a:lnTo>
                    <a:pt x="837" y="242"/>
                  </a:lnTo>
                  <a:close/>
                  <a:moveTo>
                    <a:pt x="868" y="3575"/>
                  </a:moveTo>
                  <a:lnTo>
                    <a:pt x="893" y="3575"/>
                  </a:lnTo>
                  <a:lnTo>
                    <a:pt x="893" y="3551"/>
                  </a:lnTo>
                  <a:lnTo>
                    <a:pt x="868" y="3551"/>
                  </a:lnTo>
                  <a:lnTo>
                    <a:pt x="868" y="3575"/>
                  </a:lnTo>
                  <a:close/>
                  <a:moveTo>
                    <a:pt x="893" y="242"/>
                  </a:moveTo>
                  <a:lnTo>
                    <a:pt x="868" y="242"/>
                  </a:lnTo>
                  <a:lnTo>
                    <a:pt x="893" y="242"/>
                  </a:lnTo>
                  <a:close/>
                  <a:moveTo>
                    <a:pt x="917" y="273"/>
                  </a:moveTo>
                  <a:lnTo>
                    <a:pt x="893" y="273"/>
                  </a:lnTo>
                  <a:lnTo>
                    <a:pt x="868" y="273"/>
                  </a:lnTo>
                  <a:lnTo>
                    <a:pt x="893" y="273"/>
                  </a:lnTo>
                  <a:lnTo>
                    <a:pt x="868" y="298"/>
                  </a:lnTo>
                  <a:lnTo>
                    <a:pt x="893" y="298"/>
                  </a:lnTo>
                  <a:lnTo>
                    <a:pt x="917" y="298"/>
                  </a:lnTo>
                  <a:lnTo>
                    <a:pt x="917" y="273"/>
                  </a:lnTo>
                  <a:close/>
                  <a:moveTo>
                    <a:pt x="1029" y="3575"/>
                  </a:moveTo>
                  <a:lnTo>
                    <a:pt x="1029" y="3606"/>
                  </a:lnTo>
                  <a:lnTo>
                    <a:pt x="1054" y="3575"/>
                  </a:lnTo>
                  <a:lnTo>
                    <a:pt x="1029" y="3575"/>
                  </a:lnTo>
                  <a:close/>
                  <a:moveTo>
                    <a:pt x="1513" y="242"/>
                  </a:moveTo>
                  <a:lnTo>
                    <a:pt x="1513" y="273"/>
                  </a:lnTo>
                  <a:lnTo>
                    <a:pt x="1513" y="298"/>
                  </a:lnTo>
                  <a:lnTo>
                    <a:pt x="1513" y="273"/>
                  </a:lnTo>
                  <a:lnTo>
                    <a:pt x="1544" y="273"/>
                  </a:lnTo>
                  <a:lnTo>
                    <a:pt x="1544" y="298"/>
                  </a:lnTo>
                  <a:lnTo>
                    <a:pt x="1569" y="298"/>
                  </a:lnTo>
                  <a:lnTo>
                    <a:pt x="1594" y="298"/>
                  </a:lnTo>
                  <a:lnTo>
                    <a:pt x="1569" y="242"/>
                  </a:lnTo>
                  <a:lnTo>
                    <a:pt x="1513" y="242"/>
                  </a:lnTo>
                  <a:close/>
                  <a:moveTo>
                    <a:pt x="1625" y="515"/>
                  </a:moveTo>
                  <a:lnTo>
                    <a:pt x="1649" y="515"/>
                  </a:lnTo>
                  <a:lnTo>
                    <a:pt x="1649" y="491"/>
                  </a:lnTo>
                  <a:lnTo>
                    <a:pt x="1649" y="515"/>
                  </a:lnTo>
                  <a:lnTo>
                    <a:pt x="1649" y="491"/>
                  </a:lnTo>
                  <a:lnTo>
                    <a:pt x="1625" y="491"/>
                  </a:lnTo>
                  <a:lnTo>
                    <a:pt x="1625" y="515"/>
                  </a:lnTo>
                  <a:close/>
                  <a:moveTo>
                    <a:pt x="2108" y="161"/>
                  </a:moveTo>
                  <a:lnTo>
                    <a:pt x="2108" y="192"/>
                  </a:lnTo>
                  <a:lnTo>
                    <a:pt x="2108" y="218"/>
                  </a:lnTo>
                  <a:lnTo>
                    <a:pt x="2108" y="242"/>
                  </a:lnTo>
                  <a:lnTo>
                    <a:pt x="2108" y="218"/>
                  </a:lnTo>
                  <a:lnTo>
                    <a:pt x="2108" y="192"/>
                  </a:lnTo>
                  <a:lnTo>
                    <a:pt x="2108" y="161"/>
                  </a:lnTo>
                  <a:lnTo>
                    <a:pt x="2108" y="192"/>
                  </a:lnTo>
                  <a:lnTo>
                    <a:pt x="2108" y="161"/>
                  </a:lnTo>
                  <a:close/>
                  <a:moveTo>
                    <a:pt x="2108" y="298"/>
                  </a:moveTo>
                  <a:lnTo>
                    <a:pt x="2140" y="329"/>
                  </a:lnTo>
                  <a:lnTo>
                    <a:pt x="2165" y="329"/>
                  </a:lnTo>
                  <a:lnTo>
                    <a:pt x="2189" y="354"/>
                  </a:lnTo>
                  <a:lnTo>
                    <a:pt x="2220" y="354"/>
                  </a:lnTo>
                  <a:lnTo>
                    <a:pt x="2189" y="329"/>
                  </a:lnTo>
                  <a:lnTo>
                    <a:pt x="2220" y="329"/>
                  </a:lnTo>
                  <a:lnTo>
                    <a:pt x="2220" y="298"/>
                  </a:lnTo>
                  <a:lnTo>
                    <a:pt x="2245" y="298"/>
                  </a:lnTo>
                  <a:lnTo>
                    <a:pt x="2245" y="273"/>
                  </a:lnTo>
                  <a:lnTo>
                    <a:pt x="2270" y="298"/>
                  </a:lnTo>
                  <a:lnTo>
                    <a:pt x="2270" y="273"/>
                  </a:lnTo>
                  <a:lnTo>
                    <a:pt x="2270" y="298"/>
                  </a:lnTo>
                  <a:lnTo>
                    <a:pt x="2301" y="298"/>
                  </a:lnTo>
                  <a:lnTo>
                    <a:pt x="2270" y="298"/>
                  </a:lnTo>
                  <a:lnTo>
                    <a:pt x="2270" y="329"/>
                  </a:lnTo>
                  <a:lnTo>
                    <a:pt x="2301" y="329"/>
                  </a:lnTo>
                  <a:lnTo>
                    <a:pt x="2301" y="298"/>
                  </a:lnTo>
                  <a:lnTo>
                    <a:pt x="2301" y="273"/>
                  </a:lnTo>
                  <a:lnTo>
                    <a:pt x="2270" y="273"/>
                  </a:lnTo>
                  <a:lnTo>
                    <a:pt x="2270" y="242"/>
                  </a:lnTo>
                  <a:lnTo>
                    <a:pt x="2245" y="242"/>
                  </a:lnTo>
                  <a:lnTo>
                    <a:pt x="2245" y="218"/>
                  </a:lnTo>
                  <a:lnTo>
                    <a:pt x="2270" y="192"/>
                  </a:lnTo>
                  <a:lnTo>
                    <a:pt x="2270" y="161"/>
                  </a:lnTo>
                  <a:lnTo>
                    <a:pt x="2245" y="161"/>
                  </a:lnTo>
                  <a:lnTo>
                    <a:pt x="2189" y="161"/>
                  </a:lnTo>
                  <a:lnTo>
                    <a:pt x="2189" y="137"/>
                  </a:lnTo>
                  <a:lnTo>
                    <a:pt x="2189" y="112"/>
                  </a:lnTo>
                  <a:lnTo>
                    <a:pt x="2165" y="137"/>
                  </a:lnTo>
                  <a:lnTo>
                    <a:pt x="2140" y="137"/>
                  </a:lnTo>
                  <a:lnTo>
                    <a:pt x="2140" y="161"/>
                  </a:lnTo>
                  <a:lnTo>
                    <a:pt x="2140" y="192"/>
                  </a:lnTo>
                  <a:lnTo>
                    <a:pt x="2140" y="161"/>
                  </a:lnTo>
                  <a:lnTo>
                    <a:pt x="2165" y="137"/>
                  </a:lnTo>
                  <a:lnTo>
                    <a:pt x="2165" y="161"/>
                  </a:lnTo>
                  <a:lnTo>
                    <a:pt x="2140" y="192"/>
                  </a:lnTo>
                  <a:lnTo>
                    <a:pt x="2165" y="161"/>
                  </a:lnTo>
                  <a:lnTo>
                    <a:pt x="2189" y="161"/>
                  </a:lnTo>
                  <a:lnTo>
                    <a:pt x="2189" y="192"/>
                  </a:lnTo>
                  <a:lnTo>
                    <a:pt x="2220" y="192"/>
                  </a:lnTo>
                  <a:lnTo>
                    <a:pt x="2220" y="218"/>
                  </a:lnTo>
                  <a:lnTo>
                    <a:pt x="2189" y="218"/>
                  </a:lnTo>
                  <a:lnTo>
                    <a:pt x="2189" y="192"/>
                  </a:lnTo>
                  <a:lnTo>
                    <a:pt x="2189" y="161"/>
                  </a:lnTo>
                  <a:lnTo>
                    <a:pt x="2165" y="192"/>
                  </a:lnTo>
                  <a:lnTo>
                    <a:pt x="2165" y="218"/>
                  </a:lnTo>
                  <a:lnTo>
                    <a:pt x="2165" y="192"/>
                  </a:lnTo>
                  <a:lnTo>
                    <a:pt x="2140" y="192"/>
                  </a:lnTo>
                  <a:lnTo>
                    <a:pt x="2108" y="192"/>
                  </a:lnTo>
                  <a:lnTo>
                    <a:pt x="2140" y="192"/>
                  </a:lnTo>
                  <a:lnTo>
                    <a:pt x="2140" y="218"/>
                  </a:lnTo>
                  <a:lnTo>
                    <a:pt x="2165" y="218"/>
                  </a:lnTo>
                  <a:lnTo>
                    <a:pt x="2165" y="242"/>
                  </a:lnTo>
                  <a:lnTo>
                    <a:pt x="2140" y="242"/>
                  </a:lnTo>
                  <a:lnTo>
                    <a:pt x="2165" y="273"/>
                  </a:lnTo>
                  <a:lnTo>
                    <a:pt x="2140" y="273"/>
                  </a:lnTo>
                  <a:lnTo>
                    <a:pt x="2108" y="298"/>
                  </a:lnTo>
                  <a:close/>
                  <a:moveTo>
                    <a:pt x="2140" y="218"/>
                  </a:moveTo>
                  <a:lnTo>
                    <a:pt x="2108" y="242"/>
                  </a:lnTo>
                  <a:lnTo>
                    <a:pt x="2140" y="242"/>
                  </a:lnTo>
                  <a:lnTo>
                    <a:pt x="2140" y="218"/>
                  </a:lnTo>
                  <a:close/>
                  <a:moveTo>
                    <a:pt x="2462" y="491"/>
                  </a:moveTo>
                  <a:lnTo>
                    <a:pt x="2462" y="459"/>
                  </a:lnTo>
                  <a:lnTo>
                    <a:pt x="2438" y="459"/>
                  </a:lnTo>
                  <a:lnTo>
                    <a:pt x="2407" y="434"/>
                  </a:lnTo>
                  <a:lnTo>
                    <a:pt x="2381" y="410"/>
                  </a:lnTo>
                  <a:lnTo>
                    <a:pt x="2357" y="410"/>
                  </a:lnTo>
                  <a:lnTo>
                    <a:pt x="2326" y="379"/>
                  </a:lnTo>
                  <a:lnTo>
                    <a:pt x="2326" y="354"/>
                  </a:lnTo>
                  <a:lnTo>
                    <a:pt x="2301" y="354"/>
                  </a:lnTo>
                  <a:lnTo>
                    <a:pt x="2301" y="379"/>
                  </a:lnTo>
                  <a:lnTo>
                    <a:pt x="2326" y="410"/>
                  </a:lnTo>
                  <a:lnTo>
                    <a:pt x="2326" y="434"/>
                  </a:lnTo>
                  <a:lnTo>
                    <a:pt x="2357" y="434"/>
                  </a:lnTo>
                  <a:lnTo>
                    <a:pt x="2357" y="459"/>
                  </a:lnTo>
                  <a:lnTo>
                    <a:pt x="2357" y="434"/>
                  </a:lnTo>
                  <a:lnTo>
                    <a:pt x="2357" y="410"/>
                  </a:lnTo>
                  <a:lnTo>
                    <a:pt x="2381" y="410"/>
                  </a:lnTo>
                  <a:lnTo>
                    <a:pt x="2381" y="434"/>
                  </a:lnTo>
                  <a:lnTo>
                    <a:pt x="2407" y="459"/>
                  </a:lnTo>
                  <a:lnTo>
                    <a:pt x="2381" y="459"/>
                  </a:lnTo>
                  <a:lnTo>
                    <a:pt x="2381" y="491"/>
                  </a:lnTo>
                  <a:lnTo>
                    <a:pt x="2381" y="459"/>
                  </a:lnTo>
                  <a:lnTo>
                    <a:pt x="2357" y="459"/>
                  </a:lnTo>
                  <a:lnTo>
                    <a:pt x="2381" y="491"/>
                  </a:lnTo>
                  <a:lnTo>
                    <a:pt x="2357" y="515"/>
                  </a:lnTo>
                  <a:lnTo>
                    <a:pt x="2381" y="515"/>
                  </a:lnTo>
                  <a:lnTo>
                    <a:pt x="2407" y="515"/>
                  </a:lnTo>
                  <a:lnTo>
                    <a:pt x="2438" y="515"/>
                  </a:lnTo>
                  <a:lnTo>
                    <a:pt x="2462" y="491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28" name="Freeform 60">
              <a:extLst>
                <a:ext uri="{FF2B5EF4-FFF2-40B4-BE49-F238E27FC236}">
                  <a16:creationId xmlns:a16="http://schemas.microsoft.com/office/drawing/2014/main" id="{4DBDC762-CB85-4EEA-A827-EEB16339C49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97509" y="4803051"/>
              <a:ext cx="1196111" cy="1131275"/>
            </a:xfrm>
            <a:custGeom>
              <a:avLst/>
              <a:gdLst/>
              <a:ahLst/>
              <a:cxnLst>
                <a:cxn ang="0">
                  <a:pos x="138" y="1407"/>
                </a:cxn>
                <a:cxn ang="0">
                  <a:pos x="517" y="1655"/>
                </a:cxn>
                <a:cxn ang="0">
                  <a:pos x="598" y="1897"/>
                </a:cxn>
                <a:cxn ang="0">
                  <a:pos x="1138" y="1897"/>
                </a:cxn>
                <a:cxn ang="0">
                  <a:pos x="1436" y="1921"/>
                </a:cxn>
                <a:cxn ang="0">
                  <a:pos x="976" y="1921"/>
                </a:cxn>
                <a:cxn ang="0">
                  <a:pos x="783" y="2299"/>
                </a:cxn>
                <a:cxn ang="0">
                  <a:pos x="1138" y="2548"/>
                </a:cxn>
                <a:cxn ang="0">
                  <a:pos x="1436" y="2653"/>
                </a:cxn>
                <a:cxn ang="0">
                  <a:pos x="1468" y="2437"/>
                </a:cxn>
                <a:cxn ang="0">
                  <a:pos x="1549" y="2299"/>
                </a:cxn>
                <a:cxn ang="0">
                  <a:pos x="1518" y="2194"/>
                </a:cxn>
                <a:cxn ang="0">
                  <a:pos x="1629" y="2002"/>
                </a:cxn>
                <a:cxn ang="0">
                  <a:pos x="1734" y="1816"/>
                </a:cxn>
                <a:cxn ang="0">
                  <a:pos x="1355" y="1655"/>
                </a:cxn>
                <a:cxn ang="0">
                  <a:pos x="1300" y="1519"/>
                </a:cxn>
                <a:cxn ang="0">
                  <a:pos x="1274" y="1271"/>
                </a:cxn>
                <a:cxn ang="0">
                  <a:pos x="1169" y="812"/>
                </a:cxn>
                <a:cxn ang="0">
                  <a:pos x="1411" y="1004"/>
                </a:cxn>
                <a:cxn ang="0">
                  <a:pos x="1573" y="843"/>
                </a:cxn>
                <a:cxn ang="0">
                  <a:pos x="1492" y="651"/>
                </a:cxn>
                <a:cxn ang="0">
                  <a:pos x="2064" y="459"/>
                </a:cxn>
                <a:cxn ang="0">
                  <a:pos x="2388" y="56"/>
                </a:cxn>
                <a:cxn ang="0">
                  <a:pos x="2064" y="248"/>
                </a:cxn>
                <a:cxn ang="0">
                  <a:pos x="1629" y="248"/>
                </a:cxn>
                <a:cxn ang="0">
                  <a:pos x="1194" y="379"/>
                </a:cxn>
                <a:cxn ang="0">
                  <a:pos x="703" y="707"/>
                </a:cxn>
                <a:cxn ang="0">
                  <a:pos x="380" y="1060"/>
                </a:cxn>
                <a:cxn ang="0">
                  <a:pos x="274" y="1326"/>
                </a:cxn>
                <a:cxn ang="0">
                  <a:pos x="435" y="2139"/>
                </a:cxn>
                <a:cxn ang="0">
                  <a:pos x="380" y="2058"/>
                </a:cxn>
                <a:cxn ang="0">
                  <a:pos x="435" y="1873"/>
                </a:cxn>
                <a:cxn ang="0">
                  <a:pos x="517" y="2194"/>
                </a:cxn>
                <a:cxn ang="0">
                  <a:pos x="1573" y="2870"/>
                </a:cxn>
                <a:cxn ang="0">
                  <a:pos x="1355" y="1544"/>
                </a:cxn>
                <a:cxn ang="0">
                  <a:pos x="1815" y="1873"/>
                </a:cxn>
                <a:cxn ang="0">
                  <a:pos x="1765" y="1655"/>
                </a:cxn>
                <a:cxn ang="0">
                  <a:pos x="1629" y="1383"/>
                </a:cxn>
                <a:cxn ang="0">
                  <a:pos x="1765" y="676"/>
                </a:cxn>
                <a:cxn ang="0">
                  <a:pos x="1896" y="1463"/>
                </a:cxn>
                <a:cxn ang="0">
                  <a:pos x="2033" y="1141"/>
                </a:cxn>
                <a:cxn ang="0">
                  <a:pos x="2114" y="1004"/>
                </a:cxn>
                <a:cxn ang="0">
                  <a:pos x="2064" y="2517"/>
                </a:cxn>
                <a:cxn ang="0">
                  <a:pos x="2145" y="2411"/>
                </a:cxn>
                <a:cxn ang="0">
                  <a:pos x="1871" y="3087"/>
                </a:cxn>
                <a:cxn ang="0">
                  <a:pos x="2362" y="3329"/>
                </a:cxn>
                <a:cxn ang="0">
                  <a:pos x="2929" y="3087"/>
                </a:cxn>
                <a:cxn ang="0">
                  <a:pos x="2469" y="3112"/>
                </a:cxn>
                <a:cxn ang="0">
                  <a:pos x="2251" y="2033"/>
                </a:cxn>
                <a:cxn ang="0">
                  <a:pos x="2331" y="2299"/>
                </a:cxn>
                <a:cxn ang="0">
                  <a:pos x="2412" y="2437"/>
                </a:cxn>
                <a:cxn ang="0">
                  <a:pos x="2493" y="1488"/>
                </a:cxn>
                <a:cxn ang="0">
                  <a:pos x="2493" y="2573"/>
                </a:cxn>
                <a:cxn ang="0">
                  <a:pos x="2549" y="1302"/>
                </a:cxn>
                <a:cxn ang="0">
                  <a:pos x="2605" y="2356"/>
                </a:cxn>
                <a:cxn ang="0">
                  <a:pos x="2822" y="2083"/>
                </a:cxn>
                <a:cxn ang="0">
                  <a:pos x="2791" y="1816"/>
                </a:cxn>
                <a:cxn ang="0">
                  <a:pos x="2984" y="2170"/>
                </a:cxn>
                <a:cxn ang="0">
                  <a:pos x="3176" y="2220"/>
                </a:cxn>
                <a:cxn ang="0">
                  <a:pos x="3202" y="2380"/>
                </a:cxn>
                <a:cxn ang="0">
                  <a:pos x="3500" y="2356"/>
                </a:cxn>
                <a:cxn ang="0">
                  <a:pos x="3556" y="2437"/>
                </a:cxn>
              </a:cxnLst>
              <a:rect l="0" t="0" r="r" b="b"/>
              <a:pathLst>
                <a:path w="3556" h="3360">
                  <a:moveTo>
                    <a:pt x="81" y="1407"/>
                  </a:moveTo>
                  <a:lnTo>
                    <a:pt x="107" y="1357"/>
                  </a:lnTo>
                  <a:lnTo>
                    <a:pt x="81" y="1326"/>
                  </a:lnTo>
                  <a:lnTo>
                    <a:pt x="81" y="1357"/>
                  </a:lnTo>
                  <a:lnTo>
                    <a:pt x="0" y="1357"/>
                  </a:lnTo>
                  <a:lnTo>
                    <a:pt x="0" y="1383"/>
                  </a:lnTo>
                  <a:lnTo>
                    <a:pt x="0" y="1407"/>
                  </a:lnTo>
                  <a:lnTo>
                    <a:pt x="81" y="1463"/>
                  </a:lnTo>
                  <a:lnTo>
                    <a:pt x="107" y="1519"/>
                  </a:lnTo>
                  <a:lnTo>
                    <a:pt x="218" y="1544"/>
                  </a:lnTo>
                  <a:lnTo>
                    <a:pt x="187" y="1519"/>
                  </a:lnTo>
                  <a:lnTo>
                    <a:pt x="162" y="1519"/>
                  </a:lnTo>
                  <a:lnTo>
                    <a:pt x="138" y="1519"/>
                  </a:lnTo>
                  <a:lnTo>
                    <a:pt x="107" y="1463"/>
                  </a:lnTo>
                  <a:lnTo>
                    <a:pt x="107" y="1438"/>
                  </a:lnTo>
                  <a:lnTo>
                    <a:pt x="81" y="1438"/>
                  </a:lnTo>
                  <a:lnTo>
                    <a:pt x="81" y="1407"/>
                  </a:lnTo>
                  <a:close/>
                  <a:moveTo>
                    <a:pt x="138" y="1407"/>
                  </a:moveTo>
                  <a:lnTo>
                    <a:pt x="162" y="1407"/>
                  </a:lnTo>
                  <a:lnTo>
                    <a:pt x="218" y="1438"/>
                  </a:lnTo>
                  <a:lnTo>
                    <a:pt x="187" y="1463"/>
                  </a:lnTo>
                  <a:lnTo>
                    <a:pt x="243" y="1488"/>
                  </a:lnTo>
                  <a:lnTo>
                    <a:pt x="243" y="1519"/>
                  </a:lnTo>
                  <a:lnTo>
                    <a:pt x="274" y="1519"/>
                  </a:lnTo>
                  <a:lnTo>
                    <a:pt x="274" y="1544"/>
                  </a:lnTo>
                  <a:lnTo>
                    <a:pt x="274" y="1568"/>
                  </a:lnTo>
                  <a:lnTo>
                    <a:pt x="299" y="1568"/>
                  </a:lnTo>
                  <a:lnTo>
                    <a:pt x="323" y="1568"/>
                  </a:lnTo>
                  <a:lnTo>
                    <a:pt x="354" y="1599"/>
                  </a:lnTo>
                  <a:lnTo>
                    <a:pt x="435" y="1680"/>
                  </a:lnTo>
                  <a:lnTo>
                    <a:pt x="460" y="1705"/>
                  </a:lnTo>
                  <a:lnTo>
                    <a:pt x="485" y="1705"/>
                  </a:lnTo>
                  <a:lnTo>
                    <a:pt x="485" y="1680"/>
                  </a:lnTo>
                  <a:lnTo>
                    <a:pt x="460" y="1680"/>
                  </a:lnTo>
                  <a:lnTo>
                    <a:pt x="485" y="1624"/>
                  </a:lnTo>
                  <a:lnTo>
                    <a:pt x="517" y="1655"/>
                  </a:lnTo>
                  <a:lnTo>
                    <a:pt x="541" y="1680"/>
                  </a:lnTo>
                  <a:lnTo>
                    <a:pt x="572" y="1655"/>
                  </a:lnTo>
                  <a:lnTo>
                    <a:pt x="598" y="1655"/>
                  </a:lnTo>
                  <a:lnTo>
                    <a:pt x="622" y="1680"/>
                  </a:lnTo>
                  <a:lnTo>
                    <a:pt x="622" y="1735"/>
                  </a:lnTo>
                  <a:lnTo>
                    <a:pt x="598" y="1705"/>
                  </a:lnTo>
                  <a:lnTo>
                    <a:pt x="598" y="1735"/>
                  </a:lnTo>
                  <a:lnTo>
                    <a:pt x="572" y="1705"/>
                  </a:lnTo>
                  <a:lnTo>
                    <a:pt x="517" y="1705"/>
                  </a:lnTo>
                  <a:lnTo>
                    <a:pt x="485" y="1705"/>
                  </a:lnTo>
                  <a:lnTo>
                    <a:pt x="485" y="1735"/>
                  </a:lnTo>
                  <a:lnTo>
                    <a:pt x="460" y="1761"/>
                  </a:lnTo>
                  <a:lnTo>
                    <a:pt x="460" y="1785"/>
                  </a:lnTo>
                  <a:lnTo>
                    <a:pt x="485" y="1816"/>
                  </a:lnTo>
                  <a:lnTo>
                    <a:pt x="517" y="1785"/>
                  </a:lnTo>
                  <a:lnTo>
                    <a:pt x="541" y="1842"/>
                  </a:lnTo>
                  <a:lnTo>
                    <a:pt x="598" y="1842"/>
                  </a:lnTo>
                  <a:lnTo>
                    <a:pt x="598" y="1897"/>
                  </a:lnTo>
                  <a:lnTo>
                    <a:pt x="622" y="1897"/>
                  </a:lnTo>
                  <a:lnTo>
                    <a:pt x="653" y="1953"/>
                  </a:lnTo>
                  <a:lnTo>
                    <a:pt x="653" y="1978"/>
                  </a:lnTo>
                  <a:lnTo>
                    <a:pt x="678" y="1978"/>
                  </a:lnTo>
                  <a:lnTo>
                    <a:pt x="703" y="1978"/>
                  </a:lnTo>
                  <a:lnTo>
                    <a:pt x="734" y="1953"/>
                  </a:lnTo>
                  <a:lnTo>
                    <a:pt x="734" y="1921"/>
                  </a:lnTo>
                  <a:lnTo>
                    <a:pt x="759" y="1953"/>
                  </a:lnTo>
                  <a:lnTo>
                    <a:pt x="814" y="1978"/>
                  </a:lnTo>
                  <a:lnTo>
                    <a:pt x="840" y="1953"/>
                  </a:lnTo>
                  <a:lnTo>
                    <a:pt x="895" y="1921"/>
                  </a:lnTo>
                  <a:lnTo>
                    <a:pt x="920" y="1897"/>
                  </a:lnTo>
                  <a:lnTo>
                    <a:pt x="951" y="1921"/>
                  </a:lnTo>
                  <a:lnTo>
                    <a:pt x="976" y="1897"/>
                  </a:lnTo>
                  <a:lnTo>
                    <a:pt x="1001" y="1897"/>
                  </a:lnTo>
                  <a:lnTo>
                    <a:pt x="1058" y="1921"/>
                  </a:lnTo>
                  <a:lnTo>
                    <a:pt x="1082" y="1897"/>
                  </a:lnTo>
                  <a:lnTo>
                    <a:pt x="1138" y="1897"/>
                  </a:lnTo>
                  <a:lnTo>
                    <a:pt x="1138" y="1873"/>
                  </a:lnTo>
                  <a:lnTo>
                    <a:pt x="1138" y="1842"/>
                  </a:lnTo>
                  <a:lnTo>
                    <a:pt x="1169" y="1842"/>
                  </a:lnTo>
                  <a:lnTo>
                    <a:pt x="1194" y="1897"/>
                  </a:lnTo>
                  <a:lnTo>
                    <a:pt x="1219" y="1921"/>
                  </a:lnTo>
                  <a:lnTo>
                    <a:pt x="1219" y="1897"/>
                  </a:lnTo>
                  <a:lnTo>
                    <a:pt x="1219" y="1873"/>
                  </a:lnTo>
                  <a:lnTo>
                    <a:pt x="1250" y="1873"/>
                  </a:lnTo>
                  <a:lnTo>
                    <a:pt x="1250" y="1897"/>
                  </a:lnTo>
                  <a:lnTo>
                    <a:pt x="1300" y="1897"/>
                  </a:lnTo>
                  <a:lnTo>
                    <a:pt x="1300" y="1921"/>
                  </a:lnTo>
                  <a:lnTo>
                    <a:pt x="1331" y="1921"/>
                  </a:lnTo>
                  <a:lnTo>
                    <a:pt x="1355" y="1953"/>
                  </a:lnTo>
                  <a:lnTo>
                    <a:pt x="1380" y="1921"/>
                  </a:lnTo>
                  <a:lnTo>
                    <a:pt x="1355" y="1921"/>
                  </a:lnTo>
                  <a:lnTo>
                    <a:pt x="1380" y="1921"/>
                  </a:lnTo>
                  <a:lnTo>
                    <a:pt x="1411" y="1921"/>
                  </a:lnTo>
                  <a:lnTo>
                    <a:pt x="1436" y="1921"/>
                  </a:lnTo>
                  <a:lnTo>
                    <a:pt x="1468" y="1921"/>
                  </a:lnTo>
                  <a:lnTo>
                    <a:pt x="1468" y="1953"/>
                  </a:lnTo>
                  <a:lnTo>
                    <a:pt x="1468" y="1978"/>
                  </a:lnTo>
                  <a:lnTo>
                    <a:pt x="1436" y="1978"/>
                  </a:lnTo>
                  <a:lnTo>
                    <a:pt x="1411" y="2002"/>
                  </a:lnTo>
                  <a:lnTo>
                    <a:pt x="1380" y="1978"/>
                  </a:lnTo>
                  <a:lnTo>
                    <a:pt x="1331" y="2033"/>
                  </a:lnTo>
                  <a:lnTo>
                    <a:pt x="1355" y="2002"/>
                  </a:lnTo>
                  <a:lnTo>
                    <a:pt x="1380" y="2033"/>
                  </a:lnTo>
                  <a:lnTo>
                    <a:pt x="1355" y="2058"/>
                  </a:lnTo>
                  <a:lnTo>
                    <a:pt x="1331" y="2058"/>
                  </a:lnTo>
                  <a:lnTo>
                    <a:pt x="1274" y="2002"/>
                  </a:lnTo>
                  <a:lnTo>
                    <a:pt x="1194" y="1978"/>
                  </a:lnTo>
                  <a:lnTo>
                    <a:pt x="1138" y="2002"/>
                  </a:lnTo>
                  <a:lnTo>
                    <a:pt x="1113" y="1978"/>
                  </a:lnTo>
                  <a:lnTo>
                    <a:pt x="1082" y="1978"/>
                  </a:lnTo>
                  <a:lnTo>
                    <a:pt x="1032" y="1953"/>
                  </a:lnTo>
                  <a:lnTo>
                    <a:pt x="976" y="1921"/>
                  </a:lnTo>
                  <a:lnTo>
                    <a:pt x="951" y="1921"/>
                  </a:lnTo>
                  <a:lnTo>
                    <a:pt x="920" y="1953"/>
                  </a:lnTo>
                  <a:lnTo>
                    <a:pt x="895" y="1978"/>
                  </a:lnTo>
                  <a:lnTo>
                    <a:pt x="895" y="2002"/>
                  </a:lnTo>
                  <a:lnTo>
                    <a:pt x="871" y="2033"/>
                  </a:lnTo>
                  <a:lnTo>
                    <a:pt x="840" y="2033"/>
                  </a:lnTo>
                  <a:lnTo>
                    <a:pt x="783" y="2033"/>
                  </a:lnTo>
                  <a:lnTo>
                    <a:pt x="759" y="2033"/>
                  </a:lnTo>
                  <a:lnTo>
                    <a:pt x="759" y="2058"/>
                  </a:lnTo>
                  <a:lnTo>
                    <a:pt x="759" y="2083"/>
                  </a:lnTo>
                  <a:lnTo>
                    <a:pt x="759" y="2114"/>
                  </a:lnTo>
                  <a:lnTo>
                    <a:pt x="703" y="2170"/>
                  </a:lnTo>
                  <a:lnTo>
                    <a:pt x="678" y="2194"/>
                  </a:lnTo>
                  <a:lnTo>
                    <a:pt x="678" y="2220"/>
                  </a:lnTo>
                  <a:lnTo>
                    <a:pt x="734" y="2220"/>
                  </a:lnTo>
                  <a:lnTo>
                    <a:pt x="759" y="2251"/>
                  </a:lnTo>
                  <a:lnTo>
                    <a:pt x="783" y="2275"/>
                  </a:lnTo>
                  <a:lnTo>
                    <a:pt x="783" y="2299"/>
                  </a:lnTo>
                  <a:lnTo>
                    <a:pt x="814" y="2275"/>
                  </a:lnTo>
                  <a:lnTo>
                    <a:pt x="895" y="2356"/>
                  </a:lnTo>
                  <a:lnTo>
                    <a:pt x="951" y="2411"/>
                  </a:lnTo>
                  <a:lnTo>
                    <a:pt x="951" y="2437"/>
                  </a:lnTo>
                  <a:lnTo>
                    <a:pt x="920" y="2492"/>
                  </a:lnTo>
                  <a:lnTo>
                    <a:pt x="920" y="2517"/>
                  </a:lnTo>
                  <a:lnTo>
                    <a:pt x="920" y="2573"/>
                  </a:lnTo>
                  <a:lnTo>
                    <a:pt x="1001" y="2598"/>
                  </a:lnTo>
                  <a:lnTo>
                    <a:pt x="976" y="2629"/>
                  </a:lnTo>
                  <a:lnTo>
                    <a:pt x="1001" y="2678"/>
                  </a:lnTo>
                  <a:lnTo>
                    <a:pt x="1032" y="2678"/>
                  </a:lnTo>
                  <a:lnTo>
                    <a:pt x="1082" y="2709"/>
                  </a:lnTo>
                  <a:lnTo>
                    <a:pt x="1113" y="2653"/>
                  </a:lnTo>
                  <a:lnTo>
                    <a:pt x="1082" y="2653"/>
                  </a:lnTo>
                  <a:lnTo>
                    <a:pt x="1082" y="2629"/>
                  </a:lnTo>
                  <a:lnTo>
                    <a:pt x="1082" y="2573"/>
                  </a:lnTo>
                  <a:lnTo>
                    <a:pt x="1113" y="2548"/>
                  </a:lnTo>
                  <a:lnTo>
                    <a:pt x="1138" y="2548"/>
                  </a:lnTo>
                  <a:lnTo>
                    <a:pt x="1169" y="2598"/>
                  </a:lnTo>
                  <a:lnTo>
                    <a:pt x="1194" y="2598"/>
                  </a:lnTo>
                  <a:lnTo>
                    <a:pt x="1219" y="2629"/>
                  </a:lnTo>
                  <a:lnTo>
                    <a:pt x="1250" y="2653"/>
                  </a:lnTo>
                  <a:lnTo>
                    <a:pt x="1274" y="2678"/>
                  </a:lnTo>
                  <a:lnTo>
                    <a:pt x="1274" y="2765"/>
                  </a:lnTo>
                  <a:lnTo>
                    <a:pt x="1274" y="2789"/>
                  </a:lnTo>
                  <a:lnTo>
                    <a:pt x="1300" y="2789"/>
                  </a:lnTo>
                  <a:lnTo>
                    <a:pt x="1331" y="2815"/>
                  </a:lnTo>
                  <a:lnTo>
                    <a:pt x="1331" y="2789"/>
                  </a:lnTo>
                  <a:lnTo>
                    <a:pt x="1331" y="2765"/>
                  </a:lnTo>
                  <a:lnTo>
                    <a:pt x="1300" y="2709"/>
                  </a:lnTo>
                  <a:lnTo>
                    <a:pt x="1331" y="2709"/>
                  </a:lnTo>
                  <a:lnTo>
                    <a:pt x="1331" y="2678"/>
                  </a:lnTo>
                  <a:lnTo>
                    <a:pt x="1331" y="2653"/>
                  </a:lnTo>
                  <a:lnTo>
                    <a:pt x="1331" y="2629"/>
                  </a:lnTo>
                  <a:lnTo>
                    <a:pt x="1411" y="2598"/>
                  </a:lnTo>
                  <a:lnTo>
                    <a:pt x="1436" y="2653"/>
                  </a:lnTo>
                  <a:lnTo>
                    <a:pt x="1468" y="2653"/>
                  </a:lnTo>
                  <a:lnTo>
                    <a:pt x="1468" y="2678"/>
                  </a:lnTo>
                  <a:lnTo>
                    <a:pt x="1518" y="2734"/>
                  </a:lnTo>
                  <a:lnTo>
                    <a:pt x="1549" y="2709"/>
                  </a:lnTo>
                  <a:lnTo>
                    <a:pt x="1573" y="2765"/>
                  </a:lnTo>
                  <a:lnTo>
                    <a:pt x="1598" y="2765"/>
                  </a:lnTo>
                  <a:lnTo>
                    <a:pt x="1598" y="2734"/>
                  </a:lnTo>
                  <a:lnTo>
                    <a:pt x="1573" y="2734"/>
                  </a:lnTo>
                  <a:lnTo>
                    <a:pt x="1598" y="2709"/>
                  </a:lnTo>
                  <a:lnTo>
                    <a:pt x="1573" y="2678"/>
                  </a:lnTo>
                  <a:lnTo>
                    <a:pt x="1549" y="2678"/>
                  </a:lnTo>
                  <a:lnTo>
                    <a:pt x="1518" y="2653"/>
                  </a:lnTo>
                  <a:lnTo>
                    <a:pt x="1518" y="2629"/>
                  </a:lnTo>
                  <a:lnTo>
                    <a:pt x="1549" y="2598"/>
                  </a:lnTo>
                  <a:lnTo>
                    <a:pt x="1518" y="2573"/>
                  </a:lnTo>
                  <a:lnTo>
                    <a:pt x="1492" y="2517"/>
                  </a:lnTo>
                  <a:lnTo>
                    <a:pt x="1468" y="2468"/>
                  </a:lnTo>
                  <a:lnTo>
                    <a:pt x="1468" y="2437"/>
                  </a:lnTo>
                  <a:lnTo>
                    <a:pt x="1436" y="2437"/>
                  </a:lnTo>
                  <a:lnTo>
                    <a:pt x="1436" y="2411"/>
                  </a:lnTo>
                  <a:lnTo>
                    <a:pt x="1380" y="2330"/>
                  </a:lnTo>
                  <a:lnTo>
                    <a:pt x="1355" y="2330"/>
                  </a:lnTo>
                  <a:lnTo>
                    <a:pt x="1355" y="2299"/>
                  </a:lnTo>
                  <a:lnTo>
                    <a:pt x="1331" y="2275"/>
                  </a:lnTo>
                  <a:lnTo>
                    <a:pt x="1331" y="2220"/>
                  </a:lnTo>
                  <a:lnTo>
                    <a:pt x="1355" y="2220"/>
                  </a:lnTo>
                  <a:lnTo>
                    <a:pt x="1355" y="2251"/>
                  </a:lnTo>
                  <a:lnTo>
                    <a:pt x="1380" y="2251"/>
                  </a:lnTo>
                  <a:lnTo>
                    <a:pt x="1436" y="2251"/>
                  </a:lnTo>
                  <a:lnTo>
                    <a:pt x="1436" y="2275"/>
                  </a:lnTo>
                  <a:lnTo>
                    <a:pt x="1492" y="2275"/>
                  </a:lnTo>
                  <a:lnTo>
                    <a:pt x="1492" y="2299"/>
                  </a:lnTo>
                  <a:lnTo>
                    <a:pt x="1492" y="2330"/>
                  </a:lnTo>
                  <a:lnTo>
                    <a:pt x="1518" y="2330"/>
                  </a:lnTo>
                  <a:lnTo>
                    <a:pt x="1549" y="2330"/>
                  </a:lnTo>
                  <a:lnTo>
                    <a:pt x="1549" y="2299"/>
                  </a:lnTo>
                  <a:lnTo>
                    <a:pt x="1549" y="2275"/>
                  </a:lnTo>
                  <a:lnTo>
                    <a:pt x="1573" y="2275"/>
                  </a:lnTo>
                  <a:lnTo>
                    <a:pt x="1598" y="2275"/>
                  </a:lnTo>
                  <a:lnTo>
                    <a:pt x="1629" y="2275"/>
                  </a:lnTo>
                  <a:lnTo>
                    <a:pt x="1654" y="2251"/>
                  </a:lnTo>
                  <a:lnTo>
                    <a:pt x="1629" y="2251"/>
                  </a:lnTo>
                  <a:lnTo>
                    <a:pt x="1598" y="2220"/>
                  </a:lnTo>
                  <a:lnTo>
                    <a:pt x="1629" y="2220"/>
                  </a:lnTo>
                  <a:lnTo>
                    <a:pt x="1629" y="2194"/>
                  </a:lnTo>
                  <a:lnTo>
                    <a:pt x="1598" y="2220"/>
                  </a:lnTo>
                  <a:lnTo>
                    <a:pt x="1573" y="2194"/>
                  </a:lnTo>
                  <a:lnTo>
                    <a:pt x="1598" y="2170"/>
                  </a:lnTo>
                  <a:lnTo>
                    <a:pt x="1573" y="2170"/>
                  </a:lnTo>
                  <a:lnTo>
                    <a:pt x="1549" y="2170"/>
                  </a:lnTo>
                  <a:lnTo>
                    <a:pt x="1549" y="2194"/>
                  </a:lnTo>
                  <a:lnTo>
                    <a:pt x="1573" y="2194"/>
                  </a:lnTo>
                  <a:lnTo>
                    <a:pt x="1549" y="2220"/>
                  </a:lnTo>
                  <a:lnTo>
                    <a:pt x="1518" y="2194"/>
                  </a:lnTo>
                  <a:lnTo>
                    <a:pt x="1492" y="2194"/>
                  </a:lnTo>
                  <a:lnTo>
                    <a:pt x="1492" y="2170"/>
                  </a:lnTo>
                  <a:lnTo>
                    <a:pt x="1492" y="2139"/>
                  </a:lnTo>
                  <a:lnTo>
                    <a:pt x="1468" y="2139"/>
                  </a:lnTo>
                  <a:lnTo>
                    <a:pt x="1492" y="2114"/>
                  </a:lnTo>
                  <a:lnTo>
                    <a:pt x="1492" y="2083"/>
                  </a:lnTo>
                  <a:lnTo>
                    <a:pt x="1436" y="2083"/>
                  </a:lnTo>
                  <a:lnTo>
                    <a:pt x="1411" y="2083"/>
                  </a:lnTo>
                  <a:lnTo>
                    <a:pt x="1411" y="2058"/>
                  </a:lnTo>
                  <a:lnTo>
                    <a:pt x="1436" y="2058"/>
                  </a:lnTo>
                  <a:lnTo>
                    <a:pt x="1468" y="2033"/>
                  </a:lnTo>
                  <a:lnTo>
                    <a:pt x="1492" y="2002"/>
                  </a:lnTo>
                  <a:lnTo>
                    <a:pt x="1549" y="2002"/>
                  </a:lnTo>
                  <a:lnTo>
                    <a:pt x="1573" y="1978"/>
                  </a:lnTo>
                  <a:lnTo>
                    <a:pt x="1598" y="1953"/>
                  </a:lnTo>
                  <a:lnTo>
                    <a:pt x="1629" y="1978"/>
                  </a:lnTo>
                  <a:lnTo>
                    <a:pt x="1598" y="1978"/>
                  </a:lnTo>
                  <a:lnTo>
                    <a:pt x="1629" y="2002"/>
                  </a:lnTo>
                  <a:lnTo>
                    <a:pt x="1654" y="2002"/>
                  </a:lnTo>
                  <a:lnTo>
                    <a:pt x="1710" y="2058"/>
                  </a:lnTo>
                  <a:lnTo>
                    <a:pt x="1734" y="2058"/>
                  </a:lnTo>
                  <a:lnTo>
                    <a:pt x="1765" y="2058"/>
                  </a:lnTo>
                  <a:lnTo>
                    <a:pt x="1765" y="2083"/>
                  </a:lnTo>
                  <a:lnTo>
                    <a:pt x="1791" y="2083"/>
                  </a:lnTo>
                  <a:lnTo>
                    <a:pt x="1791" y="2114"/>
                  </a:lnTo>
                  <a:lnTo>
                    <a:pt x="1815" y="2114"/>
                  </a:lnTo>
                  <a:lnTo>
                    <a:pt x="1815" y="2083"/>
                  </a:lnTo>
                  <a:lnTo>
                    <a:pt x="1815" y="2033"/>
                  </a:lnTo>
                  <a:lnTo>
                    <a:pt x="1815" y="2002"/>
                  </a:lnTo>
                  <a:lnTo>
                    <a:pt x="1791" y="1978"/>
                  </a:lnTo>
                  <a:lnTo>
                    <a:pt x="1791" y="1953"/>
                  </a:lnTo>
                  <a:lnTo>
                    <a:pt x="1765" y="1897"/>
                  </a:lnTo>
                  <a:lnTo>
                    <a:pt x="1765" y="1873"/>
                  </a:lnTo>
                  <a:lnTo>
                    <a:pt x="1791" y="1897"/>
                  </a:lnTo>
                  <a:lnTo>
                    <a:pt x="1791" y="1842"/>
                  </a:lnTo>
                  <a:lnTo>
                    <a:pt x="1734" y="1816"/>
                  </a:lnTo>
                  <a:lnTo>
                    <a:pt x="1654" y="1816"/>
                  </a:lnTo>
                  <a:lnTo>
                    <a:pt x="1598" y="1816"/>
                  </a:lnTo>
                  <a:lnTo>
                    <a:pt x="1598" y="1785"/>
                  </a:lnTo>
                  <a:lnTo>
                    <a:pt x="1573" y="1761"/>
                  </a:lnTo>
                  <a:lnTo>
                    <a:pt x="1549" y="1735"/>
                  </a:lnTo>
                  <a:lnTo>
                    <a:pt x="1549" y="1761"/>
                  </a:lnTo>
                  <a:lnTo>
                    <a:pt x="1518" y="1735"/>
                  </a:lnTo>
                  <a:lnTo>
                    <a:pt x="1492" y="1761"/>
                  </a:lnTo>
                  <a:lnTo>
                    <a:pt x="1468" y="1761"/>
                  </a:lnTo>
                  <a:lnTo>
                    <a:pt x="1492" y="1735"/>
                  </a:lnTo>
                  <a:lnTo>
                    <a:pt x="1468" y="1705"/>
                  </a:lnTo>
                  <a:lnTo>
                    <a:pt x="1468" y="1680"/>
                  </a:lnTo>
                  <a:lnTo>
                    <a:pt x="1436" y="1680"/>
                  </a:lnTo>
                  <a:lnTo>
                    <a:pt x="1411" y="1680"/>
                  </a:lnTo>
                  <a:lnTo>
                    <a:pt x="1411" y="1705"/>
                  </a:lnTo>
                  <a:lnTo>
                    <a:pt x="1380" y="1705"/>
                  </a:lnTo>
                  <a:lnTo>
                    <a:pt x="1355" y="1680"/>
                  </a:lnTo>
                  <a:lnTo>
                    <a:pt x="1355" y="1655"/>
                  </a:lnTo>
                  <a:lnTo>
                    <a:pt x="1331" y="1655"/>
                  </a:lnTo>
                  <a:lnTo>
                    <a:pt x="1300" y="1655"/>
                  </a:lnTo>
                  <a:lnTo>
                    <a:pt x="1274" y="1655"/>
                  </a:lnTo>
                  <a:lnTo>
                    <a:pt x="1250" y="1655"/>
                  </a:lnTo>
                  <a:lnTo>
                    <a:pt x="1219" y="1655"/>
                  </a:lnTo>
                  <a:lnTo>
                    <a:pt x="1194" y="1655"/>
                  </a:lnTo>
                  <a:lnTo>
                    <a:pt x="1169" y="1655"/>
                  </a:lnTo>
                  <a:lnTo>
                    <a:pt x="1138" y="1655"/>
                  </a:lnTo>
                  <a:lnTo>
                    <a:pt x="1138" y="1624"/>
                  </a:lnTo>
                  <a:lnTo>
                    <a:pt x="1169" y="1599"/>
                  </a:lnTo>
                  <a:lnTo>
                    <a:pt x="1194" y="1624"/>
                  </a:lnTo>
                  <a:lnTo>
                    <a:pt x="1219" y="1624"/>
                  </a:lnTo>
                  <a:lnTo>
                    <a:pt x="1250" y="1599"/>
                  </a:lnTo>
                  <a:lnTo>
                    <a:pt x="1274" y="1568"/>
                  </a:lnTo>
                  <a:lnTo>
                    <a:pt x="1300" y="1568"/>
                  </a:lnTo>
                  <a:lnTo>
                    <a:pt x="1300" y="1544"/>
                  </a:lnTo>
                  <a:lnTo>
                    <a:pt x="1331" y="1519"/>
                  </a:lnTo>
                  <a:lnTo>
                    <a:pt x="1300" y="1519"/>
                  </a:lnTo>
                  <a:lnTo>
                    <a:pt x="1274" y="1488"/>
                  </a:lnTo>
                  <a:lnTo>
                    <a:pt x="1250" y="1463"/>
                  </a:lnTo>
                  <a:lnTo>
                    <a:pt x="1219" y="1463"/>
                  </a:lnTo>
                  <a:lnTo>
                    <a:pt x="1219" y="1438"/>
                  </a:lnTo>
                  <a:lnTo>
                    <a:pt x="1250" y="1407"/>
                  </a:lnTo>
                  <a:lnTo>
                    <a:pt x="1274" y="1383"/>
                  </a:lnTo>
                  <a:lnTo>
                    <a:pt x="1300" y="1407"/>
                  </a:lnTo>
                  <a:lnTo>
                    <a:pt x="1355" y="1383"/>
                  </a:lnTo>
                  <a:lnTo>
                    <a:pt x="1380" y="1438"/>
                  </a:lnTo>
                  <a:lnTo>
                    <a:pt x="1355" y="1488"/>
                  </a:lnTo>
                  <a:lnTo>
                    <a:pt x="1331" y="1463"/>
                  </a:lnTo>
                  <a:lnTo>
                    <a:pt x="1331" y="1488"/>
                  </a:lnTo>
                  <a:lnTo>
                    <a:pt x="1380" y="1488"/>
                  </a:lnTo>
                  <a:lnTo>
                    <a:pt x="1380" y="1463"/>
                  </a:lnTo>
                  <a:lnTo>
                    <a:pt x="1411" y="1463"/>
                  </a:lnTo>
                  <a:lnTo>
                    <a:pt x="1436" y="1438"/>
                  </a:lnTo>
                  <a:lnTo>
                    <a:pt x="1380" y="1383"/>
                  </a:lnTo>
                  <a:lnTo>
                    <a:pt x="1274" y="1271"/>
                  </a:lnTo>
                  <a:lnTo>
                    <a:pt x="1219" y="1271"/>
                  </a:lnTo>
                  <a:lnTo>
                    <a:pt x="1194" y="1166"/>
                  </a:lnTo>
                  <a:lnTo>
                    <a:pt x="1138" y="1141"/>
                  </a:lnTo>
                  <a:lnTo>
                    <a:pt x="1113" y="1110"/>
                  </a:lnTo>
                  <a:lnTo>
                    <a:pt x="1082" y="1085"/>
                  </a:lnTo>
                  <a:lnTo>
                    <a:pt x="1058" y="1085"/>
                  </a:lnTo>
                  <a:lnTo>
                    <a:pt x="1032" y="1004"/>
                  </a:lnTo>
                  <a:lnTo>
                    <a:pt x="1058" y="974"/>
                  </a:lnTo>
                  <a:lnTo>
                    <a:pt x="1058" y="924"/>
                  </a:lnTo>
                  <a:lnTo>
                    <a:pt x="1058" y="893"/>
                  </a:lnTo>
                  <a:lnTo>
                    <a:pt x="1032" y="868"/>
                  </a:lnTo>
                  <a:lnTo>
                    <a:pt x="1058" y="868"/>
                  </a:lnTo>
                  <a:lnTo>
                    <a:pt x="1058" y="843"/>
                  </a:lnTo>
                  <a:lnTo>
                    <a:pt x="1082" y="843"/>
                  </a:lnTo>
                  <a:lnTo>
                    <a:pt x="1082" y="812"/>
                  </a:lnTo>
                  <a:lnTo>
                    <a:pt x="1113" y="788"/>
                  </a:lnTo>
                  <a:lnTo>
                    <a:pt x="1138" y="762"/>
                  </a:lnTo>
                  <a:lnTo>
                    <a:pt x="1169" y="812"/>
                  </a:lnTo>
                  <a:lnTo>
                    <a:pt x="1138" y="843"/>
                  </a:lnTo>
                  <a:lnTo>
                    <a:pt x="1113" y="843"/>
                  </a:lnTo>
                  <a:lnTo>
                    <a:pt x="1113" y="868"/>
                  </a:lnTo>
                  <a:lnTo>
                    <a:pt x="1138" y="868"/>
                  </a:lnTo>
                  <a:lnTo>
                    <a:pt x="1169" y="893"/>
                  </a:lnTo>
                  <a:lnTo>
                    <a:pt x="1194" y="893"/>
                  </a:lnTo>
                  <a:lnTo>
                    <a:pt x="1194" y="924"/>
                  </a:lnTo>
                  <a:lnTo>
                    <a:pt x="1331" y="924"/>
                  </a:lnTo>
                  <a:lnTo>
                    <a:pt x="1331" y="948"/>
                  </a:lnTo>
                  <a:lnTo>
                    <a:pt x="1331" y="1004"/>
                  </a:lnTo>
                  <a:lnTo>
                    <a:pt x="1355" y="1004"/>
                  </a:lnTo>
                  <a:lnTo>
                    <a:pt x="1355" y="1029"/>
                  </a:lnTo>
                  <a:lnTo>
                    <a:pt x="1355" y="1060"/>
                  </a:lnTo>
                  <a:lnTo>
                    <a:pt x="1411" y="1060"/>
                  </a:lnTo>
                  <a:lnTo>
                    <a:pt x="1436" y="1060"/>
                  </a:lnTo>
                  <a:lnTo>
                    <a:pt x="1492" y="1060"/>
                  </a:lnTo>
                  <a:lnTo>
                    <a:pt x="1468" y="1029"/>
                  </a:lnTo>
                  <a:lnTo>
                    <a:pt x="1411" y="1004"/>
                  </a:lnTo>
                  <a:lnTo>
                    <a:pt x="1355" y="974"/>
                  </a:lnTo>
                  <a:lnTo>
                    <a:pt x="1331" y="948"/>
                  </a:lnTo>
                  <a:lnTo>
                    <a:pt x="1331" y="924"/>
                  </a:lnTo>
                  <a:lnTo>
                    <a:pt x="1355" y="893"/>
                  </a:lnTo>
                  <a:lnTo>
                    <a:pt x="1380" y="924"/>
                  </a:lnTo>
                  <a:lnTo>
                    <a:pt x="1436" y="924"/>
                  </a:lnTo>
                  <a:lnTo>
                    <a:pt x="1492" y="974"/>
                  </a:lnTo>
                  <a:lnTo>
                    <a:pt x="1549" y="1029"/>
                  </a:lnTo>
                  <a:lnTo>
                    <a:pt x="1598" y="1029"/>
                  </a:lnTo>
                  <a:lnTo>
                    <a:pt x="1598" y="1004"/>
                  </a:lnTo>
                  <a:lnTo>
                    <a:pt x="1573" y="948"/>
                  </a:lnTo>
                  <a:lnTo>
                    <a:pt x="1549" y="924"/>
                  </a:lnTo>
                  <a:lnTo>
                    <a:pt x="1492" y="924"/>
                  </a:lnTo>
                  <a:lnTo>
                    <a:pt x="1436" y="893"/>
                  </a:lnTo>
                  <a:lnTo>
                    <a:pt x="1468" y="843"/>
                  </a:lnTo>
                  <a:lnTo>
                    <a:pt x="1492" y="843"/>
                  </a:lnTo>
                  <a:lnTo>
                    <a:pt x="1549" y="843"/>
                  </a:lnTo>
                  <a:lnTo>
                    <a:pt x="1573" y="843"/>
                  </a:lnTo>
                  <a:lnTo>
                    <a:pt x="1629" y="843"/>
                  </a:lnTo>
                  <a:lnTo>
                    <a:pt x="1654" y="893"/>
                  </a:lnTo>
                  <a:lnTo>
                    <a:pt x="1679" y="924"/>
                  </a:lnTo>
                  <a:lnTo>
                    <a:pt x="1734" y="893"/>
                  </a:lnTo>
                  <a:lnTo>
                    <a:pt x="1654" y="843"/>
                  </a:lnTo>
                  <a:lnTo>
                    <a:pt x="1629" y="812"/>
                  </a:lnTo>
                  <a:lnTo>
                    <a:pt x="1573" y="812"/>
                  </a:lnTo>
                  <a:lnTo>
                    <a:pt x="1549" y="788"/>
                  </a:lnTo>
                  <a:lnTo>
                    <a:pt x="1549" y="812"/>
                  </a:lnTo>
                  <a:lnTo>
                    <a:pt x="1492" y="812"/>
                  </a:lnTo>
                  <a:lnTo>
                    <a:pt x="1492" y="762"/>
                  </a:lnTo>
                  <a:lnTo>
                    <a:pt x="1492" y="731"/>
                  </a:lnTo>
                  <a:lnTo>
                    <a:pt x="1468" y="731"/>
                  </a:lnTo>
                  <a:lnTo>
                    <a:pt x="1436" y="707"/>
                  </a:lnTo>
                  <a:lnTo>
                    <a:pt x="1411" y="676"/>
                  </a:lnTo>
                  <a:lnTo>
                    <a:pt x="1436" y="651"/>
                  </a:lnTo>
                  <a:lnTo>
                    <a:pt x="1468" y="626"/>
                  </a:lnTo>
                  <a:lnTo>
                    <a:pt x="1492" y="651"/>
                  </a:lnTo>
                  <a:lnTo>
                    <a:pt x="1549" y="651"/>
                  </a:lnTo>
                  <a:lnTo>
                    <a:pt x="1573" y="626"/>
                  </a:lnTo>
                  <a:lnTo>
                    <a:pt x="1629" y="570"/>
                  </a:lnTo>
                  <a:lnTo>
                    <a:pt x="1629" y="546"/>
                  </a:lnTo>
                  <a:lnTo>
                    <a:pt x="1654" y="515"/>
                  </a:lnTo>
                  <a:lnTo>
                    <a:pt x="1679" y="515"/>
                  </a:lnTo>
                  <a:lnTo>
                    <a:pt x="1734" y="546"/>
                  </a:lnTo>
                  <a:lnTo>
                    <a:pt x="1765" y="515"/>
                  </a:lnTo>
                  <a:lnTo>
                    <a:pt x="1765" y="546"/>
                  </a:lnTo>
                  <a:lnTo>
                    <a:pt x="1815" y="546"/>
                  </a:lnTo>
                  <a:lnTo>
                    <a:pt x="1846" y="490"/>
                  </a:lnTo>
                  <a:lnTo>
                    <a:pt x="1871" y="490"/>
                  </a:lnTo>
                  <a:lnTo>
                    <a:pt x="1871" y="434"/>
                  </a:lnTo>
                  <a:lnTo>
                    <a:pt x="1928" y="434"/>
                  </a:lnTo>
                  <a:lnTo>
                    <a:pt x="1896" y="459"/>
                  </a:lnTo>
                  <a:lnTo>
                    <a:pt x="1952" y="459"/>
                  </a:lnTo>
                  <a:lnTo>
                    <a:pt x="1978" y="459"/>
                  </a:lnTo>
                  <a:lnTo>
                    <a:pt x="2064" y="459"/>
                  </a:lnTo>
                  <a:lnTo>
                    <a:pt x="2089" y="459"/>
                  </a:lnTo>
                  <a:lnTo>
                    <a:pt x="2145" y="459"/>
                  </a:lnTo>
                  <a:lnTo>
                    <a:pt x="2194" y="459"/>
                  </a:lnTo>
                  <a:lnTo>
                    <a:pt x="2251" y="459"/>
                  </a:lnTo>
                  <a:lnTo>
                    <a:pt x="2251" y="490"/>
                  </a:lnTo>
                  <a:lnTo>
                    <a:pt x="2282" y="490"/>
                  </a:lnTo>
                  <a:lnTo>
                    <a:pt x="2282" y="459"/>
                  </a:lnTo>
                  <a:lnTo>
                    <a:pt x="2306" y="379"/>
                  </a:lnTo>
                  <a:lnTo>
                    <a:pt x="2331" y="410"/>
                  </a:lnTo>
                  <a:lnTo>
                    <a:pt x="2362" y="353"/>
                  </a:lnTo>
                  <a:lnTo>
                    <a:pt x="2362" y="329"/>
                  </a:lnTo>
                  <a:lnTo>
                    <a:pt x="2331" y="298"/>
                  </a:lnTo>
                  <a:lnTo>
                    <a:pt x="2306" y="248"/>
                  </a:lnTo>
                  <a:lnTo>
                    <a:pt x="2331" y="217"/>
                  </a:lnTo>
                  <a:lnTo>
                    <a:pt x="2362" y="192"/>
                  </a:lnTo>
                  <a:lnTo>
                    <a:pt x="2412" y="161"/>
                  </a:lnTo>
                  <a:lnTo>
                    <a:pt x="2388" y="112"/>
                  </a:lnTo>
                  <a:lnTo>
                    <a:pt x="2388" y="56"/>
                  </a:lnTo>
                  <a:lnTo>
                    <a:pt x="2331" y="31"/>
                  </a:lnTo>
                  <a:lnTo>
                    <a:pt x="2306" y="0"/>
                  </a:lnTo>
                  <a:lnTo>
                    <a:pt x="2251" y="0"/>
                  </a:lnTo>
                  <a:lnTo>
                    <a:pt x="2170" y="0"/>
                  </a:lnTo>
                  <a:lnTo>
                    <a:pt x="2170" y="31"/>
                  </a:lnTo>
                  <a:lnTo>
                    <a:pt x="2170" y="56"/>
                  </a:lnTo>
                  <a:lnTo>
                    <a:pt x="2194" y="56"/>
                  </a:lnTo>
                  <a:lnTo>
                    <a:pt x="2194" y="81"/>
                  </a:lnTo>
                  <a:lnTo>
                    <a:pt x="2194" y="112"/>
                  </a:lnTo>
                  <a:lnTo>
                    <a:pt x="2225" y="136"/>
                  </a:lnTo>
                  <a:lnTo>
                    <a:pt x="2225" y="161"/>
                  </a:lnTo>
                  <a:lnTo>
                    <a:pt x="2225" y="192"/>
                  </a:lnTo>
                  <a:lnTo>
                    <a:pt x="2194" y="192"/>
                  </a:lnTo>
                  <a:lnTo>
                    <a:pt x="2170" y="217"/>
                  </a:lnTo>
                  <a:lnTo>
                    <a:pt x="2145" y="217"/>
                  </a:lnTo>
                  <a:lnTo>
                    <a:pt x="2114" y="217"/>
                  </a:lnTo>
                  <a:lnTo>
                    <a:pt x="2089" y="217"/>
                  </a:lnTo>
                  <a:lnTo>
                    <a:pt x="2064" y="248"/>
                  </a:lnTo>
                  <a:lnTo>
                    <a:pt x="2033" y="248"/>
                  </a:lnTo>
                  <a:lnTo>
                    <a:pt x="2009" y="272"/>
                  </a:lnTo>
                  <a:lnTo>
                    <a:pt x="1978" y="272"/>
                  </a:lnTo>
                  <a:lnTo>
                    <a:pt x="1978" y="298"/>
                  </a:lnTo>
                  <a:lnTo>
                    <a:pt x="1952" y="298"/>
                  </a:lnTo>
                  <a:lnTo>
                    <a:pt x="1928" y="329"/>
                  </a:lnTo>
                  <a:lnTo>
                    <a:pt x="1871" y="272"/>
                  </a:lnTo>
                  <a:lnTo>
                    <a:pt x="1846" y="272"/>
                  </a:lnTo>
                  <a:lnTo>
                    <a:pt x="1765" y="272"/>
                  </a:lnTo>
                  <a:lnTo>
                    <a:pt x="1765" y="298"/>
                  </a:lnTo>
                  <a:lnTo>
                    <a:pt x="1734" y="298"/>
                  </a:lnTo>
                  <a:lnTo>
                    <a:pt x="1734" y="272"/>
                  </a:lnTo>
                  <a:lnTo>
                    <a:pt x="1710" y="272"/>
                  </a:lnTo>
                  <a:lnTo>
                    <a:pt x="1679" y="272"/>
                  </a:lnTo>
                  <a:lnTo>
                    <a:pt x="1654" y="248"/>
                  </a:lnTo>
                  <a:lnTo>
                    <a:pt x="1654" y="217"/>
                  </a:lnTo>
                  <a:lnTo>
                    <a:pt x="1629" y="217"/>
                  </a:lnTo>
                  <a:lnTo>
                    <a:pt x="1629" y="248"/>
                  </a:lnTo>
                  <a:lnTo>
                    <a:pt x="1598" y="248"/>
                  </a:lnTo>
                  <a:lnTo>
                    <a:pt x="1573" y="248"/>
                  </a:lnTo>
                  <a:lnTo>
                    <a:pt x="1549" y="248"/>
                  </a:lnTo>
                  <a:lnTo>
                    <a:pt x="1518" y="248"/>
                  </a:lnTo>
                  <a:lnTo>
                    <a:pt x="1492" y="248"/>
                  </a:lnTo>
                  <a:lnTo>
                    <a:pt x="1468" y="272"/>
                  </a:lnTo>
                  <a:lnTo>
                    <a:pt x="1492" y="298"/>
                  </a:lnTo>
                  <a:lnTo>
                    <a:pt x="1436" y="298"/>
                  </a:lnTo>
                  <a:lnTo>
                    <a:pt x="1411" y="298"/>
                  </a:lnTo>
                  <a:lnTo>
                    <a:pt x="1411" y="329"/>
                  </a:lnTo>
                  <a:lnTo>
                    <a:pt x="1380" y="329"/>
                  </a:lnTo>
                  <a:lnTo>
                    <a:pt x="1380" y="353"/>
                  </a:lnTo>
                  <a:lnTo>
                    <a:pt x="1355" y="353"/>
                  </a:lnTo>
                  <a:lnTo>
                    <a:pt x="1331" y="379"/>
                  </a:lnTo>
                  <a:lnTo>
                    <a:pt x="1274" y="379"/>
                  </a:lnTo>
                  <a:lnTo>
                    <a:pt x="1250" y="379"/>
                  </a:lnTo>
                  <a:lnTo>
                    <a:pt x="1219" y="379"/>
                  </a:lnTo>
                  <a:lnTo>
                    <a:pt x="1194" y="379"/>
                  </a:lnTo>
                  <a:lnTo>
                    <a:pt x="1194" y="410"/>
                  </a:lnTo>
                  <a:lnTo>
                    <a:pt x="1169" y="434"/>
                  </a:lnTo>
                  <a:lnTo>
                    <a:pt x="1138" y="434"/>
                  </a:lnTo>
                  <a:lnTo>
                    <a:pt x="1113" y="410"/>
                  </a:lnTo>
                  <a:lnTo>
                    <a:pt x="1082" y="434"/>
                  </a:lnTo>
                  <a:lnTo>
                    <a:pt x="1058" y="434"/>
                  </a:lnTo>
                  <a:lnTo>
                    <a:pt x="1032" y="434"/>
                  </a:lnTo>
                  <a:lnTo>
                    <a:pt x="1032" y="459"/>
                  </a:lnTo>
                  <a:lnTo>
                    <a:pt x="1032" y="515"/>
                  </a:lnTo>
                  <a:lnTo>
                    <a:pt x="1001" y="515"/>
                  </a:lnTo>
                  <a:lnTo>
                    <a:pt x="976" y="546"/>
                  </a:lnTo>
                  <a:lnTo>
                    <a:pt x="951" y="546"/>
                  </a:lnTo>
                  <a:lnTo>
                    <a:pt x="895" y="570"/>
                  </a:lnTo>
                  <a:lnTo>
                    <a:pt x="814" y="570"/>
                  </a:lnTo>
                  <a:lnTo>
                    <a:pt x="783" y="570"/>
                  </a:lnTo>
                  <a:lnTo>
                    <a:pt x="734" y="626"/>
                  </a:lnTo>
                  <a:lnTo>
                    <a:pt x="703" y="651"/>
                  </a:lnTo>
                  <a:lnTo>
                    <a:pt x="703" y="707"/>
                  </a:lnTo>
                  <a:lnTo>
                    <a:pt x="653" y="707"/>
                  </a:lnTo>
                  <a:lnTo>
                    <a:pt x="622" y="731"/>
                  </a:lnTo>
                  <a:lnTo>
                    <a:pt x="572" y="731"/>
                  </a:lnTo>
                  <a:lnTo>
                    <a:pt x="541" y="762"/>
                  </a:lnTo>
                  <a:lnTo>
                    <a:pt x="485" y="762"/>
                  </a:lnTo>
                  <a:lnTo>
                    <a:pt x="435" y="762"/>
                  </a:lnTo>
                  <a:lnTo>
                    <a:pt x="435" y="843"/>
                  </a:lnTo>
                  <a:lnTo>
                    <a:pt x="460" y="868"/>
                  </a:lnTo>
                  <a:lnTo>
                    <a:pt x="460" y="893"/>
                  </a:lnTo>
                  <a:lnTo>
                    <a:pt x="460" y="924"/>
                  </a:lnTo>
                  <a:lnTo>
                    <a:pt x="460" y="948"/>
                  </a:lnTo>
                  <a:lnTo>
                    <a:pt x="435" y="948"/>
                  </a:lnTo>
                  <a:lnTo>
                    <a:pt x="435" y="974"/>
                  </a:lnTo>
                  <a:lnTo>
                    <a:pt x="404" y="974"/>
                  </a:lnTo>
                  <a:lnTo>
                    <a:pt x="404" y="1004"/>
                  </a:lnTo>
                  <a:lnTo>
                    <a:pt x="380" y="1004"/>
                  </a:lnTo>
                  <a:lnTo>
                    <a:pt x="380" y="1029"/>
                  </a:lnTo>
                  <a:lnTo>
                    <a:pt x="380" y="1060"/>
                  </a:lnTo>
                  <a:lnTo>
                    <a:pt x="354" y="1085"/>
                  </a:lnTo>
                  <a:lnTo>
                    <a:pt x="380" y="1085"/>
                  </a:lnTo>
                  <a:lnTo>
                    <a:pt x="380" y="1110"/>
                  </a:lnTo>
                  <a:lnTo>
                    <a:pt x="354" y="1110"/>
                  </a:lnTo>
                  <a:lnTo>
                    <a:pt x="354" y="1141"/>
                  </a:lnTo>
                  <a:lnTo>
                    <a:pt x="380" y="1141"/>
                  </a:lnTo>
                  <a:lnTo>
                    <a:pt x="354" y="1141"/>
                  </a:lnTo>
                  <a:lnTo>
                    <a:pt x="354" y="1166"/>
                  </a:lnTo>
                  <a:lnTo>
                    <a:pt x="323" y="1190"/>
                  </a:lnTo>
                  <a:lnTo>
                    <a:pt x="299" y="1190"/>
                  </a:lnTo>
                  <a:lnTo>
                    <a:pt x="274" y="1190"/>
                  </a:lnTo>
                  <a:lnTo>
                    <a:pt x="274" y="1221"/>
                  </a:lnTo>
                  <a:lnTo>
                    <a:pt x="274" y="1246"/>
                  </a:lnTo>
                  <a:lnTo>
                    <a:pt x="243" y="1246"/>
                  </a:lnTo>
                  <a:lnTo>
                    <a:pt x="243" y="1271"/>
                  </a:lnTo>
                  <a:lnTo>
                    <a:pt x="274" y="1271"/>
                  </a:lnTo>
                  <a:lnTo>
                    <a:pt x="274" y="1302"/>
                  </a:lnTo>
                  <a:lnTo>
                    <a:pt x="274" y="1326"/>
                  </a:lnTo>
                  <a:lnTo>
                    <a:pt x="243" y="1326"/>
                  </a:lnTo>
                  <a:lnTo>
                    <a:pt x="243" y="1357"/>
                  </a:lnTo>
                  <a:lnTo>
                    <a:pt x="243" y="1383"/>
                  </a:lnTo>
                  <a:lnTo>
                    <a:pt x="218" y="1383"/>
                  </a:lnTo>
                  <a:lnTo>
                    <a:pt x="218" y="1407"/>
                  </a:lnTo>
                  <a:lnTo>
                    <a:pt x="187" y="1407"/>
                  </a:lnTo>
                  <a:lnTo>
                    <a:pt x="162" y="1407"/>
                  </a:lnTo>
                  <a:lnTo>
                    <a:pt x="138" y="1383"/>
                  </a:lnTo>
                  <a:lnTo>
                    <a:pt x="138" y="1407"/>
                  </a:lnTo>
                  <a:close/>
                  <a:moveTo>
                    <a:pt x="218" y="1599"/>
                  </a:moveTo>
                  <a:lnTo>
                    <a:pt x="218" y="1624"/>
                  </a:lnTo>
                  <a:lnTo>
                    <a:pt x="243" y="1624"/>
                  </a:lnTo>
                  <a:lnTo>
                    <a:pt x="274" y="1655"/>
                  </a:lnTo>
                  <a:lnTo>
                    <a:pt x="243" y="1599"/>
                  </a:lnTo>
                  <a:lnTo>
                    <a:pt x="218" y="1599"/>
                  </a:lnTo>
                  <a:close/>
                  <a:moveTo>
                    <a:pt x="435" y="2083"/>
                  </a:moveTo>
                  <a:lnTo>
                    <a:pt x="404" y="2114"/>
                  </a:lnTo>
                  <a:lnTo>
                    <a:pt x="435" y="2139"/>
                  </a:lnTo>
                  <a:lnTo>
                    <a:pt x="460" y="2139"/>
                  </a:lnTo>
                  <a:lnTo>
                    <a:pt x="485" y="2114"/>
                  </a:lnTo>
                  <a:lnTo>
                    <a:pt x="541" y="2139"/>
                  </a:lnTo>
                  <a:lnTo>
                    <a:pt x="572" y="2139"/>
                  </a:lnTo>
                  <a:lnTo>
                    <a:pt x="541" y="2114"/>
                  </a:lnTo>
                  <a:lnTo>
                    <a:pt x="517" y="2058"/>
                  </a:lnTo>
                  <a:lnTo>
                    <a:pt x="517" y="2033"/>
                  </a:lnTo>
                  <a:lnTo>
                    <a:pt x="485" y="2033"/>
                  </a:lnTo>
                  <a:lnTo>
                    <a:pt x="485" y="2058"/>
                  </a:lnTo>
                  <a:lnTo>
                    <a:pt x="460" y="2033"/>
                  </a:lnTo>
                  <a:lnTo>
                    <a:pt x="460" y="2002"/>
                  </a:lnTo>
                  <a:lnTo>
                    <a:pt x="460" y="1978"/>
                  </a:lnTo>
                  <a:lnTo>
                    <a:pt x="435" y="1953"/>
                  </a:lnTo>
                  <a:lnTo>
                    <a:pt x="435" y="2002"/>
                  </a:lnTo>
                  <a:lnTo>
                    <a:pt x="404" y="2033"/>
                  </a:lnTo>
                  <a:lnTo>
                    <a:pt x="404" y="2002"/>
                  </a:lnTo>
                  <a:lnTo>
                    <a:pt x="380" y="2033"/>
                  </a:lnTo>
                  <a:lnTo>
                    <a:pt x="380" y="2058"/>
                  </a:lnTo>
                  <a:lnTo>
                    <a:pt x="380" y="2083"/>
                  </a:lnTo>
                  <a:lnTo>
                    <a:pt x="404" y="2114"/>
                  </a:lnTo>
                  <a:lnTo>
                    <a:pt x="404" y="2083"/>
                  </a:lnTo>
                  <a:lnTo>
                    <a:pt x="404" y="2058"/>
                  </a:lnTo>
                  <a:lnTo>
                    <a:pt x="435" y="2083"/>
                  </a:lnTo>
                  <a:close/>
                  <a:moveTo>
                    <a:pt x="460" y="1953"/>
                  </a:moveTo>
                  <a:lnTo>
                    <a:pt x="517" y="2033"/>
                  </a:lnTo>
                  <a:lnTo>
                    <a:pt x="517" y="2002"/>
                  </a:lnTo>
                  <a:lnTo>
                    <a:pt x="517" y="1978"/>
                  </a:lnTo>
                  <a:lnTo>
                    <a:pt x="485" y="1978"/>
                  </a:lnTo>
                  <a:lnTo>
                    <a:pt x="485" y="1953"/>
                  </a:lnTo>
                  <a:lnTo>
                    <a:pt x="485" y="1921"/>
                  </a:lnTo>
                  <a:lnTo>
                    <a:pt x="460" y="1953"/>
                  </a:lnTo>
                  <a:close/>
                  <a:moveTo>
                    <a:pt x="460" y="1761"/>
                  </a:moveTo>
                  <a:lnTo>
                    <a:pt x="435" y="1761"/>
                  </a:lnTo>
                  <a:lnTo>
                    <a:pt x="435" y="1816"/>
                  </a:lnTo>
                  <a:lnTo>
                    <a:pt x="435" y="1897"/>
                  </a:lnTo>
                  <a:lnTo>
                    <a:pt x="435" y="1873"/>
                  </a:lnTo>
                  <a:lnTo>
                    <a:pt x="460" y="1897"/>
                  </a:lnTo>
                  <a:lnTo>
                    <a:pt x="485" y="1873"/>
                  </a:lnTo>
                  <a:lnTo>
                    <a:pt x="485" y="1842"/>
                  </a:lnTo>
                  <a:lnTo>
                    <a:pt x="485" y="1873"/>
                  </a:lnTo>
                  <a:lnTo>
                    <a:pt x="517" y="1873"/>
                  </a:lnTo>
                  <a:lnTo>
                    <a:pt x="517" y="1842"/>
                  </a:lnTo>
                  <a:lnTo>
                    <a:pt x="485" y="1842"/>
                  </a:lnTo>
                  <a:lnTo>
                    <a:pt x="460" y="1842"/>
                  </a:lnTo>
                  <a:lnTo>
                    <a:pt x="485" y="1816"/>
                  </a:lnTo>
                  <a:lnTo>
                    <a:pt x="460" y="1761"/>
                  </a:lnTo>
                  <a:close/>
                  <a:moveTo>
                    <a:pt x="653" y="2299"/>
                  </a:moveTo>
                  <a:lnTo>
                    <a:pt x="653" y="2275"/>
                  </a:lnTo>
                  <a:lnTo>
                    <a:pt x="622" y="2275"/>
                  </a:lnTo>
                  <a:lnTo>
                    <a:pt x="622" y="2251"/>
                  </a:lnTo>
                  <a:lnTo>
                    <a:pt x="572" y="2251"/>
                  </a:lnTo>
                  <a:lnTo>
                    <a:pt x="541" y="2251"/>
                  </a:lnTo>
                  <a:lnTo>
                    <a:pt x="541" y="2220"/>
                  </a:lnTo>
                  <a:lnTo>
                    <a:pt x="517" y="2194"/>
                  </a:lnTo>
                  <a:lnTo>
                    <a:pt x="517" y="2220"/>
                  </a:lnTo>
                  <a:lnTo>
                    <a:pt x="517" y="2275"/>
                  </a:lnTo>
                  <a:lnTo>
                    <a:pt x="598" y="2330"/>
                  </a:lnTo>
                  <a:lnTo>
                    <a:pt x="598" y="2299"/>
                  </a:lnTo>
                  <a:lnTo>
                    <a:pt x="622" y="2275"/>
                  </a:lnTo>
                  <a:lnTo>
                    <a:pt x="653" y="2299"/>
                  </a:lnTo>
                  <a:close/>
                  <a:moveTo>
                    <a:pt x="1518" y="1407"/>
                  </a:moveTo>
                  <a:lnTo>
                    <a:pt x="1549" y="1463"/>
                  </a:lnTo>
                  <a:lnTo>
                    <a:pt x="1573" y="1463"/>
                  </a:lnTo>
                  <a:lnTo>
                    <a:pt x="1598" y="1438"/>
                  </a:lnTo>
                  <a:lnTo>
                    <a:pt x="1573" y="1438"/>
                  </a:lnTo>
                  <a:lnTo>
                    <a:pt x="1518" y="1407"/>
                  </a:lnTo>
                  <a:close/>
                  <a:moveTo>
                    <a:pt x="1518" y="2789"/>
                  </a:moveTo>
                  <a:lnTo>
                    <a:pt x="1518" y="2815"/>
                  </a:lnTo>
                  <a:lnTo>
                    <a:pt x="1518" y="2870"/>
                  </a:lnTo>
                  <a:lnTo>
                    <a:pt x="1549" y="2896"/>
                  </a:lnTo>
                  <a:lnTo>
                    <a:pt x="1573" y="2896"/>
                  </a:lnTo>
                  <a:lnTo>
                    <a:pt x="1573" y="2870"/>
                  </a:lnTo>
                  <a:lnTo>
                    <a:pt x="1598" y="2846"/>
                  </a:lnTo>
                  <a:lnTo>
                    <a:pt x="1573" y="2815"/>
                  </a:lnTo>
                  <a:lnTo>
                    <a:pt x="1549" y="2815"/>
                  </a:lnTo>
                  <a:lnTo>
                    <a:pt x="1518" y="2789"/>
                  </a:lnTo>
                  <a:close/>
                  <a:moveTo>
                    <a:pt x="1573" y="2114"/>
                  </a:moveTo>
                  <a:lnTo>
                    <a:pt x="1598" y="2114"/>
                  </a:lnTo>
                  <a:lnTo>
                    <a:pt x="1598" y="2139"/>
                  </a:lnTo>
                  <a:lnTo>
                    <a:pt x="1629" y="2114"/>
                  </a:lnTo>
                  <a:lnTo>
                    <a:pt x="1629" y="2083"/>
                  </a:lnTo>
                  <a:lnTo>
                    <a:pt x="1573" y="2114"/>
                  </a:lnTo>
                  <a:close/>
                  <a:moveTo>
                    <a:pt x="1598" y="1599"/>
                  </a:moveTo>
                  <a:lnTo>
                    <a:pt x="1549" y="1599"/>
                  </a:lnTo>
                  <a:lnTo>
                    <a:pt x="1492" y="1568"/>
                  </a:lnTo>
                  <a:lnTo>
                    <a:pt x="1468" y="1544"/>
                  </a:lnTo>
                  <a:lnTo>
                    <a:pt x="1436" y="1519"/>
                  </a:lnTo>
                  <a:lnTo>
                    <a:pt x="1411" y="1488"/>
                  </a:lnTo>
                  <a:lnTo>
                    <a:pt x="1355" y="1519"/>
                  </a:lnTo>
                  <a:lnTo>
                    <a:pt x="1355" y="1544"/>
                  </a:lnTo>
                  <a:lnTo>
                    <a:pt x="1274" y="1624"/>
                  </a:lnTo>
                  <a:lnTo>
                    <a:pt x="1300" y="1599"/>
                  </a:lnTo>
                  <a:lnTo>
                    <a:pt x="1331" y="1599"/>
                  </a:lnTo>
                  <a:lnTo>
                    <a:pt x="1355" y="1599"/>
                  </a:lnTo>
                  <a:lnTo>
                    <a:pt x="1380" y="1599"/>
                  </a:lnTo>
                  <a:lnTo>
                    <a:pt x="1436" y="1624"/>
                  </a:lnTo>
                  <a:lnTo>
                    <a:pt x="1492" y="1655"/>
                  </a:lnTo>
                  <a:lnTo>
                    <a:pt x="1518" y="1705"/>
                  </a:lnTo>
                  <a:lnTo>
                    <a:pt x="1573" y="1705"/>
                  </a:lnTo>
                  <a:lnTo>
                    <a:pt x="1598" y="1735"/>
                  </a:lnTo>
                  <a:lnTo>
                    <a:pt x="1598" y="1761"/>
                  </a:lnTo>
                  <a:lnTo>
                    <a:pt x="1629" y="1785"/>
                  </a:lnTo>
                  <a:lnTo>
                    <a:pt x="1765" y="1761"/>
                  </a:lnTo>
                  <a:lnTo>
                    <a:pt x="1765" y="1785"/>
                  </a:lnTo>
                  <a:lnTo>
                    <a:pt x="1791" y="1785"/>
                  </a:lnTo>
                  <a:lnTo>
                    <a:pt x="1791" y="1816"/>
                  </a:lnTo>
                  <a:lnTo>
                    <a:pt x="1846" y="1842"/>
                  </a:lnTo>
                  <a:lnTo>
                    <a:pt x="1815" y="1873"/>
                  </a:lnTo>
                  <a:lnTo>
                    <a:pt x="1846" y="1897"/>
                  </a:lnTo>
                  <a:lnTo>
                    <a:pt x="1896" y="1897"/>
                  </a:lnTo>
                  <a:lnTo>
                    <a:pt x="1896" y="1921"/>
                  </a:lnTo>
                  <a:lnTo>
                    <a:pt x="1928" y="1953"/>
                  </a:lnTo>
                  <a:lnTo>
                    <a:pt x="1928" y="1921"/>
                  </a:lnTo>
                  <a:lnTo>
                    <a:pt x="1952" y="1921"/>
                  </a:lnTo>
                  <a:lnTo>
                    <a:pt x="1952" y="1953"/>
                  </a:lnTo>
                  <a:lnTo>
                    <a:pt x="1978" y="1921"/>
                  </a:lnTo>
                  <a:lnTo>
                    <a:pt x="1978" y="1873"/>
                  </a:lnTo>
                  <a:lnTo>
                    <a:pt x="1978" y="1842"/>
                  </a:lnTo>
                  <a:lnTo>
                    <a:pt x="1928" y="1842"/>
                  </a:lnTo>
                  <a:lnTo>
                    <a:pt x="1896" y="1842"/>
                  </a:lnTo>
                  <a:lnTo>
                    <a:pt x="1846" y="1816"/>
                  </a:lnTo>
                  <a:lnTo>
                    <a:pt x="1846" y="1785"/>
                  </a:lnTo>
                  <a:lnTo>
                    <a:pt x="1815" y="1735"/>
                  </a:lnTo>
                  <a:lnTo>
                    <a:pt x="1815" y="1705"/>
                  </a:lnTo>
                  <a:lnTo>
                    <a:pt x="1815" y="1680"/>
                  </a:lnTo>
                  <a:lnTo>
                    <a:pt x="1765" y="1655"/>
                  </a:lnTo>
                  <a:lnTo>
                    <a:pt x="1765" y="1624"/>
                  </a:lnTo>
                  <a:lnTo>
                    <a:pt x="1734" y="1624"/>
                  </a:lnTo>
                  <a:lnTo>
                    <a:pt x="1679" y="1624"/>
                  </a:lnTo>
                  <a:lnTo>
                    <a:pt x="1654" y="1624"/>
                  </a:lnTo>
                  <a:lnTo>
                    <a:pt x="1629" y="1624"/>
                  </a:lnTo>
                  <a:lnTo>
                    <a:pt x="1598" y="1599"/>
                  </a:lnTo>
                  <a:close/>
                  <a:moveTo>
                    <a:pt x="1629" y="2002"/>
                  </a:moveTo>
                  <a:lnTo>
                    <a:pt x="1598" y="2002"/>
                  </a:lnTo>
                  <a:lnTo>
                    <a:pt x="1573" y="1978"/>
                  </a:lnTo>
                  <a:lnTo>
                    <a:pt x="1573" y="2002"/>
                  </a:lnTo>
                  <a:lnTo>
                    <a:pt x="1549" y="2033"/>
                  </a:lnTo>
                  <a:lnTo>
                    <a:pt x="1573" y="2058"/>
                  </a:lnTo>
                  <a:lnTo>
                    <a:pt x="1629" y="2002"/>
                  </a:lnTo>
                  <a:close/>
                  <a:moveTo>
                    <a:pt x="1629" y="1326"/>
                  </a:moveTo>
                  <a:lnTo>
                    <a:pt x="1629" y="1383"/>
                  </a:lnTo>
                  <a:lnTo>
                    <a:pt x="1598" y="1407"/>
                  </a:lnTo>
                  <a:lnTo>
                    <a:pt x="1629" y="1407"/>
                  </a:lnTo>
                  <a:lnTo>
                    <a:pt x="1629" y="1383"/>
                  </a:lnTo>
                  <a:lnTo>
                    <a:pt x="1654" y="1357"/>
                  </a:lnTo>
                  <a:lnTo>
                    <a:pt x="1629" y="1326"/>
                  </a:lnTo>
                  <a:close/>
                  <a:moveTo>
                    <a:pt x="1629" y="2275"/>
                  </a:moveTo>
                  <a:lnTo>
                    <a:pt x="1598" y="2330"/>
                  </a:lnTo>
                  <a:lnTo>
                    <a:pt x="1654" y="2299"/>
                  </a:lnTo>
                  <a:lnTo>
                    <a:pt x="1679" y="2275"/>
                  </a:lnTo>
                  <a:lnTo>
                    <a:pt x="1629" y="2275"/>
                  </a:lnTo>
                  <a:close/>
                  <a:moveTo>
                    <a:pt x="1679" y="2975"/>
                  </a:moveTo>
                  <a:lnTo>
                    <a:pt x="1679" y="3006"/>
                  </a:lnTo>
                  <a:lnTo>
                    <a:pt x="1710" y="3032"/>
                  </a:lnTo>
                  <a:lnTo>
                    <a:pt x="1710" y="3006"/>
                  </a:lnTo>
                  <a:lnTo>
                    <a:pt x="1679" y="2975"/>
                  </a:lnTo>
                  <a:close/>
                  <a:moveTo>
                    <a:pt x="1734" y="570"/>
                  </a:moveTo>
                  <a:lnTo>
                    <a:pt x="1734" y="595"/>
                  </a:lnTo>
                  <a:lnTo>
                    <a:pt x="1710" y="651"/>
                  </a:lnTo>
                  <a:lnTo>
                    <a:pt x="1734" y="651"/>
                  </a:lnTo>
                  <a:lnTo>
                    <a:pt x="1765" y="651"/>
                  </a:lnTo>
                  <a:lnTo>
                    <a:pt x="1765" y="676"/>
                  </a:lnTo>
                  <a:lnTo>
                    <a:pt x="1791" y="676"/>
                  </a:lnTo>
                  <a:lnTo>
                    <a:pt x="1815" y="651"/>
                  </a:lnTo>
                  <a:lnTo>
                    <a:pt x="1791" y="595"/>
                  </a:lnTo>
                  <a:lnTo>
                    <a:pt x="1791" y="570"/>
                  </a:lnTo>
                  <a:lnTo>
                    <a:pt x="1734" y="570"/>
                  </a:lnTo>
                  <a:close/>
                  <a:moveTo>
                    <a:pt x="1896" y="1463"/>
                  </a:moveTo>
                  <a:lnTo>
                    <a:pt x="1871" y="1438"/>
                  </a:lnTo>
                  <a:lnTo>
                    <a:pt x="1846" y="1463"/>
                  </a:lnTo>
                  <a:lnTo>
                    <a:pt x="1871" y="1463"/>
                  </a:lnTo>
                  <a:lnTo>
                    <a:pt x="1871" y="1488"/>
                  </a:lnTo>
                  <a:lnTo>
                    <a:pt x="1896" y="1519"/>
                  </a:lnTo>
                  <a:lnTo>
                    <a:pt x="1928" y="1544"/>
                  </a:lnTo>
                  <a:lnTo>
                    <a:pt x="1928" y="1519"/>
                  </a:lnTo>
                  <a:lnTo>
                    <a:pt x="1952" y="1544"/>
                  </a:lnTo>
                  <a:lnTo>
                    <a:pt x="1952" y="1519"/>
                  </a:lnTo>
                  <a:lnTo>
                    <a:pt x="1952" y="1488"/>
                  </a:lnTo>
                  <a:lnTo>
                    <a:pt x="1896" y="1488"/>
                  </a:lnTo>
                  <a:lnTo>
                    <a:pt x="1896" y="1463"/>
                  </a:lnTo>
                  <a:close/>
                  <a:moveTo>
                    <a:pt x="1928" y="2058"/>
                  </a:moveTo>
                  <a:lnTo>
                    <a:pt x="1896" y="2114"/>
                  </a:lnTo>
                  <a:lnTo>
                    <a:pt x="1928" y="2139"/>
                  </a:lnTo>
                  <a:lnTo>
                    <a:pt x="1952" y="2114"/>
                  </a:lnTo>
                  <a:lnTo>
                    <a:pt x="1952" y="2083"/>
                  </a:lnTo>
                  <a:lnTo>
                    <a:pt x="1928" y="2058"/>
                  </a:lnTo>
                  <a:close/>
                  <a:moveTo>
                    <a:pt x="1978" y="2170"/>
                  </a:moveTo>
                  <a:lnTo>
                    <a:pt x="1952" y="2194"/>
                  </a:lnTo>
                  <a:lnTo>
                    <a:pt x="1978" y="2194"/>
                  </a:lnTo>
                  <a:lnTo>
                    <a:pt x="1978" y="2251"/>
                  </a:lnTo>
                  <a:lnTo>
                    <a:pt x="2009" y="2220"/>
                  </a:lnTo>
                  <a:lnTo>
                    <a:pt x="2009" y="2194"/>
                  </a:lnTo>
                  <a:lnTo>
                    <a:pt x="1978" y="2194"/>
                  </a:lnTo>
                  <a:lnTo>
                    <a:pt x="1978" y="2170"/>
                  </a:lnTo>
                  <a:close/>
                  <a:moveTo>
                    <a:pt x="2009" y="1141"/>
                  </a:moveTo>
                  <a:lnTo>
                    <a:pt x="1978" y="1166"/>
                  </a:lnTo>
                  <a:lnTo>
                    <a:pt x="2009" y="1166"/>
                  </a:lnTo>
                  <a:lnTo>
                    <a:pt x="2033" y="1141"/>
                  </a:lnTo>
                  <a:lnTo>
                    <a:pt x="2009" y="1141"/>
                  </a:lnTo>
                  <a:close/>
                  <a:moveTo>
                    <a:pt x="2033" y="2275"/>
                  </a:moveTo>
                  <a:lnTo>
                    <a:pt x="2009" y="2299"/>
                  </a:lnTo>
                  <a:lnTo>
                    <a:pt x="2009" y="2330"/>
                  </a:lnTo>
                  <a:lnTo>
                    <a:pt x="2033" y="2330"/>
                  </a:lnTo>
                  <a:lnTo>
                    <a:pt x="2064" y="2299"/>
                  </a:lnTo>
                  <a:lnTo>
                    <a:pt x="2033" y="2275"/>
                  </a:lnTo>
                  <a:close/>
                  <a:moveTo>
                    <a:pt x="2033" y="893"/>
                  </a:moveTo>
                  <a:lnTo>
                    <a:pt x="1978" y="924"/>
                  </a:lnTo>
                  <a:lnTo>
                    <a:pt x="1978" y="1004"/>
                  </a:lnTo>
                  <a:lnTo>
                    <a:pt x="2033" y="974"/>
                  </a:lnTo>
                  <a:lnTo>
                    <a:pt x="2033" y="1004"/>
                  </a:lnTo>
                  <a:lnTo>
                    <a:pt x="2064" y="1004"/>
                  </a:lnTo>
                  <a:lnTo>
                    <a:pt x="2033" y="974"/>
                  </a:lnTo>
                  <a:lnTo>
                    <a:pt x="2064" y="948"/>
                  </a:lnTo>
                  <a:lnTo>
                    <a:pt x="2064" y="974"/>
                  </a:lnTo>
                  <a:lnTo>
                    <a:pt x="2089" y="1004"/>
                  </a:lnTo>
                  <a:lnTo>
                    <a:pt x="2114" y="1004"/>
                  </a:lnTo>
                  <a:lnTo>
                    <a:pt x="2114" y="974"/>
                  </a:lnTo>
                  <a:lnTo>
                    <a:pt x="2089" y="948"/>
                  </a:lnTo>
                  <a:lnTo>
                    <a:pt x="2114" y="893"/>
                  </a:lnTo>
                  <a:lnTo>
                    <a:pt x="2114" y="868"/>
                  </a:lnTo>
                  <a:lnTo>
                    <a:pt x="2089" y="893"/>
                  </a:lnTo>
                  <a:lnTo>
                    <a:pt x="2064" y="924"/>
                  </a:lnTo>
                  <a:lnTo>
                    <a:pt x="2033" y="893"/>
                  </a:lnTo>
                  <a:close/>
                  <a:moveTo>
                    <a:pt x="2064" y="1897"/>
                  </a:moveTo>
                  <a:lnTo>
                    <a:pt x="2033" y="1921"/>
                  </a:lnTo>
                  <a:lnTo>
                    <a:pt x="2033" y="1953"/>
                  </a:lnTo>
                  <a:lnTo>
                    <a:pt x="2064" y="1953"/>
                  </a:lnTo>
                  <a:lnTo>
                    <a:pt x="2170" y="2002"/>
                  </a:lnTo>
                  <a:lnTo>
                    <a:pt x="2170" y="1978"/>
                  </a:lnTo>
                  <a:lnTo>
                    <a:pt x="2145" y="1921"/>
                  </a:lnTo>
                  <a:lnTo>
                    <a:pt x="2089" y="1921"/>
                  </a:lnTo>
                  <a:lnTo>
                    <a:pt x="2064" y="1897"/>
                  </a:lnTo>
                  <a:close/>
                  <a:moveTo>
                    <a:pt x="2089" y="2492"/>
                  </a:moveTo>
                  <a:lnTo>
                    <a:pt x="2064" y="2517"/>
                  </a:lnTo>
                  <a:lnTo>
                    <a:pt x="2064" y="2492"/>
                  </a:lnTo>
                  <a:lnTo>
                    <a:pt x="2064" y="2517"/>
                  </a:lnTo>
                  <a:lnTo>
                    <a:pt x="2009" y="2517"/>
                  </a:lnTo>
                  <a:lnTo>
                    <a:pt x="2009" y="2548"/>
                  </a:lnTo>
                  <a:lnTo>
                    <a:pt x="2033" y="2573"/>
                  </a:lnTo>
                  <a:lnTo>
                    <a:pt x="2114" y="2517"/>
                  </a:lnTo>
                  <a:lnTo>
                    <a:pt x="2089" y="2492"/>
                  </a:lnTo>
                  <a:close/>
                  <a:moveTo>
                    <a:pt x="2114" y="626"/>
                  </a:moveTo>
                  <a:lnTo>
                    <a:pt x="2089" y="651"/>
                  </a:lnTo>
                  <a:lnTo>
                    <a:pt x="2064" y="651"/>
                  </a:lnTo>
                  <a:lnTo>
                    <a:pt x="2114" y="676"/>
                  </a:lnTo>
                  <a:lnTo>
                    <a:pt x="2170" y="651"/>
                  </a:lnTo>
                  <a:lnTo>
                    <a:pt x="2145" y="651"/>
                  </a:lnTo>
                  <a:lnTo>
                    <a:pt x="2114" y="626"/>
                  </a:lnTo>
                  <a:close/>
                  <a:moveTo>
                    <a:pt x="2145" y="2356"/>
                  </a:moveTo>
                  <a:lnTo>
                    <a:pt x="2089" y="2356"/>
                  </a:lnTo>
                  <a:lnTo>
                    <a:pt x="2114" y="2380"/>
                  </a:lnTo>
                  <a:lnTo>
                    <a:pt x="2145" y="2411"/>
                  </a:lnTo>
                  <a:lnTo>
                    <a:pt x="2170" y="2380"/>
                  </a:lnTo>
                  <a:lnTo>
                    <a:pt x="2145" y="2356"/>
                  </a:lnTo>
                  <a:close/>
                  <a:moveTo>
                    <a:pt x="2145" y="3168"/>
                  </a:moveTo>
                  <a:lnTo>
                    <a:pt x="2145" y="3193"/>
                  </a:lnTo>
                  <a:lnTo>
                    <a:pt x="2089" y="3143"/>
                  </a:lnTo>
                  <a:lnTo>
                    <a:pt x="2033" y="3143"/>
                  </a:lnTo>
                  <a:lnTo>
                    <a:pt x="2033" y="3112"/>
                  </a:lnTo>
                  <a:lnTo>
                    <a:pt x="2089" y="3112"/>
                  </a:lnTo>
                  <a:lnTo>
                    <a:pt x="2064" y="3087"/>
                  </a:lnTo>
                  <a:lnTo>
                    <a:pt x="2033" y="3087"/>
                  </a:lnTo>
                  <a:lnTo>
                    <a:pt x="2033" y="3112"/>
                  </a:lnTo>
                  <a:lnTo>
                    <a:pt x="2009" y="3143"/>
                  </a:lnTo>
                  <a:lnTo>
                    <a:pt x="1952" y="3143"/>
                  </a:lnTo>
                  <a:lnTo>
                    <a:pt x="1928" y="3143"/>
                  </a:lnTo>
                  <a:lnTo>
                    <a:pt x="1928" y="3112"/>
                  </a:lnTo>
                  <a:lnTo>
                    <a:pt x="1896" y="3087"/>
                  </a:lnTo>
                  <a:lnTo>
                    <a:pt x="1871" y="3063"/>
                  </a:lnTo>
                  <a:lnTo>
                    <a:pt x="1871" y="3087"/>
                  </a:lnTo>
                  <a:lnTo>
                    <a:pt x="1896" y="3143"/>
                  </a:lnTo>
                  <a:lnTo>
                    <a:pt x="1871" y="3168"/>
                  </a:lnTo>
                  <a:lnTo>
                    <a:pt x="1846" y="3143"/>
                  </a:lnTo>
                  <a:lnTo>
                    <a:pt x="1846" y="3112"/>
                  </a:lnTo>
                  <a:lnTo>
                    <a:pt x="1815" y="3143"/>
                  </a:lnTo>
                  <a:lnTo>
                    <a:pt x="1846" y="3224"/>
                  </a:lnTo>
                  <a:lnTo>
                    <a:pt x="1815" y="3224"/>
                  </a:lnTo>
                  <a:lnTo>
                    <a:pt x="1846" y="3279"/>
                  </a:lnTo>
                  <a:lnTo>
                    <a:pt x="1871" y="3305"/>
                  </a:lnTo>
                  <a:lnTo>
                    <a:pt x="1952" y="3279"/>
                  </a:lnTo>
                  <a:lnTo>
                    <a:pt x="2033" y="3279"/>
                  </a:lnTo>
                  <a:lnTo>
                    <a:pt x="2089" y="3279"/>
                  </a:lnTo>
                  <a:lnTo>
                    <a:pt x="2145" y="3279"/>
                  </a:lnTo>
                  <a:lnTo>
                    <a:pt x="2194" y="3248"/>
                  </a:lnTo>
                  <a:lnTo>
                    <a:pt x="2282" y="3279"/>
                  </a:lnTo>
                  <a:lnTo>
                    <a:pt x="2331" y="3279"/>
                  </a:lnTo>
                  <a:lnTo>
                    <a:pt x="2362" y="3305"/>
                  </a:lnTo>
                  <a:lnTo>
                    <a:pt x="2362" y="3329"/>
                  </a:lnTo>
                  <a:lnTo>
                    <a:pt x="2331" y="3360"/>
                  </a:lnTo>
                  <a:lnTo>
                    <a:pt x="2388" y="3329"/>
                  </a:lnTo>
                  <a:lnTo>
                    <a:pt x="2469" y="3329"/>
                  </a:lnTo>
                  <a:lnTo>
                    <a:pt x="2549" y="3305"/>
                  </a:lnTo>
                  <a:lnTo>
                    <a:pt x="2580" y="3279"/>
                  </a:lnTo>
                  <a:lnTo>
                    <a:pt x="2630" y="3248"/>
                  </a:lnTo>
                  <a:lnTo>
                    <a:pt x="2661" y="3248"/>
                  </a:lnTo>
                  <a:lnTo>
                    <a:pt x="2766" y="3224"/>
                  </a:lnTo>
                  <a:lnTo>
                    <a:pt x="2822" y="3193"/>
                  </a:lnTo>
                  <a:lnTo>
                    <a:pt x="2848" y="3224"/>
                  </a:lnTo>
                  <a:lnTo>
                    <a:pt x="2879" y="3193"/>
                  </a:lnTo>
                  <a:lnTo>
                    <a:pt x="2879" y="3224"/>
                  </a:lnTo>
                  <a:lnTo>
                    <a:pt x="2903" y="3193"/>
                  </a:lnTo>
                  <a:lnTo>
                    <a:pt x="2929" y="3193"/>
                  </a:lnTo>
                  <a:lnTo>
                    <a:pt x="2929" y="3143"/>
                  </a:lnTo>
                  <a:lnTo>
                    <a:pt x="2929" y="3112"/>
                  </a:lnTo>
                  <a:lnTo>
                    <a:pt x="2960" y="3087"/>
                  </a:lnTo>
                  <a:lnTo>
                    <a:pt x="2929" y="3087"/>
                  </a:lnTo>
                  <a:lnTo>
                    <a:pt x="2929" y="3063"/>
                  </a:lnTo>
                  <a:lnTo>
                    <a:pt x="2929" y="3032"/>
                  </a:lnTo>
                  <a:lnTo>
                    <a:pt x="2903" y="3063"/>
                  </a:lnTo>
                  <a:lnTo>
                    <a:pt x="2879" y="3112"/>
                  </a:lnTo>
                  <a:lnTo>
                    <a:pt x="2822" y="3087"/>
                  </a:lnTo>
                  <a:lnTo>
                    <a:pt x="2766" y="3143"/>
                  </a:lnTo>
                  <a:lnTo>
                    <a:pt x="2742" y="3168"/>
                  </a:lnTo>
                  <a:lnTo>
                    <a:pt x="2711" y="3168"/>
                  </a:lnTo>
                  <a:lnTo>
                    <a:pt x="2711" y="3143"/>
                  </a:lnTo>
                  <a:lnTo>
                    <a:pt x="2711" y="3112"/>
                  </a:lnTo>
                  <a:lnTo>
                    <a:pt x="2685" y="3087"/>
                  </a:lnTo>
                  <a:lnTo>
                    <a:pt x="2711" y="3087"/>
                  </a:lnTo>
                  <a:lnTo>
                    <a:pt x="2661" y="3087"/>
                  </a:lnTo>
                  <a:lnTo>
                    <a:pt x="2605" y="3112"/>
                  </a:lnTo>
                  <a:lnTo>
                    <a:pt x="2580" y="3112"/>
                  </a:lnTo>
                  <a:lnTo>
                    <a:pt x="2549" y="3087"/>
                  </a:lnTo>
                  <a:lnTo>
                    <a:pt x="2493" y="3112"/>
                  </a:lnTo>
                  <a:lnTo>
                    <a:pt x="2469" y="3112"/>
                  </a:lnTo>
                  <a:lnTo>
                    <a:pt x="2412" y="3112"/>
                  </a:lnTo>
                  <a:lnTo>
                    <a:pt x="2412" y="3087"/>
                  </a:lnTo>
                  <a:lnTo>
                    <a:pt x="2388" y="3087"/>
                  </a:lnTo>
                  <a:lnTo>
                    <a:pt x="2388" y="3112"/>
                  </a:lnTo>
                  <a:lnTo>
                    <a:pt x="2362" y="3112"/>
                  </a:lnTo>
                  <a:lnTo>
                    <a:pt x="2331" y="3112"/>
                  </a:lnTo>
                  <a:lnTo>
                    <a:pt x="2282" y="3112"/>
                  </a:lnTo>
                  <a:lnTo>
                    <a:pt x="2251" y="3143"/>
                  </a:lnTo>
                  <a:lnTo>
                    <a:pt x="2145" y="3168"/>
                  </a:lnTo>
                  <a:close/>
                  <a:moveTo>
                    <a:pt x="2170" y="2114"/>
                  </a:moveTo>
                  <a:lnTo>
                    <a:pt x="2145" y="2114"/>
                  </a:lnTo>
                  <a:lnTo>
                    <a:pt x="2145" y="2139"/>
                  </a:lnTo>
                  <a:lnTo>
                    <a:pt x="2170" y="2139"/>
                  </a:lnTo>
                  <a:lnTo>
                    <a:pt x="2145" y="2170"/>
                  </a:lnTo>
                  <a:lnTo>
                    <a:pt x="2170" y="2170"/>
                  </a:lnTo>
                  <a:lnTo>
                    <a:pt x="2194" y="2170"/>
                  </a:lnTo>
                  <a:lnTo>
                    <a:pt x="2170" y="2114"/>
                  </a:lnTo>
                  <a:close/>
                  <a:moveTo>
                    <a:pt x="2251" y="2033"/>
                  </a:moveTo>
                  <a:lnTo>
                    <a:pt x="2225" y="2033"/>
                  </a:lnTo>
                  <a:lnTo>
                    <a:pt x="2194" y="2033"/>
                  </a:lnTo>
                  <a:lnTo>
                    <a:pt x="2170" y="2033"/>
                  </a:lnTo>
                  <a:lnTo>
                    <a:pt x="2251" y="2083"/>
                  </a:lnTo>
                  <a:lnTo>
                    <a:pt x="2282" y="2083"/>
                  </a:lnTo>
                  <a:lnTo>
                    <a:pt x="2282" y="2033"/>
                  </a:lnTo>
                  <a:lnTo>
                    <a:pt x="2251" y="2033"/>
                  </a:lnTo>
                  <a:close/>
                  <a:moveTo>
                    <a:pt x="2306" y="1544"/>
                  </a:moveTo>
                  <a:lnTo>
                    <a:pt x="2306" y="1568"/>
                  </a:lnTo>
                  <a:lnTo>
                    <a:pt x="2331" y="1568"/>
                  </a:lnTo>
                  <a:lnTo>
                    <a:pt x="2331" y="1544"/>
                  </a:lnTo>
                  <a:lnTo>
                    <a:pt x="2306" y="1544"/>
                  </a:lnTo>
                  <a:close/>
                  <a:moveTo>
                    <a:pt x="2306" y="2251"/>
                  </a:moveTo>
                  <a:lnTo>
                    <a:pt x="2282" y="2275"/>
                  </a:lnTo>
                  <a:lnTo>
                    <a:pt x="2282" y="2330"/>
                  </a:lnTo>
                  <a:lnTo>
                    <a:pt x="2306" y="2356"/>
                  </a:lnTo>
                  <a:lnTo>
                    <a:pt x="2331" y="2330"/>
                  </a:lnTo>
                  <a:lnTo>
                    <a:pt x="2331" y="2299"/>
                  </a:lnTo>
                  <a:lnTo>
                    <a:pt x="2331" y="2251"/>
                  </a:lnTo>
                  <a:lnTo>
                    <a:pt x="2331" y="2275"/>
                  </a:lnTo>
                  <a:lnTo>
                    <a:pt x="2306" y="2251"/>
                  </a:lnTo>
                  <a:close/>
                  <a:moveTo>
                    <a:pt x="2362" y="2083"/>
                  </a:moveTo>
                  <a:lnTo>
                    <a:pt x="2331" y="2083"/>
                  </a:lnTo>
                  <a:lnTo>
                    <a:pt x="2306" y="2083"/>
                  </a:lnTo>
                  <a:lnTo>
                    <a:pt x="2331" y="2114"/>
                  </a:lnTo>
                  <a:lnTo>
                    <a:pt x="2306" y="2114"/>
                  </a:lnTo>
                  <a:lnTo>
                    <a:pt x="2306" y="2139"/>
                  </a:lnTo>
                  <a:lnTo>
                    <a:pt x="2362" y="2114"/>
                  </a:lnTo>
                  <a:lnTo>
                    <a:pt x="2388" y="2083"/>
                  </a:lnTo>
                  <a:lnTo>
                    <a:pt x="2362" y="2083"/>
                  </a:lnTo>
                  <a:close/>
                  <a:moveTo>
                    <a:pt x="2388" y="2411"/>
                  </a:moveTo>
                  <a:lnTo>
                    <a:pt x="2362" y="2437"/>
                  </a:lnTo>
                  <a:lnTo>
                    <a:pt x="2362" y="2468"/>
                  </a:lnTo>
                  <a:lnTo>
                    <a:pt x="2412" y="2492"/>
                  </a:lnTo>
                  <a:lnTo>
                    <a:pt x="2443" y="2468"/>
                  </a:lnTo>
                  <a:lnTo>
                    <a:pt x="2412" y="2437"/>
                  </a:lnTo>
                  <a:lnTo>
                    <a:pt x="2388" y="2411"/>
                  </a:lnTo>
                  <a:close/>
                  <a:moveTo>
                    <a:pt x="2412" y="1519"/>
                  </a:moveTo>
                  <a:lnTo>
                    <a:pt x="2412" y="1544"/>
                  </a:lnTo>
                  <a:lnTo>
                    <a:pt x="2412" y="1568"/>
                  </a:lnTo>
                  <a:lnTo>
                    <a:pt x="2469" y="1568"/>
                  </a:lnTo>
                  <a:lnTo>
                    <a:pt x="2493" y="1599"/>
                  </a:lnTo>
                  <a:lnTo>
                    <a:pt x="2469" y="1655"/>
                  </a:lnTo>
                  <a:lnTo>
                    <a:pt x="2443" y="1680"/>
                  </a:lnTo>
                  <a:lnTo>
                    <a:pt x="2469" y="1705"/>
                  </a:lnTo>
                  <a:lnTo>
                    <a:pt x="2524" y="1705"/>
                  </a:lnTo>
                  <a:lnTo>
                    <a:pt x="2524" y="1680"/>
                  </a:lnTo>
                  <a:lnTo>
                    <a:pt x="2549" y="1680"/>
                  </a:lnTo>
                  <a:lnTo>
                    <a:pt x="2524" y="1655"/>
                  </a:lnTo>
                  <a:lnTo>
                    <a:pt x="2549" y="1624"/>
                  </a:lnTo>
                  <a:lnTo>
                    <a:pt x="2524" y="1568"/>
                  </a:lnTo>
                  <a:lnTo>
                    <a:pt x="2524" y="1544"/>
                  </a:lnTo>
                  <a:lnTo>
                    <a:pt x="2524" y="1519"/>
                  </a:lnTo>
                  <a:lnTo>
                    <a:pt x="2493" y="1488"/>
                  </a:lnTo>
                  <a:lnTo>
                    <a:pt x="2469" y="1488"/>
                  </a:lnTo>
                  <a:lnTo>
                    <a:pt x="2412" y="1519"/>
                  </a:lnTo>
                  <a:close/>
                  <a:moveTo>
                    <a:pt x="2443" y="2194"/>
                  </a:moveTo>
                  <a:lnTo>
                    <a:pt x="2412" y="2220"/>
                  </a:lnTo>
                  <a:lnTo>
                    <a:pt x="2388" y="2251"/>
                  </a:lnTo>
                  <a:lnTo>
                    <a:pt x="2362" y="2275"/>
                  </a:lnTo>
                  <a:lnTo>
                    <a:pt x="2412" y="2356"/>
                  </a:lnTo>
                  <a:lnTo>
                    <a:pt x="2469" y="2299"/>
                  </a:lnTo>
                  <a:lnTo>
                    <a:pt x="2469" y="2251"/>
                  </a:lnTo>
                  <a:lnTo>
                    <a:pt x="2443" y="2194"/>
                  </a:lnTo>
                  <a:close/>
                  <a:moveTo>
                    <a:pt x="2469" y="2548"/>
                  </a:moveTo>
                  <a:lnTo>
                    <a:pt x="2443" y="2573"/>
                  </a:lnTo>
                  <a:lnTo>
                    <a:pt x="2469" y="2573"/>
                  </a:lnTo>
                  <a:lnTo>
                    <a:pt x="2469" y="2598"/>
                  </a:lnTo>
                  <a:lnTo>
                    <a:pt x="2443" y="2629"/>
                  </a:lnTo>
                  <a:lnTo>
                    <a:pt x="2493" y="2629"/>
                  </a:lnTo>
                  <a:lnTo>
                    <a:pt x="2493" y="2598"/>
                  </a:lnTo>
                  <a:lnTo>
                    <a:pt x="2493" y="2573"/>
                  </a:lnTo>
                  <a:lnTo>
                    <a:pt x="2469" y="2548"/>
                  </a:lnTo>
                  <a:close/>
                  <a:moveTo>
                    <a:pt x="2549" y="1110"/>
                  </a:moveTo>
                  <a:lnTo>
                    <a:pt x="2524" y="1110"/>
                  </a:lnTo>
                  <a:lnTo>
                    <a:pt x="2493" y="1110"/>
                  </a:lnTo>
                  <a:lnTo>
                    <a:pt x="2443" y="1141"/>
                  </a:lnTo>
                  <a:lnTo>
                    <a:pt x="2362" y="1190"/>
                  </a:lnTo>
                  <a:lnTo>
                    <a:pt x="2331" y="1221"/>
                  </a:lnTo>
                  <a:lnTo>
                    <a:pt x="2331" y="1246"/>
                  </a:lnTo>
                  <a:lnTo>
                    <a:pt x="2388" y="1271"/>
                  </a:lnTo>
                  <a:lnTo>
                    <a:pt x="2443" y="1271"/>
                  </a:lnTo>
                  <a:lnTo>
                    <a:pt x="2443" y="1221"/>
                  </a:lnTo>
                  <a:lnTo>
                    <a:pt x="2469" y="1221"/>
                  </a:lnTo>
                  <a:lnTo>
                    <a:pt x="2493" y="1190"/>
                  </a:lnTo>
                  <a:lnTo>
                    <a:pt x="2493" y="1221"/>
                  </a:lnTo>
                  <a:lnTo>
                    <a:pt x="2469" y="1246"/>
                  </a:lnTo>
                  <a:lnTo>
                    <a:pt x="2443" y="1271"/>
                  </a:lnTo>
                  <a:lnTo>
                    <a:pt x="2493" y="1302"/>
                  </a:lnTo>
                  <a:lnTo>
                    <a:pt x="2549" y="1302"/>
                  </a:lnTo>
                  <a:lnTo>
                    <a:pt x="2580" y="1302"/>
                  </a:lnTo>
                  <a:lnTo>
                    <a:pt x="2605" y="1271"/>
                  </a:lnTo>
                  <a:lnTo>
                    <a:pt x="2580" y="1221"/>
                  </a:lnTo>
                  <a:lnTo>
                    <a:pt x="2605" y="1246"/>
                  </a:lnTo>
                  <a:lnTo>
                    <a:pt x="2630" y="1271"/>
                  </a:lnTo>
                  <a:lnTo>
                    <a:pt x="2661" y="1246"/>
                  </a:lnTo>
                  <a:lnTo>
                    <a:pt x="2605" y="1190"/>
                  </a:lnTo>
                  <a:lnTo>
                    <a:pt x="2580" y="1166"/>
                  </a:lnTo>
                  <a:lnTo>
                    <a:pt x="2524" y="1166"/>
                  </a:lnTo>
                  <a:lnTo>
                    <a:pt x="2549" y="1110"/>
                  </a:lnTo>
                  <a:close/>
                  <a:moveTo>
                    <a:pt x="2661" y="2275"/>
                  </a:moveTo>
                  <a:lnTo>
                    <a:pt x="2630" y="2299"/>
                  </a:lnTo>
                  <a:lnTo>
                    <a:pt x="2630" y="2330"/>
                  </a:lnTo>
                  <a:lnTo>
                    <a:pt x="2605" y="2356"/>
                  </a:lnTo>
                  <a:lnTo>
                    <a:pt x="2580" y="2380"/>
                  </a:lnTo>
                  <a:lnTo>
                    <a:pt x="2549" y="2380"/>
                  </a:lnTo>
                  <a:lnTo>
                    <a:pt x="2580" y="2380"/>
                  </a:lnTo>
                  <a:lnTo>
                    <a:pt x="2605" y="2356"/>
                  </a:lnTo>
                  <a:lnTo>
                    <a:pt x="2630" y="2330"/>
                  </a:lnTo>
                  <a:lnTo>
                    <a:pt x="2685" y="2299"/>
                  </a:lnTo>
                  <a:lnTo>
                    <a:pt x="2661" y="2275"/>
                  </a:lnTo>
                  <a:close/>
                  <a:moveTo>
                    <a:pt x="2685" y="1897"/>
                  </a:moveTo>
                  <a:lnTo>
                    <a:pt x="2661" y="1921"/>
                  </a:lnTo>
                  <a:lnTo>
                    <a:pt x="2630" y="1953"/>
                  </a:lnTo>
                  <a:lnTo>
                    <a:pt x="2605" y="1953"/>
                  </a:lnTo>
                  <a:lnTo>
                    <a:pt x="2580" y="1953"/>
                  </a:lnTo>
                  <a:lnTo>
                    <a:pt x="2580" y="2002"/>
                  </a:lnTo>
                  <a:lnTo>
                    <a:pt x="2580" y="2033"/>
                  </a:lnTo>
                  <a:lnTo>
                    <a:pt x="2605" y="2002"/>
                  </a:lnTo>
                  <a:lnTo>
                    <a:pt x="2605" y="1978"/>
                  </a:lnTo>
                  <a:lnTo>
                    <a:pt x="2661" y="1978"/>
                  </a:lnTo>
                  <a:lnTo>
                    <a:pt x="2685" y="1921"/>
                  </a:lnTo>
                  <a:lnTo>
                    <a:pt x="2685" y="1897"/>
                  </a:lnTo>
                  <a:close/>
                  <a:moveTo>
                    <a:pt x="2791" y="2033"/>
                  </a:moveTo>
                  <a:lnTo>
                    <a:pt x="2791" y="2083"/>
                  </a:lnTo>
                  <a:lnTo>
                    <a:pt x="2822" y="2083"/>
                  </a:lnTo>
                  <a:lnTo>
                    <a:pt x="2791" y="2058"/>
                  </a:lnTo>
                  <a:lnTo>
                    <a:pt x="2822" y="2058"/>
                  </a:lnTo>
                  <a:lnTo>
                    <a:pt x="2791" y="2033"/>
                  </a:lnTo>
                  <a:close/>
                  <a:moveTo>
                    <a:pt x="2822" y="2380"/>
                  </a:moveTo>
                  <a:lnTo>
                    <a:pt x="2822" y="2411"/>
                  </a:lnTo>
                  <a:lnTo>
                    <a:pt x="2822" y="2437"/>
                  </a:lnTo>
                  <a:lnTo>
                    <a:pt x="2766" y="2437"/>
                  </a:lnTo>
                  <a:lnTo>
                    <a:pt x="2791" y="2468"/>
                  </a:lnTo>
                  <a:lnTo>
                    <a:pt x="2822" y="2468"/>
                  </a:lnTo>
                  <a:lnTo>
                    <a:pt x="2822" y="2437"/>
                  </a:lnTo>
                  <a:lnTo>
                    <a:pt x="2848" y="2411"/>
                  </a:lnTo>
                  <a:lnTo>
                    <a:pt x="2822" y="2380"/>
                  </a:lnTo>
                  <a:close/>
                  <a:moveTo>
                    <a:pt x="2929" y="1785"/>
                  </a:moveTo>
                  <a:lnTo>
                    <a:pt x="2903" y="1816"/>
                  </a:lnTo>
                  <a:lnTo>
                    <a:pt x="2929" y="1816"/>
                  </a:lnTo>
                  <a:lnTo>
                    <a:pt x="2879" y="1816"/>
                  </a:lnTo>
                  <a:lnTo>
                    <a:pt x="2822" y="1816"/>
                  </a:lnTo>
                  <a:lnTo>
                    <a:pt x="2791" y="1816"/>
                  </a:lnTo>
                  <a:lnTo>
                    <a:pt x="2766" y="1842"/>
                  </a:lnTo>
                  <a:lnTo>
                    <a:pt x="2766" y="1873"/>
                  </a:lnTo>
                  <a:lnTo>
                    <a:pt x="2791" y="1897"/>
                  </a:lnTo>
                  <a:lnTo>
                    <a:pt x="2822" y="1873"/>
                  </a:lnTo>
                  <a:lnTo>
                    <a:pt x="2848" y="1873"/>
                  </a:lnTo>
                  <a:lnTo>
                    <a:pt x="2879" y="1897"/>
                  </a:lnTo>
                  <a:lnTo>
                    <a:pt x="2903" y="1897"/>
                  </a:lnTo>
                  <a:lnTo>
                    <a:pt x="2903" y="1873"/>
                  </a:lnTo>
                  <a:lnTo>
                    <a:pt x="2960" y="1842"/>
                  </a:lnTo>
                  <a:lnTo>
                    <a:pt x="2960" y="1816"/>
                  </a:lnTo>
                  <a:lnTo>
                    <a:pt x="2960" y="1785"/>
                  </a:lnTo>
                  <a:lnTo>
                    <a:pt x="2929" y="1785"/>
                  </a:lnTo>
                  <a:close/>
                  <a:moveTo>
                    <a:pt x="3040" y="2170"/>
                  </a:moveTo>
                  <a:lnTo>
                    <a:pt x="3009" y="2170"/>
                  </a:lnTo>
                  <a:lnTo>
                    <a:pt x="3009" y="2139"/>
                  </a:lnTo>
                  <a:lnTo>
                    <a:pt x="2960" y="2139"/>
                  </a:lnTo>
                  <a:lnTo>
                    <a:pt x="2960" y="2170"/>
                  </a:lnTo>
                  <a:lnTo>
                    <a:pt x="2984" y="2170"/>
                  </a:lnTo>
                  <a:lnTo>
                    <a:pt x="2984" y="2220"/>
                  </a:lnTo>
                  <a:lnTo>
                    <a:pt x="3009" y="2220"/>
                  </a:lnTo>
                  <a:lnTo>
                    <a:pt x="3040" y="2194"/>
                  </a:lnTo>
                  <a:lnTo>
                    <a:pt x="3040" y="2170"/>
                  </a:lnTo>
                  <a:close/>
                  <a:moveTo>
                    <a:pt x="3176" y="2220"/>
                  </a:moveTo>
                  <a:lnTo>
                    <a:pt x="3145" y="2194"/>
                  </a:lnTo>
                  <a:lnTo>
                    <a:pt x="3121" y="2194"/>
                  </a:lnTo>
                  <a:lnTo>
                    <a:pt x="3090" y="2220"/>
                  </a:lnTo>
                  <a:lnTo>
                    <a:pt x="3065" y="2251"/>
                  </a:lnTo>
                  <a:lnTo>
                    <a:pt x="3040" y="2275"/>
                  </a:lnTo>
                  <a:lnTo>
                    <a:pt x="3009" y="2299"/>
                  </a:lnTo>
                  <a:lnTo>
                    <a:pt x="3009" y="2330"/>
                  </a:lnTo>
                  <a:lnTo>
                    <a:pt x="3040" y="2330"/>
                  </a:lnTo>
                  <a:lnTo>
                    <a:pt x="3040" y="2299"/>
                  </a:lnTo>
                  <a:lnTo>
                    <a:pt x="3090" y="2275"/>
                  </a:lnTo>
                  <a:lnTo>
                    <a:pt x="3121" y="2251"/>
                  </a:lnTo>
                  <a:lnTo>
                    <a:pt x="3145" y="2251"/>
                  </a:lnTo>
                  <a:lnTo>
                    <a:pt x="3176" y="2220"/>
                  </a:lnTo>
                  <a:close/>
                  <a:moveTo>
                    <a:pt x="3202" y="2846"/>
                  </a:moveTo>
                  <a:lnTo>
                    <a:pt x="3226" y="2846"/>
                  </a:lnTo>
                  <a:lnTo>
                    <a:pt x="3258" y="2896"/>
                  </a:lnTo>
                  <a:lnTo>
                    <a:pt x="3258" y="2926"/>
                  </a:lnTo>
                  <a:lnTo>
                    <a:pt x="3282" y="2926"/>
                  </a:lnTo>
                  <a:lnTo>
                    <a:pt x="3282" y="2896"/>
                  </a:lnTo>
                  <a:lnTo>
                    <a:pt x="3282" y="2870"/>
                  </a:lnTo>
                  <a:lnTo>
                    <a:pt x="3282" y="2846"/>
                  </a:lnTo>
                  <a:lnTo>
                    <a:pt x="3258" y="2815"/>
                  </a:lnTo>
                  <a:lnTo>
                    <a:pt x="3258" y="2734"/>
                  </a:lnTo>
                  <a:lnTo>
                    <a:pt x="3258" y="2709"/>
                  </a:lnTo>
                  <a:lnTo>
                    <a:pt x="3226" y="2678"/>
                  </a:lnTo>
                  <a:lnTo>
                    <a:pt x="3258" y="2709"/>
                  </a:lnTo>
                  <a:lnTo>
                    <a:pt x="3226" y="2734"/>
                  </a:lnTo>
                  <a:lnTo>
                    <a:pt x="3226" y="2765"/>
                  </a:lnTo>
                  <a:lnTo>
                    <a:pt x="3226" y="2815"/>
                  </a:lnTo>
                  <a:lnTo>
                    <a:pt x="3202" y="2846"/>
                  </a:lnTo>
                  <a:close/>
                  <a:moveTo>
                    <a:pt x="3202" y="2380"/>
                  </a:moveTo>
                  <a:lnTo>
                    <a:pt x="3202" y="2411"/>
                  </a:lnTo>
                  <a:lnTo>
                    <a:pt x="3176" y="2411"/>
                  </a:lnTo>
                  <a:lnTo>
                    <a:pt x="3202" y="2437"/>
                  </a:lnTo>
                  <a:lnTo>
                    <a:pt x="3258" y="2437"/>
                  </a:lnTo>
                  <a:lnTo>
                    <a:pt x="3258" y="2411"/>
                  </a:lnTo>
                  <a:lnTo>
                    <a:pt x="3226" y="2411"/>
                  </a:lnTo>
                  <a:lnTo>
                    <a:pt x="3202" y="2380"/>
                  </a:lnTo>
                  <a:close/>
                  <a:moveTo>
                    <a:pt x="3363" y="2251"/>
                  </a:moveTo>
                  <a:lnTo>
                    <a:pt x="3363" y="2275"/>
                  </a:lnTo>
                  <a:lnTo>
                    <a:pt x="3363" y="2299"/>
                  </a:lnTo>
                  <a:lnTo>
                    <a:pt x="3389" y="2299"/>
                  </a:lnTo>
                  <a:lnTo>
                    <a:pt x="3389" y="2330"/>
                  </a:lnTo>
                  <a:lnTo>
                    <a:pt x="3389" y="2299"/>
                  </a:lnTo>
                  <a:lnTo>
                    <a:pt x="3389" y="2275"/>
                  </a:lnTo>
                  <a:lnTo>
                    <a:pt x="3363" y="2251"/>
                  </a:lnTo>
                  <a:close/>
                  <a:moveTo>
                    <a:pt x="3556" y="2330"/>
                  </a:moveTo>
                  <a:lnTo>
                    <a:pt x="3525" y="2330"/>
                  </a:lnTo>
                  <a:lnTo>
                    <a:pt x="3500" y="2356"/>
                  </a:lnTo>
                  <a:lnTo>
                    <a:pt x="3444" y="2411"/>
                  </a:lnTo>
                  <a:lnTo>
                    <a:pt x="3420" y="2437"/>
                  </a:lnTo>
                  <a:lnTo>
                    <a:pt x="3420" y="2492"/>
                  </a:lnTo>
                  <a:lnTo>
                    <a:pt x="3389" y="2492"/>
                  </a:lnTo>
                  <a:lnTo>
                    <a:pt x="3389" y="2517"/>
                  </a:lnTo>
                  <a:lnTo>
                    <a:pt x="3389" y="2548"/>
                  </a:lnTo>
                  <a:lnTo>
                    <a:pt x="3420" y="2517"/>
                  </a:lnTo>
                  <a:lnTo>
                    <a:pt x="3420" y="2548"/>
                  </a:lnTo>
                  <a:lnTo>
                    <a:pt x="3420" y="2573"/>
                  </a:lnTo>
                  <a:lnTo>
                    <a:pt x="3420" y="2598"/>
                  </a:lnTo>
                  <a:lnTo>
                    <a:pt x="3444" y="2629"/>
                  </a:lnTo>
                  <a:lnTo>
                    <a:pt x="3475" y="2598"/>
                  </a:lnTo>
                  <a:lnTo>
                    <a:pt x="3475" y="2573"/>
                  </a:lnTo>
                  <a:lnTo>
                    <a:pt x="3500" y="2517"/>
                  </a:lnTo>
                  <a:lnTo>
                    <a:pt x="3525" y="2517"/>
                  </a:lnTo>
                  <a:lnTo>
                    <a:pt x="3556" y="2517"/>
                  </a:lnTo>
                  <a:lnTo>
                    <a:pt x="3525" y="2492"/>
                  </a:lnTo>
                  <a:lnTo>
                    <a:pt x="3556" y="2437"/>
                  </a:lnTo>
                  <a:lnTo>
                    <a:pt x="3556" y="2380"/>
                  </a:lnTo>
                  <a:lnTo>
                    <a:pt x="3556" y="2356"/>
                  </a:lnTo>
                  <a:lnTo>
                    <a:pt x="3556" y="2330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29" name="Freeform 61">
              <a:extLst>
                <a:ext uri="{FF2B5EF4-FFF2-40B4-BE49-F238E27FC236}">
                  <a16:creationId xmlns:a16="http://schemas.microsoft.com/office/drawing/2014/main" id="{8E51BA16-4532-44D9-B45D-D93AEB48B9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2956" y="4539238"/>
              <a:ext cx="1488990" cy="1296717"/>
            </a:xfrm>
            <a:custGeom>
              <a:avLst/>
              <a:gdLst/>
              <a:ahLst/>
              <a:cxnLst>
                <a:cxn ang="0">
                  <a:pos x="298" y="758"/>
                </a:cxn>
                <a:cxn ang="0">
                  <a:pos x="379" y="863"/>
                </a:cxn>
                <a:cxn ang="0">
                  <a:pos x="541" y="919"/>
                </a:cxn>
                <a:cxn ang="0">
                  <a:pos x="758" y="919"/>
                </a:cxn>
                <a:cxn ang="0">
                  <a:pos x="865" y="1081"/>
                </a:cxn>
                <a:cxn ang="0">
                  <a:pos x="758" y="1273"/>
                </a:cxn>
                <a:cxn ang="0">
                  <a:pos x="621" y="1651"/>
                </a:cxn>
                <a:cxn ang="0">
                  <a:pos x="597" y="1844"/>
                </a:cxn>
                <a:cxn ang="0">
                  <a:pos x="348" y="2030"/>
                </a:cxn>
                <a:cxn ang="0">
                  <a:pos x="404" y="2247"/>
                </a:cxn>
                <a:cxn ang="0">
                  <a:pos x="348" y="2440"/>
                </a:cxn>
                <a:cxn ang="0">
                  <a:pos x="348" y="2707"/>
                </a:cxn>
                <a:cxn ang="0">
                  <a:pos x="242" y="2843"/>
                </a:cxn>
                <a:cxn ang="0">
                  <a:pos x="298" y="3197"/>
                </a:cxn>
                <a:cxn ang="0">
                  <a:pos x="379" y="3223"/>
                </a:cxn>
                <a:cxn ang="0">
                  <a:pos x="541" y="3551"/>
                </a:cxn>
                <a:cxn ang="0">
                  <a:pos x="566" y="3682"/>
                </a:cxn>
                <a:cxn ang="0">
                  <a:pos x="815" y="3793"/>
                </a:cxn>
                <a:cxn ang="0">
                  <a:pos x="1057" y="3657"/>
                </a:cxn>
                <a:cxn ang="0">
                  <a:pos x="1355" y="3601"/>
                </a:cxn>
                <a:cxn ang="0">
                  <a:pos x="1573" y="3601"/>
                </a:cxn>
                <a:cxn ang="0">
                  <a:pos x="1953" y="3682"/>
                </a:cxn>
                <a:cxn ang="0">
                  <a:pos x="2139" y="3682"/>
                </a:cxn>
                <a:cxn ang="0">
                  <a:pos x="2277" y="3520"/>
                </a:cxn>
                <a:cxn ang="0">
                  <a:pos x="2494" y="3334"/>
                </a:cxn>
                <a:cxn ang="0">
                  <a:pos x="2737" y="3334"/>
                </a:cxn>
                <a:cxn ang="0">
                  <a:pos x="2768" y="3166"/>
                </a:cxn>
                <a:cxn ang="0">
                  <a:pos x="2905" y="2955"/>
                </a:cxn>
                <a:cxn ang="0">
                  <a:pos x="3147" y="2819"/>
                </a:cxn>
                <a:cxn ang="0">
                  <a:pos x="2985" y="2520"/>
                </a:cxn>
                <a:cxn ang="0">
                  <a:pos x="3421" y="1924"/>
                </a:cxn>
                <a:cxn ang="0">
                  <a:pos x="3445" y="1844"/>
                </a:cxn>
                <a:cxn ang="0">
                  <a:pos x="3800" y="1677"/>
                </a:cxn>
                <a:cxn ang="0">
                  <a:pos x="4260" y="1459"/>
                </a:cxn>
                <a:cxn ang="0">
                  <a:pos x="4341" y="1242"/>
                </a:cxn>
                <a:cxn ang="0">
                  <a:pos x="4341" y="1111"/>
                </a:cxn>
                <a:cxn ang="0">
                  <a:pos x="3962" y="1136"/>
                </a:cxn>
                <a:cxn ang="0">
                  <a:pos x="3720" y="919"/>
                </a:cxn>
                <a:cxn ang="0">
                  <a:pos x="3502" y="919"/>
                </a:cxn>
                <a:cxn ang="0">
                  <a:pos x="3203" y="863"/>
                </a:cxn>
                <a:cxn ang="0">
                  <a:pos x="2929" y="758"/>
                </a:cxn>
                <a:cxn ang="0">
                  <a:pos x="2793" y="596"/>
                </a:cxn>
                <a:cxn ang="0">
                  <a:pos x="2550" y="540"/>
                </a:cxn>
                <a:cxn ang="0">
                  <a:pos x="2332" y="435"/>
                </a:cxn>
                <a:cxn ang="0">
                  <a:pos x="2059" y="435"/>
                </a:cxn>
                <a:cxn ang="0">
                  <a:pos x="1953" y="404"/>
                </a:cxn>
                <a:cxn ang="0">
                  <a:pos x="1493" y="298"/>
                </a:cxn>
                <a:cxn ang="0">
                  <a:pos x="1163" y="217"/>
                </a:cxn>
                <a:cxn ang="0">
                  <a:pos x="839" y="162"/>
                </a:cxn>
                <a:cxn ang="0">
                  <a:pos x="647" y="24"/>
                </a:cxn>
                <a:cxn ang="0">
                  <a:pos x="516" y="0"/>
                </a:cxn>
                <a:cxn ang="0">
                  <a:pos x="404" y="105"/>
                </a:cxn>
                <a:cxn ang="0">
                  <a:pos x="348" y="131"/>
                </a:cxn>
                <a:cxn ang="0">
                  <a:pos x="130" y="162"/>
                </a:cxn>
                <a:cxn ang="0">
                  <a:pos x="24" y="267"/>
                </a:cxn>
                <a:cxn ang="0">
                  <a:pos x="130" y="347"/>
                </a:cxn>
                <a:cxn ang="0">
                  <a:pos x="161" y="459"/>
                </a:cxn>
                <a:cxn ang="0">
                  <a:pos x="106" y="596"/>
                </a:cxn>
                <a:cxn ang="0">
                  <a:pos x="50" y="701"/>
                </a:cxn>
              </a:cxnLst>
              <a:rect l="0" t="0" r="r" b="b"/>
              <a:pathLst>
                <a:path w="4422" h="3850">
                  <a:moveTo>
                    <a:pt x="50" y="813"/>
                  </a:moveTo>
                  <a:lnTo>
                    <a:pt x="80" y="758"/>
                  </a:lnTo>
                  <a:lnTo>
                    <a:pt x="106" y="758"/>
                  </a:lnTo>
                  <a:lnTo>
                    <a:pt x="130" y="732"/>
                  </a:lnTo>
                  <a:lnTo>
                    <a:pt x="242" y="732"/>
                  </a:lnTo>
                  <a:lnTo>
                    <a:pt x="298" y="732"/>
                  </a:lnTo>
                  <a:lnTo>
                    <a:pt x="298" y="758"/>
                  </a:lnTo>
                  <a:lnTo>
                    <a:pt x="323" y="782"/>
                  </a:lnTo>
                  <a:lnTo>
                    <a:pt x="323" y="813"/>
                  </a:lnTo>
                  <a:lnTo>
                    <a:pt x="267" y="838"/>
                  </a:lnTo>
                  <a:lnTo>
                    <a:pt x="298" y="863"/>
                  </a:lnTo>
                  <a:lnTo>
                    <a:pt x="298" y="894"/>
                  </a:lnTo>
                  <a:lnTo>
                    <a:pt x="323" y="894"/>
                  </a:lnTo>
                  <a:lnTo>
                    <a:pt x="379" y="863"/>
                  </a:lnTo>
                  <a:lnTo>
                    <a:pt x="404" y="863"/>
                  </a:lnTo>
                  <a:lnTo>
                    <a:pt x="379" y="894"/>
                  </a:lnTo>
                  <a:lnTo>
                    <a:pt x="429" y="894"/>
                  </a:lnTo>
                  <a:lnTo>
                    <a:pt x="460" y="894"/>
                  </a:lnTo>
                  <a:lnTo>
                    <a:pt x="485" y="894"/>
                  </a:lnTo>
                  <a:lnTo>
                    <a:pt x="485" y="919"/>
                  </a:lnTo>
                  <a:lnTo>
                    <a:pt x="541" y="919"/>
                  </a:lnTo>
                  <a:lnTo>
                    <a:pt x="541" y="943"/>
                  </a:lnTo>
                  <a:lnTo>
                    <a:pt x="566" y="943"/>
                  </a:lnTo>
                  <a:lnTo>
                    <a:pt x="621" y="919"/>
                  </a:lnTo>
                  <a:lnTo>
                    <a:pt x="647" y="894"/>
                  </a:lnTo>
                  <a:lnTo>
                    <a:pt x="703" y="919"/>
                  </a:lnTo>
                  <a:lnTo>
                    <a:pt x="727" y="894"/>
                  </a:lnTo>
                  <a:lnTo>
                    <a:pt x="758" y="919"/>
                  </a:lnTo>
                  <a:lnTo>
                    <a:pt x="784" y="919"/>
                  </a:lnTo>
                  <a:lnTo>
                    <a:pt x="815" y="943"/>
                  </a:lnTo>
                  <a:lnTo>
                    <a:pt x="865" y="919"/>
                  </a:lnTo>
                  <a:lnTo>
                    <a:pt x="865" y="943"/>
                  </a:lnTo>
                  <a:lnTo>
                    <a:pt x="865" y="974"/>
                  </a:lnTo>
                  <a:lnTo>
                    <a:pt x="839" y="1055"/>
                  </a:lnTo>
                  <a:lnTo>
                    <a:pt x="865" y="1081"/>
                  </a:lnTo>
                  <a:lnTo>
                    <a:pt x="895" y="1081"/>
                  </a:lnTo>
                  <a:lnTo>
                    <a:pt x="920" y="1081"/>
                  </a:lnTo>
                  <a:lnTo>
                    <a:pt x="976" y="1136"/>
                  </a:lnTo>
                  <a:lnTo>
                    <a:pt x="920" y="1217"/>
                  </a:lnTo>
                  <a:lnTo>
                    <a:pt x="865" y="1273"/>
                  </a:lnTo>
                  <a:lnTo>
                    <a:pt x="815" y="1297"/>
                  </a:lnTo>
                  <a:lnTo>
                    <a:pt x="758" y="1273"/>
                  </a:lnTo>
                  <a:lnTo>
                    <a:pt x="758" y="1297"/>
                  </a:lnTo>
                  <a:lnTo>
                    <a:pt x="703" y="1378"/>
                  </a:lnTo>
                  <a:lnTo>
                    <a:pt x="647" y="1354"/>
                  </a:lnTo>
                  <a:lnTo>
                    <a:pt x="678" y="1459"/>
                  </a:lnTo>
                  <a:lnTo>
                    <a:pt x="647" y="1570"/>
                  </a:lnTo>
                  <a:lnTo>
                    <a:pt x="647" y="1596"/>
                  </a:lnTo>
                  <a:lnTo>
                    <a:pt x="621" y="1651"/>
                  </a:lnTo>
                  <a:lnTo>
                    <a:pt x="647" y="1677"/>
                  </a:lnTo>
                  <a:lnTo>
                    <a:pt x="621" y="1732"/>
                  </a:lnTo>
                  <a:lnTo>
                    <a:pt x="597" y="1732"/>
                  </a:lnTo>
                  <a:lnTo>
                    <a:pt x="566" y="1732"/>
                  </a:lnTo>
                  <a:lnTo>
                    <a:pt x="541" y="1788"/>
                  </a:lnTo>
                  <a:lnTo>
                    <a:pt x="566" y="1813"/>
                  </a:lnTo>
                  <a:lnTo>
                    <a:pt x="597" y="1844"/>
                  </a:lnTo>
                  <a:lnTo>
                    <a:pt x="566" y="1924"/>
                  </a:lnTo>
                  <a:lnTo>
                    <a:pt x="516" y="1950"/>
                  </a:lnTo>
                  <a:lnTo>
                    <a:pt x="516" y="2005"/>
                  </a:lnTo>
                  <a:lnTo>
                    <a:pt x="404" y="2005"/>
                  </a:lnTo>
                  <a:lnTo>
                    <a:pt x="379" y="2005"/>
                  </a:lnTo>
                  <a:lnTo>
                    <a:pt x="323" y="1974"/>
                  </a:lnTo>
                  <a:lnTo>
                    <a:pt x="348" y="2030"/>
                  </a:lnTo>
                  <a:lnTo>
                    <a:pt x="348" y="2055"/>
                  </a:lnTo>
                  <a:lnTo>
                    <a:pt x="379" y="2055"/>
                  </a:lnTo>
                  <a:lnTo>
                    <a:pt x="348" y="2111"/>
                  </a:lnTo>
                  <a:lnTo>
                    <a:pt x="379" y="2166"/>
                  </a:lnTo>
                  <a:lnTo>
                    <a:pt x="379" y="2192"/>
                  </a:lnTo>
                  <a:lnTo>
                    <a:pt x="404" y="2223"/>
                  </a:lnTo>
                  <a:lnTo>
                    <a:pt x="404" y="2247"/>
                  </a:lnTo>
                  <a:lnTo>
                    <a:pt x="429" y="2247"/>
                  </a:lnTo>
                  <a:lnTo>
                    <a:pt x="460" y="2273"/>
                  </a:lnTo>
                  <a:lnTo>
                    <a:pt x="460" y="2304"/>
                  </a:lnTo>
                  <a:lnTo>
                    <a:pt x="429" y="2328"/>
                  </a:lnTo>
                  <a:lnTo>
                    <a:pt x="429" y="2384"/>
                  </a:lnTo>
                  <a:lnTo>
                    <a:pt x="379" y="2409"/>
                  </a:lnTo>
                  <a:lnTo>
                    <a:pt x="348" y="2440"/>
                  </a:lnTo>
                  <a:lnTo>
                    <a:pt x="323" y="2440"/>
                  </a:lnTo>
                  <a:lnTo>
                    <a:pt x="323" y="2489"/>
                  </a:lnTo>
                  <a:lnTo>
                    <a:pt x="298" y="2546"/>
                  </a:lnTo>
                  <a:lnTo>
                    <a:pt x="298" y="2570"/>
                  </a:lnTo>
                  <a:lnTo>
                    <a:pt x="323" y="2627"/>
                  </a:lnTo>
                  <a:lnTo>
                    <a:pt x="323" y="2682"/>
                  </a:lnTo>
                  <a:lnTo>
                    <a:pt x="348" y="2707"/>
                  </a:lnTo>
                  <a:lnTo>
                    <a:pt x="379" y="2682"/>
                  </a:lnTo>
                  <a:lnTo>
                    <a:pt x="404" y="2707"/>
                  </a:lnTo>
                  <a:lnTo>
                    <a:pt x="348" y="2788"/>
                  </a:lnTo>
                  <a:lnTo>
                    <a:pt x="323" y="2763"/>
                  </a:lnTo>
                  <a:lnTo>
                    <a:pt x="298" y="2788"/>
                  </a:lnTo>
                  <a:lnTo>
                    <a:pt x="267" y="2788"/>
                  </a:lnTo>
                  <a:lnTo>
                    <a:pt x="242" y="2843"/>
                  </a:lnTo>
                  <a:lnTo>
                    <a:pt x="187" y="2869"/>
                  </a:lnTo>
                  <a:lnTo>
                    <a:pt x="130" y="2980"/>
                  </a:lnTo>
                  <a:lnTo>
                    <a:pt x="161" y="3005"/>
                  </a:lnTo>
                  <a:lnTo>
                    <a:pt x="130" y="3142"/>
                  </a:lnTo>
                  <a:lnTo>
                    <a:pt x="161" y="3166"/>
                  </a:lnTo>
                  <a:lnTo>
                    <a:pt x="267" y="3166"/>
                  </a:lnTo>
                  <a:lnTo>
                    <a:pt x="298" y="3197"/>
                  </a:lnTo>
                  <a:lnTo>
                    <a:pt x="298" y="3166"/>
                  </a:lnTo>
                  <a:lnTo>
                    <a:pt x="323" y="3166"/>
                  </a:lnTo>
                  <a:lnTo>
                    <a:pt x="348" y="3142"/>
                  </a:lnTo>
                  <a:lnTo>
                    <a:pt x="379" y="3142"/>
                  </a:lnTo>
                  <a:lnTo>
                    <a:pt x="323" y="3166"/>
                  </a:lnTo>
                  <a:lnTo>
                    <a:pt x="323" y="3223"/>
                  </a:lnTo>
                  <a:lnTo>
                    <a:pt x="379" y="3223"/>
                  </a:lnTo>
                  <a:lnTo>
                    <a:pt x="460" y="3303"/>
                  </a:lnTo>
                  <a:lnTo>
                    <a:pt x="485" y="3334"/>
                  </a:lnTo>
                  <a:lnTo>
                    <a:pt x="485" y="3415"/>
                  </a:lnTo>
                  <a:lnTo>
                    <a:pt x="460" y="3439"/>
                  </a:lnTo>
                  <a:lnTo>
                    <a:pt x="485" y="3496"/>
                  </a:lnTo>
                  <a:lnTo>
                    <a:pt x="516" y="3496"/>
                  </a:lnTo>
                  <a:lnTo>
                    <a:pt x="541" y="3551"/>
                  </a:lnTo>
                  <a:lnTo>
                    <a:pt x="566" y="3576"/>
                  </a:lnTo>
                  <a:lnTo>
                    <a:pt x="541" y="3576"/>
                  </a:lnTo>
                  <a:lnTo>
                    <a:pt x="516" y="3551"/>
                  </a:lnTo>
                  <a:lnTo>
                    <a:pt x="516" y="3576"/>
                  </a:lnTo>
                  <a:lnTo>
                    <a:pt x="516" y="3601"/>
                  </a:lnTo>
                  <a:lnTo>
                    <a:pt x="541" y="3657"/>
                  </a:lnTo>
                  <a:lnTo>
                    <a:pt x="566" y="3682"/>
                  </a:lnTo>
                  <a:lnTo>
                    <a:pt x="566" y="3738"/>
                  </a:lnTo>
                  <a:lnTo>
                    <a:pt x="621" y="3738"/>
                  </a:lnTo>
                  <a:lnTo>
                    <a:pt x="678" y="3793"/>
                  </a:lnTo>
                  <a:lnTo>
                    <a:pt x="703" y="3819"/>
                  </a:lnTo>
                  <a:lnTo>
                    <a:pt x="727" y="3850"/>
                  </a:lnTo>
                  <a:lnTo>
                    <a:pt x="815" y="3819"/>
                  </a:lnTo>
                  <a:lnTo>
                    <a:pt x="815" y="3793"/>
                  </a:lnTo>
                  <a:lnTo>
                    <a:pt x="815" y="3762"/>
                  </a:lnTo>
                  <a:lnTo>
                    <a:pt x="839" y="3793"/>
                  </a:lnTo>
                  <a:lnTo>
                    <a:pt x="865" y="3793"/>
                  </a:lnTo>
                  <a:lnTo>
                    <a:pt x="865" y="3762"/>
                  </a:lnTo>
                  <a:lnTo>
                    <a:pt x="895" y="3712"/>
                  </a:lnTo>
                  <a:lnTo>
                    <a:pt x="920" y="3682"/>
                  </a:lnTo>
                  <a:lnTo>
                    <a:pt x="1057" y="3657"/>
                  </a:lnTo>
                  <a:lnTo>
                    <a:pt x="1113" y="3682"/>
                  </a:lnTo>
                  <a:lnTo>
                    <a:pt x="1163" y="3657"/>
                  </a:lnTo>
                  <a:lnTo>
                    <a:pt x="1163" y="3632"/>
                  </a:lnTo>
                  <a:lnTo>
                    <a:pt x="1194" y="3632"/>
                  </a:lnTo>
                  <a:lnTo>
                    <a:pt x="1244" y="3576"/>
                  </a:lnTo>
                  <a:lnTo>
                    <a:pt x="1300" y="3601"/>
                  </a:lnTo>
                  <a:lnTo>
                    <a:pt x="1355" y="3601"/>
                  </a:lnTo>
                  <a:lnTo>
                    <a:pt x="1381" y="3576"/>
                  </a:lnTo>
                  <a:lnTo>
                    <a:pt x="1412" y="3576"/>
                  </a:lnTo>
                  <a:lnTo>
                    <a:pt x="1436" y="3601"/>
                  </a:lnTo>
                  <a:lnTo>
                    <a:pt x="1462" y="3601"/>
                  </a:lnTo>
                  <a:lnTo>
                    <a:pt x="1493" y="3601"/>
                  </a:lnTo>
                  <a:lnTo>
                    <a:pt x="1517" y="3632"/>
                  </a:lnTo>
                  <a:lnTo>
                    <a:pt x="1573" y="3601"/>
                  </a:lnTo>
                  <a:lnTo>
                    <a:pt x="1623" y="3657"/>
                  </a:lnTo>
                  <a:lnTo>
                    <a:pt x="1654" y="3632"/>
                  </a:lnTo>
                  <a:lnTo>
                    <a:pt x="1760" y="3632"/>
                  </a:lnTo>
                  <a:lnTo>
                    <a:pt x="1841" y="3657"/>
                  </a:lnTo>
                  <a:lnTo>
                    <a:pt x="1872" y="3682"/>
                  </a:lnTo>
                  <a:lnTo>
                    <a:pt x="1897" y="3682"/>
                  </a:lnTo>
                  <a:lnTo>
                    <a:pt x="1953" y="3682"/>
                  </a:lnTo>
                  <a:lnTo>
                    <a:pt x="1978" y="3632"/>
                  </a:lnTo>
                  <a:lnTo>
                    <a:pt x="2009" y="3632"/>
                  </a:lnTo>
                  <a:lnTo>
                    <a:pt x="2033" y="3632"/>
                  </a:lnTo>
                  <a:lnTo>
                    <a:pt x="2059" y="3632"/>
                  </a:lnTo>
                  <a:lnTo>
                    <a:pt x="2090" y="3632"/>
                  </a:lnTo>
                  <a:lnTo>
                    <a:pt x="2114" y="3682"/>
                  </a:lnTo>
                  <a:lnTo>
                    <a:pt x="2139" y="3682"/>
                  </a:lnTo>
                  <a:lnTo>
                    <a:pt x="2170" y="3657"/>
                  </a:lnTo>
                  <a:lnTo>
                    <a:pt x="2196" y="3657"/>
                  </a:lnTo>
                  <a:lnTo>
                    <a:pt x="2196" y="3632"/>
                  </a:lnTo>
                  <a:lnTo>
                    <a:pt x="2220" y="3601"/>
                  </a:lnTo>
                  <a:lnTo>
                    <a:pt x="2251" y="3601"/>
                  </a:lnTo>
                  <a:lnTo>
                    <a:pt x="2251" y="3576"/>
                  </a:lnTo>
                  <a:lnTo>
                    <a:pt x="2277" y="3520"/>
                  </a:lnTo>
                  <a:lnTo>
                    <a:pt x="2277" y="3465"/>
                  </a:lnTo>
                  <a:lnTo>
                    <a:pt x="2357" y="3415"/>
                  </a:lnTo>
                  <a:lnTo>
                    <a:pt x="2388" y="3384"/>
                  </a:lnTo>
                  <a:lnTo>
                    <a:pt x="2414" y="3384"/>
                  </a:lnTo>
                  <a:lnTo>
                    <a:pt x="2438" y="3384"/>
                  </a:lnTo>
                  <a:lnTo>
                    <a:pt x="2438" y="3359"/>
                  </a:lnTo>
                  <a:lnTo>
                    <a:pt x="2494" y="3334"/>
                  </a:lnTo>
                  <a:lnTo>
                    <a:pt x="2550" y="3334"/>
                  </a:lnTo>
                  <a:lnTo>
                    <a:pt x="2575" y="3359"/>
                  </a:lnTo>
                  <a:lnTo>
                    <a:pt x="2575" y="3334"/>
                  </a:lnTo>
                  <a:lnTo>
                    <a:pt x="2630" y="3334"/>
                  </a:lnTo>
                  <a:lnTo>
                    <a:pt x="2656" y="3359"/>
                  </a:lnTo>
                  <a:lnTo>
                    <a:pt x="2712" y="3359"/>
                  </a:lnTo>
                  <a:lnTo>
                    <a:pt x="2737" y="3334"/>
                  </a:lnTo>
                  <a:lnTo>
                    <a:pt x="2737" y="3278"/>
                  </a:lnTo>
                  <a:lnTo>
                    <a:pt x="2712" y="3303"/>
                  </a:lnTo>
                  <a:lnTo>
                    <a:pt x="2687" y="3278"/>
                  </a:lnTo>
                  <a:lnTo>
                    <a:pt x="2712" y="3223"/>
                  </a:lnTo>
                  <a:lnTo>
                    <a:pt x="2737" y="3254"/>
                  </a:lnTo>
                  <a:lnTo>
                    <a:pt x="2737" y="3197"/>
                  </a:lnTo>
                  <a:lnTo>
                    <a:pt x="2768" y="3166"/>
                  </a:lnTo>
                  <a:lnTo>
                    <a:pt x="2768" y="3142"/>
                  </a:lnTo>
                  <a:lnTo>
                    <a:pt x="2793" y="3061"/>
                  </a:lnTo>
                  <a:lnTo>
                    <a:pt x="2848" y="3061"/>
                  </a:lnTo>
                  <a:lnTo>
                    <a:pt x="2848" y="3005"/>
                  </a:lnTo>
                  <a:lnTo>
                    <a:pt x="2874" y="2980"/>
                  </a:lnTo>
                  <a:lnTo>
                    <a:pt x="2905" y="2980"/>
                  </a:lnTo>
                  <a:lnTo>
                    <a:pt x="2905" y="2955"/>
                  </a:lnTo>
                  <a:lnTo>
                    <a:pt x="2929" y="2924"/>
                  </a:lnTo>
                  <a:lnTo>
                    <a:pt x="3011" y="2924"/>
                  </a:lnTo>
                  <a:lnTo>
                    <a:pt x="3035" y="2924"/>
                  </a:lnTo>
                  <a:lnTo>
                    <a:pt x="3035" y="2900"/>
                  </a:lnTo>
                  <a:lnTo>
                    <a:pt x="3092" y="2869"/>
                  </a:lnTo>
                  <a:lnTo>
                    <a:pt x="3123" y="2843"/>
                  </a:lnTo>
                  <a:lnTo>
                    <a:pt x="3147" y="2819"/>
                  </a:lnTo>
                  <a:lnTo>
                    <a:pt x="3147" y="2788"/>
                  </a:lnTo>
                  <a:lnTo>
                    <a:pt x="3123" y="2763"/>
                  </a:lnTo>
                  <a:lnTo>
                    <a:pt x="3066" y="2738"/>
                  </a:lnTo>
                  <a:lnTo>
                    <a:pt x="3035" y="2738"/>
                  </a:lnTo>
                  <a:lnTo>
                    <a:pt x="3011" y="2601"/>
                  </a:lnTo>
                  <a:lnTo>
                    <a:pt x="3011" y="2570"/>
                  </a:lnTo>
                  <a:lnTo>
                    <a:pt x="2985" y="2520"/>
                  </a:lnTo>
                  <a:lnTo>
                    <a:pt x="2985" y="2465"/>
                  </a:lnTo>
                  <a:lnTo>
                    <a:pt x="2985" y="2440"/>
                  </a:lnTo>
                  <a:lnTo>
                    <a:pt x="3035" y="2353"/>
                  </a:lnTo>
                  <a:lnTo>
                    <a:pt x="3066" y="2328"/>
                  </a:lnTo>
                  <a:lnTo>
                    <a:pt x="3334" y="1950"/>
                  </a:lnTo>
                  <a:lnTo>
                    <a:pt x="3365" y="1924"/>
                  </a:lnTo>
                  <a:lnTo>
                    <a:pt x="3421" y="1924"/>
                  </a:lnTo>
                  <a:lnTo>
                    <a:pt x="3390" y="1950"/>
                  </a:lnTo>
                  <a:lnTo>
                    <a:pt x="3421" y="1950"/>
                  </a:lnTo>
                  <a:lnTo>
                    <a:pt x="3445" y="1924"/>
                  </a:lnTo>
                  <a:lnTo>
                    <a:pt x="3502" y="1893"/>
                  </a:lnTo>
                  <a:lnTo>
                    <a:pt x="3502" y="1869"/>
                  </a:lnTo>
                  <a:lnTo>
                    <a:pt x="3471" y="1869"/>
                  </a:lnTo>
                  <a:lnTo>
                    <a:pt x="3445" y="1844"/>
                  </a:lnTo>
                  <a:lnTo>
                    <a:pt x="3421" y="1844"/>
                  </a:lnTo>
                  <a:lnTo>
                    <a:pt x="3445" y="1813"/>
                  </a:lnTo>
                  <a:lnTo>
                    <a:pt x="3526" y="1732"/>
                  </a:lnTo>
                  <a:lnTo>
                    <a:pt x="3583" y="1732"/>
                  </a:lnTo>
                  <a:lnTo>
                    <a:pt x="3608" y="1732"/>
                  </a:lnTo>
                  <a:lnTo>
                    <a:pt x="3632" y="1708"/>
                  </a:lnTo>
                  <a:lnTo>
                    <a:pt x="3800" y="1677"/>
                  </a:lnTo>
                  <a:lnTo>
                    <a:pt x="3962" y="1651"/>
                  </a:lnTo>
                  <a:lnTo>
                    <a:pt x="3987" y="1596"/>
                  </a:lnTo>
                  <a:lnTo>
                    <a:pt x="3987" y="1627"/>
                  </a:lnTo>
                  <a:lnTo>
                    <a:pt x="4018" y="1570"/>
                  </a:lnTo>
                  <a:lnTo>
                    <a:pt x="4205" y="1490"/>
                  </a:lnTo>
                  <a:lnTo>
                    <a:pt x="4229" y="1459"/>
                  </a:lnTo>
                  <a:lnTo>
                    <a:pt x="4260" y="1459"/>
                  </a:lnTo>
                  <a:lnTo>
                    <a:pt x="4317" y="1434"/>
                  </a:lnTo>
                  <a:lnTo>
                    <a:pt x="4317" y="1409"/>
                  </a:lnTo>
                  <a:lnTo>
                    <a:pt x="4341" y="1409"/>
                  </a:lnTo>
                  <a:lnTo>
                    <a:pt x="4367" y="1354"/>
                  </a:lnTo>
                  <a:lnTo>
                    <a:pt x="4367" y="1328"/>
                  </a:lnTo>
                  <a:lnTo>
                    <a:pt x="4367" y="1273"/>
                  </a:lnTo>
                  <a:lnTo>
                    <a:pt x="4341" y="1242"/>
                  </a:lnTo>
                  <a:lnTo>
                    <a:pt x="4341" y="1217"/>
                  </a:lnTo>
                  <a:lnTo>
                    <a:pt x="4367" y="1217"/>
                  </a:lnTo>
                  <a:lnTo>
                    <a:pt x="4398" y="1217"/>
                  </a:lnTo>
                  <a:lnTo>
                    <a:pt x="4422" y="1192"/>
                  </a:lnTo>
                  <a:lnTo>
                    <a:pt x="4367" y="1161"/>
                  </a:lnTo>
                  <a:lnTo>
                    <a:pt x="4367" y="1111"/>
                  </a:lnTo>
                  <a:lnTo>
                    <a:pt x="4341" y="1111"/>
                  </a:lnTo>
                  <a:lnTo>
                    <a:pt x="4317" y="1081"/>
                  </a:lnTo>
                  <a:lnTo>
                    <a:pt x="4205" y="1111"/>
                  </a:lnTo>
                  <a:lnTo>
                    <a:pt x="4180" y="1161"/>
                  </a:lnTo>
                  <a:lnTo>
                    <a:pt x="4123" y="1136"/>
                  </a:lnTo>
                  <a:lnTo>
                    <a:pt x="4068" y="1081"/>
                  </a:lnTo>
                  <a:lnTo>
                    <a:pt x="4018" y="1111"/>
                  </a:lnTo>
                  <a:lnTo>
                    <a:pt x="3962" y="1136"/>
                  </a:lnTo>
                  <a:lnTo>
                    <a:pt x="3907" y="1081"/>
                  </a:lnTo>
                  <a:lnTo>
                    <a:pt x="3881" y="1055"/>
                  </a:lnTo>
                  <a:lnTo>
                    <a:pt x="3769" y="1081"/>
                  </a:lnTo>
                  <a:lnTo>
                    <a:pt x="3769" y="1055"/>
                  </a:lnTo>
                  <a:lnTo>
                    <a:pt x="3769" y="1000"/>
                  </a:lnTo>
                  <a:lnTo>
                    <a:pt x="3744" y="943"/>
                  </a:lnTo>
                  <a:lnTo>
                    <a:pt x="3720" y="919"/>
                  </a:lnTo>
                  <a:lnTo>
                    <a:pt x="3663" y="919"/>
                  </a:lnTo>
                  <a:lnTo>
                    <a:pt x="3663" y="894"/>
                  </a:lnTo>
                  <a:lnTo>
                    <a:pt x="3608" y="894"/>
                  </a:lnTo>
                  <a:lnTo>
                    <a:pt x="3552" y="863"/>
                  </a:lnTo>
                  <a:lnTo>
                    <a:pt x="3526" y="838"/>
                  </a:lnTo>
                  <a:lnTo>
                    <a:pt x="3502" y="838"/>
                  </a:lnTo>
                  <a:lnTo>
                    <a:pt x="3502" y="919"/>
                  </a:lnTo>
                  <a:lnTo>
                    <a:pt x="3471" y="943"/>
                  </a:lnTo>
                  <a:lnTo>
                    <a:pt x="3445" y="919"/>
                  </a:lnTo>
                  <a:lnTo>
                    <a:pt x="3390" y="919"/>
                  </a:lnTo>
                  <a:lnTo>
                    <a:pt x="3365" y="919"/>
                  </a:lnTo>
                  <a:lnTo>
                    <a:pt x="3334" y="894"/>
                  </a:lnTo>
                  <a:lnTo>
                    <a:pt x="3228" y="919"/>
                  </a:lnTo>
                  <a:lnTo>
                    <a:pt x="3203" y="863"/>
                  </a:lnTo>
                  <a:lnTo>
                    <a:pt x="3147" y="838"/>
                  </a:lnTo>
                  <a:lnTo>
                    <a:pt x="3092" y="838"/>
                  </a:lnTo>
                  <a:lnTo>
                    <a:pt x="3066" y="838"/>
                  </a:lnTo>
                  <a:lnTo>
                    <a:pt x="3035" y="813"/>
                  </a:lnTo>
                  <a:lnTo>
                    <a:pt x="3011" y="782"/>
                  </a:lnTo>
                  <a:lnTo>
                    <a:pt x="2985" y="758"/>
                  </a:lnTo>
                  <a:lnTo>
                    <a:pt x="2929" y="758"/>
                  </a:lnTo>
                  <a:lnTo>
                    <a:pt x="2848" y="701"/>
                  </a:lnTo>
                  <a:lnTo>
                    <a:pt x="2817" y="677"/>
                  </a:lnTo>
                  <a:lnTo>
                    <a:pt x="2817" y="646"/>
                  </a:lnTo>
                  <a:lnTo>
                    <a:pt x="2793" y="646"/>
                  </a:lnTo>
                  <a:lnTo>
                    <a:pt x="2768" y="701"/>
                  </a:lnTo>
                  <a:lnTo>
                    <a:pt x="2737" y="677"/>
                  </a:lnTo>
                  <a:lnTo>
                    <a:pt x="2793" y="596"/>
                  </a:lnTo>
                  <a:lnTo>
                    <a:pt x="2737" y="565"/>
                  </a:lnTo>
                  <a:lnTo>
                    <a:pt x="2712" y="596"/>
                  </a:lnTo>
                  <a:lnTo>
                    <a:pt x="2687" y="540"/>
                  </a:lnTo>
                  <a:lnTo>
                    <a:pt x="2656" y="540"/>
                  </a:lnTo>
                  <a:lnTo>
                    <a:pt x="2656" y="515"/>
                  </a:lnTo>
                  <a:lnTo>
                    <a:pt x="2630" y="515"/>
                  </a:lnTo>
                  <a:lnTo>
                    <a:pt x="2550" y="540"/>
                  </a:lnTo>
                  <a:lnTo>
                    <a:pt x="2494" y="515"/>
                  </a:lnTo>
                  <a:lnTo>
                    <a:pt x="2469" y="540"/>
                  </a:lnTo>
                  <a:lnTo>
                    <a:pt x="2438" y="515"/>
                  </a:lnTo>
                  <a:lnTo>
                    <a:pt x="2414" y="484"/>
                  </a:lnTo>
                  <a:lnTo>
                    <a:pt x="2357" y="459"/>
                  </a:lnTo>
                  <a:lnTo>
                    <a:pt x="2332" y="459"/>
                  </a:lnTo>
                  <a:lnTo>
                    <a:pt x="2332" y="435"/>
                  </a:lnTo>
                  <a:lnTo>
                    <a:pt x="2277" y="435"/>
                  </a:lnTo>
                  <a:lnTo>
                    <a:pt x="2220" y="459"/>
                  </a:lnTo>
                  <a:lnTo>
                    <a:pt x="2220" y="484"/>
                  </a:lnTo>
                  <a:lnTo>
                    <a:pt x="2196" y="459"/>
                  </a:lnTo>
                  <a:lnTo>
                    <a:pt x="2170" y="435"/>
                  </a:lnTo>
                  <a:lnTo>
                    <a:pt x="2090" y="404"/>
                  </a:lnTo>
                  <a:lnTo>
                    <a:pt x="2059" y="435"/>
                  </a:lnTo>
                  <a:lnTo>
                    <a:pt x="2059" y="404"/>
                  </a:lnTo>
                  <a:lnTo>
                    <a:pt x="2090" y="404"/>
                  </a:lnTo>
                  <a:lnTo>
                    <a:pt x="2059" y="378"/>
                  </a:lnTo>
                  <a:lnTo>
                    <a:pt x="2009" y="378"/>
                  </a:lnTo>
                  <a:lnTo>
                    <a:pt x="1978" y="378"/>
                  </a:lnTo>
                  <a:lnTo>
                    <a:pt x="1978" y="404"/>
                  </a:lnTo>
                  <a:lnTo>
                    <a:pt x="1953" y="404"/>
                  </a:lnTo>
                  <a:lnTo>
                    <a:pt x="1953" y="378"/>
                  </a:lnTo>
                  <a:lnTo>
                    <a:pt x="1872" y="378"/>
                  </a:lnTo>
                  <a:lnTo>
                    <a:pt x="1815" y="378"/>
                  </a:lnTo>
                  <a:lnTo>
                    <a:pt x="1710" y="378"/>
                  </a:lnTo>
                  <a:lnTo>
                    <a:pt x="1623" y="347"/>
                  </a:lnTo>
                  <a:lnTo>
                    <a:pt x="1599" y="323"/>
                  </a:lnTo>
                  <a:lnTo>
                    <a:pt x="1493" y="298"/>
                  </a:lnTo>
                  <a:lnTo>
                    <a:pt x="1462" y="298"/>
                  </a:lnTo>
                  <a:lnTo>
                    <a:pt x="1462" y="267"/>
                  </a:lnTo>
                  <a:lnTo>
                    <a:pt x="1412" y="242"/>
                  </a:lnTo>
                  <a:lnTo>
                    <a:pt x="1300" y="242"/>
                  </a:lnTo>
                  <a:lnTo>
                    <a:pt x="1275" y="162"/>
                  </a:lnTo>
                  <a:lnTo>
                    <a:pt x="1218" y="186"/>
                  </a:lnTo>
                  <a:lnTo>
                    <a:pt x="1163" y="217"/>
                  </a:lnTo>
                  <a:lnTo>
                    <a:pt x="1113" y="186"/>
                  </a:lnTo>
                  <a:lnTo>
                    <a:pt x="1026" y="186"/>
                  </a:lnTo>
                  <a:lnTo>
                    <a:pt x="920" y="162"/>
                  </a:lnTo>
                  <a:lnTo>
                    <a:pt x="865" y="162"/>
                  </a:lnTo>
                  <a:lnTo>
                    <a:pt x="839" y="186"/>
                  </a:lnTo>
                  <a:lnTo>
                    <a:pt x="815" y="162"/>
                  </a:lnTo>
                  <a:lnTo>
                    <a:pt x="839" y="162"/>
                  </a:lnTo>
                  <a:lnTo>
                    <a:pt x="784" y="131"/>
                  </a:lnTo>
                  <a:lnTo>
                    <a:pt x="758" y="131"/>
                  </a:lnTo>
                  <a:lnTo>
                    <a:pt x="758" y="105"/>
                  </a:lnTo>
                  <a:lnTo>
                    <a:pt x="727" y="81"/>
                  </a:lnTo>
                  <a:lnTo>
                    <a:pt x="678" y="24"/>
                  </a:lnTo>
                  <a:lnTo>
                    <a:pt x="647" y="50"/>
                  </a:lnTo>
                  <a:lnTo>
                    <a:pt x="647" y="24"/>
                  </a:lnTo>
                  <a:lnTo>
                    <a:pt x="621" y="24"/>
                  </a:lnTo>
                  <a:lnTo>
                    <a:pt x="621" y="0"/>
                  </a:lnTo>
                  <a:lnTo>
                    <a:pt x="597" y="24"/>
                  </a:lnTo>
                  <a:lnTo>
                    <a:pt x="566" y="50"/>
                  </a:lnTo>
                  <a:lnTo>
                    <a:pt x="566" y="24"/>
                  </a:lnTo>
                  <a:lnTo>
                    <a:pt x="566" y="0"/>
                  </a:lnTo>
                  <a:lnTo>
                    <a:pt x="516" y="0"/>
                  </a:lnTo>
                  <a:lnTo>
                    <a:pt x="485" y="50"/>
                  </a:lnTo>
                  <a:lnTo>
                    <a:pt x="485" y="24"/>
                  </a:lnTo>
                  <a:lnTo>
                    <a:pt x="429" y="50"/>
                  </a:lnTo>
                  <a:lnTo>
                    <a:pt x="404" y="50"/>
                  </a:lnTo>
                  <a:lnTo>
                    <a:pt x="379" y="81"/>
                  </a:lnTo>
                  <a:lnTo>
                    <a:pt x="429" y="105"/>
                  </a:lnTo>
                  <a:lnTo>
                    <a:pt x="404" y="105"/>
                  </a:lnTo>
                  <a:lnTo>
                    <a:pt x="460" y="131"/>
                  </a:lnTo>
                  <a:lnTo>
                    <a:pt x="429" y="131"/>
                  </a:lnTo>
                  <a:lnTo>
                    <a:pt x="404" y="186"/>
                  </a:lnTo>
                  <a:lnTo>
                    <a:pt x="404" y="162"/>
                  </a:lnTo>
                  <a:lnTo>
                    <a:pt x="379" y="131"/>
                  </a:lnTo>
                  <a:lnTo>
                    <a:pt x="379" y="162"/>
                  </a:lnTo>
                  <a:lnTo>
                    <a:pt x="348" y="131"/>
                  </a:lnTo>
                  <a:lnTo>
                    <a:pt x="323" y="131"/>
                  </a:lnTo>
                  <a:lnTo>
                    <a:pt x="298" y="162"/>
                  </a:lnTo>
                  <a:lnTo>
                    <a:pt x="242" y="162"/>
                  </a:lnTo>
                  <a:lnTo>
                    <a:pt x="187" y="131"/>
                  </a:lnTo>
                  <a:lnTo>
                    <a:pt x="161" y="131"/>
                  </a:lnTo>
                  <a:lnTo>
                    <a:pt x="161" y="162"/>
                  </a:lnTo>
                  <a:lnTo>
                    <a:pt x="130" y="162"/>
                  </a:lnTo>
                  <a:lnTo>
                    <a:pt x="106" y="186"/>
                  </a:lnTo>
                  <a:lnTo>
                    <a:pt x="80" y="162"/>
                  </a:lnTo>
                  <a:lnTo>
                    <a:pt x="50" y="186"/>
                  </a:lnTo>
                  <a:lnTo>
                    <a:pt x="80" y="217"/>
                  </a:lnTo>
                  <a:lnTo>
                    <a:pt x="24" y="217"/>
                  </a:lnTo>
                  <a:lnTo>
                    <a:pt x="24" y="242"/>
                  </a:lnTo>
                  <a:lnTo>
                    <a:pt x="24" y="267"/>
                  </a:lnTo>
                  <a:lnTo>
                    <a:pt x="0" y="267"/>
                  </a:lnTo>
                  <a:lnTo>
                    <a:pt x="0" y="298"/>
                  </a:lnTo>
                  <a:lnTo>
                    <a:pt x="24" y="267"/>
                  </a:lnTo>
                  <a:lnTo>
                    <a:pt x="50" y="347"/>
                  </a:lnTo>
                  <a:lnTo>
                    <a:pt x="24" y="347"/>
                  </a:lnTo>
                  <a:lnTo>
                    <a:pt x="50" y="378"/>
                  </a:lnTo>
                  <a:lnTo>
                    <a:pt x="130" y="347"/>
                  </a:lnTo>
                  <a:lnTo>
                    <a:pt x="130" y="378"/>
                  </a:lnTo>
                  <a:lnTo>
                    <a:pt x="80" y="404"/>
                  </a:lnTo>
                  <a:lnTo>
                    <a:pt x="24" y="459"/>
                  </a:lnTo>
                  <a:lnTo>
                    <a:pt x="50" y="484"/>
                  </a:lnTo>
                  <a:lnTo>
                    <a:pt x="106" y="459"/>
                  </a:lnTo>
                  <a:lnTo>
                    <a:pt x="187" y="435"/>
                  </a:lnTo>
                  <a:lnTo>
                    <a:pt x="161" y="459"/>
                  </a:lnTo>
                  <a:lnTo>
                    <a:pt x="130" y="515"/>
                  </a:lnTo>
                  <a:lnTo>
                    <a:pt x="106" y="540"/>
                  </a:lnTo>
                  <a:lnTo>
                    <a:pt x="106" y="515"/>
                  </a:lnTo>
                  <a:lnTo>
                    <a:pt x="80" y="540"/>
                  </a:lnTo>
                  <a:lnTo>
                    <a:pt x="106" y="565"/>
                  </a:lnTo>
                  <a:lnTo>
                    <a:pt x="161" y="565"/>
                  </a:lnTo>
                  <a:lnTo>
                    <a:pt x="106" y="596"/>
                  </a:lnTo>
                  <a:lnTo>
                    <a:pt x="80" y="646"/>
                  </a:lnTo>
                  <a:lnTo>
                    <a:pt x="106" y="646"/>
                  </a:lnTo>
                  <a:lnTo>
                    <a:pt x="161" y="620"/>
                  </a:lnTo>
                  <a:lnTo>
                    <a:pt x="161" y="646"/>
                  </a:lnTo>
                  <a:lnTo>
                    <a:pt x="106" y="677"/>
                  </a:lnTo>
                  <a:lnTo>
                    <a:pt x="80" y="701"/>
                  </a:lnTo>
                  <a:lnTo>
                    <a:pt x="50" y="701"/>
                  </a:lnTo>
                  <a:lnTo>
                    <a:pt x="50" y="813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30" name="Freeform 66">
              <a:extLst>
                <a:ext uri="{FF2B5EF4-FFF2-40B4-BE49-F238E27FC236}">
                  <a16:creationId xmlns:a16="http://schemas.microsoft.com/office/drawing/2014/main" id="{5E4FC24D-0DB9-4279-8261-5DF8D76D884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75229" y="2679118"/>
              <a:ext cx="491859" cy="599173"/>
            </a:xfrm>
            <a:custGeom>
              <a:avLst/>
              <a:gdLst/>
              <a:ahLst/>
              <a:cxnLst>
                <a:cxn ang="0">
                  <a:pos x="379" y="539"/>
                </a:cxn>
                <a:cxn ang="0">
                  <a:pos x="379" y="1002"/>
                </a:cxn>
                <a:cxn ang="0">
                  <a:pos x="1354" y="112"/>
                </a:cxn>
                <a:cxn ang="0">
                  <a:pos x="1273" y="81"/>
                </a:cxn>
                <a:cxn ang="0">
                  <a:pos x="1143" y="191"/>
                </a:cxn>
                <a:cxn ang="0">
                  <a:pos x="1112" y="55"/>
                </a:cxn>
                <a:cxn ang="0">
                  <a:pos x="950" y="81"/>
                </a:cxn>
                <a:cxn ang="0">
                  <a:pos x="895" y="191"/>
                </a:cxn>
                <a:cxn ang="0">
                  <a:pos x="789" y="272"/>
                </a:cxn>
                <a:cxn ang="0">
                  <a:pos x="895" y="322"/>
                </a:cxn>
                <a:cxn ang="0">
                  <a:pos x="895" y="408"/>
                </a:cxn>
                <a:cxn ang="0">
                  <a:pos x="814" y="458"/>
                </a:cxn>
                <a:cxn ang="0">
                  <a:pos x="734" y="489"/>
                </a:cxn>
                <a:cxn ang="0">
                  <a:pos x="627" y="434"/>
                </a:cxn>
                <a:cxn ang="0">
                  <a:pos x="435" y="408"/>
                </a:cxn>
                <a:cxn ang="0">
                  <a:pos x="354" y="489"/>
                </a:cxn>
                <a:cxn ang="0">
                  <a:pos x="435" y="489"/>
                </a:cxn>
                <a:cxn ang="0">
                  <a:pos x="410" y="594"/>
                </a:cxn>
                <a:cxn ang="0">
                  <a:pos x="459" y="649"/>
                </a:cxn>
                <a:cxn ang="0">
                  <a:pos x="354" y="730"/>
                </a:cxn>
                <a:cxn ang="0">
                  <a:pos x="249" y="811"/>
                </a:cxn>
                <a:cxn ang="0">
                  <a:pos x="354" y="891"/>
                </a:cxn>
                <a:cxn ang="0">
                  <a:pos x="410" y="866"/>
                </a:cxn>
                <a:cxn ang="0">
                  <a:pos x="547" y="1002"/>
                </a:cxn>
                <a:cxn ang="0">
                  <a:pos x="435" y="1083"/>
                </a:cxn>
                <a:cxn ang="0">
                  <a:pos x="217" y="1219"/>
                </a:cxn>
                <a:cxn ang="0">
                  <a:pos x="435" y="1219"/>
                </a:cxn>
                <a:cxn ang="0">
                  <a:pos x="516" y="1219"/>
                </a:cxn>
                <a:cxn ang="0">
                  <a:pos x="410" y="1268"/>
                </a:cxn>
                <a:cxn ang="0">
                  <a:pos x="217" y="1268"/>
                </a:cxn>
                <a:cxn ang="0">
                  <a:pos x="136" y="1349"/>
                </a:cxn>
                <a:cxn ang="0">
                  <a:pos x="193" y="1404"/>
                </a:cxn>
                <a:cxn ang="0">
                  <a:pos x="81" y="1485"/>
                </a:cxn>
                <a:cxn ang="0">
                  <a:pos x="249" y="1566"/>
                </a:cxn>
                <a:cxn ang="0">
                  <a:pos x="81" y="1621"/>
                </a:cxn>
                <a:cxn ang="0">
                  <a:pos x="136" y="1646"/>
                </a:cxn>
                <a:cxn ang="0">
                  <a:pos x="249" y="1677"/>
                </a:cxn>
                <a:cxn ang="0">
                  <a:pos x="193" y="1726"/>
                </a:cxn>
                <a:cxn ang="0">
                  <a:pos x="330" y="1782"/>
                </a:cxn>
                <a:cxn ang="0">
                  <a:pos x="491" y="1757"/>
                </a:cxn>
                <a:cxn ang="0">
                  <a:pos x="627" y="1702"/>
                </a:cxn>
                <a:cxn ang="0">
                  <a:pos x="734" y="1677"/>
                </a:cxn>
                <a:cxn ang="0">
                  <a:pos x="870" y="1621"/>
                </a:cxn>
                <a:cxn ang="0">
                  <a:pos x="1031" y="1566"/>
                </a:cxn>
                <a:cxn ang="0">
                  <a:pos x="1056" y="1485"/>
                </a:cxn>
                <a:cxn ang="0">
                  <a:pos x="1143" y="1541"/>
                </a:cxn>
                <a:cxn ang="0">
                  <a:pos x="1249" y="1597"/>
                </a:cxn>
                <a:cxn ang="0">
                  <a:pos x="1273" y="1485"/>
                </a:cxn>
                <a:cxn ang="0">
                  <a:pos x="1410" y="1244"/>
                </a:cxn>
                <a:cxn ang="0">
                  <a:pos x="1410" y="1027"/>
                </a:cxn>
                <a:cxn ang="0">
                  <a:pos x="1410" y="971"/>
                </a:cxn>
                <a:cxn ang="0">
                  <a:pos x="1410" y="811"/>
                </a:cxn>
                <a:cxn ang="0">
                  <a:pos x="1441" y="730"/>
                </a:cxn>
                <a:cxn ang="0">
                  <a:pos x="1273" y="594"/>
                </a:cxn>
                <a:cxn ang="0">
                  <a:pos x="1168" y="619"/>
                </a:cxn>
                <a:cxn ang="0">
                  <a:pos x="976" y="513"/>
                </a:cxn>
                <a:cxn ang="0">
                  <a:pos x="1031" y="353"/>
                </a:cxn>
                <a:cxn ang="0">
                  <a:pos x="1192" y="217"/>
                </a:cxn>
              </a:cxnLst>
              <a:rect l="0" t="0" r="r" b="b"/>
              <a:pathLst>
                <a:path w="1466" h="1782">
                  <a:moveTo>
                    <a:pt x="298" y="513"/>
                  </a:moveTo>
                  <a:lnTo>
                    <a:pt x="298" y="539"/>
                  </a:lnTo>
                  <a:lnTo>
                    <a:pt x="330" y="539"/>
                  </a:lnTo>
                  <a:lnTo>
                    <a:pt x="354" y="539"/>
                  </a:lnTo>
                  <a:lnTo>
                    <a:pt x="354" y="570"/>
                  </a:lnTo>
                  <a:lnTo>
                    <a:pt x="354" y="594"/>
                  </a:lnTo>
                  <a:lnTo>
                    <a:pt x="379" y="539"/>
                  </a:lnTo>
                  <a:lnTo>
                    <a:pt x="379" y="513"/>
                  </a:lnTo>
                  <a:lnTo>
                    <a:pt x="354" y="513"/>
                  </a:lnTo>
                  <a:lnTo>
                    <a:pt x="330" y="513"/>
                  </a:lnTo>
                  <a:lnTo>
                    <a:pt x="298" y="513"/>
                  </a:lnTo>
                  <a:close/>
                  <a:moveTo>
                    <a:pt x="330" y="947"/>
                  </a:moveTo>
                  <a:lnTo>
                    <a:pt x="354" y="971"/>
                  </a:lnTo>
                  <a:lnTo>
                    <a:pt x="379" y="1002"/>
                  </a:lnTo>
                  <a:lnTo>
                    <a:pt x="379" y="971"/>
                  </a:lnTo>
                  <a:lnTo>
                    <a:pt x="379" y="947"/>
                  </a:lnTo>
                  <a:lnTo>
                    <a:pt x="354" y="947"/>
                  </a:lnTo>
                  <a:lnTo>
                    <a:pt x="330" y="947"/>
                  </a:lnTo>
                  <a:close/>
                  <a:moveTo>
                    <a:pt x="1223" y="191"/>
                  </a:moveTo>
                  <a:lnTo>
                    <a:pt x="1249" y="136"/>
                  </a:lnTo>
                  <a:lnTo>
                    <a:pt x="1354" y="112"/>
                  </a:lnTo>
                  <a:lnTo>
                    <a:pt x="1304" y="81"/>
                  </a:lnTo>
                  <a:lnTo>
                    <a:pt x="1273" y="55"/>
                  </a:lnTo>
                  <a:lnTo>
                    <a:pt x="1273" y="24"/>
                  </a:lnTo>
                  <a:lnTo>
                    <a:pt x="1223" y="0"/>
                  </a:lnTo>
                  <a:lnTo>
                    <a:pt x="1223" y="24"/>
                  </a:lnTo>
                  <a:lnTo>
                    <a:pt x="1249" y="24"/>
                  </a:lnTo>
                  <a:lnTo>
                    <a:pt x="1273" y="81"/>
                  </a:lnTo>
                  <a:lnTo>
                    <a:pt x="1249" y="81"/>
                  </a:lnTo>
                  <a:lnTo>
                    <a:pt x="1223" y="55"/>
                  </a:lnTo>
                  <a:lnTo>
                    <a:pt x="1192" y="55"/>
                  </a:lnTo>
                  <a:lnTo>
                    <a:pt x="1168" y="81"/>
                  </a:lnTo>
                  <a:lnTo>
                    <a:pt x="1192" y="136"/>
                  </a:lnTo>
                  <a:lnTo>
                    <a:pt x="1192" y="160"/>
                  </a:lnTo>
                  <a:lnTo>
                    <a:pt x="1143" y="191"/>
                  </a:lnTo>
                  <a:lnTo>
                    <a:pt x="1143" y="160"/>
                  </a:lnTo>
                  <a:lnTo>
                    <a:pt x="1168" y="136"/>
                  </a:lnTo>
                  <a:lnTo>
                    <a:pt x="1168" y="81"/>
                  </a:lnTo>
                  <a:lnTo>
                    <a:pt x="1143" y="55"/>
                  </a:lnTo>
                  <a:lnTo>
                    <a:pt x="1112" y="55"/>
                  </a:lnTo>
                  <a:lnTo>
                    <a:pt x="1112" y="81"/>
                  </a:lnTo>
                  <a:lnTo>
                    <a:pt x="1112" y="55"/>
                  </a:lnTo>
                  <a:lnTo>
                    <a:pt x="1087" y="55"/>
                  </a:lnTo>
                  <a:lnTo>
                    <a:pt x="1087" y="112"/>
                  </a:lnTo>
                  <a:lnTo>
                    <a:pt x="1056" y="55"/>
                  </a:lnTo>
                  <a:lnTo>
                    <a:pt x="1007" y="81"/>
                  </a:lnTo>
                  <a:lnTo>
                    <a:pt x="1007" y="112"/>
                  </a:lnTo>
                  <a:lnTo>
                    <a:pt x="1007" y="81"/>
                  </a:lnTo>
                  <a:lnTo>
                    <a:pt x="950" y="81"/>
                  </a:lnTo>
                  <a:lnTo>
                    <a:pt x="950" y="112"/>
                  </a:lnTo>
                  <a:lnTo>
                    <a:pt x="950" y="136"/>
                  </a:lnTo>
                  <a:lnTo>
                    <a:pt x="926" y="112"/>
                  </a:lnTo>
                  <a:lnTo>
                    <a:pt x="895" y="136"/>
                  </a:lnTo>
                  <a:lnTo>
                    <a:pt x="926" y="160"/>
                  </a:lnTo>
                  <a:lnTo>
                    <a:pt x="895" y="160"/>
                  </a:lnTo>
                  <a:lnTo>
                    <a:pt x="895" y="191"/>
                  </a:lnTo>
                  <a:lnTo>
                    <a:pt x="926" y="191"/>
                  </a:lnTo>
                  <a:lnTo>
                    <a:pt x="926" y="217"/>
                  </a:lnTo>
                  <a:lnTo>
                    <a:pt x="895" y="217"/>
                  </a:lnTo>
                  <a:lnTo>
                    <a:pt x="870" y="217"/>
                  </a:lnTo>
                  <a:lnTo>
                    <a:pt x="870" y="241"/>
                  </a:lnTo>
                  <a:lnTo>
                    <a:pt x="845" y="241"/>
                  </a:lnTo>
                  <a:lnTo>
                    <a:pt x="789" y="272"/>
                  </a:lnTo>
                  <a:lnTo>
                    <a:pt x="789" y="297"/>
                  </a:lnTo>
                  <a:lnTo>
                    <a:pt x="845" y="322"/>
                  </a:lnTo>
                  <a:lnTo>
                    <a:pt x="870" y="297"/>
                  </a:lnTo>
                  <a:lnTo>
                    <a:pt x="895" y="322"/>
                  </a:lnTo>
                  <a:lnTo>
                    <a:pt x="870" y="353"/>
                  </a:lnTo>
                  <a:lnTo>
                    <a:pt x="895" y="353"/>
                  </a:lnTo>
                  <a:lnTo>
                    <a:pt x="895" y="322"/>
                  </a:lnTo>
                  <a:lnTo>
                    <a:pt x="926" y="353"/>
                  </a:lnTo>
                  <a:lnTo>
                    <a:pt x="950" y="322"/>
                  </a:lnTo>
                  <a:lnTo>
                    <a:pt x="976" y="322"/>
                  </a:lnTo>
                  <a:lnTo>
                    <a:pt x="950" y="353"/>
                  </a:lnTo>
                  <a:lnTo>
                    <a:pt x="895" y="377"/>
                  </a:lnTo>
                  <a:lnTo>
                    <a:pt x="926" y="408"/>
                  </a:lnTo>
                  <a:lnTo>
                    <a:pt x="895" y="408"/>
                  </a:lnTo>
                  <a:lnTo>
                    <a:pt x="870" y="408"/>
                  </a:lnTo>
                  <a:lnTo>
                    <a:pt x="845" y="408"/>
                  </a:lnTo>
                  <a:lnTo>
                    <a:pt x="814" y="434"/>
                  </a:lnTo>
                  <a:lnTo>
                    <a:pt x="789" y="434"/>
                  </a:lnTo>
                  <a:lnTo>
                    <a:pt x="789" y="458"/>
                  </a:lnTo>
                  <a:lnTo>
                    <a:pt x="814" y="434"/>
                  </a:lnTo>
                  <a:lnTo>
                    <a:pt x="814" y="458"/>
                  </a:lnTo>
                  <a:lnTo>
                    <a:pt x="845" y="489"/>
                  </a:lnTo>
                  <a:lnTo>
                    <a:pt x="789" y="489"/>
                  </a:lnTo>
                  <a:lnTo>
                    <a:pt x="814" y="513"/>
                  </a:lnTo>
                  <a:lnTo>
                    <a:pt x="789" y="513"/>
                  </a:lnTo>
                  <a:lnTo>
                    <a:pt x="758" y="489"/>
                  </a:lnTo>
                  <a:lnTo>
                    <a:pt x="734" y="458"/>
                  </a:lnTo>
                  <a:lnTo>
                    <a:pt x="734" y="489"/>
                  </a:lnTo>
                  <a:lnTo>
                    <a:pt x="708" y="458"/>
                  </a:lnTo>
                  <a:lnTo>
                    <a:pt x="677" y="434"/>
                  </a:lnTo>
                  <a:lnTo>
                    <a:pt x="627" y="489"/>
                  </a:lnTo>
                  <a:lnTo>
                    <a:pt x="627" y="513"/>
                  </a:lnTo>
                  <a:lnTo>
                    <a:pt x="627" y="489"/>
                  </a:lnTo>
                  <a:lnTo>
                    <a:pt x="627" y="458"/>
                  </a:lnTo>
                  <a:lnTo>
                    <a:pt x="627" y="434"/>
                  </a:lnTo>
                  <a:lnTo>
                    <a:pt x="596" y="408"/>
                  </a:lnTo>
                  <a:lnTo>
                    <a:pt x="572" y="408"/>
                  </a:lnTo>
                  <a:lnTo>
                    <a:pt x="491" y="408"/>
                  </a:lnTo>
                  <a:lnTo>
                    <a:pt x="459" y="377"/>
                  </a:lnTo>
                  <a:lnTo>
                    <a:pt x="435" y="377"/>
                  </a:lnTo>
                  <a:lnTo>
                    <a:pt x="459" y="434"/>
                  </a:lnTo>
                  <a:lnTo>
                    <a:pt x="435" y="408"/>
                  </a:lnTo>
                  <a:lnTo>
                    <a:pt x="410" y="434"/>
                  </a:lnTo>
                  <a:lnTo>
                    <a:pt x="410" y="408"/>
                  </a:lnTo>
                  <a:lnTo>
                    <a:pt x="379" y="377"/>
                  </a:lnTo>
                  <a:lnTo>
                    <a:pt x="379" y="408"/>
                  </a:lnTo>
                  <a:lnTo>
                    <a:pt x="354" y="434"/>
                  </a:lnTo>
                  <a:lnTo>
                    <a:pt x="330" y="489"/>
                  </a:lnTo>
                  <a:lnTo>
                    <a:pt x="354" y="489"/>
                  </a:lnTo>
                  <a:lnTo>
                    <a:pt x="354" y="458"/>
                  </a:lnTo>
                  <a:lnTo>
                    <a:pt x="379" y="434"/>
                  </a:lnTo>
                  <a:lnTo>
                    <a:pt x="410" y="434"/>
                  </a:lnTo>
                  <a:lnTo>
                    <a:pt x="410" y="489"/>
                  </a:lnTo>
                  <a:lnTo>
                    <a:pt x="379" y="489"/>
                  </a:lnTo>
                  <a:lnTo>
                    <a:pt x="379" y="513"/>
                  </a:lnTo>
                  <a:lnTo>
                    <a:pt x="435" y="489"/>
                  </a:lnTo>
                  <a:lnTo>
                    <a:pt x="410" y="513"/>
                  </a:lnTo>
                  <a:lnTo>
                    <a:pt x="410" y="539"/>
                  </a:lnTo>
                  <a:lnTo>
                    <a:pt x="435" y="539"/>
                  </a:lnTo>
                  <a:lnTo>
                    <a:pt x="435" y="570"/>
                  </a:lnTo>
                  <a:lnTo>
                    <a:pt x="379" y="570"/>
                  </a:lnTo>
                  <a:lnTo>
                    <a:pt x="379" y="594"/>
                  </a:lnTo>
                  <a:lnTo>
                    <a:pt x="410" y="594"/>
                  </a:lnTo>
                  <a:lnTo>
                    <a:pt x="435" y="594"/>
                  </a:lnTo>
                  <a:lnTo>
                    <a:pt x="491" y="594"/>
                  </a:lnTo>
                  <a:lnTo>
                    <a:pt x="491" y="619"/>
                  </a:lnTo>
                  <a:lnTo>
                    <a:pt x="459" y="619"/>
                  </a:lnTo>
                  <a:lnTo>
                    <a:pt x="459" y="649"/>
                  </a:lnTo>
                  <a:lnTo>
                    <a:pt x="491" y="649"/>
                  </a:lnTo>
                  <a:lnTo>
                    <a:pt x="459" y="649"/>
                  </a:lnTo>
                  <a:lnTo>
                    <a:pt x="410" y="649"/>
                  </a:lnTo>
                  <a:lnTo>
                    <a:pt x="379" y="649"/>
                  </a:lnTo>
                  <a:lnTo>
                    <a:pt x="354" y="706"/>
                  </a:lnTo>
                  <a:lnTo>
                    <a:pt x="379" y="730"/>
                  </a:lnTo>
                  <a:lnTo>
                    <a:pt x="410" y="730"/>
                  </a:lnTo>
                  <a:lnTo>
                    <a:pt x="379" y="730"/>
                  </a:lnTo>
                  <a:lnTo>
                    <a:pt x="354" y="730"/>
                  </a:lnTo>
                  <a:lnTo>
                    <a:pt x="330" y="706"/>
                  </a:lnTo>
                  <a:lnTo>
                    <a:pt x="330" y="730"/>
                  </a:lnTo>
                  <a:lnTo>
                    <a:pt x="298" y="730"/>
                  </a:lnTo>
                  <a:lnTo>
                    <a:pt x="273" y="730"/>
                  </a:lnTo>
                  <a:lnTo>
                    <a:pt x="298" y="786"/>
                  </a:lnTo>
                  <a:lnTo>
                    <a:pt x="273" y="786"/>
                  </a:lnTo>
                  <a:lnTo>
                    <a:pt x="249" y="811"/>
                  </a:lnTo>
                  <a:lnTo>
                    <a:pt x="298" y="811"/>
                  </a:lnTo>
                  <a:lnTo>
                    <a:pt x="298" y="835"/>
                  </a:lnTo>
                  <a:lnTo>
                    <a:pt x="330" y="811"/>
                  </a:lnTo>
                  <a:lnTo>
                    <a:pt x="379" y="811"/>
                  </a:lnTo>
                  <a:lnTo>
                    <a:pt x="330" y="835"/>
                  </a:lnTo>
                  <a:lnTo>
                    <a:pt x="330" y="866"/>
                  </a:lnTo>
                  <a:lnTo>
                    <a:pt x="354" y="891"/>
                  </a:lnTo>
                  <a:lnTo>
                    <a:pt x="379" y="866"/>
                  </a:lnTo>
                  <a:lnTo>
                    <a:pt x="379" y="835"/>
                  </a:lnTo>
                  <a:lnTo>
                    <a:pt x="410" y="835"/>
                  </a:lnTo>
                  <a:lnTo>
                    <a:pt x="410" y="866"/>
                  </a:lnTo>
                  <a:lnTo>
                    <a:pt x="435" y="835"/>
                  </a:lnTo>
                  <a:lnTo>
                    <a:pt x="435" y="866"/>
                  </a:lnTo>
                  <a:lnTo>
                    <a:pt x="410" y="866"/>
                  </a:lnTo>
                  <a:lnTo>
                    <a:pt x="410" y="922"/>
                  </a:lnTo>
                  <a:lnTo>
                    <a:pt x="547" y="947"/>
                  </a:lnTo>
                  <a:lnTo>
                    <a:pt x="572" y="947"/>
                  </a:lnTo>
                  <a:lnTo>
                    <a:pt x="572" y="971"/>
                  </a:lnTo>
                  <a:lnTo>
                    <a:pt x="596" y="971"/>
                  </a:lnTo>
                  <a:lnTo>
                    <a:pt x="572" y="1002"/>
                  </a:lnTo>
                  <a:lnTo>
                    <a:pt x="547" y="1002"/>
                  </a:lnTo>
                  <a:lnTo>
                    <a:pt x="547" y="971"/>
                  </a:lnTo>
                  <a:lnTo>
                    <a:pt x="547" y="1002"/>
                  </a:lnTo>
                  <a:lnTo>
                    <a:pt x="516" y="1002"/>
                  </a:lnTo>
                  <a:lnTo>
                    <a:pt x="516" y="971"/>
                  </a:lnTo>
                  <a:lnTo>
                    <a:pt x="491" y="971"/>
                  </a:lnTo>
                  <a:lnTo>
                    <a:pt x="410" y="1052"/>
                  </a:lnTo>
                  <a:lnTo>
                    <a:pt x="435" y="1083"/>
                  </a:lnTo>
                  <a:lnTo>
                    <a:pt x="379" y="1107"/>
                  </a:lnTo>
                  <a:lnTo>
                    <a:pt x="379" y="1163"/>
                  </a:lnTo>
                  <a:lnTo>
                    <a:pt x="354" y="1132"/>
                  </a:lnTo>
                  <a:lnTo>
                    <a:pt x="330" y="1163"/>
                  </a:lnTo>
                  <a:lnTo>
                    <a:pt x="273" y="1188"/>
                  </a:lnTo>
                  <a:lnTo>
                    <a:pt x="249" y="1188"/>
                  </a:lnTo>
                  <a:lnTo>
                    <a:pt x="217" y="1219"/>
                  </a:lnTo>
                  <a:lnTo>
                    <a:pt x="298" y="1219"/>
                  </a:lnTo>
                  <a:lnTo>
                    <a:pt x="354" y="1188"/>
                  </a:lnTo>
                  <a:lnTo>
                    <a:pt x="330" y="1188"/>
                  </a:lnTo>
                  <a:lnTo>
                    <a:pt x="354" y="1188"/>
                  </a:lnTo>
                  <a:lnTo>
                    <a:pt x="379" y="1219"/>
                  </a:lnTo>
                  <a:lnTo>
                    <a:pt x="410" y="1219"/>
                  </a:lnTo>
                  <a:lnTo>
                    <a:pt x="435" y="1219"/>
                  </a:lnTo>
                  <a:lnTo>
                    <a:pt x="410" y="1244"/>
                  </a:lnTo>
                  <a:lnTo>
                    <a:pt x="491" y="1219"/>
                  </a:lnTo>
                  <a:lnTo>
                    <a:pt x="516" y="1219"/>
                  </a:lnTo>
                  <a:lnTo>
                    <a:pt x="516" y="1163"/>
                  </a:lnTo>
                  <a:lnTo>
                    <a:pt x="547" y="1163"/>
                  </a:lnTo>
                  <a:lnTo>
                    <a:pt x="547" y="1188"/>
                  </a:lnTo>
                  <a:lnTo>
                    <a:pt x="516" y="1219"/>
                  </a:lnTo>
                  <a:lnTo>
                    <a:pt x="572" y="1219"/>
                  </a:lnTo>
                  <a:lnTo>
                    <a:pt x="596" y="1219"/>
                  </a:lnTo>
                  <a:lnTo>
                    <a:pt x="627" y="1244"/>
                  </a:lnTo>
                  <a:lnTo>
                    <a:pt x="572" y="1244"/>
                  </a:lnTo>
                  <a:lnTo>
                    <a:pt x="516" y="1244"/>
                  </a:lnTo>
                  <a:lnTo>
                    <a:pt x="491" y="1244"/>
                  </a:lnTo>
                  <a:lnTo>
                    <a:pt x="410" y="1268"/>
                  </a:lnTo>
                  <a:lnTo>
                    <a:pt x="410" y="1244"/>
                  </a:lnTo>
                  <a:lnTo>
                    <a:pt x="379" y="1244"/>
                  </a:lnTo>
                  <a:lnTo>
                    <a:pt x="330" y="1219"/>
                  </a:lnTo>
                  <a:lnTo>
                    <a:pt x="298" y="1244"/>
                  </a:lnTo>
                  <a:lnTo>
                    <a:pt x="298" y="1268"/>
                  </a:lnTo>
                  <a:lnTo>
                    <a:pt x="249" y="1268"/>
                  </a:lnTo>
                  <a:lnTo>
                    <a:pt x="217" y="1268"/>
                  </a:lnTo>
                  <a:lnTo>
                    <a:pt x="249" y="1299"/>
                  </a:lnTo>
                  <a:lnTo>
                    <a:pt x="217" y="1349"/>
                  </a:lnTo>
                  <a:lnTo>
                    <a:pt x="249" y="1380"/>
                  </a:lnTo>
                  <a:lnTo>
                    <a:pt x="193" y="1380"/>
                  </a:lnTo>
                  <a:lnTo>
                    <a:pt x="162" y="1324"/>
                  </a:lnTo>
                  <a:lnTo>
                    <a:pt x="162" y="1349"/>
                  </a:lnTo>
                  <a:lnTo>
                    <a:pt x="136" y="1349"/>
                  </a:lnTo>
                  <a:lnTo>
                    <a:pt x="136" y="1324"/>
                  </a:lnTo>
                  <a:lnTo>
                    <a:pt x="56" y="1349"/>
                  </a:lnTo>
                  <a:lnTo>
                    <a:pt x="31" y="1380"/>
                  </a:lnTo>
                  <a:lnTo>
                    <a:pt x="31" y="1404"/>
                  </a:lnTo>
                  <a:lnTo>
                    <a:pt x="112" y="1404"/>
                  </a:lnTo>
                  <a:lnTo>
                    <a:pt x="136" y="1404"/>
                  </a:lnTo>
                  <a:lnTo>
                    <a:pt x="193" y="1404"/>
                  </a:lnTo>
                  <a:lnTo>
                    <a:pt x="217" y="1429"/>
                  </a:lnTo>
                  <a:lnTo>
                    <a:pt x="162" y="1460"/>
                  </a:lnTo>
                  <a:lnTo>
                    <a:pt x="112" y="1460"/>
                  </a:lnTo>
                  <a:lnTo>
                    <a:pt x="56" y="1460"/>
                  </a:lnTo>
                  <a:lnTo>
                    <a:pt x="0" y="1485"/>
                  </a:lnTo>
                  <a:lnTo>
                    <a:pt x="31" y="1516"/>
                  </a:lnTo>
                  <a:lnTo>
                    <a:pt x="81" y="1485"/>
                  </a:lnTo>
                  <a:lnTo>
                    <a:pt x="81" y="1516"/>
                  </a:lnTo>
                  <a:lnTo>
                    <a:pt x="31" y="1516"/>
                  </a:lnTo>
                  <a:lnTo>
                    <a:pt x="31" y="1566"/>
                  </a:lnTo>
                  <a:lnTo>
                    <a:pt x="56" y="1541"/>
                  </a:lnTo>
                  <a:lnTo>
                    <a:pt x="81" y="1541"/>
                  </a:lnTo>
                  <a:lnTo>
                    <a:pt x="81" y="1597"/>
                  </a:lnTo>
                  <a:lnTo>
                    <a:pt x="249" y="1566"/>
                  </a:lnTo>
                  <a:lnTo>
                    <a:pt x="273" y="1566"/>
                  </a:lnTo>
                  <a:lnTo>
                    <a:pt x="217" y="1566"/>
                  </a:lnTo>
                  <a:lnTo>
                    <a:pt x="193" y="1597"/>
                  </a:lnTo>
                  <a:lnTo>
                    <a:pt x="162" y="1621"/>
                  </a:lnTo>
                  <a:lnTo>
                    <a:pt x="162" y="1597"/>
                  </a:lnTo>
                  <a:lnTo>
                    <a:pt x="136" y="1621"/>
                  </a:lnTo>
                  <a:lnTo>
                    <a:pt x="81" y="1621"/>
                  </a:lnTo>
                  <a:lnTo>
                    <a:pt x="112" y="1646"/>
                  </a:lnTo>
                  <a:lnTo>
                    <a:pt x="56" y="1646"/>
                  </a:lnTo>
                  <a:lnTo>
                    <a:pt x="56" y="1677"/>
                  </a:lnTo>
                  <a:lnTo>
                    <a:pt x="81" y="1677"/>
                  </a:lnTo>
                  <a:lnTo>
                    <a:pt x="112" y="1677"/>
                  </a:lnTo>
                  <a:lnTo>
                    <a:pt x="136" y="1677"/>
                  </a:lnTo>
                  <a:lnTo>
                    <a:pt x="136" y="1646"/>
                  </a:lnTo>
                  <a:lnTo>
                    <a:pt x="193" y="1646"/>
                  </a:lnTo>
                  <a:lnTo>
                    <a:pt x="217" y="1646"/>
                  </a:lnTo>
                  <a:lnTo>
                    <a:pt x="249" y="1646"/>
                  </a:lnTo>
                  <a:lnTo>
                    <a:pt x="273" y="1621"/>
                  </a:lnTo>
                  <a:lnTo>
                    <a:pt x="298" y="1646"/>
                  </a:lnTo>
                  <a:lnTo>
                    <a:pt x="273" y="1677"/>
                  </a:lnTo>
                  <a:lnTo>
                    <a:pt x="249" y="1677"/>
                  </a:lnTo>
                  <a:lnTo>
                    <a:pt x="162" y="1702"/>
                  </a:lnTo>
                  <a:lnTo>
                    <a:pt x="217" y="1677"/>
                  </a:lnTo>
                  <a:lnTo>
                    <a:pt x="249" y="1702"/>
                  </a:lnTo>
                  <a:lnTo>
                    <a:pt x="162" y="1726"/>
                  </a:lnTo>
                  <a:lnTo>
                    <a:pt x="136" y="1757"/>
                  </a:lnTo>
                  <a:lnTo>
                    <a:pt x="193" y="1757"/>
                  </a:lnTo>
                  <a:lnTo>
                    <a:pt x="193" y="1726"/>
                  </a:lnTo>
                  <a:lnTo>
                    <a:pt x="217" y="1757"/>
                  </a:lnTo>
                  <a:lnTo>
                    <a:pt x="273" y="1726"/>
                  </a:lnTo>
                  <a:lnTo>
                    <a:pt x="273" y="1757"/>
                  </a:lnTo>
                  <a:lnTo>
                    <a:pt x="298" y="1726"/>
                  </a:lnTo>
                  <a:lnTo>
                    <a:pt x="273" y="1782"/>
                  </a:lnTo>
                  <a:lnTo>
                    <a:pt x="298" y="1757"/>
                  </a:lnTo>
                  <a:lnTo>
                    <a:pt x="330" y="1782"/>
                  </a:lnTo>
                  <a:lnTo>
                    <a:pt x="354" y="1757"/>
                  </a:lnTo>
                  <a:lnTo>
                    <a:pt x="354" y="1726"/>
                  </a:lnTo>
                  <a:lnTo>
                    <a:pt x="379" y="1757"/>
                  </a:lnTo>
                  <a:lnTo>
                    <a:pt x="410" y="1757"/>
                  </a:lnTo>
                  <a:lnTo>
                    <a:pt x="435" y="1757"/>
                  </a:lnTo>
                  <a:lnTo>
                    <a:pt x="459" y="1726"/>
                  </a:lnTo>
                  <a:lnTo>
                    <a:pt x="491" y="1757"/>
                  </a:lnTo>
                  <a:lnTo>
                    <a:pt x="516" y="1726"/>
                  </a:lnTo>
                  <a:lnTo>
                    <a:pt x="547" y="1726"/>
                  </a:lnTo>
                  <a:lnTo>
                    <a:pt x="547" y="1757"/>
                  </a:lnTo>
                  <a:lnTo>
                    <a:pt x="572" y="1757"/>
                  </a:lnTo>
                  <a:lnTo>
                    <a:pt x="547" y="1726"/>
                  </a:lnTo>
                  <a:lnTo>
                    <a:pt x="572" y="1726"/>
                  </a:lnTo>
                  <a:lnTo>
                    <a:pt x="627" y="1702"/>
                  </a:lnTo>
                  <a:lnTo>
                    <a:pt x="627" y="1677"/>
                  </a:lnTo>
                  <a:lnTo>
                    <a:pt x="627" y="1646"/>
                  </a:lnTo>
                  <a:lnTo>
                    <a:pt x="677" y="1646"/>
                  </a:lnTo>
                  <a:lnTo>
                    <a:pt x="653" y="1677"/>
                  </a:lnTo>
                  <a:lnTo>
                    <a:pt x="677" y="1702"/>
                  </a:lnTo>
                  <a:lnTo>
                    <a:pt x="708" y="1677"/>
                  </a:lnTo>
                  <a:lnTo>
                    <a:pt x="734" y="1677"/>
                  </a:lnTo>
                  <a:lnTo>
                    <a:pt x="789" y="1677"/>
                  </a:lnTo>
                  <a:lnTo>
                    <a:pt x="758" y="1646"/>
                  </a:lnTo>
                  <a:lnTo>
                    <a:pt x="789" y="1621"/>
                  </a:lnTo>
                  <a:lnTo>
                    <a:pt x="814" y="1621"/>
                  </a:lnTo>
                  <a:lnTo>
                    <a:pt x="814" y="1646"/>
                  </a:lnTo>
                  <a:lnTo>
                    <a:pt x="845" y="1621"/>
                  </a:lnTo>
                  <a:lnTo>
                    <a:pt x="870" y="1621"/>
                  </a:lnTo>
                  <a:lnTo>
                    <a:pt x="895" y="1597"/>
                  </a:lnTo>
                  <a:lnTo>
                    <a:pt x="870" y="1597"/>
                  </a:lnTo>
                  <a:lnTo>
                    <a:pt x="870" y="1566"/>
                  </a:lnTo>
                  <a:lnTo>
                    <a:pt x="895" y="1597"/>
                  </a:lnTo>
                  <a:lnTo>
                    <a:pt x="926" y="1566"/>
                  </a:lnTo>
                  <a:lnTo>
                    <a:pt x="1007" y="1566"/>
                  </a:lnTo>
                  <a:lnTo>
                    <a:pt x="1031" y="1566"/>
                  </a:lnTo>
                  <a:lnTo>
                    <a:pt x="1031" y="1597"/>
                  </a:lnTo>
                  <a:lnTo>
                    <a:pt x="1056" y="1597"/>
                  </a:lnTo>
                  <a:lnTo>
                    <a:pt x="1056" y="1566"/>
                  </a:lnTo>
                  <a:lnTo>
                    <a:pt x="1056" y="1541"/>
                  </a:lnTo>
                  <a:lnTo>
                    <a:pt x="1031" y="1516"/>
                  </a:lnTo>
                  <a:lnTo>
                    <a:pt x="1056" y="1516"/>
                  </a:lnTo>
                  <a:lnTo>
                    <a:pt x="1056" y="1485"/>
                  </a:lnTo>
                  <a:lnTo>
                    <a:pt x="1056" y="1516"/>
                  </a:lnTo>
                  <a:lnTo>
                    <a:pt x="1087" y="1566"/>
                  </a:lnTo>
                  <a:lnTo>
                    <a:pt x="1056" y="1597"/>
                  </a:lnTo>
                  <a:lnTo>
                    <a:pt x="1087" y="1597"/>
                  </a:lnTo>
                  <a:lnTo>
                    <a:pt x="1112" y="1597"/>
                  </a:lnTo>
                  <a:lnTo>
                    <a:pt x="1112" y="1566"/>
                  </a:lnTo>
                  <a:lnTo>
                    <a:pt x="1143" y="1541"/>
                  </a:lnTo>
                  <a:lnTo>
                    <a:pt x="1143" y="1566"/>
                  </a:lnTo>
                  <a:lnTo>
                    <a:pt x="1168" y="1566"/>
                  </a:lnTo>
                  <a:lnTo>
                    <a:pt x="1168" y="1597"/>
                  </a:lnTo>
                  <a:lnTo>
                    <a:pt x="1192" y="1597"/>
                  </a:lnTo>
                  <a:lnTo>
                    <a:pt x="1223" y="1566"/>
                  </a:lnTo>
                  <a:lnTo>
                    <a:pt x="1223" y="1597"/>
                  </a:lnTo>
                  <a:lnTo>
                    <a:pt x="1249" y="1597"/>
                  </a:lnTo>
                  <a:lnTo>
                    <a:pt x="1273" y="1597"/>
                  </a:lnTo>
                  <a:lnTo>
                    <a:pt x="1249" y="1566"/>
                  </a:lnTo>
                  <a:lnTo>
                    <a:pt x="1249" y="1541"/>
                  </a:lnTo>
                  <a:lnTo>
                    <a:pt x="1223" y="1516"/>
                  </a:lnTo>
                  <a:lnTo>
                    <a:pt x="1223" y="1485"/>
                  </a:lnTo>
                  <a:lnTo>
                    <a:pt x="1249" y="1516"/>
                  </a:lnTo>
                  <a:lnTo>
                    <a:pt x="1273" y="1485"/>
                  </a:lnTo>
                  <a:lnTo>
                    <a:pt x="1330" y="1429"/>
                  </a:lnTo>
                  <a:lnTo>
                    <a:pt x="1330" y="1404"/>
                  </a:lnTo>
                  <a:lnTo>
                    <a:pt x="1330" y="1380"/>
                  </a:lnTo>
                  <a:lnTo>
                    <a:pt x="1354" y="1349"/>
                  </a:lnTo>
                  <a:lnTo>
                    <a:pt x="1354" y="1299"/>
                  </a:lnTo>
                  <a:lnTo>
                    <a:pt x="1385" y="1299"/>
                  </a:lnTo>
                  <a:lnTo>
                    <a:pt x="1410" y="1244"/>
                  </a:lnTo>
                  <a:lnTo>
                    <a:pt x="1410" y="1219"/>
                  </a:lnTo>
                  <a:lnTo>
                    <a:pt x="1410" y="1188"/>
                  </a:lnTo>
                  <a:lnTo>
                    <a:pt x="1410" y="1163"/>
                  </a:lnTo>
                  <a:lnTo>
                    <a:pt x="1410" y="1107"/>
                  </a:lnTo>
                  <a:lnTo>
                    <a:pt x="1410" y="1083"/>
                  </a:lnTo>
                  <a:lnTo>
                    <a:pt x="1385" y="1052"/>
                  </a:lnTo>
                  <a:lnTo>
                    <a:pt x="1410" y="1027"/>
                  </a:lnTo>
                  <a:lnTo>
                    <a:pt x="1410" y="1052"/>
                  </a:lnTo>
                  <a:lnTo>
                    <a:pt x="1441" y="1052"/>
                  </a:lnTo>
                  <a:lnTo>
                    <a:pt x="1441" y="1027"/>
                  </a:lnTo>
                  <a:lnTo>
                    <a:pt x="1410" y="1027"/>
                  </a:lnTo>
                  <a:lnTo>
                    <a:pt x="1410" y="1002"/>
                  </a:lnTo>
                  <a:lnTo>
                    <a:pt x="1441" y="1002"/>
                  </a:lnTo>
                  <a:lnTo>
                    <a:pt x="1410" y="971"/>
                  </a:lnTo>
                  <a:lnTo>
                    <a:pt x="1441" y="971"/>
                  </a:lnTo>
                  <a:lnTo>
                    <a:pt x="1441" y="947"/>
                  </a:lnTo>
                  <a:lnTo>
                    <a:pt x="1410" y="922"/>
                  </a:lnTo>
                  <a:lnTo>
                    <a:pt x="1410" y="891"/>
                  </a:lnTo>
                  <a:lnTo>
                    <a:pt x="1410" y="866"/>
                  </a:lnTo>
                  <a:lnTo>
                    <a:pt x="1410" y="835"/>
                  </a:lnTo>
                  <a:lnTo>
                    <a:pt x="1410" y="811"/>
                  </a:lnTo>
                  <a:lnTo>
                    <a:pt x="1410" y="786"/>
                  </a:lnTo>
                  <a:lnTo>
                    <a:pt x="1385" y="755"/>
                  </a:lnTo>
                  <a:lnTo>
                    <a:pt x="1410" y="730"/>
                  </a:lnTo>
                  <a:lnTo>
                    <a:pt x="1441" y="755"/>
                  </a:lnTo>
                  <a:lnTo>
                    <a:pt x="1466" y="755"/>
                  </a:lnTo>
                  <a:lnTo>
                    <a:pt x="1466" y="730"/>
                  </a:lnTo>
                  <a:lnTo>
                    <a:pt x="1441" y="730"/>
                  </a:lnTo>
                  <a:lnTo>
                    <a:pt x="1441" y="706"/>
                  </a:lnTo>
                  <a:lnTo>
                    <a:pt x="1410" y="649"/>
                  </a:lnTo>
                  <a:lnTo>
                    <a:pt x="1410" y="706"/>
                  </a:lnTo>
                  <a:lnTo>
                    <a:pt x="1330" y="706"/>
                  </a:lnTo>
                  <a:lnTo>
                    <a:pt x="1330" y="649"/>
                  </a:lnTo>
                  <a:lnTo>
                    <a:pt x="1330" y="619"/>
                  </a:lnTo>
                  <a:lnTo>
                    <a:pt x="1273" y="594"/>
                  </a:lnTo>
                  <a:lnTo>
                    <a:pt x="1304" y="539"/>
                  </a:lnTo>
                  <a:lnTo>
                    <a:pt x="1273" y="513"/>
                  </a:lnTo>
                  <a:lnTo>
                    <a:pt x="1249" y="489"/>
                  </a:lnTo>
                  <a:lnTo>
                    <a:pt x="1192" y="539"/>
                  </a:lnTo>
                  <a:lnTo>
                    <a:pt x="1192" y="570"/>
                  </a:lnTo>
                  <a:lnTo>
                    <a:pt x="1168" y="594"/>
                  </a:lnTo>
                  <a:lnTo>
                    <a:pt x="1168" y="619"/>
                  </a:lnTo>
                  <a:lnTo>
                    <a:pt x="1143" y="594"/>
                  </a:lnTo>
                  <a:lnTo>
                    <a:pt x="1143" y="619"/>
                  </a:lnTo>
                  <a:lnTo>
                    <a:pt x="1056" y="594"/>
                  </a:lnTo>
                  <a:lnTo>
                    <a:pt x="1031" y="570"/>
                  </a:lnTo>
                  <a:lnTo>
                    <a:pt x="1007" y="539"/>
                  </a:lnTo>
                  <a:lnTo>
                    <a:pt x="1007" y="513"/>
                  </a:lnTo>
                  <a:lnTo>
                    <a:pt x="976" y="513"/>
                  </a:lnTo>
                  <a:lnTo>
                    <a:pt x="926" y="434"/>
                  </a:lnTo>
                  <a:lnTo>
                    <a:pt x="926" y="408"/>
                  </a:lnTo>
                  <a:lnTo>
                    <a:pt x="950" y="408"/>
                  </a:lnTo>
                  <a:lnTo>
                    <a:pt x="976" y="377"/>
                  </a:lnTo>
                  <a:lnTo>
                    <a:pt x="1007" y="408"/>
                  </a:lnTo>
                  <a:lnTo>
                    <a:pt x="1087" y="353"/>
                  </a:lnTo>
                  <a:lnTo>
                    <a:pt x="1031" y="353"/>
                  </a:lnTo>
                  <a:lnTo>
                    <a:pt x="1031" y="322"/>
                  </a:lnTo>
                  <a:lnTo>
                    <a:pt x="1056" y="297"/>
                  </a:lnTo>
                  <a:lnTo>
                    <a:pt x="1112" y="322"/>
                  </a:lnTo>
                  <a:lnTo>
                    <a:pt x="1143" y="297"/>
                  </a:lnTo>
                  <a:lnTo>
                    <a:pt x="1168" y="272"/>
                  </a:lnTo>
                  <a:lnTo>
                    <a:pt x="1168" y="217"/>
                  </a:lnTo>
                  <a:lnTo>
                    <a:pt x="1192" y="217"/>
                  </a:lnTo>
                  <a:lnTo>
                    <a:pt x="1192" y="191"/>
                  </a:lnTo>
                  <a:lnTo>
                    <a:pt x="1223" y="191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31" name="Freeform 67">
              <a:extLst>
                <a:ext uri="{FF2B5EF4-FFF2-40B4-BE49-F238E27FC236}">
                  <a16:creationId xmlns:a16="http://schemas.microsoft.com/office/drawing/2014/main" id="{438FEE46-2E5C-43A9-947D-C502B1EC16B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81083" y="4165871"/>
              <a:ext cx="1471104" cy="1685733"/>
            </a:xfrm>
            <a:custGeom>
              <a:avLst/>
              <a:gdLst/>
              <a:ahLst/>
              <a:cxnLst>
                <a:cxn ang="0">
                  <a:pos x="112" y="1242"/>
                </a:cxn>
                <a:cxn ang="0">
                  <a:pos x="168" y="919"/>
                </a:cxn>
                <a:cxn ang="0">
                  <a:pos x="218" y="621"/>
                </a:cxn>
                <a:cxn ang="0">
                  <a:pos x="516" y="484"/>
                </a:cxn>
                <a:cxn ang="0">
                  <a:pos x="596" y="403"/>
                </a:cxn>
                <a:cxn ang="0">
                  <a:pos x="653" y="646"/>
                </a:cxn>
                <a:cxn ang="0">
                  <a:pos x="733" y="515"/>
                </a:cxn>
                <a:cxn ang="0">
                  <a:pos x="789" y="565"/>
                </a:cxn>
                <a:cxn ang="0">
                  <a:pos x="895" y="379"/>
                </a:cxn>
                <a:cxn ang="0">
                  <a:pos x="1032" y="403"/>
                </a:cxn>
                <a:cxn ang="0">
                  <a:pos x="1144" y="298"/>
                </a:cxn>
                <a:cxn ang="0">
                  <a:pos x="1305" y="137"/>
                </a:cxn>
                <a:cxn ang="0">
                  <a:pos x="1467" y="187"/>
                </a:cxn>
                <a:cxn ang="0">
                  <a:pos x="1740" y="50"/>
                </a:cxn>
                <a:cxn ang="0">
                  <a:pos x="1901" y="106"/>
                </a:cxn>
                <a:cxn ang="0">
                  <a:pos x="2200" y="242"/>
                </a:cxn>
                <a:cxn ang="0">
                  <a:pos x="2336" y="379"/>
                </a:cxn>
                <a:cxn ang="0">
                  <a:pos x="2442" y="702"/>
                </a:cxn>
                <a:cxn ang="0">
                  <a:pos x="2200" y="702"/>
                </a:cxn>
                <a:cxn ang="0">
                  <a:pos x="1901" y="894"/>
                </a:cxn>
                <a:cxn ang="0">
                  <a:pos x="1956" y="1080"/>
                </a:cxn>
                <a:cxn ang="0">
                  <a:pos x="2174" y="1515"/>
                </a:cxn>
                <a:cxn ang="0">
                  <a:pos x="2715" y="2223"/>
                </a:cxn>
                <a:cxn ang="0">
                  <a:pos x="3416" y="2408"/>
                </a:cxn>
                <a:cxn ang="0">
                  <a:pos x="4069" y="2924"/>
                </a:cxn>
                <a:cxn ang="0">
                  <a:pos x="4342" y="3334"/>
                </a:cxn>
                <a:cxn ang="0">
                  <a:pos x="3795" y="3035"/>
                </a:cxn>
                <a:cxn ang="0">
                  <a:pos x="3795" y="3520"/>
                </a:cxn>
                <a:cxn ang="0">
                  <a:pos x="3746" y="3849"/>
                </a:cxn>
                <a:cxn ang="0">
                  <a:pos x="3416" y="4334"/>
                </a:cxn>
                <a:cxn ang="0">
                  <a:pos x="3553" y="3954"/>
                </a:cxn>
                <a:cxn ang="0">
                  <a:pos x="3367" y="3415"/>
                </a:cxn>
                <a:cxn ang="0">
                  <a:pos x="3038" y="3222"/>
                </a:cxn>
                <a:cxn ang="0">
                  <a:pos x="2851" y="3035"/>
                </a:cxn>
                <a:cxn ang="0">
                  <a:pos x="2497" y="2788"/>
                </a:cxn>
                <a:cxn ang="0">
                  <a:pos x="2006" y="2601"/>
                </a:cxn>
                <a:cxn ang="0">
                  <a:pos x="1578" y="2272"/>
                </a:cxn>
                <a:cxn ang="0">
                  <a:pos x="1360" y="2054"/>
                </a:cxn>
                <a:cxn ang="0">
                  <a:pos x="1144" y="1490"/>
                </a:cxn>
                <a:cxn ang="0">
                  <a:pos x="684" y="1353"/>
                </a:cxn>
                <a:cxn ang="0">
                  <a:pos x="596" y="2955"/>
                </a:cxn>
                <a:cxn ang="0">
                  <a:pos x="627" y="3384"/>
                </a:cxn>
                <a:cxn ang="0">
                  <a:pos x="653" y="3601"/>
                </a:cxn>
                <a:cxn ang="0">
                  <a:pos x="627" y="3954"/>
                </a:cxn>
                <a:cxn ang="0">
                  <a:pos x="895" y="3874"/>
                </a:cxn>
                <a:cxn ang="0">
                  <a:pos x="1087" y="3631"/>
                </a:cxn>
                <a:cxn ang="0">
                  <a:pos x="1113" y="3061"/>
                </a:cxn>
                <a:cxn ang="0">
                  <a:pos x="926" y="2843"/>
                </a:cxn>
                <a:cxn ang="0">
                  <a:pos x="516" y="3116"/>
                </a:cxn>
                <a:cxn ang="0">
                  <a:pos x="1224" y="2142"/>
                </a:cxn>
                <a:cxn ang="0">
                  <a:pos x="1360" y="733"/>
                </a:cxn>
                <a:cxn ang="0">
                  <a:pos x="2006" y="1515"/>
                </a:cxn>
                <a:cxn ang="0">
                  <a:pos x="2715" y="4768"/>
                </a:cxn>
                <a:cxn ang="0">
                  <a:pos x="3255" y="4961"/>
                </a:cxn>
                <a:cxn ang="0">
                  <a:pos x="3255" y="4662"/>
                </a:cxn>
                <a:cxn ang="0">
                  <a:pos x="3392" y="4172"/>
                </a:cxn>
                <a:cxn ang="0">
                  <a:pos x="2901" y="4334"/>
                </a:cxn>
                <a:cxn ang="0">
                  <a:pos x="2416" y="4277"/>
                </a:cxn>
                <a:cxn ang="0">
                  <a:pos x="2200" y="4550"/>
                </a:cxn>
                <a:cxn ang="0">
                  <a:pos x="3093" y="4066"/>
                </a:cxn>
                <a:cxn ang="0">
                  <a:pos x="3199" y="3954"/>
                </a:cxn>
              </a:cxnLst>
              <a:rect l="0" t="0" r="r" b="b"/>
              <a:pathLst>
                <a:path w="4367" h="5010">
                  <a:moveTo>
                    <a:pt x="299" y="1627"/>
                  </a:moveTo>
                  <a:lnTo>
                    <a:pt x="273" y="1596"/>
                  </a:lnTo>
                  <a:lnTo>
                    <a:pt x="299" y="1571"/>
                  </a:lnTo>
                  <a:lnTo>
                    <a:pt x="354" y="1515"/>
                  </a:lnTo>
                  <a:lnTo>
                    <a:pt x="354" y="1490"/>
                  </a:lnTo>
                  <a:lnTo>
                    <a:pt x="330" y="1434"/>
                  </a:lnTo>
                  <a:lnTo>
                    <a:pt x="249" y="1458"/>
                  </a:lnTo>
                  <a:lnTo>
                    <a:pt x="168" y="1434"/>
                  </a:lnTo>
                  <a:lnTo>
                    <a:pt x="112" y="1410"/>
                  </a:lnTo>
                  <a:lnTo>
                    <a:pt x="81" y="1353"/>
                  </a:lnTo>
                  <a:lnTo>
                    <a:pt x="112" y="1329"/>
                  </a:lnTo>
                  <a:lnTo>
                    <a:pt x="81" y="1273"/>
                  </a:lnTo>
                  <a:lnTo>
                    <a:pt x="112" y="1242"/>
                  </a:lnTo>
                  <a:lnTo>
                    <a:pt x="112" y="1192"/>
                  </a:lnTo>
                  <a:lnTo>
                    <a:pt x="168" y="1192"/>
                  </a:lnTo>
                  <a:lnTo>
                    <a:pt x="137" y="1192"/>
                  </a:lnTo>
                  <a:lnTo>
                    <a:pt x="137" y="1137"/>
                  </a:lnTo>
                  <a:lnTo>
                    <a:pt x="137" y="1111"/>
                  </a:lnTo>
                  <a:lnTo>
                    <a:pt x="81" y="1111"/>
                  </a:lnTo>
                  <a:lnTo>
                    <a:pt x="31" y="1080"/>
                  </a:lnTo>
                  <a:lnTo>
                    <a:pt x="31" y="1056"/>
                  </a:lnTo>
                  <a:lnTo>
                    <a:pt x="0" y="1030"/>
                  </a:lnTo>
                  <a:lnTo>
                    <a:pt x="0" y="999"/>
                  </a:lnTo>
                  <a:lnTo>
                    <a:pt x="31" y="975"/>
                  </a:lnTo>
                  <a:lnTo>
                    <a:pt x="81" y="975"/>
                  </a:lnTo>
                  <a:lnTo>
                    <a:pt x="168" y="919"/>
                  </a:lnTo>
                  <a:lnTo>
                    <a:pt x="168" y="894"/>
                  </a:lnTo>
                  <a:lnTo>
                    <a:pt x="193" y="838"/>
                  </a:lnTo>
                  <a:lnTo>
                    <a:pt x="168" y="814"/>
                  </a:lnTo>
                  <a:lnTo>
                    <a:pt x="137" y="814"/>
                  </a:lnTo>
                  <a:lnTo>
                    <a:pt x="137" y="757"/>
                  </a:lnTo>
                  <a:lnTo>
                    <a:pt x="57" y="702"/>
                  </a:lnTo>
                  <a:lnTo>
                    <a:pt x="57" y="677"/>
                  </a:lnTo>
                  <a:lnTo>
                    <a:pt x="57" y="646"/>
                  </a:lnTo>
                  <a:lnTo>
                    <a:pt x="137" y="621"/>
                  </a:lnTo>
                  <a:lnTo>
                    <a:pt x="137" y="596"/>
                  </a:lnTo>
                  <a:lnTo>
                    <a:pt x="168" y="621"/>
                  </a:lnTo>
                  <a:lnTo>
                    <a:pt x="193" y="621"/>
                  </a:lnTo>
                  <a:lnTo>
                    <a:pt x="218" y="621"/>
                  </a:lnTo>
                  <a:lnTo>
                    <a:pt x="218" y="596"/>
                  </a:lnTo>
                  <a:lnTo>
                    <a:pt x="249" y="596"/>
                  </a:lnTo>
                  <a:lnTo>
                    <a:pt x="249" y="621"/>
                  </a:lnTo>
                  <a:lnTo>
                    <a:pt x="299" y="596"/>
                  </a:lnTo>
                  <a:lnTo>
                    <a:pt x="299" y="565"/>
                  </a:lnTo>
                  <a:lnTo>
                    <a:pt x="330" y="565"/>
                  </a:lnTo>
                  <a:lnTo>
                    <a:pt x="354" y="565"/>
                  </a:lnTo>
                  <a:lnTo>
                    <a:pt x="380" y="596"/>
                  </a:lnTo>
                  <a:lnTo>
                    <a:pt x="411" y="596"/>
                  </a:lnTo>
                  <a:lnTo>
                    <a:pt x="435" y="565"/>
                  </a:lnTo>
                  <a:lnTo>
                    <a:pt x="466" y="565"/>
                  </a:lnTo>
                  <a:lnTo>
                    <a:pt x="491" y="515"/>
                  </a:lnTo>
                  <a:lnTo>
                    <a:pt x="516" y="484"/>
                  </a:lnTo>
                  <a:lnTo>
                    <a:pt x="516" y="460"/>
                  </a:lnTo>
                  <a:lnTo>
                    <a:pt x="491" y="434"/>
                  </a:lnTo>
                  <a:lnTo>
                    <a:pt x="516" y="403"/>
                  </a:lnTo>
                  <a:lnTo>
                    <a:pt x="547" y="403"/>
                  </a:lnTo>
                  <a:lnTo>
                    <a:pt x="547" y="379"/>
                  </a:lnTo>
                  <a:lnTo>
                    <a:pt x="572" y="379"/>
                  </a:lnTo>
                  <a:lnTo>
                    <a:pt x="572" y="348"/>
                  </a:lnTo>
                  <a:lnTo>
                    <a:pt x="596" y="348"/>
                  </a:lnTo>
                  <a:lnTo>
                    <a:pt x="596" y="323"/>
                  </a:lnTo>
                  <a:lnTo>
                    <a:pt x="627" y="348"/>
                  </a:lnTo>
                  <a:lnTo>
                    <a:pt x="627" y="379"/>
                  </a:lnTo>
                  <a:lnTo>
                    <a:pt x="627" y="403"/>
                  </a:lnTo>
                  <a:lnTo>
                    <a:pt x="596" y="403"/>
                  </a:lnTo>
                  <a:lnTo>
                    <a:pt x="627" y="460"/>
                  </a:lnTo>
                  <a:lnTo>
                    <a:pt x="653" y="460"/>
                  </a:lnTo>
                  <a:lnTo>
                    <a:pt x="653" y="484"/>
                  </a:lnTo>
                  <a:lnTo>
                    <a:pt x="684" y="515"/>
                  </a:lnTo>
                  <a:lnTo>
                    <a:pt x="708" y="515"/>
                  </a:lnTo>
                  <a:lnTo>
                    <a:pt x="708" y="541"/>
                  </a:lnTo>
                  <a:lnTo>
                    <a:pt x="684" y="541"/>
                  </a:lnTo>
                  <a:lnTo>
                    <a:pt x="684" y="596"/>
                  </a:lnTo>
                  <a:lnTo>
                    <a:pt x="653" y="596"/>
                  </a:lnTo>
                  <a:lnTo>
                    <a:pt x="627" y="596"/>
                  </a:lnTo>
                  <a:lnTo>
                    <a:pt x="627" y="621"/>
                  </a:lnTo>
                  <a:lnTo>
                    <a:pt x="653" y="621"/>
                  </a:lnTo>
                  <a:lnTo>
                    <a:pt x="653" y="646"/>
                  </a:lnTo>
                  <a:lnTo>
                    <a:pt x="653" y="677"/>
                  </a:lnTo>
                  <a:lnTo>
                    <a:pt x="653" y="702"/>
                  </a:lnTo>
                  <a:lnTo>
                    <a:pt x="684" y="702"/>
                  </a:lnTo>
                  <a:lnTo>
                    <a:pt x="653" y="677"/>
                  </a:lnTo>
                  <a:lnTo>
                    <a:pt x="653" y="646"/>
                  </a:lnTo>
                  <a:lnTo>
                    <a:pt x="684" y="646"/>
                  </a:lnTo>
                  <a:lnTo>
                    <a:pt x="653" y="621"/>
                  </a:lnTo>
                  <a:lnTo>
                    <a:pt x="653" y="596"/>
                  </a:lnTo>
                  <a:lnTo>
                    <a:pt x="684" y="596"/>
                  </a:lnTo>
                  <a:lnTo>
                    <a:pt x="708" y="565"/>
                  </a:lnTo>
                  <a:lnTo>
                    <a:pt x="708" y="541"/>
                  </a:lnTo>
                  <a:lnTo>
                    <a:pt x="708" y="515"/>
                  </a:lnTo>
                  <a:lnTo>
                    <a:pt x="733" y="515"/>
                  </a:lnTo>
                  <a:lnTo>
                    <a:pt x="764" y="515"/>
                  </a:lnTo>
                  <a:lnTo>
                    <a:pt x="733" y="541"/>
                  </a:lnTo>
                  <a:lnTo>
                    <a:pt x="733" y="565"/>
                  </a:lnTo>
                  <a:lnTo>
                    <a:pt x="764" y="565"/>
                  </a:lnTo>
                  <a:lnTo>
                    <a:pt x="764" y="596"/>
                  </a:lnTo>
                  <a:lnTo>
                    <a:pt x="789" y="621"/>
                  </a:lnTo>
                  <a:lnTo>
                    <a:pt x="764" y="646"/>
                  </a:lnTo>
                  <a:lnTo>
                    <a:pt x="789" y="646"/>
                  </a:lnTo>
                  <a:lnTo>
                    <a:pt x="814" y="646"/>
                  </a:lnTo>
                  <a:lnTo>
                    <a:pt x="814" y="621"/>
                  </a:lnTo>
                  <a:lnTo>
                    <a:pt x="845" y="621"/>
                  </a:lnTo>
                  <a:lnTo>
                    <a:pt x="814" y="596"/>
                  </a:lnTo>
                  <a:lnTo>
                    <a:pt x="789" y="565"/>
                  </a:lnTo>
                  <a:lnTo>
                    <a:pt x="814" y="565"/>
                  </a:lnTo>
                  <a:lnTo>
                    <a:pt x="845" y="565"/>
                  </a:lnTo>
                  <a:lnTo>
                    <a:pt x="845" y="541"/>
                  </a:lnTo>
                  <a:lnTo>
                    <a:pt x="814" y="541"/>
                  </a:lnTo>
                  <a:lnTo>
                    <a:pt x="845" y="515"/>
                  </a:lnTo>
                  <a:lnTo>
                    <a:pt x="814" y="515"/>
                  </a:lnTo>
                  <a:lnTo>
                    <a:pt x="845" y="484"/>
                  </a:lnTo>
                  <a:lnTo>
                    <a:pt x="871" y="484"/>
                  </a:lnTo>
                  <a:lnTo>
                    <a:pt x="871" y="460"/>
                  </a:lnTo>
                  <a:lnTo>
                    <a:pt x="895" y="460"/>
                  </a:lnTo>
                  <a:lnTo>
                    <a:pt x="871" y="434"/>
                  </a:lnTo>
                  <a:lnTo>
                    <a:pt x="895" y="403"/>
                  </a:lnTo>
                  <a:lnTo>
                    <a:pt x="895" y="379"/>
                  </a:lnTo>
                  <a:lnTo>
                    <a:pt x="895" y="348"/>
                  </a:lnTo>
                  <a:lnTo>
                    <a:pt x="871" y="348"/>
                  </a:lnTo>
                  <a:lnTo>
                    <a:pt x="895" y="348"/>
                  </a:lnTo>
                  <a:lnTo>
                    <a:pt x="895" y="323"/>
                  </a:lnTo>
                  <a:lnTo>
                    <a:pt x="926" y="323"/>
                  </a:lnTo>
                  <a:lnTo>
                    <a:pt x="951" y="323"/>
                  </a:lnTo>
                  <a:lnTo>
                    <a:pt x="951" y="379"/>
                  </a:lnTo>
                  <a:lnTo>
                    <a:pt x="982" y="379"/>
                  </a:lnTo>
                  <a:lnTo>
                    <a:pt x="982" y="403"/>
                  </a:lnTo>
                  <a:lnTo>
                    <a:pt x="1007" y="434"/>
                  </a:lnTo>
                  <a:lnTo>
                    <a:pt x="1032" y="403"/>
                  </a:lnTo>
                  <a:lnTo>
                    <a:pt x="1032" y="434"/>
                  </a:lnTo>
                  <a:lnTo>
                    <a:pt x="1032" y="403"/>
                  </a:lnTo>
                  <a:lnTo>
                    <a:pt x="1063" y="403"/>
                  </a:lnTo>
                  <a:lnTo>
                    <a:pt x="1087" y="379"/>
                  </a:lnTo>
                  <a:lnTo>
                    <a:pt x="1113" y="379"/>
                  </a:lnTo>
                  <a:lnTo>
                    <a:pt x="1144" y="379"/>
                  </a:lnTo>
                  <a:lnTo>
                    <a:pt x="1144" y="434"/>
                  </a:lnTo>
                  <a:lnTo>
                    <a:pt x="1144" y="460"/>
                  </a:lnTo>
                  <a:lnTo>
                    <a:pt x="1193" y="434"/>
                  </a:lnTo>
                  <a:lnTo>
                    <a:pt x="1168" y="403"/>
                  </a:lnTo>
                  <a:lnTo>
                    <a:pt x="1168" y="379"/>
                  </a:lnTo>
                  <a:lnTo>
                    <a:pt x="1193" y="348"/>
                  </a:lnTo>
                  <a:lnTo>
                    <a:pt x="1168" y="348"/>
                  </a:lnTo>
                  <a:lnTo>
                    <a:pt x="1144" y="348"/>
                  </a:lnTo>
                  <a:lnTo>
                    <a:pt x="1144" y="298"/>
                  </a:lnTo>
                  <a:lnTo>
                    <a:pt x="1168" y="267"/>
                  </a:lnTo>
                  <a:lnTo>
                    <a:pt x="1224" y="242"/>
                  </a:lnTo>
                  <a:lnTo>
                    <a:pt x="1224" y="267"/>
                  </a:lnTo>
                  <a:lnTo>
                    <a:pt x="1224" y="298"/>
                  </a:lnTo>
                  <a:lnTo>
                    <a:pt x="1249" y="298"/>
                  </a:lnTo>
                  <a:lnTo>
                    <a:pt x="1280" y="298"/>
                  </a:lnTo>
                  <a:lnTo>
                    <a:pt x="1305" y="267"/>
                  </a:lnTo>
                  <a:lnTo>
                    <a:pt x="1280" y="242"/>
                  </a:lnTo>
                  <a:lnTo>
                    <a:pt x="1249" y="218"/>
                  </a:lnTo>
                  <a:lnTo>
                    <a:pt x="1280" y="218"/>
                  </a:lnTo>
                  <a:lnTo>
                    <a:pt x="1280" y="187"/>
                  </a:lnTo>
                  <a:lnTo>
                    <a:pt x="1280" y="137"/>
                  </a:lnTo>
                  <a:lnTo>
                    <a:pt x="1305" y="137"/>
                  </a:lnTo>
                  <a:lnTo>
                    <a:pt x="1329" y="137"/>
                  </a:lnTo>
                  <a:lnTo>
                    <a:pt x="1329" y="161"/>
                  </a:lnTo>
                  <a:lnTo>
                    <a:pt x="1329" y="137"/>
                  </a:lnTo>
                  <a:lnTo>
                    <a:pt x="1360" y="137"/>
                  </a:lnTo>
                  <a:lnTo>
                    <a:pt x="1386" y="137"/>
                  </a:lnTo>
                  <a:lnTo>
                    <a:pt x="1386" y="161"/>
                  </a:lnTo>
                  <a:lnTo>
                    <a:pt x="1410" y="161"/>
                  </a:lnTo>
                  <a:lnTo>
                    <a:pt x="1410" y="187"/>
                  </a:lnTo>
                  <a:lnTo>
                    <a:pt x="1410" y="161"/>
                  </a:lnTo>
                  <a:lnTo>
                    <a:pt x="1441" y="187"/>
                  </a:lnTo>
                  <a:lnTo>
                    <a:pt x="1441" y="161"/>
                  </a:lnTo>
                  <a:lnTo>
                    <a:pt x="1467" y="161"/>
                  </a:lnTo>
                  <a:lnTo>
                    <a:pt x="1467" y="187"/>
                  </a:lnTo>
                  <a:lnTo>
                    <a:pt x="1491" y="161"/>
                  </a:lnTo>
                  <a:lnTo>
                    <a:pt x="1491" y="137"/>
                  </a:lnTo>
                  <a:lnTo>
                    <a:pt x="1491" y="106"/>
                  </a:lnTo>
                  <a:lnTo>
                    <a:pt x="1522" y="81"/>
                  </a:lnTo>
                  <a:lnTo>
                    <a:pt x="1547" y="81"/>
                  </a:lnTo>
                  <a:lnTo>
                    <a:pt x="1578" y="50"/>
                  </a:lnTo>
                  <a:lnTo>
                    <a:pt x="1603" y="81"/>
                  </a:lnTo>
                  <a:lnTo>
                    <a:pt x="1628" y="50"/>
                  </a:lnTo>
                  <a:lnTo>
                    <a:pt x="1659" y="50"/>
                  </a:lnTo>
                  <a:lnTo>
                    <a:pt x="1683" y="50"/>
                  </a:lnTo>
                  <a:lnTo>
                    <a:pt x="1709" y="50"/>
                  </a:lnTo>
                  <a:lnTo>
                    <a:pt x="1709" y="81"/>
                  </a:lnTo>
                  <a:lnTo>
                    <a:pt x="1740" y="50"/>
                  </a:lnTo>
                  <a:lnTo>
                    <a:pt x="1764" y="25"/>
                  </a:lnTo>
                  <a:lnTo>
                    <a:pt x="1789" y="25"/>
                  </a:lnTo>
                  <a:lnTo>
                    <a:pt x="1820" y="25"/>
                  </a:lnTo>
                  <a:lnTo>
                    <a:pt x="1820" y="0"/>
                  </a:lnTo>
                  <a:lnTo>
                    <a:pt x="1845" y="25"/>
                  </a:lnTo>
                  <a:lnTo>
                    <a:pt x="1845" y="0"/>
                  </a:lnTo>
                  <a:lnTo>
                    <a:pt x="1876" y="0"/>
                  </a:lnTo>
                  <a:lnTo>
                    <a:pt x="1876" y="25"/>
                  </a:lnTo>
                  <a:lnTo>
                    <a:pt x="1845" y="25"/>
                  </a:lnTo>
                  <a:lnTo>
                    <a:pt x="1845" y="50"/>
                  </a:lnTo>
                  <a:lnTo>
                    <a:pt x="1845" y="81"/>
                  </a:lnTo>
                  <a:lnTo>
                    <a:pt x="1876" y="106"/>
                  </a:lnTo>
                  <a:lnTo>
                    <a:pt x="1901" y="106"/>
                  </a:lnTo>
                  <a:lnTo>
                    <a:pt x="1901" y="137"/>
                  </a:lnTo>
                  <a:lnTo>
                    <a:pt x="1901" y="161"/>
                  </a:lnTo>
                  <a:lnTo>
                    <a:pt x="1926" y="161"/>
                  </a:lnTo>
                  <a:lnTo>
                    <a:pt x="1926" y="187"/>
                  </a:lnTo>
                  <a:lnTo>
                    <a:pt x="1956" y="187"/>
                  </a:lnTo>
                  <a:lnTo>
                    <a:pt x="1982" y="187"/>
                  </a:lnTo>
                  <a:lnTo>
                    <a:pt x="1982" y="218"/>
                  </a:lnTo>
                  <a:lnTo>
                    <a:pt x="2037" y="218"/>
                  </a:lnTo>
                  <a:lnTo>
                    <a:pt x="2063" y="218"/>
                  </a:lnTo>
                  <a:lnTo>
                    <a:pt x="2087" y="218"/>
                  </a:lnTo>
                  <a:lnTo>
                    <a:pt x="2119" y="218"/>
                  </a:lnTo>
                  <a:lnTo>
                    <a:pt x="2174" y="218"/>
                  </a:lnTo>
                  <a:lnTo>
                    <a:pt x="2200" y="242"/>
                  </a:lnTo>
                  <a:lnTo>
                    <a:pt x="2224" y="242"/>
                  </a:lnTo>
                  <a:lnTo>
                    <a:pt x="2255" y="242"/>
                  </a:lnTo>
                  <a:lnTo>
                    <a:pt x="2280" y="242"/>
                  </a:lnTo>
                  <a:lnTo>
                    <a:pt x="2305" y="242"/>
                  </a:lnTo>
                  <a:lnTo>
                    <a:pt x="2336" y="242"/>
                  </a:lnTo>
                  <a:lnTo>
                    <a:pt x="2361" y="242"/>
                  </a:lnTo>
                  <a:lnTo>
                    <a:pt x="2361" y="267"/>
                  </a:lnTo>
                  <a:lnTo>
                    <a:pt x="2361" y="298"/>
                  </a:lnTo>
                  <a:lnTo>
                    <a:pt x="2336" y="323"/>
                  </a:lnTo>
                  <a:lnTo>
                    <a:pt x="2305" y="323"/>
                  </a:lnTo>
                  <a:lnTo>
                    <a:pt x="2280" y="348"/>
                  </a:lnTo>
                  <a:lnTo>
                    <a:pt x="2280" y="403"/>
                  </a:lnTo>
                  <a:lnTo>
                    <a:pt x="2336" y="379"/>
                  </a:lnTo>
                  <a:lnTo>
                    <a:pt x="2336" y="403"/>
                  </a:lnTo>
                  <a:lnTo>
                    <a:pt x="2361" y="403"/>
                  </a:lnTo>
                  <a:lnTo>
                    <a:pt x="2361" y="434"/>
                  </a:lnTo>
                  <a:lnTo>
                    <a:pt x="2336" y="460"/>
                  </a:lnTo>
                  <a:lnTo>
                    <a:pt x="2336" y="515"/>
                  </a:lnTo>
                  <a:lnTo>
                    <a:pt x="2361" y="515"/>
                  </a:lnTo>
                  <a:lnTo>
                    <a:pt x="2386" y="541"/>
                  </a:lnTo>
                  <a:lnTo>
                    <a:pt x="2361" y="565"/>
                  </a:lnTo>
                  <a:lnTo>
                    <a:pt x="2361" y="596"/>
                  </a:lnTo>
                  <a:lnTo>
                    <a:pt x="2416" y="621"/>
                  </a:lnTo>
                  <a:lnTo>
                    <a:pt x="2473" y="646"/>
                  </a:lnTo>
                  <a:lnTo>
                    <a:pt x="2473" y="677"/>
                  </a:lnTo>
                  <a:lnTo>
                    <a:pt x="2442" y="702"/>
                  </a:lnTo>
                  <a:lnTo>
                    <a:pt x="2416" y="702"/>
                  </a:lnTo>
                  <a:lnTo>
                    <a:pt x="2416" y="677"/>
                  </a:lnTo>
                  <a:lnTo>
                    <a:pt x="2416" y="646"/>
                  </a:lnTo>
                  <a:lnTo>
                    <a:pt x="2386" y="646"/>
                  </a:lnTo>
                  <a:lnTo>
                    <a:pt x="2361" y="621"/>
                  </a:lnTo>
                  <a:lnTo>
                    <a:pt x="2336" y="621"/>
                  </a:lnTo>
                  <a:lnTo>
                    <a:pt x="2336" y="646"/>
                  </a:lnTo>
                  <a:lnTo>
                    <a:pt x="2305" y="677"/>
                  </a:lnTo>
                  <a:lnTo>
                    <a:pt x="2305" y="646"/>
                  </a:lnTo>
                  <a:lnTo>
                    <a:pt x="2224" y="621"/>
                  </a:lnTo>
                  <a:lnTo>
                    <a:pt x="2200" y="646"/>
                  </a:lnTo>
                  <a:lnTo>
                    <a:pt x="2224" y="677"/>
                  </a:lnTo>
                  <a:lnTo>
                    <a:pt x="2200" y="702"/>
                  </a:lnTo>
                  <a:lnTo>
                    <a:pt x="2143" y="702"/>
                  </a:lnTo>
                  <a:lnTo>
                    <a:pt x="2119" y="733"/>
                  </a:lnTo>
                  <a:lnTo>
                    <a:pt x="2063" y="757"/>
                  </a:lnTo>
                  <a:lnTo>
                    <a:pt x="1982" y="814"/>
                  </a:lnTo>
                  <a:lnTo>
                    <a:pt x="1982" y="783"/>
                  </a:lnTo>
                  <a:lnTo>
                    <a:pt x="1982" y="757"/>
                  </a:lnTo>
                  <a:lnTo>
                    <a:pt x="1956" y="783"/>
                  </a:lnTo>
                  <a:lnTo>
                    <a:pt x="1926" y="783"/>
                  </a:lnTo>
                  <a:lnTo>
                    <a:pt x="1956" y="814"/>
                  </a:lnTo>
                  <a:lnTo>
                    <a:pt x="1901" y="783"/>
                  </a:lnTo>
                  <a:lnTo>
                    <a:pt x="1926" y="838"/>
                  </a:lnTo>
                  <a:lnTo>
                    <a:pt x="1901" y="863"/>
                  </a:lnTo>
                  <a:lnTo>
                    <a:pt x="1901" y="894"/>
                  </a:lnTo>
                  <a:lnTo>
                    <a:pt x="1926" y="894"/>
                  </a:lnTo>
                  <a:lnTo>
                    <a:pt x="1901" y="919"/>
                  </a:lnTo>
                  <a:lnTo>
                    <a:pt x="1926" y="919"/>
                  </a:lnTo>
                  <a:lnTo>
                    <a:pt x="1926" y="894"/>
                  </a:lnTo>
                  <a:lnTo>
                    <a:pt x="1956" y="919"/>
                  </a:lnTo>
                  <a:lnTo>
                    <a:pt x="1956" y="944"/>
                  </a:lnTo>
                  <a:lnTo>
                    <a:pt x="1956" y="975"/>
                  </a:lnTo>
                  <a:lnTo>
                    <a:pt x="1982" y="975"/>
                  </a:lnTo>
                  <a:lnTo>
                    <a:pt x="2006" y="1030"/>
                  </a:lnTo>
                  <a:lnTo>
                    <a:pt x="2006" y="1111"/>
                  </a:lnTo>
                  <a:lnTo>
                    <a:pt x="1982" y="1056"/>
                  </a:lnTo>
                  <a:lnTo>
                    <a:pt x="1982" y="1111"/>
                  </a:lnTo>
                  <a:lnTo>
                    <a:pt x="1956" y="1080"/>
                  </a:lnTo>
                  <a:lnTo>
                    <a:pt x="1926" y="1111"/>
                  </a:lnTo>
                  <a:lnTo>
                    <a:pt x="1956" y="1111"/>
                  </a:lnTo>
                  <a:lnTo>
                    <a:pt x="1926" y="1137"/>
                  </a:lnTo>
                  <a:lnTo>
                    <a:pt x="1926" y="1192"/>
                  </a:lnTo>
                  <a:lnTo>
                    <a:pt x="1956" y="1217"/>
                  </a:lnTo>
                  <a:lnTo>
                    <a:pt x="1926" y="1273"/>
                  </a:lnTo>
                  <a:lnTo>
                    <a:pt x="1956" y="1298"/>
                  </a:lnTo>
                  <a:lnTo>
                    <a:pt x="1956" y="1353"/>
                  </a:lnTo>
                  <a:lnTo>
                    <a:pt x="1982" y="1378"/>
                  </a:lnTo>
                  <a:lnTo>
                    <a:pt x="2006" y="1410"/>
                  </a:lnTo>
                  <a:lnTo>
                    <a:pt x="2087" y="1490"/>
                  </a:lnTo>
                  <a:lnTo>
                    <a:pt x="2143" y="1515"/>
                  </a:lnTo>
                  <a:lnTo>
                    <a:pt x="2174" y="1515"/>
                  </a:lnTo>
                  <a:lnTo>
                    <a:pt x="2280" y="1596"/>
                  </a:lnTo>
                  <a:lnTo>
                    <a:pt x="2361" y="1651"/>
                  </a:lnTo>
                  <a:lnTo>
                    <a:pt x="2416" y="1651"/>
                  </a:lnTo>
                  <a:lnTo>
                    <a:pt x="2442" y="1676"/>
                  </a:lnTo>
                  <a:lnTo>
                    <a:pt x="2442" y="1732"/>
                  </a:lnTo>
                  <a:lnTo>
                    <a:pt x="2442" y="1757"/>
                  </a:lnTo>
                  <a:lnTo>
                    <a:pt x="2497" y="1812"/>
                  </a:lnTo>
                  <a:lnTo>
                    <a:pt x="2523" y="1843"/>
                  </a:lnTo>
                  <a:lnTo>
                    <a:pt x="2523" y="1924"/>
                  </a:lnTo>
                  <a:lnTo>
                    <a:pt x="2554" y="2005"/>
                  </a:lnTo>
                  <a:lnTo>
                    <a:pt x="2603" y="2111"/>
                  </a:lnTo>
                  <a:lnTo>
                    <a:pt x="2659" y="2166"/>
                  </a:lnTo>
                  <a:lnTo>
                    <a:pt x="2715" y="2223"/>
                  </a:lnTo>
                  <a:lnTo>
                    <a:pt x="2770" y="2223"/>
                  </a:lnTo>
                  <a:lnTo>
                    <a:pt x="2796" y="2303"/>
                  </a:lnTo>
                  <a:lnTo>
                    <a:pt x="2876" y="2328"/>
                  </a:lnTo>
                  <a:lnTo>
                    <a:pt x="2876" y="2353"/>
                  </a:lnTo>
                  <a:lnTo>
                    <a:pt x="2901" y="2353"/>
                  </a:lnTo>
                  <a:lnTo>
                    <a:pt x="2982" y="2408"/>
                  </a:lnTo>
                  <a:lnTo>
                    <a:pt x="3038" y="2439"/>
                  </a:lnTo>
                  <a:lnTo>
                    <a:pt x="3093" y="2408"/>
                  </a:lnTo>
                  <a:lnTo>
                    <a:pt x="3150" y="2439"/>
                  </a:lnTo>
                  <a:lnTo>
                    <a:pt x="3280" y="2408"/>
                  </a:lnTo>
                  <a:lnTo>
                    <a:pt x="3311" y="2384"/>
                  </a:lnTo>
                  <a:lnTo>
                    <a:pt x="3367" y="2384"/>
                  </a:lnTo>
                  <a:lnTo>
                    <a:pt x="3416" y="2408"/>
                  </a:lnTo>
                  <a:lnTo>
                    <a:pt x="3416" y="2439"/>
                  </a:lnTo>
                  <a:lnTo>
                    <a:pt x="3416" y="2465"/>
                  </a:lnTo>
                  <a:lnTo>
                    <a:pt x="3392" y="2520"/>
                  </a:lnTo>
                  <a:lnTo>
                    <a:pt x="3335" y="2570"/>
                  </a:lnTo>
                  <a:lnTo>
                    <a:pt x="3335" y="2626"/>
                  </a:lnTo>
                  <a:lnTo>
                    <a:pt x="3392" y="2657"/>
                  </a:lnTo>
                  <a:lnTo>
                    <a:pt x="3473" y="2682"/>
                  </a:lnTo>
                  <a:lnTo>
                    <a:pt x="3826" y="2788"/>
                  </a:lnTo>
                  <a:lnTo>
                    <a:pt x="3852" y="2788"/>
                  </a:lnTo>
                  <a:lnTo>
                    <a:pt x="3907" y="2843"/>
                  </a:lnTo>
                  <a:lnTo>
                    <a:pt x="3963" y="2868"/>
                  </a:lnTo>
                  <a:lnTo>
                    <a:pt x="4013" y="2899"/>
                  </a:lnTo>
                  <a:lnTo>
                    <a:pt x="4069" y="2924"/>
                  </a:lnTo>
                  <a:lnTo>
                    <a:pt x="4125" y="2924"/>
                  </a:lnTo>
                  <a:lnTo>
                    <a:pt x="4149" y="2924"/>
                  </a:lnTo>
                  <a:lnTo>
                    <a:pt x="4149" y="2955"/>
                  </a:lnTo>
                  <a:lnTo>
                    <a:pt x="4149" y="2980"/>
                  </a:lnTo>
                  <a:lnTo>
                    <a:pt x="4180" y="3004"/>
                  </a:lnTo>
                  <a:lnTo>
                    <a:pt x="4230" y="3004"/>
                  </a:lnTo>
                  <a:lnTo>
                    <a:pt x="4342" y="3085"/>
                  </a:lnTo>
                  <a:lnTo>
                    <a:pt x="4367" y="3166"/>
                  </a:lnTo>
                  <a:lnTo>
                    <a:pt x="4367" y="3197"/>
                  </a:lnTo>
                  <a:lnTo>
                    <a:pt x="4342" y="3222"/>
                  </a:lnTo>
                  <a:lnTo>
                    <a:pt x="4342" y="3278"/>
                  </a:lnTo>
                  <a:lnTo>
                    <a:pt x="4311" y="3303"/>
                  </a:lnTo>
                  <a:lnTo>
                    <a:pt x="4342" y="3334"/>
                  </a:lnTo>
                  <a:lnTo>
                    <a:pt x="4311" y="3334"/>
                  </a:lnTo>
                  <a:lnTo>
                    <a:pt x="4286" y="3303"/>
                  </a:lnTo>
                  <a:lnTo>
                    <a:pt x="4261" y="3334"/>
                  </a:lnTo>
                  <a:lnTo>
                    <a:pt x="4180" y="3253"/>
                  </a:lnTo>
                  <a:lnTo>
                    <a:pt x="4180" y="3222"/>
                  </a:lnTo>
                  <a:lnTo>
                    <a:pt x="4180" y="3197"/>
                  </a:lnTo>
                  <a:lnTo>
                    <a:pt x="4125" y="3116"/>
                  </a:lnTo>
                  <a:lnTo>
                    <a:pt x="4094" y="3116"/>
                  </a:lnTo>
                  <a:lnTo>
                    <a:pt x="3988" y="3116"/>
                  </a:lnTo>
                  <a:lnTo>
                    <a:pt x="3883" y="3085"/>
                  </a:lnTo>
                  <a:lnTo>
                    <a:pt x="3883" y="3061"/>
                  </a:lnTo>
                  <a:lnTo>
                    <a:pt x="3826" y="3035"/>
                  </a:lnTo>
                  <a:lnTo>
                    <a:pt x="3795" y="3035"/>
                  </a:lnTo>
                  <a:lnTo>
                    <a:pt x="3771" y="3061"/>
                  </a:lnTo>
                  <a:lnTo>
                    <a:pt x="3746" y="3116"/>
                  </a:lnTo>
                  <a:lnTo>
                    <a:pt x="3715" y="3142"/>
                  </a:lnTo>
                  <a:lnTo>
                    <a:pt x="3690" y="3197"/>
                  </a:lnTo>
                  <a:lnTo>
                    <a:pt x="3690" y="3253"/>
                  </a:lnTo>
                  <a:lnTo>
                    <a:pt x="3665" y="3278"/>
                  </a:lnTo>
                  <a:lnTo>
                    <a:pt x="3690" y="3334"/>
                  </a:lnTo>
                  <a:lnTo>
                    <a:pt x="3634" y="3415"/>
                  </a:lnTo>
                  <a:lnTo>
                    <a:pt x="3634" y="3439"/>
                  </a:lnTo>
                  <a:lnTo>
                    <a:pt x="3665" y="3464"/>
                  </a:lnTo>
                  <a:lnTo>
                    <a:pt x="3715" y="3495"/>
                  </a:lnTo>
                  <a:lnTo>
                    <a:pt x="3746" y="3464"/>
                  </a:lnTo>
                  <a:lnTo>
                    <a:pt x="3795" y="3520"/>
                  </a:lnTo>
                  <a:lnTo>
                    <a:pt x="3852" y="3551"/>
                  </a:lnTo>
                  <a:lnTo>
                    <a:pt x="3907" y="3576"/>
                  </a:lnTo>
                  <a:lnTo>
                    <a:pt x="3883" y="3631"/>
                  </a:lnTo>
                  <a:lnTo>
                    <a:pt x="3907" y="3657"/>
                  </a:lnTo>
                  <a:lnTo>
                    <a:pt x="3907" y="3712"/>
                  </a:lnTo>
                  <a:lnTo>
                    <a:pt x="3933" y="3738"/>
                  </a:lnTo>
                  <a:lnTo>
                    <a:pt x="3933" y="3769"/>
                  </a:lnTo>
                  <a:lnTo>
                    <a:pt x="3933" y="3793"/>
                  </a:lnTo>
                  <a:lnTo>
                    <a:pt x="3907" y="3818"/>
                  </a:lnTo>
                  <a:lnTo>
                    <a:pt x="3852" y="3793"/>
                  </a:lnTo>
                  <a:lnTo>
                    <a:pt x="3826" y="3818"/>
                  </a:lnTo>
                  <a:lnTo>
                    <a:pt x="3795" y="3818"/>
                  </a:lnTo>
                  <a:lnTo>
                    <a:pt x="3746" y="3849"/>
                  </a:lnTo>
                  <a:lnTo>
                    <a:pt x="3715" y="3899"/>
                  </a:lnTo>
                  <a:lnTo>
                    <a:pt x="3715" y="3954"/>
                  </a:lnTo>
                  <a:lnTo>
                    <a:pt x="3746" y="4035"/>
                  </a:lnTo>
                  <a:lnTo>
                    <a:pt x="3715" y="4092"/>
                  </a:lnTo>
                  <a:lnTo>
                    <a:pt x="3634" y="4147"/>
                  </a:lnTo>
                  <a:lnTo>
                    <a:pt x="3610" y="4172"/>
                  </a:lnTo>
                  <a:lnTo>
                    <a:pt x="3578" y="4228"/>
                  </a:lnTo>
                  <a:lnTo>
                    <a:pt x="3578" y="4277"/>
                  </a:lnTo>
                  <a:lnTo>
                    <a:pt x="3578" y="4308"/>
                  </a:lnTo>
                  <a:lnTo>
                    <a:pt x="3553" y="4334"/>
                  </a:lnTo>
                  <a:lnTo>
                    <a:pt x="3497" y="4334"/>
                  </a:lnTo>
                  <a:lnTo>
                    <a:pt x="3473" y="4334"/>
                  </a:lnTo>
                  <a:lnTo>
                    <a:pt x="3416" y="4334"/>
                  </a:lnTo>
                  <a:lnTo>
                    <a:pt x="3392" y="4308"/>
                  </a:lnTo>
                  <a:lnTo>
                    <a:pt x="3392" y="4277"/>
                  </a:lnTo>
                  <a:lnTo>
                    <a:pt x="3392" y="4253"/>
                  </a:lnTo>
                  <a:lnTo>
                    <a:pt x="3392" y="4197"/>
                  </a:lnTo>
                  <a:lnTo>
                    <a:pt x="3448" y="4172"/>
                  </a:lnTo>
                  <a:lnTo>
                    <a:pt x="3448" y="4116"/>
                  </a:lnTo>
                  <a:lnTo>
                    <a:pt x="3473" y="4092"/>
                  </a:lnTo>
                  <a:lnTo>
                    <a:pt x="3473" y="4035"/>
                  </a:lnTo>
                  <a:lnTo>
                    <a:pt x="3448" y="4011"/>
                  </a:lnTo>
                  <a:lnTo>
                    <a:pt x="3448" y="3980"/>
                  </a:lnTo>
                  <a:lnTo>
                    <a:pt x="3473" y="3954"/>
                  </a:lnTo>
                  <a:lnTo>
                    <a:pt x="3497" y="3954"/>
                  </a:lnTo>
                  <a:lnTo>
                    <a:pt x="3553" y="3954"/>
                  </a:lnTo>
                  <a:lnTo>
                    <a:pt x="3578" y="3930"/>
                  </a:lnTo>
                  <a:lnTo>
                    <a:pt x="3578" y="3899"/>
                  </a:lnTo>
                  <a:lnTo>
                    <a:pt x="3578" y="3874"/>
                  </a:lnTo>
                  <a:lnTo>
                    <a:pt x="3578" y="3849"/>
                  </a:lnTo>
                  <a:lnTo>
                    <a:pt x="3553" y="3818"/>
                  </a:lnTo>
                  <a:lnTo>
                    <a:pt x="3529" y="3793"/>
                  </a:lnTo>
                  <a:lnTo>
                    <a:pt x="3497" y="3738"/>
                  </a:lnTo>
                  <a:lnTo>
                    <a:pt x="3473" y="3601"/>
                  </a:lnTo>
                  <a:lnTo>
                    <a:pt x="3448" y="3576"/>
                  </a:lnTo>
                  <a:lnTo>
                    <a:pt x="3416" y="3551"/>
                  </a:lnTo>
                  <a:lnTo>
                    <a:pt x="3392" y="3495"/>
                  </a:lnTo>
                  <a:lnTo>
                    <a:pt x="3392" y="3439"/>
                  </a:lnTo>
                  <a:lnTo>
                    <a:pt x="3367" y="3415"/>
                  </a:lnTo>
                  <a:lnTo>
                    <a:pt x="3367" y="3384"/>
                  </a:lnTo>
                  <a:lnTo>
                    <a:pt x="3367" y="3358"/>
                  </a:lnTo>
                  <a:lnTo>
                    <a:pt x="3311" y="3334"/>
                  </a:lnTo>
                  <a:lnTo>
                    <a:pt x="3280" y="3303"/>
                  </a:lnTo>
                  <a:lnTo>
                    <a:pt x="3255" y="3303"/>
                  </a:lnTo>
                  <a:lnTo>
                    <a:pt x="3230" y="3358"/>
                  </a:lnTo>
                  <a:lnTo>
                    <a:pt x="3199" y="3358"/>
                  </a:lnTo>
                  <a:lnTo>
                    <a:pt x="3174" y="3334"/>
                  </a:lnTo>
                  <a:lnTo>
                    <a:pt x="3093" y="3278"/>
                  </a:lnTo>
                  <a:lnTo>
                    <a:pt x="3069" y="3278"/>
                  </a:lnTo>
                  <a:lnTo>
                    <a:pt x="3038" y="3253"/>
                  </a:lnTo>
                  <a:lnTo>
                    <a:pt x="3012" y="3253"/>
                  </a:lnTo>
                  <a:lnTo>
                    <a:pt x="3038" y="3222"/>
                  </a:lnTo>
                  <a:lnTo>
                    <a:pt x="3038" y="3197"/>
                  </a:lnTo>
                  <a:lnTo>
                    <a:pt x="3069" y="3166"/>
                  </a:lnTo>
                  <a:lnTo>
                    <a:pt x="3012" y="3142"/>
                  </a:lnTo>
                  <a:lnTo>
                    <a:pt x="3012" y="3085"/>
                  </a:lnTo>
                  <a:lnTo>
                    <a:pt x="2982" y="3061"/>
                  </a:lnTo>
                  <a:lnTo>
                    <a:pt x="2957" y="3035"/>
                  </a:lnTo>
                  <a:lnTo>
                    <a:pt x="2932" y="3061"/>
                  </a:lnTo>
                  <a:lnTo>
                    <a:pt x="2901" y="3061"/>
                  </a:lnTo>
                  <a:lnTo>
                    <a:pt x="2876" y="3085"/>
                  </a:lnTo>
                  <a:lnTo>
                    <a:pt x="2851" y="3085"/>
                  </a:lnTo>
                  <a:lnTo>
                    <a:pt x="2796" y="3116"/>
                  </a:lnTo>
                  <a:lnTo>
                    <a:pt x="2796" y="3085"/>
                  </a:lnTo>
                  <a:lnTo>
                    <a:pt x="2851" y="3035"/>
                  </a:lnTo>
                  <a:lnTo>
                    <a:pt x="2796" y="3004"/>
                  </a:lnTo>
                  <a:lnTo>
                    <a:pt x="2770" y="2980"/>
                  </a:lnTo>
                  <a:lnTo>
                    <a:pt x="2739" y="3004"/>
                  </a:lnTo>
                  <a:lnTo>
                    <a:pt x="2715" y="2980"/>
                  </a:lnTo>
                  <a:lnTo>
                    <a:pt x="2684" y="3004"/>
                  </a:lnTo>
                  <a:lnTo>
                    <a:pt x="2715" y="3004"/>
                  </a:lnTo>
                  <a:lnTo>
                    <a:pt x="2684" y="3004"/>
                  </a:lnTo>
                  <a:lnTo>
                    <a:pt x="2684" y="2955"/>
                  </a:lnTo>
                  <a:lnTo>
                    <a:pt x="2659" y="2924"/>
                  </a:lnTo>
                  <a:lnTo>
                    <a:pt x="2634" y="2899"/>
                  </a:lnTo>
                  <a:lnTo>
                    <a:pt x="2603" y="2843"/>
                  </a:lnTo>
                  <a:lnTo>
                    <a:pt x="2578" y="2819"/>
                  </a:lnTo>
                  <a:lnTo>
                    <a:pt x="2497" y="2788"/>
                  </a:lnTo>
                  <a:lnTo>
                    <a:pt x="2497" y="2819"/>
                  </a:lnTo>
                  <a:lnTo>
                    <a:pt x="2386" y="2788"/>
                  </a:lnTo>
                  <a:lnTo>
                    <a:pt x="2361" y="2788"/>
                  </a:lnTo>
                  <a:lnTo>
                    <a:pt x="2305" y="2819"/>
                  </a:lnTo>
                  <a:lnTo>
                    <a:pt x="2280" y="2788"/>
                  </a:lnTo>
                  <a:lnTo>
                    <a:pt x="2255" y="2738"/>
                  </a:lnTo>
                  <a:lnTo>
                    <a:pt x="2224" y="2738"/>
                  </a:lnTo>
                  <a:lnTo>
                    <a:pt x="2200" y="2738"/>
                  </a:lnTo>
                  <a:lnTo>
                    <a:pt x="2174" y="2707"/>
                  </a:lnTo>
                  <a:lnTo>
                    <a:pt x="2143" y="2738"/>
                  </a:lnTo>
                  <a:lnTo>
                    <a:pt x="2063" y="2626"/>
                  </a:lnTo>
                  <a:lnTo>
                    <a:pt x="2037" y="2601"/>
                  </a:lnTo>
                  <a:lnTo>
                    <a:pt x="2006" y="2601"/>
                  </a:lnTo>
                  <a:lnTo>
                    <a:pt x="1982" y="2546"/>
                  </a:lnTo>
                  <a:lnTo>
                    <a:pt x="1956" y="2489"/>
                  </a:lnTo>
                  <a:lnTo>
                    <a:pt x="1876" y="2439"/>
                  </a:lnTo>
                  <a:lnTo>
                    <a:pt x="1845" y="2465"/>
                  </a:lnTo>
                  <a:lnTo>
                    <a:pt x="1820" y="2439"/>
                  </a:lnTo>
                  <a:lnTo>
                    <a:pt x="1820" y="2384"/>
                  </a:lnTo>
                  <a:lnTo>
                    <a:pt x="1789" y="2353"/>
                  </a:lnTo>
                  <a:lnTo>
                    <a:pt x="1709" y="2303"/>
                  </a:lnTo>
                  <a:lnTo>
                    <a:pt x="1683" y="2272"/>
                  </a:lnTo>
                  <a:lnTo>
                    <a:pt x="1659" y="2272"/>
                  </a:lnTo>
                  <a:lnTo>
                    <a:pt x="1628" y="2272"/>
                  </a:lnTo>
                  <a:lnTo>
                    <a:pt x="1603" y="2303"/>
                  </a:lnTo>
                  <a:lnTo>
                    <a:pt x="1578" y="2272"/>
                  </a:lnTo>
                  <a:lnTo>
                    <a:pt x="1578" y="2247"/>
                  </a:lnTo>
                  <a:lnTo>
                    <a:pt x="1603" y="2247"/>
                  </a:lnTo>
                  <a:lnTo>
                    <a:pt x="1628" y="2247"/>
                  </a:lnTo>
                  <a:lnTo>
                    <a:pt x="1578" y="2166"/>
                  </a:lnTo>
                  <a:lnTo>
                    <a:pt x="1547" y="2166"/>
                  </a:lnTo>
                  <a:lnTo>
                    <a:pt x="1522" y="2142"/>
                  </a:lnTo>
                  <a:lnTo>
                    <a:pt x="1491" y="2111"/>
                  </a:lnTo>
                  <a:lnTo>
                    <a:pt x="1441" y="2111"/>
                  </a:lnTo>
                  <a:lnTo>
                    <a:pt x="1441" y="2085"/>
                  </a:lnTo>
                  <a:lnTo>
                    <a:pt x="1441" y="2030"/>
                  </a:lnTo>
                  <a:lnTo>
                    <a:pt x="1410" y="2030"/>
                  </a:lnTo>
                  <a:lnTo>
                    <a:pt x="1386" y="2030"/>
                  </a:lnTo>
                  <a:lnTo>
                    <a:pt x="1360" y="2054"/>
                  </a:lnTo>
                  <a:lnTo>
                    <a:pt x="1329" y="2005"/>
                  </a:lnTo>
                  <a:lnTo>
                    <a:pt x="1360" y="2005"/>
                  </a:lnTo>
                  <a:lnTo>
                    <a:pt x="1360" y="1924"/>
                  </a:lnTo>
                  <a:lnTo>
                    <a:pt x="1360" y="1893"/>
                  </a:lnTo>
                  <a:lnTo>
                    <a:pt x="1329" y="1843"/>
                  </a:lnTo>
                  <a:lnTo>
                    <a:pt x="1280" y="1788"/>
                  </a:lnTo>
                  <a:lnTo>
                    <a:pt x="1280" y="1732"/>
                  </a:lnTo>
                  <a:lnTo>
                    <a:pt x="1249" y="1676"/>
                  </a:lnTo>
                  <a:lnTo>
                    <a:pt x="1280" y="1651"/>
                  </a:lnTo>
                  <a:lnTo>
                    <a:pt x="1249" y="1627"/>
                  </a:lnTo>
                  <a:lnTo>
                    <a:pt x="1224" y="1546"/>
                  </a:lnTo>
                  <a:lnTo>
                    <a:pt x="1168" y="1490"/>
                  </a:lnTo>
                  <a:lnTo>
                    <a:pt x="1144" y="1490"/>
                  </a:lnTo>
                  <a:lnTo>
                    <a:pt x="1113" y="1458"/>
                  </a:lnTo>
                  <a:lnTo>
                    <a:pt x="1087" y="1490"/>
                  </a:lnTo>
                  <a:lnTo>
                    <a:pt x="1113" y="1490"/>
                  </a:lnTo>
                  <a:lnTo>
                    <a:pt x="1113" y="1515"/>
                  </a:lnTo>
                  <a:lnTo>
                    <a:pt x="1007" y="1434"/>
                  </a:lnTo>
                  <a:lnTo>
                    <a:pt x="951" y="1410"/>
                  </a:lnTo>
                  <a:lnTo>
                    <a:pt x="895" y="1353"/>
                  </a:lnTo>
                  <a:lnTo>
                    <a:pt x="871" y="1378"/>
                  </a:lnTo>
                  <a:lnTo>
                    <a:pt x="871" y="1353"/>
                  </a:lnTo>
                  <a:lnTo>
                    <a:pt x="845" y="1353"/>
                  </a:lnTo>
                  <a:lnTo>
                    <a:pt x="789" y="1353"/>
                  </a:lnTo>
                  <a:lnTo>
                    <a:pt x="733" y="1329"/>
                  </a:lnTo>
                  <a:lnTo>
                    <a:pt x="684" y="1353"/>
                  </a:lnTo>
                  <a:lnTo>
                    <a:pt x="627" y="1378"/>
                  </a:lnTo>
                  <a:lnTo>
                    <a:pt x="596" y="1434"/>
                  </a:lnTo>
                  <a:lnTo>
                    <a:pt x="547" y="1458"/>
                  </a:lnTo>
                  <a:lnTo>
                    <a:pt x="516" y="1515"/>
                  </a:lnTo>
                  <a:lnTo>
                    <a:pt x="516" y="1571"/>
                  </a:lnTo>
                  <a:lnTo>
                    <a:pt x="466" y="1596"/>
                  </a:lnTo>
                  <a:lnTo>
                    <a:pt x="354" y="1651"/>
                  </a:lnTo>
                  <a:lnTo>
                    <a:pt x="299" y="1627"/>
                  </a:lnTo>
                  <a:close/>
                  <a:moveTo>
                    <a:pt x="547" y="2955"/>
                  </a:moveTo>
                  <a:lnTo>
                    <a:pt x="547" y="2980"/>
                  </a:lnTo>
                  <a:lnTo>
                    <a:pt x="572" y="2980"/>
                  </a:lnTo>
                  <a:lnTo>
                    <a:pt x="572" y="2955"/>
                  </a:lnTo>
                  <a:lnTo>
                    <a:pt x="596" y="2955"/>
                  </a:lnTo>
                  <a:lnTo>
                    <a:pt x="572" y="2924"/>
                  </a:lnTo>
                  <a:lnTo>
                    <a:pt x="572" y="2955"/>
                  </a:lnTo>
                  <a:lnTo>
                    <a:pt x="547" y="2955"/>
                  </a:lnTo>
                  <a:close/>
                  <a:moveTo>
                    <a:pt x="572" y="3849"/>
                  </a:moveTo>
                  <a:lnTo>
                    <a:pt x="547" y="3874"/>
                  </a:lnTo>
                  <a:lnTo>
                    <a:pt x="547" y="3899"/>
                  </a:lnTo>
                  <a:lnTo>
                    <a:pt x="572" y="3899"/>
                  </a:lnTo>
                  <a:lnTo>
                    <a:pt x="572" y="3874"/>
                  </a:lnTo>
                  <a:lnTo>
                    <a:pt x="572" y="3849"/>
                  </a:lnTo>
                  <a:close/>
                  <a:moveTo>
                    <a:pt x="596" y="3253"/>
                  </a:moveTo>
                  <a:lnTo>
                    <a:pt x="596" y="3303"/>
                  </a:lnTo>
                  <a:lnTo>
                    <a:pt x="627" y="3334"/>
                  </a:lnTo>
                  <a:lnTo>
                    <a:pt x="627" y="3384"/>
                  </a:lnTo>
                  <a:lnTo>
                    <a:pt x="653" y="3415"/>
                  </a:lnTo>
                  <a:lnTo>
                    <a:pt x="627" y="3439"/>
                  </a:lnTo>
                  <a:lnTo>
                    <a:pt x="596" y="3439"/>
                  </a:lnTo>
                  <a:lnTo>
                    <a:pt x="596" y="3464"/>
                  </a:lnTo>
                  <a:lnTo>
                    <a:pt x="596" y="3520"/>
                  </a:lnTo>
                  <a:lnTo>
                    <a:pt x="627" y="3551"/>
                  </a:lnTo>
                  <a:lnTo>
                    <a:pt x="627" y="3520"/>
                  </a:lnTo>
                  <a:lnTo>
                    <a:pt x="653" y="3495"/>
                  </a:lnTo>
                  <a:lnTo>
                    <a:pt x="684" y="3551"/>
                  </a:lnTo>
                  <a:lnTo>
                    <a:pt x="653" y="3601"/>
                  </a:lnTo>
                  <a:lnTo>
                    <a:pt x="684" y="3601"/>
                  </a:lnTo>
                  <a:lnTo>
                    <a:pt x="684" y="3631"/>
                  </a:lnTo>
                  <a:lnTo>
                    <a:pt x="653" y="3601"/>
                  </a:lnTo>
                  <a:lnTo>
                    <a:pt x="627" y="3576"/>
                  </a:lnTo>
                  <a:lnTo>
                    <a:pt x="627" y="3681"/>
                  </a:lnTo>
                  <a:lnTo>
                    <a:pt x="596" y="3712"/>
                  </a:lnTo>
                  <a:lnTo>
                    <a:pt x="627" y="3738"/>
                  </a:lnTo>
                  <a:lnTo>
                    <a:pt x="596" y="3769"/>
                  </a:lnTo>
                  <a:lnTo>
                    <a:pt x="627" y="3818"/>
                  </a:lnTo>
                  <a:lnTo>
                    <a:pt x="596" y="3849"/>
                  </a:lnTo>
                  <a:lnTo>
                    <a:pt x="627" y="3874"/>
                  </a:lnTo>
                  <a:lnTo>
                    <a:pt x="653" y="3899"/>
                  </a:lnTo>
                  <a:lnTo>
                    <a:pt x="596" y="3874"/>
                  </a:lnTo>
                  <a:lnTo>
                    <a:pt x="596" y="3899"/>
                  </a:lnTo>
                  <a:lnTo>
                    <a:pt x="596" y="3980"/>
                  </a:lnTo>
                  <a:lnTo>
                    <a:pt x="627" y="3954"/>
                  </a:lnTo>
                  <a:lnTo>
                    <a:pt x="627" y="3930"/>
                  </a:lnTo>
                  <a:lnTo>
                    <a:pt x="684" y="3930"/>
                  </a:lnTo>
                  <a:lnTo>
                    <a:pt x="684" y="3954"/>
                  </a:lnTo>
                  <a:lnTo>
                    <a:pt x="708" y="3980"/>
                  </a:lnTo>
                  <a:lnTo>
                    <a:pt x="684" y="4011"/>
                  </a:lnTo>
                  <a:lnTo>
                    <a:pt x="708" y="4035"/>
                  </a:lnTo>
                  <a:lnTo>
                    <a:pt x="708" y="3980"/>
                  </a:lnTo>
                  <a:lnTo>
                    <a:pt x="733" y="3980"/>
                  </a:lnTo>
                  <a:lnTo>
                    <a:pt x="789" y="4011"/>
                  </a:lnTo>
                  <a:lnTo>
                    <a:pt x="845" y="3930"/>
                  </a:lnTo>
                  <a:lnTo>
                    <a:pt x="845" y="3874"/>
                  </a:lnTo>
                  <a:lnTo>
                    <a:pt x="871" y="3849"/>
                  </a:lnTo>
                  <a:lnTo>
                    <a:pt x="895" y="3874"/>
                  </a:lnTo>
                  <a:lnTo>
                    <a:pt x="926" y="3849"/>
                  </a:lnTo>
                  <a:lnTo>
                    <a:pt x="951" y="3849"/>
                  </a:lnTo>
                  <a:lnTo>
                    <a:pt x="1007" y="3899"/>
                  </a:lnTo>
                  <a:lnTo>
                    <a:pt x="1032" y="3874"/>
                  </a:lnTo>
                  <a:lnTo>
                    <a:pt x="1032" y="3899"/>
                  </a:lnTo>
                  <a:lnTo>
                    <a:pt x="1063" y="3874"/>
                  </a:lnTo>
                  <a:lnTo>
                    <a:pt x="1063" y="3818"/>
                  </a:lnTo>
                  <a:lnTo>
                    <a:pt x="1087" y="3793"/>
                  </a:lnTo>
                  <a:lnTo>
                    <a:pt x="1063" y="3769"/>
                  </a:lnTo>
                  <a:lnTo>
                    <a:pt x="1087" y="3712"/>
                  </a:lnTo>
                  <a:lnTo>
                    <a:pt x="1063" y="3681"/>
                  </a:lnTo>
                  <a:lnTo>
                    <a:pt x="1087" y="3657"/>
                  </a:lnTo>
                  <a:lnTo>
                    <a:pt x="1087" y="3631"/>
                  </a:lnTo>
                  <a:lnTo>
                    <a:pt x="1087" y="3601"/>
                  </a:lnTo>
                  <a:lnTo>
                    <a:pt x="1087" y="3495"/>
                  </a:lnTo>
                  <a:lnTo>
                    <a:pt x="1113" y="3495"/>
                  </a:lnTo>
                  <a:lnTo>
                    <a:pt x="1087" y="3464"/>
                  </a:lnTo>
                  <a:lnTo>
                    <a:pt x="1113" y="3415"/>
                  </a:lnTo>
                  <a:lnTo>
                    <a:pt x="1063" y="3384"/>
                  </a:lnTo>
                  <a:lnTo>
                    <a:pt x="1063" y="3303"/>
                  </a:lnTo>
                  <a:lnTo>
                    <a:pt x="1113" y="3278"/>
                  </a:lnTo>
                  <a:lnTo>
                    <a:pt x="1144" y="3222"/>
                  </a:lnTo>
                  <a:lnTo>
                    <a:pt x="1113" y="3166"/>
                  </a:lnTo>
                  <a:lnTo>
                    <a:pt x="1113" y="3142"/>
                  </a:lnTo>
                  <a:lnTo>
                    <a:pt x="1087" y="3061"/>
                  </a:lnTo>
                  <a:lnTo>
                    <a:pt x="1113" y="3061"/>
                  </a:lnTo>
                  <a:lnTo>
                    <a:pt x="1063" y="3061"/>
                  </a:lnTo>
                  <a:lnTo>
                    <a:pt x="1063" y="3004"/>
                  </a:lnTo>
                  <a:lnTo>
                    <a:pt x="1032" y="3004"/>
                  </a:lnTo>
                  <a:lnTo>
                    <a:pt x="1063" y="2980"/>
                  </a:lnTo>
                  <a:lnTo>
                    <a:pt x="1087" y="2980"/>
                  </a:lnTo>
                  <a:lnTo>
                    <a:pt x="1032" y="2955"/>
                  </a:lnTo>
                  <a:lnTo>
                    <a:pt x="1007" y="2980"/>
                  </a:lnTo>
                  <a:lnTo>
                    <a:pt x="1032" y="2924"/>
                  </a:lnTo>
                  <a:lnTo>
                    <a:pt x="1007" y="2899"/>
                  </a:lnTo>
                  <a:lnTo>
                    <a:pt x="982" y="2924"/>
                  </a:lnTo>
                  <a:lnTo>
                    <a:pt x="951" y="2868"/>
                  </a:lnTo>
                  <a:lnTo>
                    <a:pt x="926" y="2868"/>
                  </a:lnTo>
                  <a:lnTo>
                    <a:pt x="926" y="2843"/>
                  </a:lnTo>
                  <a:lnTo>
                    <a:pt x="871" y="2868"/>
                  </a:lnTo>
                  <a:lnTo>
                    <a:pt x="871" y="2899"/>
                  </a:lnTo>
                  <a:lnTo>
                    <a:pt x="845" y="2924"/>
                  </a:lnTo>
                  <a:lnTo>
                    <a:pt x="789" y="2955"/>
                  </a:lnTo>
                  <a:lnTo>
                    <a:pt x="764" y="3004"/>
                  </a:lnTo>
                  <a:lnTo>
                    <a:pt x="708" y="3035"/>
                  </a:lnTo>
                  <a:lnTo>
                    <a:pt x="653" y="3061"/>
                  </a:lnTo>
                  <a:lnTo>
                    <a:pt x="627" y="3061"/>
                  </a:lnTo>
                  <a:lnTo>
                    <a:pt x="572" y="3035"/>
                  </a:lnTo>
                  <a:lnTo>
                    <a:pt x="547" y="2980"/>
                  </a:lnTo>
                  <a:lnTo>
                    <a:pt x="516" y="3004"/>
                  </a:lnTo>
                  <a:lnTo>
                    <a:pt x="547" y="3035"/>
                  </a:lnTo>
                  <a:lnTo>
                    <a:pt x="516" y="3116"/>
                  </a:lnTo>
                  <a:lnTo>
                    <a:pt x="547" y="3142"/>
                  </a:lnTo>
                  <a:lnTo>
                    <a:pt x="516" y="3166"/>
                  </a:lnTo>
                  <a:lnTo>
                    <a:pt x="516" y="3197"/>
                  </a:lnTo>
                  <a:lnTo>
                    <a:pt x="547" y="3166"/>
                  </a:lnTo>
                  <a:lnTo>
                    <a:pt x="547" y="3197"/>
                  </a:lnTo>
                  <a:lnTo>
                    <a:pt x="572" y="3166"/>
                  </a:lnTo>
                  <a:lnTo>
                    <a:pt x="596" y="3253"/>
                  </a:lnTo>
                  <a:close/>
                  <a:moveTo>
                    <a:pt x="1305" y="2085"/>
                  </a:moveTo>
                  <a:lnTo>
                    <a:pt x="1280" y="2085"/>
                  </a:lnTo>
                  <a:lnTo>
                    <a:pt x="1280" y="2111"/>
                  </a:lnTo>
                  <a:lnTo>
                    <a:pt x="1224" y="2085"/>
                  </a:lnTo>
                  <a:lnTo>
                    <a:pt x="1193" y="2111"/>
                  </a:lnTo>
                  <a:lnTo>
                    <a:pt x="1224" y="2142"/>
                  </a:lnTo>
                  <a:lnTo>
                    <a:pt x="1280" y="2142"/>
                  </a:lnTo>
                  <a:lnTo>
                    <a:pt x="1305" y="2142"/>
                  </a:lnTo>
                  <a:lnTo>
                    <a:pt x="1329" y="2142"/>
                  </a:lnTo>
                  <a:lnTo>
                    <a:pt x="1329" y="2111"/>
                  </a:lnTo>
                  <a:lnTo>
                    <a:pt x="1329" y="2085"/>
                  </a:lnTo>
                  <a:lnTo>
                    <a:pt x="1305" y="2054"/>
                  </a:lnTo>
                  <a:lnTo>
                    <a:pt x="1305" y="2085"/>
                  </a:lnTo>
                  <a:close/>
                  <a:moveTo>
                    <a:pt x="1360" y="814"/>
                  </a:moveTo>
                  <a:lnTo>
                    <a:pt x="1329" y="814"/>
                  </a:lnTo>
                  <a:lnTo>
                    <a:pt x="1329" y="783"/>
                  </a:lnTo>
                  <a:lnTo>
                    <a:pt x="1360" y="757"/>
                  </a:lnTo>
                  <a:lnTo>
                    <a:pt x="1329" y="733"/>
                  </a:lnTo>
                  <a:lnTo>
                    <a:pt x="1360" y="733"/>
                  </a:lnTo>
                  <a:lnTo>
                    <a:pt x="1441" y="621"/>
                  </a:lnTo>
                  <a:lnTo>
                    <a:pt x="1441" y="596"/>
                  </a:lnTo>
                  <a:lnTo>
                    <a:pt x="1441" y="621"/>
                  </a:lnTo>
                  <a:lnTo>
                    <a:pt x="1386" y="757"/>
                  </a:lnTo>
                  <a:lnTo>
                    <a:pt x="1410" y="783"/>
                  </a:lnTo>
                  <a:lnTo>
                    <a:pt x="1386" y="814"/>
                  </a:lnTo>
                  <a:lnTo>
                    <a:pt x="1360" y="814"/>
                  </a:lnTo>
                  <a:close/>
                  <a:moveTo>
                    <a:pt x="2006" y="1515"/>
                  </a:moveTo>
                  <a:lnTo>
                    <a:pt x="2037" y="1490"/>
                  </a:lnTo>
                  <a:lnTo>
                    <a:pt x="2037" y="1515"/>
                  </a:lnTo>
                  <a:lnTo>
                    <a:pt x="2037" y="1546"/>
                  </a:lnTo>
                  <a:lnTo>
                    <a:pt x="2006" y="1546"/>
                  </a:lnTo>
                  <a:lnTo>
                    <a:pt x="2006" y="1515"/>
                  </a:lnTo>
                  <a:close/>
                  <a:moveTo>
                    <a:pt x="2006" y="4985"/>
                  </a:moveTo>
                  <a:lnTo>
                    <a:pt x="2063" y="5010"/>
                  </a:lnTo>
                  <a:lnTo>
                    <a:pt x="2063" y="4985"/>
                  </a:lnTo>
                  <a:lnTo>
                    <a:pt x="2006" y="4961"/>
                  </a:lnTo>
                  <a:lnTo>
                    <a:pt x="2006" y="4985"/>
                  </a:lnTo>
                  <a:close/>
                  <a:moveTo>
                    <a:pt x="2361" y="4607"/>
                  </a:moveTo>
                  <a:lnTo>
                    <a:pt x="2386" y="4607"/>
                  </a:lnTo>
                  <a:lnTo>
                    <a:pt x="2416" y="4631"/>
                  </a:lnTo>
                  <a:lnTo>
                    <a:pt x="2473" y="4631"/>
                  </a:lnTo>
                  <a:lnTo>
                    <a:pt x="2578" y="4712"/>
                  </a:lnTo>
                  <a:lnTo>
                    <a:pt x="2634" y="4712"/>
                  </a:lnTo>
                  <a:lnTo>
                    <a:pt x="2684" y="4768"/>
                  </a:lnTo>
                  <a:lnTo>
                    <a:pt x="2715" y="4768"/>
                  </a:lnTo>
                  <a:lnTo>
                    <a:pt x="2739" y="4793"/>
                  </a:lnTo>
                  <a:lnTo>
                    <a:pt x="2820" y="4793"/>
                  </a:lnTo>
                  <a:lnTo>
                    <a:pt x="2901" y="4793"/>
                  </a:lnTo>
                  <a:lnTo>
                    <a:pt x="2957" y="4849"/>
                  </a:lnTo>
                  <a:lnTo>
                    <a:pt x="2982" y="4904"/>
                  </a:lnTo>
                  <a:lnTo>
                    <a:pt x="3012" y="4930"/>
                  </a:lnTo>
                  <a:lnTo>
                    <a:pt x="3069" y="4961"/>
                  </a:lnTo>
                  <a:lnTo>
                    <a:pt x="3093" y="4961"/>
                  </a:lnTo>
                  <a:lnTo>
                    <a:pt x="3150" y="4961"/>
                  </a:lnTo>
                  <a:lnTo>
                    <a:pt x="3199" y="4961"/>
                  </a:lnTo>
                  <a:lnTo>
                    <a:pt x="3230" y="4961"/>
                  </a:lnTo>
                  <a:lnTo>
                    <a:pt x="3230" y="4985"/>
                  </a:lnTo>
                  <a:lnTo>
                    <a:pt x="3255" y="4961"/>
                  </a:lnTo>
                  <a:lnTo>
                    <a:pt x="3230" y="4930"/>
                  </a:lnTo>
                  <a:lnTo>
                    <a:pt x="3255" y="4849"/>
                  </a:lnTo>
                  <a:lnTo>
                    <a:pt x="3280" y="4824"/>
                  </a:lnTo>
                  <a:lnTo>
                    <a:pt x="3311" y="4793"/>
                  </a:lnTo>
                  <a:lnTo>
                    <a:pt x="3335" y="4793"/>
                  </a:lnTo>
                  <a:lnTo>
                    <a:pt x="3311" y="4793"/>
                  </a:lnTo>
                  <a:lnTo>
                    <a:pt x="3311" y="4768"/>
                  </a:lnTo>
                  <a:lnTo>
                    <a:pt x="3311" y="4743"/>
                  </a:lnTo>
                  <a:lnTo>
                    <a:pt x="3280" y="4743"/>
                  </a:lnTo>
                  <a:lnTo>
                    <a:pt x="3255" y="4712"/>
                  </a:lnTo>
                  <a:lnTo>
                    <a:pt x="3255" y="4688"/>
                  </a:lnTo>
                  <a:lnTo>
                    <a:pt x="3280" y="4688"/>
                  </a:lnTo>
                  <a:lnTo>
                    <a:pt x="3255" y="4662"/>
                  </a:lnTo>
                  <a:lnTo>
                    <a:pt x="3230" y="4662"/>
                  </a:lnTo>
                  <a:lnTo>
                    <a:pt x="3199" y="4631"/>
                  </a:lnTo>
                  <a:lnTo>
                    <a:pt x="3199" y="4576"/>
                  </a:lnTo>
                  <a:lnTo>
                    <a:pt x="3230" y="4526"/>
                  </a:lnTo>
                  <a:lnTo>
                    <a:pt x="3230" y="4495"/>
                  </a:lnTo>
                  <a:lnTo>
                    <a:pt x="3255" y="4470"/>
                  </a:lnTo>
                  <a:lnTo>
                    <a:pt x="3255" y="4445"/>
                  </a:lnTo>
                  <a:lnTo>
                    <a:pt x="3255" y="4414"/>
                  </a:lnTo>
                  <a:lnTo>
                    <a:pt x="3280" y="4389"/>
                  </a:lnTo>
                  <a:lnTo>
                    <a:pt x="3335" y="4277"/>
                  </a:lnTo>
                  <a:lnTo>
                    <a:pt x="3367" y="4228"/>
                  </a:lnTo>
                  <a:lnTo>
                    <a:pt x="3367" y="4197"/>
                  </a:lnTo>
                  <a:lnTo>
                    <a:pt x="3392" y="4172"/>
                  </a:lnTo>
                  <a:lnTo>
                    <a:pt x="3367" y="4172"/>
                  </a:lnTo>
                  <a:lnTo>
                    <a:pt x="3335" y="4172"/>
                  </a:lnTo>
                  <a:lnTo>
                    <a:pt x="3311" y="4197"/>
                  </a:lnTo>
                  <a:lnTo>
                    <a:pt x="3255" y="4228"/>
                  </a:lnTo>
                  <a:lnTo>
                    <a:pt x="3230" y="4197"/>
                  </a:lnTo>
                  <a:lnTo>
                    <a:pt x="3230" y="4228"/>
                  </a:lnTo>
                  <a:lnTo>
                    <a:pt x="3174" y="4277"/>
                  </a:lnTo>
                  <a:lnTo>
                    <a:pt x="3150" y="4253"/>
                  </a:lnTo>
                  <a:lnTo>
                    <a:pt x="3119" y="4253"/>
                  </a:lnTo>
                  <a:lnTo>
                    <a:pt x="3093" y="4228"/>
                  </a:lnTo>
                  <a:lnTo>
                    <a:pt x="3038" y="4253"/>
                  </a:lnTo>
                  <a:lnTo>
                    <a:pt x="3012" y="4308"/>
                  </a:lnTo>
                  <a:lnTo>
                    <a:pt x="2901" y="4334"/>
                  </a:lnTo>
                  <a:lnTo>
                    <a:pt x="2851" y="4334"/>
                  </a:lnTo>
                  <a:lnTo>
                    <a:pt x="2770" y="4334"/>
                  </a:lnTo>
                  <a:lnTo>
                    <a:pt x="2715" y="4365"/>
                  </a:lnTo>
                  <a:lnTo>
                    <a:pt x="2684" y="4389"/>
                  </a:lnTo>
                  <a:lnTo>
                    <a:pt x="2603" y="4365"/>
                  </a:lnTo>
                  <a:lnTo>
                    <a:pt x="2578" y="4334"/>
                  </a:lnTo>
                  <a:lnTo>
                    <a:pt x="2578" y="4308"/>
                  </a:lnTo>
                  <a:lnTo>
                    <a:pt x="2554" y="4308"/>
                  </a:lnTo>
                  <a:lnTo>
                    <a:pt x="2523" y="4308"/>
                  </a:lnTo>
                  <a:lnTo>
                    <a:pt x="2523" y="4277"/>
                  </a:lnTo>
                  <a:lnTo>
                    <a:pt x="2497" y="4253"/>
                  </a:lnTo>
                  <a:lnTo>
                    <a:pt x="2442" y="4308"/>
                  </a:lnTo>
                  <a:lnTo>
                    <a:pt x="2416" y="4277"/>
                  </a:lnTo>
                  <a:lnTo>
                    <a:pt x="2386" y="4308"/>
                  </a:lnTo>
                  <a:lnTo>
                    <a:pt x="2386" y="4334"/>
                  </a:lnTo>
                  <a:lnTo>
                    <a:pt x="2386" y="4365"/>
                  </a:lnTo>
                  <a:lnTo>
                    <a:pt x="2336" y="4365"/>
                  </a:lnTo>
                  <a:lnTo>
                    <a:pt x="2305" y="4334"/>
                  </a:lnTo>
                  <a:lnTo>
                    <a:pt x="2280" y="4308"/>
                  </a:lnTo>
                  <a:lnTo>
                    <a:pt x="2255" y="4308"/>
                  </a:lnTo>
                  <a:lnTo>
                    <a:pt x="2255" y="4334"/>
                  </a:lnTo>
                  <a:lnTo>
                    <a:pt x="2224" y="4365"/>
                  </a:lnTo>
                  <a:lnTo>
                    <a:pt x="2200" y="4389"/>
                  </a:lnTo>
                  <a:lnTo>
                    <a:pt x="2174" y="4445"/>
                  </a:lnTo>
                  <a:lnTo>
                    <a:pt x="2174" y="4495"/>
                  </a:lnTo>
                  <a:lnTo>
                    <a:pt x="2200" y="4550"/>
                  </a:lnTo>
                  <a:lnTo>
                    <a:pt x="2224" y="4550"/>
                  </a:lnTo>
                  <a:lnTo>
                    <a:pt x="2280" y="4607"/>
                  </a:lnTo>
                  <a:lnTo>
                    <a:pt x="2305" y="4576"/>
                  </a:lnTo>
                  <a:lnTo>
                    <a:pt x="2361" y="4607"/>
                  </a:lnTo>
                  <a:close/>
                  <a:moveTo>
                    <a:pt x="2603" y="3004"/>
                  </a:moveTo>
                  <a:lnTo>
                    <a:pt x="2634" y="3061"/>
                  </a:lnTo>
                  <a:lnTo>
                    <a:pt x="2659" y="3061"/>
                  </a:lnTo>
                  <a:lnTo>
                    <a:pt x="2659" y="3035"/>
                  </a:lnTo>
                  <a:lnTo>
                    <a:pt x="2603" y="3004"/>
                  </a:lnTo>
                  <a:close/>
                  <a:moveTo>
                    <a:pt x="3093" y="4066"/>
                  </a:moveTo>
                  <a:lnTo>
                    <a:pt x="3069" y="4066"/>
                  </a:lnTo>
                  <a:lnTo>
                    <a:pt x="3093" y="4092"/>
                  </a:lnTo>
                  <a:lnTo>
                    <a:pt x="3093" y="4066"/>
                  </a:lnTo>
                  <a:close/>
                  <a:moveTo>
                    <a:pt x="3093" y="4092"/>
                  </a:moveTo>
                  <a:lnTo>
                    <a:pt x="3093" y="4116"/>
                  </a:lnTo>
                  <a:lnTo>
                    <a:pt x="3119" y="4116"/>
                  </a:lnTo>
                  <a:lnTo>
                    <a:pt x="3119" y="4092"/>
                  </a:lnTo>
                  <a:lnTo>
                    <a:pt x="3119" y="4066"/>
                  </a:lnTo>
                  <a:lnTo>
                    <a:pt x="3093" y="4092"/>
                  </a:lnTo>
                  <a:close/>
                  <a:moveTo>
                    <a:pt x="3119" y="4147"/>
                  </a:moveTo>
                  <a:lnTo>
                    <a:pt x="3150" y="4172"/>
                  </a:lnTo>
                  <a:lnTo>
                    <a:pt x="3150" y="4147"/>
                  </a:lnTo>
                  <a:lnTo>
                    <a:pt x="3119" y="4147"/>
                  </a:lnTo>
                  <a:close/>
                  <a:moveTo>
                    <a:pt x="3199" y="3930"/>
                  </a:moveTo>
                  <a:lnTo>
                    <a:pt x="3174" y="3954"/>
                  </a:lnTo>
                  <a:lnTo>
                    <a:pt x="3199" y="3954"/>
                  </a:lnTo>
                  <a:lnTo>
                    <a:pt x="3199" y="3930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32" name="Freeform 68">
              <a:extLst>
                <a:ext uri="{FF2B5EF4-FFF2-40B4-BE49-F238E27FC236}">
                  <a16:creationId xmlns:a16="http://schemas.microsoft.com/office/drawing/2014/main" id="{F90E796A-09FE-4158-99C9-8C4AB616E7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61376" y="3124025"/>
              <a:ext cx="393487" cy="456086"/>
            </a:xfrm>
            <a:custGeom>
              <a:avLst/>
              <a:gdLst/>
              <a:ahLst/>
              <a:cxnLst>
                <a:cxn ang="0">
                  <a:pos x="186" y="891"/>
                </a:cxn>
                <a:cxn ang="0">
                  <a:pos x="130" y="836"/>
                </a:cxn>
                <a:cxn ang="0">
                  <a:pos x="186" y="1108"/>
                </a:cxn>
                <a:cxn ang="0">
                  <a:pos x="49" y="1053"/>
                </a:cxn>
                <a:cxn ang="0">
                  <a:pos x="24" y="1003"/>
                </a:cxn>
                <a:cxn ang="0">
                  <a:pos x="161" y="1028"/>
                </a:cxn>
                <a:cxn ang="0">
                  <a:pos x="461" y="241"/>
                </a:cxn>
                <a:cxn ang="0">
                  <a:pos x="461" y="217"/>
                </a:cxn>
                <a:cxn ang="0">
                  <a:pos x="567" y="105"/>
                </a:cxn>
                <a:cxn ang="0">
                  <a:pos x="648" y="81"/>
                </a:cxn>
                <a:cxn ang="0">
                  <a:pos x="728" y="24"/>
                </a:cxn>
                <a:cxn ang="0">
                  <a:pos x="728" y="24"/>
                </a:cxn>
                <a:cxn ang="0">
                  <a:pos x="704" y="1325"/>
                </a:cxn>
                <a:cxn ang="0">
                  <a:pos x="728" y="1214"/>
                </a:cxn>
                <a:cxn ang="0">
                  <a:pos x="704" y="1133"/>
                </a:cxn>
                <a:cxn ang="0">
                  <a:pos x="598" y="1108"/>
                </a:cxn>
                <a:cxn ang="0">
                  <a:pos x="517" y="1003"/>
                </a:cxn>
                <a:cxn ang="0">
                  <a:pos x="430" y="1003"/>
                </a:cxn>
                <a:cxn ang="0">
                  <a:pos x="348" y="972"/>
                </a:cxn>
                <a:cxn ang="0">
                  <a:pos x="243" y="1028"/>
                </a:cxn>
                <a:cxn ang="0">
                  <a:pos x="130" y="1003"/>
                </a:cxn>
                <a:cxn ang="0">
                  <a:pos x="106" y="917"/>
                </a:cxn>
                <a:cxn ang="0">
                  <a:pos x="106" y="917"/>
                </a:cxn>
                <a:cxn ang="0">
                  <a:pos x="217" y="1003"/>
                </a:cxn>
                <a:cxn ang="0">
                  <a:pos x="217" y="948"/>
                </a:cxn>
                <a:cxn ang="0">
                  <a:pos x="267" y="917"/>
                </a:cxn>
                <a:cxn ang="0">
                  <a:pos x="348" y="891"/>
                </a:cxn>
                <a:cxn ang="0">
                  <a:pos x="298" y="836"/>
                </a:cxn>
                <a:cxn ang="0">
                  <a:pos x="243" y="812"/>
                </a:cxn>
                <a:cxn ang="0">
                  <a:pos x="267" y="891"/>
                </a:cxn>
                <a:cxn ang="0">
                  <a:pos x="161" y="812"/>
                </a:cxn>
                <a:cxn ang="0">
                  <a:pos x="217" y="755"/>
                </a:cxn>
                <a:cxn ang="0">
                  <a:pos x="348" y="595"/>
                </a:cxn>
                <a:cxn ang="0">
                  <a:pos x="404" y="378"/>
                </a:cxn>
                <a:cxn ang="0">
                  <a:pos x="541" y="272"/>
                </a:cxn>
                <a:cxn ang="0">
                  <a:pos x="567" y="353"/>
                </a:cxn>
                <a:cxn ang="0">
                  <a:pos x="648" y="433"/>
                </a:cxn>
                <a:cxn ang="0">
                  <a:pos x="679" y="489"/>
                </a:cxn>
                <a:cxn ang="0">
                  <a:pos x="728" y="322"/>
                </a:cxn>
                <a:cxn ang="0">
                  <a:pos x="622" y="297"/>
                </a:cxn>
                <a:cxn ang="0">
                  <a:pos x="648" y="217"/>
                </a:cxn>
                <a:cxn ang="0">
                  <a:pos x="704" y="105"/>
                </a:cxn>
                <a:cxn ang="0">
                  <a:pos x="896" y="55"/>
                </a:cxn>
                <a:cxn ang="0">
                  <a:pos x="1059" y="55"/>
                </a:cxn>
                <a:cxn ang="0">
                  <a:pos x="1140" y="136"/>
                </a:cxn>
                <a:cxn ang="0">
                  <a:pos x="1165" y="297"/>
                </a:cxn>
                <a:cxn ang="0">
                  <a:pos x="1083" y="433"/>
                </a:cxn>
                <a:cxn ang="0">
                  <a:pos x="1059" y="539"/>
                </a:cxn>
                <a:cxn ang="0">
                  <a:pos x="1115" y="619"/>
                </a:cxn>
                <a:cxn ang="0">
                  <a:pos x="1003" y="731"/>
                </a:cxn>
                <a:cxn ang="0">
                  <a:pos x="978" y="812"/>
                </a:cxn>
                <a:cxn ang="0">
                  <a:pos x="841" y="836"/>
                </a:cxn>
                <a:cxn ang="0">
                  <a:pos x="816" y="917"/>
                </a:cxn>
                <a:cxn ang="0">
                  <a:pos x="841" y="1053"/>
                </a:cxn>
                <a:cxn ang="0">
                  <a:pos x="816" y="1164"/>
                </a:cxn>
                <a:cxn ang="0">
                  <a:pos x="759" y="1189"/>
                </a:cxn>
                <a:cxn ang="0">
                  <a:pos x="816" y="1300"/>
                </a:cxn>
                <a:cxn ang="0">
                  <a:pos x="865" y="24"/>
                </a:cxn>
                <a:cxn ang="0">
                  <a:pos x="946" y="0"/>
                </a:cxn>
              </a:cxnLst>
              <a:rect l="0" t="0" r="r" b="b"/>
              <a:pathLst>
                <a:path w="1165" h="1350">
                  <a:moveTo>
                    <a:pt x="106" y="836"/>
                  </a:moveTo>
                  <a:lnTo>
                    <a:pt x="106" y="867"/>
                  </a:lnTo>
                  <a:lnTo>
                    <a:pt x="130" y="867"/>
                  </a:lnTo>
                  <a:lnTo>
                    <a:pt x="161" y="867"/>
                  </a:lnTo>
                  <a:lnTo>
                    <a:pt x="161" y="891"/>
                  </a:lnTo>
                  <a:lnTo>
                    <a:pt x="186" y="891"/>
                  </a:lnTo>
                  <a:lnTo>
                    <a:pt x="186" y="917"/>
                  </a:lnTo>
                  <a:lnTo>
                    <a:pt x="217" y="891"/>
                  </a:lnTo>
                  <a:lnTo>
                    <a:pt x="217" y="867"/>
                  </a:lnTo>
                  <a:lnTo>
                    <a:pt x="186" y="867"/>
                  </a:lnTo>
                  <a:lnTo>
                    <a:pt x="161" y="836"/>
                  </a:lnTo>
                  <a:lnTo>
                    <a:pt x="130" y="836"/>
                  </a:lnTo>
                  <a:lnTo>
                    <a:pt x="106" y="836"/>
                  </a:lnTo>
                  <a:close/>
                  <a:moveTo>
                    <a:pt x="267" y="1053"/>
                  </a:moveTo>
                  <a:lnTo>
                    <a:pt x="243" y="1053"/>
                  </a:lnTo>
                  <a:lnTo>
                    <a:pt x="217" y="1084"/>
                  </a:lnTo>
                  <a:lnTo>
                    <a:pt x="186" y="1084"/>
                  </a:lnTo>
                  <a:lnTo>
                    <a:pt x="186" y="1108"/>
                  </a:lnTo>
                  <a:lnTo>
                    <a:pt x="161" y="1108"/>
                  </a:lnTo>
                  <a:lnTo>
                    <a:pt x="130" y="1108"/>
                  </a:lnTo>
                  <a:lnTo>
                    <a:pt x="130" y="1084"/>
                  </a:lnTo>
                  <a:lnTo>
                    <a:pt x="106" y="1084"/>
                  </a:lnTo>
                  <a:lnTo>
                    <a:pt x="80" y="1053"/>
                  </a:lnTo>
                  <a:lnTo>
                    <a:pt x="49" y="1053"/>
                  </a:lnTo>
                  <a:lnTo>
                    <a:pt x="49" y="1084"/>
                  </a:lnTo>
                  <a:lnTo>
                    <a:pt x="24" y="1084"/>
                  </a:lnTo>
                  <a:lnTo>
                    <a:pt x="0" y="1053"/>
                  </a:lnTo>
                  <a:lnTo>
                    <a:pt x="0" y="1028"/>
                  </a:lnTo>
                  <a:lnTo>
                    <a:pt x="0" y="1003"/>
                  </a:lnTo>
                  <a:lnTo>
                    <a:pt x="24" y="1003"/>
                  </a:lnTo>
                  <a:lnTo>
                    <a:pt x="49" y="1003"/>
                  </a:lnTo>
                  <a:lnTo>
                    <a:pt x="80" y="1028"/>
                  </a:lnTo>
                  <a:lnTo>
                    <a:pt x="106" y="1028"/>
                  </a:lnTo>
                  <a:lnTo>
                    <a:pt x="130" y="1028"/>
                  </a:lnTo>
                  <a:lnTo>
                    <a:pt x="130" y="1053"/>
                  </a:lnTo>
                  <a:lnTo>
                    <a:pt x="161" y="1028"/>
                  </a:lnTo>
                  <a:lnTo>
                    <a:pt x="186" y="1028"/>
                  </a:lnTo>
                  <a:lnTo>
                    <a:pt x="186" y="1003"/>
                  </a:lnTo>
                  <a:lnTo>
                    <a:pt x="217" y="1028"/>
                  </a:lnTo>
                  <a:lnTo>
                    <a:pt x="243" y="1053"/>
                  </a:lnTo>
                  <a:lnTo>
                    <a:pt x="267" y="1053"/>
                  </a:lnTo>
                  <a:close/>
                  <a:moveTo>
                    <a:pt x="461" y="241"/>
                  </a:moveTo>
                  <a:lnTo>
                    <a:pt x="485" y="241"/>
                  </a:lnTo>
                  <a:lnTo>
                    <a:pt x="517" y="217"/>
                  </a:lnTo>
                  <a:lnTo>
                    <a:pt x="517" y="192"/>
                  </a:lnTo>
                  <a:lnTo>
                    <a:pt x="485" y="161"/>
                  </a:lnTo>
                  <a:lnTo>
                    <a:pt x="485" y="192"/>
                  </a:lnTo>
                  <a:lnTo>
                    <a:pt x="461" y="217"/>
                  </a:lnTo>
                  <a:lnTo>
                    <a:pt x="461" y="272"/>
                  </a:lnTo>
                  <a:lnTo>
                    <a:pt x="461" y="241"/>
                  </a:lnTo>
                  <a:close/>
                  <a:moveTo>
                    <a:pt x="485" y="136"/>
                  </a:moveTo>
                  <a:lnTo>
                    <a:pt x="517" y="136"/>
                  </a:lnTo>
                  <a:lnTo>
                    <a:pt x="541" y="136"/>
                  </a:lnTo>
                  <a:lnTo>
                    <a:pt x="567" y="105"/>
                  </a:lnTo>
                  <a:lnTo>
                    <a:pt x="541" y="105"/>
                  </a:lnTo>
                  <a:lnTo>
                    <a:pt x="485" y="136"/>
                  </a:lnTo>
                  <a:close/>
                  <a:moveTo>
                    <a:pt x="598" y="55"/>
                  </a:moveTo>
                  <a:lnTo>
                    <a:pt x="598" y="81"/>
                  </a:lnTo>
                  <a:lnTo>
                    <a:pt x="622" y="81"/>
                  </a:lnTo>
                  <a:lnTo>
                    <a:pt x="648" y="81"/>
                  </a:lnTo>
                  <a:lnTo>
                    <a:pt x="648" y="55"/>
                  </a:lnTo>
                  <a:lnTo>
                    <a:pt x="679" y="55"/>
                  </a:lnTo>
                  <a:lnTo>
                    <a:pt x="704" y="55"/>
                  </a:lnTo>
                  <a:lnTo>
                    <a:pt x="704" y="24"/>
                  </a:lnTo>
                  <a:lnTo>
                    <a:pt x="598" y="55"/>
                  </a:lnTo>
                  <a:close/>
                  <a:moveTo>
                    <a:pt x="728" y="24"/>
                  </a:moveTo>
                  <a:lnTo>
                    <a:pt x="728" y="55"/>
                  </a:lnTo>
                  <a:lnTo>
                    <a:pt x="759" y="55"/>
                  </a:lnTo>
                  <a:lnTo>
                    <a:pt x="785" y="55"/>
                  </a:lnTo>
                  <a:lnTo>
                    <a:pt x="816" y="24"/>
                  </a:lnTo>
                  <a:lnTo>
                    <a:pt x="759" y="24"/>
                  </a:lnTo>
                  <a:lnTo>
                    <a:pt x="728" y="24"/>
                  </a:lnTo>
                  <a:close/>
                  <a:moveTo>
                    <a:pt x="785" y="1350"/>
                  </a:moveTo>
                  <a:lnTo>
                    <a:pt x="759" y="1350"/>
                  </a:lnTo>
                  <a:lnTo>
                    <a:pt x="728" y="1350"/>
                  </a:lnTo>
                  <a:lnTo>
                    <a:pt x="704" y="1350"/>
                  </a:lnTo>
                  <a:lnTo>
                    <a:pt x="679" y="1350"/>
                  </a:lnTo>
                  <a:lnTo>
                    <a:pt x="704" y="1325"/>
                  </a:lnTo>
                  <a:lnTo>
                    <a:pt x="679" y="1325"/>
                  </a:lnTo>
                  <a:lnTo>
                    <a:pt x="679" y="1300"/>
                  </a:lnTo>
                  <a:lnTo>
                    <a:pt x="704" y="1300"/>
                  </a:lnTo>
                  <a:lnTo>
                    <a:pt x="704" y="1270"/>
                  </a:lnTo>
                  <a:lnTo>
                    <a:pt x="704" y="1245"/>
                  </a:lnTo>
                  <a:lnTo>
                    <a:pt x="728" y="1214"/>
                  </a:lnTo>
                  <a:lnTo>
                    <a:pt x="704" y="1214"/>
                  </a:lnTo>
                  <a:lnTo>
                    <a:pt x="728" y="1214"/>
                  </a:lnTo>
                  <a:lnTo>
                    <a:pt x="728" y="1189"/>
                  </a:lnTo>
                  <a:lnTo>
                    <a:pt x="728" y="1164"/>
                  </a:lnTo>
                  <a:lnTo>
                    <a:pt x="728" y="1133"/>
                  </a:lnTo>
                  <a:lnTo>
                    <a:pt x="704" y="1133"/>
                  </a:lnTo>
                  <a:lnTo>
                    <a:pt x="679" y="1133"/>
                  </a:lnTo>
                  <a:lnTo>
                    <a:pt x="648" y="1133"/>
                  </a:lnTo>
                  <a:lnTo>
                    <a:pt x="648" y="1108"/>
                  </a:lnTo>
                  <a:lnTo>
                    <a:pt x="648" y="1084"/>
                  </a:lnTo>
                  <a:lnTo>
                    <a:pt x="622" y="1108"/>
                  </a:lnTo>
                  <a:lnTo>
                    <a:pt x="598" y="1108"/>
                  </a:lnTo>
                  <a:lnTo>
                    <a:pt x="567" y="1108"/>
                  </a:lnTo>
                  <a:lnTo>
                    <a:pt x="567" y="1084"/>
                  </a:lnTo>
                  <a:lnTo>
                    <a:pt x="541" y="1084"/>
                  </a:lnTo>
                  <a:lnTo>
                    <a:pt x="541" y="1053"/>
                  </a:lnTo>
                  <a:lnTo>
                    <a:pt x="517" y="1028"/>
                  </a:lnTo>
                  <a:lnTo>
                    <a:pt x="517" y="1003"/>
                  </a:lnTo>
                  <a:lnTo>
                    <a:pt x="485" y="1003"/>
                  </a:lnTo>
                  <a:lnTo>
                    <a:pt x="461" y="1028"/>
                  </a:lnTo>
                  <a:lnTo>
                    <a:pt x="430" y="1028"/>
                  </a:lnTo>
                  <a:lnTo>
                    <a:pt x="430" y="1003"/>
                  </a:lnTo>
                  <a:lnTo>
                    <a:pt x="430" y="1028"/>
                  </a:lnTo>
                  <a:lnTo>
                    <a:pt x="430" y="1003"/>
                  </a:lnTo>
                  <a:lnTo>
                    <a:pt x="461" y="1003"/>
                  </a:lnTo>
                  <a:lnTo>
                    <a:pt x="430" y="972"/>
                  </a:lnTo>
                  <a:lnTo>
                    <a:pt x="404" y="1003"/>
                  </a:lnTo>
                  <a:lnTo>
                    <a:pt x="380" y="1003"/>
                  </a:lnTo>
                  <a:lnTo>
                    <a:pt x="348" y="1003"/>
                  </a:lnTo>
                  <a:lnTo>
                    <a:pt x="348" y="972"/>
                  </a:lnTo>
                  <a:lnTo>
                    <a:pt x="324" y="1003"/>
                  </a:lnTo>
                  <a:lnTo>
                    <a:pt x="324" y="1028"/>
                  </a:lnTo>
                  <a:lnTo>
                    <a:pt x="298" y="1053"/>
                  </a:lnTo>
                  <a:lnTo>
                    <a:pt x="298" y="1028"/>
                  </a:lnTo>
                  <a:lnTo>
                    <a:pt x="267" y="1028"/>
                  </a:lnTo>
                  <a:lnTo>
                    <a:pt x="243" y="1028"/>
                  </a:lnTo>
                  <a:lnTo>
                    <a:pt x="217" y="1003"/>
                  </a:lnTo>
                  <a:lnTo>
                    <a:pt x="186" y="972"/>
                  </a:lnTo>
                  <a:lnTo>
                    <a:pt x="161" y="1003"/>
                  </a:lnTo>
                  <a:lnTo>
                    <a:pt x="161" y="1028"/>
                  </a:lnTo>
                  <a:lnTo>
                    <a:pt x="130" y="1028"/>
                  </a:lnTo>
                  <a:lnTo>
                    <a:pt x="130" y="1003"/>
                  </a:lnTo>
                  <a:lnTo>
                    <a:pt x="106" y="1003"/>
                  </a:lnTo>
                  <a:lnTo>
                    <a:pt x="80" y="972"/>
                  </a:lnTo>
                  <a:lnTo>
                    <a:pt x="49" y="972"/>
                  </a:lnTo>
                  <a:lnTo>
                    <a:pt x="24" y="948"/>
                  </a:lnTo>
                  <a:lnTo>
                    <a:pt x="80" y="917"/>
                  </a:lnTo>
                  <a:lnTo>
                    <a:pt x="106" y="917"/>
                  </a:lnTo>
                  <a:lnTo>
                    <a:pt x="161" y="917"/>
                  </a:lnTo>
                  <a:lnTo>
                    <a:pt x="161" y="948"/>
                  </a:lnTo>
                  <a:lnTo>
                    <a:pt x="130" y="948"/>
                  </a:lnTo>
                  <a:lnTo>
                    <a:pt x="130" y="917"/>
                  </a:lnTo>
                  <a:lnTo>
                    <a:pt x="106" y="948"/>
                  </a:lnTo>
                  <a:lnTo>
                    <a:pt x="106" y="917"/>
                  </a:lnTo>
                  <a:lnTo>
                    <a:pt x="80" y="917"/>
                  </a:lnTo>
                  <a:lnTo>
                    <a:pt x="106" y="948"/>
                  </a:lnTo>
                  <a:lnTo>
                    <a:pt x="161" y="948"/>
                  </a:lnTo>
                  <a:lnTo>
                    <a:pt x="186" y="948"/>
                  </a:lnTo>
                  <a:lnTo>
                    <a:pt x="217" y="972"/>
                  </a:lnTo>
                  <a:lnTo>
                    <a:pt x="217" y="1003"/>
                  </a:lnTo>
                  <a:lnTo>
                    <a:pt x="243" y="1003"/>
                  </a:lnTo>
                  <a:lnTo>
                    <a:pt x="267" y="1003"/>
                  </a:lnTo>
                  <a:lnTo>
                    <a:pt x="267" y="972"/>
                  </a:lnTo>
                  <a:lnTo>
                    <a:pt x="243" y="972"/>
                  </a:lnTo>
                  <a:lnTo>
                    <a:pt x="243" y="948"/>
                  </a:lnTo>
                  <a:lnTo>
                    <a:pt x="217" y="948"/>
                  </a:lnTo>
                  <a:lnTo>
                    <a:pt x="217" y="917"/>
                  </a:lnTo>
                  <a:lnTo>
                    <a:pt x="186" y="917"/>
                  </a:lnTo>
                  <a:lnTo>
                    <a:pt x="217" y="917"/>
                  </a:lnTo>
                  <a:lnTo>
                    <a:pt x="243" y="917"/>
                  </a:lnTo>
                  <a:lnTo>
                    <a:pt x="243" y="891"/>
                  </a:lnTo>
                  <a:lnTo>
                    <a:pt x="267" y="917"/>
                  </a:lnTo>
                  <a:lnTo>
                    <a:pt x="298" y="917"/>
                  </a:lnTo>
                  <a:lnTo>
                    <a:pt x="298" y="891"/>
                  </a:lnTo>
                  <a:lnTo>
                    <a:pt x="324" y="891"/>
                  </a:lnTo>
                  <a:lnTo>
                    <a:pt x="324" y="867"/>
                  </a:lnTo>
                  <a:lnTo>
                    <a:pt x="324" y="891"/>
                  </a:lnTo>
                  <a:lnTo>
                    <a:pt x="348" y="891"/>
                  </a:lnTo>
                  <a:lnTo>
                    <a:pt x="380" y="891"/>
                  </a:lnTo>
                  <a:lnTo>
                    <a:pt x="380" y="867"/>
                  </a:lnTo>
                  <a:lnTo>
                    <a:pt x="348" y="867"/>
                  </a:lnTo>
                  <a:lnTo>
                    <a:pt x="324" y="867"/>
                  </a:lnTo>
                  <a:lnTo>
                    <a:pt x="298" y="867"/>
                  </a:lnTo>
                  <a:lnTo>
                    <a:pt x="298" y="836"/>
                  </a:lnTo>
                  <a:lnTo>
                    <a:pt x="298" y="867"/>
                  </a:lnTo>
                  <a:lnTo>
                    <a:pt x="267" y="836"/>
                  </a:lnTo>
                  <a:lnTo>
                    <a:pt x="298" y="836"/>
                  </a:lnTo>
                  <a:lnTo>
                    <a:pt x="267" y="836"/>
                  </a:lnTo>
                  <a:lnTo>
                    <a:pt x="267" y="812"/>
                  </a:lnTo>
                  <a:lnTo>
                    <a:pt x="243" y="812"/>
                  </a:lnTo>
                  <a:lnTo>
                    <a:pt x="217" y="812"/>
                  </a:lnTo>
                  <a:lnTo>
                    <a:pt x="243" y="836"/>
                  </a:lnTo>
                  <a:lnTo>
                    <a:pt x="267" y="836"/>
                  </a:lnTo>
                  <a:lnTo>
                    <a:pt x="267" y="867"/>
                  </a:lnTo>
                  <a:lnTo>
                    <a:pt x="298" y="891"/>
                  </a:lnTo>
                  <a:lnTo>
                    <a:pt x="267" y="891"/>
                  </a:lnTo>
                  <a:lnTo>
                    <a:pt x="243" y="891"/>
                  </a:lnTo>
                  <a:lnTo>
                    <a:pt x="243" y="867"/>
                  </a:lnTo>
                  <a:lnTo>
                    <a:pt x="217" y="867"/>
                  </a:lnTo>
                  <a:lnTo>
                    <a:pt x="217" y="836"/>
                  </a:lnTo>
                  <a:lnTo>
                    <a:pt x="186" y="812"/>
                  </a:lnTo>
                  <a:lnTo>
                    <a:pt x="161" y="812"/>
                  </a:lnTo>
                  <a:lnTo>
                    <a:pt x="161" y="836"/>
                  </a:lnTo>
                  <a:lnTo>
                    <a:pt x="161" y="812"/>
                  </a:lnTo>
                  <a:lnTo>
                    <a:pt x="186" y="812"/>
                  </a:lnTo>
                  <a:lnTo>
                    <a:pt x="217" y="812"/>
                  </a:lnTo>
                  <a:lnTo>
                    <a:pt x="217" y="786"/>
                  </a:lnTo>
                  <a:lnTo>
                    <a:pt x="217" y="755"/>
                  </a:lnTo>
                  <a:lnTo>
                    <a:pt x="217" y="731"/>
                  </a:lnTo>
                  <a:lnTo>
                    <a:pt x="243" y="731"/>
                  </a:lnTo>
                  <a:lnTo>
                    <a:pt x="243" y="706"/>
                  </a:lnTo>
                  <a:lnTo>
                    <a:pt x="267" y="706"/>
                  </a:lnTo>
                  <a:lnTo>
                    <a:pt x="324" y="650"/>
                  </a:lnTo>
                  <a:lnTo>
                    <a:pt x="348" y="595"/>
                  </a:lnTo>
                  <a:lnTo>
                    <a:pt x="380" y="539"/>
                  </a:lnTo>
                  <a:lnTo>
                    <a:pt x="380" y="514"/>
                  </a:lnTo>
                  <a:lnTo>
                    <a:pt x="404" y="514"/>
                  </a:lnTo>
                  <a:lnTo>
                    <a:pt x="404" y="489"/>
                  </a:lnTo>
                  <a:lnTo>
                    <a:pt x="404" y="458"/>
                  </a:lnTo>
                  <a:lnTo>
                    <a:pt x="404" y="378"/>
                  </a:lnTo>
                  <a:lnTo>
                    <a:pt x="430" y="378"/>
                  </a:lnTo>
                  <a:lnTo>
                    <a:pt x="430" y="297"/>
                  </a:lnTo>
                  <a:lnTo>
                    <a:pt x="461" y="272"/>
                  </a:lnTo>
                  <a:lnTo>
                    <a:pt x="485" y="297"/>
                  </a:lnTo>
                  <a:lnTo>
                    <a:pt x="517" y="297"/>
                  </a:lnTo>
                  <a:lnTo>
                    <a:pt x="541" y="272"/>
                  </a:lnTo>
                  <a:lnTo>
                    <a:pt x="598" y="241"/>
                  </a:lnTo>
                  <a:lnTo>
                    <a:pt x="622" y="217"/>
                  </a:lnTo>
                  <a:lnTo>
                    <a:pt x="598" y="241"/>
                  </a:lnTo>
                  <a:lnTo>
                    <a:pt x="541" y="297"/>
                  </a:lnTo>
                  <a:lnTo>
                    <a:pt x="567" y="322"/>
                  </a:lnTo>
                  <a:lnTo>
                    <a:pt x="567" y="353"/>
                  </a:lnTo>
                  <a:lnTo>
                    <a:pt x="567" y="378"/>
                  </a:lnTo>
                  <a:lnTo>
                    <a:pt x="598" y="378"/>
                  </a:lnTo>
                  <a:lnTo>
                    <a:pt x="622" y="402"/>
                  </a:lnTo>
                  <a:lnTo>
                    <a:pt x="598" y="402"/>
                  </a:lnTo>
                  <a:lnTo>
                    <a:pt x="622" y="402"/>
                  </a:lnTo>
                  <a:lnTo>
                    <a:pt x="648" y="433"/>
                  </a:lnTo>
                  <a:lnTo>
                    <a:pt x="648" y="458"/>
                  </a:lnTo>
                  <a:lnTo>
                    <a:pt x="648" y="489"/>
                  </a:lnTo>
                  <a:lnTo>
                    <a:pt x="622" y="514"/>
                  </a:lnTo>
                  <a:lnTo>
                    <a:pt x="648" y="514"/>
                  </a:lnTo>
                  <a:lnTo>
                    <a:pt x="648" y="489"/>
                  </a:lnTo>
                  <a:lnTo>
                    <a:pt x="679" y="489"/>
                  </a:lnTo>
                  <a:lnTo>
                    <a:pt x="679" y="458"/>
                  </a:lnTo>
                  <a:lnTo>
                    <a:pt x="704" y="458"/>
                  </a:lnTo>
                  <a:lnTo>
                    <a:pt x="704" y="433"/>
                  </a:lnTo>
                  <a:lnTo>
                    <a:pt x="704" y="378"/>
                  </a:lnTo>
                  <a:lnTo>
                    <a:pt x="728" y="353"/>
                  </a:lnTo>
                  <a:lnTo>
                    <a:pt x="728" y="322"/>
                  </a:lnTo>
                  <a:lnTo>
                    <a:pt x="704" y="322"/>
                  </a:lnTo>
                  <a:lnTo>
                    <a:pt x="704" y="353"/>
                  </a:lnTo>
                  <a:lnTo>
                    <a:pt x="679" y="353"/>
                  </a:lnTo>
                  <a:lnTo>
                    <a:pt x="648" y="322"/>
                  </a:lnTo>
                  <a:lnTo>
                    <a:pt x="622" y="322"/>
                  </a:lnTo>
                  <a:lnTo>
                    <a:pt x="622" y="297"/>
                  </a:lnTo>
                  <a:lnTo>
                    <a:pt x="648" y="297"/>
                  </a:lnTo>
                  <a:lnTo>
                    <a:pt x="648" y="272"/>
                  </a:lnTo>
                  <a:lnTo>
                    <a:pt x="648" y="241"/>
                  </a:lnTo>
                  <a:lnTo>
                    <a:pt x="648" y="217"/>
                  </a:lnTo>
                  <a:lnTo>
                    <a:pt x="622" y="217"/>
                  </a:lnTo>
                  <a:lnTo>
                    <a:pt x="648" y="217"/>
                  </a:lnTo>
                  <a:lnTo>
                    <a:pt x="648" y="192"/>
                  </a:lnTo>
                  <a:lnTo>
                    <a:pt x="648" y="161"/>
                  </a:lnTo>
                  <a:lnTo>
                    <a:pt x="679" y="161"/>
                  </a:lnTo>
                  <a:lnTo>
                    <a:pt x="679" y="136"/>
                  </a:lnTo>
                  <a:lnTo>
                    <a:pt x="704" y="136"/>
                  </a:lnTo>
                  <a:lnTo>
                    <a:pt x="704" y="105"/>
                  </a:lnTo>
                  <a:lnTo>
                    <a:pt x="759" y="105"/>
                  </a:lnTo>
                  <a:lnTo>
                    <a:pt x="759" y="81"/>
                  </a:lnTo>
                  <a:lnTo>
                    <a:pt x="785" y="81"/>
                  </a:lnTo>
                  <a:lnTo>
                    <a:pt x="841" y="55"/>
                  </a:lnTo>
                  <a:lnTo>
                    <a:pt x="865" y="55"/>
                  </a:lnTo>
                  <a:lnTo>
                    <a:pt x="896" y="55"/>
                  </a:lnTo>
                  <a:lnTo>
                    <a:pt x="922" y="55"/>
                  </a:lnTo>
                  <a:lnTo>
                    <a:pt x="922" y="81"/>
                  </a:lnTo>
                  <a:lnTo>
                    <a:pt x="946" y="55"/>
                  </a:lnTo>
                  <a:lnTo>
                    <a:pt x="1003" y="55"/>
                  </a:lnTo>
                  <a:lnTo>
                    <a:pt x="1028" y="24"/>
                  </a:lnTo>
                  <a:lnTo>
                    <a:pt x="1059" y="55"/>
                  </a:lnTo>
                  <a:lnTo>
                    <a:pt x="1083" y="55"/>
                  </a:lnTo>
                  <a:lnTo>
                    <a:pt x="1083" y="81"/>
                  </a:lnTo>
                  <a:lnTo>
                    <a:pt x="1083" y="105"/>
                  </a:lnTo>
                  <a:lnTo>
                    <a:pt x="1115" y="105"/>
                  </a:lnTo>
                  <a:lnTo>
                    <a:pt x="1115" y="136"/>
                  </a:lnTo>
                  <a:lnTo>
                    <a:pt x="1140" y="136"/>
                  </a:lnTo>
                  <a:lnTo>
                    <a:pt x="1165" y="161"/>
                  </a:lnTo>
                  <a:lnTo>
                    <a:pt x="1165" y="192"/>
                  </a:lnTo>
                  <a:lnTo>
                    <a:pt x="1165" y="217"/>
                  </a:lnTo>
                  <a:lnTo>
                    <a:pt x="1165" y="241"/>
                  </a:lnTo>
                  <a:lnTo>
                    <a:pt x="1165" y="272"/>
                  </a:lnTo>
                  <a:lnTo>
                    <a:pt x="1165" y="297"/>
                  </a:lnTo>
                  <a:lnTo>
                    <a:pt x="1140" y="353"/>
                  </a:lnTo>
                  <a:lnTo>
                    <a:pt x="1140" y="378"/>
                  </a:lnTo>
                  <a:lnTo>
                    <a:pt x="1140" y="402"/>
                  </a:lnTo>
                  <a:lnTo>
                    <a:pt x="1115" y="458"/>
                  </a:lnTo>
                  <a:lnTo>
                    <a:pt x="1083" y="458"/>
                  </a:lnTo>
                  <a:lnTo>
                    <a:pt x="1083" y="433"/>
                  </a:lnTo>
                  <a:lnTo>
                    <a:pt x="1028" y="433"/>
                  </a:lnTo>
                  <a:lnTo>
                    <a:pt x="1028" y="458"/>
                  </a:lnTo>
                  <a:lnTo>
                    <a:pt x="1028" y="489"/>
                  </a:lnTo>
                  <a:lnTo>
                    <a:pt x="1028" y="514"/>
                  </a:lnTo>
                  <a:lnTo>
                    <a:pt x="1028" y="539"/>
                  </a:lnTo>
                  <a:lnTo>
                    <a:pt x="1059" y="539"/>
                  </a:lnTo>
                  <a:lnTo>
                    <a:pt x="1083" y="539"/>
                  </a:lnTo>
                  <a:lnTo>
                    <a:pt x="1115" y="539"/>
                  </a:lnTo>
                  <a:lnTo>
                    <a:pt x="1115" y="569"/>
                  </a:lnTo>
                  <a:lnTo>
                    <a:pt x="1140" y="595"/>
                  </a:lnTo>
                  <a:lnTo>
                    <a:pt x="1115" y="595"/>
                  </a:lnTo>
                  <a:lnTo>
                    <a:pt x="1115" y="619"/>
                  </a:lnTo>
                  <a:lnTo>
                    <a:pt x="1115" y="650"/>
                  </a:lnTo>
                  <a:lnTo>
                    <a:pt x="1083" y="675"/>
                  </a:lnTo>
                  <a:lnTo>
                    <a:pt x="1059" y="706"/>
                  </a:lnTo>
                  <a:lnTo>
                    <a:pt x="1028" y="706"/>
                  </a:lnTo>
                  <a:lnTo>
                    <a:pt x="1028" y="731"/>
                  </a:lnTo>
                  <a:lnTo>
                    <a:pt x="1003" y="731"/>
                  </a:lnTo>
                  <a:lnTo>
                    <a:pt x="1028" y="731"/>
                  </a:lnTo>
                  <a:lnTo>
                    <a:pt x="1059" y="755"/>
                  </a:lnTo>
                  <a:lnTo>
                    <a:pt x="1028" y="786"/>
                  </a:lnTo>
                  <a:lnTo>
                    <a:pt x="1003" y="812"/>
                  </a:lnTo>
                  <a:lnTo>
                    <a:pt x="1003" y="786"/>
                  </a:lnTo>
                  <a:lnTo>
                    <a:pt x="978" y="812"/>
                  </a:lnTo>
                  <a:lnTo>
                    <a:pt x="946" y="812"/>
                  </a:lnTo>
                  <a:lnTo>
                    <a:pt x="922" y="812"/>
                  </a:lnTo>
                  <a:lnTo>
                    <a:pt x="865" y="812"/>
                  </a:lnTo>
                  <a:lnTo>
                    <a:pt x="841" y="786"/>
                  </a:lnTo>
                  <a:lnTo>
                    <a:pt x="841" y="812"/>
                  </a:lnTo>
                  <a:lnTo>
                    <a:pt x="841" y="836"/>
                  </a:lnTo>
                  <a:lnTo>
                    <a:pt x="816" y="812"/>
                  </a:lnTo>
                  <a:lnTo>
                    <a:pt x="816" y="836"/>
                  </a:lnTo>
                  <a:lnTo>
                    <a:pt x="785" y="836"/>
                  </a:lnTo>
                  <a:lnTo>
                    <a:pt x="785" y="867"/>
                  </a:lnTo>
                  <a:lnTo>
                    <a:pt x="816" y="891"/>
                  </a:lnTo>
                  <a:lnTo>
                    <a:pt x="816" y="917"/>
                  </a:lnTo>
                  <a:lnTo>
                    <a:pt x="841" y="917"/>
                  </a:lnTo>
                  <a:lnTo>
                    <a:pt x="816" y="948"/>
                  </a:lnTo>
                  <a:lnTo>
                    <a:pt x="841" y="972"/>
                  </a:lnTo>
                  <a:lnTo>
                    <a:pt x="865" y="972"/>
                  </a:lnTo>
                  <a:lnTo>
                    <a:pt x="865" y="1003"/>
                  </a:lnTo>
                  <a:lnTo>
                    <a:pt x="841" y="1053"/>
                  </a:lnTo>
                  <a:lnTo>
                    <a:pt x="865" y="1053"/>
                  </a:lnTo>
                  <a:lnTo>
                    <a:pt x="841" y="1084"/>
                  </a:lnTo>
                  <a:lnTo>
                    <a:pt x="841" y="1108"/>
                  </a:lnTo>
                  <a:lnTo>
                    <a:pt x="816" y="1108"/>
                  </a:lnTo>
                  <a:lnTo>
                    <a:pt x="816" y="1133"/>
                  </a:lnTo>
                  <a:lnTo>
                    <a:pt x="816" y="1164"/>
                  </a:lnTo>
                  <a:lnTo>
                    <a:pt x="841" y="1133"/>
                  </a:lnTo>
                  <a:lnTo>
                    <a:pt x="841" y="1164"/>
                  </a:lnTo>
                  <a:lnTo>
                    <a:pt x="816" y="1164"/>
                  </a:lnTo>
                  <a:lnTo>
                    <a:pt x="785" y="1189"/>
                  </a:lnTo>
                  <a:lnTo>
                    <a:pt x="785" y="1214"/>
                  </a:lnTo>
                  <a:lnTo>
                    <a:pt x="759" y="1189"/>
                  </a:lnTo>
                  <a:lnTo>
                    <a:pt x="759" y="1214"/>
                  </a:lnTo>
                  <a:lnTo>
                    <a:pt x="759" y="1245"/>
                  </a:lnTo>
                  <a:lnTo>
                    <a:pt x="785" y="1245"/>
                  </a:lnTo>
                  <a:lnTo>
                    <a:pt x="785" y="1270"/>
                  </a:lnTo>
                  <a:lnTo>
                    <a:pt x="816" y="1270"/>
                  </a:lnTo>
                  <a:lnTo>
                    <a:pt x="816" y="1300"/>
                  </a:lnTo>
                  <a:lnTo>
                    <a:pt x="785" y="1300"/>
                  </a:lnTo>
                  <a:lnTo>
                    <a:pt x="785" y="1325"/>
                  </a:lnTo>
                  <a:lnTo>
                    <a:pt x="785" y="1350"/>
                  </a:lnTo>
                  <a:close/>
                  <a:moveTo>
                    <a:pt x="865" y="24"/>
                  </a:moveTo>
                  <a:lnTo>
                    <a:pt x="865" y="55"/>
                  </a:lnTo>
                  <a:lnTo>
                    <a:pt x="865" y="24"/>
                  </a:lnTo>
                  <a:lnTo>
                    <a:pt x="896" y="24"/>
                  </a:lnTo>
                  <a:lnTo>
                    <a:pt x="922" y="24"/>
                  </a:lnTo>
                  <a:lnTo>
                    <a:pt x="865" y="24"/>
                  </a:lnTo>
                  <a:close/>
                  <a:moveTo>
                    <a:pt x="946" y="0"/>
                  </a:moveTo>
                  <a:lnTo>
                    <a:pt x="978" y="0"/>
                  </a:lnTo>
                  <a:lnTo>
                    <a:pt x="946" y="0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33" name="Freeform 69">
              <a:extLst>
                <a:ext uri="{FF2B5EF4-FFF2-40B4-BE49-F238E27FC236}">
                  <a16:creationId xmlns:a16="http://schemas.microsoft.com/office/drawing/2014/main" id="{CF840266-251C-4115-B351-26182D254EBE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734" y="3837223"/>
              <a:ext cx="833924" cy="429258"/>
            </a:xfrm>
            <a:custGeom>
              <a:avLst/>
              <a:gdLst/>
              <a:ahLst/>
              <a:cxnLst>
                <a:cxn ang="0">
                  <a:pos x="25" y="1024"/>
                </a:cxn>
                <a:cxn ang="0">
                  <a:pos x="106" y="1080"/>
                </a:cxn>
                <a:cxn ang="0">
                  <a:pos x="243" y="1080"/>
                </a:cxn>
                <a:cxn ang="0">
                  <a:pos x="324" y="1111"/>
                </a:cxn>
                <a:cxn ang="0">
                  <a:pos x="405" y="1135"/>
                </a:cxn>
                <a:cxn ang="0">
                  <a:pos x="485" y="1135"/>
                </a:cxn>
                <a:cxn ang="0">
                  <a:pos x="566" y="1055"/>
                </a:cxn>
                <a:cxn ang="0">
                  <a:pos x="728" y="1024"/>
                </a:cxn>
                <a:cxn ang="0">
                  <a:pos x="840" y="974"/>
                </a:cxn>
                <a:cxn ang="0">
                  <a:pos x="865" y="1024"/>
                </a:cxn>
                <a:cxn ang="0">
                  <a:pos x="945" y="1135"/>
                </a:cxn>
                <a:cxn ang="0">
                  <a:pos x="1083" y="1192"/>
                </a:cxn>
                <a:cxn ang="0">
                  <a:pos x="1275" y="1216"/>
                </a:cxn>
                <a:cxn ang="0">
                  <a:pos x="1436" y="1241"/>
                </a:cxn>
                <a:cxn ang="0">
                  <a:pos x="1599" y="1241"/>
                </a:cxn>
                <a:cxn ang="0">
                  <a:pos x="1704" y="1241"/>
                </a:cxn>
                <a:cxn ang="0">
                  <a:pos x="1791" y="1135"/>
                </a:cxn>
                <a:cxn ang="0">
                  <a:pos x="1922" y="1135"/>
                </a:cxn>
                <a:cxn ang="0">
                  <a:pos x="2033" y="1080"/>
                </a:cxn>
                <a:cxn ang="0">
                  <a:pos x="2171" y="1111"/>
                </a:cxn>
                <a:cxn ang="0">
                  <a:pos x="2195" y="999"/>
                </a:cxn>
                <a:cxn ang="0">
                  <a:pos x="2301" y="919"/>
                </a:cxn>
                <a:cxn ang="0">
                  <a:pos x="2277" y="862"/>
                </a:cxn>
                <a:cxn ang="0">
                  <a:pos x="2301" y="726"/>
                </a:cxn>
                <a:cxn ang="0">
                  <a:pos x="2332" y="620"/>
                </a:cxn>
                <a:cxn ang="0">
                  <a:pos x="2301" y="565"/>
                </a:cxn>
                <a:cxn ang="0">
                  <a:pos x="2388" y="596"/>
                </a:cxn>
                <a:cxn ang="0">
                  <a:pos x="2438" y="484"/>
                </a:cxn>
                <a:cxn ang="0">
                  <a:pos x="2438" y="379"/>
                </a:cxn>
                <a:cxn ang="0">
                  <a:pos x="2388" y="267"/>
                </a:cxn>
                <a:cxn ang="0">
                  <a:pos x="2388" y="130"/>
                </a:cxn>
                <a:cxn ang="0">
                  <a:pos x="2301" y="80"/>
                </a:cxn>
                <a:cxn ang="0">
                  <a:pos x="2195" y="80"/>
                </a:cxn>
                <a:cxn ang="0">
                  <a:pos x="2059" y="80"/>
                </a:cxn>
                <a:cxn ang="0">
                  <a:pos x="1922" y="49"/>
                </a:cxn>
                <a:cxn ang="0">
                  <a:pos x="1816" y="0"/>
                </a:cxn>
                <a:cxn ang="0">
                  <a:pos x="1735" y="25"/>
                </a:cxn>
                <a:cxn ang="0">
                  <a:pos x="1704" y="106"/>
                </a:cxn>
                <a:cxn ang="0">
                  <a:pos x="1623" y="187"/>
                </a:cxn>
                <a:cxn ang="0">
                  <a:pos x="1518" y="242"/>
                </a:cxn>
                <a:cxn ang="0">
                  <a:pos x="1381" y="130"/>
                </a:cxn>
                <a:cxn ang="0">
                  <a:pos x="1356" y="242"/>
                </a:cxn>
                <a:cxn ang="0">
                  <a:pos x="1244" y="242"/>
                </a:cxn>
                <a:cxn ang="0">
                  <a:pos x="1220" y="379"/>
                </a:cxn>
                <a:cxn ang="0">
                  <a:pos x="1083" y="428"/>
                </a:cxn>
                <a:cxn ang="0">
                  <a:pos x="1083" y="539"/>
                </a:cxn>
                <a:cxn ang="0">
                  <a:pos x="1107" y="677"/>
                </a:cxn>
                <a:cxn ang="0">
                  <a:pos x="1163" y="726"/>
                </a:cxn>
                <a:cxn ang="0">
                  <a:pos x="1083" y="757"/>
                </a:cxn>
                <a:cxn ang="0">
                  <a:pos x="1002" y="701"/>
                </a:cxn>
                <a:cxn ang="0">
                  <a:pos x="921" y="677"/>
                </a:cxn>
                <a:cxn ang="0">
                  <a:pos x="808" y="726"/>
                </a:cxn>
                <a:cxn ang="0">
                  <a:pos x="678" y="782"/>
                </a:cxn>
                <a:cxn ang="0">
                  <a:pos x="542" y="838"/>
                </a:cxn>
                <a:cxn ang="0">
                  <a:pos x="429" y="807"/>
                </a:cxn>
                <a:cxn ang="0">
                  <a:pos x="324" y="782"/>
                </a:cxn>
                <a:cxn ang="0">
                  <a:pos x="299" y="838"/>
                </a:cxn>
                <a:cxn ang="0">
                  <a:pos x="212" y="919"/>
                </a:cxn>
                <a:cxn ang="0">
                  <a:pos x="162" y="807"/>
                </a:cxn>
                <a:cxn ang="0">
                  <a:pos x="50" y="782"/>
                </a:cxn>
                <a:cxn ang="0">
                  <a:pos x="25" y="862"/>
                </a:cxn>
              </a:cxnLst>
              <a:rect l="0" t="0" r="r" b="b"/>
              <a:pathLst>
                <a:path w="2469" h="1271">
                  <a:moveTo>
                    <a:pt x="0" y="919"/>
                  </a:moveTo>
                  <a:lnTo>
                    <a:pt x="0" y="943"/>
                  </a:lnTo>
                  <a:lnTo>
                    <a:pt x="25" y="943"/>
                  </a:lnTo>
                  <a:lnTo>
                    <a:pt x="25" y="974"/>
                  </a:lnTo>
                  <a:lnTo>
                    <a:pt x="25" y="999"/>
                  </a:lnTo>
                  <a:lnTo>
                    <a:pt x="25" y="1024"/>
                  </a:lnTo>
                  <a:lnTo>
                    <a:pt x="50" y="1024"/>
                  </a:lnTo>
                  <a:lnTo>
                    <a:pt x="82" y="1024"/>
                  </a:lnTo>
                  <a:lnTo>
                    <a:pt x="106" y="1055"/>
                  </a:lnTo>
                  <a:lnTo>
                    <a:pt x="106" y="1024"/>
                  </a:lnTo>
                  <a:lnTo>
                    <a:pt x="106" y="1055"/>
                  </a:lnTo>
                  <a:lnTo>
                    <a:pt x="106" y="1080"/>
                  </a:lnTo>
                  <a:lnTo>
                    <a:pt x="162" y="1111"/>
                  </a:lnTo>
                  <a:lnTo>
                    <a:pt x="187" y="1111"/>
                  </a:lnTo>
                  <a:lnTo>
                    <a:pt x="187" y="1135"/>
                  </a:lnTo>
                  <a:lnTo>
                    <a:pt x="212" y="1111"/>
                  </a:lnTo>
                  <a:lnTo>
                    <a:pt x="243" y="1111"/>
                  </a:lnTo>
                  <a:lnTo>
                    <a:pt x="243" y="1080"/>
                  </a:lnTo>
                  <a:lnTo>
                    <a:pt x="268" y="1080"/>
                  </a:lnTo>
                  <a:lnTo>
                    <a:pt x="268" y="1055"/>
                  </a:lnTo>
                  <a:lnTo>
                    <a:pt x="299" y="1055"/>
                  </a:lnTo>
                  <a:lnTo>
                    <a:pt x="324" y="1080"/>
                  </a:lnTo>
                  <a:lnTo>
                    <a:pt x="299" y="1111"/>
                  </a:lnTo>
                  <a:lnTo>
                    <a:pt x="324" y="1111"/>
                  </a:lnTo>
                  <a:lnTo>
                    <a:pt x="348" y="1111"/>
                  </a:lnTo>
                  <a:lnTo>
                    <a:pt x="348" y="1135"/>
                  </a:lnTo>
                  <a:lnTo>
                    <a:pt x="348" y="1111"/>
                  </a:lnTo>
                  <a:lnTo>
                    <a:pt x="379" y="1111"/>
                  </a:lnTo>
                  <a:lnTo>
                    <a:pt x="405" y="1111"/>
                  </a:lnTo>
                  <a:lnTo>
                    <a:pt x="405" y="1135"/>
                  </a:lnTo>
                  <a:lnTo>
                    <a:pt x="429" y="1135"/>
                  </a:lnTo>
                  <a:lnTo>
                    <a:pt x="429" y="1161"/>
                  </a:lnTo>
                  <a:lnTo>
                    <a:pt x="429" y="1135"/>
                  </a:lnTo>
                  <a:lnTo>
                    <a:pt x="461" y="1161"/>
                  </a:lnTo>
                  <a:lnTo>
                    <a:pt x="461" y="1135"/>
                  </a:lnTo>
                  <a:lnTo>
                    <a:pt x="485" y="1135"/>
                  </a:lnTo>
                  <a:lnTo>
                    <a:pt x="485" y="1161"/>
                  </a:lnTo>
                  <a:lnTo>
                    <a:pt x="511" y="1135"/>
                  </a:lnTo>
                  <a:lnTo>
                    <a:pt x="511" y="1111"/>
                  </a:lnTo>
                  <a:lnTo>
                    <a:pt x="511" y="1080"/>
                  </a:lnTo>
                  <a:lnTo>
                    <a:pt x="542" y="1055"/>
                  </a:lnTo>
                  <a:lnTo>
                    <a:pt x="566" y="1055"/>
                  </a:lnTo>
                  <a:lnTo>
                    <a:pt x="597" y="1024"/>
                  </a:lnTo>
                  <a:lnTo>
                    <a:pt x="623" y="1055"/>
                  </a:lnTo>
                  <a:lnTo>
                    <a:pt x="647" y="1024"/>
                  </a:lnTo>
                  <a:lnTo>
                    <a:pt x="678" y="1024"/>
                  </a:lnTo>
                  <a:lnTo>
                    <a:pt x="703" y="1024"/>
                  </a:lnTo>
                  <a:lnTo>
                    <a:pt x="728" y="1024"/>
                  </a:lnTo>
                  <a:lnTo>
                    <a:pt x="728" y="1055"/>
                  </a:lnTo>
                  <a:lnTo>
                    <a:pt x="759" y="1024"/>
                  </a:lnTo>
                  <a:lnTo>
                    <a:pt x="784" y="999"/>
                  </a:lnTo>
                  <a:lnTo>
                    <a:pt x="808" y="999"/>
                  </a:lnTo>
                  <a:lnTo>
                    <a:pt x="840" y="999"/>
                  </a:lnTo>
                  <a:lnTo>
                    <a:pt x="840" y="974"/>
                  </a:lnTo>
                  <a:lnTo>
                    <a:pt x="865" y="999"/>
                  </a:lnTo>
                  <a:lnTo>
                    <a:pt x="865" y="974"/>
                  </a:lnTo>
                  <a:lnTo>
                    <a:pt x="896" y="974"/>
                  </a:lnTo>
                  <a:lnTo>
                    <a:pt x="896" y="999"/>
                  </a:lnTo>
                  <a:lnTo>
                    <a:pt x="865" y="999"/>
                  </a:lnTo>
                  <a:lnTo>
                    <a:pt x="865" y="1024"/>
                  </a:lnTo>
                  <a:lnTo>
                    <a:pt x="865" y="1055"/>
                  </a:lnTo>
                  <a:lnTo>
                    <a:pt x="896" y="1080"/>
                  </a:lnTo>
                  <a:lnTo>
                    <a:pt x="921" y="1080"/>
                  </a:lnTo>
                  <a:lnTo>
                    <a:pt x="921" y="1111"/>
                  </a:lnTo>
                  <a:lnTo>
                    <a:pt x="921" y="1135"/>
                  </a:lnTo>
                  <a:lnTo>
                    <a:pt x="945" y="1135"/>
                  </a:lnTo>
                  <a:lnTo>
                    <a:pt x="945" y="1161"/>
                  </a:lnTo>
                  <a:lnTo>
                    <a:pt x="976" y="1161"/>
                  </a:lnTo>
                  <a:lnTo>
                    <a:pt x="1002" y="1161"/>
                  </a:lnTo>
                  <a:lnTo>
                    <a:pt x="1002" y="1192"/>
                  </a:lnTo>
                  <a:lnTo>
                    <a:pt x="1057" y="1192"/>
                  </a:lnTo>
                  <a:lnTo>
                    <a:pt x="1083" y="1192"/>
                  </a:lnTo>
                  <a:lnTo>
                    <a:pt x="1107" y="1192"/>
                  </a:lnTo>
                  <a:lnTo>
                    <a:pt x="1139" y="1192"/>
                  </a:lnTo>
                  <a:lnTo>
                    <a:pt x="1194" y="1192"/>
                  </a:lnTo>
                  <a:lnTo>
                    <a:pt x="1220" y="1216"/>
                  </a:lnTo>
                  <a:lnTo>
                    <a:pt x="1244" y="1216"/>
                  </a:lnTo>
                  <a:lnTo>
                    <a:pt x="1275" y="1216"/>
                  </a:lnTo>
                  <a:lnTo>
                    <a:pt x="1300" y="1216"/>
                  </a:lnTo>
                  <a:lnTo>
                    <a:pt x="1325" y="1216"/>
                  </a:lnTo>
                  <a:lnTo>
                    <a:pt x="1356" y="1216"/>
                  </a:lnTo>
                  <a:lnTo>
                    <a:pt x="1381" y="1216"/>
                  </a:lnTo>
                  <a:lnTo>
                    <a:pt x="1436" y="1216"/>
                  </a:lnTo>
                  <a:lnTo>
                    <a:pt x="1436" y="1241"/>
                  </a:lnTo>
                  <a:lnTo>
                    <a:pt x="1436" y="1216"/>
                  </a:lnTo>
                  <a:lnTo>
                    <a:pt x="1462" y="1216"/>
                  </a:lnTo>
                  <a:lnTo>
                    <a:pt x="1518" y="1241"/>
                  </a:lnTo>
                  <a:lnTo>
                    <a:pt x="1543" y="1241"/>
                  </a:lnTo>
                  <a:lnTo>
                    <a:pt x="1573" y="1241"/>
                  </a:lnTo>
                  <a:lnTo>
                    <a:pt x="1599" y="1241"/>
                  </a:lnTo>
                  <a:lnTo>
                    <a:pt x="1623" y="1241"/>
                  </a:lnTo>
                  <a:lnTo>
                    <a:pt x="1654" y="1241"/>
                  </a:lnTo>
                  <a:lnTo>
                    <a:pt x="1680" y="1241"/>
                  </a:lnTo>
                  <a:lnTo>
                    <a:pt x="1680" y="1271"/>
                  </a:lnTo>
                  <a:lnTo>
                    <a:pt x="1704" y="1271"/>
                  </a:lnTo>
                  <a:lnTo>
                    <a:pt x="1704" y="1241"/>
                  </a:lnTo>
                  <a:lnTo>
                    <a:pt x="1735" y="1241"/>
                  </a:lnTo>
                  <a:lnTo>
                    <a:pt x="1735" y="1216"/>
                  </a:lnTo>
                  <a:lnTo>
                    <a:pt x="1760" y="1216"/>
                  </a:lnTo>
                  <a:lnTo>
                    <a:pt x="1791" y="1161"/>
                  </a:lnTo>
                  <a:lnTo>
                    <a:pt x="1816" y="1161"/>
                  </a:lnTo>
                  <a:lnTo>
                    <a:pt x="1791" y="1135"/>
                  </a:lnTo>
                  <a:lnTo>
                    <a:pt x="1816" y="1135"/>
                  </a:lnTo>
                  <a:lnTo>
                    <a:pt x="1816" y="1161"/>
                  </a:lnTo>
                  <a:lnTo>
                    <a:pt x="1841" y="1135"/>
                  </a:lnTo>
                  <a:lnTo>
                    <a:pt x="1872" y="1135"/>
                  </a:lnTo>
                  <a:lnTo>
                    <a:pt x="1897" y="1135"/>
                  </a:lnTo>
                  <a:lnTo>
                    <a:pt x="1922" y="1135"/>
                  </a:lnTo>
                  <a:lnTo>
                    <a:pt x="1978" y="1111"/>
                  </a:lnTo>
                  <a:lnTo>
                    <a:pt x="1978" y="1135"/>
                  </a:lnTo>
                  <a:lnTo>
                    <a:pt x="2003" y="1135"/>
                  </a:lnTo>
                  <a:lnTo>
                    <a:pt x="2003" y="1111"/>
                  </a:lnTo>
                  <a:lnTo>
                    <a:pt x="2033" y="1111"/>
                  </a:lnTo>
                  <a:lnTo>
                    <a:pt x="2033" y="1080"/>
                  </a:lnTo>
                  <a:lnTo>
                    <a:pt x="2059" y="1080"/>
                  </a:lnTo>
                  <a:lnTo>
                    <a:pt x="2090" y="1080"/>
                  </a:lnTo>
                  <a:lnTo>
                    <a:pt x="2114" y="1080"/>
                  </a:lnTo>
                  <a:lnTo>
                    <a:pt x="2140" y="1080"/>
                  </a:lnTo>
                  <a:lnTo>
                    <a:pt x="2171" y="1080"/>
                  </a:lnTo>
                  <a:lnTo>
                    <a:pt x="2171" y="1111"/>
                  </a:lnTo>
                  <a:lnTo>
                    <a:pt x="2171" y="1080"/>
                  </a:lnTo>
                  <a:lnTo>
                    <a:pt x="2140" y="1055"/>
                  </a:lnTo>
                  <a:lnTo>
                    <a:pt x="2140" y="1024"/>
                  </a:lnTo>
                  <a:lnTo>
                    <a:pt x="2171" y="1024"/>
                  </a:lnTo>
                  <a:lnTo>
                    <a:pt x="2171" y="999"/>
                  </a:lnTo>
                  <a:lnTo>
                    <a:pt x="2195" y="999"/>
                  </a:lnTo>
                  <a:lnTo>
                    <a:pt x="2195" y="974"/>
                  </a:lnTo>
                  <a:lnTo>
                    <a:pt x="2220" y="943"/>
                  </a:lnTo>
                  <a:lnTo>
                    <a:pt x="2251" y="943"/>
                  </a:lnTo>
                  <a:lnTo>
                    <a:pt x="2251" y="919"/>
                  </a:lnTo>
                  <a:lnTo>
                    <a:pt x="2277" y="919"/>
                  </a:lnTo>
                  <a:lnTo>
                    <a:pt x="2301" y="919"/>
                  </a:lnTo>
                  <a:lnTo>
                    <a:pt x="2277" y="919"/>
                  </a:lnTo>
                  <a:lnTo>
                    <a:pt x="2277" y="893"/>
                  </a:lnTo>
                  <a:lnTo>
                    <a:pt x="2301" y="893"/>
                  </a:lnTo>
                  <a:lnTo>
                    <a:pt x="2301" y="862"/>
                  </a:lnTo>
                  <a:lnTo>
                    <a:pt x="2301" y="838"/>
                  </a:lnTo>
                  <a:lnTo>
                    <a:pt x="2277" y="862"/>
                  </a:lnTo>
                  <a:lnTo>
                    <a:pt x="2277" y="838"/>
                  </a:lnTo>
                  <a:lnTo>
                    <a:pt x="2277" y="807"/>
                  </a:lnTo>
                  <a:lnTo>
                    <a:pt x="2301" y="782"/>
                  </a:lnTo>
                  <a:lnTo>
                    <a:pt x="2277" y="757"/>
                  </a:lnTo>
                  <a:lnTo>
                    <a:pt x="2277" y="726"/>
                  </a:lnTo>
                  <a:lnTo>
                    <a:pt x="2301" y="726"/>
                  </a:lnTo>
                  <a:lnTo>
                    <a:pt x="2332" y="701"/>
                  </a:lnTo>
                  <a:lnTo>
                    <a:pt x="2332" y="677"/>
                  </a:lnTo>
                  <a:lnTo>
                    <a:pt x="2357" y="677"/>
                  </a:lnTo>
                  <a:lnTo>
                    <a:pt x="2357" y="646"/>
                  </a:lnTo>
                  <a:lnTo>
                    <a:pt x="2332" y="646"/>
                  </a:lnTo>
                  <a:lnTo>
                    <a:pt x="2332" y="620"/>
                  </a:lnTo>
                  <a:lnTo>
                    <a:pt x="2301" y="620"/>
                  </a:lnTo>
                  <a:lnTo>
                    <a:pt x="2277" y="620"/>
                  </a:lnTo>
                  <a:lnTo>
                    <a:pt x="2251" y="620"/>
                  </a:lnTo>
                  <a:lnTo>
                    <a:pt x="2251" y="596"/>
                  </a:lnTo>
                  <a:lnTo>
                    <a:pt x="2277" y="596"/>
                  </a:lnTo>
                  <a:lnTo>
                    <a:pt x="2301" y="565"/>
                  </a:lnTo>
                  <a:lnTo>
                    <a:pt x="2277" y="565"/>
                  </a:lnTo>
                  <a:lnTo>
                    <a:pt x="2301" y="565"/>
                  </a:lnTo>
                  <a:lnTo>
                    <a:pt x="2332" y="565"/>
                  </a:lnTo>
                  <a:lnTo>
                    <a:pt x="2357" y="565"/>
                  </a:lnTo>
                  <a:lnTo>
                    <a:pt x="2357" y="596"/>
                  </a:lnTo>
                  <a:lnTo>
                    <a:pt x="2388" y="596"/>
                  </a:lnTo>
                  <a:lnTo>
                    <a:pt x="2388" y="565"/>
                  </a:lnTo>
                  <a:lnTo>
                    <a:pt x="2413" y="596"/>
                  </a:lnTo>
                  <a:lnTo>
                    <a:pt x="2469" y="565"/>
                  </a:lnTo>
                  <a:lnTo>
                    <a:pt x="2438" y="508"/>
                  </a:lnTo>
                  <a:lnTo>
                    <a:pt x="2469" y="508"/>
                  </a:lnTo>
                  <a:lnTo>
                    <a:pt x="2438" y="484"/>
                  </a:lnTo>
                  <a:lnTo>
                    <a:pt x="2469" y="484"/>
                  </a:lnTo>
                  <a:lnTo>
                    <a:pt x="2469" y="459"/>
                  </a:lnTo>
                  <a:lnTo>
                    <a:pt x="2469" y="428"/>
                  </a:lnTo>
                  <a:lnTo>
                    <a:pt x="2469" y="403"/>
                  </a:lnTo>
                  <a:lnTo>
                    <a:pt x="2438" y="403"/>
                  </a:lnTo>
                  <a:lnTo>
                    <a:pt x="2438" y="379"/>
                  </a:lnTo>
                  <a:lnTo>
                    <a:pt x="2438" y="347"/>
                  </a:lnTo>
                  <a:lnTo>
                    <a:pt x="2413" y="347"/>
                  </a:lnTo>
                  <a:lnTo>
                    <a:pt x="2413" y="323"/>
                  </a:lnTo>
                  <a:lnTo>
                    <a:pt x="2388" y="323"/>
                  </a:lnTo>
                  <a:lnTo>
                    <a:pt x="2388" y="298"/>
                  </a:lnTo>
                  <a:lnTo>
                    <a:pt x="2388" y="267"/>
                  </a:lnTo>
                  <a:lnTo>
                    <a:pt x="2357" y="267"/>
                  </a:lnTo>
                  <a:lnTo>
                    <a:pt x="2357" y="242"/>
                  </a:lnTo>
                  <a:lnTo>
                    <a:pt x="2357" y="211"/>
                  </a:lnTo>
                  <a:lnTo>
                    <a:pt x="2357" y="187"/>
                  </a:lnTo>
                  <a:lnTo>
                    <a:pt x="2388" y="187"/>
                  </a:lnTo>
                  <a:lnTo>
                    <a:pt x="2388" y="130"/>
                  </a:lnTo>
                  <a:lnTo>
                    <a:pt x="2357" y="130"/>
                  </a:lnTo>
                  <a:lnTo>
                    <a:pt x="2357" y="106"/>
                  </a:lnTo>
                  <a:lnTo>
                    <a:pt x="2357" y="80"/>
                  </a:lnTo>
                  <a:lnTo>
                    <a:pt x="2332" y="106"/>
                  </a:lnTo>
                  <a:lnTo>
                    <a:pt x="2301" y="106"/>
                  </a:lnTo>
                  <a:lnTo>
                    <a:pt x="2301" y="80"/>
                  </a:lnTo>
                  <a:lnTo>
                    <a:pt x="2277" y="80"/>
                  </a:lnTo>
                  <a:lnTo>
                    <a:pt x="2277" y="49"/>
                  </a:lnTo>
                  <a:lnTo>
                    <a:pt x="2277" y="80"/>
                  </a:lnTo>
                  <a:lnTo>
                    <a:pt x="2251" y="49"/>
                  </a:lnTo>
                  <a:lnTo>
                    <a:pt x="2220" y="49"/>
                  </a:lnTo>
                  <a:lnTo>
                    <a:pt x="2195" y="80"/>
                  </a:lnTo>
                  <a:lnTo>
                    <a:pt x="2195" y="106"/>
                  </a:lnTo>
                  <a:lnTo>
                    <a:pt x="2171" y="106"/>
                  </a:lnTo>
                  <a:lnTo>
                    <a:pt x="2140" y="106"/>
                  </a:lnTo>
                  <a:lnTo>
                    <a:pt x="2114" y="106"/>
                  </a:lnTo>
                  <a:lnTo>
                    <a:pt x="2090" y="106"/>
                  </a:lnTo>
                  <a:lnTo>
                    <a:pt x="2059" y="80"/>
                  </a:lnTo>
                  <a:lnTo>
                    <a:pt x="2033" y="80"/>
                  </a:lnTo>
                  <a:lnTo>
                    <a:pt x="2033" y="49"/>
                  </a:lnTo>
                  <a:lnTo>
                    <a:pt x="2003" y="49"/>
                  </a:lnTo>
                  <a:lnTo>
                    <a:pt x="1978" y="49"/>
                  </a:lnTo>
                  <a:lnTo>
                    <a:pt x="1953" y="49"/>
                  </a:lnTo>
                  <a:lnTo>
                    <a:pt x="1922" y="49"/>
                  </a:lnTo>
                  <a:lnTo>
                    <a:pt x="1897" y="25"/>
                  </a:lnTo>
                  <a:lnTo>
                    <a:pt x="1872" y="25"/>
                  </a:lnTo>
                  <a:lnTo>
                    <a:pt x="1841" y="0"/>
                  </a:lnTo>
                  <a:lnTo>
                    <a:pt x="1841" y="25"/>
                  </a:lnTo>
                  <a:lnTo>
                    <a:pt x="1841" y="0"/>
                  </a:lnTo>
                  <a:lnTo>
                    <a:pt x="1816" y="0"/>
                  </a:lnTo>
                  <a:lnTo>
                    <a:pt x="1816" y="25"/>
                  </a:lnTo>
                  <a:lnTo>
                    <a:pt x="1791" y="25"/>
                  </a:lnTo>
                  <a:lnTo>
                    <a:pt x="1791" y="0"/>
                  </a:lnTo>
                  <a:lnTo>
                    <a:pt x="1760" y="0"/>
                  </a:lnTo>
                  <a:lnTo>
                    <a:pt x="1735" y="0"/>
                  </a:lnTo>
                  <a:lnTo>
                    <a:pt x="1735" y="25"/>
                  </a:lnTo>
                  <a:lnTo>
                    <a:pt x="1735" y="49"/>
                  </a:lnTo>
                  <a:lnTo>
                    <a:pt x="1735" y="80"/>
                  </a:lnTo>
                  <a:lnTo>
                    <a:pt x="1735" y="106"/>
                  </a:lnTo>
                  <a:lnTo>
                    <a:pt x="1735" y="130"/>
                  </a:lnTo>
                  <a:lnTo>
                    <a:pt x="1704" y="130"/>
                  </a:lnTo>
                  <a:lnTo>
                    <a:pt x="1704" y="106"/>
                  </a:lnTo>
                  <a:lnTo>
                    <a:pt x="1680" y="130"/>
                  </a:lnTo>
                  <a:lnTo>
                    <a:pt x="1654" y="161"/>
                  </a:lnTo>
                  <a:lnTo>
                    <a:pt x="1654" y="187"/>
                  </a:lnTo>
                  <a:lnTo>
                    <a:pt x="1654" y="211"/>
                  </a:lnTo>
                  <a:lnTo>
                    <a:pt x="1623" y="211"/>
                  </a:lnTo>
                  <a:lnTo>
                    <a:pt x="1623" y="187"/>
                  </a:lnTo>
                  <a:lnTo>
                    <a:pt x="1599" y="211"/>
                  </a:lnTo>
                  <a:lnTo>
                    <a:pt x="1573" y="187"/>
                  </a:lnTo>
                  <a:lnTo>
                    <a:pt x="1573" y="211"/>
                  </a:lnTo>
                  <a:lnTo>
                    <a:pt x="1573" y="242"/>
                  </a:lnTo>
                  <a:lnTo>
                    <a:pt x="1543" y="242"/>
                  </a:lnTo>
                  <a:lnTo>
                    <a:pt x="1518" y="242"/>
                  </a:lnTo>
                  <a:lnTo>
                    <a:pt x="1493" y="211"/>
                  </a:lnTo>
                  <a:lnTo>
                    <a:pt x="1462" y="211"/>
                  </a:lnTo>
                  <a:lnTo>
                    <a:pt x="1436" y="211"/>
                  </a:lnTo>
                  <a:lnTo>
                    <a:pt x="1436" y="187"/>
                  </a:lnTo>
                  <a:lnTo>
                    <a:pt x="1405" y="161"/>
                  </a:lnTo>
                  <a:lnTo>
                    <a:pt x="1381" y="130"/>
                  </a:lnTo>
                  <a:lnTo>
                    <a:pt x="1356" y="161"/>
                  </a:lnTo>
                  <a:lnTo>
                    <a:pt x="1381" y="161"/>
                  </a:lnTo>
                  <a:lnTo>
                    <a:pt x="1356" y="187"/>
                  </a:lnTo>
                  <a:lnTo>
                    <a:pt x="1381" y="187"/>
                  </a:lnTo>
                  <a:lnTo>
                    <a:pt x="1381" y="211"/>
                  </a:lnTo>
                  <a:lnTo>
                    <a:pt x="1356" y="242"/>
                  </a:lnTo>
                  <a:lnTo>
                    <a:pt x="1381" y="242"/>
                  </a:lnTo>
                  <a:lnTo>
                    <a:pt x="1356" y="242"/>
                  </a:lnTo>
                  <a:lnTo>
                    <a:pt x="1356" y="267"/>
                  </a:lnTo>
                  <a:lnTo>
                    <a:pt x="1300" y="242"/>
                  </a:lnTo>
                  <a:lnTo>
                    <a:pt x="1275" y="242"/>
                  </a:lnTo>
                  <a:lnTo>
                    <a:pt x="1244" y="242"/>
                  </a:lnTo>
                  <a:lnTo>
                    <a:pt x="1244" y="267"/>
                  </a:lnTo>
                  <a:lnTo>
                    <a:pt x="1275" y="267"/>
                  </a:lnTo>
                  <a:lnTo>
                    <a:pt x="1244" y="298"/>
                  </a:lnTo>
                  <a:lnTo>
                    <a:pt x="1244" y="323"/>
                  </a:lnTo>
                  <a:lnTo>
                    <a:pt x="1244" y="347"/>
                  </a:lnTo>
                  <a:lnTo>
                    <a:pt x="1220" y="379"/>
                  </a:lnTo>
                  <a:lnTo>
                    <a:pt x="1194" y="379"/>
                  </a:lnTo>
                  <a:lnTo>
                    <a:pt x="1163" y="403"/>
                  </a:lnTo>
                  <a:lnTo>
                    <a:pt x="1139" y="403"/>
                  </a:lnTo>
                  <a:lnTo>
                    <a:pt x="1139" y="428"/>
                  </a:lnTo>
                  <a:lnTo>
                    <a:pt x="1107" y="428"/>
                  </a:lnTo>
                  <a:lnTo>
                    <a:pt x="1083" y="428"/>
                  </a:lnTo>
                  <a:lnTo>
                    <a:pt x="1083" y="459"/>
                  </a:lnTo>
                  <a:lnTo>
                    <a:pt x="1057" y="459"/>
                  </a:lnTo>
                  <a:lnTo>
                    <a:pt x="1057" y="484"/>
                  </a:lnTo>
                  <a:lnTo>
                    <a:pt x="1057" y="508"/>
                  </a:lnTo>
                  <a:lnTo>
                    <a:pt x="1083" y="508"/>
                  </a:lnTo>
                  <a:lnTo>
                    <a:pt x="1083" y="539"/>
                  </a:lnTo>
                  <a:lnTo>
                    <a:pt x="1083" y="565"/>
                  </a:lnTo>
                  <a:lnTo>
                    <a:pt x="1107" y="565"/>
                  </a:lnTo>
                  <a:lnTo>
                    <a:pt x="1139" y="596"/>
                  </a:lnTo>
                  <a:lnTo>
                    <a:pt x="1139" y="620"/>
                  </a:lnTo>
                  <a:lnTo>
                    <a:pt x="1107" y="646"/>
                  </a:lnTo>
                  <a:lnTo>
                    <a:pt x="1107" y="677"/>
                  </a:lnTo>
                  <a:lnTo>
                    <a:pt x="1139" y="677"/>
                  </a:lnTo>
                  <a:lnTo>
                    <a:pt x="1163" y="677"/>
                  </a:lnTo>
                  <a:lnTo>
                    <a:pt x="1163" y="701"/>
                  </a:lnTo>
                  <a:lnTo>
                    <a:pt x="1163" y="726"/>
                  </a:lnTo>
                  <a:lnTo>
                    <a:pt x="1139" y="726"/>
                  </a:lnTo>
                  <a:lnTo>
                    <a:pt x="1163" y="726"/>
                  </a:lnTo>
                  <a:lnTo>
                    <a:pt x="1139" y="757"/>
                  </a:lnTo>
                  <a:lnTo>
                    <a:pt x="1163" y="757"/>
                  </a:lnTo>
                  <a:lnTo>
                    <a:pt x="1163" y="782"/>
                  </a:lnTo>
                  <a:lnTo>
                    <a:pt x="1139" y="782"/>
                  </a:lnTo>
                  <a:lnTo>
                    <a:pt x="1107" y="782"/>
                  </a:lnTo>
                  <a:lnTo>
                    <a:pt x="1083" y="757"/>
                  </a:lnTo>
                  <a:lnTo>
                    <a:pt x="1057" y="726"/>
                  </a:lnTo>
                  <a:lnTo>
                    <a:pt x="1083" y="726"/>
                  </a:lnTo>
                  <a:lnTo>
                    <a:pt x="1083" y="701"/>
                  </a:lnTo>
                  <a:lnTo>
                    <a:pt x="1057" y="701"/>
                  </a:lnTo>
                  <a:lnTo>
                    <a:pt x="1057" y="677"/>
                  </a:lnTo>
                  <a:lnTo>
                    <a:pt x="1002" y="701"/>
                  </a:lnTo>
                  <a:lnTo>
                    <a:pt x="976" y="701"/>
                  </a:lnTo>
                  <a:lnTo>
                    <a:pt x="976" y="726"/>
                  </a:lnTo>
                  <a:lnTo>
                    <a:pt x="945" y="701"/>
                  </a:lnTo>
                  <a:lnTo>
                    <a:pt x="945" y="677"/>
                  </a:lnTo>
                  <a:lnTo>
                    <a:pt x="921" y="701"/>
                  </a:lnTo>
                  <a:lnTo>
                    <a:pt x="921" y="677"/>
                  </a:lnTo>
                  <a:lnTo>
                    <a:pt x="896" y="701"/>
                  </a:lnTo>
                  <a:lnTo>
                    <a:pt x="896" y="677"/>
                  </a:lnTo>
                  <a:lnTo>
                    <a:pt x="865" y="677"/>
                  </a:lnTo>
                  <a:lnTo>
                    <a:pt x="865" y="726"/>
                  </a:lnTo>
                  <a:lnTo>
                    <a:pt x="840" y="726"/>
                  </a:lnTo>
                  <a:lnTo>
                    <a:pt x="808" y="726"/>
                  </a:lnTo>
                  <a:lnTo>
                    <a:pt x="759" y="726"/>
                  </a:lnTo>
                  <a:lnTo>
                    <a:pt x="759" y="757"/>
                  </a:lnTo>
                  <a:lnTo>
                    <a:pt x="728" y="757"/>
                  </a:lnTo>
                  <a:lnTo>
                    <a:pt x="703" y="757"/>
                  </a:lnTo>
                  <a:lnTo>
                    <a:pt x="678" y="757"/>
                  </a:lnTo>
                  <a:lnTo>
                    <a:pt x="678" y="782"/>
                  </a:lnTo>
                  <a:lnTo>
                    <a:pt x="623" y="782"/>
                  </a:lnTo>
                  <a:lnTo>
                    <a:pt x="597" y="807"/>
                  </a:lnTo>
                  <a:lnTo>
                    <a:pt x="623" y="807"/>
                  </a:lnTo>
                  <a:lnTo>
                    <a:pt x="597" y="807"/>
                  </a:lnTo>
                  <a:lnTo>
                    <a:pt x="566" y="838"/>
                  </a:lnTo>
                  <a:lnTo>
                    <a:pt x="542" y="838"/>
                  </a:lnTo>
                  <a:lnTo>
                    <a:pt x="511" y="838"/>
                  </a:lnTo>
                  <a:lnTo>
                    <a:pt x="485" y="838"/>
                  </a:lnTo>
                  <a:lnTo>
                    <a:pt x="461" y="838"/>
                  </a:lnTo>
                  <a:lnTo>
                    <a:pt x="485" y="838"/>
                  </a:lnTo>
                  <a:lnTo>
                    <a:pt x="461" y="807"/>
                  </a:lnTo>
                  <a:lnTo>
                    <a:pt x="429" y="807"/>
                  </a:lnTo>
                  <a:lnTo>
                    <a:pt x="461" y="782"/>
                  </a:lnTo>
                  <a:lnTo>
                    <a:pt x="405" y="782"/>
                  </a:lnTo>
                  <a:lnTo>
                    <a:pt x="379" y="782"/>
                  </a:lnTo>
                  <a:lnTo>
                    <a:pt x="348" y="757"/>
                  </a:lnTo>
                  <a:lnTo>
                    <a:pt x="348" y="782"/>
                  </a:lnTo>
                  <a:lnTo>
                    <a:pt x="324" y="782"/>
                  </a:lnTo>
                  <a:lnTo>
                    <a:pt x="299" y="782"/>
                  </a:lnTo>
                  <a:lnTo>
                    <a:pt x="324" y="757"/>
                  </a:lnTo>
                  <a:lnTo>
                    <a:pt x="299" y="757"/>
                  </a:lnTo>
                  <a:lnTo>
                    <a:pt x="299" y="782"/>
                  </a:lnTo>
                  <a:lnTo>
                    <a:pt x="299" y="807"/>
                  </a:lnTo>
                  <a:lnTo>
                    <a:pt x="299" y="838"/>
                  </a:lnTo>
                  <a:lnTo>
                    <a:pt x="299" y="862"/>
                  </a:lnTo>
                  <a:lnTo>
                    <a:pt x="268" y="862"/>
                  </a:lnTo>
                  <a:lnTo>
                    <a:pt x="268" y="893"/>
                  </a:lnTo>
                  <a:lnTo>
                    <a:pt x="243" y="893"/>
                  </a:lnTo>
                  <a:lnTo>
                    <a:pt x="243" y="919"/>
                  </a:lnTo>
                  <a:lnTo>
                    <a:pt x="212" y="919"/>
                  </a:lnTo>
                  <a:lnTo>
                    <a:pt x="212" y="893"/>
                  </a:lnTo>
                  <a:lnTo>
                    <a:pt x="243" y="862"/>
                  </a:lnTo>
                  <a:lnTo>
                    <a:pt x="212" y="862"/>
                  </a:lnTo>
                  <a:lnTo>
                    <a:pt x="187" y="862"/>
                  </a:lnTo>
                  <a:lnTo>
                    <a:pt x="187" y="838"/>
                  </a:lnTo>
                  <a:lnTo>
                    <a:pt x="162" y="807"/>
                  </a:lnTo>
                  <a:lnTo>
                    <a:pt x="132" y="782"/>
                  </a:lnTo>
                  <a:lnTo>
                    <a:pt x="106" y="782"/>
                  </a:lnTo>
                  <a:lnTo>
                    <a:pt x="82" y="782"/>
                  </a:lnTo>
                  <a:lnTo>
                    <a:pt x="106" y="757"/>
                  </a:lnTo>
                  <a:lnTo>
                    <a:pt x="82" y="757"/>
                  </a:lnTo>
                  <a:lnTo>
                    <a:pt x="50" y="782"/>
                  </a:lnTo>
                  <a:lnTo>
                    <a:pt x="82" y="807"/>
                  </a:lnTo>
                  <a:lnTo>
                    <a:pt x="50" y="807"/>
                  </a:lnTo>
                  <a:lnTo>
                    <a:pt x="25" y="807"/>
                  </a:lnTo>
                  <a:lnTo>
                    <a:pt x="0" y="807"/>
                  </a:lnTo>
                  <a:lnTo>
                    <a:pt x="25" y="838"/>
                  </a:lnTo>
                  <a:lnTo>
                    <a:pt x="25" y="862"/>
                  </a:lnTo>
                  <a:lnTo>
                    <a:pt x="50" y="862"/>
                  </a:lnTo>
                  <a:lnTo>
                    <a:pt x="25" y="862"/>
                  </a:lnTo>
                  <a:lnTo>
                    <a:pt x="25" y="893"/>
                  </a:lnTo>
                  <a:lnTo>
                    <a:pt x="0" y="919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34" name="Freeform 70">
              <a:extLst>
                <a:ext uri="{FF2B5EF4-FFF2-40B4-BE49-F238E27FC236}">
                  <a16:creationId xmlns:a16="http://schemas.microsoft.com/office/drawing/2014/main" id="{E5B70F5D-93F7-4292-B589-7ACBF63F1106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9751" y="4785167"/>
              <a:ext cx="491859" cy="838395"/>
            </a:xfrm>
            <a:custGeom>
              <a:avLst/>
              <a:gdLst/>
              <a:ahLst/>
              <a:cxnLst>
                <a:cxn ang="0">
                  <a:pos x="596" y="24"/>
                </a:cxn>
                <a:cxn ang="0">
                  <a:pos x="789" y="0"/>
                </a:cxn>
                <a:cxn ang="0">
                  <a:pos x="814" y="81"/>
                </a:cxn>
                <a:cxn ang="0">
                  <a:pos x="789" y="162"/>
                </a:cxn>
                <a:cxn ang="0">
                  <a:pos x="895" y="131"/>
                </a:cxn>
                <a:cxn ang="0">
                  <a:pos x="950" y="162"/>
                </a:cxn>
                <a:cxn ang="0">
                  <a:pos x="1031" y="186"/>
                </a:cxn>
                <a:cxn ang="0">
                  <a:pos x="1112" y="186"/>
                </a:cxn>
                <a:cxn ang="0">
                  <a:pos x="1218" y="162"/>
                </a:cxn>
                <a:cxn ang="0">
                  <a:pos x="1304" y="211"/>
                </a:cxn>
                <a:cxn ang="0">
                  <a:pos x="1354" y="242"/>
                </a:cxn>
                <a:cxn ang="0">
                  <a:pos x="1385" y="347"/>
                </a:cxn>
                <a:cxn ang="0">
                  <a:pos x="1410" y="485"/>
                </a:cxn>
                <a:cxn ang="0">
                  <a:pos x="1249" y="540"/>
                </a:cxn>
                <a:cxn ang="0">
                  <a:pos x="1137" y="621"/>
                </a:cxn>
                <a:cxn ang="0">
                  <a:pos x="1137" y="863"/>
                </a:cxn>
                <a:cxn ang="0">
                  <a:pos x="1112" y="1000"/>
                </a:cxn>
                <a:cxn ang="0">
                  <a:pos x="1031" y="1055"/>
                </a:cxn>
                <a:cxn ang="0">
                  <a:pos x="1056" y="1192"/>
                </a:cxn>
                <a:cxn ang="0">
                  <a:pos x="895" y="1272"/>
                </a:cxn>
                <a:cxn ang="0">
                  <a:pos x="838" y="1297"/>
                </a:cxn>
                <a:cxn ang="0">
                  <a:pos x="838" y="1378"/>
                </a:cxn>
                <a:cxn ang="0">
                  <a:pos x="895" y="1490"/>
                </a:cxn>
                <a:cxn ang="0">
                  <a:pos x="950" y="1540"/>
                </a:cxn>
                <a:cxn ang="0">
                  <a:pos x="919" y="1651"/>
                </a:cxn>
                <a:cxn ang="0">
                  <a:pos x="814" y="1707"/>
                </a:cxn>
                <a:cxn ang="0">
                  <a:pos x="789" y="1837"/>
                </a:cxn>
                <a:cxn ang="0">
                  <a:pos x="838" y="1974"/>
                </a:cxn>
                <a:cxn ang="0">
                  <a:pos x="838" y="2055"/>
                </a:cxn>
                <a:cxn ang="0">
                  <a:pos x="758" y="2055"/>
                </a:cxn>
                <a:cxn ang="0">
                  <a:pos x="622" y="2247"/>
                </a:cxn>
                <a:cxn ang="0">
                  <a:pos x="622" y="2433"/>
                </a:cxn>
                <a:cxn ang="0">
                  <a:pos x="410" y="2489"/>
                </a:cxn>
                <a:cxn ang="0">
                  <a:pos x="242" y="2409"/>
                </a:cxn>
                <a:cxn ang="0">
                  <a:pos x="137" y="2383"/>
                </a:cxn>
                <a:cxn ang="0">
                  <a:pos x="0" y="2383"/>
                </a:cxn>
                <a:cxn ang="0">
                  <a:pos x="137" y="2191"/>
                </a:cxn>
                <a:cxn ang="0">
                  <a:pos x="162" y="2029"/>
                </a:cxn>
                <a:cxn ang="0">
                  <a:pos x="162" y="1924"/>
                </a:cxn>
                <a:cxn ang="0">
                  <a:pos x="193" y="1707"/>
                </a:cxn>
                <a:cxn ang="0">
                  <a:pos x="242" y="1732"/>
                </a:cxn>
                <a:cxn ang="0">
                  <a:pos x="242" y="1707"/>
                </a:cxn>
                <a:cxn ang="0">
                  <a:pos x="137" y="1707"/>
                </a:cxn>
                <a:cxn ang="0">
                  <a:pos x="81" y="1595"/>
                </a:cxn>
                <a:cxn ang="0">
                  <a:pos x="137" y="1620"/>
                </a:cxn>
                <a:cxn ang="0">
                  <a:pos x="162" y="1571"/>
                </a:cxn>
                <a:cxn ang="0">
                  <a:pos x="193" y="1490"/>
                </a:cxn>
                <a:cxn ang="0">
                  <a:pos x="57" y="1571"/>
                </a:cxn>
                <a:cxn ang="0">
                  <a:pos x="0" y="1514"/>
                </a:cxn>
                <a:cxn ang="0">
                  <a:pos x="106" y="1272"/>
                </a:cxn>
                <a:cxn ang="0">
                  <a:pos x="162" y="1217"/>
                </a:cxn>
                <a:cxn ang="0">
                  <a:pos x="273" y="1079"/>
                </a:cxn>
                <a:cxn ang="0">
                  <a:pos x="323" y="943"/>
                </a:cxn>
                <a:cxn ang="0">
                  <a:pos x="435" y="727"/>
                </a:cxn>
                <a:cxn ang="0">
                  <a:pos x="516" y="677"/>
                </a:cxn>
                <a:cxn ang="0">
                  <a:pos x="491" y="621"/>
                </a:cxn>
                <a:cxn ang="0">
                  <a:pos x="491" y="621"/>
                </a:cxn>
                <a:cxn ang="0">
                  <a:pos x="516" y="509"/>
                </a:cxn>
                <a:cxn ang="0">
                  <a:pos x="516" y="323"/>
                </a:cxn>
                <a:cxn ang="0">
                  <a:pos x="516" y="211"/>
                </a:cxn>
                <a:cxn ang="0">
                  <a:pos x="516" y="162"/>
                </a:cxn>
                <a:cxn ang="0">
                  <a:pos x="541" y="81"/>
                </a:cxn>
              </a:cxnLst>
              <a:rect l="0" t="0" r="r" b="b"/>
              <a:pathLst>
                <a:path w="1465" h="2489">
                  <a:moveTo>
                    <a:pt x="541" y="81"/>
                  </a:moveTo>
                  <a:lnTo>
                    <a:pt x="572" y="24"/>
                  </a:lnTo>
                  <a:lnTo>
                    <a:pt x="596" y="24"/>
                  </a:lnTo>
                  <a:lnTo>
                    <a:pt x="622" y="0"/>
                  </a:lnTo>
                  <a:lnTo>
                    <a:pt x="733" y="0"/>
                  </a:lnTo>
                  <a:lnTo>
                    <a:pt x="789" y="0"/>
                  </a:lnTo>
                  <a:lnTo>
                    <a:pt x="789" y="24"/>
                  </a:lnTo>
                  <a:lnTo>
                    <a:pt x="814" y="50"/>
                  </a:lnTo>
                  <a:lnTo>
                    <a:pt x="814" y="81"/>
                  </a:lnTo>
                  <a:lnTo>
                    <a:pt x="758" y="105"/>
                  </a:lnTo>
                  <a:lnTo>
                    <a:pt x="789" y="131"/>
                  </a:lnTo>
                  <a:lnTo>
                    <a:pt x="789" y="162"/>
                  </a:lnTo>
                  <a:lnTo>
                    <a:pt x="814" y="162"/>
                  </a:lnTo>
                  <a:lnTo>
                    <a:pt x="869" y="131"/>
                  </a:lnTo>
                  <a:lnTo>
                    <a:pt x="895" y="131"/>
                  </a:lnTo>
                  <a:lnTo>
                    <a:pt x="869" y="162"/>
                  </a:lnTo>
                  <a:lnTo>
                    <a:pt x="919" y="162"/>
                  </a:lnTo>
                  <a:lnTo>
                    <a:pt x="950" y="162"/>
                  </a:lnTo>
                  <a:lnTo>
                    <a:pt x="976" y="162"/>
                  </a:lnTo>
                  <a:lnTo>
                    <a:pt x="976" y="186"/>
                  </a:lnTo>
                  <a:lnTo>
                    <a:pt x="1031" y="186"/>
                  </a:lnTo>
                  <a:lnTo>
                    <a:pt x="1031" y="211"/>
                  </a:lnTo>
                  <a:lnTo>
                    <a:pt x="1056" y="211"/>
                  </a:lnTo>
                  <a:lnTo>
                    <a:pt x="1112" y="186"/>
                  </a:lnTo>
                  <a:lnTo>
                    <a:pt x="1137" y="162"/>
                  </a:lnTo>
                  <a:lnTo>
                    <a:pt x="1192" y="186"/>
                  </a:lnTo>
                  <a:lnTo>
                    <a:pt x="1218" y="162"/>
                  </a:lnTo>
                  <a:lnTo>
                    <a:pt x="1249" y="186"/>
                  </a:lnTo>
                  <a:lnTo>
                    <a:pt x="1273" y="186"/>
                  </a:lnTo>
                  <a:lnTo>
                    <a:pt x="1304" y="211"/>
                  </a:lnTo>
                  <a:lnTo>
                    <a:pt x="1354" y="186"/>
                  </a:lnTo>
                  <a:lnTo>
                    <a:pt x="1354" y="211"/>
                  </a:lnTo>
                  <a:lnTo>
                    <a:pt x="1354" y="242"/>
                  </a:lnTo>
                  <a:lnTo>
                    <a:pt x="1329" y="323"/>
                  </a:lnTo>
                  <a:lnTo>
                    <a:pt x="1354" y="347"/>
                  </a:lnTo>
                  <a:lnTo>
                    <a:pt x="1385" y="347"/>
                  </a:lnTo>
                  <a:lnTo>
                    <a:pt x="1410" y="347"/>
                  </a:lnTo>
                  <a:lnTo>
                    <a:pt x="1465" y="404"/>
                  </a:lnTo>
                  <a:lnTo>
                    <a:pt x="1410" y="485"/>
                  </a:lnTo>
                  <a:lnTo>
                    <a:pt x="1354" y="540"/>
                  </a:lnTo>
                  <a:lnTo>
                    <a:pt x="1304" y="565"/>
                  </a:lnTo>
                  <a:lnTo>
                    <a:pt x="1249" y="540"/>
                  </a:lnTo>
                  <a:lnTo>
                    <a:pt x="1249" y="565"/>
                  </a:lnTo>
                  <a:lnTo>
                    <a:pt x="1192" y="646"/>
                  </a:lnTo>
                  <a:lnTo>
                    <a:pt x="1137" y="621"/>
                  </a:lnTo>
                  <a:lnTo>
                    <a:pt x="1168" y="727"/>
                  </a:lnTo>
                  <a:lnTo>
                    <a:pt x="1137" y="838"/>
                  </a:lnTo>
                  <a:lnTo>
                    <a:pt x="1137" y="863"/>
                  </a:lnTo>
                  <a:lnTo>
                    <a:pt x="1112" y="919"/>
                  </a:lnTo>
                  <a:lnTo>
                    <a:pt x="1137" y="943"/>
                  </a:lnTo>
                  <a:lnTo>
                    <a:pt x="1112" y="1000"/>
                  </a:lnTo>
                  <a:lnTo>
                    <a:pt x="1087" y="1000"/>
                  </a:lnTo>
                  <a:lnTo>
                    <a:pt x="1056" y="1000"/>
                  </a:lnTo>
                  <a:lnTo>
                    <a:pt x="1031" y="1055"/>
                  </a:lnTo>
                  <a:lnTo>
                    <a:pt x="1056" y="1079"/>
                  </a:lnTo>
                  <a:lnTo>
                    <a:pt x="1087" y="1112"/>
                  </a:lnTo>
                  <a:lnTo>
                    <a:pt x="1056" y="1192"/>
                  </a:lnTo>
                  <a:lnTo>
                    <a:pt x="1006" y="1217"/>
                  </a:lnTo>
                  <a:lnTo>
                    <a:pt x="1006" y="1272"/>
                  </a:lnTo>
                  <a:lnTo>
                    <a:pt x="895" y="1272"/>
                  </a:lnTo>
                  <a:lnTo>
                    <a:pt x="869" y="1272"/>
                  </a:lnTo>
                  <a:lnTo>
                    <a:pt x="814" y="1241"/>
                  </a:lnTo>
                  <a:lnTo>
                    <a:pt x="838" y="1297"/>
                  </a:lnTo>
                  <a:lnTo>
                    <a:pt x="838" y="1322"/>
                  </a:lnTo>
                  <a:lnTo>
                    <a:pt x="869" y="1322"/>
                  </a:lnTo>
                  <a:lnTo>
                    <a:pt x="838" y="1378"/>
                  </a:lnTo>
                  <a:lnTo>
                    <a:pt x="869" y="1433"/>
                  </a:lnTo>
                  <a:lnTo>
                    <a:pt x="869" y="1459"/>
                  </a:lnTo>
                  <a:lnTo>
                    <a:pt x="895" y="1490"/>
                  </a:lnTo>
                  <a:lnTo>
                    <a:pt x="895" y="1514"/>
                  </a:lnTo>
                  <a:lnTo>
                    <a:pt x="919" y="1514"/>
                  </a:lnTo>
                  <a:lnTo>
                    <a:pt x="950" y="1540"/>
                  </a:lnTo>
                  <a:lnTo>
                    <a:pt x="950" y="1571"/>
                  </a:lnTo>
                  <a:lnTo>
                    <a:pt x="919" y="1595"/>
                  </a:lnTo>
                  <a:lnTo>
                    <a:pt x="919" y="1651"/>
                  </a:lnTo>
                  <a:lnTo>
                    <a:pt x="869" y="1676"/>
                  </a:lnTo>
                  <a:lnTo>
                    <a:pt x="838" y="1707"/>
                  </a:lnTo>
                  <a:lnTo>
                    <a:pt x="814" y="1707"/>
                  </a:lnTo>
                  <a:lnTo>
                    <a:pt x="814" y="1756"/>
                  </a:lnTo>
                  <a:lnTo>
                    <a:pt x="789" y="1813"/>
                  </a:lnTo>
                  <a:lnTo>
                    <a:pt x="789" y="1837"/>
                  </a:lnTo>
                  <a:lnTo>
                    <a:pt x="814" y="1893"/>
                  </a:lnTo>
                  <a:lnTo>
                    <a:pt x="814" y="1949"/>
                  </a:lnTo>
                  <a:lnTo>
                    <a:pt x="838" y="1974"/>
                  </a:lnTo>
                  <a:lnTo>
                    <a:pt x="869" y="1949"/>
                  </a:lnTo>
                  <a:lnTo>
                    <a:pt x="895" y="1974"/>
                  </a:lnTo>
                  <a:lnTo>
                    <a:pt x="838" y="2055"/>
                  </a:lnTo>
                  <a:lnTo>
                    <a:pt x="814" y="2029"/>
                  </a:lnTo>
                  <a:lnTo>
                    <a:pt x="789" y="2055"/>
                  </a:lnTo>
                  <a:lnTo>
                    <a:pt x="758" y="2055"/>
                  </a:lnTo>
                  <a:lnTo>
                    <a:pt x="733" y="2110"/>
                  </a:lnTo>
                  <a:lnTo>
                    <a:pt x="677" y="2136"/>
                  </a:lnTo>
                  <a:lnTo>
                    <a:pt x="622" y="2247"/>
                  </a:lnTo>
                  <a:lnTo>
                    <a:pt x="653" y="2272"/>
                  </a:lnTo>
                  <a:lnTo>
                    <a:pt x="622" y="2409"/>
                  </a:lnTo>
                  <a:lnTo>
                    <a:pt x="622" y="2433"/>
                  </a:lnTo>
                  <a:lnTo>
                    <a:pt x="541" y="2433"/>
                  </a:lnTo>
                  <a:lnTo>
                    <a:pt x="460" y="2464"/>
                  </a:lnTo>
                  <a:lnTo>
                    <a:pt x="410" y="2489"/>
                  </a:lnTo>
                  <a:lnTo>
                    <a:pt x="323" y="2409"/>
                  </a:lnTo>
                  <a:lnTo>
                    <a:pt x="273" y="2409"/>
                  </a:lnTo>
                  <a:lnTo>
                    <a:pt x="242" y="2409"/>
                  </a:lnTo>
                  <a:lnTo>
                    <a:pt x="218" y="2409"/>
                  </a:lnTo>
                  <a:lnTo>
                    <a:pt x="162" y="2352"/>
                  </a:lnTo>
                  <a:lnTo>
                    <a:pt x="137" y="2383"/>
                  </a:lnTo>
                  <a:lnTo>
                    <a:pt x="57" y="2383"/>
                  </a:lnTo>
                  <a:lnTo>
                    <a:pt x="26" y="2409"/>
                  </a:lnTo>
                  <a:lnTo>
                    <a:pt x="0" y="2383"/>
                  </a:lnTo>
                  <a:lnTo>
                    <a:pt x="81" y="2303"/>
                  </a:lnTo>
                  <a:lnTo>
                    <a:pt x="81" y="2247"/>
                  </a:lnTo>
                  <a:lnTo>
                    <a:pt x="137" y="2191"/>
                  </a:lnTo>
                  <a:lnTo>
                    <a:pt x="137" y="2167"/>
                  </a:lnTo>
                  <a:lnTo>
                    <a:pt x="137" y="2136"/>
                  </a:lnTo>
                  <a:lnTo>
                    <a:pt x="162" y="2029"/>
                  </a:lnTo>
                  <a:lnTo>
                    <a:pt x="162" y="1974"/>
                  </a:lnTo>
                  <a:lnTo>
                    <a:pt x="137" y="1949"/>
                  </a:lnTo>
                  <a:lnTo>
                    <a:pt x="162" y="1924"/>
                  </a:lnTo>
                  <a:lnTo>
                    <a:pt x="218" y="1837"/>
                  </a:lnTo>
                  <a:lnTo>
                    <a:pt x="218" y="1756"/>
                  </a:lnTo>
                  <a:lnTo>
                    <a:pt x="193" y="1707"/>
                  </a:lnTo>
                  <a:lnTo>
                    <a:pt x="218" y="1732"/>
                  </a:lnTo>
                  <a:lnTo>
                    <a:pt x="273" y="1756"/>
                  </a:lnTo>
                  <a:lnTo>
                    <a:pt x="242" y="1732"/>
                  </a:lnTo>
                  <a:lnTo>
                    <a:pt x="273" y="1676"/>
                  </a:lnTo>
                  <a:lnTo>
                    <a:pt x="242" y="1676"/>
                  </a:lnTo>
                  <a:lnTo>
                    <a:pt x="242" y="1707"/>
                  </a:lnTo>
                  <a:lnTo>
                    <a:pt x="218" y="1707"/>
                  </a:lnTo>
                  <a:lnTo>
                    <a:pt x="193" y="1676"/>
                  </a:lnTo>
                  <a:lnTo>
                    <a:pt x="137" y="1707"/>
                  </a:lnTo>
                  <a:lnTo>
                    <a:pt x="57" y="1707"/>
                  </a:lnTo>
                  <a:lnTo>
                    <a:pt x="81" y="1651"/>
                  </a:lnTo>
                  <a:lnTo>
                    <a:pt x="81" y="1595"/>
                  </a:lnTo>
                  <a:lnTo>
                    <a:pt x="106" y="1595"/>
                  </a:lnTo>
                  <a:lnTo>
                    <a:pt x="106" y="1620"/>
                  </a:lnTo>
                  <a:lnTo>
                    <a:pt x="137" y="1620"/>
                  </a:lnTo>
                  <a:lnTo>
                    <a:pt x="137" y="1595"/>
                  </a:lnTo>
                  <a:lnTo>
                    <a:pt x="193" y="1595"/>
                  </a:lnTo>
                  <a:lnTo>
                    <a:pt x="162" y="1571"/>
                  </a:lnTo>
                  <a:lnTo>
                    <a:pt x="193" y="1571"/>
                  </a:lnTo>
                  <a:lnTo>
                    <a:pt x="193" y="1514"/>
                  </a:lnTo>
                  <a:lnTo>
                    <a:pt x="193" y="1490"/>
                  </a:lnTo>
                  <a:lnTo>
                    <a:pt x="162" y="1514"/>
                  </a:lnTo>
                  <a:lnTo>
                    <a:pt x="137" y="1571"/>
                  </a:lnTo>
                  <a:lnTo>
                    <a:pt x="57" y="1571"/>
                  </a:lnTo>
                  <a:lnTo>
                    <a:pt x="26" y="1571"/>
                  </a:lnTo>
                  <a:lnTo>
                    <a:pt x="0" y="1571"/>
                  </a:lnTo>
                  <a:lnTo>
                    <a:pt x="0" y="1514"/>
                  </a:lnTo>
                  <a:lnTo>
                    <a:pt x="26" y="1433"/>
                  </a:lnTo>
                  <a:lnTo>
                    <a:pt x="57" y="1378"/>
                  </a:lnTo>
                  <a:lnTo>
                    <a:pt x="106" y="1272"/>
                  </a:lnTo>
                  <a:lnTo>
                    <a:pt x="81" y="1241"/>
                  </a:lnTo>
                  <a:lnTo>
                    <a:pt x="106" y="1241"/>
                  </a:lnTo>
                  <a:lnTo>
                    <a:pt x="162" y="1217"/>
                  </a:lnTo>
                  <a:lnTo>
                    <a:pt x="193" y="1192"/>
                  </a:lnTo>
                  <a:lnTo>
                    <a:pt x="218" y="1192"/>
                  </a:lnTo>
                  <a:lnTo>
                    <a:pt x="273" y="1079"/>
                  </a:lnTo>
                  <a:lnTo>
                    <a:pt x="273" y="1055"/>
                  </a:lnTo>
                  <a:lnTo>
                    <a:pt x="323" y="974"/>
                  </a:lnTo>
                  <a:lnTo>
                    <a:pt x="323" y="943"/>
                  </a:lnTo>
                  <a:lnTo>
                    <a:pt x="380" y="919"/>
                  </a:lnTo>
                  <a:lnTo>
                    <a:pt x="354" y="894"/>
                  </a:lnTo>
                  <a:lnTo>
                    <a:pt x="435" y="727"/>
                  </a:lnTo>
                  <a:lnTo>
                    <a:pt x="460" y="701"/>
                  </a:lnTo>
                  <a:lnTo>
                    <a:pt x="491" y="677"/>
                  </a:lnTo>
                  <a:lnTo>
                    <a:pt x="516" y="677"/>
                  </a:lnTo>
                  <a:lnTo>
                    <a:pt x="516" y="646"/>
                  </a:lnTo>
                  <a:lnTo>
                    <a:pt x="491" y="646"/>
                  </a:lnTo>
                  <a:lnTo>
                    <a:pt x="491" y="621"/>
                  </a:lnTo>
                  <a:lnTo>
                    <a:pt x="516" y="621"/>
                  </a:lnTo>
                  <a:lnTo>
                    <a:pt x="516" y="596"/>
                  </a:lnTo>
                  <a:lnTo>
                    <a:pt x="491" y="621"/>
                  </a:lnTo>
                  <a:lnTo>
                    <a:pt x="460" y="646"/>
                  </a:lnTo>
                  <a:lnTo>
                    <a:pt x="460" y="621"/>
                  </a:lnTo>
                  <a:lnTo>
                    <a:pt x="516" y="509"/>
                  </a:lnTo>
                  <a:lnTo>
                    <a:pt x="541" y="459"/>
                  </a:lnTo>
                  <a:lnTo>
                    <a:pt x="516" y="428"/>
                  </a:lnTo>
                  <a:lnTo>
                    <a:pt x="516" y="323"/>
                  </a:lnTo>
                  <a:lnTo>
                    <a:pt x="516" y="267"/>
                  </a:lnTo>
                  <a:lnTo>
                    <a:pt x="541" y="211"/>
                  </a:lnTo>
                  <a:lnTo>
                    <a:pt x="516" y="211"/>
                  </a:lnTo>
                  <a:lnTo>
                    <a:pt x="516" y="186"/>
                  </a:lnTo>
                  <a:lnTo>
                    <a:pt x="541" y="186"/>
                  </a:lnTo>
                  <a:lnTo>
                    <a:pt x="516" y="162"/>
                  </a:lnTo>
                  <a:lnTo>
                    <a:pt x="516" y="105"/>
                  </a:lnTo>
                  <a:lnTo>
                    <a:pt x="572" y="81"/>
                  </a:lnTo>
                  <a:lnTo>
                    <a:pt x="541" y="81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35" name="Freeform 71">
              <a:extLst>
                <a:ext uri="{FF2B5EF4-FFF2-40B4-BE49-F238E27FC236}">
                  <a16:creationId xmlns:a16="http://schemas.microsoft.com/office/drawing/2014/main" id="{4F01AF48-A34E-4BD5-BEC7-F85C11E399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42443" y="170640"/>
              <a:ext cx="1001602" cy="1786341"/>
            </a:xfrm>
            <a:custGeom>
              <a:avLst/>
              <a:gdLst/>
              <a:ahLst/>
              <a:cxnLst>
                <a:cxn ang="0">
                  <a:pos x="267" y="1000"/>
                </a:cxn>
                <a:cxn ang="0">
                  <a:pos x="646" y="1243"/>
                </a:cxn>
                <a:cxn ang="0">
                  <a:pos x="727" y="1652"/>
                </a:cxn>
                <a:cxn ang="0">
                  <a:pos x="974" y="2223"/>
                </a:cxn>
                <a:cxn ang="0">
                  <a:pos x="1273" y="2409"/>
                </a:cxn>
                <a:cxn ang="0">
                  <a:pos x="1328" y="2651"/>
                </a:cxn>
                <a:cxn ang="0">
                  <a:pos x="1055" y="3118"/>
                </a:cxn>
                <a:cxn ang="0">
                  <a:pos x="919" y="3335"/>
                </a:cxn>
                <a:cxn ang="0">
                  <a:pos x="838" y="3633"/>
                </a:cxn>
                <a:cxn ang="0">
                  <a:pos x="677" y="3795"/>
                </a:cxn>
                <a:cxn ang="0">
                  <a:pos x="701" y="4142"/>
                </a:cxn>
                <a:cxn ang="0">
                  <a:pos x="863" y="4552"/>
                </a:cxn>
                <a:cxn ang="0">
                  <a:pos x="894" y="4826"/>
                </a:cxn>
                <a:cxn ang="0">
                  <a:pos x="944" y="4931"/>
                </a:cxn>
                <a:cxn ang="0">
                  <a:pos x="1000" y="4987"/>
                </a:cxn>
                <a:cxn ang="0">
                  <a:pos x="1242" y="5124"/>
                </a:cxn>
                <a:cxn ang="0">
                  <a:pos x="1378" y="5229"/>
                </a:cxn>
                <a:cxn ang="0">
                  <a:pos x="1515" y="5205"/>
                </a:cxn>
                <a:cxn ang="0">
                  <a:pos x="1708" y="5124"/>
                </a:cxn>
                <a:cxn ang="0">
                  <a:pos x="1837" y="5043"/>
                </a:cxn>
                <a:cxn ang="0">
                  <a:pos x="2086" y="4906"/>
                </a:cxn>
                <a:cxn ang="0">
                  <a:pos x="2191" y="4795"/>
                </a:cxn>
                <a:cxn ang="0">
                  <a:pos x="2409" y="4714"/>
                </a:cxn>
                <a:cxn ang="0">
                  <a:pos x="2732" y="4229"/>
                </a:cxn>
                <a:cxn ang="0">
                  <a:pos x="2979" y="3249"/>
                </a:cxn>
                <a:cxn ang="0">
                  <a:pos x="2383" y="2651"/>
                </a:cxn>
                <a:cxn ang="0">
                  <a:pos x="2167" y="2273"/>
                </a:cxn>
                <a:cxn ang="0">
                  <a:pos x="1974" y="1708"/>
                </a:cxn>
                <a:cxn ang="0">
                  <a:pos x="1837" y="1081"/>
                </a:cxn>
                <a:cxn ang="0">
                  <a:pos x="1434" y="540"/>
                </a:cxn>
                <a:cxn ang="0">
                  <a:pos x="1081" y="0"/>
                </a:cxn>
                <a:cxn ang="0">
                  <a:pos x="838" y="348"/>
                </a:cxn>
                <a:cxn ang="0">
                  <a:pos x="782" y="863"/>
                </a:cxn>
                <a:cxn ang="0">
                  <a:pos x="267" y="758"/>
                </a:cxn>
                <a:cxn ang="0">
                  <a:pos x="0" y="758"/>
                </a:cxn>
                <a:cxn ang="0">
                  <a:pos x="596" y="5205"/>
                </a:cxn>
                <a:cxn ang="0">
                  <a:pos x="596" y="5310"/>
                </a:cxn>
                <a:cxn ang="0">
                  <a:pos x="677" y="5205"/>
                </a:cxn>
                <a:cxn ang="0">
                  <a:pos x="596" y="3683"/>
                </a:cxn>
                <a:cxn ang="0">
                  <a:pos x="944" y="5043"/>
                </a:cxn>
                <a:cxn ang="0">
                  <a:pos x="974" y="5205"/>
                </a:cxn>
                <a:cxn ang="0">
                  <a:pos x="1031" y="5011"/>
                </a:cxn>
                <a:cxn ang="0">
                  <a:pos x="1055" y="5068"/>
                </a:cxn>
                <a:cxn ang="0">
                  <a:pos x="1161" y="565"/>
                </a:cxn>
                <a:cxn ang="0">
                  <a:pos x="1242" y="348"/>
                </a:cxn>
                <a:cxn ang="0">
                  <a:pos x="1328" y="403"/>
                </a:cxn>
                <a:cxn ang="0">
                  <a:pos x="1297" y="565"/>
                </a:cxn>
                <a:cxn ang="0">
                  <a:pos x="1242" y="677"/>
                </a:cxn>
                <a:cxn ang="0">
                  <a:pos x="1161" y="5093"/>
                </a:cxn>
                <a:cxn ang="0">
                  <a:pos x="1136" y="2627"/>
                </a:cxn>
                <a:cxn ang="0">
                  <a:pos x="1192" y="5205"/>
                </a:cxn>
                <a:cxn ang="0">
                  <a:pos x="1242" y="5174"/>
                </a:cxn>
                <a:cxn ang="0">
                  <a:pos x="1732" y="4254"/>
                </a:cxn>
                <a:cxn ang="0">
                  <a:pos x="1813" y="3981"/>
                </a:cxn>
                <a:cxn ang="0">
                  <a:pos x="1788" y="4310"/>
                </a:cxn>
                <a:cxn ang="0">
                  <a:pos x="1837" y="5043"/>
                </a:cxn>
                <a:cxn ang="0">
                  <a:pos x="2110" y="4173"/>
                </a:cxn>
                <a:cxn ang="0">
                  <a:pos x="2383" y="4254"/>
                </a:cxn>
                <a:cxn ang="0">
                  <a:pos x="2489" y="4229"/>
                </a:cxn>
                <a:cxn ang="0">
                  <a:pos x="2247" y="4279"/>
                </a:cxn>
              </a:cxnLst>
              <a:rect l="0" t="0" r="r" b="b"/>
              <a:pathLst>
                <a:path w="2979" h="5310">
                  <a:moveTo>
                    <a:pt x="0" y="782"/>
                  </a:moveTo>
                  <a:lnTo>
                    <a:pt x="26" y="839"/>
                  </a:lnTo>
                  <a:lnTo>
                    <a:pt x="81" y="839"/>
                  </a:lnTo>
                  <a:lnTo>
                    <a:pt x="131" y="894"/>
                  </a:lnTo>
                  <a:lnTo>
                    <a:pt x="162" y="944"/>
                  </a:lnTo>
                  <a:lnTo>
                    <a:pt x="186" y="944"/>
                  </a:lnTo>
                  <a:lnTo>
                    <a:pt x="218" y="975"/>
                  </a:lnTo>
                  <a:lnTo>
                    <a:pt x="242" y="975"/>
                  </a:lnTo>
                  <a:lnTo>
                    <a:pt x="267" y="1000"/>
                  </a:lnTo>
                  <a:lnTo>
                    <a:pt x="347" y="1000"/>
                  </a:lnTo>
                  <a:lnTo>
                    <a:pt x="404" y="1025"/>
                  </a:lnTo>
                  <a:lnTo>
                    <a:pt x="428" y="1056"/>
                  </a:lnTo>
                  <a:lnTo>
                    <a:pt x="485" y="1081"/>
                  </a:lnTo>
                  <a:lnTo>
                    <a:pt x="516" y="1162"/>
                  </a:lnTo>
                  <a:lnTo>
                    <a:pt x="540" y="1136"/>
                  </a:lnTo>
                  <a:lnTo>
                    <a:pt x="565" y="1193"/>
                  </a:lnTo>
                  <a:lnTo>
                    <a:pt x="621" y="1217"/>
                  </a:lnTo>
                  <a:lnTo>
                    <a:pt x="646" y="1243"/>
                  </a:lnTo>
                  <a:lnTo>
                    <a:pt x="621" y="1354"/>
                  </a:lnTo>
                  <a:lnTo>
                    <a:pt x="646" y="1379"/>
                  </a:lnTo>
                  <a:lnTo>
                    <a:pt x="646" y="1435"/>
                  </a:lnTo>
                  <a:lnTo>
                    <a:pt x="646" y="1490"/>
                  </a:lnTo>
                  <a:lnTo>
                    <a:pt x="701" y="1516"/>
                  </a:lnTo>
                  <a:lnTo>
                    <a:pt x="701" y="1571"/>
                  </a:lnTo>
                  <a:lnTo>
                    <a:pt x="701" y="1596"/>
                  </a:lnTo>
                  <a:lnTo>
                    <a:pt x="701" y="1621"/>
                  </a:lnTo>
                  <a:lnTo>
                    <a:pt x="727" y="1652"/>
                  </a:lnTo>
                  <a:lnTo>
                    <a:pt x="727" y="1708"/>
                  </a:lnTo>
                  <a:lnTo>
                    <a:pt x="782" y="1708"/>
                  </a:lnTo>
                  <a:lnTo>
                    <a:pt x="838" y="1758"/>
                  </a:lnTo>
                  <a:lnTo>
                    <a:pt x="838" y="1813"/>
                  </a:lnTo>
                  <a:lnTo>
                    <a:pt x="838" y="1870"/>
                  </a:lnTo>
                  <a:lnTo>
                    <a:pt x="838" y="1950"/>
                  </a:lnTo>
                  <a:lnTo>
                    <a:pt x="838" y="2031"/>
                  </a:lnTo>
                  <a:lnTo>
                    <a:pt x="863" y="2136"/>
                  </a:lnTo>
                  <a:lnTo>
                    <a:pt x="974" y="2223"/>
                  </a:lnTo>
                  <a:lnTo>
                    <a:pt x="1000" y="2248"/>
                  </a:lnTo>
                  <a:lnTo>
                    <a:pt x="1055" y="2248"/>
                  </a:lnTo>
                  <a:lnTo>
                    <a:pt x="1081" y="2304"/>
                  </a:lnTo>
                  <a:lnTo>
                    <a:pt x="1112" y="2304"/>
                  </a:lnTo>
                  <a:lnTo>
                    <a:pt x="1161" y="2304"/>
                  </a:lnTo>
                  <a:lnTo>
                    <a:pt x="1192" y="2328"/>
                  </a:lnTo>
                  <a:lnTo>
                    <a:pt x="1217" y="2328"/>
                  </a:lnTo>
                  <a:lnTo>
                    <a:pt x="1217" y="2354"/>
                  </a:lnTo>
                  <a:lnTo>
                    <a:pt x="1273" y="2409"/>
                  </a:lnTo>
                  <a:lnTo>
                    <a:pt x="1297" y="2435"/>
                  </a:lnTo>
                  <a:lnTo>
                    <a:pt x="1297" y="2466"/>
                  </a:lnTo>
                  <a:lnTo>
                    <a:pt x="1297" y="2490"/>
                  </a:lnTo>
                  <a:lnTo>
                    <a:pt x="1273" y="2546"/>
                  </a:lnTo>
                  <a:lnTo>
                    <a:pt x="1297" y="2571"/>
                  </a:lnTo>
                  <a:lnTo>
                    <a:pt x="1354" y="2627"/>
                  </a:lnTo>
                  <a:lnTo>
                    <a:pt x="1297" y="2627"/>
                  </a:lnTo>
                  <a:lnTo>
                    <a:pt x="1297" y="2651"/>
                  </a:lnTo>
                  <a:lnTo>
                    <a:pt x="1328" y="2651"/>
                  </a:lnTo>
                  <a:lnTo>
                    <a:pt x="1354" y="2682"/>
                  </a:lnTo>
                  <a:lnTo>
                    <a:pt x="1328" y="2708"/>
                  </a:lnTo>
                  <a:lnTo>
                    <a:pt x="1297" y="2682"/>
                  </a:lnTo>
                  <a:lnTo>
                    <a:pt x="1192" y="2732"/>
                  </a:lnTo>
                  <a:lnTo>
                    <a:pt x="1192" y="2820"/>
                  </a:lnTo>
                  <a:lnTo>
                    <a:pt x="1161" y="2900"/>
                  </a:lnTo>
                  <a:lnTo>
                    <a:pt x="1112" y="3031"/>
                  </a:lnTo>
                  <a:lnTo>
                    <a:pt x="1055" y="3062"/>
                  </a:lnTo>
                  <a:lnTo>
                    <a:pt x="1055" y="3118"/>
                  </a:lnTo>
                  <a:lnTo>
                    <a:pt x="1031" y="3118"/>
                  </a:lnTo>
                  <a:lnTo>
                    <a:pt x="1031" y="3142"/>
                  </a:lnTo>
                  <a:lnTo>
                    <a:pt x="1000" y="3168"/>
                  </a:lnTo>
                  <a:lnTo>
                    <a:pt x="1031" y="3223"/>
                  </a:lnTo>
                  <a:lnTo>
                    <a:pt x="974" y="3199"/>
                  </a:lnTo>
                  <a:lnTo>
                    <a:pt x="1000" y="3280"/>
                  </a:lnTo>
                  <a:lnTo>
                    <a:pt x="974" y="3304"/>
                  </a:lnTo>
                  <a:lnTo>
                    <a:pt x="944" y="3304"/>
                  </a:lnTo>
                  <a:lnTo>
                    <a:pt x="919" y="3335"/>
                  </a:lnTo>
                  <a:lnTo>
                    <a:pt x="863" y="3335"/>
                  </a:lnTo>
                  <a:lnTo>
                    <a:pt x="919" y="3385"/>
                  </a:lnTo>
                  <a:lnTo>
                    <a:pt x="919" y="3441"/>
                  </a:lnTo>
                  <a:lnTo>
                    <a:pt x="838" y="3416"/>
                  </a:lnTo>
                  <a:lnTo>
                    <a:pt x="838" y="3465"/>
                  </a:lnTo>
                  <a:lnTo>
                    <a:pt x="838" y="3522"/>
                  </a:lnTo>
                  <a:lnTo>
                    <a:pt x="838" y="3546"/>
                  </a:lnTo>
                  <a:lnTo>
                    <a:pt x="782" y="3577"/>
                  </a:lnTo>
                  <a:lnTo>
                    <a:pt x="838" y="3633"/>
                  </a:lnTo>
                  <a:lnTo>
                    <a:pt x="782" y="3683"/>
                  </a:lnTo>
                  <a:lnTo>
                    <a:pt x="782" y="3738"/>
                  </a:lnTo>
                  <a:lnTo>
                    <a:pt x="758" y="3683"/>
                  </a:lnTo>
                  <a:lnTo>
                    <a:pt x="727" y="3683"/>
                  </a:lnTo>
                  <a:lnTo>
                    <a:pt x="701" y="3714"/>
                  </a:lnTo>
                  <a:lnTo>
                    <a:pt x="677" y="3683"/>
                  </a:lnTo>
                  <a:lnTo>
                    <a:pt x="677" y="3738"/>
                  </a:lnTo>
                  <a:lnTo>
                    <a:pt x="701" y="3795"/>
                  </a:lnTo>
                  <a:lnTo>
                    <a:pt x="677" y="3795"/>
                  </a:lnTo>
                  <a:lnTo>
                    <a:pt x="677" y="3876"/>
                  </a:lnTo>
                  <a:lnTo>
                    <a:pt x="646" y="3900"/>
                  </a:lnTo>
                  <a:lnTo>
                    <a:pt x="646" y="3931"/>
                  </a:lnTo>
                  <a:lnTo>
                    <a:pt x="621" y="3956"/>
                  </a:lnTo>
                  <a:lnTo>
                    <a:pt x="621" y="3981"/>
                  </a:lnTo>
                  <a:lnTo>
                    <a:pt x="621" y="4037"/>
                  </a:lnTo>
                  <a:lnTo>
                    <a:pt x="646" y="4037"/>
                  </a:lnTo>
                  <a:lnTo>
                    <a:pt x="646" y="4092"/>
                  </a:lnTo>
                  <a:lnTo>
                    <a:pt x="701" y="4142"/>
                  </a:lnTo>
                  <a:lnTo>
                    <a:pt x="727" y="4199"/>
                  </a:lnTo>
                  <a:lnTo>
                    <a:pt x="758" y="4229"/>
                  </a:lnTo>
                  <a:lnTo>
                    <a:pt x="727" y="4254"/>
                  </a:lnTo>
                  <a:lnTo>
                    <a:pt x="758" y="4335"/>
                  </a:lnTo>
                  <a:lnTo>
                    <a:pt x="782" y="4360"/>
                  </a:lnTo>
                  <a:lnTo>
                    <a:pt x="838" y="4472"/>
                  </a:lnTo>
                  <a:lnTo>
                    <a:pt x="863" y="4527"/>
                  </a:lnTo>
                  <a:lnTo>
                    <a:pt x="838" y="4527"/>
                  </a:lnTo>
                  <a:lnTo>
                    <a:pt x="863" y="4552"/>
                  </a:lnTo>
                  <a:lnTo>
                    <a:pt x="838" y="4577"/>
                  </a:lnTo>
                  <a:lnTo>
                    <a:pt x="863" y="4577"/>
                  </a:lnTo>
                  <a:lnTo>
                    <a:pt x="838" y="4608"/>
                  </a:lnTo>
                  <a:lnTo>
                    <a:pt x="863" y="4608"/>
                  </a:lnTo>
                  <a:lnTo>
                    <a:pt x="863" y="4688"/>
                  </a:lnTo>
                  <a:lnTo>
                    <a:pt x="894" y="4688"/>
                  </a:lnTo>
                  <a:lnTo>
                    <a:pt x="863" y="4714"/>
                  </a:lnTo>
                  <a:lnTo>
                    <a:pt x="863" y="4769"/>
                  </a:lnTo>
                  <a:lnTo>
                    <a:pt x="894" y="4826"/>
                  </a:lnTo>
                  <a:lnTo>
                    <a:pt x="919" y="4850"/>
                  </a:lnTo>
                  <a:lnTo>
                    <a:pt x="894" y="4875"/>
                  </a:lnTo>
                  <a:lnTo>
                    <a:pt x="894" y="4826"/>
                  </a:lnTo>
                  <a:lnTo>
                    <a:pt x="863" y="4826"/>
                  </a:lnTo>
                  <a:lnTo>
                    <a:pt x="863" y="4850"/>
                  </a:lnTo>
                  <a:lnTo>
                    <a:pt x="863" y="4875"/>
                  </a:lnTo>
                  <a:lnTo>
                    <a:pt x="894" y="4906"/>
                  </a:lnTo>
                  <a:lnTo>
                    <a:pt x="919" y="4906"/>
                  </a:lnTo>
                  <a:lnTo>
                    <a:pt x="944" y="4931"/>
                  </a:lnTo>
                  <a:lnTo>
                    <a:pt x="944" y="4956"/>
                  </a:lnTo>
                  <a:lnTo>
                    <a:pt x="919" y="4956"/>
                  </a:lnTo>
                  <a:lnTo>
                    <a:pt x="919" y="4987"/>
                  </a:lnTo>
                  <a:lnTo>
                    <a:pt x="944" y="5011"/>
                  </a:lnTo>
                  <a:lnTo>
                    <a:pt x="1000" y="5011"/>
                  </a:lnTo>
                  <a:lnTo>
                    <a:pt x="1000" y="4987"/>
                  </a:lnTo>
                  <a:lnTo>
                    <a:pt x="974" y="4987"/>
                  </a:lnTo>
                  <a:lnTo>
                    <a:pt x="974" y="4956"/>
                  </a:lnTo>
                  <a:lnTo>
                    <a:pt x="1000" y="4987"/>
                  </a:lnTo>
                  <a:lnTo>
                    <a:pt x="1031" y="4956"/>
                  </a:lnTo>
                  <a:lnTo>
                    <a:pt x="1055" y="5011"/>
                  </a:lnTo>
                  <a:lnTo>
                    <a:pt x="1055" y="5043"/>
                  </a:lnTo>
                  <a:lnTo>
                    <a:pt x="1055" y="5011"/>
                  </a:lnTo>
                  <a:lnTo>
                    <a:pt x="1081" y="5043"/>
                  </a:lnTo>
                  <a:lnTo>
                    <a:pt x="1136" y="5068"/>
                  </a:lnTo>
                  <a:lnTo>
                    <a:pt x="1242" y="5068"/>
                  </a:lnTo>
                  <a:lnTo>
                    <a:pt x="1242" y="5093"/>
                  </a:lnTo>
                  <a:lnTo>
                    <a:pt x="1242" y="5124"/>
                  </a:lnTo>
                  <a:lnTo>
                    <a:pt x="1242" y="5148"/>
                  </a:lnTo>
                  <a:lnTo>
                    <a:pt x="1297" y="5093"/>
                  </a:lnTo>
                  <a:lnTo>
                    <a:pt x="1328" y="5068"/>
                  </a:lnTo>
                  <a:lnTo>
                    <a:pt x="1354" y="5068"/>
                  </a:lnTo>
                  <a:lnTo>
                    <a:pt x="1354" y="5093"/>
                  </a:lnTo>
                  <a:lnTo>
                    <a:pt x="1354" y="5124"/>
                  </a:lnTo>
                  <a:lnTo>
                    <a:pt x="1354" y="5148"/>
                  </a:lnTo>
                  <a:lnTo>
                    <a:pt x="1378" y="5174"/>
                  </a:lnTo>
                  <a:lnTo>
                    <a:pt x="1378" y="5229"/>
                  </a:lnTo>
                  <a:lnTo>
                    <a:pt x="1354" y="5229"/>
                  </a:lnTo>
                  <a:lnTo>
                    <a:pt x="1354" y="5286"/>
                  </a:lnTo>
                  <a:lnTo>
                    <a:pt x="1378" y="5286"/>
                  </a:lnTo>
                  <a:lnTo>
                    <a:pt x="1409" y="5229"/>
                  </a:lnTo>
                  <a:lnTo>
                    <a:pt x="1434" y="5286"/>
                  </a:lnTo>
                  <a:lnTo>
                    <a:pt x="1378" y="5310"/>
                  </a:lnTo>
                  <a:lnTo>
                    <a:pt x="1434" y="5310"/>
                  </a:lnTo>
                  <a:lnTo>
                    <a:pt x="1490" y="5229"/>
                  </a:lnTo>
                  <a:lnTo>
                    <a:pt x="1515" y="5205"/>
                  </a:lnTo>
                  <a:lnTo>
                    <a:pt x="1540" y="5205"/>
                  </a:lnTo>
                  <a:lnTo>
                    <a:pt x="1515" y="5255"/>
                  </a:lnTo>
                  <a:lnTo>
                    <a:pt x="1540" y="5229"/>
                  </a:lnTo>
                  <a:lnTo>
                    <a:pt x="1570" y="5205"/>
                  </a:lnTo>
                  <a:lnTo>
                    <a:pt x="1570" y="5174"/>
                  </a:lnTo>
                  <a:lnTo>
                    <a:pt x="1651" y="5148"/>
                  </a:lnTo>
                  <a:lnTo>
                    <a:pt x="1677" y="5093"/>
                  </a:lnTo>
                  <a:lnTo>
                    <a:pt x="1677" y="5148"/>
                  </a:lnTo>
                  <a:lnTo>
                    <a:pt x="1708" y="5124"/>
                  </a:lnTo>
                  <a:lnTo>
                    <a:pt x="1732" y="5124"/>
                  </a:lnTo>
                  <a:lnTo>
                    <a:pt x="1708" y="5174"/>
                  </a:lnTo>
                  <a:lnTo>
                    <a:pt x="1732" y="5148"/>
                  </a:lnTo>
                  <a:lnTo>
                    <a:pt x="1756" y="5124"/>
                  </a:lnTo>
                  <a:lnTo>
                    <a:pt x="1756" y="5068"/>
                  </a:lnTo>
                  <a:lnTo>
                    <a:pt x="1788" y="5043"/>
                  </a:lnTo>
                  <a:lnTo>
                    <a:pt x="1788" y="5011"/>
                  </a:lnTo>
                  <a:lnTo>
                    <a:pt x="1837" y="5011"/>
                  </a:lnTo>
                  <a:lnTo>
                    <a:pt x="1837" y="5043"/>
                  </a:lnTo>
                  <a:lnTo>
                    <a:pt x="1893" y="4956"/>
                  </a:lnTo>
                  <a:lnTo>
                    <a:pt x="1949" y="4956"/>
                  </a:lnTo>
                  <a:lnTo>
                    <a:pt x="1974" y="4906"/>
                  </a:lnTo>
                  <a:lnTo>
                    <a:pt x="2029" y="4906"/>
                  </a:lnTo>
                  <a:lnTo>
                    <a:pt x="2029" y="4931"/>
                  </a:lnTo>
                  <a:lnTo>
                    <a:pt x="2055" y="4931"/>
                  </a:lnTo>
                  <a:lnTo>
                    <a:pt x="2029" y="4875"/>
                  </a:lnTo>
                  <a:lnTo>
                    <a:pt x="2055" y="4875"/>
                  </a:lnTo>
                  <a:lnTo>
                    <a:pt x="2086" y="4906"/>
                  </a:lnTo>
                  <a:lnTo>
                    <a:pt x="2110" y="4875"/>
                  </a:lnTo>
                  <a:lnTo>
                    <a:pt x="2029" y="4826"/>
                  </a:lnTo>
                  <a:lnTo>
                    <a:pt x="2086" y="4850"/>
                  </a:lnTo>
                  <a:lnTo>
                    <a:pt x="2086" y="4826"/>
                  </a:lnTo>
                  <a:lnTo>
                    <a:pt x="2110" y="4826"/>
                  </a:lnTo>
                  <a:lnTo>
                    <a:pt x="2136" y="4850"/>
                  </a:lnTo>
                  <a:lnTo>
                    <a:pt x="2167" y="4826"/>
                  </a:lnTo>
                  <a:lnTo>
                    <a:pt x="2167" y="4795"/>
                  </a:lnTo>
                  <a:lnTo>
                    <a:pt x="2191" y="4795"/>
                  </a:lnTo>
                  <a:lnTo>
                    <a:pt x="2222" y="4795"/>
                  </a:lnTo>
                  <a:lnTo>
                    <a:pt x="2222" y="4769"/>
                  </a:lnTo>
                  <a:lnTo>
                    <a:pt x="2247" y="4745"/>
                  </a:lnTo>
                  <a:lnTo>
                    <a:pt x="2272" y="4745"/>
                  </a:lnTo>
                  <a:lnTo>
                    <a:pt x="2303" y="4745"/>
                  </a:lnTo>
                  <a:lnTo>
                    <a:pt x="2303" y="4714"/>
                  </a:lnTo>
                  <a:lnTo>
                    <a:pt x="2328" y="4714"/>
                  </a:lnTo>
                  <a:lnTo>
                    <a:pt x="2383" y="4714"/>
                  </a:lnTo>
                  <a:lnTo>
                    <a:pt x="2409" y="4714"/>
                  </a:lnTo>
                  <a:lnTo>
                    <a:pt x="2433" y="4688"/>
                  </a:lnTo>
                  <a:lnTo>
                    <a:pt x="2464" y="4688"/>
                  </a:lnTo>
                  <a:lnTo>
                    <a:pt x="2464" y="4657"/>
                  </a:lnTo>
                  <a:lnTo>
                    <a:pt x="2489" y="4633"/>
                  </a:lnTo>
                  <a:lnTo>
                    <a:pt x="2545" y="4577"/>
                  </a:lnTo>
                  <a:lnTo>
                    <a:pt x="2601" y="4415"/>
                  </a:lnTo>
                  <a:lnTo>
                    <a:pt x="2651" y="4415"/>
                  </a:lnTo>
                  <a:lnTo>
                    <a:pt x="2651" y="4310"/>
                  </a:lnTo>
                  <a:lnTo>
                    <a:pt x="2732" y="4229"/>
                  </a:lnTo>
                  <a:lnTo>
                    <a:pt x="2732" y="4173"/>
                  </a:lnTo>
                  <a:lnTo>
                    <a:pt x="2763" y="4092"/>
                  </a:lnTo>
                  <a:lnTo>
                    <a:pt x="2787" y="4061"/>
                  </a:lnTo>
                  <a:lnTo>
                    <a:pt x="2843" y="3876"/>
                  </a:lnTo>
                  <a:lnTo>
                    <a:pt x="2868" y="3819"/>
                  </a:lnTo>
                  <a:lnTo>
                    <a:pt x="2924" y="3658"/>
                  </a:lnTo>
                  <a:lnTo>
                    <a:pt x="2979" y="3496"/>
                  </a:lnTo>
                  <a:lnTo>
                    <a:pt x="2979" y="3441"/>
                  </a:lnTo>
                  <a:lnTo>
                    <a:pt x="2979" y="3249"/>
                  </a:lnTo>
                  <a:lnTo>
                    <a:pt x="2868" y="3168"/>
                  </a:lnTo>
                  <a:lnTo>
                    <a:pt x="2843" y="3118"/>
                  </a:lnTo>
                  <a:lnTo>
                    <a:pt x="2732" y="3087"/>
                  </a:lnTo>
                  <a:lnTo>
                    <a:pt x="2625" y="3062"/>
                  </a:lnTo>
                  <a:lnTo>
                    <a:pt x="2489" y="2981"/>
                  </a:lnTo>
                  <a:lnTo>
                    <a:pt x="2520" y="2900"/>
                  </a:lnTo>
                  <a:lnTo>
                    <a:pt x="2545" y="2764"/>
                  </a:lnTo>
                  <a:lnTo>
                    <a:pt x="2489" y="2708"/>
                  </a:lnTo>
                  <a:lnTo>
                    <a:pt x="2383" y="2651"/>
                  </a:lnTo>
                  <a:lnTo>
                    <a:pt x="2352" y="2571"/>
                  </a:lnTo>
                  <a:lnTo>
                    <a:pt x="2352" y="2546"/>
                  </a:lnTo>
                  <a:lnTo>
                    <a:pt x="2328" y="2466"/>
                  </a:lnTo>
                  <a:lnTo>
                    <a:pt x="2247" y="2490"/>
                  </a:lnTo>
                  <a:lnTo>
                    <a:pt x="2222" y="2409"/>
                  </a:lnTo>
                  <a:lnTo>
                    <a:pt x="2191" y="2385"/>
                  </a:lnTo>
                  <a:lnTo>
                    <a:pt x="2247" y="2328"/>
                  </a:lnTo>
                  <a:lnTo>
                    <a:pt x="2222" y="2273"/>
                  </a:lnTo>
                  <a:lnTo>
                    <a:pt x="2167" y="2273"/>
                  </a:lnTo>
                  <a:lnTo>
                    <a:pt x="2167" y="2223"/>
                  </a:lnTo>
                  <a:lnTo>
                    <a:pt x="2167" y="2136"/>
                  </a:lnTo>
                  <a:lnTo>
                    <a:pt x="2167" y="2112"/>
                  </a:lnTo>
                  <a:lnTo>
                    <a:pt x="2136" y="2086"/>
                  </a:lnTo>
                  <a:lnTo>
                    <a:pt x="2191" y="2031"/>
                  </a:lnTo>
                  <a:lnTo>
                    <a:pt x="2222" y="2031"/>
                  </a:lnTo>
                  <a:lnTo>
                    <a:pt x="2086" y="1839"/>
                  </a:lnTo>
                  <a:lnTo>
                    <a:pt x="2029" y="1789"/>
                  </a:lnTo>
                  <a:lnTo>
                    <a:pt x="1974" y="1708"/>
                  </a:lnTo>
                  <a:lnTo>
                    <a:pt x="1893" y="1621"/>
                  </a:lnTo>
                  <a:lnTo>
                    <a:pt x="1837" y="1571"/>
                  </a:lnTo>
                  <a:lnTo>
                    <a:pt x="1813" y="1516"/>
                  </a:lnTo>
                  <a:lnTo>
                    <a:pt x="1756" y="1435"/>
                  </a:lnTo>
                  <a:lnTo>
                    <a:pt x="1756" y="1379"/>
                  </a:lnTo>
                  <a:lnTo>
                    <a:pt x="1788" y="1298"/>
                  </a:lnTo>
                  <a:lnTo>
                    <a:pt x="1788" y="1243"/>
                  </a:lnTo>
                  <a:lnTo>
                    <a:pt x="1813" y="1193"/>
                  </a:lnTo>
                  <a:lnTo>
                    <a:pt x="1837" y="1081"/>
                  </a:lnTo>
                  <a:lnTo>
                    <a:pt x="1788" y="1025"/>
                  </a:lnTo>
                  <a:lnTo>
                    <a:pt x="1732" y="1000"/>
                  </a:lnTo>
                  <a:lnTo>
                    <a:pt x="1677" y="944"/>
                  </a:lnTo>
                  <a:lnTo>
                    <a:pt x="1570" y="863"/>
                  </a:lnTo>
                  <a:lnTo>
                    <a:pt x="1515" y="863"/>
                  </a:lnTo>
                  <a:lnTo>
                    <a:pt x="1434" y="782"/>
                  </a:lnTo>
                  <a:lnTo>
                    <a:pt x="1434" y="677"/>
                  </a:lnTo>
                  <a:lnTo>
                    <a:pt x="1434" y="597"/>
                  </a:lnTo>
                  <a:lnTo>
                    <a:pt x="1434" y="540"/>
                  </a:lnTo>
                  <a:lnTo>
                    <a:pt x="1354" y="597"/>
                  </a:lnTo>
                  <a:lnTo>
                    <a:pt x="1354" y="484"/>
                  </a:lnTo>
                  <a:lnTo>
                    <a:pt x="1409" y="460"/>
                  </a:lnTo>
                  <a:lnTo>
                    <a:pt x="1378" y="379"/>
                  </a:lnTo>
                  <a:lnTo>
                    <a:pt x="1409" y="242"/>
                  </a:lnTo>
                  <a:lnTo>
                    <a:pt x="1409" y="161"/>
                  </a:lnTo>
                  <a:lnTo>
                    <a:pt x="1328" y="106"/>
                  </a:lnTo>
                  <a:lnTo>
                    <a:pt x="1217" y="106"/>
                  </a:lnTo>
                  <a:lnTo>
                    <a:pt x="1081" y="0"/>
                  </a:lnTo>
                  <a:lnTo>
                    <a:pt x="1055" y="0"/>
                  </a:lnTo>
                  <a:lnTo>
                    <a:pt x="1000" y="49"/>
                  </a:lnTo>
                  <a:lnTo>
                    <a:pt x="1000" y="106"/>
                  </a:lnTo>
                  <a:lnTo>
                    <a:pt x="974" y="130"/>
                  </a:lnTo>
                  <a:lnTo>
                    <a:pt x="894" y="106"/>
                  </a:lnTo>
                  <a:lnTo>
                    <a:pt x="863" y="211"/>
                  </a:lnTo>
                  <a:lnTo>
                    <a:pt x="813" y="267"/>
                  </a:lnTo>
                  <a:lnTo>
                    <a:pt x="838" y="322"/>
                  </a:lnTo>
                  <a:lnTo>
                    <a:pt x="838" y="348"/>
                  </a:lnTo>
                  <a:lnTo>
                    <a:pt x="838" y="403"/>
                  </a:lnTo>
                  <a:lnTo>
                    <a:pt x="838" y="460"/>
                  </a:lnTo>
                  <a:lnTo>
                    <a:pt x="894" y="597"/>
                  </a:lnTo>
                  <a:lnTo>
                    <a:pt x="863" y="677"/>
                  </a:lnTo>
                  <a:lnTo>
                    <a:pt x="838" y="677"/>
                  </a:lnTo>
                  <a:lnTo>
                    <a:pt x="813" y="726"/>
                  </a:lnTo>
                  <a:lnTo>
                    <a:pt x="813" y="782"/>
                  </a:lnTo>
                  <a:lnTo>
                    <a:pt x="813" y="808"/>
                  </a:lnTo>
                  <a:lnTo>
                    <a:pt x="782" y="863"/>
                  </a:lnTo>
                  <a:lnTo>
                    <a:pt x="727" y="808"/>
                  </a:lnTo>
                  <a:lnTo>
                    <a:pt x="565" y="782"/>
                  </a:lnTo>
                  <a:lnTo>
                    <a:pt x="540" y="863"/>
                  </a:lnTo>
                  <a:lnTo>
                    <a:pt x="459" y="894"/>
                  </a:lnTo>
                  <a:lnTo>
                    <a:pt x="428" y="863"/>
                  </a:lnTo>
                  <a:lnTo>
                    <a:pt x="347" y="863"/>
                  </a:lnTo>
                  <a:lnTo>
                    <a:pt x="323" y="894"/>
                  </a:lnTo>
                  <a:lnTo>
                    <a:pt x="267" y="808"/>
                  </a:lnTo>
                  <a:lnTo>
                    <a:pt x="267" y="758"/>
                  </a:lnTo>
                  <a:lnTo>
                    <a:pt x="186" y="677"/>
                  </a:lnTo>
                  <a:lnTo>
                    <a:pt x="131" y="621"/>
                  </a:lnTo>
                  <a:lnTo>
                    <a:pt x="50" y="621"/>
                  </a:lnTo>
                  <a:lnTo>
                    <a:pt x="50" y="677"/>
                  </a:lnTo>
                  <a:lnTo>
                    <a:pt x="50" y="702"/>
                  </a:lnTo>
                  <a:lnTo>
                    <a:pt x="81" y="758"/>
                  </a:lnTo>
                  <a:lnTo>
                    <a:pt x="50" y="758"/>
                  </a:lnTo>
                  <a:lnTo>
                    <a:pt x="26" y="758"/>
                  </a:lnTo>
                  <a:lnTo>
                    <a:pt x="0" y="758"/>
                  </a:lnTo>
                  <a:lnTo>
                    <a:pt x="0" y="782"/>
                  </a:lnTo>
                  <a:close/>
                  <a:moveTo>
                    <a:pt x="540" y="5286"/>
                  </a:moveTo>
                  <a:lnTo>
                    <a:pt x="540" y="5255"/>
                  </a:lnTo>
                  <a:lnTo>
                    <a:pt x="516" y="5255"/>
                  </a:lnTo>
                  <a:lnTo>
                    <a:pt x="516" y="5286"/>
                  </a:lnTo>
                  <a:lnTo>
                    <a:pt x="516" y="5310"/>
                  </a:lnTo>
                  <a:lnTo>
                    <a:pt x="540" y="5310"/>
                  </a:lnTo>
                  <a:lnTo>
                    <a:pt x="540" y="5286"/>
                  </a:lnTo>
                  <a:close/>
                  <a:moveTo>
                    <a:pt x="596" y="5205"/>
                  </a:moveTo>
                  <a:lnTo>
                    <a:pt x="596" y="5229"/>
                  </a:lnTo>
                  <a:lnTo>
                    <a:pt x="596" y="5255"/>
                  </a:lnTo>
                  <a:lnTo>
                    <a:pt x="565" y="5286"/>
                  </a:lnTo>
                  <a:lnTo>
                    <a:pt x="565" y="5255"/>
                  </a:lnTo>
                  <a:lnTo>
                    <a:pt x="565" y="5229"/>
                  </a:lnTo>
                  <a:lnTo>
                    <a:pt x="540" y="5229"/>
                  </a:lnTo>
                  <a:lnTo>
                    <a:pt x="565" y="5255"/>
                  </a:lnTo>
                  <a:lnTo>
                    <a:pt x="565" y="5310"/>
                  </a:lnTo>
                  <a:lnTo>
                    <a:pt x="596" y="5310"/>
                  </a:lnTo>
                  <a:lnTo>
                    <a:pt x="621" y="5310"/>
                  </a:lnTo>
                  <a:lnTo>
                    <a:pt x="646" y="5286"/>
                  </a:lnTo>
                  <a:lnTo>
                    <a:pt x="621" y="5286"/>
                  </a:lnTo>
                  <a:lnTo>
                    <a:pt x="621" y="5255"/>
                  </a:lnTo>
                  <a:lnTo>
                    <a:pt x="646" y="5229"/>
                  </a:lnTo>
                  <a:lnTo>
                    <a:pt x="646" y="5255"/>
                  </a:lnTo>
                  <a:lnTo>
                    <a:pt x="677" y="5255"/>
                  </a:lnTo>
                  <a:lnTo>
                    <a:pt x="677" y="5229"/>
                  </a:lnTo>
                  <a:lnTo>
                    <a:pt x="677" y="5205"/>
                  </a:lnTo>
                  <a:lnTo>
                    <a:pt x="646" y="5205"/>
                  </a:lnTo>
                  <a:lnTo>
                    <a:pt x="621" y="5174"/>
                  </a:lnTo>
                  <a:lnTo>
                    <a:pt x="596" y="5174"/>
                  </a:lnTo>
                  <a:lnTo>
                    <a:pt x="565" y="5148"/>
                  </a:lnTo>
                  <a:lnTo>
                    <a:pt x="565" y="5205"/>
                  </a:lnTo>
                  <a:lnTo>
                    <a:pt x="596" y="5205"/>
                  </a:lnTo>
                  <a:close/>
                  <a:moveTo>
                    <a:pt x="646" y="3683"/>
                  </a:moveTo>
                  <a:lnTo>
                    <a:pt x="621" y="3683"/>
                  </a:lnTo>
                  <a:lnTo>
                    <a:pt x="596" y="3683"/>
                  </a:lnTo>
                  <a:lnTo>
                    <a:pt x="646" y="3738"/>
                  </a:lnTo>
                  <a:lnTo>
                    <a:pt x="646" y="3714"/>
                  </a:lnTo>
                  <a:lnTo>
                    <a:pt x="646" y="3683"/>
                  </a:lnTo>
                  <a:close/>
                  <a:moveTo>
                    <a:pt x="758" y="3602"/>
                  </a:moveTo>
                  <a:lnTo>
                    <a:pt x="782" y="3602"/>
                  </a:lnTo>
                  <a:lnTo>
                    <a:pt x="782" y="3577"/>
                  </a:lnTo>
                  <a:lnTo>
                    <a:pt x="758" y="3602"/>
                  </a:lnTo>
                  <a:close/>
                  <a:moveTo>
                    <a:pt x="944" y="5068"/>
                  </a:moveTo>
                  <a:lnTo>
                    <a:pt x="944" y="5043"/>
                  </a:lnTo>
                  <a:lnTo>
                    <a:pt x="919" y="5011"/>
                  </a:lnTo>
                  <a:lnTo>
                    <a:pt x="919" y="5043"/>
                  </a:lnTo>
                  <a:lnTo>
                    <a:pt x="944" y="5068"/>
                  </a:lnTo>
                  <a:close/>
                  <a:moveTo>
                    <a:pt x="974" y="5205"/>
                  </a:moveTo>
                  <a:lnTo>
                    <a:pt x="1000" y="5205"/>
                  </a:lnTo>
                  <a:lnTo>
                    <a:pt x="974" y="5205"/>
                  </a:lnTo>
                  <a:lnTo>
                    <a:pt x="944" y="5174"/>
                  </a:lnTo>
                  <a:lnTo>
                    <a:pt x="944" y="5205"/>
                  </a:lnTo>
                  <a:lnTo>
                    <a:pt x="974" y="5205"/>
                  </a:lnTo>
                  <a:close/>
                  <a:moveTo>
                    <a:pt x="1000" y="5229"/>
                  </a:moveTo>
                  <a:lnTo>
                    <a:pt x="1031" y="5229"/>
                  </a:lnTo>
                  <a:lnTo>
                    <a:pt x="1055" y="5205"/>
                  </a:lnTo>
                  <a:lnTo>
                    <a:pt x="1031" y="5205"/>
                  </a:lnTo>
                  <a:lnTo>
                    <a:pt x="1000" y="5205"/>
                  </a:lnTo>
                  <a:lnTo>
                    <a:pt x="1000" y="5229"/>
                  </a:lnTo>
                  <a:close/>
                  <a:moveTo>
                    <a:pt x="1031" y="5068"/>
                  </a:moveTo>
                  <a:lnTo>
                    <a:pt x="1031" y="5043"/>
                  </a:lnTo>
                  <a:lnTo>
                    <a:pt x="1031" y="5011"/>
                  </a:lnTo>
                  <a:lnTo>
                    <a:pt x="1000" y="5043"/>
                  </a:lnTo>
                  <a:lnTo>
                    <a:pt x="1031" y="5068"/>
                  </a:lnTo>
                  <a:close/>
                  <a:moveTo>
                    <a:pt x="1055" y="5229"/>
                  </a:moveTo>
                  <a:lnTo>
                    <a:pt x="1081" y="5205"/>
                  </a:lnTo>
                  <a:lnTo>
                    <a:pt x="1055" y="5205"/>
                  </a:lnTo>
                  <a:lnTo>
                    <a:pt x="1055" y="5229"/>
                  </a:lnTo>
                  <a:close/>
                  <a:moveTo>
                    <a:pt x="1112" y="5124"/>
                  </a:moveTo>
                  <a:lnTo>
                    <a:pt x="1081" y="5068"/>
                  </a:lnTo>
                  <a:lnTo>
                    <a:pt x="1055" y="5068"/>
                  </a:lnTo>
                  <a:lnTo>
                    <a:pt x="1081" y="5124"/>
                  </a:lnTo>
                  <a:lnTo>
                    <a:pt x="1112" y="5124"/>
                  </a:lnTo>
                  <a:close/>
                  <a:moveTo>
                    <a:pt x="1112" y="5205"/>
                  </a:moveTo>
                  <a:lnTo>
                    <a:pt x="1136" y="5174"/>
                  </a:lnTo>
                  <a:lnTo>
                    <a:pt x="1112" y="5174"/>
                  </a:lnTo>
                  <a:lnTo>
                    <a:pt x="1112" y="5205"/>
                  </a:lnTo>
                  <a:close/>
                  <a:moveTo>
                    <a:pt x="1112" y="597"/>
                  </a:moveTo>
                  <a:lnTo>
                    <a:pt x="1136" y="565"/>
                  </a:lnTo>
                  <a:lnTo>
                    <a:pt x="1161" y="565"/>
                  </a:lnTo>
                  <a:lnTo>
                    <a:pt x="1161" y="540"/>
                  </a:lnTo>
                  <a:lnTo>
                    <a:pt x="1161" y="509"/>
                  </a:lnTo>
                  <a:lnTo>
                    <a:pt x="1161" y="484"/>
                  </a:lnTo>
                  <a:lnTo>
                    <a:pt x="1192" y="484"/>
                  </a:lnTo>
                  <a:lnTo>
                    <a:pt x="1217" y="429"/>
                  </a:lnTo>
                  <a:lnTo>
                    <a:pt x="1242" y="429"/>
                  </a:lnTo>
                  <a:lnTo>
                    <a:pt x="1242" y="403"/>
                  </a:lnTo>
                  <a:lnTo>
                    <a:pt x="1242" y="379"/>
                  </a:lnTo>
                  <a:lnTo>
                    <a:pt x="1242" y="348"/>
                  </a:lnTo>
                  <a:lnTo>
                    <a:pt x="1273" y="348"/>
                  </a:lnTo>
                  <a:lnTo>
                    <a:pt x="1273" y="379"/>
                  </a:lnTo>
                  <a:lnTo>
                    <a:pt x="1297" y="348"/>
                  </a:lnTo>
                  <a:lnTo>
                    <a:pt x="1328" y="322"/>
                  </a:lnTo>
                  <a:lnTo>
                    <a:pt x="1328" y="348"/>
                  </a:lnTo>
                  <a:lnTo>
                    <a:pt x="1328" y="379"/>
                  </a:lnTo>
                  <a:lnTo>
                    <a:pt x="1354" y="379"/>
                  </a:lnTo>
                  <a:lnTo>
                    <a:pt x="1354" y="403"/>
                  </a:lnTo>
                  <a:lnTo>
                    <a:pt x="1328" y="403"/>
                  </a:lnTo>
                  <a:lnTo>
                    <a:pt x="1328" y="429"/>
                  </a:lnTo>
                  <a:lnTo>
                    <a:pt x="1297" y="460"/>
                  </a:lnTo>
                  <a:lnTo>
                    <a:pt x="1297" y="484"/>
                  </a:lnTo>
                  <a:lnTo>
                    <a:pt x="1297" y="509"/>
                  </a:lnTo>
                  <a:lnTo>
                    <a:pt x="1328" y="540"/>
                  </a:lnTo>
                  <a:lnTo>
                    <a:pt x="1328" y="565"/>
                  </a:lnTo>
                  <a:lnTo>
                    <a:pt x="1354" y="565"/>
                  </a:lnTo>
                  <a:lnTo>
                    <a:pt x="1328" y="597"/>
                  </a:lnTo>
                  <a:lnTo>
                    <a:pt x="1297" y="565"/>
                  </a:lnTo>
                  <a:lnTo>
                    <a:pt x="1273" y="597"/>
                  </a:lnTo>
                  <a:lnTo>
                    <a:pt x="1297" y="597"/>
                  </a:lnTo>
                  <a:lnTo>
                    <a:pt x="1297" y="621"/>
                  </a:lnTo>
                  <a:lnTo>
                    <a:pt x="1297" y="645"/>
                  </a:lnTo>
                  <a:lnTo>
                    <a:pt x="1273" y="677"/>
                  </a:lnTo>
                  <a:lnTo>
                    <a:pt x="1297" y="645"/>
                  </a:lnTo>
                  <a:lnTo>
                    <a:pt x="1273" y="621"/>
                  </a:lnTo>
                  <a:lnTo>
                    <a:pt x="1242" y="621"/>
                  </a:lnTo>
                  <a:lnTo>
                    <a:pt x="1242" y="677"/>
                  </a:lnTo>
                  <a:lnTo>
                    <a:pt x="1217" y="677"/>
                  </a:lnTo>
                  <a:lnTo>
                    <a:pt x="1217" y="645"/>
                  </a:lnTo>
                  <a:lnTo>
                    <a:pt x="1192" y="621"/>
                  </a:lnTo>
                  <a:lnTo>
                    <a:pt x="1192" y="597"/>
                  </a:lnTo>
                  <a:lnTo>
                    <a:pt x="1161" y="565"/>
                  </a:lnTo>
                  <a:lnTo>
                    <a:pt x="1161" y="597"/>
                  </a:lnTo>
                  <a:lnTo>
                    <a:pt x="1112" y="597"/>
                  </a:lnTo>
                  <a:close/>
                  <a:moveTo>
                    <a:pt x="1161" y="5124"/>
                  </a:moveTo>
                  <a:lnTo>
                    <a:pt x="1161" y="5093"/>
                  </a:lnTo>
                  <a:lnTo>
                    <a:pt x="1136" y="5093"/>
                  </a:lnTo>
                  <a:lnTo>
                    <a:pt x="1161" y="5124"/>
                  </a:lnTo>
                  <a:close/>
                  <a:moveTo>
                    <a:pt x="1161" y="2651"/>
                  </a:moveTo>
                  <a:lnTo>
                    <a:pt x="1192" y="2651"/>
                  </a:lnTo>
                  <a:lnTo>
                    <a:pt x="1217" y="2651"/>
                  </a:lnTo>
                  <a:lnTo>
                    <a:pt x="1192" y="2627"/>
                  </a:lnTo>
                  <a:lnTo>
                    <a:pt x="1192" y="2603"/>
                  </a:lnTo>
                  <a:lnTo>
                    <a:pt x="1161" y="2603"/>
                  </a:lnTo>
                  <a:lnTo>
                    <a:pt x="1136" y="2627"/>
                  </a:lnTo>
                  <a:lnTo>
                    <a:pt x="1161" y="2651"/>
                  </a:lnTo>
                  <a:close/>
                  <a:moveTo>
                    <a:pt x="1217" y="5148"/>
                  </a:moveTo>
                  <a:lnTo>
                    <a:pt x="1217" y="5093"/>
                  </a:lnTo>
                  <a:lnTo>
                    <a:pt x="1192" y="5093"/>
                  </a:lnTo>
                  <a:lnTo>
                    <a:pt x="1192" y="5124"/>
                  </a:lnTo>
                  <a:lnTo>
                    <a:pt x="1217" y="5148"/>
                  </a:lnTo>
                  <a:close/>
                  <a:moveTo>
                    <a:pt x="1217" y="5205"/>
                  </a:moveTo>
                  <a:lnTo>
                    <a:pt x="1217" y="5174"/>
                  </a:lnTo>
                  <a:lnTo>
                    <a:pt x="1192" y="5205"/>
                  </a:lnTo>
                  <a:lnTo>
                    <a:pt x="1217" y="5205"/>
                  </a:lnTo>
                  <a:close/>
                  <a:moveTo>
                    <a:pt x="1273" y="5229"/>
                  </a:moveTo>
                  <a:lnTo>
                    <a:pt x="1328" y="5229"/>
                  </a:lnTo>
                  <a:lnTo>
                    <a:pt x="1354" y="5174"/>
                  </a:lnTo>
                  <a:lnTo>
                    <a:pt x="1328" y="5148"/>
                  </a:lnTo>
                  <a:lnTo>
                    <a:pt x="1328" y="5124"/>
                  </a:lnTo>
                  <a:lnTo>
                    <a:pt x="1297" y="5148"/>
                  </a:lnTo>
                  <a:lnTo>
                    <a:pt x="1273" y="5174"/>
                  </a:lnTo>
                  <a:lnTo>
                    <a:pt x="1242" y="5174"/>
                  </a:lnTo>
                  <a:lnTo>
                    <a:pt x="1242" y="5205"/>
                  </a:lnTo>
                  <a:lnTo>
                    <a:pt x="1217" y="5229"/>
                  </a:lnTo>
                  <a:lnTo>
                    <a:pt x="1242" y="5255"/>
                  </a:lnTo>
                  <a:lnTo>
                    <a:pt x="1273" y="5229"/>
                  </a:lnTo>
                  <a:close/>
                  <a:moveTo>
                    <a:pt x="1732" y="4391"/>
                  </a:moveTo>
                  <a:lnTo>
                    <a:pt x="1732" y="4360"/>
                  </a:lnTo>
                  <a:lnTo>
                    <a:pt x="1756" y="4360"/>
                  </a:lnTo>
                  <a:lnTo>
                    <a:pt x="1756" y="4279"/>
                  </a:lnTo>
                  <a:lnTo>
                    <a:pt x="1732" y="4254"/>
                  </a:lnTo>
                  <a:lnTo>
                    <a:pt x="1732" y="4199"/>
                  </a:lnTo>
                  <a:lnTo>
                    <a:pt x="1732" y="4142"/>
                  </a:lnTo>
                  <a:lnTo>
                    <a:pt x="1732" y="4118"/>
                  </a:lnTo>
                  <a:lnTo>
                    <a:pt x="1756" y="3981"/>
                  </a:lnTo>
                  <a:lnTo>
                    <a:pt x="1788" y="3956"/>
                  </a:lnTo>
                  <a:lnTo>
                    <a:pt x="1756" y="3931"/>
                  </a:lnTo>
                  <a:lnTo>
                    <a:pt x="1788" y="3931"/>
                  </a:lnTo>
                  <a:lnTo>
                    <a:pt x="1813" y="3956"/>
                  </a:lnTo>
                  <a:lnTo>
                    <a:pt x="1813" y="3981"/>
                  </a:lnTo>
                  <a:lnTo>
                    <a:pt x="1837" y="4037"/>
                  </a:lnTo>
                  <a:lnTo>
                    <a:pt x="1788" y="4012"/>
                  </a:lnTo>
                  <a:lnTo>
                    <a:pt x="1813" y="4118"/>
                  </a:lnTo>
                  <a:lnTo>
                    <a:pt x="1788" y="4142"/>
                  </a:lnTo>
                  <a:lnTo>
                    <a:pt x="1788" y="4199"/>
                  </a:lnTo>
                  <a:lnTo>
                    <a:pt x="1813" y="4199"/>
                  </a:lnTo>
                  <a:lnTo>
                    <a:pt x="1813" y="4254"/>
                  </a:lnTo>
                  <a:lnTo>
                    <a:pt x="1837" y="4279"/>
                  </a:lnTo>
                  <a:lnTo>
                    <a:pt x="1788" y="4310"/>
                  </a:lnTo>
                  <a:lnTo>
                    <a:pt x="1837" y="4472"/>
                  </a:lnTo>
                  <a:lnTo>
                    <a:pt x="1924" y="4441"/>
                  </a:lnTo>
                  <a:lnTo>
                    <a:pt x="1868" y="4472"/>
                  </a:lnTo>
                  <a:lnTo>
                    <a:pt x="1868" y="4496"/>
                  </a:lnTo>
                  <a:lnTo>
                    <a:pt x="1837" y="4527"/>
                  </a:lnTo>
                  <a:lnTo>
                    <a:pt x="1732" y="4415"/>
                  </a:lnTo>
                  <a:lnTo>
                    <a:pt x="1732" y="4391"/>
                  </a:lnTo>
                  <a:close/>
                  <a:moveTo>
                    <a:pt x="1813" y="5043"/>
                  </a:moveTo>
                  <a:lnTo>
                    <a:pt x="1837" y="5043"/>
                  </a:lnTo>
                  <a:lnTo>
                    <a:pt x="1837" y="5011"/>
                  </a:lnTo>
                  <a:lnTo>
                    <a:pt x="1813" y="5043"/>
                  </a:lnTo>
                  <a:close/>
                  <a:moveTo>
                    <a:pt x="1949" y="4092"/>
                  </a:moveTo>
                  <a:lnTo>
                    <a:pt x="1949" y="4061"/>
                  </a:lnTo>
                  <a:lnTo>
                    <a:pt x="1974" y="4092"/>
                  </a:lnTo>
                  <a:lnTo>
                    <a:pt x="2029" y="4092"/>
                  </a:lnTo>
                  <a:lnTo>
                    <a:pt x="2005" y="4037"/>
                  </a:lnTo>
                  <a:lnTo>
                    <a:pt x="2055" y="4037"/>
                  </a:lnTo>
                  <a:lnTo>
                    <a:pt x="2110" y="4173"/>
                  </a:lnTo>
                  <a:lnTo>
                    <a:pt x="2055" y="4199"/>
                  </a:lnTo>
                  <a:lnTo>
                    <a:pt x="2005" y="4142"/>
                  </a:lnTo>
                  <a:lnTo>
                    <a:pt x="1949" y="4118"/>
                  </a:lnTo>
                  <a:lnTo>
                    <a:pt x="1924" y="4118"/>
                  </a:lnTo>
                  <a:lnTo>
                    <a:pt x="1924" y="4092"/>
                  </a:lnTo>
                  <a:lnTo>
                    <a:pt x="1949" y="4092"/>
                  </a:lnTo>
                  <a:close/>
                  <a:moveTo>
                    <a:pt x="2247" y="4279"/>
                  </a:moveTo>
                  <a:lnTo>
                    <a:pt x="2222" y="4254"/>
                  </a:lnTo>
                  <a:lnTo>
                    <a:pt x="2383" y="4254"/>
                  </a:lnTo>
                  <a:lnTo>
                    <a:pt x="2383" y="4199"/>
                  </a:lnTo>
                  <a:lnTo>
                    <a:pt x="2328" y="4199"/>
                  </a:lnTo>
                  <a:lnTo>
                    <a:pt x="2303" y="4092"/>
                  </a:lnTo>
                  <a:lnTo>
                    <a:pt x="2383" y="4118"/>
                  </a:lnTo>
                  <a:lnTo>
                    <a:pt x="2409" y="4199"/>
                  </a:lnTo>
                  <a:lnTo>
                    <a:pt x="2409" y="4142"/>
                  </a:lnTo>
                  <a:lnTo>
                    <a:pt x="2433" y="4142"/>
                  </a:lnTo>
                  <a:lnTo>
                    <a:pt x="2464" y="4229"/>
                  </a:lnTo>
                  <a:lnTo>
                    <a:pt x="2489" y="4229"/>
                  </a:lnTo>
                  <a:lnTo>
                    <a:pt x="2601" y="4229"/>
                  </a:lnTo>
                  <a:lnTo>
                    <a:pt x="2625" y="4254"/>
                  </a:lnTo>
                  <a:lnTo>
                    <a:pt x="2520" y="4391"/>
                  </a:lnTo>
                  <a:lnTo>
                    <a:pt x="2489" y="4391"/>
                  </a:lnTo>
                  <a:lnTo>
                    <a:pt x="2520" y="4335"/>
                  </a:lnTo>
                  <a:lnTo>
                    <a:pt x="2433" y="4310"/>
                  </a:lnTo>
                  <a:lnTo>
                    <a:pt x="2352" y="4335"/>
                  </a:lnTo>
                  <a:lnTo>
                    <a:pt x="2328" y="4279"/>
                  </a:lnTo>
                  <a:lnTo>
                    <a:pt x="2247" y="4279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36" name="Freeform 72">
              <a:extLst>
                <a:ext uri="{FF2B5EF4-FFF2-40B4-BE49-F238E27FC236}">
                  <a16:creationId xmlns:a16="http://schemas.microsoft.com/office/drawing/2014/main" id="{80236ACB-B502-401F-9F00-190C268418E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112577" y="434454"/>
              <a:ext cx="865225" cy="2381041"/>
            </a:xfrm>
            <a:custGeom>
              <a:avLst/>
              <a:gdLst/>
              <a:ahLst/>
              <a:cxnLst>
                <a:cxn ang="0">
                  <a:pos x="0" y="5417"/>
                </a:cxn>
                <a:cxn ang="0">
                  <a:pos x="105" y="5529"/>
                </a:cxn>
                <a:cxn ang="0">
                  <a:pos x="187" y="5634"/>
                </a:cxn>
                <a:cxn ang="0">
                  <a:pos x="242" y="5964"/>
                </a:cxn>
                <a:cxn ang="0">
                  <a:pos x="323" y="6230"/>
                </a:cxn>
                <a:cxn ang="0">
                  <a:pos x="508" y="6528"/>
                </a:cxn>
                <a:cxn ang="0">
                  <a:pos x="540" y="6825"/>
                </a:cxn>
                <a:cxn ang="0">
                  <a:pos x="676" y="7074"/>
                </a:cxn>
                <a:cxn ang="0">
                  <a:pos x="894" y="6825"/>
                </a:cxn>
                <a:cxn ang="0">
                  <a:pos x="1272" y="6639"/>
                </a:cxn>
                <a:cxn ang="0">
                  <a:pos x="1490" y="6012"/>
                </a:cxn>
                <a:cxn ang="0">
                  <a:pos x="1459" y="5771"/>
                </a:cxn>
                <a:cxn ang="0">
                  <a:pos x="1353" y="5473"/>
                </a:cxn>
                <a:cxn ang="0">
                  <a:pos x="1515" y="5368"/>
                </a:cxn>
                <a:cxn ang="0">
                  <a:pos x="1676" y="5175"/>
                </a:cxn>
                <a:cxn ang="0">
                  <a:pos x="1894" y="4933"/>
                </a:cxn>
                <a:cxn ang="0">
                  <a:pos x="1894" y="4741"/>
                </a:cxn>
                <a:cxn ang="0">
                  <a:pos x="1788" y="4555"/>
                </a:cxn>
                <a:cxn ang="0">
                  <a:pos x="1490" y="4337"/>
                </a:cxn>
                <a:cxn ang="0">
                  <a:pos x="1379" y="3792"/>
                </a:cxn>
                <a:cxn ang="0">
                  <a:pos x="1459" y="3388"/>
                </a:cxn>
                <a:cxn ang="0">
                  <a:pos x="1571" y="3170"/>
                </a:cxn>
                <a:cxn ang="0">
                  <a:pos x="1732" y="2898"/>
                </a:cxn>
                <a:cxn ang="0">
                  <a:pos x="1975" y="2656"/>
                </a:cxn>
                <a:cxn ang="0">
                  <a:pos x="2167" y="2277"/>
                </a:cxn>
                <a:cxn ang="0">
                  <a:pos x="2055" y="2085"/>
                </a:cxn>
                <a:cxn ang="0">
                  <a:pos x="2136" y="1763"/>
                </a:cxn>
                <a:cxn ang="0">
                  <a:pos x="2217" y="1545"/>
                </a:cxn>
                <a:cxn ang="0">
                  <a:pos x="2409" y="1247"/>
                </a:cxn>
                <a:cxn ang="0">
                  <a:pos x="2272" y="788"/>
                </a:cxn>
                <a:cxn ang="0">
                  <a:pos x="2086" y="378"/>
                </a:cxn>
                <a:cxn ang="0">
                  <a:pos x="1702" y="111"/>
                </a:cxn>
                <a:cxn ang="0">
                  <a:pos x="1459" y="354"/>
                </a:cxn>
                <a:cxn ang="0">
                  <a:pos x="944" y="813"/>
                </a:cxn>
                <a:cxn ang="0">
                  <a:pos x="621" y="1868"/>
                </a:cxn>
                <a:cxn ang="0">
                  <a:pos x="460" y="2631"/>
                </a:cxn>
                <a:cxn ang="0">
                  <a:pos x="267" y="3655"/>
                </a:cxn>
                <a:cxn ang="0">
                  <a:pos x="298" y="4605"/>
                </a:cxn>
                <a:cxn ang="0">
                  <a:pos x="130" y="5311"/>
                </a:cxn>
                <a:cxn ang="0">
                  <a:pos x="105" y="5746"/>
                </a:cxn>
                <a:cxn ang="0">
                  <a:pos x="508" y="5337"/>
                </a:cxn>
                <a:cxn ang="0">
                  <a:pos x="540" y="5150"/>
                </a:cxn>
                <a:cxn ang="0">
                  <a:pos x="646" y="5119"/>
                </a:cxn>
                <a:cxn ang="0">
                  <a:pos x="726" y="5231"/>
                </a:cxn>
                <a:cxn ang="0">
                  <a:pos x="646" y="5448"/>
                </a:cxn>
                <a:cxn ang="0">
                  <a:pos x="460" y="5473"/>
                </a:cxn>
                <a:cxn ang="0">
                  <a:pos x="323" y="5610"/>
                </a:cxn>
                <a:cxn ang="0">
                  <a:pos x="347" y="5368"/>
                </a:cxn>
                <a:cxn ang="0">
                  <a:pos x="783" y="5827"/>
                </a:cxn>
                <a:cxn ang="0">
                  <a:pos x="863" y="5498"/>
                </a:cxn>
                <a:cxn ang="0">
                  <a:pos x="975" y="5392"/>
                </a:cxn>
                <a:cxn ang="0">
                  <a:pos x="919" y="5554"/>
                </a:cxn>
                <a:cxn ang="0">
                  <a:pos x="783" y="5852"/>
                </a:cxn>
                <a:cxn ang="0">
                  <a:pos x="1621" y="6012"/>
                </a:cxn>
                <a:cxn ang="0">
                  <a:pos x="1813" y="4443"/>
                </a:cxn>
                <a:cxn ang="0">
                  <a:pos x="2030" y="5964"/>
                </a:cxn>
                <a:cxn ang="0">
                  <a:pos x="2030" y="5665"/>
                </a:cxn>
                <a:cxn ang="0">
                  <a:pos x="1918" y="6174"/>
                </a:cxn>
              </a:cxnLst>
              <a:rect l="0" t="0" r="r" b="b"/>
              <a:pathLst>
                <a:path w="2571" h="7074">
                  <a:moveTo>
                    <a:pt x="49" y="5231"/>
                  </a:moveTo>
                  <a:lnTo>
                    <a:pt x="25" y="5231"/>
                  </a:lnTo>
                  <a:lnTo>
                    <a:pt x="0" y="5256"/>
                  </a:lnTo>
                  <a:lnTo>
                    <a:pt x="0" y="5280"/>
                  </a:lnTo>
                  <a:lnTo>
                    <a:pt x="0" y="5311"/>
                  </a:lnTo>
                  <a:lnTo>
                    <a:pt x="25" y="5311"/>
                  </a:lnTo>
                  <a:lnTo>
                    <a:pt x="25" y="5368"/>
                  </a:lnTo>
                  <a:lnTo>
                    <a:pt x="25" y="5392"/>
                  </a:lnTo>
                  <a:lnTo>
                    <a:pt x="25" y="5417"/>
                  </a:lnTo>
                  <a:lnTo>
                    <a:pt x="0" y="5417"/>
                  </a:lnTo>
                  <a:lnTo>
                    <a:pt x="25" y="5448"/>
                  </a:lnTo>
                  <a:lnTo>
                    <a:pt x="25" y="5529"/>
                  </a:lnTo>
                  <a:lnTo>
                    <a:pt x="49" y="5554"/>
                  </a:lnTo>
                  <a:lnTo>
                    <a:pt x="25" y="5554"/>
                  </a:lnTo>
                  <a:lnTo>
                    <a:pt x="25" y="5610"/>
                  </a:lnTo>
                  <a:lnTo>
                    <a:pt x="80" y="5579"/>
                  </a:lnTo>
                  <a:lnTo>
                    <a:pt x="80" y="5634"/>
                  </a:lnTo>
                  <a:lnTo>
                    <a:pt x="105" y="5634"/>
                  </a:lnTo>
                  <a:lnTo>
                    <a:pt x="105" y="5579"/>
                  </a:lnTo>
                  <a:lnTo>
                    <a:pt x="105" y="5529"/>
                  </a:lnTo>
                  <a:lnTo>
                    <a:pt x="130" y="5554"/>
                  </a:lnTo>
                  <a:lnTo>
                    <a:pt x="161" y="5554"/>
                  </a:lnTo>
                  <a:lnTo>
                    <a:pt x="130" y="5579"/>
                  </a:lnTo>
                  <a:lnTo>
                    <a:pt x="105" y="5634"/>
                  </a:lnTo>
                  <a:lnTo>
                    <a:pt x="130" y="5665"/>
                  </a:lnTo>
                  <a:lnTo>
                    <a:pt x="161" y="5610"/>
                  </a:lnTo>
                  <a:lnTo>
                    <a:pt x="187" y="5610"/>
                  </a:lnTo>
                  <a:lnTo>
                    <a:pt x="211" y="5579"/>
                  </a:lnTo>
                  <a:lnTo>
                    <a:pt x="211" y="5610"/>
                  </a:lnTo>
                  <a:lnTo>
                    <a:pt x="187" y="5634"/>
                  </a:lnTo>
                  <a:lnTo>
                    <a:pt x="211" y="5665"/>
                  </a:lnTo>
                  <a:lnTo>
                    <a:pt x="187" y="5771"/>
                  </a:lnTo>
                  <a:lnTo>
                    <a:pt x="161" y="5827"/>
                  </a:lnTo>
                  <a:lnTo>
                    <a:pt x="161" y="5876"/>
                  </a:lnTo>
                  <a:lnTo>
                    <a:pt x="187" y="5876"/>
                  </a:lnTo>
                  <a:lnTo>
                    <a:pt x="187" y="5907"/>
                  </a:lnTo>
                  <a:lnTo>
                    <a:pt x="187" y="5932"/>
                  </a:lnTo>
                  <a:lnTo>
                    <a:pt x="211" y="5932"/>
                  </a:lnTo>
                  <a:lnTo>
                    <a:pt x="211" y="5964"/>
                  </a:lnTo>
                  <a:lnTo>
                    <a:pt x="242" y="5964"/>
                  </a:lnTo>
                  <a:lnTo>
                    <a:pt x="242" y="5988"/>
                  </a:lnTo>
                  <a:lnTo>
                    <a:pt x="211" y="6043"/>
                  </a:lnTo>
                  <a:lnTo>
                    <a:pt x="242" y="6043"/>
                  </a:lnTo>
                  <a:lnTo>
                    <a:pt x="211" y="6069"/>
                  </a:lnTo>
                  <a:lnTo>
                    <a:pt x="242" y="6093"/>
                  </a:lnTo>
                  <a:lnTo>
                    <a:pt x="267" y="6093"/>
                  </a:lnTo>
                  <a:lnTo>
                    <a:pt x="267" y="6043"/>
                  </a:lnTo>
                  <a:lnTo>
                    <a:pt x="298" y="6124"/>
                  </a:lnTo>
                  <a:lnTo>
                    <a:pt x="298" y="6150"/>
                  </a:lnTo>
                  <a:lnTo>
                    <a:pt x="323" y="6230"/>
                  </a:lnTo>
                  <a:lnTo>
                    <a:pt x="347" y="6261"/>
                  </a:lnTo>
                  <a:lnTo>
                    <a:pt x="347" y="6311"/>
                  </a:lnTo>
                  <a:lnTo>
                    <a:pt x="403" y="6311"/>
                  </a:lnTo>
                  <a:lnTo>
                    <a:pt x="428" y="6342"/>
                  </a:lnTo>
                  <a:lnTo>
                    <a:pt x="428" y="6392"/>
                  </a:lnTo>
                  <a:lnTo>
                    <a:pt x="460" y="6423"/>
                  </a:lnTo>
                  <a:lnTo>
                    <a:pt x="484" y="6447"/>
                  </a:lnTo>
                  <a:lnTo>
                    <a:pt x="508" y="6423"/>
                  </a:lnTo>
                  <a:lnTo>
                    <a:pt x="540" y="6503"/>
                  </a:lnTo>
                  <a:lnTo>
                    <a:pt x="508" y="6528"/>
                  </a:lnTo>
                  <a:lnTo>
                    <a:pt x="484" y="6528"/>
                  </a:lnTo>
                  <a:lnTo>
                    <a:pt x="460" y="6559"/>
                  </a:lnTo>
                  <a:lnTo>
                    <a:pt x="484" y="6584"/>
                  </a:lnTo>
                  <a:lnTo>
                    <a:pt x="508" y="6639"/>
                  </a:lnTo>
                  <a:lnTo>
                    <a:pt x="484" y="6639"/>
                  </a:lnTo>
                  <a:lnTo>
                    <a:pt x="403" y="6609"/>
                  </a:lnTo>
                  <a:lnTo>
                    <a:pt x="428" y="6639"/>
                  </a:lnTo>
                  <a:lnTo>
                    <a:pt x="428" y="6689"/>
                  </a:lnTo>
                  <a:lnTo>
                    <a:pt x="484" y="6720"/>
                  </a:lnTo>
                  <a:lnTo>
                    <a:pt x="540" y="6825"/>
                  </a:lnTo>
                  <a:lnTo>
                    <a:pt x="565" y="6857"/>
                  </a:lnTo>
                  <a:lnTo>
                    <a:pt x="596" y="6906"/>
                  </a:lnTo>
                  <a:lnTo>
                    <a:pt x="596" y="6937"/>
                  </a:lnTo>
                  <a:lnTo>
                    <a:pt x="565" y="6962"/>
                  </a:lnTo>
                  <a:lnTo>
                    <a:pt x="565" y="7018"/>
                  </a:lnTo>
                  <a:lnTo>
                    <a:pt x="565" y="7043"/>
                  </a:lnTo>
                  <a:lnTo>
                    <a:pt x="540" y="7018"/>
                  </a:lnTo>
                  <a:lnTo>
                    <a:pt x="540" y="7043"/>
                  </a:lnTo>
                  <a:lnTo>
                    <a:pt x="596" y="7043"/>
                  </a:lnTo>
                  <a:lnTo>
                    <a:pt x="676" y="7074"/>
                  </a:lnTo>
                  <a:lnTo>
                    <a:pt x="783" y="7018"/>
                  </a:lnTo>
                  <a:lnTo>
                    <a:pt x="838" y="7018"/>
                  </a:lnTo>
                  <a:lnTo>
                    <a:pt x="894" y="7043"/>
                  </a:lnTo>
                  <a:lnTo>
                    <a:pt x="919" y="7043"/>
                  </a:lnTo>
                  <a:lnTo>
                    <a:pt x="975" y="6962"/>
                  </a:lnTo>
                  <a:lnTo>
                    <a:pt x="975" y="6937"/>
                  </a:lnTo>
                  <a:lnTo>
                    <a:pt x="944" y="6937"/>
                  </a:lnTo>
                  <a:lnTo>
                    <a:pt x="944" y="6906"/>
                  </a:lnTo>
                  <a:lnTo>
                    <a:pt x="919" y="6882"/>
                  </a:lnTo>
                  <a:lnTo>
                    <a:pt x="894" y="6825"/>
                  </a:lnTo>
                  <a:lnTo>
                    <a:pt x="919" y="6777"/>
                  </a:lnTo>
                  <a:lnTo>
                    <a:pt x="999" y="6689"/>
                  </a:lnTo>
                  <a:lnTo>
                    <a:pt x="1025" y="6746"/>
                  </a:lnTo>
                  <a:lnTo>
                    <a:pt x="1056" y="6720"/>
                  </a:lnTo>
                  <a:lnTo>
                    <a:pt x="1056" y="6665"/>
                  </a:lnTo>
                  <a:lnTo>
                    <a:pt x="1106" y="6639"/>
                  </a:lnTo>
                  <a:lnTo>
                    <a:pt x="1192" y="6639"/>
                  </a:lnTo>
                  <a:lnTo>
                    <a:pt x="1217" y="6665"/>
                  </a:lnTo>
                  <a:lnTo>
                    <a:pt x="1242" y="6665"/>
                  </a:lnTo>
                  <a:lnTo>
                    <a:pt x="1272" y="6639"/>
                  </a:lnTo>
                  <a:lnTo>
                    <a:pt x="1322" y="6639"/>
                  </a:lnTo>
                  <a:lnTo>
                    <a:pt x="1353" y="6665"/>
                  </a:lnTo>
                  <a:lnTo>
                    <a:pt x="1403" y="6559"/>
                  </a:lnTo>
                  <a:lnTo>
                    <a:pt x="1434" y="6447"/>
                  </a:lnTo>
                  <a:lnTo>
                    <a:pt x="1459" y="6311"/>
                  </a:lnTo>
                  <a:lnTo>
                    <a:pt x="1459" y="6205"/>
                  </a:lnTo>
                  <a:lnTo>
                    <a:pt x="1490" y="6150"/>
                  </a:lnTo>
                  <a:lnTo>
                    <a:pt x="1434" y="6093"/>
                  </a:lnTo>
                  <a:lnTo>
                    <a:pt x="1459" y="6043"/>
                  </a:lnTo>
                  <a:lnTo>
                    <a:pt x="1490" y="6012"/>
                  </a:lnTo>
                  <a:lnTo>
                    <a:pt x="1490" y="5932"/>
                  </a:lnTo>
                  <a:lnTo>
                    <a:pt x="1459" y="5907"/>
                  </a:lnTo>
                  <a:lnTo>
                    <a:pt x="1490" y="5876"/>
                  </a:lnTo>
                  <a:lnTo>
                    <a:pt x="1490" y="5827"/>
                  </a:lnTo>
                  <a:lnTo>
                    <a:pt x="1515" y="5796"/>
                  </a:lnTo>
                  <a:lnTo>
                    <a:pt x="1459" y="5796"/>
                  </a:lnTo>
                  <a:lnTo>
                    <a:pt x="1434" y="5796"/>
                  </a:lnTo>
                  <a:lnTo>
                    <a:pt x="1403" y="5771"/>
                  </a:lnTo>
                  <a:lnTo>
                    <a:pt x="1403" y="5746"/>
                  </a:lnTo>
                  <a:lnTo>
                    <a:pt x="1459" y="5771"/>
                  </a:lnTo>
                  <a:lnTo>
                    <a:pt x="1434" y="5691"/>
                  </a:lnTo>
                  <a:lnTo>
                    <a:pt x="1490" y="5715"/>
                  </a:lnTo>
                  <a:lnTo>
                    <a:pt x="1515" y="5715"/>
                  </a:lnTo>
                  <a:lnTo>
                    <a:pt x="1459" y="5610"/>
                  </a:lnTo>
                  <a:lnTo>
                    <a:pt x="1459" y="5579"/>
                  </a:lnTo>
                  <a:lnTo>
                    <a:pt x="1490" y="5579"/>
                  </a:lnTo>
                  <a:lnTo>
                    <a:pt x="1490" y="5529"/>
                  </a:lnTo>
                  <a:lnTo>
                    <a:pt x="1459" y="5529"/>
                  </a:lnTo>
                  <a:lnTo>
                    <a:pt x="1459" y="5498"/>
                  </a:lnTo>
                  <a:lnTo>
                    <a:pt x="1353" y="5473"/>
                  </a:lnTo>
                  <a:lnTo>
                    <a:pt x="1434" y="5448"/>
                  </a:lnTo>
                  <a:lnTo>
                    <a:pt x="1459" y="5448"/>
                  </a:lnTo>
                  <a:lnTo>
                    <a:pt x="1490" y="5417"/>
                  </a:lnTo>
                  <a:lnTo>
                    <a:pt x="1434" y="5417"/>
                  </a:lnTo>
                  <a:lnTo>
                    <a:pt x="1403" y="5392"/>
                  </a:lnTo>
                  <a:lnTo>
                    <a:pt x="1353" y="5392"/>
                  </a:lnTo>
                  <a:lnTo>
                    <a:pt x="1298" y="5392"/>
                  </a:lnTo>
                  <a:lnTo>
                    <a:pt x="1379" y="5368"/>
                  </a:lnTo>
                  <a:lnTo>
                    <a:pt x="1459" y="5368"/>
                  </a:lnTo>
                  <a:lnTo>
                    <a:pt x="1515" y="5368"/>
                  </a:lnTo>
                  <a:lnTo>
                    <a:pt x="1515" y="5337"/>
                  </a:lnTo>
                  <a:lnTo>
                    <a:pt x="1571" y="5311"/>
                  </a:lnTo>
                  <a:lnTo>
                    <a:pt x="1540" y="5280"/>
                  </a:lnTo>
                  <a:lnTo>
                    <a:pt x="1595" y="5280"/>
                  </a:lnTo>
                  <a:lnTo>
                    <a:pt x="1595" y="5256"/>
                  </a:lnTo>
                  <a:lnTo>
                    <a:pt x="1621" y="5256"/>
                  </a:lnTo>
                  <a:lnTo>
                    <a:pt x="1652" y="5200"/>
                  </a:lnTo>
                  <a:lnTo>
                    <a:pt x="1652" y="5150"/>
                  </a:lnTo>
                  <a:lnTo>
                    <a:pt x="1676" y="5119"/>
                  </a:lnTo>
                  <a:lnTo>
                    <a:pt x="1676" y="5175"/>
                  </a:lnTo>
                  <a:lnTo>
                    <a:pt x="1732" y="5175"/>
                  </a:lnTo>
                  <a:lnTo>
                    <a:pt x="1757" y="5200"/>
                  </a:lnTo>
                  <a:lnTo>
                    <a:pt x="1757" y="5095"/>
                  </a:lnTo>
                  <a:lnTo>
                    <a:pt x="1788" y="5095"/>
                  </a:lnTo>
                  <a:lnTo>
                    <a:pt x="1838" y="5038"/>
                  </a:lnTo>
                  <a:lnTo>
                    <a:pt x="1813" y="5038"/>
                  </a:lnTo>
                  <a:lnTo>
                    <a:pt x="1838" y="5014"/>
                  </a:lnTo>
                  <a:lnTo>
                    <a:pt x="1813" y="4983"/>
                  </a:lnTo>
                  <a:lnTo>
                    <a:pt x="1869" y="4983"/>
                  </a:lnTo>
                  <a:lnTo>
                    <a:pt x="1894" y="4933"/>
                  </a:lnTo>
                  <a:lnTo>
                    <a:pt x="1838" y="4933"/>
                  </a:lnTo>
                  <a:lnTo>
                    <a:pt x="1757" y="4959"/>
                  </a:lnTo>
                  <a:lnTo>
                    <a:pt x="1757" y="4933"/>
                  </a:lnTo>
                  <a:lnTo>
                    <a:pt x="1813" y="4902"/>
                  </a:lnTo>
                  <a:lnTo>
                    <a:pt x="1813" y="4878"/>
                  </a:lnTo>
                  <a:lnTo>
                    <a:pt x="1869" y="4852"/>
                  </a:lnTo>
                  <a:lnTo>
                    <a:pt x="1894" y="4766"/>
                  </a:lnTo>
                  <a:lnTo>
                    <a:pt x="1949" y="4766"/>
                  </a:lnTo>
                  <a:lnTo>
                    <a:pt x="1949" y="4741"/>
                  </a:lnTo>
                  <a:lnTo>
                    <a:pt x="1894" y="4741"/>
                  </a:lnTo>
                  <a:lnTo>
                    <a:pt x="1918" y="4685"/>
                  </a:lnTo>
                  <a:lnTo>
                    <a:pt x="1894" y="4636"/>
                  </a:lnTo>
                  <a:lnTo>
                    <a:pt x="1949" y="4660"/>
                  </a:lnTo>
                  <a:lnTo>
                    <a:pt x="1918" y="4605"/>
                  </a:lnTo>
                  <a:lnTo>
                    <a:pt x="1894" y="4555"/>
                  </a:lnTo>
                  <a:lnTo>
                    <a:pt x="1894" y="4579"/>
                  </a:lnTo>
                  <a:lnTo>
                    <a:pt x="1838" y="4555"/>
                  </a:lnTo>
                  <a:lnTo>
                    <a:pt x="1838" y="4579"/>
                  </a:lnTo>
                  <a:lnTo>
                    <a:pt x="1813" y="4555"/>
                  </a:lnTo>
                  <a:lnTo>
                    <a:pt x="1788" y="4555"/>
                  </a:lnTo>
                  <a:lnTo>
                    <a:pt x="1788" y="4499"/>
                  </a:lnTo>
                  <a:lnTo>
                    <a:pt x="1813" y="4499"/>
                  </a:lnTo>
                  <a:lnTo>
                    <a:pt x="1788" y="4468"/>
                  </a:lnTo>
                  <a:lnTo>
                    <a:pt x="1732" y="4468"/>
                  </a:lnTo>
                  <a:lnTo>
                    <a:pt x="1732" y="4443"/>
                  </a:lnTo>
                  <a:lnTo>
                    <a:pt x="1676" y="4443"/>
                  </a:lnTo>
                  <a:lnTo>
                    <a:pt x="1652" y="4337"/>
                  </a:lnTo>
                  <a:lnTo>
                    <a:pt x="1595" y="4362"/>
                  </a:lnTo>
                  <a:lnTo>
                    <a:pt x="1540" y="4306"/>
                  </a:lnTo>
                  <a:lnTo>
                    <a:pt x="1490" y="4337"/>
                  </a:lnTo>
                  <a:lnTo>
                    <a:pt x="1459" y="4306"/>
                  </a:lnTo>
                  <a:lnTo>
                    <a:pt x="1434" y="4282"/>
                  </a:lnTo>
                  <a:lnTo>
                    <a:pt x="1434" y="4201"/>
                  </a:lnTo>
                  <a:lnTo>
                    <a:pt x="1434" y="4170"/>
                  </a:lnTo>
                  <a:lnTo>
                    <a:pt x="1403" y="4089"/>
                  </a:lnTo>
                  <a:lnTo>
                    <a:pt x="1434" y="4040"/>
                  </a:lnTo>
                  <a:lnTo>
                    <a:pt x="1403" y="3984"/>
                  </a:lnTo>
                  <a:lnTo>
                    <a:pt x="1403" y="3873"/>
                  </a:lnTo>
                  <a:lnTo>
                    <a:pt x="1403" y="3847"/>
                  </a:lnTo>
                  <a:lnTo>
                    <a:pt x="1379" y="3792"/>
                  </a:lnTo>
                  <a:lnTo>
                    <a:pt x="1459" y="3823"/>
                  </a:lnTo>
                  <a:lnTo>
                    <a:pt x="1403" y="3711"/>
                  </a:lnTo>
                  <a:lnTo>
                    <a:pt x="1434" y="3655"/>
                  </a:lnTo>
                  <a:lnTo>
                    <a:pt x="1434" y="3574"/>
                  </a:lnTo>
                  <a:lnTo>
                    <a:pt x="1459" y="3524"/>
                  </a:lnTo>
                  <a:lnTo>
                    <a:pt x="1403" y="3493"/>
                  </a:lnTo>
                  <a:lnTo>
                    <a:pt x="1434" y="3443"/>
                  </a:lnTo>
                  <a:lnTo>
                    <a:pt x="1379" y="3357"/>
                  </a:lnTo>
                  <a:lnTo>
                    <a:pt x="1403" y="3357"/>
                  </a:lnTo>
                  <a:lnTo>
                    <a:pt x="1459" y="3388"/>
                  </a:lnTo>
                  <a:lnTo>
                    <a:pt x="1515" y="3357"/>
                  </a:lnTo>
                  <a:lnTo>
                    <a:pt x="1515" y="3251"/>
                  </a:lnTo>
                  <a:lnTo>
                    <a:pt x="1459" y="3227"/>
                  </a:lnTo>
                  <a:lnTo>
                    <a:pt x="1459" y="3196"/>
                  </a:lnTo>
                  <a:lnTo>
                    <a:pt x="1434" y="3146"/>
                  </a:lnTo>
                  <a:lnTo>
                    <a:pt x="1434" y="3060"/>
                  </a:lnTo>
                  <a:lnTo>
                    <a:pt x="1459" y="3146"/>
                  </a:lnTo>
                  <a:lnTo>
                    <a:pt x="1490" y="3196"/>
                  </a:lnTo>
                  <a:lnTo>
                    <a:pt x="1540" y="3227"/>
                  </a:lnTo>
                  <a:lnTo>
                    <a:pt x="1571" y="3170"/>
                  </a:lnTo>
                  <a:lnTo>
                    <a:pt x="1595" y="3196"/>
                  </a:lnTo>
                  <a:lnTo>
                    <a:pt x="1595" y="3170"/>
                  </a:lnTo>
                  <a:lnTo>
                    <a:pt x="1595" y="3115"/>
                  </a:lnTo>
                  <a:lnTo>
                    <a:pt x="1571" y="3091"/>
                  </a:lnTo>
                  <a:lnTo>
                    <a:pt x="1595" y="3060"/>
                  </a:lnTo>
                  <a:lnTo>
                    <a:pt x="1595" y="3034"/>
                  </a:lnTo>
                  <a:lnTo>
                    <a:pt x="1652" y="2979"/>
                  </a:lnTo>
                  <a:lnTo>
                    <a:pt x="1676" y="2954"/>
                  </a:lnTo>
                  <a:lnTo>
                    <a:pt x="1732" y="2979"/>
                  </a:lnTo>
                  <a:lnTo>
                    <a:pt x="1732" y="2898"/>
                  </a:lnTo>
                  <a:lnTo>
                    <a:pt x="1757" y="2873"/>
                  </a:lnTo>
                  <a:lnTo>
                    <a:pt x="1757" y="2818"/>
                  </a:lnTo>
                  <a:lnTo>
                    <a:pt x="1788" y="2792"/>
                  </a:lnTo>
                  <a:lnTo>
                    <a:pt x="1838" y="2818"/>
                  </a:lnTo>
                  <a:lnTo>
                    <a:pt x="1869" y="2761"/>
                  </a:lnTo>
                  <a:lnTo>
                    <a:pt x="1894" y="2737"/>
                  </a:lnTo>
                  <a:lnTo>
                    <a:pt x="1894" y="2711"/>
                  </a:lnTo>
                  <a:lnTo>
                    <a:pt x="1918" y="2711"/>
                  </a:lnTo>
                  <a:lnTo>
                    <a:pt x="1949" y="2680"/>
                  </a:lnTo>
                  <a:lnTo>
                    <a:pt x="1975" y="2656"/>
                  </a:lnTo>
                  <a:lnTo>
                    <a:pt x="2030" y="2656"/>
                  </a:lnTo>
                  <a:lnTo>
                    <a:pt x="2030" y="2631"/>
                  </a:lnTo>
                  <a:lnTo>
                    <a:pt x="2055" y="2575"/>
                  </a:lnTo>
                  <a:lnTo>
                    <a:pt x="2055" y="2550"/>
                  </a:lnTo>
                  <a:lnTo>
                    <a:pt x="2055" y="2495"/>
                  </a:lnTo>
                  <a:lnTo>
                    <a:pt x="2055" y="2464"/>
                  </a:lnTo>
                  <a:lnTo>
                    <a:pt x="2086" y="2438"/>
                  </a:lnTo>
                  <a:lnTo>
                    <a:pt x="2111" y="2358"/>
                  </a:lnTo>
                  <a:lnTo>
                    <a:pt x="2136" y="2358"/>
                  </a:lnTo>
                  <a:lnTo>
                    <a:pt x="2167" y="2277"/>
                  </a:lnTo>
                  <a:lnTo>
                    <a:pt x="2136" y="2277"/>
                  </a:lnTo>
                  <a:lnTo>
                    <a:pt x="2167" y="2222"/>
                  </a:lnTo>
                  <a:lnTo>
                    <a:pt x="2136" y="2197"/>
                  </a:lnTo>
                  <a:lnTo>
                    <a:pt x="2111" y="2222"/>
                  </a:lnTo>
                  <a:lnTo>
                    <a:pt x="2055" y="2165"/>
                  </a:lnTo>
                  <a:lnTo>
                    <a:pt x="2086" y="2165"/>
                  </a:lnTo>
                  <a:lnTo>
                    <a:pt x="2086" y="2141"/>
                  </a:lnTo>
                  <a:lnTo>
                    <a:pt x="2030" y="2141"/>
                  </a:lnTo>
                  <a:lnTo>
                    <a:pt x="2030" y="2116"/>
                  </a:lnTo>
                  <a:lnTo>
                    <a:pt x="2055" y="2085"/>
                  </a:lnTo>
                  <a:lnTo>
                    <a:pt x="2055" y="2060"/>
                  </a:lnTo>
                  <a:lnTo>
                    <a:pt x="2086" y="2005"/>
                  </a:lnTo>
                  <a:lnTo>
                    <a:pt x="2086" y="1924"/>
                  </a:lnTo>
                  <a:lnTo>
                    <a:pt x="2030" y="1843"/>
                  </a:lnTo>
                  <a:lnTo>
                    <a:pt x="2055" y="1818"/>
                  </a:lnTo>
                  <a:lnTo>
                    <a:pt x="2111" y="1868"/>
                  </a:lnTo>
                  <a:lnTo>
                    <a:pt x="2111" y="1843"/>
                  </a:lnTo>
                  <a:lnTo>
                    <a:pt x="2055" y="1787"/>
                  </a:lnTo>
                  <a:lnTo>
                    <a:pt x="2086" y="1763"/>
                  </a:lnTo>
                  <a:lnTo>
                    <a:pt x="2136" y="1763"/>
                  </a:lnTo>
                  <a:lnTo>
                    <a:pt x="2136" y="1737"/>
                  </a:lnTo>
                  <a:lnTo>
                    <a:pt x="2191" y="1682"/>
                  </a:lnTo>
                  <a:lnTo>
                    <a:pt x="2111" y="1651"/>
                  </a:lnTo>
                  <a:lnTo>
                    <a:pt x="2111" y="1625"/>
                  </a:lnTo>
                  <a:lnTo>
                    <a:pt x="2167" y="1651"/>
                  </a:lnTo>
                  <a:lnTo>
                    <a:pt x="2191" y="1651"/>
                  </a:lnTo>
                  <a:lnTo>
                    <a:pt x="2217" y="1601"/>
                  </a:lnTo>
                  <a:lnTo>
                    <a:pt x="2191" y="1570"/>
                  </a:lnTo>
                  <a:lnTo>
                    <a:pt x="2217" y="1489"/>
                  </a:lnTo>
                  <a:lnTo>
                    <a:pt x="2217" y="1545"/>
                  </a:lnTo>
                  <a:lnTo>
                    <a:pt x="2248" y="1545"/>
                  </a:lnTo>
                  <a:lnTo>
                    <a:pt x="2272" y="1489"/>
                  </a:lnTo>
                  <a:lnTo>
                    <a:pt x="2298" y="1489"/>
                  </a:lnTo>
                  <a:lnTo>
                    <a:pt x="2298" y="1520"/>
                  </a:lnTo>
                  <a:lnTo>
                    <a:pt x="2353" y="1545"/>
                  </a:lnTo>
                  <a:lnTo>
                    <a:pt x="2353" y="1489"/>
                  </a:lnTo>
                  <a:lnTo>
                    <a:pt x="2571" y="1464"/>
                  </a:lnTo>
                  <a:lnTo>
                    <a:pt x="2545" y="1440"/>
                  </a:lnTo>
                  <a:lnTo>
                    <a:pt x="2434" y="1352"/>
                  </a:lnTo>
                  <a:lnTo>
                    <a:pt x="2409" y="1247"/>
                  </a:lnTo>
                  <a:lnTo>
                    <a:pt x="2409" y="1167"/>
                  </a:lnTo>
                  <a:lnTo>
                    <a:pt x="2409" y="1086"/>
                  </a:lnTo>
                  <a:lnTo>
                    <a:pt x="2409" y="1030"/>
                  </a:lnTo>
                  <a:lnTo>
                    <a:pt x="2409" y="974"/>
                  </a:lnTo>
                  <a:lnTo>
                    <a:pt x="2353" y="924"/>
                  </a:lnTo>
                  <a:lnTo>
                    <a:pt x="2298" y="924"/>
                  </a:lnTo>
                  <a:lnTo>
                    <a:pt x="2298" y="869"/>
                  </a:lnTo>
                  <a:lnTo>
                    <a:pt x="2272" y="838"/>
                  </a:lnTo>
                  <a:lnTo>
                    <a:pt x="2272" y="813"/>
                  </a:lnTo>
                  <a:lnTo>
                    <a:pt x="2272" y="788"/>
                  </a:lnTo>
                  <a:lnTo>
                    <a:pt x="2272" y="732"/>
                  </a:lnTo>
                  <a:lnTo>
                    <a:pt x="2217" y="708"/>
                  </a:lnTo>
                  <a:lnTo>
                    <a:pt x="2217" y="651"/>
                  </a:lnTo>
                  <a:lnTo>
                    <a:pt x="2217" y="596"/>
                  </a:lnTo>
                  <a:lnTo>
                    <a:pt x="2191" y="570"/>
                  </a:lnTo>
                  <a:lnTo>
                    <a:pt x="2217" y="459"/>
                  </a:lnTo>
                  <a:lnTo>
                    <a:pt x="2191" y="434"/>
                  </a:lnTo>
                  <a:lnTo>
                    <a:pt x="2136" y="410"/>
                  </a:lnTo>
                  <a:lnTo>
                    <a:pt x="2111" y="354"/>
                  </a:lnTo>
                  <a:lnTo>
                    <a:pt x="2086" y="378"/>
                  </a:lnTo>
                  <a:lnTo>
                    <a:pt x="2055" y="297"/>
                  </a:lnTo>
                  <a:lnTo>
                    <a:pt x="1999" y="273"/>
                  </a:lnTo>
                  <a:lnTo>
                    <a:pt x="1975" y="242"/>
                  </a:lnTo>
                  <a:lnTo>
                    <a:pt x="1918" y="218"/>
                  </a:lnTo>
                  <a:lnTo>
                    <a:pt x="1838" y="218"/>
                  </a:lnTo>
                  <a:lnTo>
                    <a:pt x="1813" y="192"/>
                  </a:lnTo>
                  <a:lnTo>
                    <a:pt x="1788" y="192"/>
                  </a:lnTo>
                  <a:lnTo>
                    <a:pt x="1757" y="161"/>
                  </a:lnTo>
                  <a:lnTo>
                    <a:pt x="1732" y="161"/>
                  </a:lnTo>
                  <a:lnTo>
                    <a:pt x="1702" y="111"/>
                  </a:lnTo>
                  <a:lnTo>
                    <a:pt x="1652" y="56"/>
                  </a:lnTo>
                  <a:lnTo>
                    <a:pt x="1595" y="56"/>
                  </a:lnTo>
                  <a:lnTo>
                    <a:pt x="1571" y="0"/>
                  </a:lnTo>
                  <a:lnTo>
                    <a:pt x="1490" y="25"/>
                  </a:lnTo>
                  <a:lnTo>
                    <a:pt x="1515" y="81"/>
                  </a:lnTo>
                  <a:lnTo>
                    <a:pt x="1571" y="137"/>
                  </a:lnTo>
                  <a:lnTo>
                    <a:pt x="1515" y="273"/>
                  </a:lnTo>
                  <a:lnTo>
                    <a:pt x="1571" y="329"/>
                  </a:lnTo>
                  <a:lnTo>
                    <a:pt x="1515" y="378"/>
                  </a:lnTo>
                  <a:lnTo>
                    <a:pt x="1459" y="354"/>
                  </a:lnTo>
                  <a:lnTo>
                    <a:pt x="1403" y="354"/>
                  </a:lnTo>
                  <a:lnTo>
                    <a:pt x="1322" y="329"/>
                  </a:lnTo>
                  <a:lnTo>
                    <a:pt x="1192" y="354"/>
                  </a:lnTo>
                  <a:lnTo>
                    <a:pt x="1192" y="410"/>
                  </a:lnTo>
                  <a:lnTo>
                    <a:pt x="1192" y="459"/>
                  </a:lnTo>
                  <a:lnTo>
                    <a:pt x="1161" y="627"/>
                  </a:lnTo>
                  <a:lnTo>
                    <a:pt x="1056" y="596"/>
                  </a:lnTo>
                  <a:lnTo>
                    <a:pt x="1025" y="651"/>
                  </a:lnTo>
                  <a:lnTo>
                    <a:pt x="975" y="677"/>
                  </a:lnTo>
                  <a:lnTo>
                    <a:pt x="944" y="813"/>
                  </a:lnTo>
                  <a:lnTo>
                    <a:pt x="863" y="924"/>
                  </a:lnTo>
                  <a:lnTo>
                    <a:pt x="975" y="1086"/>
                  </a:lnTo>
                  <a:lnTo>
                    <a:pt x="783" y="1409"/>
                  </a:lnTo>
                  <a:lnTo>
                    <a:pt x="807" y="1489"/>
                  </a:lnTo>
                  <a:lnTo>
                    <a:pt x="757" y="1545"/>
                  </a:lnTo>
                  <a:lnTo>
                    <a:pt x="702" y="1570"/>
                  </a:lnTo>
                  <a:lnTo>
                    <a:pt x="621" y="1545"/>
                  </a:lnTo>
                  <a:lnTo>
                    <a:pt x="646" y="1651"/>
                  </a:lnTo>
                  <a:lnTo>
                    <a:pt x="646" y="1763"/>
                  </a:lnTo>
                  <a:lnTo>
                    <a:pt x="621" y="1868"/>
                  </a:lnTo>
                  <a:lnTo>
                    <a:pt x="646" y="2060"/>
                  </a:lnTo>
                  <a:lnTo>
                    <a:pt x="596" y="2060"/>
                  </a:lnTo>
                  <a:lnTo>
                    <a:pt x="596" y="2116"/>
                  </a:lnTo>
                  <a:lnTo>
                    <a:pt x="621" y="2165"/>
                  </a:lnTo>
                  <a:lnTo>
                    <a:pt x="508" y="2414"/>
                  </a:lnTo>
                  <a:lnTo>
                    <a:pt x="565" y="2438"/>
                  </a:lnTo>
                  <a:lnTo>
                    <a:pt x="621" y="2495"/>
                  </a:lnTo>
                  <a:lnTo>
                    <a:pt x="621" y="2550"/>
                  </a:lnTo>
                  <a:lnTo>
                    <a:pt x="565" y="2680"/>
                  </a:lnTo>
                  <a:lnTo>
                    <a:pt x="460" y="2631"/>
                  </a:lnTo>
                  <a:lnTo>
                    <a:pt x="379" y="2656"/>
                  </a:lnTo>
                  <a:lnTo>
                    <a:pt x="211" y="2898"/>
                  </a:lnTo>
                  <a:lnTo>
                    <a:pt x="211" y="2954"/>
                  </a:lnTo>
                  <a:lnTo>
                    <a:pt x="161" y="3060"/>
                  </a:lnTo>
                  <a:lnTo>
                    <a:pt x="161" y="3146"/>
                  </a:lnTo>
                  <a:lnTo>
                    <a:pt x="211" y="3196"/>
                  </a:lnTo>
                  <a:lnTo>
                    <a:pt x="211" y="3251"/>
                  </a:lnTo>
                  <a:lnTo>
                    <a:pt x="187" y="3307"/>
                  </a:lnTo>
                  <a:lnTo>
                    <a:pt x="211" y="3550"/>
                  </a:lnTo>
                  <a:lnTo>
                    <a:pt x="267" y="3655"/>
                  </a:lnTo>
                  <a:lnTo>
                    <a:pt x="211" y="3766"/>
                  </a:lnTo>
                  <a:lnTo>
                    <a:pt x="211" y="3847"/>
                  </a:lnTo>
                  <a:lnTo>
                    <a:pt x="298" y="3959"/>
                  </a:lnTo>
                  <a:lnTo>
                    <a:pt x="323" y="3959"/>
                  </a:lnTo>
                  <a:lnTo>
                    <a:pt x="403" y="4040"/>
                  </a:lnTo>
                  <a:lnTo>
                    <a:pt x="403" y="4089"/>
                  </a:lnTo>
                  <a:lnTo>
                    <a:pt x="323" y="4225"/>
                  </a:lnTo>
                  <a:lnTo>
                    <a:pt x="242" y="4225"/>
                  </a:lnTo>
                  <a:lnTo>
                    <a:pt x="323" y="4555"/>
                  </a:lnTo>
                  <a:lnTo>
                    <a:pt x="298" y="4605"/>
                  </a:lnTo>
                  <a:lnTo>
                    <a:pt x="323" y="4685"/>
                  </a:lnTo>
                  <a:lnTo>
                    <a:pt x="267" y="4821"/>
                  </a:lnTo>
                  <a:lnTo>
                    <a:pt x="187" y="4852"/>
                  </a:lnTo>
                  <a:lnTo>
                    <a:pt x="211" y="4902"/>
                  </a:lnTo>
                  <a:lnTo>
                    <a:pt x="211" y="4933"/>
                  </a:lnTo>
                  <a:lnTo>
                    <a:pt x="161" y="4983"/>
                  </a:lnTo>
                  <a:lnTo>
                    <a:pt x="161" y="5095"/>
                  </a:lnTo>
                  <a:lnTo>
                    <a:pt x="161" y="5119"/>
                  </a:lnTo>
                  <a:lnTo>
                    <a:pt x="161" y="5231"/>
                  </a:lnTo>
                  <a:lnTo>
                    <a:pt x="130" y="5311"/>
                  </a:lnTo>
                  <a:lnTo>
                    <a:pt x="80" y="5337"/>
                  </a:lnTo>
                  <a:lnTo>
                    <a:pt x="49" y="5231"/>
                  </a:lnTo>
                  <a:close/>
                  <a:moveTo>
                    <a:pt x="105" y="5746"/>
                  </a:moveTo>
                  <a:lnTo>
                    <a:pt x="105" y="5715"/>
                  </a:lnTo>
                  <a:lnTo>
                    <a:pt x="130" y="5715"/>
                  </a:lnTo>
                  <a:lnTo>
                    <a:pt x="187" y="5715"/>
                  </a:lnTo>
                  <a:lnTo>
                    <a:pt x="161" y="5665"/>
                  </a:lnTo>
                  <a:lnTo>
                    <a:pt x="130" y="5665"/>
                  </a:lnTo>
                  <a:lnTo>
                    <a:pt x="105" y="5691"/>
                  </a:lnTo>
                  <a:lnTo>
                    <a:pt x="105" y="5746"/>
                  </a:lnTo>
                  <a:close/>
                  <a:moveTo>
                    <a:pt x="130" y="5827"/>
                  </a:moveTo>
                  <a:lnTo>
                    <a:pt x="161" y="5746"/>
                  </a:lnTo>
                  <a:lnTo>
                    <a:pt x="130" y="5771"/>
                  </a:lnTo>
                  <a:lnTo>
                    <a:pt x="130" y="5827"/>
                  </a:lnTo>
                  <a:close/>
                  <a:moveTo>
                    <a:pt x="428" y="5256"/>
                  </a:moveTo>
                  <a:lnTo>
                    <a:pt x="428" y="5280"/>
                  </a:lnTo>
                  <a:lnTo>
                    <a:pt x="460" y="5256"/>
                  </a:lnTo>
                  <a:lnTo>
                    <a:pt x="484" y="5280"/>
                  </a:lnTo>
                  <a:lnTo>
                    <a:pt x="484" y="5311"/>
                  </a:lnTo>
                  <a:lnTo>
                    <a:pt x="508" y="5337"/>
                  </a:lnTo>
                  <a:lnTo>
                    <a:pt x="540" y="5337"/>
                  </a:lnTo>
                  <a:lnTo>
                    <a:pt x="508" y="5256"/>
                  </a:lnTo>
                  <a:lnTo>
                    <a:pt x="484" y="5175"/>
                  </a:lnTo>
                  <a:lnTo>
                    <a:pt x="484" y="5150"/>
                  </a:lnTo>
                  <a:lnTo>
                    <a:pt x="484" y="5119"/>
                  </a:lnTo>
                  <a:lnTo>
                    <a:pt x="428" y="5119"/>
                  </a:lnTo>
                  <a:lnTo>
                    <a:pt x="460" y="5119"/>
                  </a:lnTo>
                  <a:lnTo>
                    <a:pt x="484" y="5119"/>
                  </a:lnTo>
                  <a:lnTo>
                    <a:pt x="508" y="5150"/>
                  </a:lnTo>
                  <a:lnTo>
                    <a:pt x="540" y="5150"/>
                  </a:lnTo>
                  <a:lnTo>
                    <a:pt x="508" y="5119"/>
                  </a:lnTo>
                  <a:lnTo>
                    <a:pt x="565" y="5095"/>
                  </a:lnTo>
                  <a:lnTo>
                    <a:pt x="565" y="5119"/>
                  </a:lnTo>
                  <a:lnTo>
                    <a:pt x="565" y="5150"/>
                  </a:lnTo>
                  <a:lnTo>
                    <a:pt x="596" y="5119"/>
                  </a:lnTo>
                  <a:lnTo>
                    <a:pt x="565" y="5095"/>
                  </a:lnTo>
                  <a:lnTo>
                    <a:pt x="621" y="5070"/>
                  </a:lnTo>
                  <a:lnTo>
                    <a:pt x="621" y="5095"/>
                  </a:lnTo>
                  <a:lnTo>
                    <a:pt x="646" y="5095"/>
                  </a:lnTo>
                  <a:lnTo>
                    <a:pt x="646" y="5119"/>
                  </a:lnTo>
                  <a:lnTo>
                    <a:pt x="646" y="5095"/>
                  </a:lnTo>
                  <a:lnTo>
                    <a:pt x="676" y="5095"/>
                  </a:lnTo>
                  <a:lnTo>
                    <a:pt x="676" y="5119"/>
                  </a:lnTo>
                  <a:lnTo>
                    <a:pt x="702" y="5095"/>
                  </a:lnTo>
                  <a:lnTo>
                    <a:pt x="702" y="5119"/>
                  </a:lnTo>
                  <a:lnTo>
                    <a:pt x="726" y="5095"/>
                  </a:lnTo>
                  <a:lnTo>
                    <a:pt x="726" y="5150"/>
                  </a:lnTo>
                  <a:lnTo>
                    <a:pt x="702" y="5200"/>
                  </a:lnTo>
                  <a:lnTo>
                    <a:pt x="702" y="5256"/>
                  </a:lnTo>
                  <a:lnTo>
                    <a:pt x="726" y="5231"/>
                  </a:lnTo>
                  <a:lnTo>
                    <a:pt x="757" y="5231"/>
                  </a:lnTo>
                  <a:lnTo>
                    <a:pt x="726" y="5256"/>
                  </a:lnTo>
                  <a:lnTo>
                    <a:pt x="726" y="5280"/>
                  </a:lnTo>
                  <a:lnTo>
                    <a:pt x="726" y="5256"/>
                  </a:lnTo>
                  <a:lnTo>
                    <a:pt x="726" y="5311"/>
                  </a:lnTo>
                  <a:lnTo>
                    <a:pt x="726" y="5337"/>
                  </a:lnTo>
                  <a:lnTo>
                    <a:pt x="702" y="5337"/>
                  </a:lnTo>
                  <a:lnTo>
                    <a:pt x="702" y="5368"/>
                  </a:lnTo>
                  <a:lnTo>
                    <a:pt x="702" y="5392"/>
                  </a:lnTo>
                  <a:lnTo>
                    <a:pt x="646" y="5448"/>
                  </a:lnTo>
                  <a:lnTo>
                    <a:pt x="646" y="5417"/>
                  </a:lnTo>
                  <a:lnTo>
                    <a:pt x="621" y="5473"/>
                  </a:lnTo>
                  <a:lnTo>
                    <a:pt x="596" y="5448"/>
                  </a:lnTo>
                  <a:lnTo>
                    <a:pt x="565" y="5473"/>
                  </a:lnTo>
                  <a:lnTo>
                    <a:pt x="540" y="5529"/>
                  </a:lnTo>
                  <a:lnTo>
                    <a:pt x="508" y="5529"/>
                  </a:lnTo>
                  <a:lnTo>
                    <a:pt x="508" y="5498"/>
                  </a:lnTo>
                  <a:lnTo>
                    <a:pt x="508" y="5473"/>
                  </a:lnTo>
                  <a:lnTo>
                    <a:pt x="484" y="5498"/>
                  </a:lnTo>
                  <a:lnTo>
                    <a:pt x="460" y="5473"/>
                  </a:lnTo>
                  <a:lnTo>
                    <a:pt x="460" y="5498"/>
                  </a:lnTo>
                  <a:lnTo>
                    <a:pt x="460" y="5529"/>
                  </a:lnTo>
                  <a:lnTo>
                    <a:pt x="403" y="5554"/>
                  </a:lnTo>
                  <a:lnTo>
                    <a:pt x="403" y="5579"/>
                  </a:lnTo>
                  <a:lnTo>
                    <a:pt x="347" y="5610"/>
                  </a:lnTo>
                  <a:lnTo>
                    <a:pt x="379" y="5579"/>
                  </a:lnTo>
                  <a:lnTo>
                    <a:pt x="379" y="5554"/>
                  </a:lnTo>
                  <a:lnTo>
                    <a:pt x="347" y="5554"/>
                  </a:lnTo>
                  <a:lnTo>
                    <a:pt x="347" y="5579"/>
                  </a:lnTo>
                  <a:lnTo>
                    <a:pt x="323" y="5610"/>
                  </a:lnTo>
                  <a:lnTo>
                    <a:pt x="298" y="5610"/>
                  </a:lnTo>
                  <a:lnTo>
                    <a:pt x="298" y="5579"/>
                  </a:lnTo>
                  <a:lnTo>
                    <a:pt x="323" y="5554"/>
                  </a:lnTo>
                  <a:lnTo>
                    <a:pt x="347" y="5529"/>
                  </a:lnTo>
                  <a:lnTo>
                    <a:pt x="347" y="5498"/>
                  </a:lnTo>
                  <a:lnTo>
                    <a:pt x="379" y="5473"/>
                  </a:lnTo>
                  <a:lnTo>
                    <a:pt x="347" y="5473"/>
                  </a:lnTo>
                  <a:lnTo>
                    <a:pt x="347" y="5417"/>
                  </a:lnTo>
                  <a:lnTo>
                    <a:pt x="347" y="5392"/>
                  </a:lnTo>
                  <a:lnTo>
                    <a:pt x="347" y="5368"/>
                  </a:lnTo>
                  <a:lnTo>
                    <a:pt x="379" y="5368"/>
                  </a:lnTo>
                  <a:lnTo>
                    <a:pt x="379" y="5337"/>
                  </a:lnTo>
                  <a:lnTo>
                    <a:pt x="379" y="5311"/>
                  </a:lnTo>
                  <a:lnTo>
                    <a:pt x="379" y="5280"/>
                  </a:lnTo>
                  <a:lnTo>
                    <a:pt x="379" y="5256"/>
                  </a:lnTo>
                  <a:lnTo>
                    <a:pt x="403" y="5256"/>
                  </a:lnTo>
                  <a:lnTo>
                    <a:pt x="403" y="5231"/>
                  </a:lnTo>
                  <a:lnTo>
                    <a:pt x="428" y="5256"/>
                  </a:lnTo>
                  <a:close/>
                  <a:moveTo>
                    <a:pt x="783" y="5852"/>
                  </a:moveTo>
                  <a:lnTo>
                    <a:pt x="783" y="5827"/>
                  </a:lnTo>
                  <a:lnTo>
                    <a:pt x="783" y="5771"/>
                  </a:lnTo>
                  <a:lnTo>
                    <a:pt x="807" y="5771"/>
                  </a:lnTo>
                  <a:lnTo>
                    <a:pt x="807" y="5715"/>
                  </a:lnTo>
                  <a:lnTo>
                    <a:pt x="807" y="5665"/>
                  </a:lnTo>
                  <a:lnTo>
                    <a:pt x="807" y="5610"/>
                  </a:lnTo>
                  <a:lnTo>
                    <a:pt x="838" y="5610"/>
                  </a:lnTo>
                  <a:lnTo>
                    <a:pt x="838" y="5554"/>
                  </a:lnTo>
                  <a:lnTo>
                    <a:pt x="863" y="5554"/>
                  </a:lnTo>
                  <a:lnTo>
                    <a:pt x="863" y="5529"/>
                  </a:lnTo>
                  <a:lnTo>
                    <a:pt x="863" y="5498"/>
                  </a:lnTo>
                  <a:lnTo>
                    <a:pt x="863" y="5473"/>
                  </a:lnTo>
                  <a:lnTo>
                    <a:pt x="863" y="5448"/>
                  </a:lnTo>
                  <a:lnTo>
                    <a:pt x="919" y="5417"/>
                  </a:lnTo>
                  <a:lnTo>
                    <a:pt x="919" y="5392"/>
                  </a:lnTo>
                  <a:lnTo>
                    <a:pt x="919" y="5368"/>
                  </a:lnTo>
                  <a:lnTo>
                    <a:pt x="944" y="5337"/>
                  </a:lnTo>
                  <a:lnTo>
                    <a:pt x="975" y="5337"/>
                  </a:lnTo>
                  <a:lnTo>
                    <a:pt x="944" y="5368"/>
                  </a:lnTo>
                  <a:lnTo>
                    <a:pt x="975" y="5368"/>
                  </a:lnTo>
                  <a:lnTo>
                    <a:pt x="975" y="5392"/>
                  </a:lnTo>
                  <a:lnTo>
                    <a:pt x="975" y="5417"/>
                  </a:lnTo>
                  <a:lnTo>
                    <a:pt x="975" y="5448"/>
                  </a:lnTo>
                  <a:lnTo>
                    <a:pt x="944" y="5448"/>
                  </a:lnTo>
                  <a:lnTo>
                    <a:pt x="944" y="5473"/>
                  </a:lnTo>
                  <a:lnTo>
                    <a:pt x="975" y="5473"/>
                  </a:lnTo>
                  <a:lnTo>
                    <a:pt x="999" y="5473"/>
                  </a:lnTo>
                  <a:lnTo>
                    <a:pt x="975" y="5529"/>
                  </a:lnTo>
                  <a:lnTo>
                    <a:pt x="944" y="5498"/>
                  </a:lnTo>
                  <a:lnTo>
                    <a:pt x="944" y="5529"/>
                  </a:lnTo>
                  <a:lnTo>
                    <a:pt x="919" y="5554"/>
                  </a:lnTo>
                  <a:lnTo>
                    <a:pt x="894" y="5579"/>
                  </a:lnTo>
                  <a:lnTo>
                    <a:pt x="919" y="5610"/>
                  </a:lnTo>
                  <a:lnTo>
                    <a:pt x="894" y="5691"/>
                  </a:lnTo>
                  <a:lnTo>
                    <a:pt x="863" y="5771"/>
                  </a:lnTo>
                  <a:lnTo>
                    <a:pt x="838" y="5827"/>
                  </a:lnTo>
                  <a:lnTo>
                    <a:pt x="807" y="5852"/>
                  </a:lnTo>
                  <a:lnTo>
                    <a:pt x="838" y="5876"/>
                  </a:lnTo>
                  <a:lnTo>
                    <a:pt x="807" y="5876"/>
                  </a:lnTo>
                  <a:lnTo>
                    <a:pt x="807" y="5852"/>
                  </a:lnTo>
                  <a:lnTo>
                    <a:pt x="783" y="5852"/>
                  </a:lnTo>
                  <a:close/>
                  <a:moveTo>
                    <a:pt x="1515" y="6584"/>
                  </a:moveTo>
                  <a:lnTo>
                    <a:pt x="1540" y="6503"/>
                  </a:lnTo>
                  <a:lnTo>
                    <a:pt x="1540" y="6447"/>
                  </a:lnTo>
                  <a:lnTo>
                    <a:pt x="1571" y="6423"/>
                  </a:lnTo>
                  <a:lnTo>
                    <a:pt x="1571" y="6311"/>
                  </a:lnTo>
                  <a:lnTo>
                    <a:pt x="1595" y="6261"/>
                  </a:lnTo>
                  <a:lnTo>
                    <a:pt x="1595" y="6174"/>
                  </a:lnTo>
                  <a:lnTo>
                    <a:pt x="1621" y="6124"/>
                  </a:lnTo>
                  <a:lnTo>
                    <a:pt x="1621" y="6069"/>
                  </a:lnTo>
                  <a:lnTo>
                    <a:pt x="1621" y="6012"/>
                  </a:lnTo>
                  <a:lnTo>
                    <a:pt x="1595" y="6012"/>
                  </a:lnTo>
                  <a:lnTo>
                    <a:pt x="1595" y="6069"/>
                  </a:lnTo>
                  <a:lnTo>
                    <a:pt x="1571" y="6205"/>
                  </a:lnTo>
                  <a:lnTo>
                    <a:pt x="1515" y="6311"/>
                  </a:lnTo>
                  <a:lnTo>
                    <a:pt x="1515" y="6366"/>
                  </a:lnTo>
                  <a:lnTo>
                    <a:pt x="1490" y="6423"/>
                  </a:lnTo>
                  <a:lnTo>
                    <a:pt x="1515" y="6584"/>
                  </a:lnTo>
                  <a:close/>
                  <a:moveTo>
                    <a:pt x="1757" y="4387"/>
                  </a:moveTo>
                  <a:lnTo>
                    <a:pt x="1757" y="4443"/>
                  </a:lnTo>
                  <a:lnTo>
                    <a:pt x="1813" y="4443"/>
                  </a:lnTo>
                  <a:lnTo>
                    <a:pt x="1788" y="4418"/>
                  </a:lnTo>
                  <a:lnTo>
                    <a:pt x="1757" y="4387"/>
                  </a:lnTo>
                  <a:close/>
                  <a:moveTo>
                    <a:pt x="1918" y="6174"/>
                  </a:moveTo>
                  <a:lnTo>
                    <a:pt x="1949" y="6174"/>
                  </a:lnTo>
                  <a:lnTo>
                    <a:pt x="1975" y="6124"/>
                  </a:lnTo>
                  <a:lnTo>
                    <a:pt x="1975" y="6093"/>
                  </a:lnTo>
                  <a:lnTo>
                    <a:pt x="1999" y="6069"/>
                  </a:lnTo>
                  <a:lnTo>
                    <a:pt x="1999" y="6012"/>
                  </a:lnTo>
                  <a:lnTo>
                    <a:pt x="2030" y="5988"/>
                  </a:lnTo>
                  <a:lnTo>
                    <a:pt x="2030" y="5964"/>
                  </a:lnTo>
                  <a:lnTo>
                    <a:pt x="2055" y="5964"/>
                  </a:lnTo>
                  <a:lnTo>
                    <a:pt x="2055" y="5932"/>
                  </a:lnTo>
                  <a:lnTo>
                    <a:pt x="2086" y="5907"/>
                  </a:lnTo>
                  <a:lnTo>
                    <a:pt x="2055" y="5876"/>
                  </a:lnTo>
                  <a:lnTo>
                    <a:pt x="2055" y="5771"/>
                  </a:lnTo>
                  <a:lnTo>
                    <a:pt x="2086" y="5746"/>
                  </a:lnTo>
                  <a:lnTo>
                    <a:pt x="2086" y="5715"/>
                  </a:lnTo>
                  <a:lnTo>
                    <a:pt x="2111" y="5691"/>
                  </a:lnTo>
                  <a:lnTo>
                    <a:pt x="2055" y="5634"/>
                  </a:lnTo>
                  <a:lnTo>
                    <a:pt x="2030" y="5665"/>
                  </a:lnTo>
                  <a:lnTo>
                    <a:pt x="2030" y="5691"/>
                  </a:lnTo>
                  <a:lnTo>
                    <a:pt x="1999" y="5665"/>
                  </a:lnTo>
                  <a:lnTo>
                    <a:pt x="1949" y="5715"/>
                  </a:lnTo>
                  <a:lnTo>
                    <a:pt x="1894" y="5876"/>
                  </a:lnTo>
                  <a:lnTo>
                    <a:pt x="1894" y="5964"/>
                  </a:lnTo>
                  <a:lnTo>
                    <a:pt x="1894" y="6012"/>
                  </a:lnTo>
                  <a:lnTo>
                    <a:pt x="1918" y="6043"/>
                  </a:lnTo>
                  <a:lnTo>
                    <a:pt x="1918" y="6069"/>
                  </a:lnTo>
                  <a:lnTo>
                    <a:pt x="1949" y="6093"/>
                  </a:lnTo>
                  <a:lnTo>
                    <a:pt x="1918" y="6174"/>
                  </a:lnTo>
                  <a:close/>
                  <a:moveTo>
                    <a:pt x="2111" y="5665"/>
                  </a:moveTo>
                  <a:lnTo>
                    <a:pt x="2167" y="5610"/>
                  </a:lnTo>
                  <a:lnTo>
                    <a:pt x="2111" y="5610"/>
                  </a:lnTo>
                  <a:lnTo>
                    <a:pt x="2111" y="5665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37" name="Freeform 73">
              <a:extLst>
                <a:ext uri="{FF2B5EF4-FFF2-40B4-BE49-F238E27FC236}">
                  <a16:creationId xmlns:a16="http://schemas.microsoft.com/office/drawing/2014/main" id="{DAFA8BFB-5D67-497D-9CF8-08A51C04ED2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64657" y="1856373"/>
              <a:ext cx="1151396" cy="3966167"/>
            </a:xfrm>
            <a:custGeom>
              <a:avLst/>
              <a:gdLst/>
              <a:ahLst/>
              <a:cxnLst>
                <a:cxn ang="0">
                  <a:pos x="1219" y="1328"/>
                </a:cxn>
                <a:cxn ang="0">
                  <a:pos x="702" y="2954"/>
                </a:cxn>
                <a:cxn ang="0">
                  <a:pos x="1113" y="2600"/>
                </a:cxn>
                <a:cxn ang="0">
                  <a:pos x="1330" y="2873"/>
                </a:cxn>
                <a:cxn ang="0">
                  <a:pos x="1330" y="3090"/>
                </a:cxn>
                <a:cxn ang="0">
                  <a:pos x="1193" y="1545"/>
                </a:cxn>
                <a:cxn ang="0">
                  <a:pos x="1299" y="1923"/>
                </a:cxn>
                <a:cxn ang="0">
                  <a:pos x="1380" y="1222"/>
                </a:cxn>
                <a:cxn ang="0">
                  <a:pos x="1435" y="1055"/>
                </a:cxn>
                <a:cxn ang="0">
                  <a:pos x="1330" y="2197"/>
                </a:cxn>
                <a:cxn ang="0">
                  <a:pos x="1380" y="2004"/>
                </a:cxn>
                <a:cxn ang="0">
                  <a:pos x="1330" y="2303"/>
                </a:cxn>
                <a:cxn ang="0">
                  <a:pos x="1516" y="1650"/>
                </a:cxn>
                <a:cxn ang="0">
                  <a:pos x="1380" y="1464"/>
                </a:cxn>
                <a:cxn ang="0">
                  <a:pos x="1492" y="2197"/>
                </a:cxn>
                <a:cxn ang="0">
                  <a:pos x="1597" y="2463"/>
                </a:cxn>
                <a:cxn ang="0">
                  <a:pos x="1629" y="3686"/>
                </a:cxn>
                <a:cxn ang="0">
                  <a:pos x="1629" y="3661"/>
                </a:cxn>
                <a:cxn ang="0">
                  <a:pos x="2007" y="5417"/>
                </a:cxn>
                <a:cxn ang="0">
                  <a:pos x="1573" y="3767"/>
                </a:cxn>
                <a:cxn ang="0">
                  <a:pos x="1466" y="4145"/>
                </a:cxn>
                <a:cxn ang="0">
                  <a:pos x="1299" y="4337"/>
                </a:cxn>
                <a:cxn ang="0">
                  <a:pos x="1597" y="4475"/>
                </a:cxn>
                <a:cxn ang="0">
                  <a:pos x="1976" y="4554"/>
                </a:cxn>
                <a:cxn ang="0">
                  <a:pos x="1330" y="4853"/>
                </a:cxn>
                <a:cxn ang="0">
                  <a:pos x="1169" y="5095"/>
                </a:cxn>
                <a:cxn ang="0">
                  <a:pos x="1573" y="5095"/>
                </a:cxn>
                <a:cxn ang="0">
                  <a:pos x="1926" y="4903"/>
                </a:cxn>
                <a:cxn ang="0">
                  <a:pos x="2362" y="4903"/>
                </a:cxn>
                <a:cxn ang="0">
                  <a:pos x="2877" y="5039"/>
                </a:cxn>
                <a:cxn ang="0">
                  <a:pos x="3039" y="4716"/>
                </a:cxn>
                <a:cxn ang="0">
                  <a:pos x="3145" y="4523"/>
                </a:cxn>
                <a:cxn ang="0">
                  <a:pos x="3387" y="4121"/>
                </a:cxn>
                <a:cxn ang="0">
                  <a:pos x="2766" y="3574"/>
                </a:cxn>
                <a:cxn ang="0">
                  <a:pos x="2766" y="3146"/>
                </a:cxn>
                <a:cxn ang="0">
                  <a:pos x="2362" y="2358"/>
                </a:cxn>
                <a:cxn ang="0">
                  <a:pos x="2330" y="2253"/>
                </a:cxn>
                <a:cxn ang="0">
                  <a:pos x="2493" y="1923"/>
                </a:cxn>
                <a:cxn ang="0">
                  <a:pos x="2033" y="1545"/>
                </a:cxn>
                <a:cxn ang="0">
                  <a:pos x="2088" y="1384"/>
                </a:cxn>
                <a:cxn ang="0">
                  <a:pos x="1976" y="1030"/>
                </a:cxn>
                <a:cxn ang="0">
                  <a:pos x="1765" y="1248"/>
                </a:cxn>
                <a:cxn ang="0">
                  <a:pos x="1597" y="1409"/>
                </a:cxn>
                <a:cxn ang="0">
                  <a:pos x="1629" y="1707"/>
                </a:cxn>
                <a:cxn ang="0">
                  <a:pos x="1435" y="1899"/>
                </a:cxn>
                <a:cxn ang="0">
                  <a:pos x="1678" y="1923"/>
                </a:cxn>
                <a:cxn ang="0">
                  <a:pos x="1516" y="2166"/>
                </a:cxn>
                <a:cxn ang="0">
                  <a:pos x="1516" y="2439"/>
                </a:cxn>
                <a:cxn ang="0">
                  <a:pos x="1710" y="2222"/>
                </a:cxn>
                <a:cxn ang="0">
                  <a:pos x="1678" y="2575"/>
                </a:cxn>
                <a:cxn ang="0">
                  <a:pos x="1765" y="2873"/>
                </a:cxn>
                <a:cxn ang="0">
                  <a:pos x="2144" y="2873"/>
                </a:cxn>
                <a:cxn ang="0">
                  <a:pos x="2144" y="3227"/>
                </a:cxn>
                <a:cxn ang="0">
                  <a:pos x="2113" y="3686"/>
                </a:cxn>
                <a:cxn ang="0">
                  <a:pos x="2443" y="5014"/>
                </a:cxn>
                <a:cxn ang="0">
                  <a:pos x="2443" y="894"/>
                </a:cxn>
                <a:cxn ang="0">
                  <a:pos x="2467" y="707"/>
                </a:cxn>
                <a:cxn ang="0">
                  <a:pos x="2548" y="788"/>
                </a:cxn>
                <a:cxn ang="0">
                  <a:pos x="2877" y="490"/>
                </a:cxn>
                <a:cxn ang="0">
                  <a:pos x="2958" y="193"/>
                </a:cxn>
                <a:cxn ang="0">
                  <a:pos x="2846" y="329"/>
                </a:cxn>
                <a:cxn ang="0">
                  <a:pos x="3039" y="81"/>
                </a:cxn>
              </a:cxnLst>
              <a:rect l="0" t="0" r="r" b="b"/>
              <a:pathLst>
                <a:path w="3418" h="11784">
                  <a:moveTo>
                    <a:pt x="0" y="11759"/>
                  </a:moveTo>
                  <a:lnTo>
                    <a:pt x="26" y="11759"/>
                  </a:lnTo>
                  <a:lnTo>
                    <a:pt x="0" y="11784"/>
                  </a:lnTo>
                  <a:lnTo>
                    <a:pt x="0" y="11759"/>
                  </a:lnTo>
                  <a:close/>
                  <a:moveTo>
                    <a:pt x="1057" y="1681"/>
                  </a:moveTo>
                  <a:lnTo>
                    <a:pt x="1113" y="1707"/>
                  </a:lnTo>
                  <a:lnTo>
                    <a:pt x="1113" y="1681"/>
                  </a:lnTo>
                  <a:lnTo>
                    <a:pt x="1113" y="1650"/>
                  </a:lnTo>
                  <a:lnTo>
                    <a:pt x="1082" y="1650"/>
                  </a:lnTo>
                  <a:lnTo>
                    <a:pt x="1082" y="1681"/>
                  </a:lnTo>
                  <a:lnTo>
                    <a:pt x="1057" y="1681"/>
                  </a:lnTo>
                  <a:close/>
                  <a:moveTo>
                    <a:pt x="1138" y="1384"/>
                  </a:moveTo>
                  <a:lnTo>
                    <a:pt x="1169" y="1384"/>
                  </a:lnTo>
                  <a:lnTo>
                    <a:pt x="1193" y="1440"/>
                  </a:lnTo>
                  <a:lnTo>
                    <a:pt x="1219" y="1440"/>
                  </a:lnTo>
                  <a:lnTo>
                    <a:pt x="1250" y="1440"/>
                  </a:lnTo>
                  <a:lnTo>
                    <a:pt x="1250" y="1409"/>
                  </a:lnTo>
                  <a:lnTo>
                    <a:pt x="1250" y="1384"/>
                  </a:lnTo>
                  <a:lnTo>
                    <a:pt x="1219" y="1384"/>
                  </a:lnTo>
                  <a:lnTo>
                    <a:pt x="1250" y="1384"/>
                  </a:lnTo>
                  <a:lnTo>
                    <a:pt x="1274" y="1384"/>
                  </a:lnTo>
                  <a:lnTo>
                    <a:pt x="1250" y="1353"/>
                  </a:lnTo>
                  <a:lnTo>
                    <a:pt x="1250" y="1328"/>
                  </a:lnTo>
                  <a:lnTo>
                    <a:pt x="1219" y="1328"/>
                  </a:lnTo>
                  <a:lnTo>
                    <a:pt x="1219" y="1353"/>
                  </a:lnTo>
                  <a:lnTo>
                    <a:pt x="1193" y="1353"/>
                  </a:lnTo>
                  <a:lnTo>
                    <a:pt x="1169" y="1353"/>
                  </a:lnTo>
                  <a:lnTo>
                    <a:pt x="1138" y="1384"/>
                  </a:lnTo>
                  <a:close/>
                  <a:moveTo>
                    <a:pt x="1138" y="3090"/>
                  </a:moveTo>
                  <a:lnTo>
                    <a:pt x="1138" y="3146"/>
                  </a:lnTo>
                  <a:lnTo>
                    <a:pt x="1057" y="3146"/>
                  </a:lnTo>
                  <a:lnTo>
                    <a:pt x="1057" y="3090"/>
                  </a:lnTo>
                  <a:lnTo>
                    <a:pt x="1057" y="3059"/>
                  </a:lnTo>
                  <a:lnTo>
                    <a:pt x="1001" y="3035"/>
                  </a:lnTo>
                  <a:lnTo>
                    <a:pt x="1032" y="2978"/>
                  </a:lnTo>
                  <a:lnTo>
                    <a:pt x="1001" y="2954"/>
                  </a:lnTo>
                  <a:lnTo>
                    <a:pt x="977" y="2929"/>
                  </a:lnTo>
                  <a:lnTo>
                    <a:pt x="920" y="2978"/>
                  </a:lnTo>
                  <a:lnTo>
                    <a:pt x="920" y="3009"/>
                  </a:lnTo>
                  <a:lnTo>
                    <a:pt x="895" y="3035"/>
                  </a:lnTo>
                  <a:lnTo>
                    <a:pt x="895" y="3059"/>
                  </a:lnTo>
                  <a:lnTo>
                    <a:pt x="870" y="3035"/>
                  </a:lnTo>
                  <a:lnTo>
                    <a:pt x="870" y="3059"/>
                  </a:lnTo>
                  <a:lnTo>
                    <a:pt x="783" y="3035"/>
                  </a:lnTo>
                  <a:lnTo>
                    <a:pt x="759" y="3009"/>
                  </a:lnTo>
                  <a:lnTo>
                    <a:pt x="733" y="2978"/>
                  </a:lnTo>
                  <a:lnTo>
                    <a:pt x="733" y="2954"/>
                  </a:lnTo>
                  <a:lnTo>
                    <a:pt x="702" y="2954"/>
                  </a:lnTo>
                  <a:lnTo>
                    <a:pt x="653" y="2873"/>
                  </a:lnTo>
                  <a:lnTo>
                    <a:pt x="653" y="2848"/>
                  </a:lnTo>
                  <a:lnTo>
                    <a:pt x="678" y="2848"/>
                  </a:lnTo>
                  <a:lnTo>
                    <a:pt x="702" y="2817"/>
                  </a:lnTo>
                  <a:lnTo>
                    <a:pt x="733" y="2848"/>
                  </a:lnTo>
                  <a:lnTo>
                    <a:pt x="814" y="2793"/>
                  </a:lnTo>
                  <a:lnTo>
                    <a:pt x="759" y="2793"/>
                  </a:lnTo>
                  <a:lnTo>
                    <a:pt x="759" y="2762"/>
                  </a:lnTo>
                  <a:lnTo>
                    <a:pt x="783" y="2736"/>
                  </a:lnTo>
                  <a:lnTo>
                    <a:pt x="839" y="2762"/>
                  </a:lnTo>
                  <a:lnTo>
                    <a:pt x="870" y="2736"/>
                  </a:lnTo>
                  <a:lnTo>
                    <a:pt x="895" y="2712"/>
                  </a:lnTo>
                  <a:lnTo>
                    <a:pt x="895" y="2655"/>
                  </a:lnTo>
                  <a:lnTo>
                    <a:pt x="920" y="2655"/>
                  </a:lnTo>
                  <a:lnTo>
                    <a:pt x="920" y="2631"/>
                  </a:lnTo>
                  <a:lnTo>
                    <a:pt x="951" y="2631"/>
                  </a:lnTo>
                  <a:lnTo>
                    <a:pt x="1001" y="2631"/>
                  </a:lnTo>
                  <a:lnTo>
                    <a:pt x="1032" y="2631"/>
                  </a:lnTo>
                  <a:lnTo>
                    <a:pt x="1032" y="2600"/>
                  </a:lnTo>
                  <a:lnTo>
                    <a:pt x="1057" y="2600"/>
                  </a:lnTo>
                  <a:lnTo>
                    <a:pt x="1057" y="2575"/>
                  </a:lnTo>
                  <a:lnTo>
                    <a:pt x="1082" y="2575"/>
                  </a:lnTo>
                  <a:lnTo>
                    <a:pt x="1113" y="2575"/>
                  </a:lnTo>
                  <a:lnTo>
                    <a:pt x="1113" y="2600"/>
                  </a:lnTo>
                  <a:lnTo>
                    <a:pt x="1138" y="2575"/>
                  </a:lnTo>
                  <a:lnTo>
                    <a:pt x="1193" y="2550"/>
                  </a:lnTo>
                  <a:lnTo>
                    <a:pt x="1250" y="2575"/>
                  </a:lnTo>
                  <a:lnTo>
                    <a:pt x="1274" y="2600"/>
                  </a:lnTo>
                  <a:lnTo>
                    <a:pt x="1299" y="2575"/>
                  </a:lnTo>
                  <a:lnTo>
                    <a:pt x="1330" y="2600"/>
                  </a:lnTo>
                  <a:lnTo>
                    <a:pt x="1330" y="2631"/>
                  </a:lnTo>
                  <a:lnTo>
                    <a:pt x="1299" y="2681"/>
                  </a:lnTo>
                  <a:lnTo>
                    <a:pt x="1330" y="2681"/>
                  </a:lnTo>
                  <a:lnTo>
                    <a:pt x="1330" y="2712"/>
                  </a:lnTo>
                  <a:lnTo>
                    <a:pt x="1330" y="2736"/>
                  </a:lnTo>
                  <a:lnTo>
                    <a:pt x="1330" y="2762"/>
                  </a:lnTo>
                  <a:lnTo>
                    <a:pt x="1355" y="2762"/>
                  </a:lnTo>
                  <a:lnTo>
                    <a:pt x="1355" y="2793"/>
                  </a:lnTo>
                  <a:lnTo>
                    <a:pt x="1355" y="2817"/>
                  </a:lnTo>
                  <a:lnTo>
                    <a:pt x="1355" y="2793"/>
                  </a:lnTo>
                  <a:lnTo>
                    <a:pt x="1380" y="2793"/>
                  </a:lnTo>
                  <a:lnTo>
                    <a:pt x="1380" y="2817"/>
                  </a:lnTo>
                  <a:lnTo>
                    <a:pt x="1380" y="2848"/>
                  </a:lnTo>
                  <a:lnTo>
                    <a:pt x="1330" y="2873"/>
                  </a:lnTo>
                  <a:lnTo>
                    <a:pt x="1299" y="2873"/>
                  </a:lnTo>
                  <a:lnTo>
                    <a:pt x="1299" y="2898"/>
                  </a:lnTo>
                  <a:lnTo>
                    <a:pt x="1330" y="2898"/>
                  </a:lnTo>
                  <a:lnTo>
                    <a:pt x="1330" y="2873"/>
                  </a:lnTo>
                  <a:lnTo>
                    <a:pt x="1355" y="2873"/>
                  </a:lnTo>
                  <a:lnTo>
                    <a:pt x="1380" y="2898"/>
                  </a:lnTo>
                  <a:lnTo>
                    <a:pt x="1411" y="2873"/>
                  </a:lnTo>
                  <a:lnTo>
                    <a:pt x="1411" y="2898"/>
                  </a:lnTo>
                  <a:lnTo>
                    <a:pt x="1411" y="2929"/>
                  </a:lnTo>
                  <a:lnTo>
                    <a:pt x="1435" y="2929"/>
                  </a:lnTo>
                  <a:lnTo>
                    <a:pt x="1411" y="2954"/>
                  </a:lnTo>
                  <a:lnTo>
                    <a:pt x="1435" y="2978"/>
                  </a:lnTo>
                  <a:lnTo>
                    <a:pt x="1411" y="3009"/>
                  </a:lnTo>
                  <a:lnTo>
                    <a:pt x="1411" y="3035"/>
                  </a:lnTo>
                  <a:lnTo>
                    <a:pt x="1411" y="3059"/>
                  </a:lnTo>
                  <a:lnTo>
                    <a:pt x="1380" y="3009"/>
                  </a:lnTo>
                  <a:lnTo>
                    <a:pt x="1411" y="3009"/>
                  </a:lnTo>
                  <a:lnTo>
                    <a:pt x="1411" y="2954"/>
                  </a:lnTo>
                  <a:lnTo>
                    <a:pt x="1355" y="2929"/>
                  </a:lnTo>
                  <a:lnTo>
                    <a:pt x="1355" y="2954"/>
                  </a:lnTo>
                  <a:lnTo>
                    <a:pt x="1355" y="2978"/>
                  </a:lnTo>
                  <a:lnTo>
                    <a:pt x="1355" y="3009"/>
                  </a:lnTo>
                  <a:lnTo>
                    <a:pt x="1330" y="3035"/>
                  </a:lnTo>
                  <a:lnTo>
                    <a:pt x="1355" y="3035"/>
                  </a:lnTo>
                  <a:lnTo>
                    <a:pt x="1380" y="3035"/>
                  </a:lnTo>
                  <a:lnTo>
                    <a:pt x="1380" y="3059"/>
                  </a:lnTo>
                  <a:lnTo>
                    <a:pt x="1355" y="3115"/>
                  </a:lnTo>
                  <a:lnTo>
                    <a:pt x="1330" y="3090"/>
                  </a:lnTo>
                  <a:lnTo>
                    <a:pt x="1299" y="3090"/>
                  </a:lnTo>
                  <a:lnTo>
                    <a:pt x="1274" y="3090"/>
                  </a:lnTo>
                  <a:lnTo>
                    <a:pt x="1274" y="3115"/>
                  </a:lnTo>
                  <a:lnTo>
                    <a:pt x="1274" y="3146"/>
                  </a:lnTo>
                  <a:lnTo>
                    <a:pt x="1219" y="3171"/>
                  </a:lnTo>
                  <a:lnTo>
                    <a:pt x="1219" y="3146"/>
                  </a:lnTo>
                  <a:lnTo>
                    <a:pt x="1193" y="3146"/>
                  </a:lnTo>
                  <a:lnTo>
                    <a:pt x="1138" y="3090"/>
                  </a:lnTo>
                  <a:close/>
                  <a:moveTo>
                    <a:pt x="1169" y="1440"/>
                  </a:moveTo>
                  <a:lnTo>
                    <a:pt x="1169" y="1464"/>
                  </a:lnTo>
                  <a:lnTo>
                    <a:pt x="1169" y="1489"/>
                  </a:lnTo>
                  <a:lnTo>
                    <a:pt x="1193" y="1489"/>
                  </a:lnTo>
                  <a:lnTo>
                    <a:pt x="1219" y="1464"/>
                  </a:lnTo>
                  <a:lnTo>
                    <a:pt x="1193" y="1464"/>
                  </a:lnTo>
                  <a:lnTo>
                    <a:pt x="1193" y="1440"/>
                  </a:lnTo>
                  <a:lnTo>
                    <a:pt x="1169" y="1440"/>
                  </a:lnTo>
                  <a:close/>
                  <a:moveTo>
                    <a:pt x="1169" y="1626"/>
                  </a:moveTo>
                  <a:lnTo>
                    <a:pt x="1138" y="1600"/>
                  </a:lnTo>
                  <a:lnTo>
                    <a:pt x="1169" y="1600"/>
                  </a:lnTo>
                  <a:lnTo>
                    <a:pt x="1169" y="1569"/>
                  </a:lnTo>
                  <a:lnTo>
                    <a:pt x="1138" y="1569"/>
                  </a:lnTo>
                  <a:lnTo>
                    <a:pt x="1138" y="1545"/>
                  </a:lnTo>
                  <a:lnTo>
                    <a:pt x="1169" y="1569"/>
                  </a:lnTo>
                  <a:lnTo>
                    <a:pt x="1193" y="1545"/>
                  </a:lnTo>
                  <a:lnTo>
                    <a:pt x="1169" y="1521"/>
                  </a:lnTo>
                  <a:lnTo>
                    <a:pt x="1193" y="1521"/>
                  </a:lnTo>
                  <a:lnTo>
                    <a:pt x="1193" y="1489"/>
                  </a:lnTo>
                  <a:lnTo>
                    <a:pt x="1169" y="1489"/>
                  </a:lnTo>
                  <a:lnTo>
                    <a:pt x="1138" y="1489"/>
                  </a:lnTo>
                  <a:lnTo>
                    <a:pt x="1138" y="1521"/>
                  </a:lnTo>
                  <a:lnTo>
                    <a:pt x="1113" y="1545"/>
                  </a:lnTo>
                  <a:lnTo>
                    <a:pt x="1138" y="1626"/>
                  </a:lnTo>
                  <a:lnTo>
                    <a:pt x="1138" y="1650"/>
                  </a:lnTo>
                  <a:lnTo>
                    <a:pt x="1169" y="1650"/>
                  </a:lnTo>
                  <a:lnTo>
                    <a:pt x="1138" y="1626"/>
                  </a:lnTo>
                  <a:lnTo>
                    <a:pt x="1169" y="1626"/>
                  </a:lnTo>
                  <a:close/>
                  <a:moveTo>
                    <a:pt x="1169" y="1980"/>
                  </a:moveTo>
                  <a:lnTo>
                    <a:pt x="1193" y="1980"/>
                  </a:lnTo>
                  <a:lnTo>
                    <a:pt x="1193" y="1949"/>
                  </a:lnTo>
                  <a:lnTo>
                    <a:pt x="1219" y="1949"/>
                  </a:lnTo>
                  <a:lnTo>
                    <a:pt x="1219" y="1923"/>
                  </a:lnTo>
                  <a:lnTo>
                    <a:pt x="1250" y="1923"/>
                  </a:lnTo>
                  <a:lnTo>
                    <a:pt x="1193" y="1923"/>
                  </a:lnTo>
                  <a:lnTo>
                    <a:pt x="1169" y="1923"/>
                  </a:lnTo>
                  <a:lnTo>
                    <a:pt x="1169" y="1980"/>
                  </a:lnTo>
                  <a:close/>
                  <a:moveTo>
                    <a:pt x="1274" y="1899"/>
                  </a:moveTo>
                  <a:lnTo>
                    <a:pt x="1274" y="1923"/>
                  </a:lnTo>
                  <a:lnTo>
                    <a:pt x="1299" y="1923"/>
                  </a:lnTo>
                  <a:lnTo>
                    <a:pt x="1299" y="1899"/>
                  </a:lnTo>
                  <a:lnTo>
                    <a:pt x="1330" y="1899"/>
                  </a:lnTo>
                  <a:lnTo>
                    <a:pt x="1330" y="1868"/>
                  </a:lnTo>
                  <a:lnTo>
                    <a:pt x="1299" y="1868"/>
                  </a:lnTo>
                  <a:lnTo>
                    <a:pt x="1274" y="1899"/>
                  </a:lnTo>
                  <a:close/>
                  <a:moveTo>
                    <a:pt x="1274" y="1191"/>
                  </a:moveTo>
                  <a:lnTo>
                    <a:pt x="1299" y="1222"/>
                  </a:lnTo>
                  <a:lnTo>
                    <a:pt x="1330" y="1248"/>
                  </a:lnTo>
                  <a:lnTo>
                    <a:pt x="1355" y="1248"/>
                  </a:lnTo>
                  <a:lnTo>
                    <a:pt x="1330" y="1248"/>
                  </a:lnTo>
                  <a:lnTo>
                    <a:pt x="1330" y="1272"/>
                  </a:lnTo>
                  <a:lnTo>
                    <a:pt x="1274" y="1272"/>
                  </a:lnTo>
                  <a:lnTo>
                    <a:pt x="1274" y="1303"/>
                  </a:lnTo>
                  <a:lnTo>
                    <a:pt x="1299" y="1328"/>
                  </a:lnTo>
                  <a:lnTo>
                    <a:pt x="1330" y="1328"/>
                  </a:lnTo>
                  <a:lnTo>
                    <a:pt x="1355" y="1303"/>
                  </a:lnTo>
                  <a:lnTo>
                    <a:pt x="1355" y="1272"/>
                  </a:lnTo>
                  <a:lnTo>
                    <a:pt x="1330" y="1272"/>
                  </a:lnTo>
                  <a:lnTo>
                    <a:pt x="1355" y="1272"/>
                  </a:lnTo>
                  <a:lnTo>
                    <a:pt x="1380" y="1272"/>
                  </a:lnTo>
                  <a:lnTo>
                    <a:pt x="1380" y="1248"/>
                  </a:lnTo>
                  <a:lnTo>
                    <a:pt x="1380" y="1222"/>
                  </a:lnTo>
                  <a:lnTo>
                    <a:pt x="1411" y="1191"/>
                  </a:lnTo>
                  <a:lnTo>
                    <a:pt x="1380" y="1222"/>
                  </a:lnTo>
                  <a:lnTo>
                    <a:pt x="1411" y="1272"/>
                  </a:lnTo>
                  <a:lnTo>
                    <a:pt x="1435" y="1272"/>
                  </a:lnTo>
                  <a:lnTo>
                    <a:pt x="1435" y="1248"/>
                  </a:lnTo>
                  <a:lnTo>
                    <a:pt x="1435" y="1222"/>
                  </a:lnTo>
                  <a:lnTo>
                    <a:pt x="1492" y="1222"/>
                  </a:lnTo>
                  <a:lnTo>
                    <a:pt x="1466" y="1191"/>
                  </a:lnTo>
                  <a:lnTo>
                    <a:pt x="1411" y="1167"/>
                  </a:lnTo>
                  <a:lnTo>
                    <a:pt x="1466" y="1167"/>
                  </a:lnTo>
                  <a:lnTo>
                    <a:pt x="1492" y="1167"/>
                  </a:lnTo>
                  <a:lnTo>
                    <a:pt x="1492" y="1142"/>
                  </a:lnTo>
                  <a:lnTo>
                    <a:pt x="1516" y="1167"/>
                  </a:lnTo>
                  <a:lnTo>
                    <a:pt x="1547" y="1142"/>
                  </a:lnTo>
                  <a:lnTo>
                    <a:pt x="1573" y="1111"/>
                  </a:lnTo>
                  <a:lnTo>
                    <a:pt x="1547" y="1111"/>
                  </a:lnTo>
                  <a:lnTo>
                    <a:pt x="1516" y="1142"/>
                  </a:lnTo>
                  <a:lnTo>
                    <a:pt x="1492" y="1111"/>
                  </a:lnTo>
                  <a:lnTo>
                    <a:pt x="1547" y="1086"/>
                  </a:lnTo>
                  <a:lnTo>
                    <a:pt x="1547" y="1055"/>
                  </a:lnTo>
                  <a:lnTo>
                    <a:pt x="1573" y="1030"/>
                  </a:lnTo>
                  <a:lnTo>
                    <a:pt x="1547" y="975"/>
                  </a:lnTo>
                  <a:lnTo>
                    <a:pt x="1547" y="1005"/>
                  </a:lnTo>
                  <a:lnTo>
                    <a:pt x="1466" y="1030"/>
                  </a:lnTo>
                  <a:lnTo>
                    <a:pt x="1466" y="1055"/>
                  </a:lnTo>
                  <a:lnTo>
                    <a:pt x="1435" y="1055"/>
                  </a:lnTo>
                  <a:lnTo>
                    <a:pt x="1380" y="1086"/>
                  </a:lnTo>
                  <a:lnTo>
                    <a:pt x="1411" y="1111"/>
                  </a:lnTo>
                  <a:lnTo>
                    <a:pt x="1411" y="1142"/>
                  </a:lnTo>
                  <a:lnTo>
                    <a:pt x="1355" y="1142"/>
                  </a:lnTo>
                  <a:lnTo>
                    <a:pt x="1355" y="1167"/>
                  </a:lnTo>
                  <a:lnTo>
                    <a:pt x="1355" y="1142"/>
                  </a:lnTo>
                  <a:lnTo>
                    <a:pt x="1355" y="1086"/>
                  </a:lnTo>
                  <a:lnTo>
                    <a:pt x="1330" y="1086"/>
                  </a:lnTo>
                  <a:lnTo>
                    <a:pt x="1299" y="1111"/>
                  </a:lnTo>
                  <a:lnTo>
                    <a:pt x="1330" y="1111"/>
                  </a:lnTo>
                  <a:lnTo>
                    <a:pt x="1299" y="1111"/>
                  </a:lnTo>
                  <a:lnTo>
                    <a:pt x="1274" y="1142"/>
                  </a:lnTo>
                  <a:lnTo>
                    <a:pt x="1299" y="1167"/>
                  </a:lnTo>
                  <a:lnTo>
                    <a:pt x="1299" y="1191"/>
                  </a:lnTo>
                  <a:lnTo>
                    <a:pt x="1330" y="1167"/>
                  </a:lnTo>
                  <a:lnTo>
                    <a:pt x="1330" y="1191"/>
                  </a:lnTo>
                  <a:lnTo>
                    <a:pt x="1299" y="1191"/>
                  </a:lnTo>
                  <a:lnTo>
                    <a:pt x="1274" y="1167"/>
                  </a:lnTo>
                  <a:lnTo>
                    <a:pt x="1274" y="1191"/>
                  </a:lnTo>
                  <a:close/>
                  <a:moveTo>
                    <a:pt x="1330" y="2197"/>
                  </a:moveTo>
                  <a:lnTo>
                    <a:pt x="1355" y="2197"/>
                  </a:lnTo>
                  <a:lnTo>
                    <a:pt x="1380" y="2166"/>
                  </a:lnTo>
                  <a:lnTo>
                    <a:pt x="1330" y="2166"/>
                  </a:lnTo>
                  <a:lnTo>
                    <a:pt x="1330" y="2197"/>
                  </a:lnTo>
                  <a:close/>
                  <a:moveTo>
                    <a:pt x="1330" y="2085"/>
                  </a:moveTo>
                  <a:lnTo>
                    <a:pt x="1411" y="2085"/>
                  </a:lnTo>
                  <a:lnTo>
                    <a:pt x="1435" y="2085"/>
                  </a:lnTo>
                  <a:lnTo>
                    <a:pt x="1466" y="2060"/>
                  </a:lnTo>
                  <a:lnTo>
                    <a:pt x="1466" y="2085"/>
                  </a:lnTo>
                  <a:lnTo>
                    <a:pt x="1492" y="2085"/>
                  </a:lnTo>
                  <a:lnTo>
                    <a:pt x="1516" y="2060"/>
                  </a:lnTo>
                  <a:lnTo>
                    <a:pt x="1492" y="2060"/>
                  </a:lnTo>
                  <a:lnTo>
                    <a:pt x="1516" y="2035"/>
                  </a:lnTo>
                  <a:lnTo>
                    <a:pt x="1516" y="2060"/>
                  </a:lnTo>
                  <a:lnTo>
                    <a:pt x="1547" y="2035"/>
                  </a:lnTo>
                  <a:lnTo>
                    <a:pt x="1492" y="1980"/>
                  </a:lnTo>
                  <a:lnTo>
                    <a:pt x="1466" y="1980"/>
                  </a:lnTo>
                  <a:lnTo>
                    <a:pt x="1466" y="1949"/>
                  </a:lnTo>
                  <a:lnTo>
                    <a:pt x="1435" y="1899"/>
                  </a:lnTo>
                  <a:lnTo>
                    <a:pt x="1411" y="1899"/>
                  </a:lnTo>
                  <a:lnTo>
                    <a:pt x="1380" y="1923"/>
                  </a:lnTo>
                  <a:lnTo>
                    <a:pt x="1355" y="1923"/>
                  </a:lnTo>
                  <a:lnTo>
                    <a:pt x="1380" y="1949"/>
                  </a:lnTo>
                  <a:lnTo>
                    <a:pt x="1355" y="1949"/>
                  </a:lnTo>
                  <a:lnTo>
                    <a:pt x="1380" y="1949"/>
                  </a:lnTo>
                  <a:lnTo>
                    <a:pt x="1380" y="1980"/>
                  </a:lnTo>
                  <a:lnTo>
                    <a:pt x="1355" y="1980"/>
                  </a:lnTo>
                  <a:lnTo>
                    <a:pt x="1380" y="2004"/>
                  </a:lnTo>
                  <a:lnTo>
                    <a:pt x="1435" y="1980"/>
                  </a:lnTo>
                  <a:lnTo>
                    <a:pt x="1435" y="2004"/>
                  </a:lnTo>
                  <a:lnTo>
                    <a:pt x="1411" y="2004"/>
                  </a:lnTo>
                  <a:lnTo>
                    <a:pt x="1380" y="2035"/>
                  </a:lnTo>
                  <a:lnTo>
                    <a:pt x="1411" y="2035"/>
                  </a:lnTo>
                  <a:lnTo>
                    <a:pt x="1435" y="2035"/>
                  </a:lnTo>
                  <a:lnTo>
                    <a:pt x="1435" y="2060"/>
                  </a:lnTo>
                  <a:lnTo>
                    <a:pt x="1380" y="2060"/>
                  </a:lnTo>
                  <a:lnTo>
                    <a:pt x="1355" y="2060"/>
                  </a:lnTo>
                  <a:lnTo>
                    <a:pt x="1355" y="2035"/>
                  </a:lnTo>
                  <a:lnTo>
                    <a:pt x="1330" y="2035"/>
                  </a:lnTo>
                  <a:lnTo>
                    <a:pt x="1330" y="2085"/>
                  </a:lnTo>
                  <a:close/>
                  <a:moveTo>
                    <a:pt x="1355" y="2253"/>
                  </a:moveTo>
                  <a:lnTo>
                    <a:pt x="1330" y="2253"/>
                  </a:lnTo>
                  <a:lnTo>
                    <a:pt x="1299" y="2277"/>
                  </a:lnTo>
                  <a:lnTo>
                    <a:pt x="1299" y="2253"/>
                  </a:lnTo>
                  <a:lnTo>
                    <a:pt x="1274" y="2277"/>
                  </a:lnTo>
                  <a:lnTo>
                    <a:pt x="1250" y="2303"/>
                  </a:lnTo>
                  <a:lnTo>
                    <a:pt x="1274" y="2303"/>
                  </a:lnTo>
                  <a:lnTo>
                    <a:pt x="1250" y="2303"/>
                  </a:lnTo>
                  <a:lnTo>
                    <a:pt x="1250" y="2334"/>
                  </a:lnTo>
                  <a:lnTo>
                    <a:pt x="1250" y="2358"/>
                  </a:lnTo>
                  <a:lnTo>
                    <a:pt x="1274" y="2303"/>
                  </a:lnTo>
                  <a:lnTo>
                    <a:pt x="1330" y="2303"/>
                  </a:lnTo>
                  <a:lnTo>
                    <a:pt x="1299" y="2334"/>
                  </a:lnTo>
                  <a:lnTo>
                    <a:pt x="1299" y="2358"/>
                  </a:lnTo>
                  <a:lnTo>
                    <a:pt x="1274" y="2383"/>
                  </a:lnTo>
                  <a:lnTo>
                    <a:pt x="1274" y="2414"/>
                  </a:lnTo>
                  <a:lnTo>
                    <a:pt x="1299" y="2414"/>
                  </a:lnTo>
                  <a:lnTo>
                    <a:pt x="1299" y="2383"/>
                  </a:lnTo>
                  <a:lnTo>
                    <a:pt x="1330" y="2383"/>
                  </a:lnTo>
                  <a:lnTo>
                    <a:pt x="1380" y="2358"/>
                  </a:lnTo>
                  <a:lnTo>
                    <a:pt x="1380" y="2334"/>
                  </a:lnTo>
                  <a:lnTo>
                    <a:pt x="1355" y="2303"/>
                  </a:lnTo>
                  <a:lnTo>
                    <a:pt x="1355" y="2253"/>
                  </a:lnTo>
                  <a:close/>
                  <a:moveTo>
                    <a:pt x="1355" y="1707"/>
                  </a:moveTo>
                  <a:lnTo>
                    <a:pt x="1380" y="1762"/>
                  </a:lnTo>
                  <a:lnTo>
                    <a:pt x="1411" y="1762"/>
                  </a:lnTo>
                  <a:lnTo>
                    <a:pt x="1435" y="1738"/>
                  </a:lnTo>
                  <a:lnTo>
                    <a:pt x="1411" y="1707"/>
                  </a:lnTo>
                  <a:lnTo>
                    <a:pt x="1411" y="1681"/>
                  </a:lnTo>
                  <a:lnTo>
                    <a:pt x="1355" y="1707"/>
                  </a:lnTo>
                  <a:close/>
                  <a:moveTo>
                    <a:pt x="1411" y="1650"/>
                  </a:moveTo>
                  <a:lnTo>
                    <a:pt x="1466" y="1650"/>
                  </a:lnTo>
                  <a:lnTo>
                    <a:pt x="1466" y="1626"/>
                  </a:lnTo>
                  <a:lnTo>
                    <a:pt x="1466" y="1681"/>
                  </a:lnTo>
                  <a:lnTo>
                    <a:pt x="1492" y="1626"/>
                  </a:lnTo>
                  <a:lnTo>
                    <a:pt x="1516" y="1650"/>
                  </a:lnTo>
                  <a:lnTo>
                    <a:pt x="1547" y="1650"/>
                  </a:lnTo>
                  <a:lnTo>
                    <a:pt x="1492" y="1681"/>
                  </a:lnTo>
                  <a:lnTo>
                    <a:pt x="1466" y="1707"/>
                  </a:lnTo>
                  <a:lnTo>
                    <a:pt x="1492" y="1738"/>
                  </a:lnTo>
                  <a:lnTo>
                    <a:pt x="1547" y="1707"/>
                  </a:lnTo>
                  <a:lnTo>
                    <a:pt x="1547" y="1681"/>
                  </a:lnTo>
                  <a:lnTo>
                    <a:pt x="1573" y="1650"/>
                  </a:lnTo>
                  <a:lnTo>
                    <a:pt x="1597" y="1626"/>
                  </a:lnTo>
                  <a:lnTo>
                    <a:pt x="1573" y="1626"/>
                  </a:lnTo>
                  <a:lnTo>
                    <a:pt x="1547" y="1626"/>
                  </a:lnTo>
                  <a:lnTo>
                    <a:pt x="1492" y="1600"/>
                  </a:lnTo>
                  <a:lnTo>
                    <a:pt x="1492" y="1545"/>
                  </a:lnTo>
                  <a:lnTo>
                    <a:pt x="1466" y="1545"/>
                  </a:lnTo>
                  <a:lnTo>
                    <a:pt x="1492" y="1521"/>
                  </a:lnTo>
                  <a:lnTo>
                    <a:pt x="1492" y="1440"/>
                  </a:lnTo>
                  <a:lnTo>
                    <a:pt x="1466" y="1384"/>
                  </a:lnTo>
                  <a:lnTo>
                    <a:pt x="1435" y="1409"/>
                  </a:lnTo>
                  <a:lnTo>
                    <a:pt x="1435" y="1440"/>
                  </a:lnTo>
                  <a:lnTo>
                    <a:pt x="1435" y="1464"/>
                  </a:lnTo>
                  <a:lnTo>
                    <a:pt x="1435" y="1489"/>
                  </a:lnTo>
                  <a:lnTo>
                    <a:pt x="1411" y="1489"/>
                  </a:lnTo>
                  <a:lnTo>
                    <a:pt x="1380" y="1409"/>
                  </a:lnTo>
                  <a:lnTo>
                    <a:pt x="1355" y="1440"/>
                  </a:lnTo>
                  <a:lnTo>
                    <a:pt x="1380" y="1464"/>
                  </a:lnTo>
                  <a:lnTo>
                    <a:pt x="1355" y="1464"/>
                  </a:lnTo>
                  <a:lnTo>
                    <a:pt x="1380" y="1521"/>
                  </a:lnTo>
                  <a:lnTo>
                    <a:pt x="1355" y="1489"/>
                  </a:lnTo>
                  <a:lnTo>
                    <a:pt x="1330" y="1464"/>
                  </a:lnTo>
                  <a:lnTo>
                    <a:pt x="1330" y="1489"/>
                  </a:lnTo>
                  <a:lnTo>
                    <a:pt x="1299" y="1489"/>
                  </a:lnTo>
                  <a:lnTo>
                    <a:pt x="1330" y="1521"/>
                  </a:lnTo>
                  <a:lnTo>
                    <a:pt x="1355" y="1545"/>
                  </a:lnTo>
                  <a:lnTo>
                    <a:pt x="1380" y="1521"/>
                  </a:lnTo>
                  <a:lnTo>
                    <a:pt x="1411" y="1545"/>
                  </a:lnTo>
                  <a:lnTo>
                    <a:pt x="1411" y="1569"/>
                  </a:lnTo>
                  <a:lnTo>
                    <a:pt x="1380" y="1569"/>
                  </a:lnTo>
                  <a:lnTo>
                    <a:pt x="1380" y="1600"/>
                  </a:lnTo>
                  <a:lnTo>
                    <a:pt x="1411" y="1600"/>
                  </a:lnTo>
                  <a:lnTo>
                    <a:pt x="1411" y="1626"/>
                  </a:lnTo>
                  <a:lnTo>
                    <a:pt x="1435" y="1626"/>
                  </a:lnTo>
                  <a:lnTo>
                    <a:pt x="1411" y="1650"/>
                  </a:lnTo>
                  <a:close/>
                  <a:moveTo>
                    <a:pt x="1435" y="2253"/>
                  </a:moveTo>
                  <a:lnTo>
                    <a:pt x="1380" y="2253"/>
                  </a:lnTo>
                  <a:lnTo>
                    <a:pt x="1355" y="2303"/>
                  </a:lnTo>
                  <a:lnTo>
                    <a:pt x="1380" y="2303"/>
                  </a:lnTo>
                  <a:lnTo>
                    <a:pt x="1380" y="2334"/>
                  </a:lnTo>
                  <a:lnTo>
                    <a:pt x="1411" y="2303"/>
                  </a:lnTo>
                  <a:lnTo>
                    <a:pt x="1492" y="2197"/>
                  </a:lnTo>
                  <a:lnTo>
                    <a:pt x="1492" y="2166"/>
                  </a:lnTo>
                  <a:lnTo>
                    <a:pt x="1411" y="2197"/>
                  </a:lnTo>
                  <a:lnTo>
                    <a:pt x="1411" y="2222"/>
                  </a:lnTo>
                  <a:lnTo>
                    <a:pt x="1411" y="2253"/>
                  </a:lnTo>
                  <a:lnTo>
                    <a:pt x="1435" y="2253"/>
                  </a:lnTo>
                  <a:close/>
                  <a:moveTo>
                    <a:pt x="1435" y="1762"/>
                  </a:moveTo>
                  <a:lnTo>
                    <a:pt x="1411" y="1787"/>
                  </a:lnTo>
                  <a:lnTo>
                    <a:pt x="1435" y="1787"/>
                  </a:lnTo>
                  <a:lnTo>
                    <a:pt x="1466" y="1762"/>
                  </a:lnTo>
                  <a:lnTo>
                    <a:pt x="1435" y="1762"/>
                  </a:lnTo>
                  <a:close/>
                  <a:moveTo>
                    <a:pt x="1492" y="1521"/>
                  </a:moveTo>
                  <a:lnTo>
                    <a:pt x="1492" y="1569"/>
                  </a:lnTo>
                  <a:lnTo>
                    <a:pt x="1516" y="1569"/>
                  </a:lnTo>
                  <a:lnTo>
                    <a:pt x="1516" y="1521"/>
                  </a:lnTo>
                  <a:lnTo>
                    <a:pt x="1547" y="1489"/>
                  </a:lnTo>
                  <a:lnTo>
                    <a:pt x="1516" y="1489"/>
                  </a:lnTo>
                  <a:lnTo>
                    <a:pt x="1516" y="1521"/>
                  </a:lnTo>
                  <a:lnTo>
                    <a:pt x="1492" y="1521"/>
                  </a:lnTo>
                  <a:close/>
                  <a:moveTo>
                    <a:pt x="1516" y="1569"/>
                  </a:moveTo>
                  <a:lnTo>
                    <a:pt x="1516" y="1600"/>
                  </a:lnTo>
                  <a:lnTo>
                    <a:pt x="1547" y="1600"/>
                  </a:lnTo>
                  <a:lnTo>
                    <a:pt x="1516" y="1569"/>
                  </a:lnTo>
                  <a:close/>
                  <a:moveTo>
                    <a:pt x="1629" y="2463"/>
                  </a:moveTo>
                  <a:lnTo>
                    <a:pt x="1597" y="2463"/>
                  </a:lnTo>
                  <a:lnTo>
                    <a:pt x="1597" y="2414"/>
                  </a:lnTo>
                  <a:lnTo>
                    <a:pt x="1597" y="2383"/>
                  </a:lnTo>
                  <a:lnTo>
                    <a:pt x="1573" y="2383"/>
                  </a:lnTo>
                  <a:lnTo>
                    <a:pt x="1547" y="2414"/>
                  </a:lnTo>
                  <a:lnTo>
                    <a:pt x="1547" y="2439"/>
                  </a:lnTo>
                  <a:lnTo>
                    <a:pt x="1547" y="2463"/>
                  </a:lnTo>
                  <a:lnTo>
                    <a:pt x="1547" y="2495"/>
                  </a:lnTo>
                  <a:lnTo>
                    <a:pt x="1547" y="2519"/>
                  </a:lnTo>
                  <a:lnTo>
                    <a:pt x="1573" y="2519"/>
                  </a:lnTo>
                  <a:lnTo>
                    <a:pt x="1597" y="2550"/>
                  </a:lnTo>
                  <a:lnTo>
                    <a:pt x="1629" y="2495"/>
                  </a:lnTo>
                  <a:lnTo>
                    <a:pt x="1597" y="2495"/>
                  </a:lnTo>
                  <a:lnTo>
                    <a:pt x="1629" y="2463"/>
                  </a:lnTo>
                  <a:close/>
                  <a:moveTo>
                    <a:pt x="1629" y="2303"/>
                  </a:moveTo>
                  <a:lnTo>
                    <a:pt x="1597" y="2303"/>
                  </a:lnTo>
                  <a:lnTo>
                    <a:pt x="1629" y="2334"/>
                  </a:lnTo>
                  <a:lnTo>
                    <a:pt x="1629" y="2383"/>
                  </a:lnTo>
                  <a:lnTo>
                    <a:pt x="1653" y="2414"/>
                  </a:lnTo>
                  <a:lnTo>
                    <a:pt x="1653" y="2383"/>
                  </a:lnTo>
                  <a:lnTo>
                    <a:pt x="1653" y="2358"/>
                  </a:lnTo>
                  <a:lnTo>
                    <a:pt x="1653" y="2334"/>
                  </a:lnTo>
                  <a:lnTo>
                    <a:pt x="1629" y="2303"/>
                  </a:lnTo>
                  <a:close/>
                  <a:moveTo>
                    <a:pt x="1629" y="3661"/>
                  </a:moveTo>
                  <a:lnTo>
                    <a:pt x="1629" y="3686"/>
                  </a:lnTo>
                  <a:lnTo>
                    <a:pt x="1653" y="3686"/>
                  </a:lnTo>
                  <a:lnTo>
                    <a:pt x="1678" y="3630"/>
                  </a:lnTo>
                  <a:lnTo>
                    <a:pt x="1734" y="3630"/>
                  </a:lnTo>
                  <a:lnTo>
                    <a:pt x="1734" y="3605"/>
                  </a:lnTo>
                  <a:lnTo>
                    <a:pt x="1710" y="3605"/>
                  </a:lnTo>
                  <a:lnTo>
                    <a:pt x="1678" y="3574"/>
                  </a:lnTo>
                  <a:lnTo>
                    <a:pt x="1678" y="3549"/>
                  </a:lnTo>
                  <a:lnTo>
                    <a:pt x="1653" y="3549"/>
                  </a:lnTo>
                  <a:lnTo>
                    <a:pt x="1629" y="3549"/>
                  </a:lnTo>
                  <a:lnTo>
                    <a:pt x="1597" y="3549"/>
                  </a:lnTo>
                  <a:lnTo>
                    <a:pt x="1597" y="3574"/>
                  </a:lnTo>
                  <a:lnTo>
                    <a:pt x="1597" y="3605"/>
                  </a:lnTo>
                  <a:lnTo>
                    <a:pt x="1573" y="3605"/>
                  </a:lnTo>
                  <a:lnTo>
                    <a:pt x="1573" y="3574"/>
                  </a:lnTo>
                  <a:lnTo>
                    <a:pt x="1547" y="3574"/>
                  </a:lnTo>
                  <a:lnTo>
                    <a:pt x="1547" y="3605"/>
                  </a:lnTo>
                  <a:lnTo>
                    <a:pt x="1573" y="3605"/>
                  </a:lnTo>
                  <a:lnTo>
                    <a:pt x="1573" y="3630"/>
                  </a:lnTo>
                  <a:lnTo>
                    <a:pt x="1573" y="3605"/>
                  </a:lnTo>
                  <a:lnTo>
                    <a:pt x="1597" y="3605"/>
                  </a:lnTo>
                  <a:lnTo>
                    <a:pt x="1597" y="3630"/>
                  </a:lnTo>
                  <a:lnTo>
                    <a:pt x="1597" y="3661"/>
                  </a:lnTo>
                  <a:lnTo>
                    <a:pt x="1629" y="3686"/>
                  </a:lnTo>
                  <a:lnTo>
                    <a:pt x="1629" y="3661"/>
                  </a:lnTo>
                  <a:close/>
                  <a:moveTo>
                    <a:pt x="1678" y="3059"/>
                  </a:moveTo>
                  <a:lnTo>
                    <a:pt x="1653" y="3115"/>
                  </a:lnTo>
                  <a:lnTo>
                    <a:pt x="1597" y="3146"/>
                  </a:lnTo>
                  <a:lnTo>
                    <a:pt x="1597" y="3196"/>
                  </a:lnTo>
                  <a:lnTo>
                    <a:pt x="1573" y="3227"/>
                  </a:lnTo>
                  <a:lnTo>
                    <a:pt x="1597" y="3196"/>
                  </a:lnTo>
                  <a:lnTo>
                    <a:pt x="1629" y="3227"/>
                  </a:lnTo>
                  <a:lnTo>
                    <a:pt x="1678" y="3171"/>
                  </a:lnTo>
                  <a:lnTo>
                    <a:pt x="1710" y="3171"/>
                  </a:lnTo>
                  <a:lnTo>
                    <a:pt x="1734" y="3115"/>
                  </a:lnTo>
                  <a:lnTo>
                    <a:pt x="1710" y="3090"/>
                  </a:lnTo>
                  <a:lnTo>
                    <a:pt x="1734" y="3059"/>
                  </a:lnTo>
                  <a:lnTo>
                    <a:pt x="1678" y="3059"/>
                  </a:lnTo>
                  <a:close/>
                  <a:moveTo>
                    <a:pt x="1926" y="5498"/>
                  </a:moveTo>
                  <a:lnTo>
                    <a:pt x="1896" y="5529"/>
                  </a:lnTo>
                  <a:lnTo>
                    <a:pt x="1926" y="5554"/>
                  </a:lnTo>
                  <a:lnTo>
                    <a:pt x="1926" y="5529"/>
                  </a:lnTo>
                  <a:lnTo>
                    <a:pt x="1952" y="5529"/>
                  </a:lnTo>
                  <a:lnTo>
                    <a:pt x="1952" y="5498"/>
                  </a:lnTo>
                  <a:lnTo>
                    <a:pt x="1926" y="5498"/>
                  </a:lnTo>
                  <a:close/>
                  <a:moveTo>
                    <a:pt x="2007" y="5417"/>
                  </a:moveTo>
                  <a:lnTo>
                    <a:pt x="2007" y="5448"/>
                  </a:lnTo>
                  <a:lnTo>
                    <a:pt x="2033" y="5417"/>
                  </a:lnTo>
                  <a:lnTo>
                    <a:pt x="2007" y="5417"/>
                  </a:lnTo>
                  <a:close/>
                  <a:moveTo>
                    <a:pt x="2007" y="5635"/>
                  </a:moveTo>
                  <a:lnTo>
                    <a:pt x="2007" y="5666"/>
                  </a:lnTo>
                  <a:lnTo>
                    <a:pt x="2007" y="5690"/>
                  </a:lnTo>
                  <a:lnTo>
                    <a:pt x="2033" y="5690"/>
                  </a:lnTo>
                  <a:lnTo>
                    <a:pt x="2033" y="5666"/>
                  </a:lnTo>
                  <a:lnTo>
                    <a:pt x="2088" y="5690"/>
                  </a:lnTo>
                  <a:lnTo>
                    <a:pt x="2088" y="5666"/>
                  </a:lnTo>
                  <a:lnTo>
                    <a:pt x="2064" y="5635"/>
                  </a:lnTo>
                  <a:lnTo>
                    <a:pt x="2033" y="5635"/>
                  </a:lnTo>
                  <a:lnTo>
                    <a:pt x="2007" y="5635"/>
                  </a:lnTo>
                  <a:close/>
                  <a:moveTo>
                    <a:pt x="2033" y="3686"/>
                  </a:moveTo>
                  <a:lnTo>
                    <a:pt x="1976" y="3661"/>
                  </a:lnTo>
                  <a:lnTo>
                    <a:pt x="1952" y="3630"/>
                  </a:lnTo>
                  <a:lnTo>
                    <a:pt x="1871" y="3661"/>
                  </a:lnTo>
                  <a:lnTo>
                    <a:pt x="1815" y="3630"/>
                  </a:lnTo>
                  <a:lnTo>
                    <a:pt x="1790" y="3605"/>
                  </a:lnTo>
                  <a:lnTo>
                    <a:pt x="1790" y="3630"/>
                  </a:lnTo>
                  <a:lnTo>
                    <a:pt x="1765" y="3630"/>
                  </a:lnTo>
                  <a:lnTo>
                    <a:pt x="1734" y="3661"/>
                  </a:lnTo>
                  <a:lnTo>
                    <a:pt x="1710" y="3661"/>
                  </a:lnTo>
                  <a:lnTo>
                    <a:pt x="1653" y="3686"/>
                  </a:lnTo>
                  <a:lnTo>
                    <a:pt x="1629" y="3741"/>
                  </a:lnTo>
                  <a:lnTo>
                    <a:pt x="1597" y="3741"/>
                  </a:lnTo>
                  <a:lnTo>
                    <a:pt x="1573" y="3767"/>
                  </a:lnTo>
                  <a:lnTo>
                    <a:pt x="1547" y="3767"/>
                  </a:lnTo>
                  <a:lnTo>
                    <a:pt x="1516" y="3791"/>
                  </a:lnTo>
                  <a:lnTo>
                    <a:pt x="1492" y="3848"/>
                  </a:lnTo>
                  <a:lnTo>
                    <a:pt x="1547" y="3848"/>
                  </a:lnTo>
                  <a:lnTo>
                    <a:pt x="1547" y="3822"/>
                  </a:lnTo>
                  <a:lnTo>
                    <a:pt x="1573" y="3848"/>
                  </a:lnTo>
                  <a:lnTo>
                    <a:pt x="1573" y="3822"/>
                  </a:lnTo>
                  <a:lnTo>
                    <a:pt x="1597" y="3791"/>
                  </a:lnTo>
                  <a:lnTo>
                    <a:pt x="1653" y="3791"/>
                  </a:lnTo>
                  <a:lnTo>
                    <a:pt x="1678" y="3791"/>
                  </a:lnTo>
                  <a:lnTo>
                    <a:pt x="1710" y="3791"/>
                  </a:lnTo>
                  <a:lnTo>
                    <a:pt x="1710" y="3822"/>
                  </a:lnTo>
                  <a:lnTo>
                    <a:pt x="1678" y="3822"/>
                  </a:lnTo>
                  <a:lnTo>
                    <a:pt x="1678" y="3848"/>
                  </a:lnTo>
                  <a:lnTo>
                    <a:pt x="1678" y="3903"/>
                  </a:lnTo>
                  <a:lnTo>
                    <a:pt x="1653" y="3928"/>
                  </a:lnTo>
                  <a:lnTo>
                    <a:pt x="1678" y="3984"/>
                  </a:lnTo>
                  <a:lnTo>
                    <a:pt x="1710" y="3984"/>
                  </a:lnTo>
                  <a:lnTo>
                    <a:pt x="1678" y="4009"/>
                  </a:lnTo>
                  <a:lnTo>
                    <a:pt x="1629" y="4090"/>
                  </a:lnTo>
                  <a:lnTo>
                    <a:pt x="1597" y="4121"/>
                  </a:lnTo>
                  <a:lnTo>
                    <a:pt x="1573" y="4121"/>
                  </a:lnTo>
                  <a:lnTo>
                    <a:pt x="1516" y="4145"/>
                  </a:lnTo>
                  <a:lnTo>
                    <a:pt x="1466" y="4145"/>
                  </a:lnTo>
                  <a:lnTo>
                    <a:pt x="1466" y="4170"/>
                  </a:lnTo>
                  <a:lnTo>
                    <a:pt x="1466" y="4145"/>
                  </a:lnTo>
                  <a:lnTo>
                    <a:pt x="1411" y="4170"/>
                  </a:lnTo>
                  <a:lnTo>
                    <a:pt x="1411" y="4201"/>
                  </a:lnTo>
                  <a:lnTo>
                    <a:pt x="1380" y="4201"/>
                  </a:lnTo>
                  <a:lnTo>
                    <a:pt x="1355" y="4201"/>
                  </a:lnTo>
                  <a:lnTo>
                    <a:pt x="1355" y="4170"/>
                  </a:lnTo>
                  <a:lnTo>
                    <a:pt x="1330" y="4201"/>
                  </a:lnTo>
                  <a:lnTo>
                    <a:pt x="1274" y="4226"/>
                  </a:lnTo>
                  <a:lnTo>
                    <a:pt x="1250" y="4257"/>
                  </a:lnTo>
                  <a:lnTo>
                    <a:pt x="1299" y="4257"/>
                  </a:lnTo>
                  <a:lnTo>
                    <a:pt x="1330" y="4257"/>
                  </a:lnTo>
                  <a:lnTo>
                    <a:pt x="1299" y="4307"/>
                  </a:lnTo>
                  <a:lnTo>
                    <a:pt x="1250" y="4307"/>
                  </a:lnTo>
                  <a:lnTo>
                    <a:pt x="1274" y="4337"/>
                  </a:lnTo>
                  <a:lnTo>
                    <a:pt x="1274" y="4363"/>
                  </a:lnTo>
                  <a:lnTo>
                    <a:pt x="1299" y="4337"/>
                  </a:lnTo>
                  <a:lnTo>
                    <a:pt x="1355" y="4337"/>
                  </a:lnTo>
                  <a:lnTo>
                    <a:pt x="1380" y="4307"/>
                  </a:lnTo>
                  <a:lnTo>
                    <a:pt x="1411" y="4307"/>
                  </a:lnTo>
                  <a:lnTo>
                    <a:pt x="1380" y="4337"/>
                  </a:lnTo>
                  <a:lnTo>
                    <a:pt x="1380" y="4363"/>
                  </a:lnTo>
                  <a:lnTo>
                    <a:pt x="1355" y="4363"/>
                  </a:lnTo>
                  <a:lnTo>
                    <a:pt x="1299" y="4337"/>
                  </a:lnTo>
                  <a:lnTo>
                    <a:pt x="1330" y="4363"/>
                  </a:lnTo>
                  <a:lnTo>
                    <a:pt x="1330" y="4387"/>
                  </a:lnTo>
                  <a:lnTo>
                    <a:pt x="1355" y="4387"/>
                  </a:lnTo>
                  <a:lnTo>
                    <a:pt x="1380" y="4363"/>
                  </a:lnTo>
                  <a:lnTo>
                    <a:pt x="1411" y="4387"/>
                  </a:lnTo>
                  <a:lnTo>
                    <a:pt x="1435" y="4387"/>
                  </a:lnTo>
                  <a:lnTo>
                    <a:pt x="1435" y="4337"/>
                  </a:lnTo>
                  <a:lnTo>
                    <a:pt x="1466" y="4337"/>
                  </a:lnTo>
                  <a:lnTo>
                    <a:pt x="1516" y="4363"/>
                  </a:lnTo>
                  <a:lnTo>
                    <a:pt x="1516" y="4337"/>
                  </a:lnTo>
                  <a:lnTo>
                    <a:pt x="1547" y="4337"/>
                  </a:lnTo>
                  <a:lnTo>
                    <a:pt x="1547" y="4363"/>
                  </a:lnTo>
                  <a:lnTo>
                    <a:pt x="1547" y="4387"/>
                  </a:lnTo>
                  <a:lnTo>
                    <a:pt x="1573" y="4387"/>
                  </a:lnTo>
                  <a:lnTo>
                    <a:pt x="1597" y="4418"/>
                  </a:lnTo>
                  <a:lnTo>
                    <a:pt x="1597" y="4387"/>
                  </a:lnTo>
                  <a:lnTo>
                    <a:pt x="1629" y="4387"/>
                  </a:lnTo>
                  <a:lnTo>
                    <a:pt x="1629" y="4418"/>
                  </a:lnTo>
                  <a:lnTo>
                    <a:pt x="1573" y="4418"/>
                  </a:lnTo>
                  <a:lnTo>
                    <a:pt x="1547" y="4418"/>
                  </a:lnTo>
                  <a:lnTo>
                    <a:pt x="1547" y="4443"/>
                  </a:lnTo>
                  <a:lnTo>
                    <a:pt x="1573" y="4475"/>
                  </a:lnTo>
                  <a:lnTo>
                    <a:pt x="1597" y="4443"/>
                  </a:lnTo>
                  <a:lnTo>
                    <a:pt x="1597" y="4475"/>
                  </a:lnTo>
                  <a:lnTo>
                    <a:pt x="1629" y="4443"/>
                  </a:lnTo>
                  <a:lnTo>
                    <a:pt x="1678" y="4443"/>
                  </a:lnTo>
                  <a:lnTo>
                    <a:pt x="1678" y="4418"/>
                  </a:lnTo>
                  <a:lnTo>
                    <a:pt x="1678" y="4443"/>
                  </a:lnTo>
                  <a:lnTo>
                    <a:pt x="1710" y="4475"/>
                  </a:lnTo>
                  <a:lnTo>
                    <a:pt x="1710" y="4499"/>
                  </a:lnTo>
                  <a:lnTo>
                    <a:pt x="1734" y="4523"/>
                  </a:lnTo>
                  <a:lnTo>
                    <a:pt x="1734" y="4554"/>
                  </a:lnTo>
                  <a:lnTo>
                    <a:pt x="1790" y="4580"/>
                  </a:lnTo>
                  <a:lnTo>
                    <a:pt x="1871" y="4580"/>
                  </a:lnTo>
                  <a:lnTo>
                    <a:pt x="1871" y="4554"/>
                  </a:lnTo>
                  <a:lnTo>
                    <a:pt x="1896" y="4554"/>
                  </a:lnTo>
                  <a:lnTo>
                    <a:pt x="1926" y="4499"/>
                  </a:lnTo>
                  <a:lnTo>
                    <a:pt x="1952" y="4523"/>
                  </a:lnTo>
                  <a:lnTo>
                    <a:pt x="2033" y="4499"/>
                  </a:lnTo>
                  <a:lnTo>
                    <a:pt x="2064" y="4475"/>
                  </a:lnTo>
                  <a:lnTo>
                    <a:pt x="2113" y="4418"/>
                  </a:lnTo>
                  <a:lnTo>
                    <a:pt x="2144" y="4443"/>
                  </a:lnTo>
                  <a:lnTo>
                    <a:pt x="2113" y="4443"/>
                  </a:lnTo>
                  <a:lnTo>
                    <a:pt x="2088" y="4475"/>
                  </a:lnTo>
                  <a:lnTo>
                    <a:pt x="2064" y="4499"/>
                  </a:lnTo>
                  <a:lnTo>
                    <a:pt x="2033" y="4523"/>
                  </a:lnTo>
                  <a:lnTo>
                    <a:pt x="2007" y="4554"/>
                  </a:lnTo>
                  <a:lnTo>
                    <a:pt x="1976" y="4554"/>
                  </a:lnTo>
                  <a:lnTo>
                    <a:pt x="1952" y="4580"/>
                  </a:lnTo>
                  <a:lnTo>
                    <a:pt x="1926" y="4580"/>
                  </a:lnTo>
                  <a:lnTo>
                    <a:pt x="1926" y="4604"/>
                  </a:lnTo>
                  <a:lnTo>
                    <a:pt x="1896" y="4635"/>
                  </a:lnTo>
                  <a:lnTo>
                    <a:pt x="1896" y="4660"/>
                  </a:lnTo>
                  <a:lnTo>
                    <a:pt x="1846" y="4660"/>
                  </a:lnTo>
                  <a:lnTo>
                    <a:pt x="1815" y="4685"/>
                  </a:lnTo>
                  <a:lnTo>
                    <a:pt x="1790" y="4660"/>
                  </a:lnTo>
                  <a:lnTo>
                    <a:pt x="1734" y="4635"/>
                  </a:lnTo>
                  <a:lnTo>
                    <a:pt x="1710" y="4635"/>
                  </a:lnTo>
                  <a:lnTo>
                    <a:pt x="1678" y="4635"/>
                  </a:lnTo>
                  <a:lnTo>
                    <a:pt x="1597" y="4635"/>
                  </a:lnTo>
                  <a:lnTo>
                    <a:pt x="1573" y="4635"/>
                  </a:lnTo>
                  <a:lnTo>
                    <a:pt x="1547" y="4635"/>
                  </a:lnTo>
                  <a:lnTo>
                    <a:pt x="1516" y="4660"/>
                  </a:lnTo>
                  <a:lnTo>
                    <a:pt x="1516" y="4685"/>
                  </a:lnTo>
                  <a:lnTo>
                    <a:pt x="1573" y="4685"/>
                  </a:lnTo>
                  <a:lnTo>
                    <a:pt x="1516" y="4716"/>
                  </a:lnTo>
                  <a:lnTo>
                    <a:pt x="1492" y="4716"/>
                  </a:lnTo>
                  <a:lnTo>
                    <a:pt x="1435" y="4685"/>
                  </a:lnTo>
                  <a:lnTo>
                    <a:pt x="1435" y="4716"/>
                  </a:lnTo>
                  <a:lnTo>
                    <a:pt x="1411" y="4741"/>
                  </a:lnTo>
                  <a:lnTo>
                    <a:pt x="1411" y="4796"/>
                  </a:lnTo>
                  <a:lnTo>
                    <a:pt x="1330" y="4853"/>
                  </a:lnTo>
                  <a:lnTo>
                    <a:pt x="1330" y="4877"/>
                  </a:lnTo>
                  <a:lnTo>
                    <a:pt x="1274" y="4877"/>
                  </a:lnTo>
                  <a:lnTo>
                    <a:pt x="1274" y="4903"/>
                  </a:lnTo>
                  <a:lnTo>
                    <a:pt x="1250" y="4877"/>
                  </a:lnTo>
                  <a:lnTo>
                    <a:pt x="1250" y="4903"/>
                  </a:lnTo>
                  <a:lnTo>
                    <a:pt x="1219" y="4934"/>
                  </a:lnTo>
                  <a:lnTo>
                    <a:pt x="1193" y="4958"/>
                  </a:lnTo>
                  <a:lnTo>
                    <a:pt x="1193" y="4983"/>
                  </a:lnTo>
                  <a:lnTo>
                    <a:pt x="1169" y="4983"/>
                  </a:lnTo>
                  <a:lnTo>
                    <a:pt x="1138" y="5014"/>
                  </a:lnTo>
                  <a:lnTo>
                    <a:pt x="1113" y="5014"/>
                  </a:lnTo>
                  <a:lnTo>
                    <a:pt x="1082" y="5039"/>
                  </a:lnTo>
                  <a:lnTo>
                    <a:pt x="1057" y="5014"/>
                  </a:lnTo>
                  <a:lnTo>
                    <a:pt x="1001" y="5070"/>
                  </a:lnTo>
                  <a:lnTo>
                    <a:pt x="1001" y="5095"/>
                  </a:lnTo>
                  <a:lnTo>
                    <a:pt x="1032" y="5095"/>
                  </a:lnTo>
                  <a:lnTo>
                    <a:pt x="1057" y="5070"/>
                  </a:lnTo>
                  <a:lnTo>
                    <a:pt x="1113" y="5119"/>
                  </a:lnTo>
                  <a:lnTo>
                    <a:pt x="1138" y="5119"/>
                  </a:lnTo>
                  <a:lnTo>
                    <a:pt x="1138" y="5150"/>
                  </a:lnTo>
                  <a:lnTo>
                    <a:pt x="1138" y="5176"/>
                  </a:lnTo>
                  <a:lnTo>
                    <a:pt x="1169" y="5150"/>
                  </a:lnTo>
                  <a:lnTo>
                    <a:pt x="1193" y="5119"/>
                  </a:lnTo>
                  <a:lnTo>
                    <a:pt x="1169" y="5095"/>
                  </a:lnTo>
                  <a:lnTo>
                    <a:pt x="1193" y="5095"/>
                  </a:lnTo>
                  <a:lnTo>
                    <a:pt x="1193" y="5039"/>
                  </a:lnTo>
                  <a:lnTo>
                    <a:pt x="1219" y="5039"/>
                  </a:lnTo>
                  <a:lnTo>
                    <a:pt x="1219" y="5070"/>
                  </a:lnTo>
                  <a:lnTo>
                    <a:pt x="1219" y="5095"/>
                  </a:lnTo>
                  <a:lnTo>
                    <a:pt x="1250" y="5070"/>
                  </a:lnTo>
                  <a:lnTo>
                    <a:pt x="1274" y="5070"/>
                  </a:lnTo>
                  <a:lnTo>
                    <a:pt x="1299" y="5070"/>
                  </a:lnTo>
                  <a:lnTo>
                    <a:pt x="1299" y="5039"/>
                  </a:lnTo>
                  <a:lnTo>
                    <a:pt x="1299" y="5014"/>
                  </a:lnTo>
                  <a:lnTo>
                    <a:pt x="1330" y="5014"/>
                  </a:lnTo>
                  <a:lnTo>
                    <a:pt x="1411" y="5014"/>
                  </a:lnTo>
                  <a:lnTo>
                    <a:pt x="1466" y="5014"/>
                  </a:lnTo>
                  <a:lnTo>
                    <a:pt x="1466" y="5039"/>
                  </a:lnTo>
                  <a:lnTo>
                    <a:pt x="1492" y="5039"/>
                  </a:lnTo>
                  <a:lnTo>
                    <a:pt x="1466" y="5014"/>
                  </a:lnTo>
                  <a:lnTo>
                    <a:pt x="1492" y="4983"/>
                  </a:lnTo>
                  <a:lnTo>
                    <a:pt x="1492" y="4958"/>
                  </a:lnTo>
                  <a:lnTo>
                    <a:pt x="1492" y="4983"/>
                  </a:lnTo>
                  <a:lnTo>
                    <a:pt x="1492" y="5014"/>
                  </a:lnTo>
                  <a:lnTo>
                    <a:pt x="1516" y="5039"/>
                  </a:lnTo>
                  <a:lnTo>
                    <a:pt x="1516" y="5070"/>
                  </a:lnTo>
                  <a:lnTo>
                    <a:pt x="1573" y="5070"/>
                  </a:lnTo>
                  <a:lnTo>
                    <a:pt x="1573" y="5095"/>
                  </a:lnTo>
                  <a:lnTo>
                    <a:pt x="1597" y="5119"/>
                  </a:lnTo>
                  <a:lnTo>
                    <a:pt x="1597" y="5095"/>
                  </a:lnTo>
                  <a:lnTo>
                    <a:pt x="1629" y="5095"/>
                  </a:lnTo>
                  <a:lnTo>
                    <a:pt x="1597" y="5119"/>
                  </a:lnTo>
                  <a:lnTo>
                    <a:pt x="1629" y="5119"/>
                  </a:lnTo>
                  <a:lnTo>
                    <a:pt x="1653" y="5119"/>
                  </a:lnTo>
                  <a:lnTo>
                    <a:pt x="1653" y="5095"/>
                  </a:lnTo>
                  <a:lnTo>
                    <a:pt x="1678" y="5070"/>
                  </a:lnTo>
                  <a:lnTo>
                    <a:pt x="1653" y="5014"/>
                  </a:lnTo>
                  <a:lnTo>
                    <a:pt x="1678" y="5039"/>
                  </a:lnTo>
                  <a:lnTo>
                    <a:pt x="1678" y="5070"/>
                  </a:lnTo>
                  <a:lnTo>
                    <a:pt x="1710" y="5039"/>
                  </a:lnTo>
                  <a:lnTo>
                    <a:pt x="1678" y="5014"/>
                  </a:lnTo>
                  <a:lnTo>
                    <a:pt x="1710" y="5014"/>
                  </a:lnTo>
                  <a:lnTo>
                    <a:pt x="1710" y="4958"/>
                  </a:lnTo>
                  <a:lnTo>
                    <a:pt x="1734" y="4934"/>
                  </a:lnTo>
                  <a:lnTo>
                    <a:pt x="1734" y="4903"/>
                  </a:lnTo>
                  <a:lnTo>
                    <a:pt x="1734" y="4934"/>
                  </a:lnTo>
                  <a:lnTo>
                    <a:pt x="1765" y="4934"/>
                  </a:lnTo>
                  <a:lnTo>
                    <a:pt x="1790" y="4903"/>
                  </a:lnTo>
                  <a:lnTo>
                    <a:pt x="1846" y="4903"/>
                  </a:lnTo>
                  <a:lnTo>
                    <a:pt x="1871" y="4903"/>
                  </a:lnTo>
                  <a:lnTo>
                    <a:pt x="1896" y="4903"/>
                  </a:lnTo>
                  <a:lnTo>
                    <a:pt x="1926" y="4903"/>
                  </a:lnTo>
                  <a:lnTo>
                    <a:pt x="1952" y="4934"/>
                  </a:lnTo>
                  <a:lnTo>
                    <a:pt x="2033" y="4983"/>
                  </a:lnTo>
                  <a:lnTo>
                    <a:pt x="2033" y="5039"/>
                  </a:lnTo>
                  <a:lnTo>
                    <a:pt x="2064" y="4983"/>
                  </a:lnTo>
                  <a:lnTo>
                    <a:pt x="2033" y="4983"/>
                  </a:lnTo>
                  <a:lnTo>
                    <a:pt x="2064" y="4958"/>
                  </a:lnTo>
                  <a:lnTo>
                    <a:pt x="2144" y="4983"/>
                  </a:lnTo>
                  <a:lnTo>
                    <a:pt x="2169" y="5014"/>
                  </a:lnTo>
                  <a:lnTo>
                    <a:pt x="2194" y="5014"/>
                  </a:lnTo>
                  <a:lnTo>
                    <a:pt x="2194" y="4983"/>
                  </a:lnTo>
                  <a:lnTo>
                    <a:pt x="2169" y="4958"/>
                  </a:lnTo>
                  <a:lnTo>
                    <a:pt x="2144" y="4958"/>
                  </a:lnTo>
                  <a:lnTo>
                    <a:pt x="2169" y="4934"/>
                  </a:lnTo>
                  <a:lnTo>
                    <a:pt x="2194" y="4934"/>
                  </a:lnTo>
                  <a:lnTo>
                    <a:pt x="2194" y="4958"/>
                  </a:lnTo>
                  <a:lnTo>
                    <a:pt x="2225" y="4958"/>
                  </a:lnTo>
                  <a:lnTo>
                    <a:pt x="2249" y="4934"/>
                  </a:lnTo>
                  <a:lnTo>
                    <a:pt x="2281" y="4958"/>
                  </a:lnTo>
                  <a:lnTo>
                    <a:pt x="2281" y="4934"/>
                  </a:lnTo>
                  <a:lnTo>
                    <a:pt x="2306" y="4958"/>
                  </a:lnTo>
                  <a:lnTo>
                    <a:pt x="2330" y="4934"/>
                  </a:lnTo>
                  <a:lnTo>
                    <a:pt x="2362" y="4934"/>
                  </a:lnTo>
                  <a:lnTo>
                    <a:pt x="2386" y="4934"/>
                  </a:lnTo>
                  <a:lnTo>
                    <a:pt x="2362" y="4903"/>
                  </a:lnTo>
                  <a:lnTo>
                    <a:pt x="2362" y="4853"/>
                  </a:lnTo>
                  <a:lnTo>
                    <a:pt x="2412" y="4903"/>
                  </a:lnTo>
                  <a:lnTo>
                    <a:pt x="2412" y="4934"/>
                  </a:lnTo>
                  <a:lnTo>
                    <a:pt x="2443" y="4958"/>
                  </a:lnTo>
                  <a:lnTo>
                    <a:pt x="2443" y="4903"/>
                  </a:lnTo>
                  <a:lnTo>
                    <a:pt x="2467" y="4903"/>
                  </a:lnTo>
                  <a:lnTo>
                    <a:pt x="2467" y="4958"/>
                  </a:lnTo>
                  <a:lnTo>
                    <a:pt x="2493" y="4958"/>
                  </a:lnTo>
                  <a:lnTo>
                    <a:pt x="2493" y="4934"/>
                  </a:lnTo>
                  <a:lnTo>
                    <a:pt x="2467" y="4934"/>
                  </a:lnTo>
                  <a:lnTo>
                    <a:pt x="2524" y="4934"/>
                  </a:lnTo>
                  <a:lnTo>
                    <a:pt x="2548" y="4934"/>
                  </a:lnTo>
                  <a:lnTo>
                    <a:pt x="2548" y="4958"/>
                  </a:lnTo>
                  <a:lnTo>
                    <a:pt x="2524" y="4958"/>
                  </a:lnTo>
                  <a:lnTo>
                    <a:pt x="2548" y="4958"/>
                  </a:lnTo>
                  <a:lnTo>
                    <a:pt x="2548" y="4983"/>
                  </a:lnTo>
                  <a:lnTo>
                    <a:pt x="2579" y="4958"/>
                  </a:lnTo>
                  <a:lnTo>
                    <a:pt x="2685" y="4958"/>
                  </a:lnTo>
                  <a:lnTo>
                    <a:pt x="2740" y="4958"/>
                  </a:lnTo>
                  <a:lnTo>
                    <a:pt x="2766" y="4958"/>
                  </a:lnTo>
                  <a:lnTo>
                    <a:pt x="2790" y="4958"/>
                  </a:lnTo>
                  <a:lnTo>
                    <a:pt x="2790" y="5014"/>
                  </a:lnTo>
                  <a:lnTo>
                    <a:pt x="2821" y="5014"/>
                  </a:lnTo>
                  <a:lnTo>
                    <a:pt x="2877" y="5039"/>
                  </a:lnTo>
                  <a:lnTo>
                    <a:pt x="2902" y="4983"/>
                  </a:lnTo>
                  <a:lnTo>
                    <a:pt x="2927" y="4983"/>
                  </a:lnTo>
                  <a:lnTo>
                    <a:pt x="3008" y="4983"/>
                  </a:lnTo>
                  <a:lnTo>
                    <a:pt x="3064" y="4934"/>
                  </a:lnTo>
                  <a:lnTo>
                    <a:pt x="3064" y="4958"/>
                  </a:lnTo>
                  <a:lnTo>
                    <a:pt x="3089" y="4958"/>
                  </a:lnTo>
                  <a:lnTo>
                    <a:pt x="3120" y="4958"/>
                  </a:lnTo>
                  <a:lnTo>
                    <a:pt x="3120" y="4934"/>
                  </a:lnTo>
                  <a:lnTo>
                    <a:pt x="3120" y="4903"/>
                  </a:lnTo>
                  <a:lnTo>
                    <a:pt x="3145" y="4903"/>
                  </a:lnTo>
                  <a:lnTo>
                    <a:pt x="3176" y="4877"/>
                  </a:lnTo>
                  <a:lnTo>
                    <a:pt x="3226" y="4877"/>
                  </a:lnTo>
                  <a:lnTo>
                    <a:pt x="3257" y="4853"/>
                  </a:lnTo>
                  <a:lnTo>
                    <a:pt x="3257" y="4772"/>
                  </a:lnTo>
                  <a:lnTo>
                    <a:pt x="3281" y="4772"/>
                  </a:lnTo>
                  <a:lnTo>
                    <a:pt x="3257" y="4741"/>
                  </a:lnTo>
                  <a:lnTo>
                    <a:pt x="3145" y="4741"/>
                  </a:lnTo>
                  <a:lnTo>
                    <a:pt x="3120" y="4772"/>
                  </a:lnTo>
                  <a:lnTo>
                    <a:pt x="3064" y="4741"/>
                  </a:lnTo>
                  <a:lnTo>
                    <a:pt x="3089" y="4741"/>
                  </a:lnTo>
                  <a:lnTo>
                    <a:pt x="3120" y="4741"/>
                  </a:lnTo>
                  <a:lnTo>
                    <a:pt x="3089" y="4716"/>
                  </a:lnTo>
                  <a:lnTo>
                    <a:pt x="3064" y="4716"/>
                  </a:lnTo>
                  <a:lnTo>
                    <a:pt x="3039" y="4716"/>
                  </a:lnTo>
                  <a:lnTo>
                    <a:pt x="3039" y="4741"/>
                  </a:lnTo>
                  <a:lnTo>
                    <a:pt x="3008" y="4716"/>
                  </a:lnTo>
                  <a:lnTo>
                    <a:pt x="3039" y="4716"/>
                  </a:lnTo>
                  <a:lnTo>
                    <a:pt x="3039" y="4685"/>
                  </a:lnTo>
                  <a:lnTo>
                    <a:pt x="2984" y="4685"/>
                  </a:lnTo>
                  <a:lnTo>
                    <a:pt x="2927" y="4685"/>
                  </a:lnTo>
                  <a:lnTo>
                    <a:pt x="2958" y="4685"/>
                  </a:lnTo>
                  <a:lnTo>
                    <a:pt x="2984" y="4660"/>
                  </a:lnTo>
                  <a:lnTo>
                    <a:pt x="3039" y="4660"/>
                  </a:lnTo>
                  <a:lnTo>
                    <a:pt x="3008" y="4660"/>
                  </a:lnTo>
                  <a:lnTo>
                    <a:pt x="3064" y="4660"/>
                  </a:lnTo>
                  <a:lnTo>
                    <a:pt x="3120" y="4660"/>
                  </a:lnTo>
                  <a:lnTo>
                    <a:pt x="3120" y="4635"/>
                  </a:lnTo>
                  <a:lnTo>
                    <a:pt x="3089" y="4604"/>
                  </a:lnTo>
                  <a:lnTo>
                    <a:pt x="3120" y="4604"/>
                  </a:lnTo>
                  <a:lnTo>
                    <a:pt x="3120" y="4554"/>
                  </a:lnTo>
                  <a:lnTo>
                    <a:pt x="3089" y="4580"/>
                  </a:lnTo>
                  <a:lnTo>
                    <a:pt x="3064" y="4580"/>
                  </a:lnTo>
                  <a:lnTo>
                    <a:pt x="3064" y="4554"/>
                  </a:lnTo>
                  <a:lnTo>
                    <a:pt x="3089" y="4554"/>
                  </a:lnTo>
                  <a:lnTo>
                    <a:pt x="3120" y="4523"/>
                  </a:lnTo>
                  <a:lnTo>
                    <a:pt x="3120" y="4554"/>
                  </a:lnTo>
                  <a:lnTo>
                    <a:pt x="3145" y="4554"/>
                  </a:lnTo>
                  <a:lnTo>
                    <a:pt x="3145" y="4523"/>
                  </a:lnTo>
                  <a:lnTo>
                    <a:pt x="3176" y="4523"/>
                  </a:lnTo>
                  <a:lnTo>
                    <a:pt x="3176" y="4554"/>
                  </a:lnTo>
                  <a:lnTo>
                    <a:pt x="3226" y="4554"/>
                  </a:lnTo>
                  <a:lnTo>
                    <a:pt x="3257" y="4523"/>
                  </a:lnTo>
                  <a:lnTo>
                    <a:pt x="3226" y="4499"/>
                  </a:lnTo>
                  <a:lnTo>
                    <a:pt x="3226" y="4523"/>
                  </a:lnTo>
                  <a:lnTo>
                    <a:pt x="3200" y="4523"/>
                  </a:lnTo>
                  <a:lnTo>
                    <a:pt x="3226" y="4499"/>
                  </a:lnTo>
                  <a:lnTo>
                    <a:pt x="3226" y="4475"/>
                  </a:lnTo>
                  <a:lnTo>
                    <a:pt x="3176" y="4475"/>
                  </a:lnTo>
                  <a:lnTo>
                    <a:pt x="3200" y="4443"/>
                  </a:lnTo>
                  <a:lnTo>
                    <a:pt x="3226" y="4475"/>
                  </a:lnTo>
                  <a:lnTo>
                    <a:pt x="3226" y="4443"/>
                  </a:lnTo>
                  <a:lnTo>
                    <a:pt x="3200" y="4418"/>
                  </a:lnTo>
                  <a:lnTo>
                    <a:pt x="3257" y="4443"/>
                  </a:lnTo>
                  <a:lnTo>
                    <a:pt x="3257" y="4475"/>
                  </a:lnTo>
                  <a:lnTo>
                    <a:pt x="3306" y="4418"/>
                  </a:lnTo>
                  <a:lnTo>
                    <a:pt x="3337" y="4418"/>
                  </a:lnTo>
                  <a:lnTo>
                    <a:pt x="3362" y="4363"/>
                  </a:lnTo>
                  <a:lnTo>
                    <a:pt x="3362" y="4307"/>
                  </a:lnTo>
                  <a:lnTo>
                    <a:pt x="3387" y="4282"/>
                  </a:lnTo>
                  <a:lnTo>
                    <a:pt x="3387" y="4226"/>
                  </a:lnTo>
                  <a:lnTo>
                    <a:pt x="3418" y="4201"/>
                  </a:lnTo>
                  <a:lnTo>
                    <a:pt x="3387" y="4121"/>
                  </a:lnTo>
                  <a:lnTo>
                    <a:pt x="3387" y="4090"/>
                  </a:lnTo>
                  <a:lnTo>
                    <a:pt x="3281" y="3984"/>
                  </a:lnTo>
                  <a:lnTo>
                    <a:pt x="3145" y="3959"/>
                  </a:lnTo>
                  <a:lnTo>
                    <a:pt x="3064" y="3959"/>
                  </a:lnTo>
                  <a:lnTo>
                    <a:pt x="3039" y="4009"/>
                  </a:lnTo>
                  <a:lnTo>
                    <a:pt x="3039" y="4040"/>
                  </a:lnTo>
                  <a:lnTo>
                    <a:pt x="3008" y="4040"/>
                  </a:lnTo>
                  <a:lnTo>
                    <a:pt x="2984" y="4040"/>
                  </a:lnTo>
                  <a:lnTo>
                    <a:pt x="2958" y="4009"/>
                  </a:lnTo>
                  <a:lnTo>
                    <a:pt x="2958" y="3984"/>
                  </a:lnTo>
                  <a:lnTo>
                    <a:pt x="2902" y="3984"/>
                  </a:lnTo>
                  <a:lnTo>
                    <a:pt x="2927" y="3959"/>
                  </a:lnTo>
                  <a:lnTo>
                    <a:pt x="2927" y="3928"/>
                  </a:lnTo>
                  <a:lnTo>
                    <a:pt x="2984" y="3903"/>
                  </a:lnTo>
                  <a:lnTo>
                    <a:pt x="3008" y="3903"/>
                  </a:lnTo>
                  <a:lnTo>
                    <a:pt x="3039" y="3848"/>
                  </a:lnTo>
                  <a:lnTo>
                    <a:pt x="2984" y="3710"/>
                  </a:lnTo>
                  <a:lnTo>
                    <a:pt x="2958" y="3710"/>
                  </a:lnTo>
                  <a:lnTo>
                    <a:pt x="2958" y="3686"/>
                  </a:lnTo>
                  <a:lnTo>
                    <a:pt x="2927" y="3661"/>
                  </a:lnTo>
                  <a:lnTo>
                    <a:pt x="2877" y="3605"/>
                  </a:lnTo>
                  <a:lnTo>
                    <a:pt x="2846" y="3574"/>
                  </a:lnTo>
                  <a:lnTo>
                    <a:pt x="2790" y="3574"/>
                  </a:lnTo>
                  <a:lnTo>
                    <a:pt x="2766" y="3574"/>
                  </a:lnTo>
                  <a:lnTo>
                    <a:pt x="2740" y="3574"/>
                  </a:lnTo>
                  <a:lnTo>
                    <a:pt x="2766" y="3549"/>
                  </a:lnTo>
                  <a:lnTo>
                    <a:pt x="2790" y="3574"/>
                  </a:lnTo>
                  <a:lnTo>
                    <a:pt x="2821" y="3549"/>
                  </a:lnTo>
                  <a:lnTo>
                    <a:pt x="2846" y="3549"/>
                  </a:lnTo>
                  <a:lnTo>
                    <a:pt x="2877" y="3549"/>
                  </a:lnTo>
                  <a:lnTo>
                    <a:pt x="2902" y="3605"/>
                  </a:lnTo>
                  <a:lnTo>
                    <a:pt x="2958" y="3605"/>
                  </a:lnTo>
                  <a:lnTo>
                    <a:pt x="2984" y="3630"/>
                  </a:lnTo>
                  <a:lnTo>
                    <a:pt x="2984" y="3605"/>
                  </a:lnTo>
                  <a:lnTo>
                    <a:pt x="2902" y="3525"/>
                  </a:lnTo>
                  <a:lnTo>
                    <a:pt x="2902" y="3413"/>
                  </a:lnTo>
                  <a:lnTo>
                    <a:pt x="2902" y="3389"/>
                  </a:lnTo>
                  <a:lnTo>
                    <a:pt x="2927" y="3389"/>
                  </a:lnTo>
                  <a:lnTo>
                    <a:pt x="2927" y="3363"/>
                  </a:lnTo>
                  <a:lnTo>
                    <a:pt x="2902" y="3363"/>
                  </a:lnTo>
                  <a:lnTo>
                    <a:pt x="2902" y="3332"/>
                  </a:lnTo>
                  <a:lnTo>
                    <a:pt x="2877" y="3308"/>
                  </a:lnTo>
                  <a:lnTo>
                    <a:pt x="2846" y="3227"/>
                  </a:lnTo>
                  <a:lnTo>
                    <a:pt x="2821" y="3227"/>
                  </a:lnTo>
                  <a:lnTo>
                    <a:pt x="2821" y="3196"/>
                  </a:lnTo>
                  <a:lnTo>
                    <a:pt x="2790" y="3171"/>
                  </a:lnTo>
                  <a:lnTo>
                    <a:pt x="2790" y="3146"/>
                  </a:lnTo>
                  <a:lnTo>
                    <a:pt x="2766" y="3146"/>
                  </a:lnTo>
                  <a:lnTo>
                    <a:pt x="2709" y="3115"/>
                  </a:lnTo>
                  <a:lnTo>
                    <a:pt x="2660" y="3090"/>
                  </a:lnTo>
                  <a:lnTo>
                    <a:pt x="2660" y="3115"/>
                  </a:lnTo>
                  <a:lnTo>
                    <a:pt x="2629" y="3090"/>
                  </a:lnTo>
                  <a:lnTo>
                    <a:pt x="2660" y="3035"/>
                  </a:lnTo>
                  <a:lnTo>
                    <a:pt x="2629" y="3035"/>
                  </a:lnTo>
                  <a:lnTo>
                    <a:pt x="2604" y="2954"/>
                  </a:lnTo>
                  <a:lnTo>
                    <a:pt x="2604" y="2898"/>
                  </a:lnTo>
                  <a:lnTo>
                    <a:pt x="2604" y="2848"/>
                  </a:lnTo>
                  <a:lnTo>
                    <a:pt x="2579" y="2817"/>
                  </a:lnTo>
                  <a:lnTo>
                    <a:pt x="2579" y="2793"/>
                  </a:lnTo>
                  <a:lnTo>
                    <a:pt x="2579" y="2736"/>
                  </a:lnTo>
                  <a:lnTo>
                    <a:pt x="2579" y="2712"/>
                  </a:lnTo>
                  <a:lnTo>
                    <a:pt x="2579" y="2681"/>
                  </a:lnTo>
                  <a:lnTo>
                    <a:pt x="2579" y="2600"/>
                  </a:lnTo>
                  <a:lnTo>
                    <a:pt x="2548" y="2575"/>
                  </a:lnTo>
                  <a:lnTo>
                    <a:pt x="2524" y="2575"/>
                  </a:lnTo>
                  <a:lnTo>
                    <a:pt x="2524" y="2550"/>
                  </a:lnTo>
                  <a:lnTo>
                    <a:pt x="2493" y="2463"/>
                  </a:lnTo>
                  <a:lnTo>
                    <a:pt x="2467" y="2439"/>
                  </a:lnTo>
                  <a:lnTo>
                    <a:pt x="2467" y="2414"/>
                  </a:lnTo>
                  <a:lnTo>
                    <a:pt x="2443" y="2414"/>
                  </a:lnTo>
                  <a:lnTo>
                    <a:pt x="2412" y="2414"/>
                  </a:lnTo>
                  <a:lnTo>
                    <a:pt x="2362" y="2358"/>
                  </a:lnTo>
                  <a:lnTo>
                    <a:pt x="2330" y="2358"/>
                  </a:lnTo>
                  <a:lnTo>
                    <a:pt x="2330" y="2334"/>
                  </a:lnTo>
                  <a:lnTo>
                    <a:pt x="2281" y="2334"/>
                  </a:lnTo>
                  <a:lnTo>
                    <a:pt x="2249" y="2358"/>
                  </a:lnTo>
                  <a:lnTo>
                    <a:pt x="2194" y="2383"/>
                  </a:lnTo>
                  <a:lnTo>
                    <a:pt x="2169" y="2358"/>
                  </a:lnTo>
                  <a:lnTo>
                    <a:pt x="2144" y="2334"/>
                  </a:lnTo>
                  <a:lnTo>
                    <a:pt x="2113" y="2334"/>
                  </a:lnTo>
                  <a:lnTo>
                    <a:pt x="2088" y="2334"/>
                  </a:lnTo>
                  <a:lnTo>
                    <a:pt x="2064" y="2334"/>
                  </a:lnTo>
                  <a:lnTo>
                    <a:pt x="2033" y="2334"/>
                  </a:lnTo>
                  <a:lnTo>
                    <a:pt x="2033" y="2303"/>
                  </a:lnTo>
                  <a:lnTo>
                    <a:pt x="2007" y="2277"/>
                  </a:lnTo>
                  <a:lnTo>
                    <a:pt x="2033" y="2277"/>
                  </a:lnTo>
                  <a:lnTo>
                    <a:pt x="2033" y="2303"/>
                  </a:lnTo>
                  <a:lnTo>
                    <a:pt x="2064" y="2303"/>
                  </a:lnTo>
                  <a:lnTo>
                    <a:pt x="2113" y="2334"/>
                  </a:lnTo>
                  <a:lnTo>
                    <a:pt x="2144" y="2303"/>
                  </a:lnTo>
                  <a:lnTo>
                    <a:pt x="2194" y="2303"/>
                  </a:lnTo>
                  <a:lnTo>
                    <a:pt x="2194" y="2277"/>
                  </a:lnTo>
                  <a:lnTo>
                    <a:pt x="2249" y="2253"/>
                  </a:lnTo>
                  <a:lnTo>
                    <a:pt x="2281" y="2277"/>
                  </a:lnTo>
                  <a:lnTo>
                    <a:pt x="2306" y="2253"/>
                  </a:lnTo>
                  <a:lnTo>
                    <a:pt x="2330" y="2253"/>
                  </a:lnTo>
                  <a:lnTo>
                    <a:pt x="2362" y="2222"/>
                  </a:lnTo>
                  <a:lnTo>
                    <a:pt x="2330" y="2197"/>
                  </a:lnTo>
                  <a:lnTo>
                    <a:pt x="2306" y="2197"/>
                  </a:lnTo>
                  <a:lnTo>
                    <a:pt x="2281" y="2166"/>
                  </a:lnTo>
                  <a:lnTo>
                    <a:pt x="2306" y="2166"/>
                  </a:lnTo>
                  <a:lnTo>
                    <a:pt x="2306" y="2141"/>
                  </a:lnTo>
                  <a:lnTo>
                    <a:pt x="2281" y="2141"/>
                  </a:lnTo>
                  <a:lnTo>
                    <a:pt x="2225" y="2141"/>
                  </a:lnTo>
                  <a:lnTo>
                    <a:pt x="2169" y="2166"/>
                  </a:lnTo>
                  <a:lnTo>
                    <a:pt x="2194" y="2141"/>
                  </a:lnTo>
                  <a:lnTo>
                    <a:pt x="2225" y="2116"/>
                  </a:lnTo>
                  <a:lnTo>
                    <a:pt x="2249" y="2116"/>
                  </a:lnTo>
                  <a:lnTo>
                    <a:pt x="2281" y="2116"/>
                  </a:lnTo>
                  <a:lnTo>
                    <a:pt x="2306" y="2116"/>
                  </a:lnTo>
                  <a:lnTo>
                    <a:pt x="2330" y="2141"/>
                  </a:lnTo>
                  <a:lnTo>
                    <a:pt x="2330" y="2116"/>
                  </a:lnTo>
                  <a:lnTo>
                    <a:pt x="2412" y="2060"/>
                  </a:lnTo>
                  <a:lnTo>
                    <a:pt x="2412" y="2035"/>
                  </a:lnTo>
                  <a:lnTo>
                    <a:pt x="2386" y="2035"/>
                  </a:lnTo>
                  <a:lnTo>
                    <a:pt x="2386" y="2004"/>
                  </a:lnTo>
                  <a:lnTo>
                    <a:pt x="2412" y="2004"/>
                  </a:lnTo>
                  <a:lnTo>
                    <a:pt x="2443" y="2004"/>
                  </a:lnTo>
                  <a:lnTo>
                    <a:pt x="2467" y="1980"/>
                  </a:lnTo>
                  <a:lnTo>
                    <a:pt x="2493" y="1923"/>
                  </a:lnTo>
                  <a:lnTo>
                    <a:pt x="2524" y="1899"/>
                  </a:lnTo>
                  <a:lnTo>
                    <a:pt x="2548" y="1843"/>
                  </a:lnTo>
                  <a:lnTo>
                    <a:pt x="2548" y="1818"/>
                  </a:lnTo>
                  <a:lnTo>
                    <a:pt x="2579" y="1738"/>
                  </a:lnTo>
                  <a:lnTo>
                    <a:pt x="2604" y="1738"/>
                  </a:lnTo>
                  <a:lnTo>
                    <a:pt x="2660" y="1681"/>
                  </a:lnTo>
                  <a:lnTo>
                    <a:pt x="2629" y="1600"/>
                  </a:lnTo>
                  <a:lnTo>
                    <a:pt x="2629" y="1569"/>
                  </a:lnTo>
                  <a:lnTo>
                    <a:pt x="2604" y="1545"/>
                  </a:lnTo>
                  <a:lnTo>
                    <a:pt x="2579" y="1545"/>
                  </a:lnTo>
                  <a:lnTo>
                    <a:pt x="2548" y="1569"/>
                  </a:lnTo>
                  <a:lnTo>
                    <a:pt x="2524" y="1545"/>
                  </a:lnTo>
                  <a:lnTo>
                    <a:pt x="2443" y="1545"/>
                  </a:lnTo>
                  <a:lnTo>
                    <a:pt x="2362" y="1521"/>
                  </a:lnTo>
                  <a:lnTo>
                    <a:pt x="2330" y="1545"/>
                  </a:lnTo>
                  <a:lnTo>
                    <a:pt x="2306" y="1521"/>
                  </a:lnTo>
                  <a:lnTo>
                    <a:pt x="2249" y="1489"/>
                  </a:lnTo>
                  <a:lnTo>
                    <a:pt x="2225" y="1489"/>
                  </a:lnTo>
                  <a:lnTo>
                    <a:pt x="2194" y="1521"/>
                  </a:lnTo>
                  <a:lnTo>
                    <a:pt x="2169" y="1521"/>
                  </a:lnTo>
                  <a:lnTo>
                    <a:pt x="2144" y="1521"/>
                  </a:lnTo>
                  <a:lnTo>
                    <a:pt x="2113" y="1545"/>
                  </a:lnTo>
                  <a:lnTo>
                    <a:pt x="2064" y="1545"/>
                  </a:lnTo>
                  <a:lnTo>
                    <a:pt x="2033" y="1545"/>
                  </a:lnTo>
                  <a:lnTo>
                    <a:pt x="2007" y="1569"/>
                  </a:lnTo>
                  <a:lnTo>
                    <a:pt x="1976" y="1569"/>
                  </a:lnTo>
                  <a:lnTo>
                    <a:pt x="1952" y="1569"/>
                  </a:lnTo>
                  <a:lnTo>
                    <a:pt x="1952" y="1545"/>
                  </a:lnTo>
                  <a:lnTo>
                    <a:pt x="2007" y="1569"/>
                  </a:lnTo>
                  <a:lnTo>
                    <a:pt x="2007" y="1545"/>
                  </a:lnTo>
                  <a:lnTo>
                    <a:pt x="2033" y="1545"/>
                  </a:lnTo>
                  <a:lnTo>
                    <a:pt x="2064" y="1489"/>
                  </a:lnTo>
                  <a:lnTo>
                    <a:pt x="2033" y="1489"/>
                  </a:lnTo>
                  <a:lnTo>
                    <a:pt x="2007" y="1489"/>
                  </a:lnTo>
                  <a:lnTo>
                    <a:pt x="1976" y="1521"/>
                  </a:lnTo>
                  <a:lnTo>
                    <a:pt x="1952" y="1521"/>
                  </a:lnTo>
                  <a:lnTo>
                    <a:pt x="1976" y="1464"/>
                  </a:lnTo>
                  <a:lnTo>
                    <a:pt x="2033" y="1464"/>
                  </a:lnTo>
                  <a:lnTo>
                    <a:pt x="2064" y="1464"/>
                  </a:lnTo>
                  <a:lnTo>
                    <a:pt x="2064" y="1489"/>
                  </a:lnTo>
                  <a:lnTo>
                    <a:pt x="2088" y="1489"/>
                  </a:lnTo>
                  <a:lnTo>
                    <a:pt x="2088" y="1464"/>
                  </a:lnTo>
                  <a:lnTo>
                    <a:pt x="2144" y="1409"/>
                  </a:lnTo>
                  <a:lnTo>
                    <a:pt x="2113" y="1440"/>
                  </a:lnTo>
                  <a:lnTo>
                    <a:pt x="2088" y="1409"/>
                  </a:lnTo>
                  <a:lnTo>
                    <a:pt x="2064" y="1409"/>
                  </a:lnTo>
                  <a:lnTo>
                    <a:pt x="2007" y="1384"/>
                  </a:lnTo>
                  <a:lnTo>
                    <a:pt x="2088" y="1384"/>
                  </a:lnTo>
                  <a:lnTo>
                    <a:pt x="2088" y="1353"/>
                  </a:lnTo>
                  <a:lnTo>
                    <a:pt x="2144" y="1328"/>
                  </a:lnTo>
                  <a:lnTo>
                    <a:pt x="2144" y="1303"/>
                  </a:lnTo>
                  <a:lnTo>
                    <a:pt x="2249" y="1272"/>
                  </a:lnTo>
                  <a:lnTo>
                    <a:pt x="2281" y="1222"/>
                  </a:lnTo>
                  <a:lnTo>
                    <a:pt x="2306" y="1222"/>
                  </a:lnTo>
                  <a:lnTo>
                    <a:pt x="2330" y="1191"/>
                  </a:lnTo>
                  <a:lnTo>
                    <a:pt x="2362" y="1191"/>
                  </a:lnTo>
                  <a:lnTo>
                    <a:pt x="2362" y="1167"/>
                  </a:lnTo>
                  <a:lnTo>
                    <a:pt x="2386" y="1142"/>
                  </a:lnTo>
                  <a:lnTo>
                    <a:pt x="2362" y="1142"/>
                  </a:lnTo>
                  <a:lnTo>
                    <a:pt x="2362" y="1111"/>
                  </a:lnTo>
                  <a:lnTo>
                    <a:pt x="2386" y="1055"/>
                  </a:lnTo>
                  <a:lnTo>
                    <a:pt x="2306" y="1030"/>
                  </a:lnTo>
                  <a:lnTo>
                    <a:pt x="2306" y="1055"/>
                  </a:lnTo>
                  <a:lnTo>
                    <a:pt x="2249" y="1055"/>
                  </a:lnTo>
                  <a:lnTo>
                    <a:pt x="2225" y="1030"/>
                  </a:lnTo>
                  <a:lnTo>
                    <a:pt x="2194" y="1055"/>
                  </a:lnTo>
                  <a:lnTo>
                    <a:pt x="2144" y="1055"/>
                  </a:lnTo>
                  <a:lnTo>
                    <a:pt x="2064" y="1055"/>
                  </a:lnTo>
                  <a:lnTo>
                    <a:pt x="2033" y="1055"/>
                  </a:lnTo>
                  <a:lnTo>
                    <a:pt x="2007" y="1086"/>
                  </a:lnTo>
                  <a:lnTo>
                    <a:pt x="2033" y="1030"/>
                  </a:lnTo>
                  <a:lnTo>
                    <a:pt x="1976" y="1030"/>
                  </a:lnTo>
                  <a:lnTo>
                    <a:pt x="1952" y="1086"/>
                  </a:lnTo>
                  <a:lnTo>
                    <a:pt x="1926" y="1086"/>
                  </a:lnTo>
                  <a:lnTo>
                    <a:pt x="1952" y="1030"/>
                  </a:lnTo>
                  <a:lnTo>
                    <a:pt x="1926" y="1005"/>
                  </a:lnTo>
                  <a:lnTo>
                    <a:pt x="1926" y="1055"/>
                  </a:lnTo>
                  <a:lnTo>
                    <a:pt x="1926" y="1005"/>
                  </a:lnTo>
                  <a:lnTo>
                    <a:pt x="1871" y="975"/>
                  </a:lnTo>
                  <a:lnTo>
                    <a:pt x="1871" y="1005"/>
                  </a:lnTo>
                  <a:lnTo>
                    <a:pt x="1846" y="1055"/>
                  </a:lnTo>
                  <a:lnTo>
                    <a:pt x="1871" y="1086"/>
                  </a:lnTo>
                  <a:lnTo>
                    <a:pt x="1846" y="1086"/>
                  </a:lnTo>
                  <a:lnTo>
                    <a:pt x="1846" y="1111"/>
                  </a:lnTo>
                  <a:lnTo>
                    <a:pt x="1815" y="1086"/>
                  </a:lnTo>
                  <a:lnTo>
                    <a:pt x="1815" y="1111"/>
                  </a:lnTo>
                  <a:lnTo>
                    <a:pt x="1815" y="1142"/>
                  </a:lnTo>
                  <a:lnTo>
                    <a:pt x="1846" y="1167"/>
                  </a:lnTo>
                  <a:lnTo>
                    <a:pt x="1871" y="1167"/>
                  </a:lnTo>
                  <a:lnTo>
                    <a:pt x="1871" y="1191"/>
                  </a:lnTo>
                  <a:lnTo>
                    <a:pt x="1815" y="1167"/>
                  </a:lnTo>
                  <a:lnTo>
                    <a:pt x="1790" y="1167"/>
                  </a:lnTo>
                  <a:lnTo>
                    <a:pt x="1765" y="1142"/>
                  </a:lnTo>
                  <a:lnTo>
                    <a:pt x="1734" y="1167"/>
                  </a:lnTo>
                  <a:lnTo>
                    <a:pt x="1765" y="1222"/>
                  </a:lnTo>
                  <a:lnTo>
                    <a:pt x="1765" y="1248"/>
                  </a:lnTo>
                  <a:lnTo>
                    <a:pt x="1734" y="1248"/>
                  </a:lnTo>
                  <a:lnTo>
                    <a:pt x="1734" y="1222"/>
                  </a:lnTo>
                  <a:lnTo>
                    <a:pt x="1734" y="1248"/>
                  </a:lnTo>
                  <a:lnTo>
                    <a:pt x="1734" y="1272"/>
                  </a:lnTo>
                  <a:lnTo>
                    <a:pt x="1790" y="1303"/>
                  </a:lnTo>
                  <a:lnTo>
                    <a:pt x="1765" y="1328"/>
                  </a:lnTo>
                  <a:lnTo>
                    <a:pt x="1790" y="1353"/>
                  </a:lnTo>
                  <a:lnTo>
                    <a:pt x="1790" y="1384"/>
                  </a:lnTo>
                  <a:lnTo>
                    <a:pt x="1765" y="1328"/>
                  </a:lnTo>
                  <a:lnTo>
                    <a:pt x="1734" y="1303"/>
                  </a:lnTo>
                  <a:lnTo>
                    <a:pt x="1765" y="1353"/>
                  </a:lnTo>
                  <a:lnTo>
                    <a:pt x="1710" y="1328"/>
                  </a:lnTo>
                  <a:lnTo>
                    <a:pt x="1710" y="1353"/>
                  </a:lnTo>
                  <a:lnTo>
                    <a:pt x="1678" y="1353"/>
                  </a:lnTo>
                  <a:lnTo>
                    <a:pt x="1678" y="1303"/>
                  </a:lnTo>
                  <a:lnTo>
                    <a:pt x="1653" y="1303"/>
                  </a:lnTo>
                  <a:lnTo>
                    <a:pt x="1653" y="1328"/>
                  </a:lnTo>
                  <a:lnTo>
                    <a:pt x="1653" y="1353"/>
                  </a:lnTo>
                  <a:lnTo>
                    <a:pt x="1653" y="1384"/>
                  </a:lnTo>
                  <a:lnTo>
                    <a:pt x="1629" y="1328"/>
                  </a:lnTo>
                  <a:lnTo>
                    <a:pt x="1597" y="1328"/>
                  </a:lnTo>
                  <a:lnTo>
                    <a:pt x="1597" y="1384"/>
                  </a:lnTo>
                  <a:lnTo>
                    <a:pt x="1629" y="1409"/>
                  </a:lnTo>
                  <a:lnTo>
                    <a:pt x="1597" y="1409"/>
                  </a:lnTo>
                  <a:lnTo>
                    <a:pt x="1573" y="1440"/>
                  </a:lnTo>
                  <a:lnTo>
                    <a:pt x="1597" y="1440"/>
                  </a:lnTo>
                  <a:lnTo>
                    <a:pt x="1629" y="1489"/>
                  </a:lnTo>
                  <a:lnTo>
                    <a:pt x="1653" y="1489"/>
                  </a:lnTo>
                  <a:lnTo>
                    <a:pt x="1629" y="1489"/>
                  </a:lnTo>
                  <a:lnTo>
                    <a:pt x="1573" y="1464"/>
                  </a:lnTo>
                  <a:lnTo>
                    <a:pt x="1547" y="1521"/>
                  </a:lnTo>
                  <a:lnTo>
                    <a:pt x="1573" y="1545"/>
                  </a:lnTo>
                  <a:lnTo>
                    <a:pt x="1573" y="1569"/>
                  </a:lnTo>
                  <a:lnTo>
                    <a:pt x="1629" y="1569"/>
                  </a:lnTo>
                  <a:lnTo>
                    <a:pt x="1653" y="1545"/>
                  </a:lnTo>
                  <a:lnTo>
                    <a:pt x="1653" y="1569"/>
                  </a:lnTo>
                  <a:lnTo>
                    <a:pt x="1629" y="1600"/>
                  </a:lnTo>
                  <a:lnTo>
                    <a:pt x="1597" y="1600"/>
                  </a:lnTo>
                  <a:lnTo>
                    <a:pt x="1573" y="1600"/>
                  </a:lnTo>
                  <a:lnTo>
                    <a:pt x="1629" y="1626"/>
                  </a:lnTo>
                  <a:lnTo>
                    <a:pt x="1678" y="1650"/>
                  </a:lnTo>
                  <a:lnTo>
                    <a:pt x="1653" y="1650"/>
                  </a:lnTo>
                  <a:lnTo>
                    <a:pt x="1629" y="1626"/>
                  </a:lnTo>
                  <a:lnTo>
                    <a:pt x="1597" y="1650"/>
                  </a:lnTo>
                  <a:lnTo>
                    <a:pt x="1597" y="1681"/>
                  </a:lnTo>
                  <a:lnTo>
                    <a:pt x="1629" y="1707"/>
                  </a:lnTo>
                  <a:lnTo>
                    <a:pt x="1653" y="1707"/>
                  </a:lnTo>
                  <a:lnTo>
                    <a:pt x="1629" y="1707"/>
                  </a:lnTo>
                  <a:lnTo>
                    <a:pt x="1573" y="1707"/>
                  </a:lnTo>
                  <a:lnTo>
                    <a:pt x="1547" y="1707"/>
                  </a:lnTo>
                  <a:lnTo>
                    <a:pt x="1573" y="1738"/>
                  </a:lnTo>
                  <a:lnTo>
                    <a:pt x="1573" y="1762"/>
                  </a:lnTo>
                  <a:lnTo>
                    <a:pt x="1629" y="1738"/>
                  </a:lnTo>
                  <a:lnTo>
                    <a:pt x="1629" y="1762"/>
                  </a:lnTo>
                  <a:lnTo>
                    <a:pt x="1573" y="1762"/>
                  </a:lnTo>
                  <a:lnTo>
                    <a:pt x="1547" y="1738"/>
                  </a:lnTo>
                  <a:lnTo>
                    <a:pt x="1516" y="1787"/>
                  </a:lnTo>
                  <a:lnTo>
                    <a:pt x="1492" y="1787"/>
                  </a:lnTo>
                  <a:lnTo>
                    <a:pt x="1492" y="1818"/>
                  </a:lnTo>
                  <a:lnTo>
                    <a:pt x="1547" y="1787"/>
                  </a:lnTo>
                  <a:lnTo>
                    <a:pt x="1547" y="1818"/>
                  </a:lnTo>
                  <a:lnTo>
                    <a:pt x="1573" y="1818"/>
                  </a:lnTo>
                  <a:lnTo>
                    <a:pt x="1547" y="1843"/>
                  </a:lnTo>
                  <a:lnTo>
                    <a:pt x="1516" y="1818"/>
                  </a:lnTo>
                  <a:lnTo>
                    <a:pt x="1547" y="1868"/>
                  </a:lnTo>
                  <a:lnTo>
                    <a:pt x="1492" y="1868"/>
                  </a:lnTo>
                  <a:lnTo>
                    <a:pt x="1466" y="1843"/>
                  </a:lnTo>
                  <a:lnTo>
                    <a:pt x="1435" y="1843"/>
                  </a:lnTo>
                  <a:lnTo>
                    <a:pt x="1411" y="1843"/>
                  </a:lnTo>
                  <a:lnTo>
                    <a:pt x="1411" y="1868"/>
                  </a:lnTo>
                  <a:lnTo>
                    <a:pt x="1411" y="1899"/>
                  </a:lnTo>
                  <a:lnTo>
                    <a:pt x="1435" y="1899"/>
                  </a:lnTo>
                  <a:lnTo>
                    <a:pt x="1466" y="1899"/>
                  </a:lnTo>
                  <a:lnTo>
                    <a:pt x="1492" y="1899"/>
                  </a:lnTo>
                  <a:lnTo>
                    <a:pt x="1516" y="1899"/>
                  </a:lnTo>
                  <a:lnTo>
                    <a:pt x="1547" y="1899"/>
                  </a:lnTo>
                  <a:lnTo>
                    <a:pt x="1573" y="1899"/>
                  </a:lnTo>
                  <a:lnTo>
                    <a:pt x="1573" y="1923"/>
                  </a:lnTo>
                  <a:lnTo>
                    <a:pt x="1547" y="1923"/>
                  </a:lnTo>
                  <a:lnTo>
                    <a:pt x="1516" y="1899"/>
                  </a:lnTo>
                  <a:lnTo>
                    <a:pt x="1492" y="1923"/>
                  </a:lnTo>
                  <a:lnTo>
                    <a:pt x="1466" y="1923"/>
                  </a:lnTo>
                  <a:lnTo>
                    <a:pt x="1466" y="1949"/>
                  </a:lnTo>
                  <a:lnTo>
                    <a:pt x="1492" y="1949"/>
                  </a:lnTo>
                  <a:lnTo>
                    <a:pt x="1516" y="1949"/>
                  </a:lnTo>
                  <a:lnTo>
                    <a:pt x="1516" y="1980"/>
                  </a:lnTo>
                  <a:lnTo>
                    <a:pt x="1547" y="2004"/>
                  </a:lnTo>
                  <a:lnTo>
                    <a:pt x="1573" y="1949"/>
                  </a:lnTo>
                  <a:lnTo>
                    <a:pt x="1597" y="1923"/>
                  </a:lnTo>
                  <a:lnTo>
                    <a:pt x="1653" y="1899"/>
                  </a:lnTo>
                  <a:lnTo>
                    <a:pt x="1710" y="1868"/>
                  </a:lnTo>
                  <a:lnTo>
                    <a:pt x="1653" y="1843"/>
                  </a:lnTo>
                  <a:lnTo>
                    <a:pt x="1710" y="1843"/>
                  </a:lnTo>
                  <a:lnTo>
                    <a:pt x="1710" y="1868"/>
                  </a:lnTo>
                  <a:lnTo>
                    <a:pt x="1653" y="1899"/>
                  </a:lnTo>
                  <a:lnTo>
                    <a:pt x="1678" y="1923"/>
                  </a:lnTo>
                  <a:lnTo>
                    <a:pt x="1710" y="1923"/>
                  </a:lnTo>
                  <a:lnTo>
                    <a:pt x="1734" y="1923"/>
                  </a:lnTo>
                  <a:lnTo>
                    <a:pt x="1678" y="1949"/>
                  </a:lnTo>
                  <a:lnTo>
                    <a:pt x="1678" y="1923"/>
                  </a:lnTo>
                  <a:lnTo>
                    <a:pt x="1653" y="1923"/>
                  </a:lnTo>
                  <a:lnTo>
                    <a:pt x="1653" y="1949"/>
                  </a:lnTo>
                  <a:lnTo>
                    <a:pt x="1629" y="1980"/>
                  </a:lnTo>
                  <a:lnTo>
                    <a:pt x="1597" y="1980"/>
                  </a:lnTo>
                  <a:lnTo>
                    <a:pt x="1629" y="2004"/>
                  </a:lnTo>
                  <a:lnTo>
                    <a:pt x="1597" y="2004"/>
                  </a:lnTo>
                  <a:lnTo>
                    <a:pt x="1573" y="2004"/>
                  </a:lnTo>
                  <a:lnTo>
                    <a:pt x="1597" y="2035"/>
                  </a:lnTo>
                  <a:lnTo>
                    <a:pt x="1653" y="2035"/>
                  </a:lnTo>
                  <a:lnTo>
                    <a:pt x="1653" y="2004"/>
                  </a:lnTo>
                  <a:lnTo>
                    <a:pt x="1710" y="2004"/>
                  </a:lnTo>
                  <a:lnTo>
                    <a:pt x="1653" y="2035"/>
                  </a:lnTo>
                  <a:lnTo>
                    <a:pt x="1597" y="2035"/>
                  </a:lnTo>
                  <a:lnTo>
                    <a:pt x="1547" y="2060"/>
                  </a:lnTo>
                  <a:lnTo>
                    <a:pt x="1547" y="2085"/>
                  </a:lnTo>
                  <a:lnTo>
                    <a:pt x="1516" y="2085"/>
                  </a:lnTo>
                  <a:lnTo>
                    <a:pt x="1516" y="2141"/>
                  </a:lnTo>
                  <a:lnTo>
                    <a:pt x="1547" y="2116"/>
                  </a:lnTo>
                  <a:lnTo>
                    <a:pt x="1547" y="2141"/>
                  </a:lnTo>
                  <a:lnTo>
                    <a:pt x="1516" y="2166"/>
                  </a:lnTo>
                  <a:lnTo>
                    <a:pt x="1547" y="2166"/>
                  </a:lnTo>
                  <a:lnTo>
                    <a:pt x="1547" y="2197"/>
                  </a:lnTo>
                  <a:lnTo>
                    <a:pt x="1516" y="2197"/>
                  </a:lnTo>
                  <a:lnTo>
                    <a:pt x="1466" y="2253"/>
                  </a:lnTo>
                  <a:lnTo>
                    <a:pt x="1492" y="2253"/>
                  </a:lnTo>
                  <a:lnTo>
                    <a:pt x="1492" y="2277"/>
                  </a:lnTo>
                  <a:lnTo>
                    <a:pt x="1516" y="2277"/>
                  </a:lnTo>
                  <a:lnTo>
                    <a:pt x="1492" y="2303"/>
                  </a:lnTo>
                  <a:lnTo>
                    <a:pt x="1466" y="2334"/>
                  </a:lnTo>
                  <a:lnTo>
                    <a:pt x="1492" y="2358"/>
                  </a:lnTo>
                  <a:lnTo>
                    <a:pt x="1547" y="2334"/>
                  </a:lnTo>
                  <a:lnTo>
                    <a:pt x="1516" y="2358"/>
                  </a:lnTo>
                  <a:lnTo>
                    <a:pt x="1492" y="2358"/>
                  </a:lnTo>
                  <a:lnTo>
                    <a:pt x="1466" y="2383"/>
                  </a:lnTo>
                  <a:lnTo>
                    <a:pt x="1435" y="2439"/>
                  </a:lnTo>
                  <a:lnTo>
                    <a:pt x="1435" y="2495"/>
                  </a:lnTo>
                  <a:lnTo>
                    <a:pt x="1411" y="2519"/>
                  </a:lnTo>
                  <a:lnTo>
                    <a:pt x="1380" y="2550"/>
                  </a:lnTo>
                  <a:lnTo>
                    <a:pt x="1411" y="2575"/>
                  </a:lnTo>
                  <a:lnTo>
                    <a:pt x="1435" y="2575"/>
                  </a:lnTo>
                  <a:lnTo>
                    <a:pt x="1492" y="2550"/>
                  </a:lnTo>
                  <a:lnTo>
                    <a:pt x="1466" y="2519"/>
                  </a:lnTo>
                  <a:lnTo>
                    <a:pt x="1492" y="2495"/>
                  </a:lnTo>
                  <a:lnTo>
                    <a:pt x="1516" y="2439"/>
                  </a:lnTo>
                  <a:lnTo>
                    <a:pt x="1516" y="2383"/>
                  </a:lnTo>
                  <a:lnTo>
                    <a:pt x="1573" y="2358"/>
                  </a:lnTo>
                  <a:lnTo>
                    <a:pt x="1547" y="2303"/>
                  </a:lnTo>
                  <a:lnTo>
                    <a:pt x="1547" y="2222"/>
                  </a:lnTo>
                  <a:lnTo>
                    <a:pt x="1573" y="2253"/>
                  </a:lnTo>
                  <a:lnTo>
                    <a:pt x="1629" y="2197"/>
                  </a:lnTo>
                  <a:lnTo>
                    <a:pt x="1653" y="2166"/>
                  </a:lnTo>
                  <a:lnTo>
                    <a:pt x="1678" y="2141"/>
                  </a:lnTo>
                  <a:lnTo>
                    <a:pt x="1710" y="2141"/>
                  </a:lnTo>
                  <a:lnTo>
                    <a:pt x="1678" y="2166"/>
                  </a:lnTo>
                  <a:lnTo>
                    <a:pt x="1573" y="2253"/>
                  </a:lnTo>
                  <a:lnTo>
                    <a:pt x="1573" y="2303"/>
                  </a:lnTo>
                  <a:lnTo>
                    <a:pt x="1573" y="2334"/>
                  </a:lnTo>
                  <a:lnTo>
                    <a:pt x="1597" y="2358"/>
                  </a:lnTo>
                  <a:lnTo>
                    <a:pt x="1597" y="2303"/>
                  </a:lnTo>
                  <a:lnTo>
                    <a:pt x="1629" y="2277"/>
                  </a:lnTo>
                  <a:lnTo>
                    <a:pt x="1653" y="2303"/>
                  </a:lnTo>
                  <a:lnTo>
                    <a:pt x="1653" y="2277"/>
                  </a:lnTo>
                  <a:lnTo>
                    <a:pt x="1653" y="2334"/>
                  </a:lnTo>
                  <a:lnTo>
                    <a:pt x="1678" y="2334"/>
                  </a:lnTo>
                  <a:lnTo>
                    <a:pt x="1678" y="2277"/>
                  </a:lnTo>
                  <a:lnTo>
                    <a:pt x="1710" y="2277"/>
                  </a:lnTo>
                  <a:lnTo>
                    <a:pt x="1678" y="2253"/>
                  </a:lnTo>
                  <a:lnTo>
                    <a:pt x="1710" y="2222"/>
                  </a:lnTo>
                  <a:lnTo>
                    <a:pt x="1710" y="2197"/>
                  </a:lnTo>
                  <a:lnTo>
                    <a:pt x="1710" y="2222"/>
                  </a:lnTo>
                  <a:lnTo>
                    <a:pt x="1734" y="2166"/>
                  </a:lnTo>
                  <a:lnTo>
                    <a:pt x="1734" y="2197"/>
                  </a:lnTo>
                  <a:lnTo>
                    <a:pt x="1710" y="2253"/>
                  </a:lnTo>
                  <a:lnTo>
                    <a:pt x="1710" y="2277"/>
                  </a:lnTo>
                  <a:lnTo>
                    <a:pt x="1734" y="2277"/>
                  </a:lnTo>
                  <a:lnTo>
                    <a:pt x="1710" y="2253"/>
                  </a:lnTo>
                  <a:lnTo>
                    <a:pt x="1734" y="2253"/>
                  </a:lnTo>
                  <a:lnTo>
                    <a:pt x="1765" y="2277"/>
                  </a:lnTo>
                  <a:lnTo>
                    <a:pt x="1815" y="2303"/>
                  </a:lnTo>
                  <a:lnTo>
                    <a:pt x="1815" y="2334"/>
                  </a:lnTo>
                  <a:lnTo>
                    <a:pt x="1710" y="2303"/>
                  </a:lnTo>
                  <a:lnTo>
                    <a:pt x="1710" y="2334"/>
                  </a:lnTo>
                  <a:lnTo>
                    <a:pt x="1678" y="2358"/>
                  </a:lnTo>
                  <a:lnTo>
                    <a:pt x="1710" y="2383"/>
                  </a:lnTo>
                  <a:lnTo>
                    <a:pt x="1678" y="2414"/>
                  </a:lnTo>
                  <a:lnTo>
                    <a:pt x="1710" y="2439"/>
                  </a:lnTo>
                  <a:lnTo>
                    <a:pt x="1710" y="2463"/>
                  </a:lnTo>
                  <a:lnTo>
                    <a:pt x="1734" y="2495"/>
                  </a:lnTo>
                  <a:lnTo>
                    <a:pt x="1734" y="2519"/>
                  </a:lnTo>
                  <a:lnTo>
                    <a:pt x="1734" y="2550"/>
                  </a:lnTo>
                  <a:lnTo>
                    <a:pt x="1710" y="2550"/>
                  </a:lnTo>
                  <a:lnTo>
                    <a:pt x="1678" y="2575"/>
                  </a:lnTo>
                  <a:lnTo>
                    <a:pt x="1653" y="2600"/>
                  </a:lnTo>
                  <a:lnTo>
                    <a:pt x="1653" y="2655"/>
                  </a:lnTo>
                  <a:lnTo>
                    <a:pt x="1597" y="2681"/>
                  </a:lnTo>
                  <a:lnTo>
                    <a:pt x="1573" y="2712"/>
                  </a:lnTo>
                  <a:lnTo>
                    <a:pt x="1597" y="2762"/>
                  </a:lnTo>
                  <a:lnTo>
                    <a:pt x="1597" y="2793"/>
                  </a:lnTo>
                  <a:lnTo>
                    <a:pt x="1573" y="2793"/>
                  </a:lnTo>
                  <a:lnTo>
                    <a:pt x="1573" y="2762"/>
                  </a:lnTo>
                  <a:lnTo>
                    <a:pt x="1573" y="2736"/>
                  </a:lnTo>
                  <a:lnTo>
                    <a:pt x="1547" y="2736"/>
                  </a:lnTo>
                  <a:lnTo>
                    <a:pt x="1547" y="2762"/>
                  </a:lnTo>
                  <a:lnTo>
                    <a:pt x="1547" y="2817"/>
                  </a:lnTo>
                  <a:lnTo>
                    <a:pt x="1573" y="2848"/>
                  </a:lnTo>
                  <a:lnTo>
                    <a:pt x="1573" y="2898"/>
                  </a:lnTo>
                  <a:lnTo>
                    <a:pt x="1573" y="2929"/>
                  </a:lnTo>
                  <a:lnTo>
                    <a:pt x="1597" y="2929"/>
                  </a:lnTo>
                  <a:lnTo>
                    <a:pt x="1597" y="2898"/>
                  </a:lnTo>
                  <a:lnTo>
                    <a:pt x="1597" y="2848"/>
                  </a:lnTo>
                  <a:lnTo>
                    <a:pt x="1629" y="2817"/>
                  </a:lnTo>
                  <a:lnTo>
                    <a:pt x="1678" y="2873"/>
                  </a:lnTo>
                  <a:lnTo>
                    <a:pt x="1710" y="2929"/>
                  </a:lnTo>
                  <a:lnTo>
                    <a:pt x="1734" y="2954"/>
                  </a:lnTo>
                  <a:lnTo>
                    <a:pt x="1765" y="2929"/>
                  </a:lnTo>
                  <a:lnTo>
                    <a:pt x="1765" y="2873"/>
                  </a:lnTo>
                  <a:lnTo>
                    <a:pt x="1734" y="2873"/>
                  </a:lnTo>
                  <a:lnTo>
                    <a:pt x="1734" y="2848"/>
                  </a:lnTo>
                  <a:lnTo>
                    <a:pt x="1765" y="2817"/>
                  </a:lnTo>
                  <a:lnTo>
                    <a:pt x="1765" y="2848"/>
                  </a:lnTo>
                  <a:lnTo>
                    <a:pt x="1790" y="2873"/>
                  </a:lnTo>
                  <a:lnTo>
                    <a:pt x="1815" y="2848"/>
                  </a:lnTo>
                  <a:lnTo>
                    <a:pt x="1790" y="2873"/>
                  </a:lnTo>
                  <a:lnTo>
                    <a:pt x="1815" y="2898"/>
                  </a:lnTo>
                  <a:lnTo>
                    <a:pt x="1846" y="2898"/>
                  </a:lnTo>
                  <a:lnTo>
                    <a:pt x="1846" y="2873"/>
                  </a:lnTo>
                  <a:lnTo>
                    <a:pt x="1846" y="2898"/>
                  </a:lnTo>
                  <a:lnTo>
                    <a:pt x="1871" y="2898"/>
                  </a:lnTo>
                  <a:lnTo>
                    <a:pt x="1896" y="2898"/>
                  </a:lnTo>
                  <a:lnTo>
                    <a:pt x="1896" y="2873"/>
                  </a:lnTo>
                  <a:lnTo>
                    <a:pt x="1926" y="2873"/>
                  </a:lnTo>
                  <a:lnTo>
                    <a:pt x="1952" y="2873"/>
                  </a:lnTo>
                  <a:lnTo>
                    <a:pt x="1976" y="2873"/>
                  </a:lnTo>
                  <a:lnTo>
                    <a:pt x="1976" y="2848"/>
                  </a:lnTo>
                  <a:lnTo>
                    <a:pt x="1976" y="2817"/>
                  </a:lnTo>
                  <a:lnTo>
                    <a:pt x="2007" y="2817"/>
                  </a:lnTo>
                  <a:lnTo>
                    <a:pt x="2033" y="2817"/>
                  </a:lnTo>
                  <a:lnTo>
                    <a:pt x="2113" y="2848"/>
                  </a:lnTo>
                  <a:lnTo>
                    <a:pt x="2144" y="2848"/>
                  </a:lnTo>
                  <a:lnTo>
                    <a:pt x="2144" y="2873"/>
                  </a:lnTo>
                  <a:lnTo>
                    <a:pt x="2113" y="2873"/>
                  </a:lnTo>
                  <a:lnTo>
                    <a:pt x="2088" y="2848"/>
                  </a:lnTo>
                  <a:lnTo>
                    <a:pt x="2064" y="2848"/>
                  </a:lnTo>
                  <a:lnTo>
                    <a:pt x="2064" y="2873"/>
                  </a:lnTo>
                  <a:lnTo>
                    <a:pt x="2088" y="2873"/>
                  </a:lnTo>
                  <a:lnTo>
                    <a:pt x="2033" y="2873"/>
                  </a:lnTo>
                  <a:lnTo>
                    <a:pt x="2007" y="2929"/>
                  </a:lnTo>
                  <a:lnTo>
                    <a:pt x="1976" y="2978"/>
                  </a:lnTo>
                  <a:lnTo>
                    <a:pt x="1952" y="3009"/>
                  </a:lnTo>
                  <a:lnTo>
                    <a:pt x="1952" y="3059"/>
                  </a:lnTo>
                  <a:lnTo>
                    <a:pt x="1976" y="3115"/>
                  </a:lnTo>
                  <a:lnTo>
                    <a:pt x="2007" y="3146"/>
                  </a:lnTo>
                  <a:lnTo>
                    <a:pt x="2007" y="3171"/>
                  </a:lnTo>
                  <a:lnTo>
                    <a:pt x="2007" y="3227"/>
                  </a:lnTo>
                  <a:lnTo>
                    <a:pt x="2033" y="3196"/>
                  </a:lnTo>
                  <a:lnTo>
                    <a:pt x="2064" y="3227"/>
                  </a:lnTo>
                  <a:lnTo>
                    <a:pt x="2033" y="3227"/>
                  </a:lnTo>
                  <a:lnTo>
                    <a:pt x="2033" y="3252"/>
                  </a:lnTo>
                  <a:lnTo>
                    <a:pt x="2033" y="3277"/>
                  </a:lnTo>
                  <a:lnTo>
                    <a:pt x="2064" y="3277"/>
                  </a:lnTo>
                  <a:lnTo>
                    <a:pt x="2088" y="3252"/>
                  </a:lnTo>
                  <a:lnTo>
                    <a:pt x="2088" y="3196"/>
                  </a:lnTo>
                  <a:lnTo>
                    <a:pt x="2113" y="3252"/>
                  </a:lnTo>
                  <a:lnTo>
                    <a:pt x="2144" y="3227"/>
                  </a:lnTo>
                  <a:lnTo>
                    <a:pt x="2144" y="3252"/>
                  </a:lnTo>
                  <a:lnTo>
                    <a:pt x="2144" y="3277"/>
                  </a:lnTo>
                  <a:lnTo>
                    <a:pt x="2113" y="3308"/>
                  </a:lnTo>
                  <a:lnTo>
                    <a:pt x="2113" y="3332"/>
                  </a:lnTo>
                  <a:lnTo>
                    <a:pt x="2144" y="3308"/>
                  </a:lnTo>
                  <a:lnTo>
                    <a:pt x="2144" y="3332"/>
                  </a:lnTo>
                  <a:lnTo>
                    <a:pt x="2144" y="3363"/>
                  </a:lnTo>
                  <a:lnTo>
                    <a:pt x="2088" y="3363"/>
                  </a:lnTo>
                  <a:lnTo>
                    <a:pt x="2088" y="3389"/>
                  </a:lnTo>
                  <a:lnTo>
                    <a:pt x="2064" y="3363"/>
                  </a:lnTo>
                  <a:lnTo>
                    <a:pt x="2064" y="3389"/>
                  </a:lnTo>
                  <a:lnTo>
                    <a:pt x="2064" y="3413"/>
                  </a:lnTo>
                  <a:lnTo>
                    <a:pt x="2088" y="3444"/>
                  </a:lnTo>
                  <a:lnTo>
                    <a:pt x="2144" y="3444"/>
                  </a:lnTo>
                  <a:lnTo>
                    <a:pt x="2113" y="3468"/>
                  </a:lnTo>
                  <a:lnTo>
                    <a:pt x="2064" y="3468"/>
                  </a:lnTo>
                  <a:lnTo>
                    <a:pt x="2033" y="3525"/>
                  </a:lnTo>
                  <a:lnTo>
                    <a:pt x="2064" y="3574"/>
                  </a:lnTo>
                  <a:lnTo>
                    <a:pt x="2064" y="3630"/>
                  </a:lnTo>
                  <a:lnTo>
                    <a:pt x="2088" y="3661"/>
                  </a:lnTo>
                  <a:lnTo>
                    <a:pt x="2113" y="3661"/>
                  </a:lnTo>
                  <a:lnTo>
                    <a:pt x="2144" y="3661"/>
                  </a:lnTo>
                  <a:lnTo>
                    <a:pt x="2113" y="3661"/>
                  </a:lnTo>
                  <a:lnTo>
                    <a:pt x="2113" y="3686"/>
                  </a:lnTo>
                  <a:lnTo>
                    <a:pt x="2088" y="3661"/>
                  </a:lnTo>
                  <a:lnTo>
                    <a:pt x="2064" y="3661"/>
                  </a:lnTo>
                  <a:lnTo>
                    <a:pt x="2033" y="3630"/>
                  </a:lnTo>
                  <a:lnTo>
                    <a:pt x="2033" y="3605"/>
                  </a:lnTo>
                  <a:lnTo>
                    <a:pt x="1976" y="3605"/>
                  </a:lnTo>
                  <a:lnTo>
                    <a:pt x="2007" y="3630"/>
                  </a:lnTo>
                  <a:lnTo>
                    <a:pt x="2007" y="3661"/>
                  </a:lnTo>
                  <a:lnTo>
                    <a:pt x="2033" y="3686"/>
                  </a:lnTo>
                  <a:close/>
                  <a:moveTo>
                    <a:pt x="2306" y="925"/>
                  </a:moveTo>
                  <a:lnTo>
                    <a:pt x="2330" y="975"/>
                  </a:lnTo>
                  <a:lnTo>
                    <a:pt x="2362" y="1005"/>
                  </a:lnTo>
                  <a:lnTo>
                    <a:pt x="2386" y="975"/>
                  </a:lnTo>
                  <a:lnTo>
                    <a:pt x="2362" y="975"/>
                  </a:lnTo>
                  <a:lnTo>
                    <a:pt x="2362" y="949"/>
                  </a:lnTo>
                  <a:lnTo>
                    <a:pt x="2362" y="925"/>
                  </a:lnTo>
                  <a:lnTo>
                    <a:pt x="2330" y="894"/>
                  </a:lnTo>
                  <a:lnTo>
                    <a:pt x="2306" y="894"/>
                  </a:lnTo>
                  <a:lnTo>
                    <a:pt x="2306" y="925"/>
                  </a:lnTo>
                  <a:close/>
                  <a:moveTo>
                    <a:pt x="2306" y="4983"/>
                  </a:moveTo>
                  <a:lnTo>
                    <a:pt x="2330" y="4983"/>
                  </a:lnTo>
                  <a:lnTo>
                    <a:pt x="2362" y="5014"/>
                  </a:lnTo>
                  <a:lnTo>
                    <a:pt x="2386" y="5039"/>
                  </a:lnTo>
                  <a:lnTo>
                    <a:pt x="2412" y="5039"/>
                  </a:lnTo>
                  <a:lnTo>
                    <a:pt x="2443" y="5014"/>
                  </a:lnTo>
                  <a:lnTo>
                    <a:pt x="2467" y="4983"/>
                  </a:lnTo>
                  <a:lnTo>
                    <a:pt x="2412" y="4958"/>
                  </a:lnTo>
                  <a:lnTo>
                    <a:pt x="2386" y="4958"/>
                  </a:lnTo>
                  <a:lnTo>
                    <a:pt x="2362" y="4958"/>
                  </a:lnTo>
                  <a:lnTo>
                    <a:pt x="2330" y="4983"/>
                  </a:lnTo>
                  <a:lnTo>
                    <a:pt x="2306" y="4983"/>
                  </a:lnTo>
                  <a:close/>
                  <a:moveTo>
                    <a:pt x="2412" y="975"/>
                  </a:moveTo>
                  <a:lnTo>
                    <a:pt x="2412" y="1005"/>
                  </a:lnTo>
                  <a:lnTo>
                    <a:pt x="2443" y="1005"/>
                  </a:lnTo>
                  <a:lnTo>
                    <a:pt x="2443" y="975"/>
                  </a:lnTo>
                  <a:lnTo>
                    <a:pt x="2443" y="949"/>
                  </a:lnTo>
                  <a:lnTo>
                    <a:pt x="2467" y="949"/>
                  </a:lnTo>
                  <a:lnTo>
                    <a:pt x="2443" y="949"/>
                  </a:lnTo>
                  <a:lnTo>
                    <a:pt x="2412" y="949"/>
                  </a:lnTo>
                  <a:lnTo>
                    <a:pt x="2386" y="975"/>
                  </a:lnTo>
                  <a:lnTo>
                    <a:pt x="2412" y="975"/>
                  </a:lnTo>
                  <a:close/>
                  <a:moveTo>
                    <a:pt x="2412" y="894"/>
                  </a:moveTo>
                  <a:lnTo>
                    <a:pt x="2443" y="925"/>
                  </a:lnTo>
                  <a:lnTo>
                    <a:pt x="2467" y="949"/>
                  </a:lnTo>
                  <a:lnTo>
                    <a:pt x="2493" y="925"/>
                  </a:lnTo>
                  <a:lnTo>
                    <a:pt x="2493" y="894"/>
                  </a:lnTo>
                  <a:lnTo>
                    <a:pt x="2467" y="925"/>
                  </a:lnTo>
                  <a:lnTo>
                    <a:pt x="2467" y="894"/>
                  </a:lnTo>
                  <a:lnTo>
                    <a:pt x="2443" y="894"/>
                  </a:lnTo>
                  <a:lnTo>
                    <a:pt x="2443" y="868"/>
                  </a:lnTo>
                  <a:lnTo>
                    <a:pt x="2412" y="868"/>
                  </a:lnTo>
                  <a:lnTo>
                    <a:pt x="2386" y="868"/>
                  </a:lnTo>
                  <a:lnTo>
                    <a:pt x="2443" y="844"/>
                  </a:lnTo>
                  <a:lnTo>
                    <a:pt x="2412" y="813"/>
                  </a:lnTo>
                  <a:lnTo>
                    <a:pt x="2386" y="788"/>
                  </a:lnTo>
                  <a:lnTo>
                    <a:pt x="2362" y="788"/>
                  </a:lnTo>
                  <a:lnTo>
                    <a:pt x="2330" y="813"/>
                  </a:lnTo>
                  <a:lnTo>
                    <a:pt x="2330" y="868"/>
                  </a:lnTo>
                  <a:lnTo>
                    <a:pt x="2330" y="894"/>
                  </a:lnTo>
                  <a:lnTo>
                    <a:pt x="2362" y="868"/>
                  </a:lnTo>
                  <a:lnTo>
                    <a:pt x="2362" y="894"/>
                  </a:lnTo>
                  <a:lnTo>
                    <a:pt x="2412" y="925"/>
                  </a:lnTo>
                  <a:lnTo>
                    <a:pt x="2412" y="894"/>
                  </a:lnTo>
                  <a:close/>
                  <a:moveTo>
                    <a:pt x="2412" y="788"/>
                  </a:moveTo>
                  <a:lnTo>
                    <a:pt x="2443" y="813"/>
                  </a:lnTo>
                  <a:lnTo>
                    <a:pt x="2443" y="788"/>
                  </a:lnTo>
                  <a:lnTo>
                    <a:pt x="2412" y="788"/>
                  </a:lnTo>
                  <a:close/>
                  <a:moveTo>
                    <a:pt x="2443" y="707"/>
                  </a:moveTo>
                  <a:lnTo>
                    <a:pt x="2443" y="732"/>
                  </a:lnTo>
                  <a:lnTo>
                    <a:pt x="2467" y="732"/>
                  </a:lnTo>
                  <a:lnTo>
                    <a:pt x="2467" y="757"/>
                  </a:lnTo>
                  <a:lnTo>
                    <a:pt x="2493" y="757"/>
                  </a:lnTo>
                  <a:lnTo>
                    <a:pt x="2467" y="707"/>
                  </a:lnTo>
                  <a:lnTo>
                    <a:pt x="2443" y="707"/>
                  </a:lnTo>
                  <a:close/>
                  <a:moveTo>
                    <a:pt x="2493" y="844"/>
                  </a:moveTo>
                  <a:lnTo>
                    <a:pt x="2467" y="844"/>
                  </a:lnTo>
                  <a:lnTo>
                    <a:pt x="2443" y="868"/>
                  </a:lnTo>
                  <a:lnTo>
                    <a:pt x="2467" y="868"/>
                  </a:lnTo>
                  <a:lnTo>
                    <a:pt x="2493" y="844"/>
                  </a:lnTo>
                  <a:close/>
                  <a:moveTo>
                    <a:pt x="2493" y="757"/>
                  </a:moveTo>
                  <a:lnTo>
                    <a:pt x="2493" y="788"/>
                  </a:lnTo>
                  <a:lnTo>
                    <a:pt x="2467" y="788"/>
                  </a:lnTo>
                  <a:lnTo>
                    <a:pt x="2493" y="813"/>
                  </a:lnTo>
                  <a:lnTo>
                    <a:pt x="2493" y="788"/>
                  </a:lnTo>
                  <a:lnTo>
                    <a:pt x="2493" y="757"/>
                  </a:lnTo>
                  <a:close/>
                  <a:moveTo>
                    <a:pt x="2524" y="813"/>
                  </a:moveTo>
                  <a:lnTo>
                    <a:pt x="2524" y="844"/>
                  </a:lnTo>
                  <a:lnTo>
                    <a:pt x="2493" y="844"/>
                  </a:lnTo>
                  <a:lnTo>
                    <a:pt x="2524" y="844"/>
                  </a:lnTo>
                  <a:lnTo>
                    <a:pt x="2524" y="868"/>
                  </a:lnTo>
                  <a:lnTo>
                    <a:pt x="2548" y="844"/>
                  </a:lnTo>
                  <a:lnTo>
                    <a:pt x="2548" y="813"/>
                  </a:lnTo>
                  <a:lnTo>
                    <a:pt x="2524" y="813"/>
                  </a:lnTo>
                  <a:close/>
                  <a:moveTo>
                    <a:pt x="2548" y="732"/>
                  </a:moveTo>
                  <a:lnTo>
                    <a:pt x="2548" y="757"/>
                  </a:lnTo>
                  <a:lnTo>
                    <a:pt x="2524" y="788"/>
                  </a:lnTo>
                  <a:lnTo>
                    <a:pt x="2548" y="788"/>
                  </a:lnTo>
                  <a:lnTo>
                    <a:pt x="2579" y="788"/>
                  </a:lnTo>
                  <a:lnTo>
                    <a:pt x="2579" y="757"/>
                  </a:lnTo>
                  <a:lnTo>
                    <a:pt x="2604" y="757"/>
                  </a:lnTo>
                  <a:lnTo>
                    <a:pt x="2604" y="732"/>
                  </a:lnTo>
                  <a:lnTo>
                    <a:pt x="2579" y="732"/>
                  </a:lnTo>
                  <a:lnTo>
                    <a:pt x="2548" y="757"/>
                  </a:lnTo>
                  <a:lnTo>
                    <a:pt x="2579" y="732"/>
                  </a:lnTo>
                  <a:lnTo>
                    <a:pt x="2548" y="732"/>
                  </a:lnTo>
                  <a:close/>
                  <a:moveTo>
                    <a:pt x="2604" y="707"/>
                  </a:moveTo>
                  <a:lnTo>
                    <a:pt x="2579" y="707"/>
                  </a:lnTo>
                  <a:lnTo>
                    <a:pt x="2604" y="732"/>
                  </a:lnTo>
                  <a:lnTo>
                    <a:pt x="2604" y="707"/>
                  </a:lnTo>
                  <a:close/>
                  <a:moveTo>
                    <a:pt x="2740" y="329"/>
                  </a:moveTo>
                  <a:lnTo>
                    <a:pt x="2709" y="329"/>
                  </a:lnTo>
                  <a:lnTo>
                    <a:pt x="2709" y="354"/>
                  </a:lnTo>
                  <a:lnTo>
                    <a:pt x="2740" y="354"/>
                  </a:lnTo>
                  <a:lnTo>
                    <a:pt x="2740" y="329"/>
                  </a:lnTo>
                  <a:close/>
                  <a:moveTo>
                    <a:pt x="2902" y="354"/>
                  </a:moveTo>
                  <a:lnTo>
                    <a:pt x="2902" y="409"/>
                  </a:lnTo>
                  <a:lnTo>
                    <a:pt x="2927" y="378"/>
                  </a:lnTo>
                  <a:lnTo>
                    <a:pt x="2902" y="354"/>
                  </a:lnTo>
                  <a:close/>
                  <a:moveTo>
                    <a:pt x="2927" y="378"/>
                  </a:moveTo>
                  <a:lnTo>
                    <a:pt x="2902" y="435"/>
                  </a:lnTo>
                  <a:lnTo>
                    <a:pt x="2877" y="490"/>
                  </a:lnTo>
                  <a:lnTo>
                    <a:pt x="2902" y="490"/>
                  </a:lnTo>
                  <a:lnTo>
                    <a:pt x="2902" y="516"/>
                  </a:lnTo>
                  <a:lnTo>
                    <a:pt x="2927" y="516"/>
                  </a:lnTo>
                  <a:lnTo>
                    <a:pt x="2927" y="490"/>
                  </a:lnTo>
                  <a:lnTo>
                    <a:pt x="2927" y="459"/>
                  </a:lnTo>
                  <a:lnTo>
                    <a:pt x="2927" y="435"/>
                  </a:lnTo>
                  <a:lnTo>
                    <a:pt x="2927" y="409"/>
                  </a:lnTo>
                  <a:lnTo>
                    <a:pt x="2958" y="409"/>
                  </a:lnTo>
                  <a:lnTo>
                    <a:pt x="2958" y="378"/>
                  </a:lnTo>
                  <a:lnTo>
                    <a:pt x="2958" y="354"/>
                  </a:lnTo>
                  <a:lnTo>
                    <a:pt x="2927" y="329"/>
                  </a:lnTo>
                  <a:lnTo>
                    <a:pt x="2958" y="329"/>
                  </a:lnTo>
                  <a:lnTo>
                    <a:pt x="2958" y="298"/>
                  </a:lnTo>
                  <a:lnTo>
                    <a:pt x="2984" y="298"/>
                  </a:lnTo>
                  <a:lnTo>
                    <a:pt x="2984" y="273"/>
                  </a:lnTo>
                  <a:lnTo>
                    <a:pt x="2958" y="242"/>
                  </a:lnTo>
                  <a:lnTo>
                    <a:pt x="2984" y="242"/>
                  </a:lnTo>
                  <a:lnTo>
                    <a:pt x="3008" y="242"/>
                  </a:lnTo>
                  <a:lnTo>
                    <a:pt x="2984" y="242"/>
                  </a:lnTo>
                  <a:lnTo>
                    <a:pt x="3008" y="217"/>
                  </a:lnTo>
                  <a:lnTo>
                    <a:pt x="2984" y="217"/>
                  </a:lnTo>
                  <a:lnTo>
                    <a:pt x="2958" y="217"/>
                  </a:lnTo>
                  <a:lnTo>
                    <a:pt x="2984" y="217"/>
                  </a:lnTo>
                  <a:lnTo>
                    <a:pt x="2958" y="193"/>
                  </a:lnTo>
                  <a:lnTo>
                    <a:pt x="2958" y="217"/>
                  </a:lnTo>
                  <a:lnTo>
                    <a:pt x="2927" y="217"/>
                  </a:lnTo>
                  <a:lnTo>
                    <a:pt x="2927" y="193"/>
                  </a:lnTo>
                  <a:lnTo>
                    <a:pt x="2958" y="162"/>
                  </a:lnTo>
                  <a:lnTo>
                    <a:pt x="2927" y="136"/>
                  </a:lnTo>
                  <a:lnTo>
                    <a:pt x="2958" y="136"/>
                  </a:lnTo>
                  <a:lnTo>
                    <a:pt x="2958" y="112"/>
                  </a:lnTo>
                  <a:lnTo>
                    <a:pt x="2927" y="112"/>
                  </a:lnTo>
                  <a:lnTo>
                    <a:pt x="2902" y="162"/>
                  </a:lnTo>
                  <a:lnTo>
                    <a:pt x="2877" y="162"/>
                  </a:lnTo>
                  <a:lnTo>
                    <a:pt x="2877" y="193"/>
                  </a:lnTo>
                  <a:lnTo>
                    <a:pt x="2902" y="193"/>
                  </a:lnTo>
                  <a:lnTo>
                    <a:pt x="2902" y="217"/>
                  </a:lnTo>
                  <a:lnTo>
                    <a:pt x="2927" y="217"/>
                  </a:lnTo>
                  <a:lnTo>
                    <a:pt x="2902" y="217"/>
                  </a:lnTo>
                  <a:lnTo>
                    <a:pt x="2902" y="242"/>
                  </a:lnTo>
                  <a:lnTo>
                    <a:pt x="2927" y="242"/>
                  </a:lnTo>
                  <a:lnTo>
                    <a:pt x="2958" y="242"/>
                  </a:lnTo>
                  <a:lnTo>
                    <a:pt x="2927" y="273"/>
                  </a:lnTo>
                  <a:lnTo>
                    <a:pt x="2902" y="273"/>
                  </a:lnTo>
                  <a:lnTo>
                    <a:pt x="2877" y="273"/>
                  </a:lnTo>
                  <a:lnTo>
                    <a:pt x="2846" y="273"/>
                  </a:lnTo>
                  <a:lnTo>
                    <a:pt x="2821" y="298"/>
                  </a:lnTo>
                  <a:lnTo>
                    <a:pt x="2846" y="329"/>
                  </a:lnTo>
                  <a:lnTo>
                    <a:pt x="2877" y="298"/>
                  </a:lnTo>
                  <a:lnTo>
                    <a:pt x="2902" y="329"/>
                  </a:lnTo>
                  <a:lnTo>
                    <a:pt x="2877" y="329"/>
                  </a:lnTo>
                  <a:lnTo>
                    <a:pt x="2877" y="354"/>
                  </a:lnTo>
                  <a:lnTo>
                    <a:pt x="2902" y="329"/>
                  </a:lnTo>
                  <a:lnTo>
                    <a:pt x="2902" y="298"/>
                  </a:lnTo>
                  <a:lnTo>
                    <a:pt x="2927" y="329"/>
                  </a:lnTo>
                  <a:lnTo>
                    <a:pt x="2927" y="354"/>
                  </a:lnTo>
                  <a:lnTo>
                    <a:pt x="2927" y="378"/>
                  </a:lnTo>
                  <a:close/>
                  <a:moveTo>
                    <a:pt x="2984" y="329"/>
                  </a:moveTo>
                  <a:lnTo>
                    <a:pt x="2958" y="378"/>
                  </a:lnTo>
                  <a:lnTo>
                    <a:pt x="2984" y="378"/>
                  </a:lnTo>
                  <a:lnTo>
                    <a:pt x="2984" y="354"/>
                  </a:lnTo>
                  <a:lnTo>
                    <a:pt x="2984" y="329"/>
                  </a:lnTo>
                  <a:close/>
                  <a:moveTo>
                    <a:pt x="2984" y="112"/>
                  </a:moveTo>
                  <a:lnTo>
                    <a:pt x="2984" y="136"/>
                  </a:lnTo>
                  <a:lnTo>
                    <a:pt x="2984" y="162"/>
                  </a:lnTo>
                  <a:lnTo>
                    <a:pt x="2984" y="193"/>
                  </a:lnTo>
                  <a:lnTo>
                    <a:pt x="3008" y="193"/>
                  </a:lnTo>
                  <a:lnTo>
                    <a:pt x="3008" y="162"/>
                  </a:lnTo>
                  <a:lnTo>
                    <a:pt x="3008" y="136"/>
                  </a:lnTo>
                  <a:lnTo>
                    <a:pt x="3008" y="112"/>
                  </a:lnTo>
                  <a:lnTo>
                    <a:pt x="3039" y="112"/>
                  </a:lnTo>
                  <a:lnTo>
                    <a:pt x="3039" y="81"/>
                  </a:lnTo>
                  <a:lnTo>
                    <a:pt x="3008" y="81"/>
                  </a:lnTo>
                  <a:lnTo>
                    <a:pt x="2984" y="136"/>
                  </a:lnTo>
                  <a:lnTo>
                    <a:pt x="2984" y="112"/>
                  </a:lnTo>
                  <a:close/>
                  <a:moveTo>
                    <a:pt x="3039" y="136"/>
                  </a:moveTo>
                  <a:lnTo>
                    <a:pt x="3039" y="162"/>
                  </a:lnTo>
                  <a:lnTo>
                    <a:pt x="3064" y="136"/>
                  </a:lnTo>
                  <a:lnTo>
                    <a:pt x="3064" y="162"/>
                  </a:lnTo>
                  <a:lnTo>
                    <a:pt x="3089" y="136"/>
                  </a:lnTo>
                  <a:lnTo>
                    <a:pt x="3064" y="112"/>
                  </a:lnTo>
                  <a:lnTo>
                    <a:pt x="3039" y="136"/>
                  </a:lnTo>
                  <a:close/>
                  <a:moveTo>
                    <a:pt x="3064" y="0"/>
                  </a:moveTo>
                  <a:lnTo>
                    <a:pt x="3039" y="31"/>
                  </a:lnTo>
                  <a:lnTo>
                    <a:pt x="3064" y="56"/>
                  </a:lnTo>
                  <a:lnTo>
                    <a:pt x="3039" y="81"/>
                  </a:lnTo>
                  <a:lnTo>
                    <a:pt x="3039" y="112"/>
                  </a:lnTo>
                  <a:lnTo>
                    <a:pt x="3064" y="112"/>
                  </a:lnTo>
                  <a:lnTo>
                    <a:pt x="3064" y="81"/>
                  </a:lnTo>
                  <a:lnTo>
                    <a:pt x="3064" y="56"/>
                  </a:lnTo>
                  <a:lnTo>
                    <a:pt x="3089" y="31"/>
                  </a:lnTo>
                  <a:lnTo>
                    <a:pt x="3064" y="0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38" name="Freeform 74">
              <a:extLst>
                <a:ext uri="{FF2B5EF4-FFF2-40B4-BE49-F238E27FC236}">
                  <a16:creationId xmlns:a16="http://schemas.microsoft.com/office/drawing/2014/main" id="{AD334FAB-93B3-4B6C-8CC4-BC82B5A214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09541" y="4063028"/>
              <a:ext cx="509744" cy="319709"/>
            </a:xfrm>
            <a:custGeom>
              <a:avLst/>
              <a:gdLst/>
              <a:ahLst/>
              <a:cxnLst>
                <a:cxn ang="0">
                  <a:pos x="86" y="705"/>
                </a:cxn>
                <a:cxn ang="0">
                  <a:pos x="191" y="598"/>
                </a:cxn>
                <a:cxn ang="0">
                  <a:pos x="297" y="624"/>
                </a:cxn>
                <a:cxn ang="0">
                  <a:pos x="272" y="761"/>
                </a:cxn>
                <a:cxn ang="0">
                  <a:pos x="352" y="898"/>
                </a:cxn>
                <a:cxn ang="0">
                  <a:pos x="464" y="923"/>
                </a:cxn>
                <a:cxn ang="0">
                  <a:pos x="626" y="898"/>
                </a:cxn>
                <a:cxn ang="0">
                  <a:pos x="706" y="735"/>
                </a:cxn>
                <a:cxn ang="0">
                  <a:pos x="811" y="648"/>
                </a:cxn>
                <a:cxn ang="0">
                  <a:pos x="842" y="761"/>
                </a:cxn>
                <a:cxn ang="0">
                  <a:pos x="948" y="786"/>
                </a:cxn>
                <a:cxn ang="0">
                  <a:pos x="979" y="817"/>
                </a:cxn>
                <a:cxn ang="0">
                  <a:pos x="979" y="948"/>
                </a:cxn>
                <a:cxn ang="0">
                  <a:pos x="1004" y="867"/>
                </a:cxn>
                <a:cxn ang="0">
                  <a:pos x="1029" y="842"/>
                </a:cxn>
                <a:cxn ang="0">
                  <a:pos x="1110" y="761"/>
                </a:cxn>
                <a:cxn ang="0">
                  <a:pos x="1110" y="648"/>
                </a:cxn>
                <a:cxn ang="0">
                  <a:pos x="1196" y="705"/>
                </a:cxn>
                <a:cxn ang="0">
                  <a:pos x="1301" y="680"/>
                </a:cxn>
                <a:cxn ang="0">
                  <a:pos x="1382" y="705"/>
                </a:cxn>
                <a:cxn ang="0">
                  <a:pos x="1382" y="567"/>
                </a:cxn>
                <a:cxn ang="0">
                  <a:pos x="1519" y="567"/>
                </a:cxn>
                <a:cxn ang="0">
                  <a:pos x="1519" y="406"/>
                </a:cxn>
                <a:cxn ang="0">
                  <a:pos x="1407" y="437"/>
                </a:cxn>
                <a:cxn ang="0">
                  <a:pos x="1301" y="350"/>
                </a:cxn>
                <a:cxn ang="0">
                  <a:pos x="1165" y="350"/>
                </a:cxn>
                <a:cxn ang="0">
                  <a:pos x="1222" y="218"/>
                </a:cxn>
                <a:cxn ang="0">
                  <a:pos x="1165" y="131"/>
                </a:cxn>
                <a:cxn ang="0">
                  <a:pos x="1060" y="50"/>
                </a:cxn>
                <a:cxn ang="0">
                  <a:pos x="979" y="50"/>
                </a:cxn>
                <a:cxn ang="0">
                  <a:pos x="923" y="26"/>
                </a:cxn>
                <a:cxn ang="0">
                  <a:pos x="868" y="0"/>
                </a:cxn>
                <a:cxn ang="0">
                  <a:pos x="868" y="81"/>
                </a:cxn>
                <a:cxn ang="0">
                  <a:pos x="868" y="106"/>
                </a:cxn>
                <a:cxn ang="0">
                  <a:pos x="787" y="81"/>
                </a:cxn>
                <a:cxn ang="0">
                  <a:pos x="626" y="106"/>
                </a:cxn>
                <a:cxn ang="0">
                  <a:pos x="514" y="131"/>
                </a:cxn>
                <a:cxn ang="0">
                  <a:pos x="464" y="163"/>
                </a:cxn>
                <a:cxn ang="0">
                  <a:pos x="383" y="131"/>
                </a:cxn>
                <a:cxn ang="0">
                  <a:pos x="352" y="187"/>
                </a:cxn>
                <a:cxn ang="0">
                  <a:pos x="297" y="300"/>
                </a:cxn>
                <a:cxn ang="0">
                  <a:pos x="191" y="381"/>
                </a:cxn>
                <a:cxn ang="0">
                  <a:pos x="55" y="567"/>
                </a:cxn>
                <a:cxn ang="0">
                  <a:pos x="86" y="680"/>
                </a:cxn>
                <a:cxn ang="0">
                  <a:pos x="0" y="786"/>
                </a:cxn>
                <a:cxn ang="0">
                  <a:pos x="111" y="735"/>
                </a:cxn>
                <a:cxn ang="0">
                  <a:pos x="352" y="381"/>
                </a:cxn>
                <a:cxn ang="0">
                  <a:pos x="297" y="437"/>
                </a:cxn>
                <a:cxn ang="0">
                  <a:pos x="272" y="437"/>
                </a:cxn>
                <a:cxn ang="0">
                  <a:pos x="383" y="406"/>
                </a:cxn>
                <a:cxn ang="0">
                  <a:pos x="383" y="350"/>
                </a:cxn>
                <a:cxn ang="0">
                  <a:pos x="570" y="543"/>
                </a:cxn>
                <a:cxn ang="0">
                  <a:pos x="706" y="518"/>
                </a:cxn>
                <a:cxn ang="0">
                  <a:pos x="787" y="350"/>
                </a:cxn>
                <a:cxn ang="0">
                  <a:pos x="868" y="381"/>
                </a:cxn>
                <a:cxn ang="0">
                  <a:pos x="868" y="381"/>
                </a:cxn>
                <a:cxn ang="0">
                  <a:pos x="811" y="381"/>
                </a:cxn>
                <a:cxn ang="0">
                  <a:pos x="868" y="350"/>
                </a:cxn>
                <a:cxn ang="0">
                  <a:pos x="899" y="26"/>
                </a:cxn>
                <a:cxn ang="0">
                  <a:pos x="868" y="243"/>
                </a:cxn>
                <a:cxn ang="0">
                  <a:pos x="948" y="268"/>
                </a:cxn>
                <a:cxn ang="0">
                  <a:pos x="948" y="268"/>
                </a:cxn>
                <a:cxn ang="0">
                  <a:pos x="1110" y="324"/>
                </a:cxn>
              </a:cxnLst>
              <a:rect l="0" t="0" r="r" b="b"/>
              <a:pathLst>
                <a:path w="1519" h="948">
                  <a:moveTo>
                    <a:pt x="86" y="705"/>
                  </a:moveTo>
                  <a:lnTo>
                    <a:pt x="86" y="735"/>
                  </a:lnTo>
                  <a:lnTo>
                    <a:pt x="55" y="761"/>
                  </a:lnTo>
                  <a:lnTo>
                    <a:pt x="55" y="735"/>
                  </a:lnTo>
                  <a:lnTo>
                    <a:pt x="55" y="705"/>
                  </a:lnTo>
                  <a:lnTo>
                    <a:pt x="86" y="705"/>
                  </a:lnTo>
                  <a:lnTo>
                    <a:pt x="86" y="680"/>
                  </a:lnTo>
                  <a:lnTo>
                    <a:pt x="111" y="680"/>
                  </a:lnTo>
                  <a:lnTo>
                    <a:pt x="111" y="648"/>
                  </a:lnTo>
                  <a:lnTo>
                    <a:pt x="136" y="624"/>
                  </a:lnTo>
                  <a:lnTo>
                    <a:pt x="167" y="624"/>
                  </a:lnTo>
                  <a:lnTo>
                    <a:pt x="191" y="598"/>
                  </a:lnTo>
                  <a:lnTo>
                    <a:pt x="191" y="624"/>
                  </a:lnTo>
                  <a:lnTo>
                    <a:pt x="216" y="598"/>
                  </a:lnTo>
                  <a:lnTo>
                    <a:pt x="216" y="624"/>
                  </a:lnTo>
                  <a:lnTo>
                    <a:pt x="247" y="624"/>
                  </a:lnTo>
                  <a:lnTo>
                    <a:pt x="272" y="624"/>
                  </a:lnTo>
                  <a:lnTo>
                    <a:pt x="297" y="624"/>
                  </a:lnTo>
                  <a:lnTo>
                    <a:pt x="328" y="648"/>
                  </a:lnTo>
                  <a:lnTo>
                    <a:pt x="328" y="680"/>
                  </a:lnTo>
                  <a:lnTo>
                    <a:pt x="297" y="680"/>
                  </a:lnTo>
                  <a:lnTo>
                    <a:pt x="272" y="680"/>
                  </a:lnTo>
                  <a:lnTo>
                    <a:pt x="297" y="735"/>
                  </a:lnTo>
                  <a:lnTo>
                    <a:pt x="272" y="761"/>
                  </a:lnTo>
                  <a:lnTo>
                    <a:pt x="272" y="786"/>
                  </a:lnTo>
                  <a:lnTo>
                    <a:pt x="328" y="786"/>
                  </a:lnTo>
                  <a:lnTo>
                    <a:pt x="297" y="842"/>
                  </a:lnTo>
                  <a:lnTo>
                    <a:pt x="328" y="817"/>
                  </a:lnTo>
                  <a:lnTo>
                    <a:pt x="352" y="867"/>
                  </a:lnTo>
                  <a:lnTo>
                    <a:pt x="352" y="898"/>
                  </a:lnTo>
                  <a:lnTo>
                    <a:pt x="383" y="923"/>
                  </a:lnTo>
                  <a:lnTo>
                    <a:pt x="409" y="923"/>
                  </a:lnTo>
                  <a:lnTo>
                    <a:pt x="433" y="923"/>
                  </a:lnTo>
                  <a:lnTo>
                    <a:pt x="433" y="898"/>
                  </a:lnTo>
                  <a:lnTo>
                    <a:pt x="464" y="898"/>
                  </a:lnTo>
                  <a:lnTo>
                    <a:pt x="464" y="923"/>
                  </a:lnTo>
                  <a:lnTo>
                    <a:pt x="514" y="898"/>
                  </a:lnTo>
                  <a:lnTo>
                    <a:pt x="514" y="867"/>
                  </a:lnTo>
                  <a:lnTo>
                    <a:pt x="545" y="867"/>
                  </a:lnTo>
                  <a:lnTo>
                    <a:pt x="570" y="867"/>
                  </a:lnTo>
                  <a:lnTo>
                    <a:pt x="595" y="898"/>
                  </a:lnTo>
                  <a:lnTo>
                    <a:pt x="626" y="898"/>
                  </a:lnTo>
                  <a:lnTo>
                    <a:pt x="651" y="867"/>
                  </a:lnTo>
                  <a:lnTo>
                    <a:pt x="682" y="867"/>
                  </a:lnTo>
                  <a:lnTo>
                    <a:pt x="706" y="817"/>
                  </a:lnTo>
                  <a:lnTo>
                    <a:pt x="731" y="786"/>
                  </a:lnTo>
                  <a:lnTo>
                    <a:pt x="731" y="761"/>
                  </a:lnTo>
                  <a:lnTo>
                    <a:pt x="706" y="735"/>
                  </a:lnTo>
                  <a:lnTo>
                    <a:pt x="731" y="705"/>
                  </a:lnTo>
                  <a:lnTo>
                    <a:pt x="762" y="705"/>
                  </a:lnTo>
                  <a:lnTo>
                    <a:pt x="762" y="680"/>
                  </a:lnTo>
                  <a:lnTo>
                    <a:pt x="787" y="680"/>
                  </a:lnTo>
                  <a:lnTo>
                    <a:pt x="787" y="648"/>
                  </a:lnTo>
                  <a:lnTo>
                    <a:pt x="811" y="648"/>
                  </a:lnTo>
                  <a:lnTo>
                    <a:pt x="811" y="624"/>
                  </a:lnTo>
                  <a:lnTo>
                    <a:pt x="842" y="648"/>
                  </a:lnTo>
                  <a:lnTo>
                    <a:pt x="842" y="680"/>
                  </a:lnTo>
                  <a:lnTo>
                    <a:pt x="842" y="705"/>
                  </a:lnTo>
                  <a:lnTo>
                    <a:pt x="811" y="705"/>
                  </a:lnTo>
                  <a:lnTo>
                    <a:pt x="842" y="761"/>
                  </a:lnTo>
                  <a:lnTo>
                    <a:pt x="868" y="761"/>
                  </a:lnTo>
                  <a:lnTo>
                    <a:pt x="868" y="786"/>
                  </a:lnTo>
                  <a:lnTo>
                    <a:pt x="899" y="817"/>
                  </a:lnTo>
                  <a:lnTo>
                    <a:pt x="923" y="817"/>
                  </a:lnTo>
                  <a:lnTo>
                    <a:pt x="923" y="786"/>
                  </a:lnTo>
                  <a:lnTo>
                    <a:pt x="948" y="786"/>
                  </a:lnTo>
                  <a:lnTo>
                    <a:pt x="979" y="786"/>
                  </a:lnTo>
                  <a:lnTo>
                    <a:pt x="948" y="786"/>
                  </a:lnTo>
                  <a:lnTo>
                    <a:pt x="948" y="817"/>
                  </a:lnTo>
                  <a:lnTo>
                    <a:pt x="923" y="817"/>
                  </a:lnTo>
                  <a:lnTo>
                    <a:pt x="948" y="817"/>
                  </a:lnTo>
                  <a:lnTo>
                    <a:pt x="979" y="817"/>
                  </a:lnTo>
                  <a:lnTo>
                    <a:pt x="948" y="842"/>
                  </a:lnTo>
                  <a:lnTo>
                    <a:pt x="948" y="867"/>
                  </a:lnTo>
                  <a:lnTo>
                    <a:pt x="979" y="867"/>
                  </a:lnTo>
                  <a:lnTo>
                    <a:pt x="979" y="898"/>
                  </a:lnTo>
                  <a:lnTo>
                    <a:pt x="1004" y="923"/>
                  </a:lnTo>
                  <a:lnTo>
                    <a:pt x="979" y="948"/>
                  </a:lnTo>
                  <a:lnTo>
                    <a:pt x="1004" y="948"/>
                  </a:lnTo>
                  <a:lnTo>
                    <a:pt x="1029" y="948"/>
                  </a:lnTo>
                  <a:lnTo>
                    <a:pt x="1029" y="923"/>
                  </a:lnTo>
                  <a:lnTo>
                    <a:pt x="1060" y="923"/>
                  </a:lnTo>
                  <a:lnTo>
                    <a:pt x="1029" y="898"/>
                  </a:lnTo>
                  <a:lnTo>
                    <a:pt x="1004" y="867"/>
                  </a:lnTo>
                  <a:lnTo>
                    <a:pt x="1029" y="867"/>
                  </a:lnTo>
                  <a:lnTo>
                    <a:pt x="1004" y="867"/>
                  </a:lnTo>
                  <a:lnTo>
                    <a:pt x="1004" y="898"/>
                  </a:lnTo>
                  <a:lnTo>
                    <a:pt x="1004" y="867"/>
                  </a:lnTo>
                  <a:lnTo>
                    <a:pt x="1029" y="867"/>
                  </a:lnTo>
                  <a:lnTo>
                    <a:pt x="1029" y="842"/>
                  </a:lnTo>
                  <a:lnTo>
                    <a:pt x="1060" y="817"/>
                  </a:lnTo>
                  <a:lnTo>
                    <a:pt x="1029" y="817"/>
                  </a:lnTo>
                  <a:lnTo>
                    <a:pt x="1060" y="786"/>
                  </a:lnTo>
                  <a:lnTo>
                    <a:pt x="1084" y="786"/>
                  </a:lnTo>
                  <a:lnTo>
                    <a:pt x="1084" y="761"/>
                  </a:lnTo>
                  <a:lnTo>
                    <a:pt x="1110" y="761"/>
                  </a:lnTo>
                  <a:lnTo>
                    <a:pt x="1084" y="735"/>
                  </a:lnTo>
                  <a:lnTo>
                    <a:pt x="1110" y="705"/>
                  </a:lnTo>
                  <a:lnTo>
                    <a:pt x="1110" y="680"/>
                  </a:lnTo>
                  <a:lnTo>
                    <a:pt x="1110" y="648"/>
                  </a:lnTo>
                  <a:lnTo>
                    <a:pt x="1084" y="648"/>
                  </a:lnTo>
                  <a:lnTo>
                    <a:pt x="1110" y="648"/>
                  </a:lnTo>
                  <a:lnTo>
                    <a:pt x="1110" y="624"/>
                  </a:lnTo>
                  <a:lnTo>
                    <a:pt x="1141" y="624"/>
                  </a:lnTo>
                  <a:lnTo>
                    <a:pt x="1165" y="624"/>
                  </a:lnTo>
                  <a:lnTo>
                    <a:pt x="1165" y="680"/>
                  </a:lnTo>
                  <a:lnTo>
                    <a:pt x="1196" y="680"/>
                  </a:lnTo>
                  <a:lnTo>
                    <a:pt x="1196" y="705"/>
                  </a:lnTo>
                  <a:lnTo>
                    <a:pt x="1222" y="735"/>
                  </a:lnTo>
                  <a:lnTo>
                    <a:pt x="1246" y="705"/>
                  </a:lnTo>
                  <a:lnTo>
                    <a:pt x="1246" y="735"/>
                  </a:lnTo>
                  <a:lnTo>
                    <a:pt x="1246" y="705"/>
                  </a:lnTo>
                  <a:lnTo>
                    <a:pt x="1277" y="705"/>
                  </a:lnTo>
                  <a:lnTo>
                    <a:pt x="1301" y="680"/>
                  </a:lnTo>
                  <a:lnTo>
                    <a:pt x="1327" y="680"/>
                  </a:lnTo>
                  <a:lnTo>
                    <a:pt x="1358" y="680"/>
                  </a:lnTo>
                  <a:lnTo>
                    <a:pt x="1358" y="735"/>
                  </a:lnTo>
                  <a:lnTo>
                    <a:pt x="1358" y="761"/>
                  </a:lnTo>
                  <a:lnTo>
                    <a:pt x="1407" y="735"/>
                  </a:lnTo>
                  <a:lnTo>
                    <a:pt x="1382" y="705"/>
                  </a:lnTo>
                  <a:lnTo>
                    <a:pt x="1382" y="680"/>
                  </a:lnTo>
                  <a:lnTo>
                    <a:pt x="1407" y="648"/>
                  </a:lnTo>
                  <a:lnTo>
                    <a:pt x="1382" y="648"/>
                  </a:lnTo>
                  <a:lnTo>
                    <a:pt x="1358" y="648"/>
                  </a:lnTo>
                  <a:lnTo>
                    <a:pt x="1358" y="598"/>
                  </a:lnTo>
                  <a:lnTo>
                    <a:pt x="1382" y="567"/>
                  </a:lnTo>
                  <a:lnTo>
                    <a:pt x="1438" y="543"/>
                  </a:lnTo>
                  <a:lnTo>
                    <a:pt x="1438" y="567"/>
                  </a:lnTo>
                  <a:lnTo>
                    <a:pt x="1438" y="598"/>
                  </a:lnTo>
                  <a:lnTo>
                    <a:pt x="1463" y="598"/>
                  </a:lnTo>
                  <a:lnTo>
                    <a:pt x="1494" y="598"/>
                  </a:lnTo>
                  <a:lnTo>
                    <a:pt x="1519" y="567"/>
                  </a:lnTo>
                  <a:lnTo>
                    <a:pt x="1494" y="543"/>
                  </a:lnTo>
                  <a:lnTo>
                    <a:pt x="1463" y="518"/>
                  </a:lnTo>
                  <a:lnTo>
                    <a:pt x="1494" y="518"/>
                  </a:lnTo>
                  <a:lnTo>
                    <a:pt x="1494" y="487"/>
                  </a:lnTo>
                  <a:lnTo>
                    <a:pt x="1494" y="437"/>
                  </a:lnTo>
                  <a:lnTo>
                    <a:pt x="1519" y="406"/>
                  </a:lnTo>
                  <a:lnTo>
                    <a:pt x="1494" y="381"/>
                  </a:lnTo>
                  <a:lnTo>
                    <a:pt x="1463" y="381"/>
                  </a:lnTo>
                  <a:lnTo>
                    <a:pt x="1463" y="406"/>
                  </a:lnTo>
                  <a:lnTo>
                    <a:pt x="1438" y="406"/>
                  </a:lnTo>
                  <a:lnTo>
                    <a:pt x="1438" y="437"/>
                  </a:lnTo>
                  <a:lnTo>
                    <a:pt x="1407" y="437"/>
                  </a:lnTo>
                  <a:lnTo>
                    <a:pt x="1382" y="461"/>
                  </a:lnTo>
                  <a:lnTo>
                    <a:pt x="1382" y="437"/>
                  </a:lnTo>
                  <a:lnTo>
                    <a:pt x="1358" y="437"/>
                  </a:lnTo>
                  <a:lnTo>
                    <a:pt x="1301" y="406"/>
                  </a:lnTo>
                  <a:lnTo>
                    <a:pt x="1301" y="381"/>
                  </a:lnTo>
                  <a:lnTo>
                    <a:pt x="1301" y="350"/>
                  </a:lnTo>
                  <a:lnTo>
                    <a:pt x="1301" y="381"/>
                  </a:lnTo>
                  <a:lnTo>
                    <a:pt x="1277" y="350"/>
                  </a:lnTo>
                  <a:lnTo>
                    <a:pt x="1246" y="350"/>
                  </a:lnTo>
                  <a:lnTo>
                    <a:pt x="1222" y="350"/>
                  </a:lnTo>
                  <a:lnTo>
                    <a:pt x="1196" y="350"/>
                  </a:lnTo>
                  <a:lnTo>
                    <a:pt x="1165" y="350"/>
                  </a:lnTo>
                  <a:lnTo>
                    <a:pt x="1196" y="324"/>
                  </a:lnTo>
                  <a:lnTo>
                    <a:pt x="1165" y="300"/>
                  </a:lnTo>
                  <a:lnTo>
                    <a:pt x="1165" y="268"/>
                  </a:lnTo>
                  <a:lnTo>
                    <a:pt x="1196" y="268"/>
                  </a:lnTo>
                  <a:lnTo>
                    <a:pt x="1196" y="243"/>
                  </a:lnTo>
                  <a:lnTo>
                    <a:pt x="1222" y="218"/>
                  </a:lnTo>
                  <a:lnTo>
                    <a:pt x="1222" y="187"/>
                  </a:lnTo>
                  <a:lnTo>
                    <a:pt x="1246" y="187"/>
                  </a:lnTo>
                  <a:lnTo>
                    <a:pt x="1222" y="187"/>
                  </a:lnTo>
                  <a:lnTo>
                    <a:pt x="1222" y="163"/>
                  </a:lnTo>
                  <a:lnTo>
                    <a:pt x="1196" y="131"/>
                  </a:lnTo>
                  <a:lnTo>
                    <a:pt x="1165" y="131"/>
                  </a:lnTo>
                  <a:lnTo>
                    <a:pt x="1141" y="131"/>
                  </a:lnTo>
                  <a:lnTo>
                    <a:pt x="1141" y="106"/>
                  </a:lnTo>
                  <a:lnTo>
                    <a:pt x="1110" y="81"/>
                  </a:lnTo>
                  <a:lnTo>
                    <a:pt x="1084" y="81"/>
                  </a:lnTo>
                  <a:lnTo>
                    <a:pt x="1060" y="81"/>
                  </a:lnTo>
                  <a:lnTo>
                    <a:pt x="1060" y="50"/>
                  </a:lnTo>
                  <a:lnTo>
                    <a:pt x="1029" y="50"/>
                  </a:lnTo>
                  <a:lnTo>
                    <a:pt x="1004" y="50"/>
                  </a:lnTo>
                  <a:lnTo>
                    <a:pt x="979" y="81"/>
                  </a:lnTo>
                  <a:lnTo>
                    <a:pt x="979" y="50"/>
                  </a:lnTo>
                  <a:lnTo>
                    <a:pt x="948" y="50"/>
                  </a:lnTo>
                  <a:lnTo>
                    <a:pt x="979" y="50"/>
                  </a:lnTo>
                  <a:lnTo>
                    <a:pt x="948" y="26"/>
                  </a:lnTo>
                  <a:lnTo>
                    <a:pt x="923" y="26"/>
                  </a:lnTo>
                  <a:lnTo>
                    <a:pt x="923" y="50"/>
                  </a:lnTo>
                  <a:lnTo>
                    <a:pt x="948" y="50"/>
                  </a:lnTo>
                  <a:lnTo>
                    <a:pt x="923" y="50"/>
                  </a:lnTo>
                  <a:lnTo>
                    <a:pt x="923" y="26"/>
                  </a:lnTo>
                  <a:lnTo>
                    <a:pt x="923" y="0"/>
                  </a:lnTo>
                  <a:lnTo>
                    <a:pt x="923" y="26"/>
                  </a:lnTo>
                  <a:lnTo>
                    <a:pt x="899" y="0"/>
                  </a:lnTo>
                  <a:lnTo>
                    <a:pt x="899" y="26"/>
                  </a:lnTo>
                  <a:lnTo>
                    <a:pt x="899" y="0"/>
                  </a:lnTo>
                  <a:lnTo>
                    <a:pt x="868" y="0"/>
                  </a:lnTo>
                  <a:lnTo>
                    <a:pt x="842" y="0"/>
                  </a:lnTo>
                  <a:lnTo>
                    <a:pt x="842" y="26"/>
                  </a:lnTo>
                  <a:lnTo>
                    <a:pt x="811" y="50"/>
                  </a:lnTo>
                  <a:lnTo>
                    <a:pt x="842" y="50"/>
                  </a:lnTo>
                  <a:lnTo>
                    <a:pt x="842" y="81"/>
                  </a:lnTo>
                  <a:lnTo>
                    <a:pt x="868" y="81"/>
                  </a:lnTo>
                  <a:lnTo>
                    <a:pt x="868" y="50"/>
                  </a:lnTo>
                  <a:lnTo>
                    <a:pt x="899" y="81"/>
                  </a:lnTo>
                  <a:lnTo>
                    <a:pt x="868" y="81"/>
                  </a:lnTo>
                  <a:lnTo>
                    <a:pt x="899" y="81"/>
                  </a:lnTo>
                  <a:lnTo>
                    <a:pt x="868" y="81"/>
                  </a:lnTo>
                  <a:lnTo>
                    <a:pt x="868" y="106"/>
                  </a:lnTo>
                  <a:lnTo>
                    <a:pt x="868" y="81"/>
                  </a:lnTo>
                  <a:lnTo>
                    <a:pt x="842" y="81"/>
                  </a:lnTo>
                  <a:lnTo>
                    <a:pt x="842" y="106"/>
                  </a:lnTo>
                  <a:lnTo>
                    <a:pt x="811" y="106"/>
                  </a:lnTo>
                  <a:lnTo>
                    <a:pt x="787" y="106"/>
                  </a:lnTo>
                  <a:lnTo>
                    <a:pt x="787" y="81"/>
                  </a:lnTo>
                  <a:lnTo>
                    <a:pt x="762" y="81"/>
                  </a:lnTo>
                  <a:lnTo>
                    <a:pt x="731" y="81"/>
                  </a:lnTo>
                  <a:lnTo>
                    <a:pt x="706" y="106"/>
                  </a:lnTo>
                  <a:lnTo>
                    <a:pt x="682" y="106"/>
                  </a:lnTo>
                  <a:lnTo>
                    <a:pt x="651" y="106"/>
                  </a:lnTo>
                  <a:lnTo>
                    <a:pt x="626" y="106"/>
                  </a:lnTo>
                  <a:lnTo>
                    <a:pt x="595" y="131"/>
                  </a:lnTo>
                  <a:lnTo>
                    <a:pt x="570" y="131"/>
                  </a:lnTo>
                  <a:lnTo>
                    <a:pt x="570" y="106"/>
                  </a:lnTo>
                  <a:lnTo>
                    <a:pt x="545" y="106"/>
                  </a:lnTo>
                  <a:lnTo>
                    <a:pt x="514" y="106"/>
                  </a:lnTo>
                  <a:lnTo>
                    <a:pt x="514" y="131"/>
                  </a:lnTo>
                  <a:lnTo>
                    <a:pt x="514" y="163"/>
                  </a:lnTo>
                  <a:lnTo>
                    <a:pt x="490" y="131"/>
                  </a:lnTo>
                  <a:lnTo>
                    <a:pt x="490" y="163"/>
                  </a:lnTo>
                  <a:lnTo>
                    <a:pt x="514" y="163"/>
                  </a:lnTo>
                  <a:lnTo>
                    <a:pt x="490" y="163"/>
                  </a:lnTo>
                  <a:lnTo>
                    <a:pt x="464" y="163"/>
                  </a:lnTo>
                  <a:lnTo>
                    <a:pt x="433" y="187"/>
                  </a:lnTo>
                  <a:lnTo>
                    <a:pt x="433" y="163"/>
                  </a:lnTo>
                  <a:lnTo>
                    <a:pt x="409" y="163"/>
                  </a:lnTo>
                  <a:lnTo>
                    <a:pt x="433" y="131"/>
                  </a:lnTo>
                  <a:lnTo>
                    <a:pt x="409" y="131"/>
                  </a:lnTo>
                  <a:lnTo>
                    <a:pt x="383" y="131"/>
                  </a:lnTo>
                  <a:lnTo>
                    <a:pt x="352" y="131"/>
                  </a:lnTo>
                  <a:lnTo>
                    <a:pt x="352" y="163"/>
                  </a:lnTo>
                  <a:lnTo>
                    <a:pt x="328" y="163"/>
                  </a:lnTo>
                  <a:lnTo>
                    <a:pt x="328" y="187"/>
                  </a:lnTo>
                  <a:lnTo>
                    <a:pt x="328" y="218"/>
                  </a:lnTo>
                  <a:lnTo>
                    <a:pt x="352" y="187"/>
                  </a:lnTo>
                  <a:lnTo>
                    <a:pt x="383" y="218"/>
                  </a:lnTo>
                  <a:lnTo>
                    <a:pt x="352" y="218"/>
                  </a:lnTo>
                  <a:lnTo>
                    <a:pt x="352" y="243"/>
                  </a:lnTo>
                  <a:lnTo>
                    <a:pt x="328" y="243"/>
                  </a:lnTo>
                  <a:lnTo>
                    <a:pt x="328" y="268"/>
                  </a:lnTo>
                  <a:lnTo>
                    <a:pt x="297" y="300"/>
                  </a:lnTo>
                  <a:lnTo>
                    <a:pt x="272" y="324"/>
                  </a:lnTo>
                  <a:lnTo>
                    <a:pt x="247" y="350"/>
                  </a:lnTo>
                  <a:lnTo>
                    <a:pt x="247" y="381"/>
                  </a:lnTo>
                  <a:lnTo>
                    <a:pt x="216" y="381"/>
                  </a:lnTo>
                  <a:lnTo>
                    <a:pt x="191" y="406"/>
                  </a:lnTo>
                  <a:lnTo>
                    <a:pt x="191" y="381"/>
                  </a:lnTo>
                  <a:lnTo>
                    <a:pt x="167" y="406"/>
                  </a:lnTo>
                  <a:lnTo>
                    <a:pt x="167" y="437"/>
                  </a:lnTo>
                  <a:lnTo>
                    <a:pt x="167" y="461"/>
                  </a:lnTo>
                  <a:lnTo>
                    <a:pt x="167" y="487"/>
                  </a:lnTo>
                  <a:lnTo>
                    <a:pt x="111" y="518"/>
                  </a:lnTo>
                  <a:lnTo>
                    <a:pt x="55" y="567"/>
                  </a:lnTo>
                  <a:lnTo>
                    <a:pt x="55" y="598"/>
                  </a:lnTo>
                  <a:lnTo>
                    <a:pt x="31" y="624"/>
                  </a:lnTo>
                  <a:lnTo>
                    <a:pt x="55" y="648"/>
                  </a:lnTo>
                  <a:lnTo>
                    <a:pt x="31" y="648"/>
                  </a:lnTo>
                  <a:lnTo>
                    <a:pt x="55" y="648"/>
                  </a:lnTo>
                  <a:lnTo>
                    <a:pt x="86" y="680"/>
                  </a:lnTo>
                  <a:lnTo>
                    <a:pt x="55" y="680"/>
                  </a:lnTo>
                  <a:lnTo>
                    <a:pt x="55" y="705"/>
                  </a:lnTo>
                  <a:lnTo>
                    <a:pt x="55" y="735"/>
                  </a:lnTo>
                  <a:lnTo>
                    <a:pt x="31" y="735"/>
                  </a:lnTo>
                  <a:lnTo>
                    <a:pt x="0" y="761"/>
                  </a:lnTo>
                  <a:lnTo>
                    <a:pt x="0" y="786"/>
                  </a:lnTo>
                  <a:lnTo>
                    <a:pt x="31" y="786"/>
                  </a:lnTo>
                  <a:lnTo>
                    <a:pt x="55" y="786"/>
                  </a:lnTo>
                  <a:lnTo>
                    <a:pt x="86" y="786"/>
                  </a:lnTo>
                  <a:lnTo>
                    <a:pt x="86" y="761"/>
                  </a:lnTo>
                  <a:lnTo>
                    <a:pt x="111" y="761"/>
                  </a:lnTo>
                  <a:lnTo>
                    <a:pt x="111" y="735"/>
                  </a:lnTo>
                  <a:lnTo>
                    <a:pt x="86" y="735"/>
                  </a:lnTo>
                  <a:lnTo>
                    <a:pt x="86" y="705"/>
                  </a:lnTo>
                  <a:close/>
                  <a:moveTo>
                    <a:pt x="272" y="437"/>
                  </a:moveTo>
                  <a:lnTo>
                    <a:pt x="297" y="406"/>
                  </a:lnTo>
                  <a:lnTo>
                    <a:pt x="328" y="381"/>
                  </a:lnTo>
                  <a:lnTo>
                    <a:pt x="352" y="381"/>
                  </a:lnTo>
                  <a:lnTo>
                    <a:pt x="383" y="381"/>
                  </a:lnTo>
                  <a:lnTo>
                    <a:pt x="352" y="381"/>
                  </a:lnTo>
                  <a:lnTo>
                    <a:pt x="352" y="406"/>
                  </a:lnTo>
                  <a:lnTo>
                    <a:pt x="328" y="406"/>
                  </a:lnTo>
                  <a:lnTo>
                    <a:pt x="328" y="437"/>
                  </a:lnTo>
                  <a:lnTo>
                    <a:pt x="297" y="437"/>
                  </a:lnTo>
                  <a:lnTo>
                    <a:pt x="297" y="461"/>
                  </a:lnTo>
                  <a:lnTo>
                    <a:pt x="272" y="461"/>
                  </a:lnTo>
                  <a:lnTo>
                    <a:pt x="247" y="461"/>
                  </a:lnTo>
                  <a:lnTo>
                    <a:pt x="247" y="487"/>
                  </a:lnTo>
                  <a:lnTo>
                    <a:pt x="216" y="461"/>
                  </a:lnTo>
                  <a:lnTo>
                    <a:pt x="272" y="437"/>
                  </a:lnTo>
                  <a:close/>
                  <a:moveTo>
                    <a:pt x="383" y="406"/>
                  </a:moveTo>
                  <a:lnTo>
                    <a:pt x="409" y="406"/>
                  </a:lnTo>
                  <a:lnTo>
                    <a:pt x="383" y="406"/>
                  </a:lnTo>
                  <a:lnTo>
                    <a:pt x="383" y="437"/>
                  </a:lnTo>
                  <a:lnTo>
                    <a:pt x="352" y="406"/>
                  </a:lnTo>
                  <a:lnTo>
                    <a:pt x="383" y="406"/>
                  </a:lnTo>
                  <a:close/>
                  <a:moveTo>
                    <a:pt x="383" y="350"/>
                  </a:moveTo>
                  <a:lnTo>
                    <a:pt x="409" y="324"/>
                  </a:lnTo>
                  <a:lnTo>
                    <a:pt x="433" y="324"/>
                  </a:lnTo>
                  <a:lnTo>
                    <a:pt x="409" y="324"/>
                  </a:lnTo>
                  <a:lnTo>
                    <a:pt x="409" y="350"/>
                  </a:lnTo>
                  <a:lnTo>
                    <a:pt x="383" y="350"/>
                  </a:lnTo>
                  <a:close/>
                  <a:moveTo>
                    <a:pt x="570" y="518"/>
                  </a:moveTo>
                  <a:lnTo>
                    <a:pt x="595" y="518"/>
                  </a:lnTo>
                  <a:lnTo>
                    <a:pt x="595" y="543"/>
                  </a:lnTo>
                  <a:lnTo>
                    <a:pt x="626" y="543"/>
                  </a:lnTo>
                  <a:lnTo>
                    <a:pt x="595" y="543"/>
                  </a:lnTo>
                  <a:lnTo>
                    <a:pt x="570" y="543"/>
                  </a:lnTo>
                  <a:lnTo>
                    <a:pt x="570" y="518"/>
                  </a:lnTo>
                  <a:close/>
                  <a:moveTo>
                    <a:pt x="651" y="518"/>
                  </a:moveTo>
                  <a:lnTo>
                    <a:pt x="682" y="518"/>
                  </a:lnTo>
                  <a:lnTo>
                    <a:pt x="682" y="487"/>
                  </a:lnTo>
                  <a:lnTo>
                    <a:pt x="706" y="487"/>
                  </a:lnTo>
                  <a:lnTo>
                    <a:pt x="706" y="518"/>
                  </a:lnTo>
                  <a:lnTo>
                    <a:pt x="682" y="518"/>
                  </a:lnTo>
                  <a:lnTo>
                    <a:pt x="651" y="518"/>
                  </a:lnTo>
                  <a:lnTo>
                    <a:pt x="651" y="543"/>
                  </a:lnTo>
                  <a:lnTo>
                    <a:pt x="651" y="518"/>
                  </a:lnTo>
                  <a:close/>
                  <a:moveTo>
                    <a:pt x="787" y="381"/>
                  </a:moveTo>
                  <a:lnTo>
                    <a:pt x="787" y="350"/>
                  </a:lnTo>
                  <a:lnTo>
                    <a:pt x="787" y="381"/>
                  </a:lnTo>
                  <a:lnTo>
                    <a:pt x="811" y="381"/>
                  </a:lnTo>
                  <a:lnTo>
                    <a:pt x="811" y="350"/>
                  </a:lnTo>
                  <a:lnTo>
                    <a:pt x="811" y="381"/>
                  </a:lnTo>
                  <a:lnTo>
                    <a:pt x="842" y="381"/>
                  </a:lnTo>
                  <a:lnTo>
                    <a:pt x="868" y="381"/>
                  </a:lnTo>
                  <a:lnTo>
                    <a:pt x="899" y="381"/>
                  </a:lnTo>
                  <a:lnTo>
                    <a:pt x="899" y="406"/>
                  </a:lnTo>
                  <a:lnTo>
                    <a:pt x="899" y="437"/>
                  </a:lnTo>
                  <a:lnTo>
                    <a:pt x="868" y="437"/>
                  </a:lnTo>
                  <a:lnTo>
                    <a:pt x="868" y="406"/>
                  </a:lnTo>
                  <a:lnTo>
                    <a:pt x="868" y="381"/>
                  </a:lnTo>
                  <a:lnTo>
                    <a:pt x="868" y="406"/>
                  </a:lnTo>
                  <a:lnTo>
                    <a:pt x="842" y="406"/>
                  </a:lnTo>
                  <a:lnTo>
                    <a:pt x="811" y="406"/>
                  </a:lnTo>
                  <a:lnTo>
                    <a:pt x="811" y="381"/>
                  </a:lnTo>
                  <a:lnTo>
                    <a:pt x="842" y="381"/>
                  </a:lnTo>
                  <a:lnTo>
                    <a:pt x="811" y="381"/>
                  </a:lnTo>
                  <a:lnTo>
                    <a:pt x="787" y="381"/>
                  </a:lnTo>
                  <a:close/>
                  <a:moveTo>
                    <a:pt x="842" y="324"/>
                  </a:moveTo>
                  <a:lnTo>
                    <a:pt x="842" y="300"/>
                  </a:lnTo>
                  <a:lnTo>
                    <a:pt x="842" y="324"/>
                  </a:lnTo>
                  <a:lnTo>
                    <a:pt x="842" y="350"/>
                  </a:lnTo>
                  <a:lnTo>
                    <a:pt x="868" y="350"/>
                  </a:lnTo>
                  <a:lnTo>
                    <a:pt x="842" y="350"/>
                  </a:lnTo>
                  <a:lnTo>
                    <a:pt x="842" y="324"/>
                  </a:lnTo>
                  <a:close/>
                  <a:moveTo>
                    <a:pt x="899" y="50"/>
                  </a:moveTo>
                  <a:lnTo>
                    <a:pt x="923" y="50"/>
                  </a:lnTo>
                  <a:lnTo>
                    <a:pt x="923" y="26"/>
                  </a:lnTo>
                  <a:lnTo>
                    <a:pt x="899" y="26"/>
                  </a:lnTo>
                  <a:lnTo>
                    <a:pt x="899" y="50"/>
                  </a:lnTo>
                  <a:close/>
                  <a:moveTo>
                    <a:pt x="923" y="300"/>
                  </a:moveTo>
                  <a:lnTo>
                    <a:pt x="923" y="268"/>
                  </a:lnTo>
                  <a:lnTo>
                    <a:pt x="899" y="268"/>
                  </a:lnTo>
                  <a:lnTo>
                    <a:pt x="868" y="268"/>
                  </a:lnTo>
                  <a:lnTo>
                    <a:pt x="868" y="243"/>
                  </a:lnTo>
                  <a:lnTo>
                    <a:pt x="868" y="218"/>
                  </a:lnTo>
                  <a:lnTo>
                    <a:pt x="868" y="243"/>
                  </a:lnTo>
                  <a:lnTo>
                    <a:pt x="899" y="243"/>
                  </a:lnTo>
                  <a:lnTo>
                    <a:pt x="899" y="268"/>
                  </a:lnTo>
                  <a:lnTo>
                    <a:pt x="923" y="268"/>
                  </a:lnTo>
                  <a:lnTo>
                    <a:pt x="948" y="268"/>
                  </a:lnTo>
                  <a:lnTo>
                    <a:pt x="979" y="268"/>
                  </a:lnTo>
                  <a:lnTo>
                    <a:pt x="1004" y="268"/>
                  </a:lnTo>
                  <a:lnTo>
                    <a:pt x="979" y="268"/>
                  </a:lnTo>
                  <a:lnTo>
                    <a:pt x="948" y="268"/>
                  </a:lnTo>
                  <a:lnTo>
                    <a:pt x="948" y="300"/>
                  </a:lnTo>
                  <a:lnTo>
                    <a:pt x="948" y="268"/>
                  </a:lnTo>
                  <a:lnTo>
                    <a:pt x="923" y="268"/>
                  </a:lnTo>
                  <a:lnTo>
                    <a:pt x="923" y="300"/>
                  </a:lnTo>
                  <a:close/>
                  <a:moveTo>
                    <a:pt x="1029" y="324"/>
                  </a:moveTo>
                  <a:lnTo>
                    <a:pt x="1060" y="324"/>
                  </a:lnTo>
                  <a:lnTo>
                    <a:pt x="1084" y="324"/>
                  </a:lnTo>
                  <a:lnTo>
                    <a:pt x="1110" y="324"/>
                  </a:lnTo>
                  <a:lnTo>
                    <a:pt x="1084" y="324"/>
                  </a:lnTo>
                  <a:lnTo>
                    <a:pt x="1060" y="324"/>
                  </a:lnTo>
                  <a:lnTo>
                    <a:pt x="1029" y="324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39" name="Freeform 77">
              <a:extLst>
                <a:ext uri="{FF2B5EF4-FFF2-40B4-BE49-F238E27FC236}">
                  <a16:creationId xmlns:a16="http://schemas.microsoft.com/office/drawing/2014/main" id="{1CCCB08B-6058-4E74-B6C3-EFC9E5F0DF8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27427" y="5198"/>
              <a:ext cx="1562768" cy="2351977"/>
            </a:xfrm>
            <a:custGeom>
              <a:avLst/>
              <a:gdLst/>
              <a:ahLst/>
              <a:cxnLst>
                <a:cxn ang="0">
                  <a:pos x="56" y="5636"/>
                </a:cxn>
                <a:cxn ang="0">
                  <a:pos x="137" y="6393"/>
                </a:cxn>
                <a:cxn ang="0">
                  <a:pos x="329" y="4742"/>
                </a:cxn>
                <a:cxn ang="0">
                  <a:pos x="815" y="4252"/>
                </a:cxn>
                <a:cxn ang="0">
                  <a:pos x="895" y="4202"/>
                </a:cxn>
                <a:cxn ang="0">
                  <a:pos x="1411" y="3656"/>
                </a:cxn>
                <a:cxn ang="0">
                  <a:pos x="1790" y="1948"/>
                </a:cxn>
                <a:cxn ang="0">
                  <a:pos x="2064" y="1625"/>
                </a:cxn>
                <a:cxn ang="0">
                  <a:pos x="1951" y="1843"/>
                </a:cxn>
                <a:cxn ang="0">
                  <a:pos x="2169" y="1513"/>
                </a:cxn>
                <a:cxn ang="0">
                  <a:pos x="2250" y="1544"/>
                </a:cxn>
                <a:cxn ang="0">
                  <a:pos x="2418" y="1271"/>
                </a:cxn>
                <a:cxn ang="0">
                  <a:pos x="2741" y="917"/>
                </a:cxn>
                <a:cxn ang="0">
                  <a:pos x="3014" y="787"/>
                </a:cxn>
                <a:cxn ang="0">
                  <a:pos x="2604" y="1898"/>
                </a:cxn>
                <a:cxn ang="0">
                  <a:pos x="2039" y="3388"/>
                </a:cxn>
                <a:cxn ang="0">
                  <a:pos x="1709" y="4928"/>
                </a:cxn>
                <a:cxn ang="0">
                  <a:pos x="1604" y="6368"/>
                </a:cxn>
                <a:cxn ang="0">
                  <a:pos x="1355" y="6393"/>
                </a:cxn>
                <a:cxn ang="0">
                  <a:pos x="1306" y="6207"/>
                </a:cxn>
                <a:cxn ang="0">
                  <a:pos x="1306" y="6393"/>
                </a:cxn>
                <a:cxn ang="0">
                  <a:pos x="1057" y="6554"/>
                </a:cxn>
                <a:cxn ang="0">
                  <a:pos x="628" y="6964"/>
                </a:cxn>
                <a:cxn ang="0">
                  <a:pos x="113" y="6449"/>
                </a:cxn>
                <a:cxn ang="0">
                  <a:pos x="193" y="6257"/>
                </a:cxn>
                <a:cxn ang="0">
                  <a:pos x="56" y="6095"/>
                </a:cxn>
                <a:cxn ang="0">
                  <a:pos x="379" y="5798"/>
                </a:cxn>
                <a:cxn ang="0">
                  <a:pos x="162" y="5829"/>
                </a:cxn>
                <a:cxn ang="0">
                  <a:pos x="243" y="5394"/>
                </a:cxn>
                <a:cxn ang="0">
                  <a:pos x="653" y="5394"/>
                </a:cxn>
                <a:cxn ang="0">
                  <a:pos x="410" y="5338"/>
                </a:cxn>
                <a:cxn ang="0">
                  <a:pos x="82" y="5121"/>
                </a:cxn>
                <a:cxn ang="0">
                  <a:pos x="379" y="5040"/>
                </a:cxn>
                <a:cxn ang="0">
                  <a:pos x="193" y="4848"/>
                </a:cxn>
                <a:cxn ang="0">
                  <a:pos x="573" y="4822"/>
                </a:cxn>
                <a:cxn ang="0">
                  <a:pos x="653" y="4630"/>
                </a:cxn>
                <a:cxn ang="0">
                  <a:pos x="895" y="4549"/>
                </a:cxn>
                <a:cxn ang="0">
                  <a:pos x="1169" y="4226"/>
                </a:cxn>
                <a:cxn ang="0">
                  <a:pos x="1386" y="4034"/>
                </a:cxn>
                <a:cxn ang="0">
                  <a:pos x="1306" y="3792"/>
                </a:cxn>
                <a:cxn ang="0">
                  <a:pos x="1604" y="3469"/>
                </a:cxn>
                <a:cxn ang="0">
                  <a:pos x="1685" y="3276"/>
                </a:cxn>
                <a:cxn ang="0">
                  <a:pos x="1766" y="2979"/>
                </a:cxn>
                <a:cxn ang="0">
                  <a:pos x="1846" y="2575"/>
                </a:cxn>
                <a:cxn ang="0">
                  <a:pos x="2169" y="2166"/>
                </a:cxn>
                <a:cxn ang="0">
                  <a:pos x="2200" y="1948"/>
                </a:cxn>
                <a:cxn ang="0">
                  <a:pos x="2337" y="1731"/>
                </a:cxn>
                <a:cxn ang="0">
                  <a:pos x="2549" y="1383"/>
                </a:cxn>
                <a:cxn ang="0">
                  <a:pos x="2822" y="1191"/>
                </a:cxn>
                <a:cxn ang="0">
                  <a:pos x="2902" y="917"/>
                </a:cxn>
                <a:cxn ang="0">
                  <a:pos x="3064" y="787"/>
                </a:cxn>
                <a:cxn ang="0">
                  <a:pos x="3282" y="756"/>
                </a:cxn>
                <a:cxn ang="0">
                  <a:pos x="3611" y="192"/>
                </a:cxn>
                <a:cxn ang="0">
                  <a:pos x="3829" y="160"/>
                </a:cxn>
                <a:cxn ang="0">
                  <a:pos x="4015" y="0"/>
                </a:cxn>
                <a:cxn ang="0">
                  <a:pos x="4128" y="216"/>
                </a:cxn>
                <a:cxn ang="0">
                  <a:pos x="4475" y="321"/>
                </a:cxn>
                <a:cxn ang="0">
                  <a:pos x="4506" y="489"/>
                </a:cxn>
                <a:cxn ang="0">
                  <a:pos x="4344" y="594"/>
                </a:cxn>
                <a:cxn ang="0">
                  <a:pos x="3829" y="1216"/>
                </a:cxn>
                <a:cxn ang="0">
                  <a:pos x="3064" y="1191"/>
                </a:cxn>
                <a:cxn ang="0">
                  <a:pos x="3257" y="402"/>
                </a:cxn>
                <a:cxn ang="0">
                  <a:pos x="3362" y="514"/>
                </a:cxn>
              </a:cxnLst>
              <a:rect l="0" t="0" r="r" b="b"/>
              <a:pathLst>
                <a:path w="4643" h="6989">
                  <a:moveTo>
                    <a:pt x="32" y="5338"/>
                  </a:moveTo>
                  <a:lnTo>
                    <a:pt x="32" y="5363"/>
                  </a:lnTo>
                  <a:lnTo>
                    <a:pt x="0" y="5363"/>
                  </a:lnTo>
                  <a:lnTo>
                    <a:pt x="32" y="5394"/>
                  </a:lnTo>
                  <a:lnTo>
                    <a:pt x="56" y="5394"/>
                  </a:lnTo>
                  <a:lnTo>
                    <a:pt x="56" y="5338"/>
                  </a:lnTo>
                  <a:lnTo>
                    <a:pt x="32" y="5338"/>
                  </a:lnTo>
                  <a:close/>
                  <a:moveTo>
                    <a:pt x="56" y="5555"/>
                  </a:moveTo>
                  <a:lnTo>
                    <a:pt x="56" y="5611"/>
                  </a:lnTo>
                  <a:lnTo>
                    <a:pt x="82" y="5660"/>
                  </a:lnTo>
                  <a:lnTo>
                    <a:pt x="113" y="5636"/>
                  </a:lnTo>
                  <a:lnTo>
                    <a:pt x="113" y="5611"/>
                  </a:lnTo>
                  <a:lnTo>
                    <a:pt x="82" y="5580"/>
                  </a:lnTo>
                  <a:lnTo>
                    <a:pt x="56" y="5555"/>
                  </a:lnTo>
                  <a:close/>
                  <a:moveTo>
                    <a:pt x="56" y="5717"/>
                  </a:moveTo>
                  <a:lnTo>
                    <a:pt x="82" y="5691"/>
                  </a:lnTo>
                  <a:lnTo>
                    <a:pt x="56" y="5636"/>
                  </a:lnTo>
                  <a:lnTo>
                    <a:pt x="32" y="5660"/>
                  </a:lnTo>
                  <a:lnTo>
                    <a:pt x="56" y="5717"/>
                  </a:lnTo>
                  <a:close/>
                  <a:moveTo>
                    <a:pt x="113" y="5934"/>
                  </a:moveTo>
                  <a:lnTo>
                    <a:pt x="82" y="5958"/>
                  </a:lnTo>
                  <a:lnTo>
                    <a:pt x="56" y="5958"/>
                  </a:lnTo>
                  <a:lnTo>
                    <a:pt x="56" y="5990"/>
                  </a:lnTo>
                  <a:lnTo>
                    <a:pt x="82" y="6071"/>
                  </a:lnTo>
                  <a:lnTo>
                    <a:pt x="113" y="6039"/>
                  </a:lnTo>
                  <a:lnTo>
                    <a:pt x="113" y="5990"/>
                  </a:lnTo>
                  <a:lnTo>
                    <a:pt x="137" y="5990"/>
                  </a:lnTo>
                  <a:lnTo>
                    <a:pt x="137" y="6039"/>
                  </a:lnTo>
                  <a:lnTo>
                    <a:pt x="162" y="5990"/>
                  </a:lnTo>
                  <a:lnTo>
                    <a:pt x="137" y="5990"/>
                  </a:lnTo>
                  <a:lnTo>
                    <a:pt x="162" y="5958"/>
                  </a:lnTo>
                  <a:lnTo>
                    <a:pt x="162" y="5934"/>
                  </a:lnTo>
                  <a:lnTo>
                    <a:pt x="113" y="5934"/>
                  </a:lnTo>
                  <a:close/>
                  <a:moveTo>
                    <a:pt x="137" y="6393"/>
                  </a:moveTo>
                  <a:lnTo>
                    <a:pt x="162" y="6393"/>
                  </a:lnTo>
                  <a:lnTo>
                    <a:pt x="193" y="6368"/>
                  </a:lnTo>
                  <a:lnTo>
                    <a:pt x="162" y="6344"/>
                  </a:lnTo>
                  <a:lnTo>
                    <a:pt x="162" y="6368"/>
                  </a:lnTo>
                  <a:lnTo>
                    <a:pt x="113" y="6368"/>
                  </a:lnTo>
                  <a:lnTo>
                    <a:pt x="137" y="6393"/>
                  </a:lnTo>
                  <a:close/>
                  <a:moveTo>
                    <a:pt x="162" y="5611"/>
                  </a:moveTo>
                  <a:lnTo>
                    <a:pt x="137" y="5636"/>
                  </a:lnTo>
                  <a:lnTo>
                    <a:pt x="137" y="5691"/>
                  </a:lnTo>
                  <a:lnTo>
                    <a:pt x="162" y="5717"/>
                  </a:lnTo>
                  <a:lnTo>
                    <a:pt x="193" y="5691"/>
                  </a:lnTo>
                  <a:lnTo>
                    <a:pt x="193" y="5636"/>
                  </a:lnTo>
                  <a:lnTo>
                    <a:pt x="162" y="5611"/>
                  </a:lnTo>
                  <a:close/>
                  <a:moveTo>
                    <a:pt x="298" y="4742"/>
                  </a:moveTo>
                  <a:lnTo>
                    <a:pt x="274" y="4822"/>
                  </a:lnTo>
                  <a:lnTo>
                    <a:pt x="329" y="4767"/>
                  </a:lnTo>
                  <a:lnTo>
                    <a:pt x="329" y="4742"/>
                  </a:lnTo>
                  <a:lnTo>
                    <a:pt x="298" y="4742"/>
                  </a:lnTo>
                  <a:close/>
                  <a:moveTo>
                    <a:pt x="435" y="4717"/>
                  </a:moveTo>
                  <a:lnTo>
                    <a:pt x="410" y="4686"/>
                  </a:lnTo>
                  <a:lnTo>
                    <a:pt x="435" y="4661"/>
                  </a:lnTo>
                  <a:lnTo>
                    <a:pt x="435" y="4630"/>
                  </a:lnTo>
                  <a:lnTo>
                    <a:pt x="379" y="4661"/>
                  </a:lnTo>
                  <a:lnTo>
                    <a:pt x="379" y="4686"/>
                  </a:lnTo>
                  <a:lnTo>
                    <a:pt x="355" y="4686"/>
                  </a:lnTo>
                  <a:lnTo>
                    <a:pt x="410" y="4717"/>
                  </a:lnTo>
                  <a:lnTo>
                    <a:pt x="435" y="4717"/>
                  </a:lnTo>
                  <a:close/>
                  <a:moveTo>
                    <a:pt x="758" y="4388"/>
                  </a:moveTo>
                  <a:lnTo>
                    <a:pt x="815" y="4363"/>
                  </a:lnTo>
                  <a:lnTo>
                    <a:pt x="846" y="4363"/>
                  </a:lnTo>
                  <a:lnTo>
                    <a:pt x="846" y="4332"/>
                  </a:lnTo>
                  <a:lnTo>
                    <a:pt x="758" y="4388"/>
                  </a:lnTo>
                  <a:close/>
                  <a:moveTo>
                    <a:pt x="758" y="4283"/>
                  </a:moveTo>
                  <a:lnTo>
                    <a:pt x="815" y="4252"/>
                  </a:lnTo>
                  <a:lnTo>
                    <a:pt x="758" y="4226"/>
                  </a:lnTo>
                  <a:lnTo>
                    <a:pt x="734" y="4252"/>
                  </a:lnTo>
                  <a:lnTo>
                    <a:pt x="758" y="4283"/>
                  </a:lnTo>
                  <a:close/>
                  <a:moveTo>
                    <a:pt x="815" y="4121"/>
                  </a:moveTo>
                  <a:lnTo>
                    <a:pt x="951" y="4145"/>
                  </a:lnTo>
                  <a:lnTo>
                    <a:pt x="976" y="4090"/>
                  </a:lnTo>
                  <a:lnTo>
                    <a:pt x="926" y="4065"/>
                  </a:lnTo>
                  <a:lnTo>
                    <a:pt x="815" y="4121"/>
                  </a:lnTo>
                  <a:close/>
                  <a:moveTo>
                    <a:pt x="815" y="4226"/>
                  </a:moveTo>
                  <a:lnTo>
                    <a:pt x="895" y="4226"/>
                  </a:lnTo>
                  <a:lnTo>
                    <a:pt x="951" y="4202"/>
                  </a:lnTo>
                  <a:lnTo>
                    <a:pt x="976" y="4202"/>
                  </a:lnTo>
                  <a:lnTo>
                    <a:pt x="1007" y="4171"/>
                  </a:lnTo>
                  <a:lnTo>
                    <a:pt x="1007" y="4145"/>
                  </a:lnTo>
                  <a:lnTo>
                    <a:pt x="976" y="4171"/>
                  </a:lnTo>
                  <a:lnTo>
                    <a:pt x="926" y="4171"/>
                  </a:lnTo>
                  <a:lnTo>
                    <a:pt x="895" y="4202"/>
                  </a:lnTo>
                  <a:lnTo>
                    <a:pt x="846" y="4202"/>
                  </a:lnTo>
                  <a:lnTo>
                    <a:pt x="815" y="4226"/>
                  </a:lnTo>
                  <a:close/>
                  <a:moveTo>
                    <a:pt x="1249" y="6393"/>
                  </a:moveTo>
                  <a:lnTo>
                    <a:pt x="1249" y="6449"/>
                  </a:lnTo>
                  <a:lnTo>
                    <a:pt x="1249" y="6473"/>
                  </a:lnTo>
                  <a:lnTo>
                    <a:pt x="1249" y="6530"/>
                  </a:lnTo>
                  <a:lnTo>
                    <a:pt x="1249" y="6504"/>
                  </a:lnTo>
                  <a:lnTo>
                    <a:pt x="1249" y="6449"/>
                  </a:lnTo>
                  <a:lnTo>
                    <a:pt x="1275" y="6449"/>
                  </a:lnTo>
                  <a:lnTo>
                    <a:pt x="1249" y="6393"/>
                  </a:lnTo>
                  <a:close/>
                  <a:moveTo>
                    <a:pt x="1355" y="3518"/>
                  </a:moveTo>
                  <a:lnTo>
                    <a:pt x="1386" y="3518"/>
                  </a:lnTo>
                  <a:lnTo>
                    <a:pt x="1386" y="3549"/>
                  </a:lnTo>
                  <a:lnTo>
                    <a:pt x="1442" y="3518"/>
                  </a:lnTo>
                  <a:lnTo>
                    <a:pt x="1386" y="3494"/>
                  </a:lnTo>
                  <a:lnTo>
                    <a:pt x="1355" y="3518"/>
                  </a:lnTo>
                  <a:close/>
                  <a:moveTo>
                    <a:pt x="1411" y="3656"/>
                  </a:moveTo>
                  <a:lnTo>
                    <a:pt x="1467" y="3711"/>
                  </a:lnTo>
                  <a:lnTo>
                    <a:pt x="1467" y="3630"/>
                  </a:lnTo>
                  <a:lnTo>
                    <a:pt x="1411" y="3656"/>
                  </a:lnTo>
                  <a:close/>
                  <a:moveTo>
                    <a:pt x="1548" y="3140"/>
                  </a:moveTo>
                  <a:lnTo>
                    <a:pt x="1604" y="3140"/>
                  </a:lnTo>
                  <a:lnTo>
                    <a:pt x="1604" y="3115"/>
                  </a:lnTo>
                  <a:lnTo>
                    <a:pt x="1548" y="3115"/>
                  </a:lnTo>
                  <a:lnTo>
                    <a:pt x="1548" y="3140"/>
                  </a:lnTo>
                  <a:close/>
                  <a:moveTo>
                    <a:pt x="1654" y="2954"/>
                  </a:moveTo>
                  <a:lnTo>
                    <a:pt x="1709" y="2898"/>
                  </a:lnTo>
                  <a:lnTo>
                    <a:pt x="1709" y="2843"/>
                  </a:lnTo>
                  <a:lnTo>
                    <a:pt x="1654" y="2843"/>
                  </a:lnTo>
                  <a:lnTo>
                    <a:pt x="1654" y="2954"/>
                  </a:lnTo>
                  <a:close/>
                  <a:moveTo>
                    <a:pt x="1709" y="2029"/>
                  </a:moveTo>
                  <a:lnTo>
                    <a:pt x="1766" y="1979"/>
                  </a:lnTo>
                  <a:lnTo>
                    <a:pt x="1766" y="1948"/>
                  </a:lnTo>
                  <a:lnTo>
                    <a:pt x="1790" y="1948"/>
                  </a:lnTo>
                  <a:lnTo>
                    <a:pt x="1766" y="1867"/>
                  </a:lnTo>
                  <a:lnTo>
                    <a:pt x="1740" y="1924"/>
                  </a:lnTo>
                  <a:lnTo>
                    <a:pt x="1709" y="1979"/>
                  </a:lnTo>
                  <a:lnTo>
                    <a:pt x="1709" y="2029"/>
                  </a:lnTo>
                  <a:close/>
                  <a:moveTo>
                    <a:pt x="1846" y="1898"/>
                  </a:moveTo>
                  <a:lnTo>
                    <a:pt x="1902" y="1867"/>
                  </a:lnTo>
                  <a:lnTo>
                    <a:pt x="1927" y="1812"/>
                  </a:lnTo>
                  <a:lnTo>
                    <a:pt x="1927" y="1762"/>
                  </a:lnTo>
                  <a:lnTo>
                    <a:pt x="1902" y="1762"/>
                  </a:lnTo>
                  <a:lnTo>
                    <a:pt x="1902" y="1812"/>
                  </a:lnTo>
                  <a:lnTo>
                    <a:pt x="1846" y="1787"/>
                  </a:lnTo>
                  <a:lnTo>
                    <a:pt x="1846" y="1898"/>
                  </a:lnTo>
                  <a:close/>
                  <a:moveTo>
                    <a:pt x="1982" y="1601"/>
                  </a:moveTo>
                  <a:lnTo>
                    <a:pt x="2008" y="1570"/>
                  </a:lnTo>
                  <a:lnTo>
                    <a:pt x="2039" y="1570"/>
                  </a:lnTo>
                  <a:lnTo>
                    <a:pt x="2064" y="1544"/>
                  </a:lnTo>
                  <a:lnTo>
                    <a:pt x="2064" y="1625"/>
                  </a:lnTo>
                  <a:lnTo>
                    <a:pt x="2089" y="1625"/>
                  </a:lnTo>
                  <a:lnTo>
                    <a:pt x="2120" y="1625"/>
                  </a:lnTo>
                  <a:lnTo>
                    <a:pt x="2145" y="1513"/>
                  </a:lnTo>
                  <a:lnTo>
                    <a:pt x="2120" y="1513"/>
                  </a:lnTo>
                  <a:lnTo>
                    <a:pt x="2120" y="1464"/>
                  </a:lnTo>
                  <a:lnTo>
                    <a:pt x="2120" y="1408"/>
                  </a:lnTo>
                  <a:lnTo>
                    <a:pt x="2064" y="1408"/>
                  </a:lnTo>
                  <a:lnTo>
                    <a:pt x="2064" y="1464"/>
                  </a:lnTo>
                  <a:lnTo>
                    <a:pt x="2039" y="1489"/>
                  </a:lnTo>
                  <a:lnTo>
                    <a:pt x="2039" y="1513"/>
                  </a:lnTo>
                  <a:lnTo>
                    <a:pt x="2008" y="1489"/>
                  </a:lnTo>
                  <a:lnTo>
                    <a:pt x="1982" y="1513"/>
                  </a:lnTo>
                  <a:lnTo>
                    <a:pt x="1982" y="1601"/>
                  </a:lnTo>
                  <a:close/>
                  <a:moveTo>
                    <a:pt x="2008" y="1706"/>
                  </a:moveTo>
                  <a:lnTo>
                    <a:pt x="1982" y="1762"/>
                  </a:lnTo>
                  <a:lnTo>
                    <a:pt x="1951" y="1787"/>
                  </a:lnTo>
                  <a:lnTo>
                    <a:pt x="1951" y="1843"/>
                  </a:lnTo>
                  <a:lnTo>
                    <a:pt x="1951" y="1867"/>
                  </a:lnTo>
                  <a:lnTo>
                    <a:pt x="2008" y="1812"/>
                  </a:lnTo>
                  <a:lnTo>
                    <a:pt x="2039" y="1812"/>
                  </a:lnTo>
                  <a:lnTo>
                    <a:pt x="2039" y="1762"/>
                  </a:lnTo>
                  <a:lnTo>
                    <a:pt x="2064" y="1762"/>
                  </a:lnTo>
                  <a:lnTo>
                    <a:pt x="2089" y="1682"/>
                  </a:lnTo>
                  <a:lnTo>
                    <a:pt x="2039" y="1706"/>
                  </a:lnTo>
                  <a:lnTo>
                    <a:pt x="2008" y="1706"/>
                  </a:lnTo>
                  <a:close/>
                  <a:moveTo>
                    <a:pt x="2145" y="1433"/>
                  </a:moveTo>
                  <a:lnTo>
                    <a:pt x="2226" y="1352"/>
                  </a:lnTo>
                  <a:lnTo>
                    <a:pt x="2250" y="1297"/>
                  </a:lnTo>
                  <a:lnTo>
                    <a:pt x="2226" y="1247"/>
                  </a:lnTo>
                  <a:lnTo>
                    <a:pt x="2169" y="1328"/>
                  </a:lnTo>
                  <a:lnTo>
                    <a:pt x="2145" y="1433"/>
                  </a:lnTo>
                  <a:close/>
                  <a:moveTo>
                    <a:pt x="2200" y="1464"/>
                  </a:moveTo>
                  <a:lnTo>
                    <a:pt x="2169" y="1489"/>
                  </a:lnTo>
                  <a:lnTo>
                    <a:pt x="2169" y="1513"/>
                  </a:lnTo>
                  <a:lnTo>
                    <a:pt x="2200" y="1570"/>
                  </a:lnTo>
                  <a:lnTo>
                    <a:pt x="2169" y="1601"/>
                  </a:lnTo>
                  <a:lnTo>
                    <a:pt x="2169" y="1570"/>
                  </a:lnTo>
                  <a:lnTo>
                    <a:pt x="2120" y="1651"/>
                  </a:lnTo>
                  <a:lnTo>
                    <a:pt x="2120" y="1706"/>
                  </a:lnTo>
                  <a:lnTo>
                    <a:pt x="2089" y="1787"/>
                  </a:lnTo>
                  <a:lnTo>
                    <a:pt x="2169" y="1731"/>
                  </a:lnTo>
                  <a:lnTo>
                    <a:pt x="2169" y="1762"/>
                  </a:lnTo>
                  <a:lnTo>
                    <a:pt x="2200" y="1682"/>
                  </a:lnTo>
                  <a:lnTo>
                    <a:pt x="2250" y="1682"/>
                  </a:lnTo>
                  <a:lnTo>
                    <a:pt x="2306" y="1601"/>
                  </a:lnTo>
                  <a:lnTo>
                    <a:pt x="2362" y="1544"/>
                  </a:lnTo>
                  <a:lnTo>
                    <a:pt x="2337" y="1464"/>
                  </a:lnTo>
                  <a:lnTo>
                    <a:pt x="2281" y="1433"/>
                  </a:lnTo>
                  <a:lnTo>
                    <a:pt x="2281" y="1489"/>
                  </a:lnTo>
                  <a:lnTo>
                    <a:pt x="2281" y="1544"/>
                  </a:lnTo>
                  <a:lnTo>
                    <a:pt x="2250" y="1544"/>
                  </a:lnTo>
                  <a:lnTo>
                    <a:pt x="2250" y="1513"/>
                  </a:lnTo>
                  <a:lnTo>
                    <a:pt x="2226" y="1489"/>
                  </a:lnTo>
                  <a:lnTo>
                    <a:pt x="2226" y="1433"/>
                  </a:lnTo>
                  <a:lnTo>
                    <a:pt x="2200" y="1464"/>
                  </a:lnTo>
                  <a:close/>
                  <a:moveTo>
                    <a:pt x="2387" y="1328"/>
                  </a:moveTo>
                  <a:lnTo>
                    <a:pt x="2442" y="1352"/>
                  </a:lnTo>
                  <a:lnTo>
                    <a:pt x="2468" y="1271"/>
                  </a:lnTo>
                  <a:lnTo>
                    <a:pt x="2549" y="1271"/>
                  </a:lnTo>
                  <a:lnTo>
                    <a:pt x="2549" y="1247"/>
                  </a:lnTo>
                  <a:lnTo>
                    <a:pt x="2549" y="1135"/>
                  </a:lnTo>
                  <a:lnTo>
                    <a:pt x="2549" y="1110"/>
                  </a:lnTo>
                  <a:lnTo>
                    <a:pt x="2499" y="1085"/>
                  </a:lnTo>
                  <a:lnTo>
                    <a:pt x="2442" y="1110"/>
                  </a:lnTo>
                  <a:lnTo>
                    <a:pt x="2468" y="1166"/>
                  </a:lnTo>
                  <a:lnTo>
                    <a:pt x="2418" y="1166"/>
                  </a:lnTo>
                  <a:lnTo>
                    <a:pt x="2387" y="1216"/>
                  </a:lnTo>
                  <a:lnTo>
                    <a:pt x="2418" y="1271"/>
                  </a:lnTo>
                  <a:lnTo>
                    <a:pt x="2387" y="1328"/>
                  </a:lnTo>
                  <a:close/>
                  <a:moveTo>
                    <a:pt x="2387" y="1513"/>
                  </a:moveTo>
                  <a:lnTo>
                    <a:pt x="2418" y="1489"/>
                  </a:lnTo>
                  <a:lnTo>
                    <a:pt x="2468" y="1433"/>
                  </a:lnTo>
                  <a:lnTo>
                    <a:pt x="2387" y="1489"/>
                  </a:lnTo>
                  <a:lnTo>
                    <a:pt x="2387" y="1513"/>
                  </a:lnTo>
                  <a:close/>
                  <a:moveTo>
                    <a:pt x="2549" y="1055"/>
                  </a:moveTo>
                  <a:lnTo>
                    <a:pt x="2660" y="1055"/>
                  </a:lnTo>
                  <a:lnTo>
                    <a:pt x="2686" y="998"/>
                  </a:lnTo>
                  <a:lnTo>
                    <a:pt x="2686" y="917"/>
                  </a:lnTo>
                  <a:lnTo>
                    <a:pt x="2660" y="917"/>
                  </a:lnTo>
                  <a:lnTo>
                    <a:pt x="2636" y="974"/>
                  </a:lnTo>
                  <a:lnTo>
                    <a:pt x="2604" y="917"/>
                  </a:lnTo>
                  <a:lnTo>
                    <a:pt x="2549" y="1055"/>
                  </a:lnTo>
                  <a:close/>
                  <a:moveTo>
                    <a:pt x="2660" y="868"/>
                  </a:moveTo>
                  <a:lnTo>
                    <a:pt x="2717" y="917"/>
                  </a:lnTo>
                  <a:lnTo>
                    <a:pt x="2741" y="917"/>
                  </a:lnTo>
                  <a:lnTo>
                    <a:pt x="2766" y="868"/>
                  </a:lnTo>
                  <a:lnTo>
                    <a:pt x="2797" y="812"/>
                  </a:lnTo>
                  <a:lnTo>
                    <a:pt x="2717" y="787"/>
                  </a:lnTo>
                  <a:lnTo>
                    <a:pt x="2686" y="812"/>
                  </a:lnTo>
                  <a:lnTo>
                    <a:pt x="2686" y="837"/>
                  </a:lnTo>
                  <a:lnTo>
                    <a:pt x="2660" y="868"/>
                  </a:lnTo>
                  <a:close/>
                  <a:moveTo>
                    <a:pt x="2822" y="787"/>
                  </a:moveTo>
                  <a:lnTo>
                    <a:pt x="2847" y="732"/>
                  </a:lnTo>
                  <a:lnTo>
                    <a:pt x="2766" y="675"/>
                  </a:lnTo>
                  <a:lnTo>
                    <a:pt x="2766" y="756"/>
                  </a:lnTo>
                  <a:lnTo>
                    <a:pt x="2822" y="787"/>
                  </a:lnTo>
                  <a:close/>
                  <a:moveTo>
                    <a:pt x="2902" y="732"/>
                  </a:moveTo>
                  <a:lnTo>
                    <a:pt x="2902" y="756"/>
                  </a:lnTo>
                  <a:lnTo>
                    <a:pt x="2959" y="756"/>
                  </a:lnTo>
                  <a:lnTo>
                    <a:pt x="2959" y="787"/>
                  </a:lnTo>
                  <a:lnTo>
                    <a:pt x="3014" y="812"/>
                  </a:lnTo>
                  <a:lnTo>
                    <a:pt x="3014" y="787"/>
                  </a:lnTo>
                  <a:lnTo>
                    <a:pt x="2959" y="756"/>
                  </a:lnTo>
                  <a:lnTo>
                    <a:pt x="2959" y="701"/>
                  </a:lnTo>
                  <a:lnTo>
                    <a:pt x="2902" y="732"/>
                  </a:lnTo>
                  <a:close/>
                  <a:moveTo>
                    <a:pt x="3014" y="1271"/>
                  </a:moveTo>
                  <a:lnTo>
                    <a:pt x="2933" y="1297"/>
                  </a:lnTo>
                  <a:lnTo>
                    <a:pt x="2959" y="1352"/>
                  </a:lnTo>
                  <a:lnTo>
                    <a:pt x="3014" y="1408"/>
                  </a:lnTo>
                  <a:lnTo>
                    <a:pt x="2959" y="1544"/>
                  </a:lnTo>
                  <a:lnTo>
                    <a:pt x="3014" y="1601"/>
                  </a:lnTo>
                  <a:lnTo>
                    <a:pt x="2959" y="1651"/>
                  </a:lnTo>
                  <a:lnTo>
                    <a:pt x="2902" y="1625"/>
                  </a:lnTo>
                  <a:lnTo>
                    <a:pt x="2847" y="1625"/>
                  </a:lnTo>
                  <a:lnTo>
                    <a:pt x="2766" y="1601"/>
                  </a:lnTo>
                  <a:lnTo>
                    <a:pt x="2636" y="1625"/>
                  </a:lnTo>
                  <a:lnTo>
                    <a:pt x="2636" y="1682"/>
                  </a:lnTo>
                  <a:lnTo>
                    <a:pt x="2636" y="1731"/>
                  </a:lnTo>
                  <a:lnTo>
                    <a:pt x="2604" y="1898"/>
                  </a:lnTo>
                  <a:lnTo>
                    <a:pt x="2499" y="1867"/>
                  </a:lnTo>
                  <a:lnTo>
                    <a:pt x="2468" y="1924"/>
                  </a:lnTo>
                  <a:lnTo>
                    <a:pt x="2418" y="1948"/>
                  </a:lnTo>
                  <a:lnTo>
                    <a:pt x="2387" y="2085"/>
                  </a:lnTo>
                  <a:lnTo>
                    <a:pt x="2306" y="2197"/>
                  </a:lnTo>
                  <a:lnTo>
                    <a:pt x="2418" y="2358"/>
                  </a:lnTo>
                  <a:lnTo>
                    <a:pt x="2226" y="2681"/>
                  </a:lnTo>
                  <a:lnTo>
                    <a:pt x="2250" y="2762"/>
                  </a:lnTo>
                  <a:lnTo>
                    <a:pt x="2200" y="2817"/>
                  </a:lnTo>
                  <a:lnTo>
                    <a:pt x="2145" y="2843"/>
                  </a:lnTo>
                  <a:lnTo>
                    <a:pt x="2064" y="2817"/>
                  </a:lnTo>
                  <a:lnTo>
                    <a:pt x="2089" y="2922"/>
                  </a:lnTo>
                  <a:lnTo>
                    <a:pt x="2089" y="3035"/>
                  </a:lnTo>
                  <a:lnTo>
                    <a:pt x="2064" y="3140"/>
                  </a:lnTo>
                  <a:lnTo>
                    <a:pt x="2089" y="3333"/>
                  </a:lnTo>
                  <a:lnTo>
                    <a:pt x="2039" y="3333"/>
                  </a:lnTo>
                  <a:lnTo>
                    <a:pt x="2039" y="3388"/>
                  </a:lnTo>
                  <a:lnTo>
                    <a:pt x="2064" y="3438"/>
                  </a:lnTo>
                  <a:lnTo>
                    <a:pt x="1951" y="3687"/>
                  </a:lnTo>
                  <a:lnTo>
                    <a:pt x="2008" y="3711"/>
                  </a:lnTo>
                  <a:lnTo>
                    <a:pt x="2064" y="3767"/>
                  </a:lnTo>
                  <a:lnTo>
                    <a:pt x="2064" y="3823"/>
                  </a:lnTo>
                  <a:lnTo>
                    <a:pt x="2008" y="3953"/>
                  </a:lnTo>
                  <a:lnTo>
                    <a:pt x="1902" y="3903"/>
                  </a:lnTo>
                  <a:lnTo>
                    <a:pt x="1821" y="3929"/>
                  </a:lnTo>
                  <a:lnTo>
                    <a:pt x="1654" y="4171"/>
                  </a:lnTo>
                  <a:lnTo>
                    <a:pt x="1654" y="4226"/>
                  </a:lnTo>
                  <a:lnTo>
                    <a:pt x="1604" y="4332"/>
                  </a:lnTo>
                  <a:lnTo>
                    <a:pt x="1604" y="4419"/>
                  </a:lnTo>
                  <a:lnTo>
                    <a:pt x="1654" y="4468"/>
                  </a:lnTo>
                  <a:lnTo>
                    <a:pt x="1654" y="4525"/>
                  </a:lnTo>
                  <a:lnTo>
                    <a:pt x="1629" y="4580"/>
                  </a:lnTo>
                  <a:lnTo>
                    <a:pt x="1654" y="4822"/>
                  </a:lnTo>
                  <a:lnTo>
                    <a:pt x="1709" y="4928"/>
                  </a:lnTo>
                  <a:lnTo>
                    <a:pt x="1654" y="5040"/>
                  </a:lnTo>
                  <a:lnTo>
                    <a:pt x="1654" y="5121"/>
                  </a:lnTo>
                  <a:lnTo>
                    <a:pt x="1740" y="5233"/>
                  </a:lnTo>
                  <a:lnTo>
                    <a:pt x="1766" y="5233"/>
                  </a:lnTo>
                  <a:lnTo>
                    <a:pt x="1846" y="5313"/>
                  </a:lnTo>
                  <a:lnTo>
                    <a:pt x="1846" y="5363"/>
                  </a:lnTo>
                  <a:lnTo>
                    <a:pt x="1766" y="5499"/>
                  </a:lnTo>
                  <a:lnTo>
                    <a:pt x="1685" y="5499"/>
                  </a:lnTo>
                  <a:lnTo>
                    <a:pt x="1766" y="5829"/>
                  </a:lnTo>
                  <a:lnTo>
                    <a:pt x="1740" y="5878"/>
                  </a:lnTo>
                  <a:lnTo>
                    <a:pt x="1766" y="5958"/>
                  </a:lnTo>
                  <a:lnTo>
                    <a:pt x="1709" y="6095"/>
                  </a:lnTo>
                  <a:lnTo>
                    <a:pt x="1629" y="6126"/>
                  </a:lnTo>
                  <a:lnTo>
                    <a:pt x="1654" y="6176"/>
                  </a:lnTo>
                  <a:lnTo>
                    <a:pt x="1654" y="6207"/>
                  </a:lnTo>
                  <a:lnTo>
                    <a:pt x="1604" y="6257"/>
                  </a:lnTo>
                  <a:lnTo>
                    <a:pt x="1604" y="6368"/>
                  </a:lnTo>
                  <a:lnTo>
                    <a:pt x="1604" y="6393"/>
                  </a:lnTo>
                  <a:lnTo>
                    <a:pt x="1604" y="6504"/>
                  </a:lnTo>
                  <a:lnTo>
                    <a:pt x="1572" y="6585"/>
                  </a:lnTo>
                  <a:lnTo>
                    <a:pt x="1524" y="6610"/>
                  </a:lnTo>
                  <a:lnTo>
                    <a:pt x="1491" y="6504"/>
                  </a:lnTo>
                  <a:lnTo>
                    <a:pt x="1491" y="6473"/>
                  </a:lnTo>
                  <a:lnTo>
                    <a:pt x="1467" y="6473"/>
                  </a:lnTo>
                  <a:lnTo>
                    <a:pt x="1467" y="6449"/>
                  </a:lnTo>
                  <a:lnTo>
                    <a:pt x="1442" y="6449"/>
                  </a:lnTo>
                  <a:lnTo>
                    <a:pt x="1442" y="6473"/>
                  </a:lnTo>
                  <a:lnTo>
                    <a:pt x="1411" y="6473"/>
                  </a:lnTo>
                  <a:lnTo>
                    <a:pt x="1411" y="6449"/>
                  </a:lnTo>
                  <a:lnTo>
                    <a:pt x="1386" y="6473"/>
                  </a:lnTo>
                  <a:lnTo>
                    <a:pt x="1386" y="6449"/>
                  </a:lnTo>
                  <a:lnTo>
                    <a:pt x="1355" y="6449"/>
                  </a:lnTo>
                  <a:lnTo>
                    <a:pt x="1330" y="6424"/>
                  </a:lnTo>
                  <a:lnTo>
                    <a:pt x="1355" y="6393"/>
                  </a:lnTo>
                  <a:lnTo>
                    <a:pt x="1355" y="6368"/>
                  </a:lnTo>
                  <a:lnTo>
                    <a:pt x="1330" y="6393"/>
                  </a:lnTo>
                  <a:lnTo>
                    <a:pt x="1330" y="6368"/>
                  </a:lnTo>
                  <a:lnTo>
                    <a:pt x="1330" y="6288"/>
                  </a:lnTo>
                  <a:lnTo>
                    <a:pt x="1330" y="6257"/>
                  </a:lnTo>
                  <a:lnTo>
                    <a:pt x="1330" y="6231"/>
                  </a:lnTo>
                  <a:lnTo>
                    <a:pt x="1330" y="6151"/>
                  </a:lnTo>
                  <a:lnTo>
                    <a:pt x="1330" y="6126"/>
                  </a:lnTo>
                  <a:lnTo>
                    <a:pt x="1355" y="6176"/>
                  </a:lnTo>
                  <a:lnTo>
                    <a:pt x="1355" y="6126"/>
                  </a:lnTo>
                  <a:lnTo>
                    <a:pt x="1386" y="6126"/>
                  </a:lnTo>
                  <a:lnTo>
                    <a:pt x="1355" y="6095"/>
                  </a:lnTo>
                  <a:lnTo>
                    <a:pt x="1330" y="6095"/>
                  </a:lnTo>
                  <a:lnTo>
                    <a:pt x="1306" y="6095"/>
                  </a:lnTo>
                  <a:lnTo>
                    <a:pt x="1306" y="6126"/>
                  </a:lnTo>
                  <a:lnTo>
                    <a:pt x="1306" y="6151"/>
                  </a:lnTo>
                  <a:lnTo>
                    <a:pt x="1306" y="6207"/>
                  </a:lnTo>
                  <a:lnTo>
                    <a:pt x="1306" y="6231"/>
                  </a:lnTo>
                  <a:lnTo>
                    <a:pt x="1330" y="6257"/>
                  </a:lnTo>
                  <a:lnTo>
                    <a:pt x="1306" y="6288"/>
                  </a:lnTo>
                  <a:lnTo>
                    <a:pt x="1275" y="6257"/>
                  </a:lnTo>
                  <a:lnTo>
                    <a:pt x="1275" y="6207"/>
                  </a:lnTo>
                  <a:lnTo>
                    <a:pt x="1275" y="6176"/>
                  </a:lnTo>
                  <a:lnTo>
                    <a:pt x="1249" y="6151"/>
                  </a:lnTo>
                  <a:lnTo>
                    <a:pt x="1225" y="6176"/>
                  </a:lnTo>
                  <a:lnTo>
                    <a:pt x="1249" y="6176"/>
                  </a:lnTo>
                  <a:lnTo>
                    <a:pt x="1275" y="6207"/>
                  </a:lnTo>
                  <a:lnTo>
                    <a:pt x="1249" y="6257"/>
                  </a:lnTo>
                  <a:lnTo>
                    <a:pt x="1225" y="6257"/>
                  </a:lnTo>
                  <a:lnTo>
                    <a:pt x="1249" y="6312"/>
                  </a:lnTo>
                  <a:lnTo>
                    <a:pt x="1275" y="6312"/>
                  </a:lnTo>
                  <a:lnTo>
                    <a:pt x="1275" y="6344"/>
                  </a:lnTo>
                  <a:lnTo>
                    <a:pt x="1275" y="6368"/>
                  </a:lnTo>
                  <a:lnTo>
                    <a:pt x="1306" y="6393"/>
                  </a:lnTo>
                  <a:lnTo>
                    <a:pt x="1275" y="6424"/>
                  </a:lnTo>
                  <a:lnTo>
                    <a:pt x="1249" y="6393"/>
                  </a:lnTo>
                  <a:lnTo>
                    <a:pt x="1225" y="6449"/>
                  </a:lnTo>
                  <a:lnTo>
                    <a:pt x="1225" y="6504"/>
                  </a:lnTo>
                  <a:lnTo>
                    <a:pt x="1194" y="6530"/>
                  </a:lnTo>
                  <a:lnTo>
                    <a:pt x="1194" y="6504"/>
                  </a:lnTo>
                  <a:lnTo>
                    <a:pt x="1169" y="6504"/>
                  </a:lnTo>
                  <a:lnTo>
                    <a:pt x="1169" y="6530"/>
                  </a:lnTo>
                  <a:lnTo>
                    <a:pt x="1113" y="6554"/>
                  </a:lnTo>
                  <a:lnTo>
                    <a:pt x="1113" y="6504"/>
                  </a:lnTo>
                  <a:lnTo>
                    <a:pt x="1088" y="6473"/>
                  </a:lnTo>
                  <a:lnTo>
                    <a:pt x="1088" y="6504"/>
                  </a:lnTo>
                  <a:lnTo>
                    <a:pt x="1057" y="6449"/>
                  </a:lnTo>
                  <a:lnTo>
                    <a:pt x="1031" y="6449"/>
                  </a:lnTo>
                  <a:lnTo>
                    <a:pt x="1057" y="6504"/>
                  </a:lnTo>
                  <a:lnTo>
                    <a:pt x="1088" y="6530"/>
                  </a:lnTo>
                  <a:lnTo>
                    <a:pt x="1057" y="6554"/>
                  </a:lnTo>
                  <a:lnTo>
                    <a:pt x="1007" y="6554"/>
                  </a:lnTo>
                  <a:lnTo>
                    <a:pt x="1007" y="6585"/>
                  </a:lnTo>
                  <a:lnTo>
                    <a:pt x="976" y="6585"/>
                  </a:lnTo>
                  <a:lnTo>
                    <a:pt x="951" y="6585"/>
                  </a:lnTo>
                  <a:lnTo>
                    <a:pt x="1007" y="6610"/>
                  </a:lnTo>
                  <a:lnTo>
                    <a:pt x="1007" y="6641"/>
                  </a:lnTo>
                  <a:lnTo>
                    <a:pt x="951" y="6641"/>
                  </a:lnTo>
                  <a:lnTo>
                    <a:pt x="951" y="6691"/>
                  </a:lnTo>
                  <a:lnTo>
                    <a:pt x="926" y="6722"/>
                  </a:lnTo>
                  <a:lnTo>
                    <a:pt x="895" y="6772"/>
                  </a:lnTo>
                  <a:lnTo>
                    <a:pt x="846" y="6827"/>
                  </a:lnTo>
                  <a:lnTo>
                    <a:pt x="815" y="6884"/>
                  </a:lnTo>
                  <a:lnTo>
                    <a:pt x="815" y="6908"/>
                  </a:lnTo>
                  <a:lnTo>
                    <a:pt x="734" y="6908"/>
                  </a:lnTo>
                  <a:lnTo>
                    <a:pt x="678" y="6939"/>
                  </a:lnTo>
                  <a:lnTo>
                    <a:pt x="653" y="6939"/>
                  </a:lnTo>
                  <a:lnTo>
                    <a:pt x="628" y="6964"/>
                  </a:lnTo>
                  <a:lnTo>
                    <a:pt x="573" y="6939"/>
                  </a:lnTo>
                  <a:lnTo>
                    <a:pt x="540" y="6989"/>
                  </a:lnTo>
                  <a:lnTo>
                    <a:pt x="460" y="6989"/>
                  </a:lnTo>
                  <a:lnTo>
                    <a:pt x="460" y="6964"/>
                  </a:lnTo>
                  <a:lnTo>
                    <a:pt x="379" y="6964"/>
                  </a:lnTo>
                  <a:lnTo>
                    <a:pt x="379" y="6908"/>
                  </a:lnTo>
                  <a:lnTo>
                    <a:pt x="355" y="6964"/>
                  </a:lnTo>
                  <a:lnTo>
                    <a:pt x="329" y="6939"/>
                  </a:lnTo>
                  <a:lnTo>
                    <a:pt x="355" y="6908"/>
                  </a:lnTo>
                  <a:lnTo>
                    <a:pt x="379" y="6884"/>
                  </a:lnTo>
                  <a:lnTo>
                    <a:pt x="329" y="6884"/>
                  </a:lnTo>
                  <a:lnTo>
                    <a:pt x="274" y="6853"/>
                  </a:lnTo>
                  <a:lnTo>
                    <a:pt x="218" y="6827"/>
                  </a:lnTo>
                  <a:lnTo>
                    <a:pt x="162" y="6772"/>
                  </a:lnTo>
                  <a:lnTo>
                    <a:pt x="82" y="6691"/>
                  </a:lnTo>
                  <a:lnTo>
                    <a:pt x="82" y="6473"/>
                  </a:lnTo>
                  <a:lnTo>
                    <a:pt x="113" y="6449"/>
                  </a:lnTo>
                  <a:lnTo>
                    <a:pt x="137" y="6473"/>
                  </a:lnTo>
                  <a:lnTo>
                    <a:pt x="193" y="6504"/>
                  </a:lnTo>
                  <a:lnTo>
                    <a:pt x="193" y="6473"/>
                  </a:lnTo>
                  <a:lnTo>
                    <a:pt x="162" y="6449"/>
                  </a:lnTo>
                  <a:lnTo>
                    <a:pt x="193" y="6424"/>
                  </a:lnTo>
                  <a:lnTo>
                    <a:pt x="218" y="6424"/>
                  </a:lnTo>
                  <a:lnTo>
                    <a:pt x="243" y="6368"/>
                  </a:lnTo>
                  <a:lnTo>
                    <a:pt x="274" y="6344"/>
                  </a:lnTo>
                  <a:lnTo>
                    <a:pt x="329" y="6312"/>
                  </a:lnTo>
                  <a:lnTo>
                    <a:pt x="274" y="6288"/>
                  </a:lnTo>
                  <a:lnTo>
                    <a:pt x="243" y="6312"/>
                  </a:lnTo>
                  <a:lnTo>
                    <a:pt x="243" y="6288"/>
                  </a:lnTo>
                  <a:lnTo>
                    <a:pt x="274" y="6257"/>
                  </a:lnTo>
                  <a:lnTo>
                    <a:pt x="298" y="6176"/>
                  </a:lnTo>
                  <a:lnTo>
                    <a:pt x="274" y="6176"/>
                  </a:lnTo>
                  <a:lnTo>
                    <a:pt x="243" y="6231"/>
                  </a:lnTo>
                  <a:lnTo>
                    <a:pt x="193" y="6257"/>
                  </a:lnTo>
                  <a:lnTo>
                    <a:pt x="162" y="6231"/>
                  </a:lnTo>
                  <a:lnTo>
                    <a:pt x="162" y="6288"/>
                  </a:lnTo>
                  <a:lnTo>
                    <a:pt x="137" y="6288"/>
                  </a:lnTo>
                  <a:lnTo>
                    <a:pt x="137" y="6344"/>
                  </a:lnTo>
                  <a:lnTo>
                    <a:pt x="113" y="6288"/>
                  </a:lnTo>
                  <a:lnTo>
                    <a:pt x="113" y="6312"/>
                  </a:lnTo>
                  <a:lnTo>
                    <a:pt x="82" y="6312"/>
                  </a:lnTo>
                  <a:lnTo>
                    <a:pt x="56" y="6312"/>
                  </a:lnTo>
                  <a:lnTo>
                    <a:pt x="32" y="6393"/>
                  </a:lnTo>
                  <a:lnTo>
                    <a:pt x="0" y="6344"/>
                  </a:lnTo>
                  <a:lnTo>
                    <a:pt x="0" y="6257"/>
                  </a:lnTo>
                  <a:lnTo>
                    <a:pt x="32" y="6257"/>
                  </a:lnTo>
                  <a:lnTo>
                    <a:pt x="32" y="6231"/>
                  </a:lnTo>
                  <a:lnTo>
                    <a:pt x="56" y="6207"/>
                  </a:lnTo>
                  <a:lnTo>
                    <a:pt x="0" y="6039"/>
                  </a:lnTo>
                  <a:lnTo>
                    <a:pt x="32" y="6039"/>
                  </a:lnTo>
                  <a:lnTo>
                    <a:pt x="56" y="6095"/>
                  </a:lnTo>
                  <a:lnTo>
                    <a:pt x="56" y="6126"/>
                  </a:lnTo>
                  <a:lnTo>
                    <a:pt x="113" y="6095"/>
                  </a:lnTo>
                  <a:lnTo>
                    <a:pt x="113" y="6126"/>
                  </a:lnTo>
                  <a:lnTo>
                    <a:pt x="113" y="6176"/>
                  </a:lnTo>
                  <a:lnTo>
                    <a:pt x="137" y="6126"/>
                  </a:lnTo>
                  <a:lnTo>
                    <a:pt x="193" y="6151"/>
                  </a:lnTo>
                  <a:lnTo>
                    <a:pt x="193" y="6126"/>
                  </a:lnTo>
                  <a:lnTo>
                    <a:pt x="218" y="6095"/>
                  </a:lnTo>
                  <a:lnTo>
                    <a:pt x="243" y="6095"/>
                  </a:lnTo>
                  <a:lnTo>
                    <a:pt x="298" y="6039"/>
                  </a:lnTo>
                  <a:lnTo>
                    <a:pt x="218" y="6039"/>
                  </a:lnTo>
                  <a:lnTo>
                    <a:pt x="193" y="6039"/>
                  </a:lnTo>
                  <a:lnTo>
                    <a:pt x="193" y="6014"/>
                  </a:lnTo>
                  <a:lnTo>
                    <a:pt x="243" y="5909"/>
                  </a:lnTo>
                  <a:lnTo>
                    <a:pt x="274" y="5909"/>
                  </a:lnTo>
                  <a:lnTo>
                    <a:pt x="329" y="5798"/>
                  </a:lnTo>
                  <a:lnTo>
                    <a:pt x="379" y="5798"/>
                  </a:lnTo>
                  <a:lnTo>
                    <a:pt x="379" y="5878"/>
                  </a:lnTo>
                  <a:lnTo>
                    <a:pt x="410" y="5798"/>
                  </a:lnTo>
                  <a:lnTo>
                    <a:pt x="516" y="5717"/>
                  </a:lnTo>
                  <a:lnTo>
                    <a:pt x="492" y="5660"/>
                  </a:lnTo>
                  <a:lnTo>
                    <a:pt x="460" y="5691"/>
                  </a:lnTo>
                  <a:lnTo>
                    <a:pt x="435" y="5717"/>
                  </a:lnTo>
                  <a:lnTo>
                    <a:pt x="410" y="5741"/>
                  </a:lnTo>
                  <a:lnTo>
                    <a:pt x="379" y="5717"/>
                  </a:lnTo>
                  <a:lnTo>
                    <a:pt x="355" y="5741"/>
                  </a:lnTo>
                  <a:lnTo>
                    <a:pt x="329" y="5772"/>
                  </a:lnTo>
                  <a:lnTo>
                    <a:pt x="298" y="5717"/>
                  </a:lnTo>
                  <a:lnTo>
                    <a:pt x="298" y="5798"/>
                  </a:lnTo>
                  <a:lnTo>
                    <a:pt x="243" y="5829"/>
                  </a:lnTo>
                  <a:lnTo>
                    <a:pt x="218" y="5878"/>
                  </a:lnTo>
                  <a:lnTo>
                    <a:pt x="193" y="5934"/>
                  </a:lnTo>
                  <a:lnTo>
                    <a:pt x="162" y="5878"/>
                  </a:lnTo>
                  <a:lnTo>
                    <a:pt x="162" y="5829"/>
                  </a:lnTo>
                  <a:lnTo>
                    <a:pt x="137" y="5853"/>
                  </a:lnTo>
                  <a:lnTo>
                    <a:pt x="113" y="5829"/>
                  </a:lnTo>
                  <a:lnTo>
                    <a:pt x="82" y="5829"/>
                  </a:lnTo>
                  <a:lnTo>
                    <a:pt x="113" y="5798"/>
                  </a:lnTo>
                  <a:lnTo>
                    <a:pt x="82" y="5798"/>
                  </a:lnTo>
                  <a:lnTo>
                    <a:pt x="113" y="5717"/>
                  </a:lnTo>
                  <a:lnTo>
                    <a:pt x="193" y="5741"/>
                  </a:lnTo>
                  <a:lnTo>
                    <a:pt x="243" y="5636"/>
                  </a:lnTo>
                  <a:lnTo>
                    <a:pt x="218" y="5611"/>
                  </a:lnTo>
                  <a:lnTo>
                    <a:pt x="162" y="5580"/>
                  </a:lnTo>
                  <a:lnTo>
                    <a:pt x="137" y="5611"/>
                  </a:lnTo>
                  <a:lnTo>
                    <a:pt x="32" y="5499"/>
                  </a:lnTo>
                  <a:lnTo>
                    <a:pt x="82" y="5475"/>
                  </a:lnTo>
                  <a:lnTo>
                    <a:pt x="82" y="5418"/>
                  </a:lnTo>
                  <a:lnTo>
                    <a:pt x="113" y="5418"/>
                  </a:lnTo>
                  <a:lnTo>
                    <a:pt x="193" y="5418"/>
                  </a:lnTo>
                  <a:lnTo>
                    <a:pt x="243" y="5394"/>
                  </a:lnTo>
                  <a:lnTo>
                    <a:pt x="329" y="5394"/>
                  </a:lnTo>
                  <a:lnTo>
                    <a:pt x="329" y="5418"/>
                  </a:lnTo>
                  <a:lnTo>
                    <a:pt x="355" y="5418"/>
                  </a:lnTo>
                  <a:lnTo>
                    <a:pt x="355" y="5444"/>
                  </a:lnTo>
                  <a:lnTo>
                    <a:pt x="410" y="5394"/>
                  </a:lnTo>
                  <a:lnTo>
                    <a:pt x="435" y="5394"/>
                  </a:lnTo>
                  <a:lnTo>
                    <a:pt x="492" y="5444"/>
                  </a:lnTo>
                  <a:lnTo>
                    <a:pt x="460" y="5499"/>
                  </a:lnTo>
                  <a:lnTo>
                    <a:pt x="492" y="5530"/>
                  </a:lnTo>
                  <a:lnTo>
                    <a:pt x="492" y="5499"/>
                  </a:lnTo>
                  <a:lnTo>
                    <a:pt x="516" y="5530"/>
                  </a:lnTo>
                  <a:lnTo>
                    <a:pt x="540" y="5499"/>
                  </a:lnTo>
                  <a:lnTo>
                    <a:pt x="516" y="5444"/>
                  </a:lnTo>
                  <a:lnTo>
                    <a:pt x="573" y="5418"/>
                  </a:lnTo>
                  <a:lnTo>
                    <a:pt x="597" y="5418"/>
                  </a:lnTo>
                  <a:lnTo>
                    <a:pt x="628" y="5394"/>
                  </a:lnTo>
                  <a:lnTo>
                    <a:pt x="653" y="5394"/>
                  </a:lnTo>
                  <a:lnTo>
                    <a:pt x="709" y="5338"/>
                  </a:lnTo>
                  <a:lnTo>
                    <a:pt x="678" y="5313"/>
                  </a:lnTo>
                  <a:lnTo>
                    <a:pt x="628" y="5363"/>
                  </a:lnTo>
                  <a:lnTo>
                    <a:pt x="597" y="5313"/>
                  </a:lnTo>
                  <a:lnTo>
                    <a:pt x="628" y="5257"/>
                  </a:lnTo>
                  <a:lnTo>
                    <a:pt x="628" y="5233"/>
                  </a:lnTo>
                  <a:lnTo>
                    <a:pt x="573" y="5282"/>
                  </a:lnTo>
                  <a:lnTo>
                    <a:pt x="573" y="5363"/>
                  </a:lnTo>
                  <a:lnTo>
                    <a:pt x="573" y="5394"/>
                  </a:lnTo>
                  <a:lnTo>
                    <a:pt x="516" y="5394"/>
                  </a:lnTo>
                  <a:lnTo>
                    <a:pt x="516" y="5363"/>
                  </a:lnTo>
                  <a:lnTo>
                    <a:pt x="492" y="5363"/>
                  </a:lnTo>
                  <a:lnTo>
                    <a:pt x="435" y="5363"/>
                  </a:lnTo>
                  <a:lnTo>
                    <a:pt x="460" y="5257"/>
                  </a:lnTo>
                  <a:lnTo>
                    <a:pt x="435" y="5257"/>
                  </a:lnTo>
                  <a:lnTo>
                    <a:pt x="410" y="5313"/>
                  </a:lnTo>
                  <a:lnTo>
                    <a:pt x="410" y="5338"/>
                  </a:lnTo>
                  <a:lnTo>
                    <a:pt x="379" y="5394"/>
                  </a:lnTo>
                  <a:lnTo>
                    <a:pt x="243" y="5338"/>
                  </a:lnTo>
                  <a:lnTo>
                    <a:pt x="193" y="5394"/>
                  </a:lnTo>
                  <a:lnTo>
                    <a:pt x="113" y="5394"/>
                  </a:lnTo>
                  <a:lnTo>
                    <a:pt x="82" y="5338"/>
                  </a:lnTo>
                  <a:lnTo>
                    <a:pt x="82" y="5313"/>
                  </a:lnTo>
                  <a:lnTo>
                    <a:pt x="137" y="5257"/>
                  </a:lnTo>
                  <a:lnTo>
                    <a:pt x="56" y="5202"/>
                  </a:lnTo>
                  <a:lnTo>
                    <a:pt x="113" y="5202"/>
                  </a:lnTo>
                  <a:lnTo>
                    <a:pt x="162" y="5233"/>
                  </a:lnTo>
                  <a:lnTo>
                    <a:pt x="243" y="5202"/>
                  </a:lnTo>
                  <a:lnTo>
                    <a:pt x="218" y="5176"/>
                  </a:lnTo>
                  <a:lnTo>
                    <a:pt x="193" y="5176"/>
                  </a:lnTo>
                  <a:lnTo>
                    <a:pt x="137" y="5176"/>
                  </a:lnTo>
                  <a:lnTo>
                    <a:pt x="137" y="5145"/>
                  </a:lnTo>
                  <a:lnTo>
                    <a:pt x="113" y="5121"/>
                  </a:lnTo>
                  <a:lnTo>
                    <a:pt x="82" y="5121"/>
                  </a:lnTo>
                  <a:lnTo>
                    <a:pt x="82" y="5095"/>
                  </a:lnTo>
                  <a:lnTo>
                    <a:pt x="137" y="5064"/>
                  </a:lnTo>
                  <a:lnTo>
                    <a:pt x="113" y="5015"/>
                  </a:lnTo>
                  <a:lnTo>
                    <a:pt x="56" y="5040"/>
                  </a:lnTo>
                  <a:lnTo>
                    <a:pt x="56" y="4984"/>
                  </a:lnTo>
                  <a:lnTo>
                    <a:pt x="82" y="4984"/>
                  </a:lnTo>
                  <a:lnTo>
                    <a:pt x="113" y="4984"/>
                  </a:lnTo>
                  <a:lnTo>
                    <a:pt x="137" y="5015"/>
                  </a:lnTo>
                  <a:lnTo>
                    <a:pt x="162" y="5015"/>
                  </a:lnTo>
                  <a:lnTo>
                    <a:pt x="218" y="5015"/>
                  </a:lnTo>
                  <a:lnTo>
                    <a:pt x="218" y="5040"/>
                  </a:lnTo>
                  <a:lnTo>
                    <a:pt x="274" y="5015"/>
                  </a:lnTo>
                  <a:lnTo>
                    <a:pt x="274" y="5064"/>
                  </a:lnTo>
                  <a:lnTo>
                    <a:pt x="298" y="5064"/>
                  </a:lnTo>
                  <a:lnTo>
                    <a:pt x="355" y="5064"/>
                  </a:lnTo>
                  <a:lnTo>
                    <a:pt x="355" y="5040"/>
                  </a:lnTo>
                  <a:lnTo>
                    <a:pt x="379" y="5040"/>
                  </a:lnTo>
                  <a:lnTo>
                    <a:pt x="460" y="5040"/>
                  </a:lnTo>
                  <a:lnTo>
                    <a:pt x="435" y="5015"/>
                  </a:lnTo>
                  <a:lnTo>
                    <a:pt x="379" y="5015"/>
                  </a:lnTo>
                  <a:lnTo>
                    <a:pt x="355" y="5015"/>
                  </a:lnTo>
                  <a:lnTo>
                    <a:pt x="298" y="5015"/>
                  </a:lnTo>
                  <a:lnTo>
                    <a:pt x="329" y="4984"/>
                  </a:lnTo>
                  <a:lnTo>
                    <a:pt x="274" y="4959"/>
                  </a:lnTo>
                  <a:lnTo>
                    <a:pt x="218" y="4959"/>
                  </a:lnTo>
                  <a:lnTo>
                    <a:pt x="193" y="4959"/>
                  </a:lnTo>
                  <a:lnTo>
                    <a:pt x="137" y="4959"/>
                  </a:lnTo>
                  <a:lnTo>
                    <a:pt x="137" y="4928"/>
                  </a:lnTo>
                  <a:lnTo>
                    <a:pt x="137" y="4879"/>
                  </a:lnTo>
                  <a:lnTo>
                    <a:pt x="113" y="4848"/>
                  </a:lnTo>
                  <a:lnTo>
                    <a:pt x="137" y="4822"/>
                  </a:lnTo>
                  <a:lnTo>
                    <a:pt x="162" y="4848"/>
                  </a:lnTo>
                  <a:lnTo>
                    <a:pt x="218" y="4903"/>
                  </a:lnTo>
                  <a:lnTo>
                    <a:pt x="193" y="4848"/>
                  </a:lnTo>
                  <a:lnTo>
                    <a:pt x="274" y="4848"/>
                  </a:lnTo>
                  <a:lnTo>
                    <a:pt x="274" y="4903"/>
                  </a:lnTo>
                  <a:lnTo>
                    <a:pt x="298" y="4879"/>
                  </a:lnTo>
                  <a:lnTo>
                    <a:pt x="298" y="4903"/>
                  </a:lnTo>
                  <a:lnTo>
                    <a:pt x="355" y="4903"/>
                  </a:lnTo>
                  <a:lnTo>
                    <a:pt x="329" y="4822"/>
                  </a:lnTo>
                  <a:lnTo>
                    <a:pt x="379" y="4767"/>
                  </a:lnTo>
                  <a:lnTo>
                    <a:pt x="460" y="4879"/>
                  </a:lnTo>
                  <a:lnTo>
                    <a:pt x="410" y="4767"/>
                  </a:lnTo>
                  <a:lnTo>
                    <a:pt x="460" y="4767"/>
                  </a:lnTo>
                  <a:lnTo>
                    <a:pt x="460" y="4742"/>
                  </a:lnTo>
                  <a:lnTo>
                    <a:pt x="492" y="4742"/>
                  </a:lnTo>
                  <a:lnTo>
                    <a:pt x="516" y="4798"/>
                  </a:lnTo>
                  <a:lnTo>
                    <a:pt x="516" y="4848"/>
                  </a:lnTo>
                  <a:lnTo>
                    <a:pt x="516" y="4903"/>
                  </a:lnTo>
                  <a:lnTo>
                    <a:pt x="540" y="4928"/>
                  </a:lnTo>
                  <a:lnTo>
                    <a:pt x="573" y="4822"/>
                  </a:lnTo>
                  <a:lnTo>
                    <a:pt x="597" y="4848"/>
                  </a:lnTo>
                  <a:lnTo>
                    <a:pt x="597" y="4798"/>
                  </a:lnTo>
                  <a:lnTo>
                    <a:pt x="540" y="4798"/>
                  </a:lnTo>
                  <a:lnTo>
                    <a:pt x="516" y="4717"/>
                  </a:lnTo>
                  <a:lnTo>
                    <a:pt x="460" y="4686"/>
                  </a:lnTo>
                  <a:lnTo>
                    <a:pt x="492" y="4661"/>
                  </a:lnTo>
                  <a:lnTo>
                    <a:pt x="516" y="4661"/>
                  </a:lnTo>
                  <a:lnTo>
                    <a:pt x="540" y="4661"/>
                  </a:lnTo>
                  <a:lnTo>
                    <a:pt x="573" y="4686"/>
                  </a:lnTo>
                  <a:lnTo>
                    <a:pt x="678" y="4717"/>
                  </a:lnTo>
                  <a:lnTo>
                    <a:pt x="653" y="4661"/>
                  </a:lnTo>
                  <a:lnTo>
                    <a:pt x="709" y="4630"/>
                  </a:lnTo>
                  <a:lnTo>
                    <a:pt x="734" y="4605"/>
                  </a:lnTo>
                  <a:lnTo>
                    <a:pt x="758" y="4630"/>
                  </a:lnTo>
                  <a:lnTo>
                    <a:pt x="758" y="4580"/>
                  </a:lnTo>
                  <a:lnTo>
                    <a:pt x="734" y="4580"/>
                  </a:lnTo>
                  <a:lnTo>
                    <a:pt x="653" y="4630"/>
                  </a:lnTo>
                  <a:lnTo>
                    <a:pt x="653" y="4580"/>
                  </a:lnTo>
                  <a:lnTo>
                    <a:pt x="573" y="4605"/>
                  </a:lnTo>
                  <a:lnTo>
                    <a:pt x="540" y="4580"/>
                  </a:lnTo>
                  <a:lnTo>
                    <a:pt x="573" y="4549"/>
                  </a:lnTo>
                  <a:lnTo>
                    <a:pt x="597" y="4549"/>
                  </a:lnTo>
                  <a:lnTo>
                    <a:pt x="540" y="4499"/>
                  </a:lnTo>
                  <a:lnTo>
                    <a:pt x="597" y="4444"/>
                  </a:lnTo>
                  <a:lnTo>
                    <a:pt x="653" y="4499"/>
                  </a:lnTo>
                  <a:lnTo>
                    <a:pt x="734" y="4499"/>
                  </a:lnTo>
                  <a:lnTo>
                    <a:pt x="789" y="4549"/>
                  </a:lnTo>
                  <a:lnTo>
                    <a:pt x="870" y="4630"/>
                  </a:lnTo>
                  <a:lnTo>
                    <a:pt x="870" y="4580"/>
                  </a:lnTo>
                  <a:lnTo>
                    <a:pt x="815" y="4525"/>
                  </a:lnTo>
                  <a:lnTo>
                    <a:pt x="758" y="4419"/>
                  </a:lnTo>
                  <a:lnTo>
                    <a:pt x="815" y="4499"/>
                  </a:lnTo>
                  <a:lnTo>
                    <a:pt x="846" y="4525"/>
                  </a:lnTo>
                  <a:lnTo>
                    <a:pt x="895" y="4549"/>
                  </a:lnTo>
                  <a:lnTo>
                    <a:pt x="846" y="4444"/>
                  </a:lnTo>
                  <a:lnTo>
                    <a:pt x="815" y="4444"/>
                  </a:lnTo>
                  <a:lnTo>
                    <a:pt x="846" y="4419"/>
                  </a:lnTo>
                  <a:lnTo>
                    <a:pt x="895" y="4388"/>
                  </a:lnTo>
                  <a:lnTo>
                    <a:pt x="926" y="4388"/>
                  </a:lnTo>
                  <a:lnTo>
                    <a:pt x="951" y="4363"/>
                  </a:lnTo>
                  <a:lnTo>
                    <a:pt x="926" y="4363"/>
                  </a:lnTo>
                  <a:lnTo>
                    <a:pt x="870" y="4332"/>
                  </a:lnTo>
                  <a:lnTo>
                    <a:pt x="926" y="4252"/>
                  </a:lnTo>
                  <a:lnTo>
                    <a:pt x="1007" y="4252"/>
                  </a:lnTo>
                  <a:lnTo>
                    <a:pt x="1031" y="4307"/>
                  </a:lnTo>
                  <a:lnTo>
                    <a:pt x="1057" y="4307"/>
                  </a:lnTo>
                  <a:lnTo>
                    <a:pt x="1031" y="4252"/>
                  </a:lnTo>
                  <a:lnTo>
                    <a:pt x="1057" y="4226"/>
                  </a:lnTo>
                  <a:lnTo>
                    <a:pt x="1031" y="4226"/>
                  </a:lnTo>
                  <a:lnTo>
                    <a:pt x="1113" y="4171"/>
                  </a:lnTo>
                  <a:lnTo>
                    <a:pt x="1169" y="4226"/>
                  </a:lnTo>
                  <a:lnTo>
                    <a:pt x="1169" y="4307"/>
                  </a:lnTo>
                  <a:lnTo>
                    <a:pt x="1249" y="4307"/>
                  </a:lnTo>
                  <a:lnTo>
                    <a:pt x="1225" y="4252"/>
                  </a:lnTo>
                  <a:lnTo>
                    <a:pt x="1355" y="4252"/>
                  </a:lnTo>
                  <a:lnTo>
                    <a:pt x="1386" y="4202"/>
                  </a:lnTo>
                  <a:lnTo>
                    <a:pt x="1330" y="4202"/>
                  </a:lnTo>
                  <a:lnTo>
                    <a:pt x="1355" y="4145"/>
                  </a:lnTo>
                  <a:lnTo>
                    <a:pt x="1386" y="4121"/>
                  </a:lnTo>
                  <a:lnTo>
                    <a:pt x="1411" y="4145"/>
                  </a:lnTo>
                  <a:lnTo>
                    <a:pt x="1491" y="4065"/>
                  </a:lnTo>
                  <a:lnTo>
                    <a:pt x="1467" y="4009"/>
                  </a:lnTo>
                  <a:lnTo>
                    <a:pt x="1442" y="4034"/>
                  </a:lnTo>
                  <a:lnTo>
                    <a:pt x="1467" y="3984"/>
                  </a:lnTo>
                  <a:lnTo>
                    <a:pt x="1491" y="3953"/>
                  </a:lnTo>
                  <a:lnTo>
                    <a:pt x="1442" y="3953"/>
                  </a:lnTo>
                  <a:lnTo>
                    <a:pt x="1330" y="4065"/>
                  </a:lnTo>
                  <a:lnTo>
                    <a:pt x="1386" y="4034"/>
                  </a:lnTo>
                  <a:lnTo>
                    <a:pt x="1386" y="4065"/>
                  </a:lnTo>
                  <a:lnTo>
                    <a:pt x="1355" y="4121"/>
                  </a:lnTo>
                  <a:lnTo>
                    <a:pt x="1306" y="4145"/>
                  </a:lnTo>
                  <a:lnTo>
                    <a:pt x="1225" y="4202"/>
                  </a:lnTo>
                  <a:lnTo>
                    <a:pt x="1194" y="4226"/>
                  </a:lnTo>
                  <a:lnTo>
                    <a:pt x="1169" y="4171"/>
                  </a:lnTo>
                  <a:lnTo>
                    <a:pt x="1194" y="4121"/>
                  </a:lnTo>
                  <a:lnTo>
                    <a:pt x="1194" y="4090"/>
                  </a:lnTo>
                  <a:lnTo>
                    <a:pt x="1113" y="4121"/>
                  </a:lnTo>
                  <a:lnTo>
                    <a:pt x="1113" y="4065"/>
                  </a:lnTo>
                  <a:lnTo>
                    <a:pt x="1194" y="4034"/>
                  </a:lnTo>
                  <a:lnTo>
                    <a:pt x="1225" y="3929"/>
                  </a:lnTo>
                  <a:lnTo>
                    <a:pt x="1249" y="3929"/>
                  </a:lnTo>
                  <a:lnTo>
                    <a:pt x="1249" y="3903"/>
                  </a:lnTo>
                  <a:lnTo>
                    <a:pt x="1275" y="3903"/>
                  </a:lnTo>
                  <a:lnTo>
                    <a:pt x="1275" y="3848"/>
                  </a:lnTo>
                  <a:lnTo>
                    <a:pt x="1306" y="3792"/>
                  </a:lnTo>
                  <a:lnTo>
                    <a:pt x="1355" y="3792"/>
                  </a:lnTo>
                  <a:lnTo>
                    <a:pt x="1386" y="3687"/>
                  </a:lnTo>
                  <a:lnTo>
                    <a:pt x="1442" y="3767"/>
                  </a:lnTo>
                  <a:lnTo>
                    <a:pt x="1442" y="3823"/>
                  </a:lnTo>
                  <a:lnTo>
                    <a:pt x="1491" y="3767"/>
                  </a:lnTo>
                  <a:lnTo>
                    <a:pt x="1524" y="3767"/>
                  </a:lnTo>
                  <a:lnTo>
                    <a:pt x="1524" y="3736"/>
                  </a:lnTo>
                  <a:lnTo>
                    <a:pt x="1548" y="3736"/>
                  </a:lnTo>
                  <a:lnTo>
                    <a:pt x="1548" y="3687"/>
                  </a:lnTo>
                  <a:lnTo>
                    <a:pt x="1491" y="3687"/>
                  </a:lnTo>
                  <a:lnTo>
                    <a:pt x="1524" y="3630"/>
                  </a:lnTo>
                  <a:lnTo>
                    <a:pt x="1548" y="3630"/>
                  </a:lnTo>
                  <a:lnTo>
                    <a:pt x="1604" y="3606"/>
                  </a:lnTo>
                  <a:lnTo>
                    <a:pt x="1548" y="3606"/>
                  </a:lnTo>
                  <a:lnTo>
                    <a:pt x="1548" y="3549"/>
                  </a:lnTo>
                  <a:lnTo>
                    <a:pt x="1629" y="3494"/>
                  </a:lnTo>
                  <a:lnTo>
                    <a:pt x="1604" y="3469"/>
                  </a:lnTo>
                  <a:lnTo>
                    <a:pt x="1548" y="3518"/>
                  </a:lnTo>
                  <a:lnTo>
                    <a:pt x="1524" y="3549"/>
                  </a:lnTo>
                  <a:lnTo>
                    <a:pt x="1467" y="3606"/>
                  </a:lnTo>
                  <a:lnTo>
                    <a:pt x="1467" y="3518"/>
                  </a:lnTo>
                  <a:lnTo>
                    <a:pt x="1524" y="3494"/>
                  </a:lnTo>
                  <a:lnTo>
                    <a:pt x="1524" y="3469"/>
                  </a:lnTo>
                  <a:lnTo>
                    <a:pt x="1548" y="3469"/>
                  </a:lnTo>
                  <a:lnTo>
                    <a:pt x="1604" y="3413"/>
                  </a:lnTo>
                  <a:lnTo>
                    <a:pt x="1629" y="3388"/>
                  </a:lnTo>
                  <a:lnTo>
                    <a:pt x="1654" y="3388"/>
                  </a:lnTo>
                  <a:lnTo>
                    <a:pt x="1654" y="3438"/>
                  </a:lnTo>
                  <a:lnTo>
                    <a:pt x="1685" y="3438"/>
                  </a:lnTo>
                  <a:lnTo>
                    <a:pt x="1709" y="3413"/>
                  </a:lnTo>
                  <a:lnTo>
                    <a:pt x="1766" y="3333"/>
                  </a:lnTo>
                  <a:lnTo>
                    <a:pt x="1740" y="3276"/>
                  </a:lnTo>
                  <a:lnTo>
                    <a:pt x="1685" y="3388"/>
                  </a:lnTo>
                  <a:lnTo>
                    <a:pt x="1685" y="3276"/>
                  </a:lnTo>
                  <a:lnTo>
                    <a:pt x="1629" y="3333"/>
                  </a:lnTo>
                  <a:lnTo>
                    <a:pt x="1654" y="3195"/>
                  </a:lnTo>
                  <a:lnTo>
                    <a:pt x="1740" y="3252"/>
                  </a:lnTo>
                  <a:lnTo>
                    <a:pt x="1740" y="3221"/>
                  </a:lnTo>
                  <a:lnTo>
                    <a:pt x="1709" y="3171"/>
                  </a:lnTo>
                  <a:lnTo>
                    <a:pt x="1685" y="3171"/>
                  </a:lnTo>
                  <a:lnTo>
                    <a:pt x="1685" y="3115"/>
                  </a:lnTo>
                  <a:lnTo>
                    <a:pt x="1740" y="3140"/>
                  </a:lnTo>
                  <a:lnTo>
                    <a:pt x="1740" y="3115"/>
                  </a:lnTo>
                  <a:lnTo>
                    <a:pt x="1709" y="3090"/>
                  </a:lnTo>
                  <a:lnTo>
                    <a:pt x="1709" y="3059"/>
                  </a:lnTo>
                  <a:lnTo>
                    <a:pt x="1740" y="3059"/>
                  </a:lnTo>
                  <a:lnTo>
                    <a:pt x="1709" y="2979"/>
                  </a:lnTo>
                  <a:lnTo>
                    <a:pt x="1685" y="3010"/>
                  </a:lnTo>
                  <a:lnTo>
                    <a:pt x="1685" y="2954"/>
                  </a:lnTo>
                  <a:lnTo>
                    <a:pt x="1709" y="2922"/>
                  </a:lnTo>
                  <a:lnTo>
                    <a:pt x="1766" y="2979"/>
                  </a:lnTo>
                  <a:lnTo>
                    <a:pt x="1766" y="2922"/>
                  </a:lnTo>
                  <a:lnTo>
                    <a:pt x="1740" y="2898"/>
                  </a:lnTo>
                  <a:lnTo>
                    <a:pt x="1846" y="2874"/>
                  </a:lnTo>
                  <a:lnTo>
                    <a:pt x="1902" y="2874"/>
                  </a:lnTo>
                  <a:lnTo>
                    <a:pt x="1902" y="2843"/>
                  </a:lnTo>
                  <a:lnTo>
                    <a:pt x="1951" y="2843"/>
                  </a:lnTo>
                  <a:lnTo>
                    <a:pt x="1951" y="2817"/>
                  </a:lnTo>
                  <a:lnTo>
                    <a:pt x="1871" y="2817"/>
                  </a:lnTo>
                  <a:lnTo>
                    <a:pt x="1821" y="2843"/>
                  </a:lnTo>
                  <a:lnTo>
                    <a:pt x="1846" y="2793"/>
                  </a:lnTo>
                  <a:lnTo>
                    <a:pt x="1790" y="2793"/>
                  </a:lnTo>
                  <a:lnTo>
                    <a:pt x="1790" y="2737"/>
                  </a:lnTo>
                  <a:lnTo>
                    <a:pt x="1846" y="2712"/>
                  </a:lnTo>
                  <a:lnTo>
                    <a:pt x="1871" y="2681"/>
                  </a:lnTo>
                  <a:lnTo>
                    <a:pt x="1871" y="2625"/>
                  </a:lnTo>
                  <a:lnTo>
                    <a:pt x="1846" y="2656"/>
                  </a:lnTo>
                  <a:lnTo>
                    <a:pt x="1846" y="2575"/>
                  </a:lnTo>
                  <a:lnTo>
                    <a:pt x="1902" y="2575"/>
                  </a:lnTo>
                  <a:lnTo>
                    <a:pt x="1871" y="2463"/>
                  </a:lnTo>
                  <a:lnTo>
                    <a:pt x="1951" y="2408"/>
                  </a:lnTo>
                  <a:lnTo>
                    <a:pt x="1951" y="2439"/>
                  </a:lnTo>
                  <a:lnTo>
                    <a:pt x="2008" y="2408"/>
                  </a:lnTo>
                  <a:lnTo>
                    <a:pt x="2064" y="2408"/>
                  </a:lnTo>
                  <a:lnTo>
                    <a:pt x="2039" y="2358"/>
                  </a:lnTo>
                  <a:lnTo>
                    <a:pt x="2064" y="2358"/>
                  </a:lnTo>
                  <a:lnTo>
                    <a:pt x="2089" y="2327"/>
                  </a:lnTo>
                  <a:lnTo>
                    <a:pt x="2169" y="2327"/>
                  </a:lnTo>
                  <a:lnTo>
                    <a:pt x="2226" y="2327"/>
                  </a:lnTo>
                  <a:lnTo>
                    <a:pt x="2226" y="2278"/>
                  </a:lnTo>
                  <a:lnTo>
                    <a:pt x="2145" y="2247"/>
                  </a:lnTo>
                  <a:lnTo>
                    <a:pt x="2064" y="2278"/>
                  </a:lnTo>
                  <a:lnTo>
                    <a:pt x="2008" y="2278"/>
                  </a:lnTo>
                  <a:lnTo>
                    <a:pt x="2120" y="2140"/>
                  </a:lnTo>
                  <a:lnTo>
                    <a:pt x="2169" y="2166"/>
                  </a:lnTo>
                  <a:lnTo>
                    <a:pt x="2200" y="2166"/>
                  </a:lnTo>
                  <a:lnTo>
                    <a:pt x="2226" y="2221"/>
                  </a:lnTo>
                  <a:lnTo>
                    <a:pt x="2250" y="2140"/>
                  </a:lnTo>
                  <a:lnTo>
                    <a:pt x="2200" y="2140"/>
                  </a:lnTo>
                  <a:lnTo>
                    <a:pt x="2169" y="2140"/>
                  </a:lnTo>
                  <a:lnTo>
                    <a:pt x="2169" y="2060"/>
                  </a:lnTo>
                  <a:lnTo>
                    <a:pt x="2200" y="2060"/>
                  </a:lnTo>
                  <a:lnTo>
                    <a:pt x="2250" y="2085"/>
                  </a:lnTo>
                  <a:lnTo>
                    <a:pt x="2250" y="2029"/>
                  </a:lnTo>
                  <a:lnTo>
                    <a:pt x="2169" y="2004"/>
                  </a:lnTo>
                  <a:lnTo>
                    <a:pt x="2120" y="2085"/>
                  </a:lnTo>
                  <a:lnTo>
                    <a:pt x="2089" y="2060"/>
                  </a:lnTo>
                  <a:lnTo>
                    <a:pt x="2089" y="2029"/>
                  </a:lnTo>
                  <a:lnTo>
                    <a:pt x="2089" y="2004"/>
                  </a:lnTo>
                  <a:lnTo>
                    <a:pt x="2120" y="1948"/>
                  </a:lnTo>
                  <a:lnTo>
                    <a:pt x="2169" y="1948"/>
                  </a:lnTo>
                  <a:lnTo>
                    <a:pt x="2200" y="1948"/>
                  </a:lnTo>
                  <a:lnTo>
                    <a:pt x="2250" y="1924"/>
                  </a:lnTo>
                  <a:lnTo>
                    <a:pt x="2250" y="1867"/>
                  </a:lnTo>
                  <a:lnTo>
                    <a:pt x="2169" y="1898"/>
                  </a:lnTo>
                  <a:lnTo>
                    <a:pt x="2200" y="1843"/>
                  </a:lnTo>
                  <a:lnTo>
                    <a:pt x="2226" y="1843"/>
                  </a:lnTo>
                  <a:lnTo>
                    <a:pt x="2250" y="1843"/>
                  </a:lnTo>
                  <a:lnTo>
                    <a:pt x="2281" y="1762"/>
                  </a:lnTo>
                  <a:lnTo>
                    <a:pt x="2306" y="1787"/>
                  </a:lnTo>
                  <a:lnTo>
                    <a:pt x="2306" y="1843"/>
                  </a:lnTo>
                  <a:lnTo>
                    <a:pt x="2306" y="1924"/>
                  </a:lnTo>
                  <a:lnTo>
                    <a:pt x="2337" y="1948"/>
                  </a:lnTo>
                  <a:lnTo>
                    <a:pt x="2362" y="1898"/>
                  </a:lnTo>
                  <a:lnTo>
                    <a:pt x="2362" y="1843"/>
                  </a:lnTo>
                  <a:lnTo>
                    <a:pt x="2337" y="1812"/>
                  </a:lnTo>
                  <a:lnTo>
                    <a:pt x="2362" y="1787"/>
                  </a:lnTo>
                  <a:lnTo>
                    <a:pt x="2306" y="1762"/>
                  </a:lnTo>
                  <a:lnTo>
                    <a:pt x="2337" y="1731"/>
                  </a:lnTo>
                  <a:lnTo>
                    <a:pt x="2387" y="1731"/>
                  </a:lnTo>
                  <a:lnTo>
                    <a:pt x="2362" y="1706"/>
                  </a:lnTo>
                  <a:lnTo>
                    <a:pt x="2442" y="1682"/>
                  </a:lnTo>
                  <a:lnTo>
                    <a:pt x="2499" y="1731"/>
                  </a:lnTo>
                  <a:lnTo>
                    <a:pt x="2499" y="1651"/>
                  </a:lnTo>
                  <a:lnTo>
                    <a:pt x="2580" y="1651"/>
                  </a:lnTo>
                  <a:lnTo>
                    <a:pt x="2523" y="1601"/>
                  </a:lnTo>
                  <a:lnTo>
                    <a:pt x="2468" y="1601"/>
                  </a:lnTo>
                  <a:lnTo>
                    <a:pt x="2442" y="1625"/>
                  </a:lnTo>
                  <a:lnTo>
                    <a:pt x="2337" y="1651"/>
                  </a:lnTo>
                  <a:lnTo>
                    <a:pt x="2362" y="1625"/>
                  </a:lnTo>
                  <a:lnTo>
                    <a:pt x="2362" y="1570"/>
                  </a:lnTo>
                  <a:lnTo>
                    <a:pt x="2442" y="1544"/>
                  </a:lnTo>
                  <a:lnTo>
                    <a:pt x="2523" y="1513"/>
                  </a:lnTo>
                  <a:lnTo>
                    <a:pt x="2499" y="1489"/>
                  </a:lnTo>
                  <a:lnTo>
                    <a:pt x="2549" y="1464"/>
                  </a:lnTo>
                  <a:lnTo>
                    <a:pt x="2549" y="1383"/>
                  </a:lnTo>
                  <a:lnTo>
                    <a:pt x="2499" y="1383"/>
                  </a:lnTo>
                  <a:lnTo>
                    <a:pt x="2523" y="1328"/>
                  </a:lnTo>
                  <a:lnTo>
                    <a:pt x="2580" y="1297"/>
                  </a:lnTo>
                  <a:lnTo>
                    <a:pt x="2604" y="1271"/>
                  </a:lnTo>
                  <a:lnTo>
                    <a:pt x="2604" y="1247"/>
                  </a:lnTo>
                  <a:lnTo>
                    <a:pt x="2580" y="1191"/>
                  </a:lnTo>
                  <a:lnTo>
                    <a:pt x="2580" y="1166"/>
                  </a:lnTo>
                  <a:lnTo>
                    <a:pt x="2604" y="1110"/>
                  </a:lnTo>
                  <a:lnTo>
                    <a:pt x="2636" y="1166"/>
                  </a:lnTo>
                  <a:lnTo>
                    <a:pt x="2686" y="1191"/>
                  </a:lnTo>
                  <a:lnTo>
                    <a:pt x="2717" y="1166"/>
                  </a:lnTo>
                  <a:lnTo>
                    <a:pt x="2636" y="1110"/>
                  </a:lnTo>
                  <a:lnTo>
                    <a:pt x="2686" y="1085"/>
                  </a:lnTo>
                  <a:lnTo>
                    <a:pt x="2741" y="1135"/>
                  </a:lnTo>
                  <a:lnTo>
                    <a:pt x="2766" y="1166"/>
                  </a:lnTo>
                  <a:lnTo>
                    <a:pt x="2797" y="1216"/>
                  </a:lnTo>
                  <a:lnTo>
                    <a:pt x="2822" y="1191"/>
                  </a:lnTo>
                  <a:lnTo>
                    <a:pt x="2797" y="1135"/>
                  </a:lnTo>
                  <a:lnTo>
                    <a:pt x="2766" y="1135"/>
                  </a:lnTo>
                  <a:lnTo>
                    <a:pt x="2741" y="1085"/>
                  </a:lnTo>
                  <a:lnTo>
                    <a:pt x="2766" y="1055"/>
                  </a:lnTo>
                  <a:lnTo>
                    <a:pt x="2717" y="1029"/>
                  </a:lnTo>
                  <a:lnTo>
                    <a:pt x="2741" y="974"/>
                  </a:lnTo>
                  <a:lnTo>
                    <a:pt x="2797" y="948"/>
                  </a:lnTo>
                  <a:lnTo>
                    <a:pt x="2822" y="948"/>
                  </a:lnTo>
                  <a:lnTo>
                    <a:pt x="2797" y="1029"/>
                  </a:lnTo>
                  <a:lnTo>
                    <a:pt x="2822" y="1110"/>
                  </a:lnTo>
                  <a:lnTo>
                    <a:pt x="2847" y="1029"/>
                  </a:lnTo>
                  <a:lnTo>
                    <a:pt x="2878" y="998"/>
                  </a:lnTo>
                  <a:lnTo>
                    <a:pt x="2847" y="974"/>
                  </a:lnTo>
                  <a:lnTo>
                    <a:pt x="2847" y="948"/>
                  </a:lnTo>
                  <a:lnTo>
                    <a:pt x="2847" y="893"/>
                  </a:lnTo>
                  <a:lnTo>
                    <a:pt x="2902" y="837"/>
                  </a:lnTo>
                  <a:lnTo>
                    <a:pt x="2902" y="917"/>
                  </a:lnTo>
                  <a:lnTo>
                    <a:pt x="2933" y="948"/>
                  </a:lnTo>
                  <a:lnTo>
                    <a:pt x="2933" y="1029"/>
                  </a:lnTo>
                  <a:lnTo>
                    <a:pt x="2933" y="1055"/>
                  </a:lnTo>
                  <a:lnTo>
                    <a:pt x="2933" y="1085"/>
                  </a:lnTo>
                  <a:lnTo>
                    <a:pt x="2878" y="1191"/>
                  </a:lnTo>
                  <a:lnTo>
                    <a:pt x="2959" y="1110"/>
                  </a:lnTo>
                  <a:lnTo>
                    <a:pt x="2959" y="998"/>
                  </a:lnTo>
                  <a:lnTo>
                    <a:pt x="3040" y="1029"/>
                  </a:lnTo>
                  <a:lnTo>
                    <a:pt x="3040" y="998"/>
                  </a:lnTo>
                  <a:lnTo>
                    <a:pt x="2983" y="974"/>
                  </a:lnTo>
                  <a:lnTo>
                    <a:pt x="2959" y="948"/>
                  </a:lnTo>
                  <a:lnTo>
                    <a:pt x="2959" y="868"/>
                  </a:lnTo>
                  <a:lnTo>
                    <a:pt x="2983" y="893"/>
                  </a:lnTo>
                  <a:lnTo>
                    <a:pt x="3040" y="812"/>
                  </a:lnTo>
                  <a:lnTo>
                    <a:pt x="3040" y="868"/>
                  </a:lnTo>
                  <a:lnTo>
                    <a:pt x="3096" y="837"/>
                  </a:lnTo>
                  <a:lnTo>
                    <a:pt x="3064" y="787"/>
                  </a:lnTo>
                  <a:lnTo>
                    <a:pt x="3145" y="812"/>
                  </a:lnTo>
                  <a:lnTo>
                    <a:pt x="3145" y="837"/>
                  </a:lnTo>
                  <a:lnTo>
                    <a:pt x="3201" y="893"/>
                  </a:lnTo>
                  <a:lnTo>
                    <a:pt x="3232" y="868"/>
                  </a:lnTo>
                  <a:lnTo>
                    <a:pt x="3177" y="787"/>
                  </a:lnTo>
                  <a:lnTo>
                    <a:pt x="3145" y="787"/>
                  </a:lnTo>
                  <a:lnTo>
                    <a:pt x="3120" y="732"/>
                  </a:lnTo>
                  <a:lnTo>
                    <a:pt x="3040" y="675"/>
                  </a:lnTo>
                  <a:lnTo>
                    <a:pt x="3096" y="651"/>
                  </a:lnTo>
                  <a:lnTo>
                    <a:pt x="3145" y="675"/>
                  </a:lnTo>
                  <a:lnTo>
                    <a:pt x="3145" y="651"/>
                  </a:lnTo>
                  <a:lnTo>
                    <a:pt x="3177" y="651"/>
                  </a:lnTo>
                  <a:lnTo>
                    <a:pt x="3232" y="701"/>
                  </a:lnTo>
                  <a:lnTo>
                    <a:pt x="3257" y="675"/>
                  </a:lnTo>
                  <a:lnTo>
                    <a:pt x="3313" y="675"/>
                  </a:lnTo>
                  <a:lnTo>
                    <a:pt x="3257" y="732"/>
                  </a:lnTo>
                  <a:lnTo>
                    <a:pt x="3282" y="756"/>
                  </a:lnTo>
                  <a:lnTo>
                    <a:pt x="3338" y="701"/>
                  </a:lnTo>
                  <a:lnTo>
                    <a:pt x="3362" y="732"/>
                  </a:lnTo>
                  <a:lnTo>
                    <a:pt x="3419" y="732"/>
                  </a:lnTo>
                  <a:lnTo>
                    <a:pt x="3393" y="701"/>
                  </a:lnTo>
                  <a:lnTo>
                    <a:pt x="3393" y="651"/>
                  </a:lnTo>
                  <a:lnTo>
                    <a:pt x="3443" y="570"/>
                  </a:lnTo>
                  <a:lnTo>
                    <a:pt x="3419" y="570"/>
                  </a:lnTo>
                  <a:lnTo>
                    <a:pt x="3474" y="489"/>
                  </a:lnTo>
                  <a:lnTo>
                    <a:pt x="3531" y="489"/>
                  </a:lnTo>
                  <a:lnTo>
                    <a:pt x="3500" y="433"/>
                  </a:lnTo>
                  <a:lnTo>
                    <a:pt x="3500" y="378"/>
                  </a:lnTo>
                  <a:lnTo>
                    <a:pt x="3555" y="402"/>
                  </a:lnTo>
                  <a:lnTo>
                    <a:pt x="3580" y="378"/>
                  </a:lnTo>
                  <a:lnTo>
                    <a:pt x="3474" y="297"/>
                  </a:lnTo>
                  <a:lnTo>
                    <a:pt x="3500" y="216"/>
                  </a:lnTo>
                  <a:lnTo>
                    <a:pt x="3611" y="273"/>
                  </a:lnTo>
                  <a:lnTo>
                    <a:pt x="3611" y="192"/>
                  </a:lnTo>
                  <a:lnTo>
                    <a:pt x="3637" y="216"/>
                  </a:lnTo>
                  <a:lnTo>
                    <a:pt x="3692" y="216"/>
                  </a:lnTo>
                  <a:lnTo>
                    <a:pt x="3692" y="273"/>
                  </a:lnTo>
                  <a:lnTo>
                    <a:pt x="3661" y="378"/>
                  </a:lnTo>
                  <a:lnTo>
                    <a:pt x="3661" y="402"/>
                  </a:lnTo>
                  <a:lnTo>
                    <a:pt x="3637" y="458"/>
                  </a:lnTo>
                  <a:lnTo>
                    <a:pt x="3637" y="620"/>
                  </a:lnTo>
                  <a:lnTo>
                    <a:pt x="3661" y="594"/>
                  </a:lnTo>
                  <a:lnTo>
                    <a:pt x="3717" y="489"/>
                  </a:lnTo>
                  <a:lnTo>
                    <a:pt x="3692" y="458"/>
                  </a:lnTo>
                  <a:lnTo>
                    <a:pt x="3717" y="378"/>
                  </a:lnTo>
                  <a:lnTo>
                    <a:pt x="3742" y="321"/>
                  </a:lnTo>
                  <a:lnTo>
                    <a:pt x="3742" y="241"/>
                  </a:lnTo>
                  <a:lnTo>
                    <a:pt x="3773" y="216"/>
                  </a:lnTo>
                  <a:lnTo>
                    <a:pt x="3773" y="192"/>
                  </a:lnTo>
                  <a:lnTo>
                    <a:pt x="3798" y="136"/>
                  </a:lnTo>
                  <a:lnTo>
                    <a:pt x="3829" y="160"/>
                  </a:lnTo>
                  <a:lnTo>
                    <a:pt x="3829" y="216"/>
                  </a:lnTo>
                  <a:lnTo>
                    <a:pt x="3798" y="297"/>
                  </a:lnTo>
                  <a:lnTo>
                    <a:pt x="3853" y="297"/>
                  </a:lnTo>
                  <a:lnTo>
                    <a:pt x="3853" y="402"/>
                  </a:lnTo>
                  <a:lnTo>
                    <a:pt x="3910" y="321"/>
                  </a:lnTo>
                  <a:lnTo>
                    <a:pt x="3910" y="273"/>
                  </a:lnTo>
                  <a:lnTo>
                    <a:pt x="3934" y="273"/>
                  </a:lnTo>
                  <a:lnTo>
                    <a:pt x="3910" y="241"/>
                  </a:lnTo>
                  <a:lnTo>
                    <a:pt x="3934" y="192"/>
                  </a:lnTo>
                  <a:lnTo>
                    <a:pt x="3960" y="160"/>
                  </a:lnTo>
                  <a:lnTo>
                    <a:pt x="3960" y="136"/>
                  </a:lnTo>
                  <a:lnTo>
                    <a:pt x="3879" y="105"/>
                  </a:lnTo>
                  <a:lnTo>
                    <a:pt x="3879" y="55"/>
                  </a:lnTo>
                  <a:lnTo>
                    <a:pt x="3960" y="79"/>
                  </a:lnTo>
                  <a:lnTo>
                    <a:pt x="3934" y="0"/>
                  </a:lnTo>
                  <a:lnTo>
                    <a:pt x="3960" y="24"/>
                  </a:lnTo>
                  <a:lnTo>
                    <a:pt x="4015" y="0"/>
                  </a:lnTo>
                  <a:lnTo>
                    <a:pt x="4046" y="24"/>
                  </a:lnTo>
                  <a:lnTo>
                    <a:pt x="4096" y="24"/>
                  </a:lnTo>
                  <a:lnTo>
                    <a:pt x="4096" y="79"/>
                  </a:lnTo>
                  <a:lnTo>
                    <a:pt x="4071" y="136"/>
                  </a:lnTo>
                  <a:lnTo>
                    <a:pt x="4046" y="136"/>
                  </a:lnTo>
                  <a:lnTo>
                    <a:pt x="3991" y="160"/>
                  </a:lnTo>
                  <a:lnTo>
                    <a:pt x="4046" y="160"/>
                  </a:lnTo>
                  <a:lnTo>
                    <a:pt x="4046" y="216"/>
                  </a:lnTo>
                  <a:lnTo>
                    <a:pt x="4096" y="192"/>
                  </a:lnTo>
                  <a:lnTo>
                    <a:pt x="4071" y="241"/>
                  </a:lnTo>
                  <a:lnTo>
                    <a:pt x="4046" y="297"/>
                  </a:lnTo>
                  <a:lnTo>
                    <a:pt x="4071" y="297"/>
                  </a:lnTo>
                  <a:lnTo>
                    <a:pt x="4096" y="273"/>
                  </a:lnTo>
                  <a:lnTo>
                    <a:pt x="4128" y="321"/>
                  </a:lnTo>
                  <a:lnTo>
                    <a:pt x="4152" y="273"/>
                  </a:lnTo>
                  <a:lnTo>
                    <a:pt x="4152" y="241"/>
                  </a:lnTo>
                  <a:lnTo>
                    <a:pt x="4128" y="216"/>
                  </a:lnTo>
                  <a:lnTo>
                    <a:pt x="4128" y="136"/>
                  </a:lnTo>
                  <a:lnTo>
                    <a:pt x="4152" y="105"/>
                  </a:lnTo>
                  <a:lnTo>
                    <a:pt x="4152" y="55"/>
                  </a:lnTo>
                  <a:lnTo>
                    <a:pt x="4208" y="55"/>
                  </a:lnTo>
                  <a:lnTo>
                    <a:pt x="4258" y="105"/>
                  </a:lnTo>
                  <a:lnTo>
                    <a:pt x="4289" y="79"/>
                  </a:lnTo>
                  <a:lnTo>
                    <a:pt x="4313" y="136"/>
                  </a:lnTo>
                  <a:lnTo>
                    <a:pt x="4344" y="79"/>
                  </a:lnTo>
                  <a:lnTo>
                    <a:pt x="4370" y="79"/>
                  </a:lnTo>
                  <a:lnTo>
                    <a:pt x="4394" y="105"/>
                  </a:lnTo>
                  <a:lnTo>
                    <a:pt x="4370" y="160"/>
                  </a:lnTo>
                  <a:lnTo>
                    <a:pt x="4451" y="136"/>
                  </a:lnTo>
                  <a:lnTo>
                    <a:pt x="4506" y="192"/>
                  </a:lnTo>
                  <a:lnTo>
                    <a:pt x="4531" y="192"/>
                  </a:lnTo>
                  <a:lnTo>
                    <a:pt x="4556" y="216"/>
                  </a:lnTo>
                  <a:lnTo>
                    <a:pt x="4531" y="241"/>
                  </a:lnTo>
                  <a:lnTo>
                    <a:pt x="4475" y="321"/>
                  </a:lnTo>
                  <a:lnTo>
                    <a:pt x="4451" y="378"/>
                  </a:lnTo>
                  <a:lnTo>
                    <a:pt x="4425" y="402"/>
                  </a:lnTo>
                  <a:lnTo>
                    <a:pt x="4289" y="402"/>
                  </a:lnTo>
                  <a:lnTo>
                    <a:pt x="4208" y="378"/>
                  </a:lnTo>
                  <a:lnTo>
                    <a:pt x="4233" y="458"/>
                  </a:lnTo>
                  <a:lnTo>
                    <a:pt x="4289" y="433"/>
                  </a:lnTo>
                  <a:lnTo>
                    <a:pt x="4313" y="458"/>
                  </a:lnTo>
                  <a:lnTo>
                    <a:pt x="4394" y="458"/>
                  </a:lnTo>
                  <a:lnTo>
                    <a:pt x="4344" y="514"/>
                  </a:lnTo>
                  <a:lnTo>
                    <a:pt x="4370" y="539"/>
                  </a:lnTo>
                  <a:lnTo>
                    <a:pt x="4394" y="514"/>
                  </a:lnTo>
                  <a:lnTo>
                    <a:pt x="4425" y="539"/>
                  </a:lnTo>
                  <a:lnTo>
                    <a:pt x="4394" y="570"/>
                  </a:lnTo>
                  <a:lnTo>
                    <a:pt x="4425" y="594"/>
                  </a:lnTo>
                  <a:lnTo>
                    <a:pt x="4451" y="570"/>
                  </a:lnTo>
                  <a:lnTo>
                    <a:pt x="4506" y="539"/>
                  </a:lnTo>
                  <a:lnTo>
                    <a:pt x="4506" y="489"/>
                  </a:lnTo>
                  <a:lnTo>
                    <a:pt x="4556" y="539"/>
                  </a:lnTo>
                  <a:lnTo>
                    <a:pt x="4556" y="489"/>
                  </a:lnTo>
                  <a:lnTo>
                    <a:pt x="4612" y="489"/>
                  </a:lnTo>
                  <a:lnTo>
                    <a:pt x="4643" y="594"/>
                  </a:lnTo>
                  <a:lnTo>
                    <a:pt x="4612" y="620"/>
                  </a:lnTo>
                  <a:lnTo>
                    <a:pt x="4587" y="620"/>
                  </a:lnTo>
                  <a:lnTo>
                    <a:pt x="4531" y="594"/>
                  </a:lnTo>
                  <a:lnTo>
                    <a:pt x="4531" y="651"/>
                  </a:lnTo>
                  <a:lnTo>
                    <a:pt x="4506" y="701"/>
                  </a:lnTo>
                  <a:lnTo>
                    <a:pt x="4475" y="787"/>
                  </a:lnTo>
                  <a:lnTo>
                    <a:pt x="4451" y="812"/>
                  </a:lnTo>
                  <a:lnTo>
                    <a:pt x="4451" y="868"/>
                  </a:lnTo>
                  <a:lnTo>
                    <a:pt x="4425" y="948"/>
                  </a:lnTo>
                  <a:lnTo>
                    <a:pt x="4394" y="868"/>
                  </a:lnTo>
                  <a:lnTo>
                    <a:pt x="4425" y="732"/>
                  </a:lnTo>
                  <a:lnTo>
                    <a:pt x="4425" y="651"/>
                  </a:lnTo>
                  <a:lnTo>
                    <a:pt x="4344" y="594"/>
                  </a:lnTo>
                  <a:lnTo>
                    <a:pt x="4233" y="594"/>
                  </a:lnTo>
                  <a:lnTo>
                    <a:pt x="4096" y="489"/>
                  </a:lnTo>
                  <a:lnTo>
                    <a:pt x="4071" y="489"/>
                  </a:lnTo>
                  <a:lnTo>
                    <a:pt x="4015" y="539"/>
                  </a:lnTo>
                  <a:lnTo>
                    <a:pt x="4015" y="594"/>
                  </a:lnTo>
                  <a:lnTo>
                    <a:pt x="3991" y="620"/>
                  </a:lnTo>
                  <a:lnTo>
                    <a:pt x="3910" y="594"/>
                  </a:lnTo>
                  <a:lnTo>
                    <a:pt x="3879" y="701"/>
                  </a:lnTo>
                  <a:lnTo>
                    <a:pt x="3829" y="756"/>
                  </a:lnTo>
                  <a:lnTo>
                    <a:pt x="3853" y="812"/>
                  </a:lnTo>
                  <a:lnTo>
                    <a:pt x="3853" y="837"/>
                  </a:lnTo>
                  <a:lnTo>
                    <a:pt x="3853" y="893"/>
                  </a:lnTo>
                  <a:lnTo>
                    <a:pt x="3853" y="948"/>
                  </a:lnTo>
                  <a:lnTo>
                    <a:pt x="3910" y="1085"/>
                  </a:lnTo>
                  <a:lnTo>
                    <a:pt x="3879" y="1166"/>
                  </a:lnTo>
                  <a:lnTo>
                    <a:pt x="3853" y="1166"/>
                  </a:lnTo>
                  <a:lnTo>
                    <a:pt x="3829" y="1216"/>
                  </a:lnTo>
                  <a:lnTo>
                    <a:pt x="3829" y="1271"/>
                  </a:lnTo>
                  <a:lnTo>
                    <a:pt x="3829" y="1297"/>
                  </a:lnTo>
                  <a:lnTo>
                    <a:pt x="3798" y="1352"/>
                  </a:lnTo>
                  <a:lnTo>
                    <a:pt x="3742" y="1297"/>
                  </a:lnTo>
                  <a:lnTo>
                    <a:pt x="3580" y="1271"/>
                  </a:lnTo>
                  <a:lnTo>
                    <a:pt x="3555" y="1352"/>
                  </a:lnTo>
                  <a:lnTo>
                    <a:pt x="3474" y="1383"/>
                  </a:lnTo>
                  <a:lnTo>
                    <a:pt x="3443" y="1352"/>
                  </a:lnTo>
                  <a:lnTo>
                    <a:pt x="3362" y="1352"/>
                  </a:lnTo>
                  <a:lnTo>
                    <a:pt x="3338" y="1383"/>
                  </a:lnTo>
                  <a:lnTo>
                    <a:pt x="3282" y="1297"/>
                  </a:lnTo>
                  <a:lnTo>
                    <a:pt x="3282" y="1247"/>
                  </a:lnTo>
                  <a:lnTo>
                    <a:pt x="3201" y="1166"/>
                  </a:lnTo>
                  <a:lnTo>
                    <a:pt x="3145" y="1110"/>
                  </a:lnTo>
                  <a:lnTo>
                    <a:pt x="3064" y="1110"/>
                  </a:lnTo>
                  <a:lnTo>
                    <a:pt x="3064" y="1166"/>
                  </a:lnTo>
                  <a:lnTo>
                    <a:pt x="3064" y="1191"/>
                  </a:lnTo>
                  <a:lnTo>
                    <a:pt x="3096" y="1247"/>
                  </a:lnTo>
                  <a:lnTo>
                    <a:pt x="3064" y="1247"/>
                  </a:lnTo>
                  <a:lnTo>
                    <a:pt x="3040" y="1247"/>
                  </a:lnTo>
                  <a:lnTo>
                    <a:pt x="3014" y="1247"/>
                  </a:lnTo>
                  <a:lnTo>
                    <a:pt x="3014" y="1271"/>
                  </a:lnTo>
                  <a:close/>
                  <a:moveTo>
                    <a:pt x="3120" y="458"/>
                  </a:moveTo>
                  <a:lnTo>
                    <a:pt x="3177" y="539"/>
                  </a:lnTo>
                  <a:lnTo>
                    <a:pt x="3232" y="514"/>
                  </a:lnTo>
                  <a:lnTo>
                    <a:pt x="3232" y="489"/>
                  </a:lnTo>
                  <a:lnTo>
                    <a:pt x="3282" y="489"/>
                  </a:lnTo>
                  <a:lnTo>
                    <a:pt x="3313" y="458"/>
                  </a:lnTo>
                  <a:lnTo>
                    <a:pt x="3313" y="378"/>
                  </a:lnTo>
                  <a:lnTo>
                    <a:pt x="3338" y="321"/>
                  </a:lnTo>
                  <a:lnTo>
                    <a:pt x="3313" y="297"/>
                  </a:lnTo>
                  <a:lnTo>
                    <a:pt x="3282" y="378"/>
                  </a:lnTo>
                  <a:lnTo>
                    <a:pt x="3282" y="402"/>
                  </a:lnTo>
                  <a:lnTo>
                    <a:pt x="3257" y="402"/>
                  </a:lnTo>
                  <a:lnTo>
                    <a:pt x="3232" y="458"/>
                  </a:lnTo>
                  <a:lnTo>
                    <a:pt x="3201" y="402"/>
                  </a:lnTo>
                  <a:lnTo>
                    <a:pt x="3120" y="458"/>
                  </a:lnTo>
                  <a:close/>
                  <a:moveTo>
                    <a:pt x="3201" y="620"/>
                  </a:moveTo>
                  <a:lnTo>
                    <a:pt x="3257" y="620"/>
                  </a:lnTo>
                  <a:lnTo>
                    <a:pt x="3313" y="651"/>
                  </a:lnTo>
                  <a:lnTo>
                    <a:pt x="3313" y="620"/>
                  </a:lnTo>
                  <a:lnTo>
                    <a:pt x="3282" y="594"/>
                  </a:lnTo>
                  <a:lnTo>
                    <a:pt x="3232" y="594"/>
                  </a:lnTo>
                  <a:lnTo>
                    <a:pt x="3201" y="620"/>
                  </a:lnTo>
                  <a:close/>
                  <a:moveTo>
                    <a:pt x="3313" y="570"/>
                  </a:moveTo>
                  <a:lnTo>
                    <a:pt x="3362" y="594"/>
                  </a:lnTo>
                  <a:lnTo>
                    <a:pt x="3362" y="570"/>
                  </a:lnTo>
                  <a:lnTo>
                    <a:pt x="3393" y="539"/>
                  </a:lnTo>
                  <a:lnTo>
                    <a:pt x="3393" y="514"/>
                  </a:lnTo>
                  <a:lnTo>
                    <a:pt x="3362" y="458"/>
                  </a:lnTo>
                  <a:lnTo>
                    <a:pt x="3362" y="514"/>
                  </a:lnTo>
                  <a:lnTo>
                    <a:pt x="3338" y="514"/>
                  </a:lnTo>
                  <a:lnTo>
                    <a:pt x="3313" y="570"/>
                  </a:lnTo>
                  <a:close/>
                  <a:moveTo>
                    <a:pt x="3393" y="378"/>
                  </a:moveTo>
                  <a:lnTo>
                    <a:pt x="3419" y="433"/>
                  </a:lnTo>
                  <a:lnTo>
                    <a:pt x="3443" y="458"/>
                  </a:lnTo>
                  <a:lnTo>
                    <a:pt x="3443" y="378"/>
                  </a:lnTo>
                  <a:lnTo>
                    <a:pt x="3393" y="378"/>
                  </a:lnTo>
                  <a:close/>
                  <a:moveTo>
                    <a:pt x="3637" y="160"/>
                  </a:moveTo>
                  <a:lnTo>
                    <a:pt x="3661" y="160"/>
                  </a:lnTo>
                  <a:lnTo>
                    <a:pt x="3717" y="160"/>
                  </a:lnTo>
                  <a:lnTo>
                    <a:pt x="3742" y="105"/>
                  </a:lnTo>
                  <a:lnTo>
                    <a:pt x="3692" y="105"/>
                  </a:lnTo>
                  <a:lnTo>
                    <a:pt x="3692" y="79"/>
                  </a:lnTo>
                  <a:lnTo>
                    <a:pt x="3637" y="79"/>
                  </a:lnTo>
                  <a:lnTo>
                    <a:pt x="3611" y="160"/>
                  </a:lnTo>
                  <a:lnTo>
                    <a:pt x="3637" y="160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40" name="Freeform 79">
              <a:extLst>
                <a:ext uri="{FF2B5EF4-FFF2-40B4-BE49-F238E27FC236}">
                  <a16:creationId xmlns:a16="http://schemas.microsoft.com/office/drawing/2014/main" id="{20A9B908-0DCE-430E-AD64-D0549539DA0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0171" y="2842327"/>
              <a:ext cx="1066437" cy="903231"/>
            </a:xfrm>
            <a:custGeom>
              <a:avLst/>
              <a:gdLst/>
              <a:ahLst/>
              <a:cxnLst>
                <a:cxn ang="0">
                  <a:pos x="24" y="622"/>
                </a:cxn>
                <a:cxn ang="0">
                  <a:pos x="323" y="1926"/>
                </a:cxn>
                <a:cxn ang="0">
                  <a:pos x="323" y="1845"/>
                </a:cxn>
                <a:cxn ang="0">
                  <a:pos x="299" y="1733"/>
                </a:cxn>
                <a:cxn ang="0">
                  <a:pos x="217" y="1653"/>
                </a:cxn>
                <a:cxn ang="0">
                  <a:pos x="217" y="1460"/>
                </a:cxn>
                <a:cxn ang="0">
                  <a:pos x="162" y="1354"/>
                </a:cxn>
                <a:cxn ang="0">
                  <a:pos x="81" y="1137"/>
                </a:cxn>
                <a:cxn ang="0">
                  <a:pos x="81" y="945"/>
                </a:cxn>
                <a:cxn ang="0">
                  <a:pos x="55" y="839"/>
                </a:cxn>
                <a:cxn ang="0">
                  <a:pos x="24" y="677"/>
                </a:cxn>
                <a:cxn ang="0">
                  <a:pos x="136" y="814"/>
                </a:cxn>
                <a:cxn ang="0">
                  <a:pos x="105" y="734"/>
                </a:cxn>
                <a:cxn ang="0">
                  <a:pos x="136" y="622"/>
                </a:cxn>
                <a:cxn ang="0">
                  <a:pos x="162" y="516"/>
                </a:cxn>
                <a:cxn ang="0">
                  <a:pos x="81" y="597"/>
                </a:cxn>
                <a:cxn ang="0">
                  <a:pos x="24" y="597"/>
                </a:cxn>
                <a:cxn ang="0">
                  <a:pos x="193" y="516"/>
                </a:cxn>
                <a:cxn ang="0">
                  <a:pos x="515" y="380"/>
                </a:cxn>
                <a:cxn ang="0">
                  <a:pos x="759" y="187"/>
                </a:cxn>
                <a:cxn ang="0">
                  <a:pos x="1138" y="50"/>
                </a:cxn>
                <a:cxn ang="0">
                  <a:pos x="1274" y="131"/>
                </a:cxn>
                <a:cxn ang="0">
                  <a:pos x="1250" y="218"/>
                </a:cxn>
                <a:cxn ang="0">
                  <a:pos x="1517" y="187"/>
                </a:cxn>
                <a:cxn ang="0">
                  <a:pos x="1468" y="268"/>
                </a:cxn>
                <a:cxn ang="0">
                  <a:pos x="1871" y="162"/>
                </a:cxn>
                <a:cxn ang="0">
                  <a:pos x="2580" y="0"/>
                </a:cxn>
                <a:cxn ang="0">
                  <a:pos x="2879" y="566"/>
                </a:cxn>
                <a:cxn ang="0">
                  <a:pos x="2904" y="814"/>
                </a:cxn>
                <a:cxn ang="0">
                  <a:pos x="2741" y="1031"/>
                </a:cxn>
                <a:cxn ang="0">
                  <a:pos x="2879" y="1081"/>
                </a:cxn>
                <a:cxn ang="0">
                  <a:pos x="2959" y="1354"/>
                </a:cxn>
                <a:cxn ang="0">
                  <a:pos x="3009" y="1491"/>
                </a:cxn>
                <a:cxn ang="0">
                  <a:pos x="3177" y="1627"/>
                </a:cxn>
                <a:cxn ang="0">
                  <a:pos x="3177" y="1733"/>
                </a:cxn>
                <a:cxn ang="0">
                  <a:pos x="3065" y="1926"/>
                </a:cxn>
                <a:cxn ang="0">
                  <a:pos x="2904" y="2143"/>
                </a:cxn>
                <a:cxn ang="0">
                  <a:pos x="2822" y="2410"/>
                </a:cxn>
                <a:cxn ang="0">
                  <a:pos x="2879" y="2603"/>
                </a:cxn>
                <a:cxn ang="0">
                  <a:pos x="2686" y="2603"/>
                </a:cxn>
                <a:cxn ang="0">
                  <a:pos x="2525" y="2522"/>
                </a:cxn>
                <a:cxn ang="0">
                  <a:pos x="2362" y="2546"/>
                </a:cxn>
                <a:cxn ang="0">
                  <a:pos x="2281" y="2603"/>
                </a:cxn>
                <a:cxn ang="0">
                  <a:pos x="2113" y="2572"/>
                </a:cxn>
                <a:cxn ang="0">
                  <a:pos x="2033" y="2683"/>
                </a:cxn>
                <a:cxn ang="0">
                  <a:pos x="1928" y="2652"/>
                </a:cxn>
                <a:cxn ang="0">
                  <a:pos x="1816" y="2522"/>
                </a:cxn>
                <a:cxn ang="0">
                  <a:pos x="1710" y="2627"/>
                </a:cxn>
                <a:cxn ang="0">
                  <a:pos x="1573" y="2491"/>
                </a:cxn>
                <a:cxn ang="0">
                  <a:pos x="1437" y="2385"/>
                </a:cxn>
                <a:cxn ang="0">
                  <a:pos x="1330" y="2354"/>
                </a:cxn>
                <a:cxn ang="0">
                  <a:pos x="1219" y="2329"/>
                </a:cxn>
                <a:cxn ang="0">
                  <a:pos x="1193" y="2249"/>
                </a:cxn>
                <a:cxn ang="0">
                  <a:pos x="1057" y="2192"/>
                </a:cxn>
                <a:cxn ang="0">
                  <a:pos x="1001" y="2249"/>
                </a:cxn>
                <a:cxn ang="0">
                  <a:pos x="975" y="2304"/>
                </a:cxn>
                <a:cxn ang="0">
                  <a:pos x="839" y="2273"/>
                </a:cxn>
                <a:cxn ang="0">
                  <a:pos x="790" y="2168"/>
                </a:cxn>
                <a:cxn ang="0">
                  <a:pos x="733" y="2112"/>
                </a:cxn>
                <a:cxn ang="0">
                  <a:pos x="622" y="2087"/>
                </a:cxn>
                <a:cxn ang="0">
                  <a:pos x="460" y="2056"/>
                </a:cxn>
                <a:cxn ang="0">
                  <a:pos x="354" y="2031"/>
                </a:cxn>
              </a:cxnLst>
              <a:rect l="0" t="0" r="r" b="b"/>
              <a:pathLst>
                <a:path w="3177" h="2683">
                  <a:moveTo>
                    <a:pt x="0" y="597"/>
                  </a:moveTo>
                  <a:lnTo>
                    <a:pt x="0" y="566"/>
                  </a:lnTo>
                  <a:lnTo>
                    <a:pt x="0" y="597"/>
                  </a:lnTo>
                  <a:lnTo>
                    <a:pt x="24" y="597"/>
                  </a:lnTo>
                  <a:lnTo>
                    <a:pt x="24" y="622"/>
                  </a:lnTo>
                  <a:lnTo>
                    <a:pt x="55" y="622"/>
                  </a:lnTo>
                  <a:lnTo>
                    <a:pt x="24" y="622"/>
                  </a:lnTo>
                  <a:lnTo>
                    <a:pt x="0" y="622"/>
                  </a:lnTo>
                  <a:lnTo>
                    <a:pt x="0" y="597"/>
                  </a:lnTo>
                  <a:close/>
                  <a:moveTo>
                    <a:pt x="299" y="2031"/>
                  </a:moveTo>
                  <a:lnTo>
                    <a:pt x="323" y="2007"/>
                  </a:lnTo>
                  <a:lnTo>
                    <a:pt x="323" y="1976"/>
                  </a:lnTo>
                  <a:lnTo>
                    <a:pt x="323" y="1950"/>
                  </a:lnTo>
                  <a:lnTo>
                    <a:pt x="323" y="1926"/>
                  </a:lnTo>
                  <a:lnTo>
                    <a:pt x="323" y="1895"/>
                  </a:lnTo>
                  <a:lnTo>
                    <a:pt x="323" y="1869"/>
                  </a:lnTo>
                  <a:lnTo>
                    <a:pt x="354" y="1869"/>
                  </a:lnTo>
                  <a:lnTo>
                    <a:pt x="323" y="1869"/>
                  </a:lnTo>
                  <a:lnTo>
                    <a:pt x="323" y="1845"/>
                  </a:lnTo>
                  <a:lnTo>
                    <a:pt x="354" y="1845"/>
                  </a:lnTo>
                  <a:lnTo>
                    <a:pt x="323" y="1845"/>
                  </a:lnTo>
                  <a:lnTo>
                    <a:pt x="323" y="1814"/>
                  </a:lnTo>
                  <a:lnTo>
                    <a:pt x="323" y="1789"/>
                  </a:lnTo>
                  <a:lnTo>
                    <a:pt x="299" y="1789"/>
                  </a:lnTo>
                  <a:lnTo>
                    <a:pt x="323" y="1789"/>
                  </a:lnTo>
                  <a:lnTo>
                    <a:pt x="299" y="1789"/>
                  </a:lnTo>
                  <a:lnTo>
                    <a:pt x="299" y="1758"/>
                  </a:lnTo>
                  <a:lnTo>
                    <a:pt x="299" y="1733"/>
                  </a:lnTo>
                  <a:lnTo>
                    <a:pt x="273" y="1733"/>
                  </a:lnTo>
                  <a:lnTo>
                    <a:pt x="242" y="1733"/>
                  </a:lnTo>
                  <a:lnTo>
                    <a:pt x="217" y="1708"/>
                  </a:lnTo>
                  <a:lnTo>
                    <a:pt x="242" y="1708"/>
                  </a:lnTo>
                  <a:lnTo>
                    <a:pt x="242" y="1677"/>
                  </a:lnTo>
                  <a:lnTo>
                    <a:pt x="242" y="1653"/>
                  </a:lnTo>
                  <a:lnTo>
                    <a:pt x="217" y="1653"/>
                  </a:lnTo>
                  <a:lnTo>
                    <a:pt x="217" y="1627"/>
                  </a:lnTo>
                  <a:lnTo>
                    <a:pt x="193" y="1596"/>
                  </a:lnTo>
                  <a:lnTo>
                    <a:pt x="193" y="1572"/>
                  </a:lnTo>
                  <a:lnTo>
                    <a:pt x="217" y="1547"/>
                  </a:lnTo>
                  <a:lnTo>
                    <a:pt x="217" y="1516"/>
                  </a:lnTo>
                  <a:lnTo>
                    <a:pt x="217" y="1491"/>
                  </a:lnTo>
                  <a:lnTo>
                    <a:pt x="217" y="1460"/>
                  </a:lnTo>
                  <a:lnTo>
                    <a:pt x="193" y="1460"/>
                  </a:lnTo>
                  <a:lnTo>
                    <a:pt x="193" y="1435"/>
                  </a:lnTo>
                  <a:lnTo>
                    <a:pt x="193" y="1410"/>
                  </a:lnTo>
                  <a:lnTo>
                    <a:pt x="217" y="1380"/>
                  </a:lnTo>
                  <a:lnTo>
                    <a:pt x="193" y="1380"/>
                  </a:lnTo>
                  <a:lnTo>
                    <a:pt x="162" y="1380"/>
                  </a:lnTo>
                  <a:lnTo>
                    <a:pt x="162" y="1354"/>
                  </a:lnTo>
                  <a:lnTo>
                    <a:pt x="162" y="1330"/>
                  </a:lnTo>
                  <a:lnTo>
                    <a:pt x="136" y="1299"/>
                  </a:lnTo>
                  <a:lnTo>
                    <a:pt x="162" y="1273"/>
                  </a:lnTo>
                  <a:lnTo>
                    <a:pt x="162" y="1242"/>
                  </a:lnTo>
                  <a:lnTo>
                    <a:pt x="162" y="1218"/>
                  </a:lnTo>
                  <a:lnTo>
                    <a:pt x="105" y="1193"/>
                  </a:lnTo>
                  <a:lnTo>
                    <a:pt x="81" y="1137"/>
                  </a:lnTo>
                  <a:lnTo>
                    <a:pt x="24" y="1112"/>
                  </a:lnTo>
                  <a:lnTo>
                    <a:pt x="0" y="1112"/>
                  </a:lnTo>
                  <a:lnTo>
                    <a:pt x="0" y="1081"/>
                  </a:lnTo>
                  <a:lnTo>
                    <a:pt x="0" y="1057"/>
                  </a:lnTo>
                  <a:lnTo>
                    <a:pt x="55" y="1031"/>
                  </a:lnTo>
                  <a:lnTo>
                    <a:pt x="55" y="1000"/>
                  </a:lnTo>
                  <a:lnTo>
                    <a:pt x="81" y="945"/>
                  </a:lnTo>
                  <a:lnTo>
                    <a:pt x="55" y="945"/>
                  </a:lnTo>
                  <a:lnTo>
                    <a:pt x="55" y="919"/>
                  </a:lnTo>
                  <a:lnTo>
                    <a:pt x="81" y="919"/>
                  </a:lnTo>
                  <a:lnTo>
                    <a:pt x="81" y="895"/>
                  </a:lnTo>
                  <a:lnTo>
                    <a:pt x="81" y="864"/>
                  </a:lnTo>
                  <a:lnTo>
                    <a:pt x="55" y="864"/>
                  </a:lnTo>
                  <a:lnTo>
                    <a:pt x="55" y="839"/>
                  </a:lnTo>
                  <a:lnTo>
                    <a:pt x="55" y="814"/>
                  </a:lnTo>
                  <a:lnTo>
                    <a:pt x="55" y="783"/>
                  </a:lnTo>
                  <a:lnTo>
                    <a:pt x="24" y="783"/>
                  </a:lnTo>
                  <a:lnTo>
                    <a:pt x="24" y="758"/>
                  </a:lnTo>
                  <a:lnTo>
                    <a:pt x="24" y="734"/>
                  </a:lnTo>
                  <a:lnTo>
                    <a:pt x="24" y="703"/>
                  </a:lnTo>
                  <a:lnTo>
                    <a:pt x="24" y="677"/>
                  </a:lnTo>
                  <a:lnTo>
                    <a:pt x="55" y="677"/>
                  </a:lnTo>
                  <a:lnTo>
                    <a:pt x="55" y="703"/>
                  </a:lnTo>
                  <a:lnTo>
                    <a:pt x="81" y="703"/>
                  </a:lnTo>
                  <a:lnTo>
                    <a:pt x="105" y="703"/>
                  </a:lnTo>
                  <a:lnTo>
                    <a:pt x="136" y="758"/>
                  </a:lnTo>
                  <a:lnTo>
                    <a:pt x="136" y="783"/>
                  </a:lnTo>
                  <a:lnTo>
                    <a:pt x="136" y="814"/>
                  </a:lnTo>
                  <a:lnTo>
                    <a:pt x="136" y="839"/>
                  </a:lnTo>
                  <a:lnTo>
                    <a:pt x="162" y="814"/>
                  </a:lnTo>
                  <a:lnTo>
                    <a:pt x="136" y="814"/>
                  </a:lnTo>
                  <a:lnTo>
                    <a:pt x="162" y="814"/>
                  </a:lnTo>
                  <a:lnTo>
                    <a:pt x="162" y="783"/>
                  </a:lnTo>
                  <a:lnTo>
                    <a:pt x="136" y="758"/>
                  </a:lnTo>
                  <a:lnTo>
                    <a:pt x="105" y="734"/>
                  </a:lnTo>
                  <a:lnTo>
                    <a:pt x="136" y="703"/>
                  </a:lnTo>
                  <a:lnTo>
                    <a:pt x="105" y="703"/>
                  </a:lnTo>
                  <a:lnTo>
                    <a:pt x="105" y="677"/>
                  </a:lnTo>
                  <a:lnTo>
                    <a:pt x="105" y="646"/>
                  </a:lnTo>
                  <a:lnTo>
                    <a:pt x="136" y="646"/>
                  </a:lnTo>
                  <a:lnTo>
                    <a:pt x="105" y="622"/>
                  </a:lnTo>
                  <a:lnTo>
                    <a:pt x="136" y="622"/>
                  </a:lnTo>
                  <a:lnTo>
                    <a:pt x="136" y="597"/>
                  </a:lnTo>
                  <a:lnTo>
                    <a:pt x="136" y="566"/>
                  </a:lnTo>
                  <a:lnTo>
                    <a:pt x="162" y="566"/>
                  </a:lnTo>
                  <a:lnTo>
                    <a:pt x="136" y="566"/>
                  </a:lnTo>
                  <a:lnTo>
                    <a:pt x="136" y="541"/>
                  </a:lnTo>
                  <a:lnTo>
                    <a:pt x="162" y="541"/>
                  </a:lnTo>
                  <a:lnTo>
                    <a:pt x="162" y="516"/>
                  </a:lnTo>
                  <a:lnTo>
                    <a:pt x="162" y="541"/>
                  </a:lnTo>
                  <a:lnTo>
                    <a:pt x="136" y="541"/>
                  </a:lnTo>
                  <a:lnTo>
                    <a:pt x="136" y="566"/>
                  </a:lnTo>
                  <a:lnTo>
                    <a:pt x="136" y="597"/>
                  </a:lnTo>
                  <a:lnTo>
                    <a:pt x="105" y="597"/>
                  </a:lnTo>
                  <a:lnTo>
                    <a:pt x="105" y="622"/>
                  </a:lnTo>
                  <a:lnTo>
                    <a:pt x="81" y="597"/>
                  </a:lnTo>
                  <a:lnTo>
                    <a:pt x="55" y="622"/>
                  </a:lnTo>
                  <a:lnTo>
                    <a:pt x="55" y="597"/>
                  </a:lnTo>
                  <a:lnTo>
                    <a:pt x="55" y="622"/>
                  </a:lnTo>
                  <a:lnTo>
                    <a:pt x="55" y="597"/>
                  </a:lnTo>
                  <a:lnTo>
                    <a:pt x="24" y="597"/>
                  </a:lnTo>
                  <a:lnTo>
                    <a:pt x="24" y="622"/>
                  </a:lnTo>
                  <a:lnTo>
                    <a:pt x="24" y="597"/>
                  </a:lnTo>
                  <a:lnTo>
                    <a:pt x="55" y="597"/>
                  </a:lnTo>
                  <a:lnTo>
                    <a:pt x="81" y="566"/>
                  </a:lnTo>
                  <a:lnTo>
                    <a:pt x="105" y="541"/>
                  </a:lnTo>
                  <a:lnTo>
                    <a:pt x="136" y="541"/>
                  </a:lnTo>
                  <a:lnTo>
                    <a:pt x="162" y="541"/>
                  </a:lnTo>
                  <a:lnTo>
                    <a:pt x="162" y="516"/>
                  </a:lnTo>
                  <a:lnTo>
                    <a:pt x="193" y="516"/>
                  </a:lnTo>
                  <a:lnTo>
                    <a:pt x="242" y="485"/>
                  </a:lnTo>
                  <a:lnTo>
                    <a:pt x="323" y="461"/>
                  </a:lnTo>
                  <a:lnTo>
                    <a:pt x="354" y="461"/>
                  </a:lnTo>
                  <a:lnTo>
                    <a:pt x="379" y="435"/>
                  </a:lnTo>
                  <a:lnTo>
                    <a:pt x="404" y="435"/>
                  </a:lnTo>
                  <a:lnTo>
                    <a:pt x="460" y="404"/>
                  </a:lnTo>
                  <a:lnTo>
                    <a:pt x="515" y="380"/>
                  </a:lnTo>
                  <a:lnTo>
                    <a:pt x="541" y="380"/>
                  </a:lnTo>
                  <a:lnTo>
                    <a:pt x="596" y="349"/>
                  </a:lnTo>
                  <a:lnTo>
                    <a:pt x="596" y="299"/>
                  </a:lnTo>
                  <a:lnTo>
                    <a:pt x="622" y="268"/>
                  </a:lnTo>
                  <a:lnTo>
                    <a:pt x="653" y="243"/>
                  </a:lnTo>
                  <a:lnTo>
                    <a:pt x="702" y="218"/>
                  </a:lnTo>
                  <a:lnTo>
                    <a:pt x="759" y="187"/>
                  </a:lnTo>
                  <a:lnTo>
                    <a:pt x="814" y="131"/>
                  </a:lnTo>
                  <a:lnTo>
                    <a:pt x="920" y="81"/>
                  </a:lnTo>
                  <a:lnTo>
                    <a:pt x="975" y="81"/>
                  </a:lnTo>
                  <a:lnTo>
                    <a:pt x="1001" y="81"/>
                  </a:lnTo>
                  <a:lnTo>
                    <a:pt x="1057" y="50"/>
                  </a:lnTo>
                  <a:lnTo>
                    <a:pt x="1113" y="50"/>
                  </a:lnTo>
                  <a:lnTo>
                    <a:pt x="1138" y="50"/>
                  </a:lnTo>
                  <a:lnTo>
                    <a:pt x="1193" y="50"/>
                  </a:lnTo>
                  <a:lnTo>
                    <a:pt x="1219" y="50"/>
                  </a:lnTo>
                  <a:lnTo>
                    <a:pt x="1250" y="81"/>
                  </a:lnTo>
                  <a:lnTo>
                    <a:pt x="1274" y="107"/>
                  </a:lnTo>
                  <a:lnTo>
                    <a:pt x="1299" y="107"/>
                  </a:lnTo>
                  <a:lnTo>
                    <a:pt x="1299" y="131"/>
                  </a:lnTo>
                  <a:lnTo>
                    <a:pt x="1274" y="131"/>
                  </a:lnTo>
                  <a:lnTo>
                    <a:pt x="1274" y="107"/>
                  </a:lnTo>
                  <a:lnTo>
                    <a:pt x="1219" y="81"/>
                  </a:lnTo>
                  <a:lnTo>
                    <a:pt x="1193" y="81"/>
                  </a:lnTo>
                  <a:lnTo>
                    <a:pt x="1193" y="107"/>
                  </a:lnTo>
                  <a:lnTo>
                    <a:pt x="1219" y="131"/>
                  </a:lnTo>
                  <a:lnTo>
                    <a:pt x="1219" y="162"/>
                  </a:lnTo>
                  <a:lnTo>
                    <a:pt x="1250" y="218"/>
                  </a:lnTo>
                  <a:lnTo>
                    <a:pt x="1274" y="243"/>
                  </a:lnTo>
                  <a:lnTo>
                    <a:pt x="1330" y="243"/>
                  </a:lnTo>
                  <a:lnTo>
                    <a:pt x="1355" y="243"/>
                  </a:lnTo>
                  <a:lnTo>
                    <a:pt x="1387" y="243"/>
                  </a:lnTo>
                  <a:lnTo>
                    <a:pt x="1437" y="218"/>
                  </a:lnTo>
                  <a:lnTo>
                    <a:pt x="1492" y="218"/>
                  </a:lnTo>
                  <a:lnTo>
                    <a:pt x="1517" y="187"/>
                  </a:lnTo>
                  <a:lnTo>
                    <a:pt x="1517" y="162"/>
                  </a:lnTo>
                  <a:lnTo>
                    <a:pt x="1548" y="162"/>
                  </a:lnTo>
                  <a:lnTo>
                    <a:pt x="1548" y="187"/>
                  </a:lnTo>
                  <a:lnTo>
                    <a:pt x="1517" y="218"/>
                  </a:lnTo>
                  <a:lnTo>
                    <a:pt x="1492" y="243"/>
                  </a:lnTo>
                  <a:lnTo>
                    <a:pt x="1437" y="243"/>
                  </a:lnTo>
                  <a:lnTo>
                    <a:pt x="1468" y="268"/>
                  </a:lnTo>
                  <a:lnTo>
                    <a:pt x="1492" y="268"/>
                  </a:lnTo>
                  <a:lnTo>
                    <a:pt x="1517" y="243"/>
                  </a:lnTo>
                  <a:lnTo>
                    <a:pt x="1548" y="218"/>
                  </a:lnTo>
                  <a:lnTo>
                    <a:pt x="1573" y="218"/>
                  </a:lnTo>
                  <a:lnTo>
                    <a:pt x="1604" y="162"/>
                  </a:lnTo>
                  <a:lnTo>
                    <a:pt x="1734" y="162"/>
                  </a:lnTo>
                  <a:lnTo>
                    <a:pt x="1871" y="162"/>
                  </a:lnTo>
                  <a:lnTo>
                    <a:pt x="2033" y="162"/>
                  </a:lnTo>
                  <a:lnTo>
                    <a:pt x="2113" y="131"/>
                  </a:lnTo>
                  <a:lnTo>
                    <a:pt x="2307" y="107"/>
                  </a:lnTo>
                  <a:lnTo>
                    <a:pt x="2412" y="50"/>
                  </a:lnTo>
                  <a:lnTo>
                    <a:pt x="2443" y="0"/>
                  </a:lnTo>
                  <a:lnTo>
                    <a:pt x="2499" y="0"/>
                  </a:lnTo>
                  <a:lnTo>
                    <a:pt x="2580" y="0"/>
                  </a:lnTo>
                  <a:lnTo>
                    <a:pt x="2630" y="81"/>
                  </a:lnTo>
                  <a:lnTo>
                    <a:pt x="2630" y="131"/>
                  </a:lnTo>
                  <a:lnTo>
                    <a:pt x="2661" y="187"/>
                  </a:lnTo>
                  <a:lnTo>
                    <a:pt x="2741" y="349"/>
                  </a:lnTo>
                  <a:lnTo>
                    <a:pt x="2798" y="435"/>
                  </a:lnTo>
                  <a:lnTo>
                    <a:pt x="2822" y="516"/>
                  </a:lnTo>
                  <a:lnTo>
                    <a:pt x="2879" y="566"/>
                  </a:lnTo>
                  <a:lnTo>
                    <a:pt x="2879" y="622"/>
                  </a:lnTo>
                  <a:lnTo>
                    <a:pt x="2904" y="646"/>
                  </a:lnTo>
                  <a:lnTo>
                    <a:pt x="2904" y="677"/>
                  </a:lnTo>
                  <a:lnTo>
                    <a:pt x="2928" y="734"/>
                  </a:lnTo>
                  <a:lnTo>
                    <a:pt x="2928" y="758"/>
                  </a:lnTo>
                  <a:lnTo>
                    <a:pt x="2928" y="814"/>
                  </a:lnTo>
                  <a:lnTo>
                    <a:pt x="2904" y="814"/>
                  </a:lnTo>
                  <a:lnTo>
                    <a:pt x="2904" y="839"/>
                  </a:lnTo>
                  <a:lnTo>
                    <a:pt x="2848" y="864"/>
                  </a:lnTo>
                  <a:lnTo>
                    <a:pt x="2822" y="864"/>
                  </a:lnTo>
                  <a:lnTo>
                    <a:pt x="2798" y="919"/>
                  </a:lnTo>
                  <a:lnTo>
                    <a:pt x="2767" y="976"/>
                  </a:lnTo>
                  <a:lnTo>
                    <a:pt x="2767" y="1000"/>
                  </a:lnTo>
                  <a:lnTo>
                    <a:pt x="2741" y="1031"/>
                  </a:lnTo>
                  <a:lnTo>
                    <a:pt x="2767" y="1031"/>
                  </a:lnTo>
                  <a:lnTo>
                    <a:pt x="2767" y="1057"/>
                  </a:lnTo>
                  <a:lnTo>
                    <a:pt x="2798" y="1057"/>
                  </a:lnTo>
                  <a:lnTo>
                    <a:pt x="2822" y="1057"/>
                  </a:lnTo>
                  <a:lnTo>
                    <a:pt x="2848" y="1057"/>
                  </a:lnTo>
                  <a:lnTo>
                    <a:pt x="2879" y="1057"/>
                  </a:lnTo>
                  <a:lnTo>
                    <a:pt x="2879" y="1081"/>
                  </a:lnTo>
                  <a:lnTo>
                    <a:pt x="2904" y="1081"/>
                  </a:lnTo>
                  <a:lnTo>
                    <a:pt x="2928" y="1112"/>
                  </a:lnTo>
                  <a:lnTo>
                    <a:pt x="2928" y="1137"/>
                  </a:lnTo>
                  <a:lnTo>
                    <a:pt x="2928" y="1193"/>
                  </a:lnTo>
                  <a:lnTo>
                    <a:pt x="2904" y="1273"/>
                  </a:lnTo>
                  <a:lnTo>
                    <a:pt x="2928" y="1354"/>
                  </a:lnTo>
                  <a:lnTo>
                    <a:pt x="2959" y="1354"/>
                  </a:lnTo>
                  <a:lnTo>
                    <a:pt x="2959" y="1380"/>
                  </a:lnTo>
                  <a:lnTo>
                    <a:pt x="2985" y="1380"/>
                  </a:lnTo>
                  <a:lnTo>
                    <a:pt x="2985" y="1410"/>
                  </a:lnTo>
                  <a:lnTo>
                    <a:pt x="2985" y="1435"/>
                  </a:lnTo>
                  <a:lnTo>
                    <a:pt x="2985" y="1460"/>
                  </a:lnTo>
                  <a:lnTo>
                    <a:pt x="3009" y="1460"/>
                  </a:lnTo>
                  <a:lnTo>
                    <a:pt x="3009" y="1491"/>
                  </a:lnTo>
                  <a:lnTo>
                    <a:pt x="3065" y="1516"/>
                  </a:lnTo>
                  <a:lnTo>
                    <a:pt x="3065" y="1547"/>
                  </a:lnTo>
                  <a:lnTo>
                    <a:pt x="3096" y="1547"/>
                  </a:lnTo>
                  <a:lnTo>
                    <a:pt x="3096" y="1596"/>
                  </a:lnTo>
                  <a:lnTo>
                    <a:pt x="3121" y="1627"/>
                  </a:lnTo>
                  <a:lnTo>
                    <a:pt x="3146" y="1627"/>
                  </a:lnTo>
                  <a:lnTo>
                    <a:pt x="3177" y="1627"/>
                  </a:lnTo>
                  <a:lnTo>
                    <a:pt x="3177" y="1653"/>
                  </a:lnTo>
                  <a:lnTo>
                    <a:pt x="3146" y="1653"/>
                  </a:lnTo>
                  <a:lnTo>
                    <a:pt x="3121" y="1677"/>
                  </a:lnTo>
                  <a:lnTo>
                    <a:pt x="3146" y="1677"/>
                  </a:lnTo>
                  <a:lnTo>
                    <a:pt x="3146" y="1708"/>
                  </a:lnTo>
                  <a:lnTo>
                    <a:pt x="3177" y="1708"/>
                  </a:lnTo>
                  <a:lnTo>
                    <a:pt x="3177" y="1733"/>
                  </a:lnTo>
                  <a:lnTo>
                    <a:pt x="3177" y="1758"/>
                  </a:lnTo>
                  <a:lnTo>
                    <a:pt x="3177" y="1814"/>
                  </a:lnTo>
                  <a:lnTo>
                    <a:pt x="3177" y="1845"/>
                  </a:lnTo>
                  <a:lnTo>
                    <a:pt x="3177" y="1869"/>
                  </a:lnTo>
                  <a:lnTo>
                    <a:pt x="3121" y="1869"/>
                  </a:lnTo>
                  <a:lnTo>
                    <a:pt x="3096" y="1895"/>
                  </a:lnTo>
                  <a:lnTo>
                    <a:pt x="3065" y="1926"/>
                  </a:lnTo>
                  <a:lnTo>
                    <a:pt x="3040" y="1950"/>
                  </a:lnTo>
                  <a:lnTo>
                    <a:pt x="3009" y="1976"/>
                  </a:lnTo>
                  <a:lnTo>
                    <a:pt x="2985" y="2056"/>
                  </a:lnTo>
                  <a:lnTo>
                    <a:pt x="2959" y="2056"/>
                  </a:lnTo>
                  <a:lnTo>
                    <a:pt x="2959" y="2087"/>
                  </a:lnTo>
                  <a:lnTo>
                    <a:pt x="2928" y="2112"/>
                  </a:lnTo>
                  <a:lnTo>
                    <a:pt x="2904" y="2143"/>
                  </a:lnTo>
                  <a:lnTo>
                    <a:pt x="2904" y="2168"/>
                  </a:lnTo>
                  <a:lnTo>
                    <a:pt x="2848" y="2273"/>
                  </a:lnTo>
                  <a:lnTo>
                    <a:pt x="2822" y="2304"/>
                  </a:lnTo>
                  <a:lnTo>
                    <a:pt x="2822" y="2329"/>
                  </a:lnTo>
                  <a:lnTo>
                    <a:pt x="2822" y="2354"/>
                  </a:lnTo>
                  <a:lnTo>
                    <a:pt x="2822" y="2385"/>
                  </a:lnTo>
                  <a:lnTo>
                    <a:pt x="2822" y="2410"/>
                  </a:lnTo>
                  <a:lnTo>
                    <a:pt x="2848" y="2441"/>
                  </a:lnTo>
                  <a:lnTo>
                    <a:pt x="2879" y="2491"/>
                  </a:lnTo>
                  <a:lnTo>
                    <a:pt x="2848" y="2546"/>
                  </a:lnTo>
                  <a:lnTo>
                    <a:pt x="2879" y="2546"/>
                  </a:lnTo>
                  <a:lnTo>
                    <a:pt x="2904" y="2572"/>
                  </a:lnTo>
                  <a:lnTo>
                    <a:pt x="2928" y="2627"/>
                  </a:lnTo>
                  <a:lnTo>
                    <a:pt x="2879" y="2603"/>
                  </a:lnTo>
                  <a:lnTo>
                    <a:pt x="2848" y="2627"/>
                  </a:lnTo>
                  <a:lnTo>
                    <a:pt x="2848" y="2603"/>
                  </a:lnTo>
                  <a:lnTo>
                    <a:pt x="2822" y="2603"/>
                  </a:lnTo>
                  <a:lnTo>
                    <a:pt x="2798" y="2603"/>
                  </a:lnTo>
                  <a:lnTo>
                    <a:pt x="2741" y="2603"/>
                  </a:lnTo>
                  <a:lnTo>
                    <a:pt x="2710" y="2603"/>
                  </a:lnTo>
                  <a:lnTo>
                    <a:pt x="2686" y="2603"/>
                  </a:lnTo>
                  <a:lnTo>
                    <a:pt x="2686" y="2572"/>
                  </a:lnTo>
                  <a:lnTo>
                    <a:pt x="2686" y="2603"/>
                  </a:lnTo>
                  <a:lnTo>
                    <a:pt x="2630" y="2572"/>
                  </a:lnTo>
                  <a:lnTo>
                    <a:pt x="2630" y="2546"/>
                  </a:lnTo>
                  <a:lnTo>
                    <a:pt x="2580" y="2522"/>
                  </a:lnTo>
                  <a:lnTo>
                    <a:pt x="2549" y="2522"/>
                  </a:lnTo>
                  <a:lnTo>
                    <a:pt x="2525" y="2522"/>
                  </a:lnTo>
                  <a:lnTo>
                    <a:pt x="2499" y="2491"/>
                  </a:lnTo>
                  <a:lnTo>
                    <a:pt x="2443" y="2491"/>
                  </a:lnTo>
                  <a:lnTo>
                    <a:pt x="2443" y="2522"/>
                  </a:lnTo>
                  <a:lnTo>
                    <a:pt x="2412" y="2522"/>
                  </a:lnTo>
                  <a:lnTo>
                    <a:pt x="2388" y="2491"/>
                  </a:lnTo>
                  <a:lnTo>
                    <a:pt x="2362" y="2522"/>
                  </a:lnTo>
                  <a:lnTo>
                    <a:pt x="2362" y="2546"/>
                  </a:lnTo>
                  <a:lnTo>
                    <a:pt x="2331" y="2522"/>
                  </a:lnTo>
                  <a:lnTo>
                    <a:pt x="2307" y="2546"/>
                  </a:lnTo>
                  <a:lnTo>
                    <a:pt x="2331" y="2546"/>
                  </a:lnTo>
                  <a:lnTo>
                    <a:pt x="2307" y="2546"/>
                  </a:lnTo>
                  <a:lnTo>
                    <a:pt x="2307" y="2572"/>
                  </a:lnTo>
                  <a:lnTo>
                    <a:pt x="2307" y="2603"/>
                  </a:lnTo>
                  <a:lnTo>
                    <a:pt x="2281" y="2603"/>
                  </a:lnTo>
                  <a:lnTo>
                    <a:pt x="2250" y="2572"/>
                  </a:lnTo>
                  <a:lnTo>
                    <a:pt x="2226" y="2572"/>
                  </a:lnTo>
                  <a:lnTo>
                    <a:pt x="2226" y="2546"/>
                  </a:lnTo>
                  <a:lnTo>
                    <a:pt x="2201" y="2546"/>
                  </a:lnTo>
                  <a:lnTo>
                    <a:pt x="2170" y="2546"/>
                  </a:lnTo>
                  <a:lnTo>
                    <a:pt x="2170" y="2572"/>
                  </a:lnTo>
                  <a:lnTo>
                    <a:pt x="2113" y="2572"/>
                  </a:lnTo>
                  <a:lnTo>
                    <a:pt x="2089" y="2572"/>
                  </a:lnTo>
                  <a:lnTo>
                    <a:pt x="2089" y="2603"/>
                  </a:lnTo>
                  <a:lnTo>
                    <a:pt x="2064" y="2603"/>
                  </a:lnTo>
                  <a:lnTo>
                    <a:pt x="2033" y="2627"/>
                  </a:lnTo>
                  <a:lnTo>
                    <a:pt x="2064" y="2627"/>
                  </a:lnTo>
                  <a:lnTo>
                    <a:pt x="2033" y="2627"/>
                  </a:lnTo>
                  <a:lnTo>
                    <a:pt x="2033" y="2683"/>
                  </a:lnTo>
                  <a:lnTo>
                    <a:pt x="2008" y="2683"/>
                  </a:lnTo>
                  <a:lnTo>
                    <a:pt x="1983" y="2683"/>
                  </a:lnTo>
                  <a:lnTo>
                    <a:pt x="1952" y="2683"/>
                  </a:lnTo>
                  <a:lnTo>
                    <a:pt x="1928" y="2683"/>
                  </a:lnTo>
                  <a:lnTo>
                    <a:pt x="1928" y="2652"/>
                  </a:lnTo>
                  <a:lnTo>
                    <a:pt x="1952" y="2652"/>
                  </a:lnTo>
                  <a:lnTo>
                    <a:pt x="1928" y="2652"/>
                  </a:lnTo>
                  <a:lnTo>
                    <a:pt x="1928" y="2627"/>
                  </a:lnTo>
                  <a:lnTo>
                    <a:pt x="1928" y="2603"/>
                  </a:lnTo>
                  <a:lnTo>
                    <a:pt x="1902" y="2603"/>
                  </a:lnTo>
                  <a:lnTo>
                    <a:pt x="1871" y="2603"/>
                  </a:lnTo>
                  <a:lnTo>
                    <a:pt x="1871" y="2572"/>
                  </a:lnTo>
                  <a:lnTo>
                    <a:pt x="1847" y="2546"/>
                  </a:lnTo>
                  <a:lnTo>
                    <a:pt x="1816" y="2522"/>
                  </a:lnTo>
                  <a:lnTo>
                    <a:pt x="1790" y="2522"/>
                  </a:lnTo>
                  <a:lnTo>
                    <a:pt x="1790" y="2546"/>
                  </a:lnTo>
                  <a:lnTo>
                    <a:pt x="1766" y="2546"/>
                  </a:lnTo>
                  <a:lnTo>
                    <a:pt x="1766" y="2603"/>
                  </a:lnTo>
                  <a:lnTo>
                    <a:pt x="1734" y="2603"/>
                  </a:lnTo>
                  <a:lnTo>
                    <a:pt x="1734" y="2627"/>
                  </a:lnTo>
                  <a:lnTo>
                    <a:pt x="1710" y="2627"/>
                  </a:lnTo>
                  <a:lnTo>
                    <a:pt x="1684" y="2627"/>
                  </a:lnTo>
                  <a:lnTo>
                    <a:pt x="1653" y="2603"/>
                  </a:lnTo>
                  <a:lnTo>
                    <a:pt x="1653" y="2572"/>
                  </a:lnTo>
                  <a:lnTo>
                    <a:pt x="1629" y="2572"/>
                  </a:lnTo>
                  <a:lnTo>
                    <a:pt x="1629" y="2546"/>
                  </a:lnTo>
                  <a:lnTo>
                    <a:pt x="1604" y="2491"/>
                  </a:lnTo>
                  <a:lnTo>
                    <a:pt x="1573" y="2491"/>
                  </a:lnTo>
                  <a:lnTo>
                    <a:pt x="1548" y="2491"/>
                  </a:lnTo>
                  <a:lnTo>
                    <a:pt x="1517" y="2441"/>
                  </a:lnTo>
                  <a:lnTo>
                    <a:pt x="1517" y="2410"/>
                  </a:lnTo>
                  <a:lnTo>
                    <a:pt x="1517" y="2385"/>
                  </a:lnTo>
                  <a:lnTo>
                    <a:pt x="1517" y="2410"/>
                  </a:lnTo>
                  <a:lnTo>
                    <a:pt x="1468" y="2385"/>
                  </a:lnTo>
                  <a:lnTo>
                    <a:pt x="1437" y="2385"/>
                  </a:lnTo>
                  <a:lnTo>
                    <a:pt x="1411" y="2385"/>
                  </a:lnTo>
                  <a:lnTo>
                    <a:pt x="1411" y="2354"/>
                  </a:lnTo>
                  <a:lnTo>
                    <a:pt x="1387" y="2354"/>
                  </a:lnTo>
                  <a:lnTo>
                    <a:pt x="1387" y="2385"/>
                  </a:lnTo>
                  <a:lnTo>
                    <a:pt x="1355" y="2354"/>
                  </a:lnTo>
                  <a:lnTo>
                    <a:pt x="1330" y="2329"/>
                  </a:lnTo>
                  <a:lnTo>
                    <a:pt x="1330" y="2354"/>
                  </a:lnTo>
                  <a:lnTo>
                    <a:pt x="1355" y="2354"/>
                  </a:lnTo>
                  <a:lnTo>
                    <a:pt x="1330" y="2354"/>
                  </a:lnTo>
                  <a:lnTo>
                    <a:pt x="1299" y="2385"/>
                  </a:lnTo>
                  <a:lnTo>
                    <a:pt x="1274" y="2385"/>
                  </a:lnTo>
                  <a:lnTo>
                    <a:pt x="1274" y="2354"/>
                  </a:lnTo>
                  <a:lnTo>
                    <a:pt x="1250" y="2329"/>
                  </a:lnTo>
                  <a:lnTo>
                    <a:pt x="1219" y="2329"/>
                  </a:lnTo>
                  <a:lnTo>
                    <a:pt x="1193" y="2304"/>
                  </a:lnTo>
                  <a:lnTo>
                    <a:pt x="1219" y="2304"/>
                  </a:lnTo>
                  <a:lnTo>
                    <a:pt x="1250" y="2249"/>
                  </a:lnTo>
                  <a:lnTo>
                    <a:pt x="1250" y="2223"/>
                  </a:lnTo>
                  <a:lnTo>
                    <a:pt x="1219" y="2223"/>
                  </a:lnTo>
                  <a:lnTo>
                    <a:pt x="1219" y="2249"/>
                  </a:lnTo>
                  <a:lnTo>
                    <a:pt x="1193" y="2249"/>
                  </a:lnTo>
                  <a:lnTo>
                    <a:pt x="1169" y="2249"/>
                  </a:lnTo>
                  <a:lnTo>
                    <a:pt x="1138" y="2273"/>
                  </a:lnTo>
                  <a:lnTo>
                    <a:pt x="1138" y="2249"/>
                  </a:lnTo>
                  <a:lnTo>
                    <a:pt x="1138" y="2273"/>
                  </a:lnTo>
                  <a:lnTo>
                    <a:pt x="1113" y="2249"/>
                  </a:lnTo>
                  <a:lnTo>
                    <a:pt x="1088" y="2223"/>
                  </a:lnTo>
                  <a:lnTo>
                    <a:pt x="1057" y="2192"/>
                  </a:lnTo>
                  <a:lnTo>
                    <a:pt x="1057" y="2223"/>
                  </a:lnTo>
                  <a:lnTo>
                    <a:pt x="1032" y="2223"/>
                  </a:lnTo>
                  <a:lnTo>
                    <a:pt x="1032" y="2192"/>
                  </a:lnTo>
                  <a:lnTo>
                    <a:pt x="1001" y="2192"/>
                  </a:lnTo>
                  <a:lnTo>
                    <a:pt x="975" y="2192"/>
                  </a:lnTo>
                  <a:lnTo>
                    <a:pt x="975" y="2223"/>
                  </a:lnTo>
                  <a:lnTo>
                    <a:pt x="1001" y="2249"/>
                  </a:lnTo>
                  <a:lnTo>
                    <a:pt x="1032" y="2273"/>
                  </a:lnTo>
                  <a:lnTo>
                    <a:pt x="1001" y="2273"/>
                  </a:lnTo>
                  <a:lnTo>
                    <a:pt x="1032" y="2304"/>
                  </a:lnTo>
                  <a:lnTo>
                    <a:pt x="1001" y="2304"/>
                  </a:lnTo>
                  <a:lnTo>
                    <a:pt x="1001" y="2273"/>
                  </a:lnTo>
                  <a:lnTo>
                    <a:pt x="1001" y="2304"/>
                  </a:lnTo>
                  <a:lnTo>
                    <a:pt x="975" y="2304"/>
                  </a:lnTo>
                  <a:lnTo>
                    <a:pt x="951" y="2304"/>
                  </a:lnTo>
                  <a:lnTo>
                    <a:pt x="951" y="2329"/>
                  </a:lnTo>
                  <a:lnTo>
                    <a:pt x="920" y="2354"/>
                  </a:lnTo>
                  <a:lnTo>
                    <a:pt x="895" y="2354"/>
                  </a:lnTo>
                  <a:lnTo>
                    <a:pt x="870" y="2329"/>
                  </a:lnTo>
                  <a:lnTo>
                    <a:pt x="870" y="2304"/>
                  </a:lnTo>
                  <a:lnTo>
                    <a:pt x="839" y="2273"/>
                  </a:lnTo>
                  <a:lnTo>
                    <a:pt x="814" y="2273"/>
                  </a:lnTo>
                  <a:lnTo>
                    <a:pt x="814" y="2249"/>
                  </a:lnTo>
                  <a:lnTo>
                    <a:pt x="790" y="2249"/>
                  </a:lnTo>
                  <a:lnTo>
                    <a:pt x="759" y="2223"/>
                  </a:lnTo>
                  <a:lnTo>
                    <a:pt x="759" y="2192"/>
                  </a:lnTo>
                  <a:lnTo>
                    <a:pt x="790" y="2192"/>
                  </a:lnTo>
                  <a:lnTo>
                    <a:pt x="790" y="2168"/>
                  </a:lnTo>
                  <a:lnTo>
                    <a:pt x="814" y="2168"/>
                  </a:lnTo>
                  <a:lnTo>
                    <a:pt x="814" y="2143"/>
                  </a:lnTo>
                  <a:lnTo>
                    <a:pt x="790" y="2087"/>
                  </a:lnTo>
                  <a:lnTo>
                    <a:pt x="759" y="2112"/>
                  </a:lnTo>
                  <a:lnTo>
                    <a:pt x="759" y="2087"/>
                  </a:lnTo>
                  <a:lnTo>
                    <a:pt x="759" y="2112"/>
                  </a:lnTo>
                  <a:lnTo>
                    <a:pt x="733" y="2112"/>
                  </a:lnTo>
                  <a:lnTo>
                    <a:pt x="702" y="2112"/>
                  </a:lnTo>
                  <a:lnTo>
                    <a:pt x="702" y="2143"/>
                  </a:lnTo>
                  <a:lnTo>
                    <a:pt x="678" y="2143"/>
                  </a:lnTo>
                  <a:lnTo>
                    <a:pt x="678" y="2112"/>
                  </a:lnTo>
                  <a:lnTo>
                    <a:pt x="653" y="2087"/>
                  </a:lnTo>
                  <a:lnTo>
                    <a:pt x="653" y="2112"/>
                  </a:lnTo>
                  <a:lnTo>
                    <a:pt x="622" y="2087"/>
                  </a:lnTo>
                  <a:lnTo>
                    <a:pt x="572" y="2087"/>
                  </a:lnTo>
                  <a:lnTo>
                    <a:pt x="541" y="2056"/>
                  </a:lnTo>
                  <a:lnTo>
                    <a:pt x="515" y="2087"/>
                  </a:lnTo>
                  <a:lnTo>
                    <a:pt x="491" y="2056"/>
                  </a:lnTo>
                  <a:lnTo>
                    <a:pt x="491" y="2087"/>
                  </a:lnTo>
                  <a:lnTo>
                    <a:pt x="491" y="2056"/>
                  </a:lnTo>
                  <a:lnTo>
                    <a:pt x="460" y="2056"/>
                  </a:lnTo>
                  <a:lnTo>
                    <a:pt x="460" y="2031"/>
                  </a:lnTo>
                  <a:lnTo>
                    <a:pt x="435" y="2007"/>
                  </a:lnTo>
                  <a:lnTo>
                    <a:pt x="435" y="1976"/>
                  </a:lnTo>
                  <a:lnTo>
                    <a:pt x="404" y="1976"/>
                  </a:lnTo>
                  <a:lnTo>
                    <a:pt x="379" y="1976"/>
                  </a:lnTo>
                  <a:lnTo>
                    <a:pt x="354" y="1976"/>
                  </a:lnTo>
                  <a:lnTo>
                    <a:pt x="354" y="2031"/>
                  </a:lnTo>
                  <a:lnTo>
                    <a:pt x="354" y="2056"/>
                  </a:lnTo>
                  <a:lnTo>
                    <a:pt x="323" y="2031"/>
                  </a:lnTo>
                  <a:lnTo>
                    <a:pt x="299" y="2031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41" name="Freeform 80">
              <a:extLst>
                <a:ext uri="{FF2B5EF4-FFF2-40B4-BE49-F238E27FC236}">
                  <a16:creationId xmlns:a16="http://schemas.microsoft.com/office/drawing/2014/main" id="{A23DBA61-A297-4A70-B4CD-5D5144B70001}"/>
                </a:ext>
              </a:extLst>
            </p:cNvPr>
            <p:cNvSpPr>
              <a:spLocks/>
            </p:cNvSpPr>
            <p:nvPr/>
          </p:nvSpPr>
          <p:spPr bwMode="gray">
            <a:xfrm>
              <a:off x="8275785" y="3506334"/>
              <a:ext cx="719902" cy="411373"/>
            </a:xfrm>
            <a:custGeom>
              <a:avLst/>
              <a:gdLst/>
              <a:ahLst/>
              <a:cxnLst>
                <a:cxn ang="0">
                  <a:pos x="490" y="1032"/>
                </a:cxn>
                <a:cxn ang="0">
                  <a:pos x="409" y="983"/>
                </a:cxn>
                <a:cxn ang="0">
                  <a:pos x="298" y="871"/>
                </a:cxn>
                <a:cxn ang="0">
                  <a:pos x="193" y="814"/>
                </a:cxn>
                <a:cxn ang="0">
                  <a:pos x="136" y="734"/>
                </a:cxn>
                <a:cxn ang="0">
                  <a:pos x="136" y="598"/>
                </a:cxn>
                <a:cxn ang="0">
                  <a:pos x="25" y="491"/>
                </a:cxn>
                <a:cxn ang="0">
                  <a:pos x="25" y="411"/>
                </a:cxn>
                <a:cxn ang="0">
                  <a:pos x="56" y="467"/>
                </a:cxn>
                <a:cxn ang="0">
                  <a:pos x="112" y="355"/>
                </a:cxn>
                <a:cxn ang="0">
                  <a:pos x="217" y="330"/>
                </a:cxn>
                <a:cxn ang="0">
                  <a:pos x="273" y="299"/>
                </a:cxn>
                <a:cxn ang="0">
                  <a:pos x="322" y="275"/>
                </a:cxn>
                <a:cxn ang="0">
                  <a:pos x="409" y="218"/>
                </a:cxn>
                <a:cxn ang="0">
                  <a:pos x="434" y="194"/>
                </a:cxn>
                <a:cxn ang="0">
                  <a:pos x="514" y="138"/>
                </a:cxn>
                <a:cxn ang="0">
                  <a:pos x="620" y="82"/>
                </a:cxn>
                <a:cxn ang="0">
                  <a:pos x="650" y="57"/>
                </a:cxn>
                <a:cxn ang="0">
                  <a:pos x="676" y="0"/>
                </a:cxn>
                <a:cxn ang="0">
                  <a:pos x="757" y="33"/>
                </a:cxn>
                <a:cxn ang="0">
                  <a:pos x="812" y="57"/>
                </a:cxn>
                <a:cxn ang="0">
                  <a:pos x="893" y="0"/>
                </a:cxn>
                <a:cxn ang="0">
                  <a:pos x="973" y="82"/>
                </a:cxn>
                <a:cxn ang="0">
                  <a:pos x="1054" y="82"/>
                </a:cxn>
                <a:cxn ang="0">
                  <a:pos x="1190" y="138"/>
                </a:cxn>
                <a:cxn ang="0">
                  <a:pos x="1271" y="138"/>
                </a:cxn>
                <a:cxn ang="0">
                  <a:pos x="1326" y="194"/>
                </a:cxn>
                <a:cxn ang="0">
                  <a:pos x="1302" y="275"/>
                </a:cxn>
                <a:cxn ang="0">
                  <a:pos x="1383" y="355"/>
                </a:cxn>
                <a:cxn ang="0">
                  <a:pos x="1488" y="330"/>
                </a:cxn>
                <a:cxn ang="0">
                  <a:pos x="1513" y="299"/>
                </a:cxn>
                <a:cxn ang="0">
                  <a:pos x="1513" y="218"/>
                </a:cxn>
                <a:cxn ang="0">
                  <a:pos x="1599" y="249"/>
                </a:cxn>
                <a:cxn ang="0">
                  <a:pos x="1680" y="275"/>
                </a:cxn>
                <a:cxn ang="0">
                  <a:pos x="1761" y="275"/>
                </a:cxn>
                <a:cxn ang="0">
                  <a:pos x="1785" y="380"/>
                </a:cxn>
                <a:cxn ang="0">
                  <a:pos x="1841" y="380"/>
                </a:cxn>
                <a:cxn ang="0">
                  <a:pos x="1921" y="380"/>
                </a:cxn>
                <a:cxn ang="0">
                  <a:pos x="2027" y="411"/>
                </a:cxn>
                <a:cxn ang="0">
                  <a:pos x="2113" y="517"/>
                </a:cxn>
                <a:cxn ang="0">
                  <a:pos x="2058" y="629"/>
                </a:cxn>
                <a:cxn ang="0">
                  <a:pos x="1946" y="766"/>
                </a:cxn>
                <a:cxn ang="0">
                  <a:pos x="1841" y="952"/>
                </a:cxn>
                <a:cxn ang="0">
                  <a:pos x="1704" y="1008"/>
                </a:cxn>
                <a:cxn ang="0">
                  <a:pos x="1568" y="1113"/>
                </a:cxn>
                <a:cxn ang="0">
                  <a:pos x="1513" y="1063"/>
                </a:cxn>
                <a:cxn ang="0">
                  <a:pos x="1432" y="1032"/>
                </a:cxn>
                <a:cxn ang="0">
                  <a:pos x="1326" y="1089"/>
                </a:cxn>
                <a:cxn ang="0">
                  <a:pos x="1216" y="1032"/>
                </a:cxn>
                <a:cxn ang="0">
                  <a:pos x="1085" y="1008"/>
                </a:cxn>
                <a:cxn ang="0">
                  <a:pos x="1029" y="1008"/>
                </a:cxn>
                <a:cxn ang="0">
                  <a:pos x="949" y="1008"/>
                </a:cxn>
                <a:cxn ang="0">
                  <a:pos x="918" y="1113"/>
                </a:cxn>
                <a:cxn ang="0">
                  <a:pos x="868" y="1194"/>
                </a:cxn>
                <a:cxn ang="0">
                  <a:pos x="788" y="1194"/>
                </a:cxn>
                <a:cxn ang="0">
                  <a:pos x="676" y="1194"/>
                </a:cxn>
              </a:cxnLst>
              <a:rect l="0" t="0" r="r" b="b"/>
              <a:pathLst>
                <a:path w="2139" h="1225">
                  <a:moveTo>
                    <a:pt x="595" y="1113"/>
                  </a:moveTo>
                  <a:lnTo>
                    <a:pt x="571" y="1089"/>
                  </a:lnTo>
                  <a:lnTo>
                    <a:pt x="540" y="1063"/>
                  </a:lnTo>
                  <a:lnTo>
                    <a:pt x="514" y="1032"/>
                  </a:lnTo>
                  <a:lnTo>
                    <a:pt x="490" y="1032"/>
                  </a:lnTo>
                  <a:lnTo>
                    <a:pt x="459" y="1032"/>
                  </a:lnTo>
                  <a:lnTo>
                    <a:pt x="459" y="1063"/>
                  </a:lnTo>
                  <a:lnTo>
                    <a:pt x="434" y="1032"/>
                  </a:lnTo>
                  <a:lnTo>
                    <a:pt x="434" y="1008"/>
                  </a:lnTo>
                  <a:lnTo>
                    <a:pt x="409" y="983"/>
                  </a:lnTo>
                  <a:lnTo>
                    <a:pt x="378" y="983"/>
                  </a:lnTo>
                  <a:lnTo>
                    <a:pt x="353" y="952"/>
                  </a:lnTo>
                  <a:lnTo>
                    <a:pt x="298" y="896"/>
                  </a:lnTo>
                  <a:lnTo>
                    <a:pt x="322" y="871"/>
                  </a:lnTo>
                  <a:lnTo>
                    <a:pt x="298" y="871"/>
                  </a:lnTo>
                  <a:lnTo>
                    <a:pt x="273" y="871"/>
                  </a:lnTo>
                  <a:lnTo>
                    <a:pt x="242" y="871"/>
                  </a:lnTo>
                  <a:lnTo>
                    <a:pt x="217" y="846"/>
                  </a:lnTo>
                  <a:lnTo>
                    <a:pt x="217" y="814"/>
                  </a:lnTo>
                  <a:lnTo>
                    <a:pt x="193" y="814"/>
                  </a:lnTo>
                  <a:lnTo>
                    <a:pt x="193" y="790"/>
                  </a:lnTo>
                  <a:lnTo>
                    <a:pt x="162" y="790"/>
                  </a:lnTo>
                  <a:lnTo>
                    <a:pt x="162" y="766"/>
                  </a:lnTo>
                  <a:lnTo>
                    <a:pt x="162" y="734"/>
                  </a:lnTo>
                  <a:lnTo>
                    <a:pt x="136" y="734"/>
                  </a:lnTo>
                  <a:lnTo>
                    <a:pt x="136" y="709"/>
                  </a:lnTo>
                  <a:lnTo>
                    <a:pt x="112" y="678"/>
                  </a:lnTo>
                  <a:lnTo>
                    <a:pt x="112" y="653"/>
                  </a:lnTo>
                  <a:lnTo>
                    <a:pt x="136" y="653"/>
                  </a:lnTo>
                  <a:lnTo>
                    <a:pt x="136" y="598"/>
                  </a:lnTo>
                  <a:lnTo>
                    <a:pt x="162" y="598"/>
                  </a:lnTo>
                  <a:lnTo>
                    <a:pt x="136" y="572"/>
                  </a:lnTo>
                  <a:lnTo>
                    <a:pt x="112" y="548"/>
                  </a:lnTo>
                  <a:lnTo>
                    <a:pt x="56" y="517"/>
                  </a:lnTo>
                  <a:lnTo>
                    <a:pt x="25" y="491"/>
                  </a:lnTo>
                  <a:lnTo>
                    <a:pt x="25" y="467"/>
                  </a:lnTo>
                  <a:lnTo>
                    <a:pt x="25" y="436"/>
                  </a:lnTo>
                  <a:lnTo>
                    <a:pt x="0" y="436"/>
                  </a:lnTo>
                  <a:lnTo>
                    <a:pt x="0" y="411"/>
                  </a:lnTo>
                  <a:lnTo>
                    <a:pt x="25" y="411"/>
                  </a:lnTo>
                  <a:lnTo>
                    <a:pt x="25" y="436"/>
                  </a:lnTo>
                  <a:lnTo>
                    <a:pt x="56" y="436"/>
                  </a:lnTo>
                  <a:lnTo>
                    <a:pt x="25" y="436"/>
                  </a:lnTo>
                  <a:lnTo>
                    <a:pt x="56" y="436"/>
                  </a:lnTo>
                  <a:lnTo>
                    <a:pt x="56" y="467"/>
                  </a:lnTo>
                  <a:lnTo>
                    <a:pt x="56" y="436"/>
                  </a:lnTo>
                  <a:lnTo>
                    <a:pt x="81" y="436"/>
                  </a:lnTo>
                  <a:lnTo>
                    <a:pt x="81" y="411"/>
                  </a:lnTo>
                  <a:lnTo>
                    <a:pt x="112" y="380"/>
                  </a:lnTo>
                  <a:lnTo>
                    <a:pt x="112" y="355"/>
                  </a:lnTo>
                  <a:lnTo>
                    <a:pt x="136" y="355"/>
                  </a:lnTo>
                  <a:lnTo>
                    <a:pt x="162" y="355"/>
                  </a:lnTo>
                  <a:lnTo>
                    <a:pt x="193" y="355"/>
                  </a:lnTo>
                  <a:lnTo>
                    <a:pt x="193" y="330"/>
                  </a:lnTo>
                  <a:lnTo>
                    <a:pt x="217" y="330"/>
                  </a:lnTo>
                  <a:lnTo>
                    <a:pt x="242" y="330"/>
                  </a:lnTo>
                  <a:lnTo>
                    <a:pt x="242" y="355"/>
                  </a:lnTo>
                  <a:lnTo>
                    <a:pt x="242" y="330"/>
                  </a:lnTo>
                  <a:lnTo>
                    <a:pt x="273" y="330"/>
                  </a:lnTo>
                  <a:lnTo>
                    <a:pt x="273" y="299"/>
                  </a:lnTo>
                  <a:lnTo>
                    <a:pt x="298" y="299"/>
                  </a:lnTo>
                  <a:lnTo>
                    <a:pt x="298" y="275"/>
                  </a:lnTo>
                  <a:lnTo>
                    <a:pt x="298" y="299"/>
                  </a:lnTo>
                  <a:lnTo>
                    <a:pt x="322" y="299"/>
                  </a:lnTo>
                  <a:lnTo>
                    <a:pt x="322" y="275"/>
                  </a:lnTo>
                  <a:lnTo>
                    <a:pt x="322" y="249"/>
                  </a:lnTo>
                  <a:lnTo>
                    <a:pt x="353" y="249"/>
                  </a:lnTo>
                  <a:lnTo>
                    <a:pt x="378" y="218"/>
                  </a:lnTo>
                  <a:lnTo>
                    <a:pt x="409" y="249"/>
                  </a:lnTo>
                  <a:lnTo>
                    <a:pt x="409" y="218"/>
                  </a:lnTo>
                  <a:lnTo>
                    <a:pt x="434" y="194"/>
                  </a:lnTo>
                  <a:lnTo>
                    <a:pt x="409" y="194"/>
                  </a:lnTo>
                  <a:lnTo>
                    <a:pt x="434" y="194"/>
                  </a:lnTo>
                  <a:lnTo>
                    <a:pt x="409" y="194"/>
                  </a:lnTo>
                  <a:lnTo>
                    <a:pt x="434" y="194"/>
                  </a:lnTo>
                  <a:lnTo>
                    <a:pt x="434" y="169"/>
                  </a:lnTo>
                  <a:lnTo>
                    <a:pt x="459" y="169"/>
                  </a:lnTo>
                  <a:lnTo>
                    <a:pt x="490" y="169"/>
                  </a:lnTo>
                  <a:lnTo>
                    <a:pt x="514" y="169"/>
                  </a:lnTo>
                  <a:lnTo>
                    <a:pt x="514" y="138"/>
                  </a:lnTo>
                  <a:lnTo>
                    <a:pt x="540" y="138"/>
                  </a:lnTo>
                  <a:lnTo>
                    <a:pt x="540" y="113"/>
                  </a:lnTo>
                  <a:lnTo>
                    <a:pt x="571" y="113"/>
                  </a:lnTo>
                  <a:lnTo>
                    <a:pt x="595" y="113"/>
                  </a:lnTo>
                  <a:lnTo>
                    <a:pt x="620" y="82"/>
                  </a:lnTo>
                  <a:lnTo>
                    <a:pt x="620" y="57"/>
                  </a:lnTo>
                  <a:lnTo>
                    <a:pt x="650" y="82"/>
                  </a:lnTo>
                  <a:lnTo>
                    <a:pt x="650" y="57"/>
                  </a:lnTo>
                  <a:lnTo>
                    <a:pt x="676" y="57"/>
                  </a:lnTo>
                  <a:lnTo>
                    <a:pt x="650" y="57"/>
                  </a:lnTo>
                  <a:lnTo>
                    <a:pt x="650" y="33"/>
                  </a:lnTo>
                  <a:lnTo>
                    <a:pt x="620" y="33"/>
                  </a:lnTo>
                  <a:lnTo>
                    <a:pt x="620" y="0"/>
                  </a:lnTo>
                  <a:lnTo>
                    <a:pt x="650" y="0"/>
                  </a:lnTo>
                  <a:lnTo>
                    <a:pt x="676" y="0"/>
                  </a:lnTo>
                  <a:lnTo>
                    <a:pt x="707" y="0"/>
                  </a:lnTo>
                  <a:lnTo>
                    <a:pt x="731" y="0"/>
                  </a:lnTo>
                  <a:lnTo>
                    <a:pt x="731" y="33"/>
                  </a:lnTo>
                  <a:lnTo>
                    <a:pt x="731" y="57"/>
                  </a:lnTo>
                  <a:lnTo>
                    <a:pt x="757" y="33"/>
                  </a:lnTo>
                  <a:lnTo>
                    <a:pt x="757" y="57"/>
                  </a:lnTo>
                  <a:lnTo>
                    <a:pt x="757" y="82"/>
                  </a:lnTo>
                  <a:lnTo>
                    <a:pt x="788" y="82"/>
                  </a:lnTo>
                  <a:lnTo>
                    <a:pt x="812" y="82"/>
                  </a:lnTo>
                  <a:lnTo>
                    <a:pt x="812" y="57"/>
                  </a:lnTo>
                  <a:lnTo>
                    <a:pt x="837" y="57"/>
                  </a:lnTo>
                  <a:lnTo>
                    <a:pt x="868" y="82"/>
                  </a:lnTo>
                  <a:lnTo>
                    <a:pt x="868" y="57"/>
                  </a:lnTo>
                  <a:lnTo>
                    <a:pt x="868" y="0"/>
                  </a:lnTo>
                  <a:lnTo>
                    <a:pt x="893" y="0"/>
                  </a:lnTo>
                  <a:lnTo>
                    <a:pt x="918" y="0"/>
                  </a:lnTo>
                  <a:lnTo>
                    <a:pt x="949" y="0"/>
                  </a:lnTo>
                  <a:lnTo>
                    <a:pt x="949" y="33"/>
                  </a:lnTo>
                  <a:lnTo>
                    <a:pt x="973" y="57"/>
                  </a:lnTo>
                  <a:lnTo>
                    <a:pt x="973" y="82"/>
                  </a:lnTo>
                  <a:lnTo>
                    <a:pt x="1004" y="82"/>
                  </a:lnTo>
                  <a:lnTo>
                    <a:pt x="1004" y="113"/>
                  </a:lnTo>
                  <a:lnTo>
                    <a:pt x="1004" y="82"/>
                  </a:lnTo>
                  <a:lnTo>
                    <a:pt x="1029" y="113"/>
                  </a:lnTo>
                  <a:lnTo>
                    <a:pt x="1054" y="82"/>
                  </a:lnTo>
                  <a:lnTo>
                    <a:pt x="1085" y="113"/>
                  </a:lnTo>
                  <a:lnTo>
                    <a:pt x="1135" y="113"/>
                  </a:lnTo>
                  <a:lnTo>
                    <a:pt x="1166" y="138"/>
                  </a:lnTo>
                  <a:lnTo>
                    <a:pt x="1166" y="113"/>
                  </a:lnTo>
                  <a:lnTo>
                    <a:pt x="1190" y="138"/>
                  </a:lnTo>
                  <a:lnTo>
                    <a:pt x="1190" y="169"/>
                  </a:lnTo>
                  <a:lnTo>
                    <a:pt x="1216" y="169"/>
                  </a:lnTo>
                  <a:lnTo>
                    <a:pt x="1216" y="138"/>
                  </a:lnTo>
                  <a:lnTo>
                    <a:pt x="1246" y="138"/>
                  </a:lnTo>
                  <a:lnTo>
                    <a:pt x="1271" y="138"/>
                  </a:lnTo>
                  <a:lnTo>
                    <a:pt x="1271" y="113"/>
                  </a:lnTo>
                  <a:lnTo>
                    <a:pt x="1271" y="138"/>
                  </a:lnTo>
                  <a:lnTo>
                    <a:pt x="1302" y="113"/>
                  </a:lnTo>
                  <a:lnTo>
                    <a:pt x="1326" y="169"/>
                  </a:lnTo>
                  <a:lnTo>
                    <a:pt x="1326" y="194"/>
                  </a:lnTo>
                  <a:lnTo>
                    <a:pt x="1302" y="194"/>
                  </a:lnTo>
                  <a:lnTo>
                    <a:pt x="1302" y="218"/>
                  </a:lnTo>
                  <a:lnTo>
                    <a:pt x="1271" y="218"/>
                  </a:lnTo>
                  <a:lnTo>
                    <a:pt x="1271" y="249"/>
                  </a:lnTo>
                  <a:lnTo>
                    <a:pt x="1302" y="275"/>
                  </a:lnTo>
                  <a:lnTo>
                    <a:pt x="1326" y="275"/>
                  </a:lnTo>
                  <a:lnTo>
                    <a:pt x="1326" y="299"/>
                  </a:lnTo>
                  <a:lnTo>
                    <a:pt x="1352" y="299"/>
                  </a:lnTo>
                  <a:lnTo>
                    <a:pt x="1383" y="330"/>
                  </a:lnTo>
                  <a:lnTo>
                    <a:pt x="1383" y="355"/>
                  </a:lnTo>
                  <a:lnTo>
                    <a:pt x="1407" y="380"/>
                  </a:lnTo>
                  <a:lnTo>
                    <a:pt x="1432" y="380"/>
                  </a:lnTo>
                  <a:lnTo>
                    <a:pt x="1463" y="355"/>
                  </a:lnTo>
                  <a:lnTo>
                    <a:pt x="1463" y="330"/>
                  </a:lnTo>
                  <a:lnTo>
                    <a:pt x="1488" y="330"/>
                  </a:lnTo>
                  <a:lnTo>
                    <a:pt x="1513" y="330"/>
                  </a:lnTo>
                  <a:lnTo>
                    <a:pt x="1513" y="299"/>
                  </a:lnTo>
                  <a:lnTo>
                    <a:pt x="1513" y="330"/>
                  </a:lnTo>
                  <a:lnTo>
                    <a:pt x="1544" y="330"/>
                  </a:lnTo>
                  <a:lnTo>
                    <a:pt x="1513" y="299"/>
                  </a:lnTo>
                  <a:lnTo>
                    <a:pt x="1544" y="299"/>
                  </a:lnTo>
                  <a:lnTo>
                    <a:pt x="1513" y="275"/>
                  </a:lnTo>
                  <a:lnTo>
                    <a:pt x="1488" y="249"/>
                  </a:lnTo>
                  <a:lnTo>
                    <a:pt x="1488" y="218"/>
                  </a:lnTo>
                  <a:lnTo>
                    <a:pt x="1513" y="218"/>
                  </a:lnTo>
                  <a:lnTo>
                    <a:pt x="1544" y="218"/>
                  </a:lnTo>
                  <a:lnTo>
                    <a:pt x="1544" y="249"/>
                  </a:lnTo>
                  <a:lnTo>
                    <a:pt x="1568" y="249"/>
                  </a:lnTo>
                  <a:lnTo>
                    <a:pt x="1568" y="218"/>
                  </a:lnTo>
                  <a:lnTo>
                    <a:pt x="1599" y="249"/>
                  </a:lnTo>
                  <a:lnTo>
                    <a:pt x="1624" y="275"/>
                  </a:lnTo>
                  <a:lnTo>
                    <a:pt x="1649" y="299"/>
                  </a:lnTo>
                  <a:lnTo>
                    <a:pt x="1649" y="275"/>
                  </a:lnTo>
                  <a:lnTo>
                    <a:pt x="1649" y="299"/>
                  </a:lnTo>
                  <a:lnTo>
                    <a:pt x="1680" y="275"/>
                  </a:lnTo>
                  <a:lnTo>
                    <a:pt x="1704" y="275"/>
                  </a:lnTo>
                  <a:lnTo>
                    <a:pt x="1730" y="275"/>
                  </a:lnTo>
                  <a:lnTo>
                    <a:pt x="1730" y="249"/>
                  </a:lnTo>
                  <a:lnTo>
                    <a:pt x="1761" y="249"/>
                  </a:lnTo>
                  <a:lnTo>
                    <a:pt x="1761" y="275"/>
                  </a:lnTo>
                  <a:lnTo>
                    <a:pt x="1730" y="330"/>
                  </a:lnTo>
                  <a:lnTo>
                    <a:pt x="1704" y="330"/>
                  </a:lnTo>
                  <a:lnTo>
                    <a:pt x="1730" y="355"/>
                  </a:lnTo>
                  <a:lnTo>
                    <a:pt x="1761" y="355"/>
                  </a:lnTo>
                  <a:lnTo>
                    <a:pt x="1785" y="380"/>
                  </a:lnTo>
                  <a:lnTo>
                    <a:pt x="1785" y="411"/>
                  </a:lnTo>
                  <a:lnTo>
                    <a:pt x="1810" y="411"/>
                  </a:lnTo>
                  <a:lnTo>
                    <a:pt x="1841" y="380"/>
                  </a:lnTo>
                  <a:lnTo>
                    <a:pt x="1866" y="380"/>
                  </a:lnTo>
                  <a:lnTo>
                    <a:pt x="1841" y="380"/>
                  </a:lnTo>
                  <a:lnTo>
                    <a:pt x="1841" y="355"/>
                  </a:lnTo>
                  <a:lnTo>
                    <a:pt x="1866" y="380"/>
                  </a:lnTo>
                  <a:lnTo>
                    <a:pt x="1897" y="411"/>
                  </a:lnTo>
                  <a:lnTo>
                    <a:pt x="1897" y="380"/>
                  </a:lnTo>
                  <a:lnTo>
                    <a:pt x="1921" y="380"/>
                  </a:lnTo>
                  <a:lnTo>
                    <a:pt x="1921" y="411"/>
                  </a:lnTo>
                  <a:lnTo>
                    <a:pt x="1946" y="411"/>
                  </a:lnTo>
                  <a:lnTo>
                    <a:pt x="1977" y="411"/>
                  </a:lnTo>
                  <a:lnTo>
                    <a:pt x="2027" y="436"/>
                  </a:lnTo>
                  <a:lnTo>
                    <a:pt x="2027" y="411"/>
                  </a:lnTo>
                  <a:lnTo>
                    <a:pt x="2027" y="436"/>
                  </a:lnTo>
                  <a:lnTo>
                    <a:pt x="2027" y="467"/>
                  </a:lnTo>
                  <a:lnTo>
                    <a:pt x="2058" y="517"/>
                  </a:lnTo>
                  <a:lnTo>
                    <a:pt x="2082" y="517"/>
                  </a:lnTo>
                  <a:lnTo>
                    <a:pt x="2113" y="517"/>
                  </a:lnTo>
                  <a:lnTo>
                    <a:pt x="2139" y="572"/>
                  </a:lnTo>
                  <a:lnTo>
                    <a:pt x="2139" y="598"/>
                  </a:lnTo>
                  <a:lnTo>
                    <a:pt x="2113" y="629"/>
                  </a:lnTo>
                  <a:lnTo>
                    <a:pt x="2082" y="629"/>
                  </a:lnTo>
                  <a:lnTo>
                    <a:pt x="2058" y="629"/>
                  </a:lnTo>
                  <a:lnTo>
                    <a:pt x="2058" y="653"/>
                  </a:lnTo>
                  <a:lnTo>
                    <a:pt x="2027" y="678"/>
                  </a:lnTo>
                  <a:lnTo>
                    <a:pt x="2002" y="709"/>
                  </a:lnTo>
                  <a:lnTo>
                    <a:pt x="2002" y="734"/>
                  </a:lnTo>
                  <a:lnTo>
                    <a:pt x="1946" y="766"/>
                  </a:lnTo>
                  <a:lnTo>
                    <a:pt x="1946" y="814"/>
                  </a:lnTo>
                  <a:lnTo>
                    <a:pt x="1946" y="871"/>
                  </a:lnTo>
                  <a:lnTo>
                    <a:pt x="1897" y="871"/>
                  </a:lnTo>
                  <a:lnTo>
                    <a:pt x="1866" y="927"/>
                  </a:lnTo>
                  <a:lnTo>
                    <a:pt x="1841" y="952"/>
                  </a:lnTo>
                  <a:lnTo>
                    <a:pt x="1810" y="983"/>
                  </a:lnTo>
                  <a:lnTo>
                    <a:pt x="1785" y="983"/>
                  </a:lnTo>
                  <a:lnTo>
                    <a:pt x="1761" y="1008"/>
                  </a:lnTo>
                  <a:lnTo>
                    <a:pt x="1761" y="983"/>
                  </a:lnTo>
                  <a:lnTo>
                    <a:pt x="1704" y="1008"/>
                  </a:lnTo>
                  <a:lnTo>
                    <a:pt x="1680" y="983"/>
                  </a:lnTo>
                  <a:lnTo>
                    <a:pt x="1624" y="1008"/>
                  </a:lnTo>
                  <a:lnTo>
                    <a:pt x="1599" y="1063"/>
                  </a:lnTo>
                  <a:lnTo>
                    <a:pt x="1599" y="1113"/>
                  </a:lnTo>
                  <a:lnTo>
                    <a:pt x="1568" y="1113"/>
                  </a:lnTo>
                  <a:lnTo>
                    <a:pt x="1568" y="1089"/>
                  </a:lnTo>
                  <a:lnTo>
                    <a:pt x="1568" y="1063"/>
                  </a:lnTo>
                  <a:lnTo>
                    <a:pt x="1544" y="1089"/>
                  </a:lnTo>
                  <a:lnTo>
                    <a:pt x="1513" y="1089"/>
                  </a:lnTo>
                  <a:lnTo>
                    <a:pt x="1513" y="1063"/>
                  </a:lnTo>
                  <a:lnTo>
                    <a:pt x="1488" y="1063"/>
                  </a:lnTo>
                  <a:lnTo>
                    <a:pt x="1488" y="1032"/>
                  </a:lnTo>
                  <a:lnTo>
                    <a:pt x="1488" y="1063"/>
                  </a:lnTo>
                  <a:lnTo>
                    <a:pt x="1463" y="1032"/>
                  </a:lnTo>
                  <a:lnTo>
                    <a:pt x="1432" y="1032"/>
                  </a:lnTo>
                  <a:lnTo>
                    <a:pt x="1407" y="1063"/>
                  </a:lnTo>
                  <a:lnTo>
                    <a:pt x="1407" y="1089"/>
                  </a:lnTo>
                  <a:lnTo>
                    <a:pt x="1383" y="1089"/>
                  </a:lnTo>
                  <a:lnTo>
                    <a:pt x="1352" y="1089"/>
                  </a:lnTo>
                  <a:lnTo>
                    <a:pt x="1326" y="1089"/>
                  </a:lnTo>
                  <a:lnTo>
                    <a:pt x="1302" y="1089"/>
                  </a:lnTo>
                  <a:lnTo>
                    <a:pt x="1271" y="1063"/>
                  </a:lnTo>
                  <a:lnTo>
                    <a:pt x="1246" y="1063"/>
                  </a:lnTo>
                  <a:lnTo>
                    <a:pt x="1246" y="1032"/>
                  </a:lnTo>
                  <a:lnTo>
                    <a:pt x="1216" y="1032"/>
                  </a:lnTo>
                  <a:lnTo>
                    <a:pt x="1190" y="1032"/>
                  </a:lnTo>
                  <a:lnTo>
                    <a:pt x="1166" y="1032"/>
                  </a:lnTo>
                  <a:lnTo>
                    <a:pt x="1135" y="1032"/>
                  </a:lnTo>
                  <a:lnTo>
                    <a:pt x="1109" y="1008"/>
                  </a:lnTo>
                  <a:lnTo>
                    <a:pt x="1085" y="1008"/>
                  </a:lnTo>
                  <a:lnTo>
                    <a:pt x="1054" y="983"/>
                  </a:lnTo>
                  <a:lnTo>
                    <a:pt x="1054" y="1008"/>
                  </a:lnTo>
                  <a:lnTo>
                    <a:pt x="1054" y="983"/>
                  </a:lnTo>
                  <a:lnTo>
                    <a:pt x="1029" y="983"/>
                  </a:lnTo>
                  <a:lnTo>
                    <a:pt x="1029" y="1008"/>
                  </a:lnTo>
                  <a:lnTo>
                    <a:pt x="1004" y="1008"/>
                  </a:lnTo>
                  <a:lnTo>
                    <a:pt x="1004" y="983"/>
                  </a:lnTo>
                  <a:lnTo>
                    <a:pt x="973" y="983"/>
                  </a:lnTo>
                  <a:lnTo>
                    <a:pt x="949" y="983"/>
                  </a:lnTo>
                  <a:lnTo>
                    <a:pt x="949" y="1008"/>
                  </a:lnTo>
                  <a:lnTo>
                    <a:pt x="949" y="1032"/>
                  </a:lnTo>
                  <a:lnTo>
                    <a:pt x="949" y="1063"/>
                  </a:lnTo>
                  <a:lnTo>
                    <a:pt x="949" y="1089"/>
                  </a:lnTo>
                  <a:lnTo>
                    <a:pt x="949" y="1113"/>
                  </a:lnTo>
                  <a:lnTo>
                    <a:pt x="918" y="1113"/>
                  </a:lnTo>
                  <a:lnTo>
                    <a:pt x="918" y="1089"/>
                  </a:lnTo>
                  <a:lnTo>
                    <a:pt x="893" y="1113"/>
                  </a:lnTo>
                  <a:lnTo>
                    <a:pt x="868" y="1144"/>
                  </a:lnTo>
                  <a:lnTo>
                    <a:pt x="868" y="1169"/>
                  </a:lnTo>
                  <a:lnTo>
                    <a:pt x="868" y="1194"/>
                  </a:lnTo>
                  <a:lnTo>
                    <a:pt x="837" y="1194"/>
                  </a:lnTo>
                  <a:lnTo>
                    <a:pt x="837" y="1169"/>
                  </a:lnTo>
                  <a:lnTo>
                    <a:pt x="812" y="1194"/>
                  </a:lnTo>
                  <a:lnTo>
                    <a:pt x="788" y="1169"/>
                  </a:lnTo>
                  <a:lnTo>
                    <a:pt x="788" y="1194"/>
                  </a:lnTo>
                  <a:lnTo>
                    <a:pt x="788" y="1225"/>
                  </a:lnTo>
                  <a:lnTo>
                    <a:pt x="757" y="1225"/>
                  </a:lnTo>
                  <a:lnTo>
                    <a:pt x="731" y="1225"/>
                  </a:lnTo>
                  <a:lnTo>
                    <a:pt x="707" y="1194"/>
                  </a:lnTo>
                  <a:lnTo>
                    <a:pt x="676" y="1194"/>
                  </a:lnTo>
                  <a:lnTo>
                    <a:pt x="650" y="1194"/>
                  </a:lnTo>
                  <a:lnTo>
                    <a:pt x="650" y="1169"/>
                  </a:lnTo>
                  <a:lnTo>
                    <a:pt x="620" y="1144"/>
                  </a:lnTo>
                  <a:lnTo>
                    <a:pt x="595" y="1113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42" name="Freeform 81">
              <a:extLst>
                <a:ext uri="{FF2B5EF4-FFF2-40B4-BE49-F238E27FC236}">
                  <a16:creationId xmlns:a16="http://schemas.microsoft.com/office/drawing/2014/main" id="{61BB9398-5B2D-4E73-923D-88713D29C59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49757" y="3817099"/>
              <a:ext cx="710959" cy="511981"/>
            </a:xfrm>
            <a:custGeom>
              <a:avLst/>
              <a:gdLst/>
              <a:ahLst/>
              <a:cxnLst>
                <a:cxn ang="0">
                  <a:pos x="56" y="1002"/>
                </a:cxn>
                <a:cxn ang="0">
                  <a:pos x="80" y="976"/>
                </a:cxn>
                <a:cxn ang="0">
                  <a:pos x="106" y="896"/>
                </a:cxn>
                <a:cxn ang="0">
                  <a:pos x="106" y="839"/>
                </a:cxn>
                <a:cxn ang="0">
                  <a:pos x="137" y="759"/>
                </a:cxn>
                <a:cxn ang="0">
                  <a:pos x="137" y="703"/>
                </a:cxn>
                <a:cxn ang="0">
                  <a:pos x="56" y="678"/>
                </a:cxn>
                <a:cxn ang="0">
                  <a:pos x="80" y="623"/>
                </a:cxn>
                <a:cxn ang="0">
                  <a:pos x="161" y="654"/>
                </a:cxn>
                <a:cxn ang="0">
                  <a:pos x="273" y="623"/>
                </a:cxn>
                <a:cxn ang="0">
                  <a:pos x="273" y="541"/>
                </a:cxn>
                <a:cxn ang="0">
                  <a:pos x="298" y="460"/>
                </a:cxn>
                <a:cxn ang="0">
                  <a:pos x="435" y="541"/>
                </a:cxn>
                <a:cxn ang="0">
                  <a:pos x="571" y="566"/>
                </a:cxn>
                <a:cxn ang="0">
                  <a:pos x="678" y="541"/>
                </a:cxn>
                <a:cxn ang="0">
                  <a:pos x="815" y="516"/>
                </a:cxn>
                <a:cxn ang="0">
                  <a:pos x="815" y="405"/>
                </a:cxn>
                <a:cxn ang="0">
                  <a:pos x="870" y="379"/>
                </a:cxn>
                <a:cxn ang="0">
                  <a:pos x="976" y="355"/>
                </a:cxn>
                <a:cxn ang="0">
                  <a:pos x="1057" y="242"/>
                </a:cxn>
                <a:cxn ang="0">
                  <a:pos x="1138" y="268"/>
                </a:cxn>
                <a:cxn ang="0">
                  <a:pos x="1218" y="218"/>
                </a:cxn>
                <a:cxn ang="0">
                  <a:pos x="1306" y="137"/>
                </a:cxn>
                <a:cxn ang="0">
                  <a:pos x="1355" y="56"/>
                </a:cxn>
                <a:cxn ang="0">
                  <a:pos x="1467" y="56"/>
                </a:cxn>
                <a:cxn ang="0">
                  <a:pos x="1573" y="24"/>
                </a:cxn>
                <a:cxn ang="0">
                  <a:pos x="1629" y="24"/>
                </a:cxn>
                <a:cxn ang="0">
                  <a:pos x="1709" y="106"/>
                </a:cxn>
                <a:cxn ang="0">
                  <a:pos x="1790" y="56"/>
                </a:cxn>
                <a:cxn ang="0">
                  <a:pos x="1872" y="56"/>
                </a:cxn>
                <a:cxn ang="0">
                  <a:pos x="1953" y="106"/>
                </a:cxn>
                <a:cxn ang="0">
                  <a:pos x="2064" y="161"/>
                </a:cxn>
                <a:cxn ang="0">
                  <a:pos x="2089" y="218"/>
                </a:cxn>
                <a:cxn ang="0">
                  <a:pos x="2033" y="324"/>
                </a:cxn>
                <a:cxn ang="0">
                  <a:pos x="1953" y="355"/>
                </a:cxn>
                <a:cxn ang="0">
                  <a:pos x="1872" y="485"/>
                </a:cxn>
                <a:cxn ang="0">
                  <a:pos x="1872" y="566"/>
                </a:cxn>
                <a:cxn ang="0">
                  <a:pos x="1815" y="734"/>
                </a:cxn>
                <a:cxn ang="0">
                  <a:pos x="1766" y="865"/>
                </a:cxn>
                <a:cxn ang="0">
                  <a:pos x="1735" y="952"/>
                </a:cxn>
                <a:cxn ang="0">
                  <a:pos x="1735" y="1033"/>
                </a:cxn>
                <a:cxn ang="0">
                  <a:pos x="1654" y="1139"/>
                </a:cxn>
                <a:cxn ang="0">
                  <a:pos x="1548" y="1194"/>
                </a:cxn>
                <a:cxn ang="0">
                  <a:pos x="1436" y="1220"/>
                </a:cxn>
                <a:cxn ang="0">
                  <a:pos x="1330" y="1220"/>
                </a:cxn>
                <a:cxn ang="0">
                  <a:pos x="1194" y="1251"/>
                </a:cxn>
                <a:cxn ang="0">
                  <a:pos x="1113" y="1301"/>
                </a:cxn>
                <a:cxn ang="0">
                  <a:pos x="1007" y="1381"/>
                </a:cxn>
                <a:cxn ang="0">
                  <a:pos x="895" y="1412"/>
                </a:cxn>
                <a:cxn ang="0">
                  <a:pos x="815" y="1493"/>
                </a:cxn>
                <a:cxn ang="0">
                  <a:pos x="709" y="1493"/>
                </a:cxn>
                <a:cxn ang="0">
                  <a:pos x="571" y="1493"/>
                </a:cxn>
                <a:cxn ang="0">
                  <a:pos x="460" y="1469"/>
                </a:cxn>
                <a:cxn ang="0">
                  <a:pos x="403" y="1381"/>
                </a:cxn>
                <a:cxn ang="0">
                  <a:pos x="273" y="1301"/>
                </a:cxn>
                <a:cxn ang="0">
                  <a:pos x="218" y="1251"/>
                </a:cxn>
                <a:cxn ang="0">
                  <a:pos x="80" y="1083"/>
                </a:cxn>
                <a:cxn ang="0">
                  <a:pos x="379" y="1083"/>
                </a:cxn>
                <a:cxn ang="0">
                  <a:pos x="516" y="1002"/>
                </a:cxn>
                <a:cxn ang="0">
                  <a:pos x="652" y="921"/>
                </a:cxn>
                <a:cxn ang="0">
                  <a:pos x="460" y="1057"/>
                </a:cxn>
                <a:cxn ang="0">
                  <a:pos x="379" y="1083"/>
                </a:cxn>
              </a:cxnLst>
              <a:rect l="0" t="0" r="r" b="b"/>
              <a:pathLst>
                <a:path w="2114" h="1518">
                  <a:moveTo>
                    <a:pt x="0" y="1057"/>
                  </a:moveTo>
                  <a:lnTo>
                    <a:pt x="0" y="1033"/>
                  </a:lnTo>
                  <a:lnTo>
                    <a:pt x="24" y="1002"/>
                  </a:lnTo>
                  <a:lnTo>
                    <a:pt x="56" y="1002"/>
                  </a:lnTo>
                  <a:lnTo>
                    <a:pt x="56" y="976"/>
                  </a:lnTo>
                  <a:lnTo>
                    <a:pt x="80" y="976"/>
                  </a:lnTo>
                  <a:lnTo>
                    <a:pt x="106" y="976"/>
                  </a:lnTo>
                  <a:lnTo>
                    <a:pt x="80" y="976"/>
                  </a:lnTo>
                  <a:lnTo>
                    <a:pt x="80" y="952"/>
                  </a:lnTo>
                  <a:lnTo>
                    <a:pt x="106" y="952"/>
                  </a:lnTo>
                  <a:lnTo>
                    <a:pt x="106" y="921"/>
                  </a:lnTo>
                  <a:lnTo>
                    <a:pt x="106" y="896"/>
                  </a:lnTo>
                  <a:lnTo>
                    <a:pt x="80" y="921"/>
                  </a:lnTo>
                  <a:lnTo>
                    <a:pt x="80" y="896"/>
                  </a:lnTo>
                  <a:lnTo>
                    <a:pt x="80" y="865"/>
                  </a:lnTo>
                  <a:lnTo>
                    <a:pt x="106" y="839"/>
                  </a:lnTo>
                  <a:lnTo>
                    <a:pt x="80" y="815"/>
                  </a:lnTo>
                  <a:lnTo>
                    <a:pt x="80" y="784"/>
                  </a:lnTo>
                  <a:lnTo>
                    <a:pt x="106" y="784"/>
                  </a:lnTo>
                  <a:lnTo>
                    <a:pt x="137" y="759"/>
                  </a:lnTo>
                  <a:lnTo>
                    <a:pt x="137" y="734"/>
                  </a:lnTo>
                  <a:lnTo>
                    <a:pt x="161" y="734"/>
                  </a:lnTo>
                  <a:lnTo>
                    <a:pt x="161" y="703"/>
                  </a:lnTo>
                  <a:lnTo>
                    <a:pt x="137" y="703"/>
                  </a:lnTo>
                  <a:lnTo>
                    <a:pt x="137" y="678"/>
                  </a:lnTo>
                  <a:lnTo>
                    <a:pt x="106" y="678"/>
                  </a:lnTo>
                  <a:lnTo>
                    <a:pt x="80" y="678"/>
                  </a:lnTo>
                  <a:lnTo>
                    <a:pt x="56" y="678"/>
                  </a:lnTo>
                  <a:lnTo>
                    <a:pt x="56" y="654"/>
                  </a:lnTo>
                  <a:lnTo>
                    <a:pt x="80" y="654"/>
                  </a:lnTo>
                  <a:lnTo>
                    <a:pt x="106" y="623"/>
                  </a:lnTo>
                  <a:lnTo>
                    <a:pt x="80" y="623"/>
                  </a:lnTo>
                  <a:lnTo>
                    <a:pt x="106" y="623"/>
                  </a:lnTo>
                  <a:lnTo>
                    <a:pt x="137" y="623"/>
                  </a:lnTo>
                  <a:lnTo>
                    <a:pt x="161" y="623"/>
                  </a:lnTo>
                  <a:lnTo>
                    <a:pt x="161" y="654"/>
                  </a:lnTo>
                  <a:lnTo>
                    <a:pt x="192" y="654"/>
                  </a:lnTo>
                  <a:lnTo>
                    <a:pt x="192" y="623"/>
                  </a:lnTo>
                  <a:lnTo>
                    <a:pt x="218" y="654"/>
                  </a:lnTo>
                  <a:lnTo>
                    <a:pt x="273" y="623"/>
                  </a:lnTo>
                  <a:lnTo>
                    <a:pt x="242" y="566"/>
                  </a:lnTo>
                  <a:lnTo>
                    <a:pt x="273" y="566"/>
                  </a:lnTo>
                  <a:lnTo>
                    <a:pt x="242" y="541"/>
                  </a:lnTo>
                  <a:lnTo>
                    <a:pt x="273" y="541"/>
                  </a:lnTo>
                  <a:lnTo>
                    <a:pt x="273" y="516"/>
                  </a:lnTo>
                  <a:lnTo>
                    <a:pt x="273" y="485"/>
                  </a:lnTo>
                  <a:lnTo>
                    <a:pt x="273" y="460"/>
                  </a:lnTo>
                  <a:lnTo>
                    <a:pt x="298" y="460"/>
                  </a:lnTo>
                  <a:lnTo>
                    <a:pt x="323" y="485"/>
                  </a:lnTo>
                  <a:lnTo>
                    <a:pt x="379" y="516"/>
                  </a:lnTo>
                  <a:lnTo>
                    <a:pt x="403" y="541"/>
                  </a:lnTo>
                  <a:lnTo>
                    <a:pt x="435" y="541"/>
                  </a:lnTo>
                  <a:lnTo>
                    <a:pt x="435" y="566"/>
                  </a:lnTo>
                  <a:lnTo>
                    <a:pt x="491" y="566"/>
                  </a:lnTo>
                  <a:lnTo>
                    <a:pt x="516" y="566"/>
                  </a:lnTo>
                  <a:lnTo>
                    <a:pt x="571" y="566"/>
                  </a:lnTo>
                  <a:lnTo>
                    <a:pt x="597" y="541"/>
                  </a:lnTo>
                  <a:lnTo>
                    <a:pt x="621" y="566"/>
                  </a:lnTo>
                  <a:lnTo>
                    <a:pt x="652" y="541"/>
                  </a:lnTo>
                  <a:lnTo>
                    <a:pt x="678" y="541"/>
                  </a:lnTo>
                  <a:lnTo>
                    <a:pt x="709" y="541"/>
                  </a:lnTo>
                  <a:lnTo>
                    <a:pt x="734" y="541"/>
                  </a:lnTo>
                  <a:lnTo>
                    <a:pt x="789" y="516"/>
                  </a:lnTo>
                  <a:lnTo>
                    <a:pt x="815" y="516"/>
                  </a:lnTo>
                  <a:lnTo>
                    <a:pt x="815" y="485"/>
                  </a:lnTo>
                  <a:lnTo>
                    <a:pt x="789" y="485"/>
                  </a:lnTo>
                  <a:lnTo>
                    <a:pt x="789" y="436"/>
                  </a:lnTo>
                  <a:lnTo>
                    <a:pt x="815" y="405"/>
                  </a:lnTo>
                  <a:lnTo>
                    <a:pt x="815" y="379"/>
                  </a:lnTo>
                  <a:lnTo>
                    <a:pt x="839" y="379"/>
                  </a:lnTo>
                  <a:lnTo>
                    <a:pt x="870" y="355"/>
                  </a:lnTo>
                  <a:lnTo>
                    <a:pt x="870" y="379"/>
                  </a:lnTo>
                  <a:lnTo>
                    <a:pt x="895" y="355"/>
                  </a:lnTo>
                  <a:lnTo>
                    <a:pt x="895" y="379"/>
                  </a:lnTo>
                  <a:lnTo>
                    <a:pt x="920" y="355"/>
                  </a:lnTo>
                  <a:lnTo>
                    <a:pt x="976" y="355"/>
                  </a:lnTo>
                  <a:lnTo>
                    <a:pt x="1007" y="324"/>
                  </a:lnTo>
                  <a:lnTo>
                    <a:pt x="1007" y="299"/>
                  </a:lnTo>
                  <a:lnTo>
                    <a:pt x="1031" y="268"/>
                  </a:lnTo>
                  <a:lnTo>
                    <a:pt x="1057" y="242"/>
                  </a:lnTo>
                  <a:lnTo>
                    <a:pt x="1088" y="268"/>
                  </a:lnTo>
                  <a:lnTo>
                    <a:pt x="1113" y="268"/>
                  </a:lnTo>
                  <a:lnTo>
                    <a:pt x="1113" y="299"/>
                  </a:lnTo>
                  <a:lnTo>
                    <a:pt x="1138" y="268"/>
                  </a:lnTo>
                  <a:lnTo>
                    <a:pt x="1169" y="299"/>
                  </a:lnTo>
                  <a:lnTo>
                    <a:pt x="1194" y="268"/>
                  </a:lnTo>
                  <a:lnTo>
                    <a:pt x="1218" y="242"/>
                  </a:lnTo>
                  <a:lnTo>
                    <a:pt x="1218" y="218"/>
                  </a:lnTo>
                  <a:lnTo>
                    <a:pt x="1249" y="218"/>
                  </a:lnTo>
                  <a:lnTo>
                    <a:pt x="1275" y="218"/>
                  </a:lnTo>
                  <a:lnTo>
                    <a:pt x="1306" y="161"/>
                  </a:lnTo>
                  <a:lnTo>
                    <a:pt x="1306" y="137"/>
                  </a:lnTo>
                  <a:lnTo>
                    <a:pt x="1306" y="106"/>
                  </a:lnTo>
                  <a:lnTo>
                    <a:pt x="1330" y="81"/>
                  </a:lnTo>
                  <a:lnTo>
                    <a:pt x="1306" y="81"/>
                  </a:lnTo>
                  <a:lnTo>
                    <a:pt x="1355" y="56"/>
                  </a:lnTo>
                  <a:lnTo>
                    <a:pt x="1411" y="24"/>
                  </a:lnTo>
                  <a:lnTo>
                    <a:pt x="1411" y="56"/>
                  </a:lnTo>
                  <a:lnTo>
                    <a:pt x="1436" y="56"/>
                  </a:lnTo>
                  <a:lnTo>
                    <a:pt x="1467" y="56"/>
                  </a:lnTo>
                  <a:lnTo>
                    <a:pt x="1493" y="56"/>
                  </a:lnTo>
                  <a:lnTo>
                    <a:pt x="1517" y="56"/>
                  </a:lnTo>
                  <a:lnTo>
                    <a:pt x="1548" y="56"/>
                  </a:lnTo>
                  <a:lnTo>
                    <a:pt x="1573" y="24"/>
                  </a:lnTo>
                  <a:lnTo>
                    <a:pt x="1604" y="24"/>
                  </a:lnTo>
                  <a:lnTo>
                    <a:pt x="1604" y="0"/>
                  </a:lnTo>
                  <a:lnTo>
                    <a:pt x="1629" y="0"/>
                  </a:lnTo>
                  <a:lnTo>
                    <a:pt x="1629" y="24"/>
                  </a:lnTo>
                  <a:lnTo>
                    <a:pt x="1654" y="24"/>
                  </a:lnTo>
                  <a:lnTo>
                    <a:pt x="1685" y="56"/>
                  </a:lnTo>
                  <a:lnTo>
                    <a:pt x="1685" y="81"/>
                  </a:lnTo>
                  <a:lnTo>
                    <a:pt x="1709" y="106"/>
                  </a:lnTo>
                  <a:lnTo>
                    <a:pt x="1735" y="106"/>
                  </a:lnTo>
                  <a:lnTo>
                    <a:pt x="1735" y="81"/>
                  </a:lnTo>
                  <a:lnTo>
                    <a:pt x="1790" y="81"/>
                  </a:lnTo>
                  <a:lnTo>
                    <a:pt x="1790" y="56"/>
                  </a:lnTo>
                  <a:lnTo>
                    <a:pt x="1815" y="56"/>
                  </a:lnTo>
                  <a:lnTo>
                    <a:pt x="1846" y="24"/>
                  </a:lnTo>
                  <a:lnTo>
                    <a:pt x="1872" y="24"/>
                  </a:lnTo>
                  <a:lnTo>
                    <a:pt x="1872" y="56"/>
                  </a:lnTo>
                  <a:lnTo>
                    <a:pt x="1903" y="56"/>
                  </a:lnTo>
                  <a:lnTo>
                    <a:pt x="1903" y="81"/>
                  </a:lnTo>
                  <a:lnTo>
                    <a:pt x="1927" y="106"/>
                  </a:lnTo>
                  <a:lnTo>
                    <a:pt x="1953" y="106"/>
                  </a:lnTo>
                  <a:lnTo>
                    <a:pt x="1984" y="137"/>
                  </a:lnTo>
                  <a:lnTo>
                    <a:pt x="2008" y="161"/>
                  </a:lnTo>
                  <a:lnTo>
                    <a:pt x="2033" y="161"/>
                  </a:lnTo>
                  <a:lnTo>
                    <a:pt x="2064" y="161"/>
                  </a:lnTo>
                  <a:lnTo>
                    <a:pt x="2064" y="137"/>
                  </a:lnTo>
                  <a:lnTo>
                    <a:pt x="2089" y="161"/>
                  </a:lnTo>
                  <a:lnTo>
                    <a:pt x="2089" y="187"/>
                  </a:lnTo>
                  <a:lnTo>
                    <a:pt x="2089" y="218"/>
                  </a:lnTo>
                  <a:lnTo>
                    <a:pt x="2114" y="218"/>
                  </a:lnTo>
                  <a:lnTo>
                    <a:pt x="2089" y="242"/>
                  </a:lnTo>
                  <a:lnTo>
                    <a:pt x="2064" y="299"/>
                  </a:lnTo>
                  <a:lnTo>
                    <a:pt x="2033" y="324"/>
                  </a:lnTo>
                  <a:lnTo>
                    <a:pt x="2008" y="324"/>
                  </a:lnTo>
                  <a:lnTo>
                    <a:pt x="1984" y="324"/>
                  </a:lnTo>
                  <a:lnTo>
                    <a:pt x="1984" y="355"/>
                  </a:lnTo>
                  <a:lnTo>
                    <a:pt x="1953" y="355"/>
                  </a:lnTo>
                  <a:lnTo>
                    <a:pt x="1927" y="405"/>
                  </a:lnTo>
                  <a:lnTo>
                    <a:pt x="1927" y="436"/>
                  </a:lnTo>
                  <a:lnTo>
                    <a:pt x="1903" y="436"/>
                  </a:lnTo>
                  <a:lnTo>
                    <a:pt x="1872" y="485"/>
                  </a:lnTo>
                  <a:lnTo>
                    <a:pt x="1872" y="516"/>
                  </a:lnTo>
                  <a:lnTo>
                    <a:pt x="1872" y="541"/>
                  </a:lnTo>
                  <a:lnTo>
                    <a:pt x="1903" y="541"/>
                  </a:lnTo>
                  <a:lnTo>
                    <a:pt x="1872" y="566"/>
                  </a:lnTo>
                  <a:lnTo>
                    <a:pt x="1846" y="654"/>
                  </a:lnTo>
                  <a:lnTo>
                    <a:pt x="1846" y="678"/>
                  </a:lnTo>
                  <a:lnTo>
                    <a:pt x="1815" y="703"/>
                  </a:lnTo>
                  <a:lnTo>
                    <a:pt x="1815" y="734"/>
                  </a:lnTo>
                  <a:lnTo>
                    <a:pt x="1815" y="759"/>
                  </a:lnTo>
                  <a:lnTo>
                    <a:pt x="1790" y="784"/>
                  </a:lnTo>
                  <a:lnTo>
                    <a:pt x="1790" y="839"/>
                  </a:lnTo>
                  <a:lnTo>
                    <a:pt x="1766" y="865"/>
                  </a:lnTo>
                  <a:lnTo>
                    <a:pt x="1790" y="896"/>
                  </a:lnTo>
                  <a:lnTo>
                    <a:pt x="1766" y="896"/>
                  </a:lnTo>
                  <a:lnTo>
                    <a:pt x="1766" y="921"/>
                  </a:lnTo>
                  <a:lnTo>
                    <a:pt x="1735" y="952"/>
                  </a:lnTo>
                  <a:lnTo>
                    <a:pt x="1709" y="976"/>
                  </a:lnTo>
                  <a:lnTo>
                    <a:pt x="1709" y="1002"/>
                  </a:lnTo>
                  <a:lnTo>
                    <a:pt x="1709" y="1033"/>
                  </a:lnTo>
                  <a:lnTo>
                    <a:pt x="1735" y="1033"/>
                  </a:lnTo>
                  <a:lnTo>
                    <a:pt x="1735" y="1057"/>
                  </a:lnTo>
                  <a:lnTo>
                    <a:pt x="1709" y="1057"/>
                  </a:lnTo>
                  <a:lnTo>
                    <a:pt x="1685" y="1114"/>
                  </a:lnTo>
                  <a:lnTo>
                    <a:pt x="1654" y="1139"/>
                  </a:lnTo>
                  <a:lnTo>
                    <a:pt x="1629" y="1139"/>
                  </a:lnTo>
                  <a:lnTo>
                    <a:pt x="1604" y="1139"/>
                  </a:lnTo>
                  <a:lnTo>
                    <a:pt x="1573" y="1139"/>
                  </a:lnTo>
                  <a:lnTo>
                    <a:pt x="1548" y="1194"/>
                  </a:lnTo>
                  <a:lnTo>
                    <a:pt x="1517" y="1220"/>
                  </a:lnTo>
                  <a:lnTo>
                    <a:pt x="1493" y="1194"/>
                  </a:lnTo>
                  <a:lnTo>
                    <a:pt x="1467" y="1220"/>
                  </a:lnTo>
                  <a:lnTo>
                    <a:pt x="1436" y="1220"/>
                  </a:lnTo>
                  <a:lnTo>
                    <a:pt x="1411" y="1251"/>
                  </a:lnTo>
                  <a:lnTo>
                    <a:pt x="1386" y="1220"/>
                  </a:lnTo>
                  <a:lnTo>
                    <a:pt x="1355" y="1220"/>
                  </a:lnTo>
                  <a:lnTo>
                    <a:pt x="1330" y="1220"/>
                  </a:lnTo>
                  <a:lnTo>
                    <a:pt x="1306" y="1220"/>
                  </a:lnTo>
                  <a:lnTo>
                    <a:pt x="1275" y="1251"/>
                  </a:lnTo>
                  <a:lnTo>
                    <a:pt x="1218" y="1251"/>
                  </a:lnTo>
                  <a:lnTo>
                    <a:pt x="1194" y="1251"/>
                  </a:lnTo>
                  <a:lnTo>
                    <a:pt x="1169" y="1251"/>
                  </a:lnTo>
                  <a:lnTo>
                    <a:pt x="1169" y="1275"/>
                  </a:lnTo>
                  <a:lnTo>
                    <a:pt x="1138" y="1301"/>
                  </a:lnTo>
                  <a:lnTo>
                    <a:pt x="1113" y="1301"/>
                  </a:lnTo>
                  <a:lnTo>
                    <a:pt x="1088" y="1331"/>
                  </a:lnTo>
                  <a:lnTo>
                    <a:pt x="1057" y="1331"/>
                  </a:lnTo>
                  <a:lnTo>
                    <a:pt x="1031" y="1356"/>
                  </a:lnTo>
                  <a:lnTo>
                    <a:pt x="1007" y="1381"/>
                  </a:lnTo>
                  <a:lnTo>
                    <a:pt x="976" y="1381"/>
                  </a:lnTo>
                  <a:lnTo>
                    <a:pt x="951" y="1412"/>
                  </a:lnTo>
                  <a:lnTo>
                    <a:pt x="920" y="1412"/>
                  </a:lnTo>
                  <a:lnTo>
                    <a:pt x="895" y="1412"/>
                  </a:lnTo>
                  <a:lnTo>
                    <a:pt x="895" y="1438"/>
                  </a:lnTo>
                  <a:lnTo>
                    <a:pt x="870" y="1469"/>
                  </a:lnTo>
                  <a:lnTo>
                    <a:pt x="839" y="1493"/>
                  </a:lnTo>
                  <a:lnTo>
                    <a:pt x="815" y="1493"/>
                  </a:lnTo>
                  <a:lnTo>
                    <a:pt x="789" y="1518"/>
                  </a:lnTo>
                  <a:lnTo>
                    <a:pt x="758" y="1493"/>
                  </a:lnTo>
                  <a:lnTo>
                    <a:pt x="734" y="1493"/>
                  </a:lnTo>
                  <a:lnTo>
                    <a:pt x="709" y="1493"/>
                  </a:lnTo>
                  <a:lnTo>
                    <a:pt x="678" y="1493"/>
                  </a:lnTo>
                  <a:lnTo>
                    <a:pt x="621" y="1518"/>
                  </a:lnTo>
                  <a:lnTo>
                    <a:pt x="597" y="1493"/>
                  </a:lnTo>
                  <a:lnTo>
                    <a:pt x="571" y="1493"/>
                  </a:lnTo>
                  <a:lnTo>
                    <a:pt x="540" y="1469"/>
                  </a:lnTo>
                  <a:lnTo>
                    <a:pt x="516" y="1438"/>
                  </a:lnTo>
                  <a:lnTo>
                    <a:pt x="491" y="1469"/>
                  </a:lnTo>
                  <a:lnTo>
                    <a:pt x="460" y="1469"/>
                  </a:lnTo>
                  <a:lnTo>
                    <a:pt x="460" y="1438"/>
                  </a:lnTo>
                  <a:lnTo>
                    <a:pt x="435" y="1438"/>
                  </a:lnTo>
                  <a:lnTo>
                    <a:pt x="403" y="1412"/>
                  </a:lnTo>
                  <a:lnTo>
                    <a:pt x="403" y="1381"/>
                  </a:lnTo>
                  <a:lnTo>
                    <a:pt x="379" y="1356"/>
                  </a:lnTo>
                  <a:lnTo>
                    <a:pt x="323" y="1331"/>
                  </a:lnTo>
                  <a:lnTo>
                    <a:pt x="298" y="1331"/>
                  </a:lnTo>
                  <a:lnTo>
                    <a:pt x="273" y="1301"/>
                  </a:lnTo>
                  <a:lnTo>
                    <a:pt x="273" y="1275"/>
                  </a:lnTo>
                  <a:lnTo>
                    <a:pt x="242" y="1275"/>
                  </a:lnTo>
                  <a:lnTo>
                    <a:pt x="218" y="1275"/>
                  </a:lnTo>
                  <a:lnTo>
                    <a:pt x="218" y="1251"/>
                  </a:lnTo>
                  <a:lnTo>
                    <a:pt x="161" y="1220"/>
                  </a:lnTo>
                  <a:lnTo>
                    <a:pt x="106" y="1139"/>
                  </a:lnTo>
                  <a:lnTo>
                    <a:pt x="80" y="1114"/>
                  </a:lnTo>
                  <a:lnTo>
                    <a:pt x="80" y="1083"/>
                  </a:lnTo>
                  <a:lnTo>
                    <a:pt x="80" y="1057"/>
                  </a:lnTo>
                  <a:lnTo>
                    <a:pt x="56" y="1057"/>
                  </a:lnTo>
                  <a:lnTo>
                    <a:pt x="0" y="1057"/>
                  </a:lnTo>
                  <a:close/>
                  <a:moveTo>
                    <a:pt x="379" y="1083"/>
                  </a:moveTo>
                  <a:lnTo>
                    <a:pt x="403" y="1083"/>
                  </a:lnTo>
                  <a:lnTo>
                    <a:pt x="435" y="1057"/>
                  </a:lnTo>
                  <a:lnTo>
                    <a:pt x="460" y="1057"/>
                  </a:lnTo>
                  <a:lnTo>
                    <a:pt x="516" y="1002"/>
                  </a:lnTo>
                  <a:lnTo>
                    <a:pt x="571" y="976"/>
                  </a:lnTo>
                  <a:lnTo>
                    <a:pt x="597" y="921"/>
                  </a:lnTo>
                  <a:lnTo>
                    <a:pt x="621" y="896"/>
                  </a:lnTo>
                  <a:lnTo>
                    <a:pt x="652" y="921"/>
                  </a:lnTo>
                  <a:lnTo>
                    <a:pt x="652" y="952"/>
                  </a:lnTo>
                  <a:lnTo>
                    <a:pt x="571" y="976"/>
                  </a:lnTo>
                  <a:lnTo>
                    <a:pt x="571" y="1002"/>
                  </a:lnTo>
                  <a:lnTo>
                    <a:pt x="460" y="1057"/>
                  </a:lnTo>
                  <a:lnTo>
                    <a:pt x="460" y="1083"/>
                  </a:lnTo>
                  <a:lnTo>
                    <a:pt x="435" y="1083"/>
                  </a:lnTo>
                  <a:lnTo>
                    <a:pt x="403" y="1083"/>
                  </a:lnTo>
                  <a:lnTo>
                    <a:pt x="379" y="1083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43" name="Freeform 82">
              <a:extLst>
                <a:ext uri="{FF2B5EF4-FFF2-40B4-BE49-F238E27FC236}">
                  <a16:creationId xmlns:a16="http://schemas.microsoft.com/office/drawing/2014/main" id="{6031F8DB-CE2E-4013-8AC2-5A097B60D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9223731" y="3763441"/>
              <a:ext cx="1077617" cy="782503"/>
            </a:xfrm>
            <a:custGeom>
              <a:avLst/>
              <a:gdLst/>
              <a:ahLst/>
              <a:cxnLst>
                <a:cxn ang="0">
                  <a:pos x="137" y="1352"/>
                </a:cxn>
                <a:cxn ang="0">
                  <a:pos x="298" y="1216"/>
                </a:cxn>
                <a:cxn ang="0">
                  <a:pos x="324" y="1110"/>
                </a:cxn>
                <a:cxn ang="0">
                  <a:pos x="379" y="943"/>
                </a:cxn>
                <a:cxn ang="0">
                  <a:pos x="460" y="725"/>
                </a:cxn>
                <a:cxn ang="0">
                  <a:pos x="516" y="594"/>
                </a:cxn>
                <a:cxn ang="0">
                  <a:pos x="622" y="483"/>
                </a:cxn>
                <a:cxn ang="0">
                  <a:pos x="758" y="321"/>
                </a:cxn>
                <a:cxn ang="0">
                  <a:pos x="951" y="347"/>
                </a:cxn>
                <a:cxn ang="0">
                  <a:pos x="1113" y="321"/>
                </a:cxn>
                <a:cxn ang="0">
                  <a:pos x="1275" y="297"/>
                </a:cxn>
                <a:cxn ang="0">
                  <a:pos x="1436" y="297"/>
                </a:cxn>
                <a:cxn ang="0">
                  <a:pos x="1573" y="216"/>
                </a:cxn>
                <a:cxn ang="0">
                  <a:pos x="1735" y="48"/>
                </a:cxn>
                <a:cxn ang="0">
                  <a:pos x="2008" y="79"/>
                </a:cxn>
                <a:cxn ang="0">
                  <a:pos x="2169" y="266"/>
                </a:cxn>
                <a:cxn ang="0">
                  <a:pos x="2306" y="402"/>
                </a:cxn>
                <a:cxn ang="0">
                  <a:pos x="2468" y="514"/>
                </a:cxn>
                <a:cxn ang="0">
                  <a:pos x="2549" y="644"/>
                </a:cxn>
                <a:cxn ang="0">
                  <a:pos x="2549" y="781"/>
                </a:cxn>
                <a:cxn ang="0">
                  <a:pos x="2580" y="974"/>
                </a:cxn>
                <a:cxn ang="0">
                  <a:pos x="2605" y="1135"/>
                </a:cxn>
                <a:cxn ang="0">
                  <a:pos x="2878" y="1240"/>
                </a:cxn>
                <a:cxn ang="0">
                  <a:pos x="3040" y="1110"/>
                </a:cxn>
                <a:cxn ang="0">
                  <a:pos x="3201" y="1191"/>
                </a:cxn>
                <a:cxn ang="0">
                  <a:pos x="3146" y="1377"/>
                </a:cxn>
                <a:cxn ang="0">
                  <a:pos x="3009" y="1458"/>
                </a:cxn>
                <a:cxn ang="0">
                  <a:pos x="3009" y="1352"/>
                </a:cxn>
                <a:cxn ang="0">
                  <a:pos x="2984" y="1408"/>
                </a:cxn>
                <a:cxn ang="0">
                  <a:pos x="2959" y="1513"/>
                </a:cxn>
                <a:cxn ang="0">
                  <a:pos x="3009" y="1539"/>
                </a:cxn>
                <a:cxn ang="0">
                  <a:pos x="2984" y="1731"/>
                </a:cxn>
                <a:cxn ang="0">
                  <a:pos x="3009" y="1893"/>
                </a:cxn>
                <a:cxn ang="0">
                  <a:pos x="2797" y="1948"/>
                </a:cxn>
                <a:cxn ang="0">
                  <a:pos x="2686" y="1893"/>
                </a:cxn>
                <a:cxn ang="0">
                  <a:pos x="2524" y="1867"/>
                </a:cxn>
                <a:cxn ang="0">
                  <a:pos x="2250" y="1974"/>
                </a:cxn>
                <a:cxn ang="0">
                  <a:pos x="2114" y="2110"/>
                </a:cxn>
                <a:cxn ang="0">
                  <a:pos x="1927" y="2247"/>
                </a:cxn>
                <a:cxn ang="0">
                  <a:pos x="1709" y="2271"/>
                </a:cxn>
                <a:cxn ang="0">
                  <a:pos x="1548" y="2302"/>
                </a:cxn>
                <a:cxn ang="0">
                  <a:pos x="1330" y="2302"/>
                </a:cxn>
                <a:cxn ang="0">
                  <a:pos x="1113" y="2327"/>
                </a:cxn>
                <a:cxn ang="0">
                  <a:pos x="1113" y="2221"/>
                </a:cxn>
                <a:cxn ang="0">
                  <a:pos x="951" y="2135"/>
                </a:cxn>
                <a:cxn ang="0">
                  <a:pos x="951" y="2054"/>
                </a:cxn>
                <a:cxn ang="0">
                  <a:pos x="870" y="1948"/>
                </a:cxn>
                <a:cxn ang="0">
                  <a:pos x="758" y="2054"/>
                </a:cxn>
                <a:cxn ang="0">
                  <a:pos x="573" y="2029"/>
                </a:cxn>
                <a:cxn ang="0">
                  <a:pos x="540" y="1924"/>
                </a:cxn>
                <a:cxn ang="0">
                  <a:pos x="491" y="1787"/>
                </a:cxn>
                <a:cxn ang="0">
                  <a:pos x="274" y="1706"/>
                </a:cxn>
                <a:cxn ang="0">
                  <a:pos x="137" y="1513"/>
                </a:cxn>
                <a:cxn ang="0">
                  <a:pos x="0" y="1408"/>
                </a:cxn>
              </a:cxnLst>
              <a:rect l="0" t="0" r="r" b="b"/>
              <a:pathLst>
                <a:path w="3201" h="2327">
                  <a:moveTo>
                    <a:pt x="0" y="1408"/>
                  </a:moveTo>
                  <a:lnTo>
                    <a:pt x="25" y="1377"/>
                  </a:lnTo>
                  <a:lnTo>
                    <a:pt x="56" y="1377"/>
                  </a:lnTo>
                  <a:lnTo>
                    <a:pt x="80" y="1352"/>
                  </a:lnTo>
                  <a:lnTo>
                    <a:pt x="106" y="1377"/>
                  </a:lnTo>
                  <a:lnTo>
                    <a:pt x="137" y="1352"/>
                  </a:lnTo>
                  <a:lnTo>
                    <a:pt x="162" y="1297"/>
                  </a:lnTo>
                  <a:lnTo>
                    <a:pt x="193" y="1297"/>
                  </a:lnTo>
                  <a:lnTo>
                    <a:pt x="218" y="1297"/>
                  </a:lnTo>
                  <a:lnTo>
                    <a:pt x="243" y="1297"/>
                  </a:lnTo>
                  <a:lnTo>
                    <a:pt x="274" y="1271"/>
                  </a:lnTo>
                  <a:lnTo>
                    <a:pt x="298" y="1216"/>
                  </a:lnTo>
                  <a:lnTo>
                    <a:pt x="324" y="1216"/>
                  </a:lnTo>
                  <a:lnTo>
                    <a:pt x="324" y="1191"/>
                  </a:lnTo>
                  <a:lnTo>
                    <a:pt x="298" y="1191"/>
                  </a:lnTo>
                  <a:lnTo>
                    <a:pt x="298" y="1160"/>
                  </a:lnTo>
                  <a:lnTo>
                    <a:pt x="298" y="1135"/>
                  </a:lnTo>
                  <a:lnTo>
                    <a:pt x="324" y="1110"/>
                  </a:lnTo>
                  <a:lnTo>
                    <a:pt x="355" y="1079"/>
                  </a:lnTo>
                  <a:lnTo>
                    <a:pt x="355" y="1055"/>
                  </a:lnTo>
                  <a:lnTo>
                    <a:pt x="379" y="1055"/>
                  </a:lnTo>
                  <a:lnTo>
                    <a:pt x="355" y="1024"/>
                  </a:lnTo>
                  <a:lnTo>
                    <a:pt x="379" y="998"/>
                  </a:lnTo>
                  <a:lnTo>
                    <a:pt x="379" y="943"/>
                  </a:lnTo>
                  <a:lnTo>
                    <a:pt x="404" y="917"/>
                  </a:lnTo>
                  <a:lnTo>
                    <a:pt x="404" y="893"/>
                  </a:lnTo>
                  <a:lnTo>
                    <a:pt x="404" y="862"/>
                  </a:lnTo>
                  <a:lnTo>
                    <a:pt x="435" y="837"/>
                  </a:lnTo>
                  <a:lnTo>
                    <a:pt x="435" y="812"/>
                  </a:lnTo>
                  <a:lnTo>
                    <a:pt x="460" y="725"/>
                  </a:lnTo>
                  <a:lnTo>
                    <a:pt x="491" y="701"/>
                  </a:lnTo>
                  <a:lnTo>
                    <a:pt x="460" y="701"/>
                  </a:lnTo>
                  <a:lnTo>
                    <a:pt x="460" y="675"/>
                  </a:lnTo>
                  <a:lnTo>
                    <a:pt x="460" y="644"/>
                  </a:lnTo>
                  <a:lnTo>
                    <a:pt x="491" y="594"/>
                  </a:lnTo>
                  <a:lnTo>
                    <a:pt x="516" y="594"/>
                  </a:lnTo>
                  <a:lnTo>
                    <a:pt x="516" y="564"/>
                  </a:lnTo>
                  <a:lnTo>
                    <a:pt x="540" y="514"/>
                  </a:lnTo>
                  <a:lnTo>
                    <a:pt x="573" y="514"/>
                  </a:lnTo>
                  <a:lnTo>
                    <a:pt x="573" y="483"/>
                  </a:lnTo>
                  <a:lnTo>
                    <a:pt x="597" y="483"/>
                  </a:lnTo>
                  <a:lnTo>
                    <a:pt x="622" y="483"/>
                  </a:lnTo>
                  <a:lnTo>
                    <a:pt x="653" y="458"/>
                  </a:lnTo>
                  <a:lnTo>
                    <a:pt x="678" y="402"/>
                  </a:lnTo>
                  <a:lnTo>
                    <a:pt x="703" y="378"/>
                  </a:lnTo>
                  <a:lnTo>
                    <a:pt x="734" y="347"/>
                  </a:lnTo>
                  <a:lnTo>
                    <a:pt x="758" y="347"/>
                  </a:lnTo>
                  <a:lnTo>
                    <a:pt x="758" y="321"/>
                  </a:lnTo>
                  <a:lnTo>
                    <a:pt x="789" y="297"/>
                  </a:lnTo>
                  <a:lnTo>
                    <a:pt x="839" y="347"/>
                  </a:lnTo>
                  <a:lnTo>
                    <a:pt x="870" y="347"/>
                  </a:lnTo>
                  <a:lnTo>
                    <a:pt x="895" y="321"/>
                  </a:lnTo>
                  <a:lnTo>
                    <a:pt x="920" y="321"/>
                  </a:lnTo>
                  <a:lnTo>
                    <a:pt x="951" y="347"/>
                  </a:lnTo>
                  <a:lnTo>
                    <a:pt x="976" y="321"/>
                  </a:lnTo>
                  <a:lnTo>
                    <a:pt x="1000" y="347"/>
                  </a:lnTo>
                  <a:lnTo>
                    <a:pt x="1033" y="347"/>
                  </a:lnTo>
                  <a:lnTo>
                    <a:pt x="1033" y="321"/>
                  </a:lnTo>
                  <a:lnTo>
                    <a:pt x="1088" y="321"/>
                  </a:lnTo>
                  <a:lnTo>
                    <a:pt x="1113" y="321"/>
                  </a:lnTo>
                  <a:lnTo>
                    <a:pt x="1138" y="321"/>
                  </a:lnTo>
                  <a:lnTo>
                    <a:pt x="1169" y="321"/>
                  </a:lnTo>
                  <a:lnTo>
                    <a:pt x="1194" y="297"/>
                  </a:lnTo>
                  <a:lnTo>
                    <a:pt x="1218" y="297"/>
                  </a:lnTo>
                  <a:lnTo>
                    <a:pt x="1249" y="266"/>
                  </a:lnTo>
                  <a:lnTo>
                    <a:pt x="1275" y="297"/>
                  </a:lnTo>
                  <a:lnTo>
                    <a:pt x="1275" y="321"/>
                  </a:lnTo>
                  <a:lnTo>
                    <a:pt x="1330" y="347"/>
                  </a:lnTo>
                  <a:lnTo>
                    <a:pt x="1355" y="378"/>
                  </a:lnTo>
                  <a:lnTo>
                    <a:pt x="1386" y="347"/>
                  </a:lnTo>
                  <a:lnTo>
                    <a:pt x="1411" y="347"/>
                  </a:lnTo>
                  <a:lnTo>
                    <a:pt x="1436" y="297"/>
                  </a:lnTo>
                  <a:lnTo>
                    <a:pt x="1436" y="266"/>
                  </a:lnTo>
                  <a:lnTo>
                    <a:pt x="1467" y="266"/>
                  </a:lnTo>
                  <a:lnTo>
                    <a:pt x="1467" y="241"/>
                  </a:lnTo>
                  <a:lnTo>
                    <a:pt x="1493" y="241"/>
                  </a:lnTo>
                  <a:lnTo>
                    <a:pt x="1517" y="241"/>
                  </a:lnTo>
                  <a:lnTo>
                    <a:pt x="1573" y="216"/>
                  </a:lnTo>
                  <a:lnTo>
                    <a:pt x="1598" y="216"/>
                  </a:lnTo>
                  <a:lnTo>
                    <a:pt x="1629" y="185"/>
                  </a:lnTo>
                  <a:lnTo>
                    <a:pt x="1654" y="185"/>
                  </a:lnTo>
                  <a:lnTo>
                    <a:pt x="1685" y="160"/>
                  </a:lnTo>
                  <a:lnTo>
                    <a:pt x="1709" y="105"/>
                  </a:lnTo>
                  <a:lnTo>
                    <a:pt x="1735" y="48"/>
                  </a:lnTo>
                  <a:lnTo>
                    <a:pt x="1790" y="48"/>
                  </a:lnTo>
                  <a:lnTo>
                    <a:pt x="1846" y="0"/>
                  </a:lnTo>
                  <a:lnTo>
                    <a:pt x="1896" y="0"/>
                  </a:lnTo>
                  <a:lnTo>
                    <a:pt x="1953" y="24"/>
                  </a:lnTo>
                  <a:lnTo>
                    <a:pt x="1984" y="48"/>
                  </a:lnTo>
                  <a:lnTo>
                    <a:pt x="2008" y="79"/>
                  </a:lnTo>
                  <a:lnTo>
                    <a:pt x="2064" y="160"/>
                  </a:lnTo>
                  <a:lnTo>
                    <a:pt x="2064" y="185"/>
                  </a:lnTo>
                  <a:lnTo>
                    <a:pt x="2089" y="185"/>
                  </a:lnTo>
                  <a:lnTo>
                    <a:pt x="2089" y="216"/>
                  </a:lnTo>
                  <a:lnTo>
                    <a:pt x="2145" y="241"/>
                  </a:lnTo>
                  <a:lnTo>
                    <a:pt x="2169" y="266"/>
                  </a:lnTo>
                  <a:lnTo>
                    <a:pt x="2195" y="321"/>
                  </a:lnTo>
                  <a:lnTo>
                    <a:pt x="2226" y="321"/>
                  </a:lnTo>
                  <a:lnTo>
                    <a:pt x="2226" y="347"/>
                  </a:lnTo>
                  <a:lnTo>
                    <a:pt x="2250" y="378"/>
                  </a:lnTo>
                  <a:lnTo>
                    <a:pt x="2281" y="378"/>
                  </a:lnTo>
                  <a:lnTo>
                    <a:pt x="2306" y="402"/>
                  </a:lnTo>
                  <a:lnTo>
                    <a:pt x="2331" y="458"/>
                  </a:lnTo>
                  <a:lnTo>
                    <a:pt x="2363" y="458"/>
                  </a:lnTo>
                  <a:lnTo>
                    <a:pt x="2387" y="483"/>
                  </a:lnTo>
                  <a:lnTo>
                    <a:pt x="2411" y="483"/>
                  </a:lnTo>
                  <a:lnTo>
                    <a:pt x="2444" y="483"/>
                  </a:lnTo>
                  <a:lnTo>
                    <a:pt x="2468" y="514"/>
                  </a:lnTo>
                  <a:lnTo>
                    <a:pt x="2468" y="539"/>
                  </a:lnTo>
                  <a:lnTo>
                    <a:pt x="2499" y="564"/>
                  </a:lnTo>
                  <a:lnTo>
                    <a:pt x="2499" y="594"/>
                  </a:lnTo>
                  <a:lnTo>
                    <a:pt x="2499" y="620"/>
                  </a:lnTo>
                  <a:lnTo>
                    <a:pt x="2524" y="620"/>
                  </a:lnTo>
                  <a:lnTo>
                    <a:pt x="2549" y="644"/>
                  </a:lnTo>
                  <a:lnTo>
                    <a:pt x="2524" y="675"/>
                  </a:lnTo>
                  <a:lnTo>
                    <a:pt x="2524" y="701"/>
                  </a:lnTo>
                  <a:lnTo>
                    <a:pt x="2549" y="701"/>
                  </a:lnTo>
                  <a:lnTo>
                    <a:pt x="2549" y="725"/>
                  </a:lnTo>
                  <a:lnTo>
                    <a:pt x="2549" y="756"/>
                  </a:lnTo>
                  <a:lnTo>
                    <a:pt x="2549" y="781"/>
                  </a:lnTo>
                  <a:lnTo>
                    <a:pt x="2524" y="812"/>
                  </a:lnTo>
                  <a:lnTo>
                    <a:pt x="2549" y="837"/>
                  </a:lnTo>
                  <a:lnTo>
                    <a:pt x="2549" y="862"/>
                  </a:lnTo>
                  <a:lnTo>
                    <a:pt x="2580" y="917"/>
                  </a:lnTo>
                  <a:lnTo>
                    <a:pt x="2549" y="943"/>
                  </a:lnTo>
                  <a:lnTo>
                    <a:pt x="2580" y="974"/>
                  </a:lnTo>
                  <a:lnTo>
                    <a:pt x="2580" y="1024"/>
                  </a:lnTo>
                  <a:lnTo>
                    <a:pt x="2605" y="1055"/>
                  </a:lnTo>
                  <a:lnTo>
                    <a:pt x="2629" y="1079"/>
                  </a:lnTo>
                  <a:lnTo>
                    <a:pt x="2629" y="1110"/>
                  </a:lnTo>
                  <a:lnTo>
                    <a:pt x="2605" y="1110"/>
                  </a:lnTo>
                  <a:lnTo>
                    <a:pt x="2605" y="1135"/>
                  </a:lnTo>
                  <a:lnTo>
                    <a:pt x="2629" y="1135"/>
                  </a:lnTo>
                  <a:lnTo>
                    <a:pt x="2629" y="1160"/>
                  </a:lnTo>
                  <a:lnTo>
                    <a:pt x="2660" y="1160"/>
                  </a:lnTo>
                  <a:lnTo>
                    <a:pt x="2686" y="1216"/>
                  </a:lnTo>
                  <a:lnTo>
                    <a:pt x="2741" y="1240"/>
                  </a:lnTo>
                  <a:lnTo>
                    <a:pt x="2878" y="1240"/>
                  </a:lnTo>
                  <a:lnTo>
                    <a:pt x="2904" y="1240"/>
                  </a:lnTo>
                  <a:lnTo>
                    <a:pt x="2904" y="1216"/>
                  </a:lnTo>
                  <a:lnTo>
                    <a:pt x="2959" y="1216"/>
                  </a:lnTo>
                  <a:lnTo>
                    <a:pt x="2959" y="1160"/>
                  </a:lnTo>
                  <a:lnTo>
                    <a:pt x="3009" y="1135"/>
                  </a:lnTo>
                  <a:lnTo>
                    <a:pt x="3040" y="1110"/>
                  </a:lnTo>
                  <a:lnTo>
                    <a:pt x="3065" y="1079"/>
                  </a:lnTo>
                  <a:lnTo>
                    <a:pt x="3096" y="1079"/>
                  </a:lnTo>
                  <a:lnTo>
                    <a:pt x="3177" y="1135"/>
                  </a:lnTo>
                  <a:lnTo>
                    <a:pt x="3177" y="1160"/>
                  </a:lnTo>
                  <a:lnTo>
                    <a:pt x="3177" y="1191"/>
                  </a:lnTo>
                  <a:lnTo>
                    <a:pt x="3201" y="1191"/>
                  </a:lnTo>
                  <a:lnTo>
                    <a:pt x="3201" y="1240"/>
                  </a:lnTo>
                  <a:lnTo>
                    <a:pt x="3201" y="1271"/>
                  </a:lnTo>
                  <a:lnTo>
                    <a:pt x="3201" y="1328"/>
                  </a:lnTo>
                  <a:lnTo>
                    <a:pt x="3201" y="1352"/>
                  </a:lnTo>
                  <a:lnTo>
                    <a:pt x="3177" y="1377"/>
                  </a:lnTo>
                  <a:lnTo>
                    <a:pt x="3146" y="1377"/>
                  </a:lnTo>
                  <a:lnTo>
                    <a:pt x="3120" y="1377"/>
                  </a:lnTo>
                  <a:lnTo>
                    <a:pt x="3096" y="1408"/>
                  </a:lnTo>
                  <a:lnTo>
                    <a:pt x="3065" y="1433"/>
                  </a:lnTo>
                  <a:lnTo>
                    <a:pt x="3040" y="1513"/>
                  </a:lnTo>
                  <a:lnTo>
                    <a:pt x="3009" y="1489"/>
                  </a:lnTo>
                  <a:lnTo>
                    <a:pt x="3009" y="1458"/>
                  </a:lnTo>
                  <a:lnTo>
                    <a:pt x="3040" y="1458"/>
                  </a:lnTo>
                  <a:lnTo>
                    <a:pt x="3040" y="1433"/>
                  </a:lnTo>
                  <a:lnTo>
                    <a:pt x="3065" y="1408"/>
                  </a:lnTo>
                  <a:lnTo>
                    <a:pt x="3040" y="1377"/>
                  </a:lnTo>
                  <a:lnTo>
                    <a:pt x="3009" y="1377"/>
                  </a:lnTo>
                  <a:lnTo>
                    <a:pt x="3009" y="1352"/>
                  </a:lnTo>
                  <a:lnTo>
                    <a:pt x="3040" y="1328"/>
                  </a:lnTo>
                  <a:lnTo>
                    <a:pt x="2984" y="1328"/>
                  </a:lnTo>
                  <a:lnTo>
                    <a:pt x="2959" y="1328"/>
                  </a:lnTo>
                  <a:lnTo>
                    <a:pt x="2959" y="1377"/>
                  </a:lnTo>
                  <a:lnTo>
                    <a:pt x="2984" y="1377"/>
                  </a:lnTo>
                  <a:lnTo>
                    <a:pt x="2984" y="1408"/>
                  </a:lnTo>
                  <a:lnTo>
                    <a:pt x="2984" y="1433"/>
                  </a:lnTo>
                  <a:lnTo>
                    <a:pt x="3009" y="1458"/>
                  </a:lnTo>
                  <a:lnTo>
                    <a:pt x="2984" y="1458"/>
                  </a:lnTo>
                  <a:lnTo>
                    <a:pt x="2959" y="1489"/>
                  </a:lnTo>
                  <a:lnTo>
                    <a:pt x="2984" y="1513"/>
                  </a:lnTo>
                  <a:lnTo>
                    <a:pt x="2959" y="1513"/>
                  </a:lnTo>
                  <a:lnTo>
                    <a:pt x="2959" y="1539"/>
                  </a:lnTo>
                  <a:lnTo>
                    <a:pt x="2959" y="1570"/>
                  </a:lnTo>
                  <a:lnTo>
                    <a:pt x="2984" y="1594"/>
                  </a:lnTo>
                  <a:lnTo>
                    <a:pt x="3009" y="1539"/>
                  </a:lnTo>
                  <a:lnTo>
                    <a:pt x="3009" y="1513"/>
                  </a:lnTo>
                  <a:lnTo>
                    <a:pt x="3009" y="1539"/>
                  </a:lnTo>
                  <a:lnTo>
                    <a:pt x="3009" y="1570"/>
                  </a:lnTo>
                  <a:lnTo>
                    <a:pt x="2984" y="1594"/>
                  </a:lnTo>
                  <a:lnTo>
                    <a:pt x="2984" y="1651"/>
                  </a:lnTo>
                  <a:lnTo>
                    <a:pt x="2959" y="1675"/>
                  </a:lnTo>
                  <a:lnTo>
                    <a:pt x="2959" y="1706"/>
                  </a:lnTo>
                  <a:lnTo>
                    <a:pt x="2984" y="1731"/>
                  </a:lnTo>
                  <a:lnTo>
                    <a:pt x="2984" y="1756"/>
                  </a:lnTo>
                  <a:lnTo>
                    <a:pt x="2984" y="1787"/>
                  </a:lnTo>
                  <a:lnTo>
                    <a:pt x="3009" y="1812"/>
                  </a:lnTo>
                  <a:lnTo>
                    <a:pt x="3009" y="1836"/>
                  </a:lnTo>
                  <a:lnTo>
                    <a:pt x="3009" y="1867"/>
                  </a:lnTo>
                  <a:lnTo>
                    <a:pt x="3009" y="1893"/>
                  </a:lnTo>
                  <a:lnTo>
                    <a:pt x="3009" y="1924"/>
                  </a:lnTo>
                  <a:lnTo>
                    <a:pt x="3009" y="1948"/>
                  </a:lnTo>
                  <a:lnTo>
                    <a:pt x="2959" y="1948"/>
                  </a:lnTo>
                  <a:lnTo>
                    <a:pt x="2904" y="1974"/>
                  </a:lnTo>
                  <a:lnTo>
                    <a:pt x="2847" y="1974"/>
                  </a:lnTo>
                  <a:lnTo>
                    <a:pt x="2797" y="1948"/>
                  </a:lnTo>
                  <a:lnTo>
                    <a:pt x="2766" y="1924"/>
                  </a:lnTo>
                  <a:lnTo>
                    <a:pt x="2766" y="1893"/>
                  </a:lnTo>
                  <a:lnTo>
                    <a:pt x="2741" y="1893"/>
                  </a:lnTo>
                  <a:lnTo>
                    <a:pt x="2710" y="1893"/>
                  </a:lnTo>
                  <a:lnTo>
                    <a:pt x="2710" y="1924"/>
                  </a:lnTo>
                  <a:lnTo>
                    <a:pt x="2686" y="1893"/>
                  </a:lnTo>
                  <a:lnTo>
                    <a:pt x="2660" y="1893"/>
                  </a:lnTo>
                  <a:lnTo>
                    <a:pt x="2629" y="1893"/>
                  </a:lnTo>
                  <a:lnTo>
                    <a:pt x="2580" y="1924"/>
                  </a:lnTo>
                  <a:lnTo>
                    <a:pt x="2549" y="1893"/>
                  </a:lnTo>
                  <a:lnTo>
                    <a:pt x="2549" y="1867"/>
                  </a:lnTo>
                  <a:lnTo>
                    <a:pt x="2524" y="1867"/>
                  </a:lnTo>
                  <a:lnTo>
                    <a:pt x="2468" y="1893"/>
                  </a:lnTo>
                  <a:lnTo>
                    <a:pt x="2444" y="1893"/>
                  </a:lnTo>
                  <a:lnTo>
                    <a:pt x="2411" y="1893"/>
                  </a:lnTo>
                  <a:lnTo>
                    <a:pt x="2331" y="1948"/>
                  </a:lnTo>
                  <a:lnTo>
                    <a:pt x="2281" y="1974"/>
                  </a:lnTo>
                  <a:lnTo>
                    <a:pt x="2250" y="1974"/>
                  </a:lnTo>
                  <a:lnTo>
                    <a:pt x="2226" y="2004"/>
                  </a:lnTo>
                  <a:lnTo>
                    <a:pt x="2195" y="2004"/>
                  </a:lnTo>
                  <a:lnTo>
                    <a:pt x="2169" y="2029"/>
                  </a:lnTo>
                  <a:lnTo>
                    <a:pt x="2145" y="2029"/>
                  </a:lnTo>
                  <a:lnTo>
                    <a:pt x="2114" y="2085"/>
                  </a:lnTo>
                  <a:lnTo>
                    <a:pt x="2114" y="2110"/>
                  </a:lnTo>
                  <a:lnTo>
                    <a:pt x="2089" y="2135"/>
                  </a:lnTo>
                  <a:lnTo>
                    <a:pt x="2064" y="2190"/>
                  </a:lnTo>
                  <a:lnTo>
                    <a:pt x="2033" y="2221"/>
                  </a:lnTo>
                  <a:lnTo>
                    <a:pt x="2008" y="2247"/>
                  </a:lnTo>
                  <a:lnTo>
                    <a:pt x="1984" y="2247"/>
                  </a:lnTo>
                  <a:lnTo>
                    <a:pt x="1927" y="2247"/>
                  </a:lnTo>
                  <a:lnTo>
                    <a:pt x="1896" y="2247"/>
                  </a:lnTo>
                  <a:lnTo>
                    <a:pt x="1846" y="2247"/>
                  </a:lnTo>
                  <a:lnTo>
                    <a:pt x="1815" y="2247"/>
                  </a:lnTo>
                  <a:lnTo>
                    <a:pt x="1766" y="2247"/>
                  </a:lnTo>
                  <a:lnTo>
                    <a:pt x="1735" y="2247"/>
                  </a:lnTo>
                  <a:lnTo>
                    <a:pt x="1709" y="2271"/>
                  </a:lnTo>
                  <a:lnTo>
                    <a:pt x="1685" y="2247"/>
                  </a:lnTo>
                  <a:lnTo>
                    <a:pt x="1654" y="2247"/>
                  </a:lnTo>
                  <a:lnTo>
                    <a:pt x="1629" y="2271"/>
                  </a:lnTo>
                  <a:lnTo>
                    <a:pt x="1598" y="2302"/>
                  </a:lnTo>
                  <a:lnTo>
                    <a:pt x="1573" y="2302"/>
                  </a:lnTo>
                  <a:lnTo>
                    <a:pt x="1548" y="2302"/>
                  </a:lnTo>
                  <a:lnTo>
                    <a:pt x="1493" y="2302"/>
                  </a:lnTo>
                  <a:lnTo>
                    <a:pt x="1467" y="2302"/>
                  </a:lnTo>
                  <a:lnTo>
                    <a:pt x="1436" y="2302"/>
                  </a:lnTo>
                  <a:lnTo>
                    <a:pt x="1411" y="2302"/>
                  </a:lnTo>
                  <a:lnTo>
                    <a:pt x="1386" y="2302"/>
                  </a:lnTo>
                  <a:lnTo>
                    <a:pt x="1330" y="2302"/>
                  </a:lnTo>
                  <a:lnTo>
                    <a:pt x="1299" y="2302"/>
                  </a:lnTo>
                  <a:lnTo>
                    <a:pt x="1249" y="2302"/>
                  </a:lnTo>
                  <a:lnTo>
                    <a:pt x="1218" y="2302"/>
                  </a:lnTo>
                  <a:lnTo>
                    <a:pt x="1169" y="2302"/>
                  </a:lnTo>
                  <a:lnTo>
                    <a:pt x="1138" y="2327"/>
                  </a:lnTo>
                  <a:lnTo>
                    <a:pt x="1113" y="2327"/>
                  </a:lnTo>
                  <a:lnTo>
                    <a:pt x="1088" y="2327"/>
                  </a:lnTo>
                  <a:lnTo>
                    <a:pt x="1057" y="2302"/>
                  </a:lnTo>
                  <a:lnTo>
                    <a:pt x="1057" y="2271"/>
                  </a:lnTo>
                  <a:lnTo>
                    <a:pt x="1088" y="2271"/>
                  </a:lnTo>
                  <a:lnTo>
                    <a:pt x="1088" y="2247"/>
                  </a:lnTo>
                  <a:lnTo>
                    <a:pt x="1113" y="2221"/>
                  </a:lnTo>
                  <a:lnTo>
                    <a:pt x="1088" y="2190"/>
                  </a:lnTo>
                  <a:lnTo>
                    <a:pt x="1057" y="2190"/>
                  </a:lnTo>
                  <a:lnTo>
                    <a:pt x="1000" y="2166"/>
                  </a:lnTo>
                  <a:lnTo>
                    <a:pt x="976" y="2166"/>
                  </a:lnTo>
                  <a:lnTo>
                    <a:pt x="976" y="2135"/>
                  </a:lnTo>
                  <a:lnTo>
                    <a:pt x="951" y="2135"/>
                  </a:lnTo>
                  <a:lnTo>
                    <a:pt x="920" y="2135"/>
                  </a:lnTo>
                  <a:lnTo>
                    <a:pt x="920" y="2110"/>
                  </a:lnTo>
                  <a:lnTo>
                    <a:pt x="895" y="2085"/>
                  </a:lnTo>
                  <a:lnTo>
                    <a:pt x="920" y="2085"/>
                  </a:lnTo>
                  <a:lnTo>
                    <a:pt x="920" y="2054"/>
                  </a:lnTo>
                  <a:lnTo>
                    <a:pt x="951" y="2054"/>
                  </a:lnTo>
                  <a:lnTo>
                    <a:pt x="976" y="2029"/>
                  </a:lnTo>
                  <a:lnTo>
                    <a:pt x="976" y="2004"/>
                  </a:lnTo>
                  <a:lnTo>
                    <a:pt x="951" y="2004"/>
                  </a:lnTo>
                  <a:lnTo>
                    <a:pt x="920" y="2004"/>
                  </a:lnTo>
                  <a:lnTo>
                    <a:pt x="895" y="2004"/>
                  </a:lnTo>
                  <a:lnTo>
                    <a:pt x="870" y="1948"/>
                  </a:lnTo>
                  <a:lnTo>
                    <a:pt x="839" y="1948"/>
                  </a:lnTo>
                  <a:lnTo>
                    <a:pt x="815" y="1974"/>
                  </a:lnTo>
                  <a:lnTo>
                    <a:pt x="789" y="1974"/>
                  </a:lnTo>
                  <a:lnTo>
                    <a:pt x="789" y="2054"/>
                  </a:lnTo>
                  <a:lnTo>
                    <a:pt x="758" y="2085"/>
                  </a:lnTo>
                  <a:lnTo>
                    <a:pt x="758" y="2054"/>
                  </a:lnTo>
                  <a:lnTo>
                    <a:pt x="734" y="2054"/>
                  </a:lnTo>
                  <a:lnTo>
                    <a:pt x="734" y="2029"/>
                  </a:lnTo>
                  <a:lnTo>
                    <a:pt x="703" y="2029"/>
                  </a:lnTo>
                  <a:lnTo>
                    <a:pt x="678" y="2004"/>
                  </a:lnTo>
                  <a:lnTo>
                    <a:pt x="597" y="2029"/>
                  </a:lnTo>
                  <a:lnTo>
                    <a:pt x="573" y="2029"/>
                  </a:lnTo>
                  <a:lnTo>
                    <a:pt x="573" y="2004"/>
                  </a:lnTo>
                  <a:lnTo>
                    <a:pt x="573" y="1974"/>
                  </a:lnTo>
                  <a:lnTo>
                    <a:pt x="540" y="1974"/>
                  </a:lnTo>
                  <a:lnTo>
                    <a:pt x="491" y="1974"/>
                  </a:lnTo>
                  <a:lnTo>
                    <a:pt x="516" y="1948"/>
                  </a:lnTo>
                  <a:lnTo>
                    <a:pt x="540" y="1924"/>
                  </a:lnTo>
                  <a:lnTo>
                    <a:pt x="516" y="1893"/>
                  </a:lnTo>
                  <a:lnTo>
                    <a:pt x="491" y="1893"/>
                  </a:lnTo>
                  <a:lnTo>
                    <a:pt x="491" y="1867"/>
                  </a:lnTo>
                  <a:lnTo>
                    <a:pt x="516" y="1836"/>
                  </a:lnTo>
                  <a:lnTo>
                    <a:pt x="516" y="1812"/>
                  </a:lnTo>
                  <a:lnTo>
                    <a:pt x="491" y="1787"/>
                  </a:lnTo>
                  <a:lnTo>
                    <a:pt x="435" y="1756"/>
                  </a:lnTo>
                  <a:lnTo>
                    <a:pt x="379" y="1756"/>
                  </a:lnTo>
                  <a:lnTo>
                    <a:pt x="355" y="1756"/>
                  </a:lnTo>
                  <a:lnTo>
                    <a:pt x="324" y="1731"/>
                  </a:lnTo>
                  <a:lnTo>
                    <a:pt x="298" y="1731"/>
                  </a:lnTo>
                  <a:lnTo>
                    <a:pt x="274" y="1706"/>
                  </a:lnTo>
                  <a:lnTo>
                    <a:pt x="243" y="1675"/>
                  </a:lnTo>
                  <a:lnTo>
                    <a:pt x="243" y="1651"/>
                  </a:lnTo>
                  <a:lnTo>
                    <a:pt x="218" y="1625"/>
                  </a:lnTo>
                  <a:lnTo>
                    <a:pt x="218" y="1570"/>
                  </a:lnTo>
                  <a:lnTo>
                    <a:pt x="193" y="1570"/>
                  </a:lnTo>
                  <a:lnTo>
                    <a:pt x="137" y="1513"/>
                  </a:lnTo>
                  <a:lnTo>
                    <a:pt x="137" y="1489"/>
                  </a:lnTo>
                  <a:lnTo>
                    <a:pt x="106" y="1489"/>
                  </a:lnTo>
                  <a:lnTo>
                    <a:pt x="80" y="1489"/>
                  </a:lnTo>
                  <a:lnTo>
                    <a:pt x="56" y="1458"/>
                  </a:lnTo>
                  <a:lnTo>
                    <a:pt x="56" y="1433"/>
                  </a:lnTo>
                  <a:lnTo>
                    <a:pt x="0" y="1408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44" name="Freeform 83">
              <a:extLst>
                <a:ext uri="{FF2B5EF4-FFF2-40B4-BE49-F238E27FC236}">
                  <a16:creationId xmlns:a16="http://schemas.microsoft.com/office/drawing/2014/main" id="{32A49944-B8E7-40E5-9DC0-A630760940B0}"/>
                </a:ext>
              </a:extLst>
            </p:cNvPr>
            <p:cNvSpPr>
              <a:spLocks/>
            </p:cNvSpPr>
            <p:nvPr/>
          </p:nvSpPr>
          <p:spPr bwMode="gray">
            <a:xfrm>
              <a:off x="9525553" y="4393915"/>
              <a:ext cx="722139" cy="554459"/>
            </a:xfrm>
            <a:custGeom>
              <a:avLst/>
              <a:gdLst/>
              <a:ahLst/>
              <a:cxnLst>
                <a:cxn ang="0">
                  <a:pos x="217" y="354"/>
                </a:cxn>
                <a:cxn ang="0">
                  <a:pos x="193" y="459"/>
                </a:cxn>
                <a:cxn ang="0">
                  <a:pos x="354" y="434"/>
                </a:cxn>
                <a:cxn ang="0">
                  <a:pos x="541" y="434"/>
                </a:cxn>
                <a:cxn ang="0">
                  <a:pos x="703" y="434"/>
                </a:cxn>
                <a:cxn ang="0">
                  <a:pos x="839" y="378"/>
                </a:cxn>
                <a:cxn ang="0">
                  <a:pos x="1032" y="378"/>
                </a:cxn>
                <a:cxn ang="0">
                  <a:pos x="1194" y="267"/>
                </a:cxn>
                <a:cxn ang="0">
                  <a:pos x="1299" y="137"/>
                </a:cxn>
                <a:cxn ang="0">
                  <a:pos x="1516" y="25"/>
                </a:cxn>
                <a:cxn ang="0">
                  <a:pos x="1654" y="25"/>
                </a:cxn>
                <a:cxn ang="0">
                  <a:pos x="1815" y="56"/>
                </a:cxn>
                <a:cxn ang="0">
                  <a:pos x="1902" y="80"/>
                </a:cxn>
                <a:cxn ang="0">
                  <a:pos x="2114" y="106"/>
                </a:cxn>
                <a:cxn ang="0">
                  <a:pos x="2088" y="242"/>
                </a:cxn>
                <a:cxn ang="0">
                  <a:pos x="1983" y="298"/>
                </a:cxn>
                <a:cxn ang="0">
                  <a:pos x="1983" y="403"/>
                </a:cxn>
                <a:cxn ang="0">
                  <a:pos x="2007" y="539"/>
                </a:cxn>
                <a:cxn ang="0">
                  <a:pos x="1952" y="651"/>
                </a:cxn>
                <a:cxn ang="0">
                  <a:pos x="1902" y="732"/>
                </a:cxn>
                <a:cxn ang="0">
                  <a:pos x="1902" y="782"/>
                </a:cxn>
                <a:cxn ang="0">
                  <a:pos x="1983" y="782"/>
                </a:cxn>
                <a:cxn ang="0">
                  <a:pos x="2033" y="869"/>
                </a:cxn>
                <a:cxn ang="0">
                  <a:pos x="2114" y="950"/>
                </a:cxn>
                <a:cxn ang="0">
                  <a:pos x="2007" y="998"/>
                </a:cxn>
                <a:cxn ang="0">
                  <a:pos x="1902" y="974"/>
                </a:cxn>
                <a:cxn ang="0">
                  <a:pos x="1765" y="1029"/>
                </a:cxn>
                <a:cxn ang="0">
                  <a:pos x="1628" y="1110"/>
                </a:cxn>
                <a:cxn ang="0">
                  <a:pos x="1573" y="1191"/>
                </a:cxn>
                <a:cxn ang="0">
                  <a:pos x="1516" y="1271"/>
                </a:cxn>
                <a:cxn ang="0">
                  <a:pos x="1547" y="1409"/>
                </a:cxn>
                <a:cxn ang="0">
                  <a:pos x="1411" y="1433"/>
                </a:cxn>
                <a:cxn ang="0">
                  <a:pos x="1299" y="1514"/>
                </a:cxn>
                <a:cxn ang="0">
                  <a:pos x="1087" y="1489"/>
                </a:cxn>
                <a:cxn ang="0">
                  <a:pos x="1001" y="1489"/>
                </a:cxn>
                <a:cxn ang="0">
                  <a:pos x="920" y="1464"/>
                </a:cxn>
                <a:cxn ang="0">
                  <a:pos x="790" y="1489"/>
                </a:cxn>
                <a:cxn ang="0">
                  <a:pos x="703" y="1545"/>
                </a:cxn>
                <a:cxn ang="0">
                  <a:pos x="572" y="1594"/>
                </a:cxn>
                <a:cxn ang="0">
                  <a:pos x="460" y="1650"/>
                </a:cxn>
                <a:cxn ang="0">
                  <a:pos x="404" y="1545"/>
                </a:cxn>
                <a:cxn ang="0">
                  <a:pos x="380" y="1409"/>
                </a:cxn>
                <a:cxn ang="0">
                  <a:pos x="299" y="1328"/>
                </a:cxn>
                <a:cxn ang="0">
                  <a:pos x="193" y="1271"/>
                </a:cxn>
                <a:cxn ang="0">
                  <a:pos x="162" y="1166"/>
                </a:cxn>
                <a:cxn ang="0">
                  <a:pos x="136" y="1029"/>
                </a:cxn>
                <a:cxn ang="0">
                  <a:pos x="162" y="918"/>
                </a:cxn>
                <a:cxn ang="0">
                  <a:pos x="243" y="838"/>
                </a:cxn>
                <a:cxn ang="0">
                  <a:pos x="217" y="732"/>
                </a:cxn>
                <a:cxn ang="0">
                  <a:pos x="81" y="651"/>
                </a:cxn>
                <a:cxn ang="0">
                  <a:pos x="0" y="515"/>
                </a:cxn>
                <a:cxn ang="0">
                  <a:pos x="56" y="378"/>
                </a:cxn>
              </a:cxnLst>
              <a:rect l="0" t="0" r="r" b="b"/>
              <a:pathLst>
                <a:path w="2145" h="1650">
                  <a:moveTo>
                    <a:pt x="81" y="298"/>
                  </a:moveTo>
                  <a:lnTo>
                    <a:pt x="105" y="298"/>
                  </a:lnTo>
                  <a:lnTo>
                    <a:pt x="162" y="323"/>
                  </a:lnTo>
                  <a:lnTo>
                    <a:pt x="193" y="323"/>
                  </a:lnTo>
                  <a:lnTo>
                    <a:pt x="217" y="354"/>
                  </a:lnTo>
                  <a:lnTo>
                    <a:pt x="193" y="378"/>
                  </a:lnTo>
                  <a:lnTo>
                    <a:pt x="193" y="403"/>
                  </a:lnTo>
                  <a:lnTo>
                    <a:pt x="162" y="403"/>
                  </a:lnTo>
                  <a:lnTo>
                    <a:pt x="162" y="434"/>
                  </a:lnTo>
                  <a:lnTo>
                    <a:pt x="193" y="459"/>
                  </a:lnTo>
                  <a:lnTo>
                    <a:pt x="217" y="459"/>
                  </a:lnTo>
                  <a:lnTo>
                    <a:pt x="243" y="459"/>
                  </a:lnTo>
                  <a:lnTo>
                    <a:pt x="274" y="434"/>
                  </a:lnTo>
                  <a:lnTo>
                    <a:pt x="323" y="434"/>
                  </a:lnTo>
                  <a:lnTo>
                    <a:pt x="354" y="434"/>
                  </a:lnTo>
                  <a:lnTo>
                    <a:pt x="404" y="434"/>
                  </a:lnTo>
                  <a:lnTo>
                    <a:pt x="435" y="434"/>
                  </a:lnTo>
                  <a:lnTo>
                    <a:pt x="491" y="434"/>
                  </a:lnTo>
                  <a:lnTo>
                    <a:pt x="516" y="434"/>
                  </a:lnTo>
                  <a:lnTo>
                    <a:pt x="541" y="434"/>
                  </a:lnTo>
                  <a:lnTo>
                    <a:pt x="572" y="434"/>
                  </a:lnTo>
                  <a:lnTo>
                    <a:pt x="596" y="434"/>
                  </a:lnTo>
                  <a:lnTo>
                    <a:pt x="653" y="434"/>
                  </a:lnTo>
                  <a:lnTo>
                    <a:pt x="677" y="434"/>
                  </a:lnTo>
                  <a:lnTo>
                    <a:pt x="703" y="434"/>
                  </a:lnTo>
                  <a:lnTo>
                    <a:pt x="734" y="403"/>
                  </a:lnTo>
                  <a:lnTo>
                    <a:pt x="758" y="378"/>
                  </a:lnTo>
                  <a:lnTo>
                    <a:pt x="790" y="378"/>
                  </a:lnTo>
                  <a:lnTo>
                    <a:pt x="814" y="403"/>
                  </a:lnTo>
                  <a:lnTo>
                    <a:pt x="839" y="378"/>
                  </a:lnTo>
                  <a:lnTo>
                    <a:pt x="871" y="378"/>
                  </a:lnTo>
                  <a:lnTo>
                    <a:pt x="920" y="378"/>
                  </a:lnTo>
                  <a:lnTo>
                    <a:pt x="951" y="378"/>
                  </a:lnTo>
                  <a:lnTo>
                    <a:pt x="1001" y="378"/>
                  </a:lnTo>
                  <a:lnTo>
                    <a:pt x="1032" y="378"/>
                  </a:lnTo>
                  <a:lnTo>
                    <a:pt x="1087" y="378"/>
                  </a:lnTo>
                  <a:lnTo>
                    <a:pt x="1113" y="378"/>
                  </a:lnTo>
                  <a:lnTo>
                    <a:pt x="1137" y="354"/>
                  </a:lnTo>
                  <a:lnTo>
                    <a:pt x="1168" y="323"/>
                  </a:lnTo>
                  <a:lnTo>
                    <a:pt x="1194" y="267"/>
                  </a:lnTo>
                  <a:lnTo>
                    <a:pt x="1218" y="242"/>
                  </a:lnTo>
                  <a:lnTo>
                    <a:pt x="1218" y="218"/>
                  </a:lnTo>
                  <a:lnTo>
                    <a:pt x="1249" y="161"/>
                  </a:lnTo>
                  <a:lnTo>
                    <a:pt x="1274" y="161"/>
                  </a:lnTo>
                  <a:lnTo>
                    <a:pt x="1299" y="137"/>
                  </a:lnTo>
                  <a:lnTo>
                    <a:pt x="1330" y="137"/>
                  </a:lnTo>
                  <a:lnTo>
                    <a:pt x="1355" y="106"/>
                  </a:lnTo>
                  <a:lnTo>
                    <a:pt x="1386" y="106"/>
                  </a:lnTo>
                  <a:lnTo>
                    <a:pt x="1436" y="80"/>
                  </a:lnTo>
                  <a:lnTo>
                    <a:pt x="1516" y="25"/>
                  </a:lnTo>
                  <a:lnTo>
                    <a:pt x="1547" y="25"/>
                  </a:lnTo>
                  <a:lnTo>
                    <a:pt x="1573" y="25"/>
                  </a:lnTo>
                  <a:lnTo>
                    <a:pt x="1628" y="0"/>
                  </a:lnTo>
                  <a:lnTo>
                    <a:pt x="1654" y="0"/>
                  </a:lnTo>
                  <a:lnTo>
                    <a:pt x="1654" y="25"/>
                  </a:lnTo>
                  <a:lnTo>
                    <a:pt x="1685" y="56"/>
                  </a:lnTo>
                  <a:lnTo>
                    <a:pt x="1734" y="25"/>
                  </a:lnTo>
                  <a:lnTo>
                    <a:pt x="1765" y="25"/>
                  </a:lnTo>
                  <a:lnTo>
                    <a:pt x="1790" y="25"/>
                  </a:lnTo>
                  <a:lnTo>
                    <a:pt x="1815" y="56"/>
                  </a:lnTo>
                  <a:lnTo>
                    <a:pt x="1815" y="25"/>
                  </a:lnTo>
                  <a:lnTo>
                    <a:pt x="1846" y="25"/>
                  </a:lnTo>
                  <a:lnTo>
                    <a:pt x="1870" y="25"/>
                  </a:lnTo>
                  <a:lnTo>
                    <a:pt x="1870" y="56"/>
                  </a:lnTo>
                  <a:lnTo>
                    <a:pt x="1902" y="80"/>
                  </a:lnTo>
                  <a:lnTo>
                    <a:pt x="1952" y="106"/>
                  </a:lnTo>
                  <a:lnTo>
                    <a:pt x="2007" y="106"/>
                  </a:lnTo>
                  <a:lnTo>
                    <a:pt x="2064" y="80"/>
                  </a:lnTo>
                  <a:lnTo>
                    <a:pt x="2114" y="80"/>
                  </a:lnTo>
                  <a:lnTo>
                    <a:pt x="2114" y="106"/>
                  </a:lnTo>
                  <a:lnTo>
                    <a:pt x="2114" y="137"/>
                  </a:lnTo>
                  <a:lnTo>
                    <a:pt x="2145" y="161"/>
                  </a:lnTo>
                  <a:lnTo>
                    <a:pt x="2145" y="187"/>
                  </a:lnTo>
                  <a:lnTo>
                    <a:pt x="2114" y="242"/>
                  </a:lnTo>
                  <a:lnTo>
                    <a:pt x="2088" y="242"/>
                  </a:lnTo>
                  <a:lnTo>
                    <a:pt x="2064" y="242"/>
                  </a:lnTo>
                  <a:lnTo>
                    <a:pt x="2064" y="267"/>
                  </a:lnTo>
                  <a:lnTo>
                    <a:pt x="2033" y="267"/>
                  </a:lnTo>
                  <a:lnTo>
                    <a:pt x="2007" y="267"/>
                  </a:lnTo>
                  <a:lnTo>
                    <a:pt x="1983" y="298"/>
                  </a:lnTo>
                  <a:lnTo>
                    <a:pt x="1983" y="354"/>
                  </a:lnTo>
                  <a:lnTo>
                    <a:pt x="1983" y="378"/>
                  </a:lnTo>
                  <a:lnTo>
                    <a:pt x="1952" y="378"/>
                  </a:lnTo>
                  <a:lnTo>
                    <a:pt x="1952" y="403"/>
                  </a:lnTo>
                  <a:lnTo>
                    <a:pt x="1983" y="403"/>
                  </a:lnTo>
                  <a:lnTo>
                    <a:pt x="1952" y="484"/>
                  </a:lnTo>
                  <a:lnTo>
                    <a:pt x="1983" y="484"/>
                  </a:lnTo>
                  <a:lnTo>
                    <a:pt x="1983" y="515"/>
                  </a:lnTo>
                  <a:lnTo>
                    <a:pt x="1983" y="539"/>
                  </a:lnTo>
                  <a:lnTo>
                    <a:pt x="2007" y="539"/>
                  </a:lnTo>
                  <a:lnTo>
                    <a:pt x="1983" y="565"/>
                  </a:lnTo>
                  <a:lnTo>
                    <a:pt x="2007" y="596"/>
                  </a:lnTo>
                  <a:lnTo>
                    <a:pt x="2007" y="620"/>
                  </a:lnTo>
                  <a:lnTo>
                    <a:pt x="1983" y="620"/>
                  </a:lnTo>
                  <a:lnTo>
                    <a:pt x="1952" y="651"/>
                  </a:lnTo>
                  <a:lnTo>
                    <a:pt x="1952" y="676"/>
                  </a:lnTo>
                  <a:lnTo>
                    <a:pt x="1927" y="676"/>
                  </a:lnTo>
                  <a:lnTo>
                    <a:pt x="1952" y="701"/>
                  </a:lnTo>
                  <a:lnTo>
                    <a:pt x="1927" y="732"/>
                  </a:lnTo>
                  <a:lnTo>
                    <a:pt x="1902" y="732"/>
                  </a:lnTo>
                  <a:lnTo>
                    <a:pt x="1902" y="757"/>
                  </a:lnTo>
                  <a:lnTo>
                    <a:pt x="1870" y="782"/>
                  </a:lnTo>
                  <a:lnTo>
                    <a:pt x="1846" y="782"/>
                  </a:lnTo>
                  <a:lnTo>
                    <a:pt x="1870" y="812"/>
                  </a:lnTo>
                  <a:lnTo>
                    <a:pt x="1902" y="782"/>
                  </a:lnTo>
                  <a:lnTo>
                    <a:pt x="1927" y="757"/>
                  </a:lnTo>
                  <a:lnTo>
                    <a:pt x="1952" y="757"/>
                  </a:lnTo>
                  <a:lnTo>
                    <a:pt x="1952" y="782"/>
                  </a:lnTo>
                  <a:lnTo>
                    <a:pt x="1983" y="757"/>
                  </a:lnTo>
                  <a:lnTo>
                    <a:pt x="1983" y="782"/>
                  </a:lnTo>
                  <a:lnTo>
                    <a:pt x="1983" y="812"/>
                  </a:lnTo>
                  <a:lnTo>
                    <a:pt x="2007" y="812"/>
                  </a:lnTo>
                  <a:lnTo>
                    <a:pt x="2033" y="812"/>
                  </a:lnTo>
                  <a:lnTo>
                    <a:pt x="2007" y="838"/>
                  </a:lnTo>
                  <a:lnTo>
                    <a:pt x="2033" y="869"/>
                  </a:lnTo>
                  <a:lnTo>
                    <a:pt x="2064" y="869"/>
                  </a:lnTo>
                  <a:lnTo>
                    <a:pt x="2088" y="893"/>
                  </a:lnTo>
                  <a:lnTo>
                    <a:pt x="2114" y="918"/>
                  </a:lnTo>
                  <a:lnTo>
                    <a:pt x="2145" y="950"/>
                  </a:lnTo>
                  <a:lnTo>
                    <a:pt x="2114" y="950"/>
                  </a:lnTo>
                  <a:lnTo>
                    <a:pt x="2088" y="974"/>
                  </a:lnTo>
                  <a:lnTo>
                    <a:pt x="2064" y="974"/>
                  </a:lnTo>
                  <a:lnTo>
                    <a:pt x="2064" y="998"/>
                  </a:lnTo>
                  <a:lnTo>
                    <a:pt x="2033" y="998"/>
                  </a:lnTo>
                  <a:lnTo>
                    <a:pt x="2007" y="998"/>
                  </a:lnTo>
                  <a:lnTo>
                    <a:pt x="1983" y="998"/>
                  </a:lnTo>
                  <a:lnTo>
                    <a:pt x="1983" y="1029"/>
                  </a:lnTo>
                  <a:lnTo>
                    <a:pt x="1952" y="998"/>
                  </a:lnTo>
                  <a:lnTo>
                    <a:pt x="1927" y="998"/>
                  </a:lnTo>
                  <a:lnTo>
                    <a:pt x="1902" y="974"/>
                  </a:lnTo>
                  <a:lnTo>
                    <a:pt x="1846" y="974"/>
                  </a:lnTo>
                  <a:lnTo>
                    <a:pt x="1846" y="998"/>
                  </a:lnTo>
                  <a:lnTo>
                    <a:pt x="1815" y="998"/>
                  </a:lnTo>
                  <a:lnTo>
                    <a:pt x="1790" y="998"/>
                  </a:lnTo>
                  <a:lnTo>
                    <a:pt x="1765" y="1029"/>
                  </a:lnTo>
                  <a:lnTo>
                    <a:pt x="1734" y="1055"/>
                  </a:lnTo>
                  <a:lnTo>
                    <a:pt x="1709" y="1055"/>
                  </a:lnTo>
                  <a:lnTo>
                    <a:pt x="1685" y="1079"/>
                  </a:lnTo>
                  <a:lnTo>
                    <a:pt x="1654" y="1079"/>
                  </a:lnTo>
                  <a:lnTo>
                    <a:pt x="1628" y="1110"/>
                  </a:lnTo>
                  <a:lnTo>
                    <a:pt x="1628" y="1135"/>
                  </a:lnTo>
                  <a:lnTo>
                    <a:pt x="1628" y="1166"/>
                  </a:lnTo>
                  <a:lnTo>
                    <a:pt x="1604" y="1166"/>
                  </a:lnTo>
                  <a:lnTo>
                    <a:pt x="1573" y="1166"/>
                  </a:lnTo>
                  <a:lnTo>
                    <a:pt x="1573" y="1191"/>
                  </a:lnTo>
                  <a:lnTo>
                    <a:pt x="1573" y="1216"/>
                  </a:lnTo>
                  <a:lnTo>
                    <a:pt x="1492" y="1216"/>
                  </a:lnTo>
                  <a:lnTo>
                    <a:pt x="1492" y="1247"/>
                  </a:lnTo>
                  <a:lnTo>
                    <a:pt x="1492" y="1271"/>
                  </a:lnTo>
                  <a:lnTo>
                    <a:pt x="1516" y="1271"/>
                  </a:lnTo>
                  <a:lnTo>
                    <a:pt x="1516" y="1297"/>
                  </a:lnTo>
                  <a:lnTo>
                    <a:pt x="1516" y="1328"/>
                  </a:lnTo>
                  <a:lnTo>
                    <a:pt x="1547" y="1352"/>
                  </a:lnTo>
                  <a:lnTo>
                    <a:pt x="1547" y="1378"/>
                  </a:lnTo>
                  <a:lnTo>
                    <a:pt x="1547" y="1409"/>
                  </a:lnTo>
                  <a:lnTo>
                    <a:pt x="1516" y="1409"/>
                  </a:lnTo>
                  <a:lnTo>
                    <a:pt x="1492" y="1433"/>
                  </a:lnTo>
                  <a:lnTo>
                    <a:pt x="1467" y="1433"/>
                  </a:lnTo>
                  <a:lnTo>
                    <a:pt x="1436" y="1433"/>
                  </a:lnTo>
                  <a:lnTo>
                    <a:pt x="1411" y="1433"/>
                  </a:lnTo>
                  <a:lnTo>
                    <a:pt x="1386" y="1464"/>
                  </a:lnTo>
                  <a:lnTo>
                    <a:pt x="1355" y="1464"/>
                  </a:lnTo>
                  <a:lnTo>
                    <a:pt x="1330" y="1489"/>
                  </a:lnTo>
                  <a:lnTo>
                    <a:pt x="1299" y="1489"/>
                  </a:lnTo>
                  <a:lnTo>
                    <a:pt x="1299" y="1514"/>
                  </a:lnTo>
                  <a:lnTo>
                    <a:pt x="1274" y="1514"/>
                  </a:lnTo>
                  <a:lnTo>
                    <a:pt x="1249" y="1545"/>
                  </a:lnTo>
                  <a:lnTo>
                    <a:pt x="1194" y="1489"/>
                  </a:lnTo>
                  <a:lnTo>
                    <a:pt x="1168" y="1489"/>
                  </a:lnTo>
                  <a:lnTo>
                    <a:pt x="1087" y="1489"/>
                  </a:lnTo>
                  <a:lnTo>
                    <a:pt x="1087" y="1514"/>
                  </a:lnTo>
                  <a:lnTo>
                    <a:pt x="1056" y="1514"/>
                  </a:lnTo>
                  <a:lnTo>
                    <a:pt x="1056" y="1489"/>
                  </a:lnTo>
                  <a:lnTo>
                    <a:pt x="1032" y="1489"/>
                  </a:lnTo>
                  <a:lnTo>
                    <a:pt x="1001" y="1489"/>
                  </a:lnTo>
                  <a:lnTo>
                    <a:pt x="976" y="1464"/>
                  </a:lnTo>
                  <a:lnTo>
                    <a:pt x="976" y="1433"/>
                  </a:lnTo>
                  <a:lnTo>
                    <a:pt x="951" y="1433"/>
                  </a:lnTo>
                  <a:lnTo>
                    <a:pt x="951" y="1464"/>
                  </a:lnTo>
                  <a:lnTo>
                    <a:pt x="920" y="1464"/>
                  </a:lnTo>
                  <a:lnTo>
                    <a:pt x="895" y="1464"/>
                  </a:lnTo>
                  <a:lnTo>
                    <a:pt x="871" y="1464"/>
                  </a:lnTo>
                  <a:lnTo>
                    <a:pt x="839" y="1464"/>
                  </a:lnTo>
                  <a:lnTo>
                    <a:pt x="814" y="1464"/>
                  </a:lnTo>
                  <a:lnTo>
                    <a:pt x="790" y="1489"/>
                  </a:lnTo>
                  <a:lnTo>
                    <a:pt x="814" y="1514"/>
                  </a:lnTo>
                  <a:lnTo>
                    <a:pt x="758" y="1514"/>
                  </a:lnTo>
                  <a:lnTo>
                    <a:pt x="734" y="1514"/>
                  </a:lnTo>
                  <a:lnTo>
                    <a:pt x="734" y="1545"/>
                  </a:lnTo>
                  <a:lnTo>
                    <a:pt x="703" y="1545"/>
                  </a:lnTo>
                  <a:lnTo>
                    <a:pt x="703" y="1569"/>
                  </a:lnTo>
                  <a:lnTo>
                    <a:pt x="677" y="1569"/>
                  </a:lnTo>
                  <a:lnTo>
                    <a:pt x="653" y="1594"/>
                  </a:lnTo>
                  <a:lnTo>
                    <a:pt x="596" y="1594"/>
                  </a:lnTo>
                  <a:lnTo>
                    <a:pt x="572" y="1594"/>
                  </a:lnTo>
                  <a:lnTo>
                    <a:pt x="541" y="1594"/>
                  </a:lnTo>
                  <a:lnTo>
                    <a:pt x="516" y="1594"/>
                  </a:lnTo>
                  <a:lnTo>
                    <a:pt x="516" y="1625"/>
                  </a:lnTo>
                  <a:lnTo>
                    <a:pt x="491" y="1650"/>
                  </a:lnTo>
                  <a:lnTo>
                    <a:pt x="460" y="1650"/>
                  </a:lnTo>
                  <a:lnTo>
                    <a:pt x="435" y="1625"/>
                  </a:lnTo>
                  <a:lnTo>
                    <a:pt x="404" y="1650"/>
                  </a:lnTo>
                  <a:lnTo>
                    <a:pt x="404" y="1594"/>
                  </a:lnTo>
                  <a:lnTo>
                    <a:pt x="404" y="1569"/>
                  </a:lnTo>
                  <a:lnTo>
                    <a:pt x="404" y="1545"/>
                  </a:lnTo>
                  <a:lnTo>
                    <a:pt x="380" y="1514"/>
                  </a:lnTo>
                  <a:lnTo>
                    <a:pt x="404" y="1489"/>
                  </a:lnTo>
                  <a:lnTo>
                    <a:pt x="404" y="1464"/>
                  </a:lnTo>
                  <a:lnTo>
                    <a:pt x="380" y="1433"/>
                  </a:lnTo>
                  <a:lnTo>
                    <a:pt x="380" y="1409"/>
                  </a:lnTo>
                  <a:lnTo>
                    <a:pt x="354" y="1409"/>
                  </a:lnTo>
                  <a:lnTo>
                    <a:pt x="354" y="1378"/>
                  </a:lnTo>
                  <a:lnTo>
                    <a:pt x="323" y="1352"/>
                  </a:lnTo>
                  <a:lnTo>
                    <a:pt x="323" y="1328"/>
                  </a:lnTo>
                  <a:lnTo>
                    <a:pt x="299" y="1328"/>
                  </a:lnTo>
                  <a:lnTo>
                    <a:pt x="274" y="1328"/>
                  </a:lnTo>
                  <a:lnTo>
                    <a:pt x="243" y="1328"/>
                  </a:lnTo>
                  <a:lnTo>
                    <a:pt x="217" y="1297"/>
                  </a:lnTo>
                  <a:lnTo>
                    <a:pt x="193" y="1297"/>
                  </a:lnTo>
                  <a:lnTo>
                    <a:pt x="193" y="1271"/>
                  </a:lnTo>
                  <a:lnTo>
                    <a:pt x="162" y="1271"/>
                  </a:lnTo>
                  <a:lnTo>
                    <a:pt x="162" y="1247"/>
                  </a:lnTo>
                  <a:lnTo>
                    <a:pt x="136" y="1216"/>
                  </a:lnTo>
                  <a:lnTo>
                    <a:pt x="162" y="1191"/>
                  </a:lnTo>
                  <a:lnTo>
                    <a:pt x="162" y="1166"/>
                  </a:lnTo>
                  <a:lnTo>
                    <a:pt x="162" y="1135"/>
                  </a:lnTo>
                  <a:lnTo>
                    <a:pt x="162" y="1110"/>
                  </a:lnTo>
                  <a:lnTo>
                    <a:pt x="136" y="1079"/>
                  </a:lnTo>
                  <a:lnTo>
                    <a:pt x="136" y="1055"/>
                  </a:lnTo>
                  <a:lnTo>
                    <a:pt x="136" y="1029"/>
                  </a:lnTo>
                  <a:lnTo>
                    <a:pt x="136" y="998"/>
                  </a:lnTo>
                  <a:lnTo>
                    <a:pt x="105" y="998"/>
                  </a:lnTo>
                  <a:lnTo>
                    <a:pt x="105" y="974"/>
                  </a:lnTo>
                  <a:lnTo>
                    <a:pt x="136" y="950"/>
                  </a:lnTo>
                  <a:lnTo>
                    <a:pt x="162" y="918"/>
                  </a:lnTo>
                  <a:lnTo>
                    <a:pt x="193" y="918"/>
                  </a:lnTo>
                  <a:lnTo>
                    <a:pt x="217" y="918"/>
                  </a:lnTo>
                  <a:lnTo>
                    <a:pt x="217" y="893"/>
                  </a:lnTo>
                  <a:lnTo>
                    <a:pt x="243" y="869"/>
                  </a:lnTo>
                  <a:lnTo>
                    <a:pt x="243" y="838"/>
                  </a:lnTo>
                  <a:lnTo>
                    <a:pt x="243" y="812"/>
                  </a:lnTo>
                  <a:lnTo>
                    <a:pt x="274" y="782"/>
                  </a:lnTo>
                  <a:lnTo>
                    <a:pt x="274" y="757"/>
                  </a:lnTo>
                  <a:lnTo>
                    <a:pt x="243" y="757"/>
                  </a:lnTo>
                  <a:lnTo>
                    <a:pt x="217" y="732"/>
                  </a:lnTo>
                  <a:lnTo>
                    <a:pt x="193" y="676"/>
                  </a:lnTo>
                  <a:lnTo>
                    <a:pt x="162" y="676"/>
                  </a:lnTo>
                  <a:lnTo>
                    <a:pt x="136" y="676"/>
                  </a:lnTo>
                  <a:lnTo>
                    <a:pt x="105" y="676"/>
                  </a:lnTo>
                  <a:lnTo>
                    <a:pt x="81" y="651"/>
                  </a:lnTo>
                  <a:lnTo>
                    <a:pt x="81" y="620"/>
                  </a:lnTo>
                  <a:lnTo>
                    <a:pt x="56" y="596"/>
                  </a:lnTo>
                  <a:lnTo>
                    <a:pt x="56" y="565"/>
                  </a:lnTo>
                  <a:lnTo>
                    <a:pt x="25" y="565"/>
                  </a:lnTo>
                  <a:lnTo>
                    <a:pt x="0" y="515"/>
                  </a:lnTo>
                  <a:lnTo>
                    <a:pt x="0" y="484"/>
                  </a:lnTo>
                  <a:lnTo>
                    <a:pt x="0" y="459"/>
                  </a:lnTo>
                  <a:lnTo>
                    <a:pt x="0" y="434"/>
                  </a:lnTo>
                  <a:lnTo>
                    <a:pt x="25" y="403"/>
                  </a:lnTo>
                  <a:lnTo>
                    <a:pt x="56" y="378"/>
                  </a:lnTo>
                  <a:lnTo>
                    <a:pt x="81" y="354"/>
                  </a:lnTo>
                  <a:lnTo>
                    <a:pt x="81" y="323"/>
                  </a:lnTo>
                  <a:lnTo>
                    <a:pt x="56" y="323"/>
                  </a:lnTo>
                  <a:lnTo>
                    <a:pt x="81" y="298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45" name="Freeform 84">
              <a:extLst>
                <a:ext uri="{FF2B5EF4-FFF2-40B4-BE49-F238E27FC236}">
                  <a16:creationId xmlns:a16="http://schemas.microsoft.com/office/drawing/2014/main" id="{2D3D0001-2DC5-45FD-B9B8-82DBE2262762}"/>
                </a:ext>
              </a:extLst>
            </p:cNvPr>
            <p:cNvSpPr>
              <a:spLocks/>
            </p:cNvSpPr>
            <p:nvPr/>
          </p:nvSpPr>
          <p:spPr bwMode="gray">
            <a:xfrm>
              <a:off x="9217022" y="4803052"/>
              <a:ext cx="236987" cy="473972"/>
            </a:xfrm>
            <a:custGeom>
              <a:avLst/>
              <a:gdLst/>
              <a:ahLst/>
              <a:cxnLst>
                <a:cxn ang="0">
                  <a:pos x="24" y="272"/>
                </a:cxn>
                <a:cxn ang="0">
                  <a:pos x="0" y="352"/>
                </a:cxn>
                <a:cxn ang="0">
                  <a:pos x="49" y="377"/>
                </a:cxn>
                <a:cxn ang="0">
                  <a:pos x="105" y="433"/>
                </a:cxn>
                <a:cxn ang="0">
                  <a:pos x="105" y="513"/>
                </a:cxn>
                <a:cxn ang="0">
                  <a:pos x="49" y="544"/>
                </a:cxn>
                <a:cxn ang="0">
                  <a:pos x="80" y="569"/>
                </a:cxn>
                <a:cxn ang="0">
                  <a:pos x="49" y="625"/>
                </a:cxn>
                <a:cxn ang="0">
                  <a:pos x="80" y="674"/>
                </a:cxn>
                <a:cxn ang="0">
                  <a:pos x="80" y="786"/>
                </a:cxn>
                <a:cxn ang="0">
                  <a:pos x="105" y="841"/>
                </a:cxn>
                <a:cxn ang="0">
                  <a:pos x="105" y="841"/>
                </a:cxn>
                <a:cxn ang="0">
                  <a:pos x="80" y="841"/>
                </a:cxn>
                <a:cxn ang="0">
                  <a:pos x="80" y="922"/>
                </a:cxn>
                <a:cxn ang="0">
                  <a:pos x="80" y="1002"/>
                </a:cxn>
                <a:cxn ang="0">
                  <a:pos x="105" y="1027"/>
                </a:cxn>
                <a:cxn ang="0">
                  <a:pos x="130" y="1138"/>
                </a:cxn>
                <a:cxn ang="0">
                  <a:pos x="80" y="1082"/>
                </a:cxn>
                <a:cxn ang="0">
                  <a:pos x="130" y="1163"/>
                </a:cxn>
                <a:cxn ang="0">
                  <a:pos x="242" y="1218"/>
                </a:cxn>
                <a:cxn ang="0">
                  <a:pos x="266" y="1243"/>
                </a:cxn>
                <a:cxn ang="0">
                  <a:pos x="322" y="1299"/>
                </a:cxn>
                <a:cxn ang="0">
                  <a:pos x="379" y="1324"/>
                </a:cxn>
                <a:cxn ang="0">
                  <a:pos x="379" y="1379"/>
                </a:cxn>
                <a:cxn ang="0">
                  <a:pos x="403" y="1404"/>
                </a:cxn>
                <a:cxn ang="0">
                  <a:pos x="484" y="1379"/>
                </a:cxn>
                <a:cxn ang="0">
                  <a:pos x="515" y="1299"/>
                </a:cxn>
                <a:cxn ang="0">
                  <a:pos x="515" y="1243"/>
                </a:cxn>
                <a:cxn ang="0">
                  <a:pos x="565" y="1188"/>
                </a:cxn>
                <a:cxn ang="0">
                  <a:pos x="597" y="1138"/>
                </a:cxn>
                <a:cxn ang="0">
                  <a:pos x="597" y="1082"/>
                </a:cxn>
                <a:cxn ang="0">
                  <a:pos x="646" y="1002"/>
                </a:cxn>
                <a:cxn ang="0">
                  <a:pos x="702" y="946"/>
                </a:cxn>
                <a:cxn ang="0">
                  <a:pos x="677" y="841"/>
                </a:cxn>
                <a:cxn ang="0">
                  <a:pos x="597" y="761"/>
                </a:cxn>
                <a:cxn ang="0">
                  <a:pos x="515" y="705"/>
                </a:cxn>
                <a:cxn ang="0">
                  <a:pos x="460" y="569"/>
                </a:cxn>
                <a:cxn ang="0">
                  <a:pos x="460" y="489"/>
                </a:cxn>
                <a:cxn ang="0">
                  <a:pos x="460" y="408"/>
                </a:cxn>
                <a:cxn ang="0">
                  <a:pos x="460" y="352"/>
                </a:cxn>
                <a:cxn ang="0">
                  <a:pos x="460" y="297"/>
                </a:cxn>
                <a:cxn ang="0">
                  <a:pos x="429" y="192"/>
                </a:cxn>
                <a:cxn ang="0">
                  <a:pos x="322" y="111"/>
                </a:cxn>
                <a:cxn ang="0">
                  <a:pos x="266" y="80"/>
                </a:cxn>
                <a:cxn ang="0">
                  <a:pos x="242" y="31"/>
                </a:cxn>
                <a:cxn ang="0">
                  <a:pos x="161" y="56"/>
                </a:cxn>
                <a:cxn ang="0">
                  <a:pos x="105" y="0"/>
                </a:cxn>
                <a:cxn ang="0">
                  <a:pos x="24" y="80"/>
                </a:cxn>
                <a:cxn ang="0">
                  <a:pos x="0" y="192"/>
                </a:cxn>
              </a:cxnLst>
              <a:rect l="0" t="0" r="r" b="b"/>
              <a:pathLst>
                <a:path w="702" h="1404">
                  <a:moveTo>
                    <a:pt x="0" y="192"/>
                  </a:moveTo>
                  <a:lnTo>
                    <a:pt x="0" y="216"/>
                  </a:lnTo>
                  <a:lnTo>
                    <a:pt x="24" y="247"/>
                  </a:lnTo>
                  <a:lnTo>
                    <a:pt x="24" y="272"/>
                  </a:lnTo>
                  <a:lnTo>
                    <a:pt x="24" y="297"/>
                  </a:lnTo>
                  <a:lnTo>
                    <a:pt x="0" y="297"/>
                  </a:lnTo>
                  <a:lnTo>
                    <a:pt x="0" y="328"/>
                  </a:lnTo>
                  <a:lnTo>
                    <a:pt x="0" y="352"/>
                  </a:lnTo>
                  <a:lnTo>
                    <a:pt x="0" y="377"/>
                  </a:lnTo>
                  <a:lnTo>
                    <a:pt x="0" y="408"/>
                  </a:lnTo>
                  <a:lnTo>
                    <a:pt x="24" y="377"/>
                  </a:lnTo>
                  <a:lnTo>
                    <a:pt x="49" y="377"/>
                  </a:lnTo>
                  <a:lnTo>
                    <a:pt x="80" y="408"/>
                  </a:lnTo>
                  <a:lnTo>
                    <a:pt x="105" y="408"/>
                  </a:lnTo>
                  <a:lnTo>
                    <a:pt x="80" y="433"/>
                  </a:lnTo>
                  <a:lnTo>
                    <a:pt x="105" y="433"/>
                  </a:lnTo>
                  <a:lnTo>
                    <a:pt x="105" y="458"/>
                  </a:lnTo>
                  <a:lnTo>
                    <a:pt x="80" y="458"/>
                  </a:lnTo>
                  <a:lnTo>
                    <a:pt x="105" y="489"/>
                  </a:lnTo>
                  <a:lnTo>
                    <a:pt x="105" y="513"/>
                  </a:lnTo>
                  <a:lnTo>
                    <a:pt x="105" y="489"/>
                  </a:lnTo>
                  <a:lnTo>
                    <a:pt x="80" y="513"/>
                  </a:lnTo>
                  <a:lnTo>
                    <a:pt x="49" y="513"/>
                  </a:lnTo>
                  <a:lnTo>
                    <a:pt x="49" y="544"/>
                  </a:lnTo>
                  <a:lnTo>
                    <a:pt x="80" y="544"/>
                  </a:lnTo>
                  <a:lnTo>
                    <a:pt x="80" y="569"/>
                  </a:lnTo>
                  <a:lnTo>
                    <a:pt x="80" y="594"/>
                  </a:lnTo>
                  <a:lnTo>
                    <a:pt x="80" y="569"/>
                  </a:lnTo>
                  <a:lnTo>
                    <a:pt x="49" y="594"/>
                  </a:lnTo>
                  <a:lnTo>
                    <a:pt x="24" y="594"/>
                  </a:lnTo>
                  <a:lnTo>
                    <a:pt x="49" y="594"/>
                  </a:lnTo>
                  <a:lnTo>
                    <a:pt x="49" y="625"/>
                  </a:lnTo>
                  <a:lnTo>
                    <a:pt x="49" y="650"/>
                  </a:lnTo>
                  <a:lnTo>
                    <a:pt x="80" y="650"/>
                  </a:lnTo>
                  <a:lnTo>
                    <a:pt x="105" y="674"/>
                  </a:lnTo>
                  <a:lnTo>
                    <a:pt x="80" y="674"/>
                  </a:lnTo>
                  <a:lnTo>
                    <a:pt x="80" y="705"/>
                  </a:lnTo>
                  <a:lnTo>
                    <a:pt x="80" y="730"/>
                  </a:lnTo>
                  <a:lnTo>
                    <a:pt x="80" y="761"/>
                  </a:lnTo>
                  <a:lnTo>
                    <a:pt x="80" y="786"/>
                  </a:lnTo>
                  <a:lnTo>
                    <a:pt x="105" y="786"/>
                  </a:lnTo>
                  <a:lnTo>
                    <a:pt x="105" y="810"/>
                  </a:lnTo>
                  <a:lnTo>
                    <a:pt x="80" y="841"/>
                  </a:lnTo>
                  <a:lnTo>
                    <a:pt x="105" y="841"/>
                  </a:lnTo>
                  <a:lnTo>
                    <a:pt x="105" y="810"/>
                  </a:lnTo>
                  <a:lnTo>
                    <a:pt x="105" y="841"/>
                  </a:lnTo>
                  <a:lnTo>
                    <a:pt x="105" y="866"/>
                  </a:lnTo>
                  <a:lnTo>
                    <a:pt x="105" y="841"/>
                  </a:lnTo>
                  <a:lnTo>
                    <a:pt x="105" y="866"/>
                  </a:lnTo>
                  <a:lnTo>
                    <a:pt x="80" y="841"/>
                  </a:lnTo>
                  <a:lnTo>
                    <a:pt x="80" y="866"/>
                  </a:lnTo>
                  <a:lnTo>
                    <a:pt x="80" y="841"/>
                  </a:lnTo>
                  <a:lnTo>
                    <a:pt x="80" y="866"/>
                  </a:lnTo>
                  <a:lnTo>
                    <a:pt x="80" y="891"/>
                  </a:lnTo>
                  <a:lnTo>
                    <a:pt x="49" y="891"/>
                  </a:lnTo>
                  <a:lnTo>
                    <a:pt x="80" y="922"/>
                  </a:lnTo>
                  <a:lnTo>
                    <a:pt x="80" y="946"/>
                  </a:lnTo>
                  <a:lnTo>
                    <a:pt x="49" y="946"/>
                  </a:lnTo>
                  <a:lnTo>
                    <a:pt x="49" y="971"/>
                  </a:lnTo>
                  <a:lnTo>
                    <a:pt x="80" y="1002"/>
                  </a:lnTo>
                  <a:lnTo>
                    <a:pt x="105" y="1002"/>
                  </a:lnTo>
                  <a:lnTo>
                    <a:pt x="105" y="1027"/>
                  </a:lnTo>
                  <a:lnTo>
                    <a:pt x="80" y="1027"/>
                  </a:lnTo>
                  <a:lnTo>
                    <a:pt x="105" y="1027"/>
                  </a:lnTo>
                  <a:lnTo>
                    <a:pt x="130" y="1058"/>
                  </a:lnTo>
                  <a:lnTo>
                    <a:pt x="130" y="1082"/>
                  </a:lnTo>
                  <a:lnTo>
                    <a:pt x="130" y="1107"/>
                  </a:lnTo>
                  <a:lnTo>
                    <a:pt x="130" y="1138"/>
                  </a:lnTo>
                  <a:lnTo>
                    <a:pt x="105" y="1138"/>
                  </a:lnTo>
                  <a:lnTo>
                    <a:pt x="105" y="1107"/>
                  </a:lnTo>
                  <a:lnTo>
                    <a:pt x="105" y="1082"/>
                  </a:lnTo>
                  <a:lnTo>
                    <a:pt x="80" y="1082"/>
                  </a:lnTo>
                  <a:lnTo>
                    <a:pt x="49" y="1082"/>
                  </a:lnTo>
                  <a:lnTo>
                    <a:pt x="80" y="1107"/>
                  </a:lnTo>
                  <a:lnTo>
                    <a:pt x="105" y="1138"/>
                  </a:lnTo>
                  <a:lnTo>
                    <a:pt x="130" y="1163"/>
                  </a:lnTo>
                  <a:lnTo>
                    <a:pt x="161" y="1188"/>
                  </a:lnTo>
                  <a:lnTo>
                    <a:pt x="185" y="1188"/>
                  </a:lnTo>
                  <a:lnTo>
                    <a:pt x="217" y="1218"/>
                  </a:lnTo>
                  <a:lnTo>
                    <a:pt x="242" y="1218"/>
                  </a:lnTo>
                  <a:lnTo>
                    <a:pt x="266" y="1218"/>
                  </a:lnTo>
                  <a:lnTo>
                    <a:pt x="266" y="1243"/>
                  </a:lnTo>
                  <a:lnTo>
                    <a:pt x="266" y="1218"/>
                  </a:lnTo>
                  <a:lnTo>
                    <a:pt x="266" y="1243"/>
                  </a:lnTo>
                  <a:lnTo>
                    <a:pt x="298" y="1218"/>
                  </a:lnTo>
                  <a:lnTo>
                    <a:pt x="298" y="1243"/>
                  </a:lnTo>
                  <a:lnTo>
                    <a:pt x="322" y="1268"/>
                  </a:lnTo>
                  <a:lnTo>
                    <a:pt x="322" y="1299"/>
                  </a:lnTo>
                  <a:lnTo>
                    <a:pt x="348" y="1299"/>
                  </a:lnTo>
                  <a:lnTo>
                    <a:pt x="348" y="1324"/>
                  </a:lnTo>
                  <a:lnTo>
                    <a:pt x="379" y="1299"/>
                  </a:lnTo>
                  <a:lnTo>
                    <a:pt x="379" y="1324"/>
                  </a:lnTo>
                  <a:lnTo>
                    <a:pt x="379" y="1355"/>
                  </a:lnTo>
                  <a:lnTo>
                    <a:pt x="348" y="1355"/>
                  </a:lnTo>
                  <a:lnTo>
                    <a:pt x="348" y="1379"/>
                  </a:lnTo>
                  <a:lnTo>
                    <a:pt x="379" y="1379"/>
                  </a:lnTo>
                  <a:lnTo>
                    <a:pt x="348" y="1379"/>
                  </a:lnTo>
                  <a:lnTo>
                    <a:pt x="379" y="1404"/>
                  </a:lnTo>
                  <a:lnTo>
                    <a:pt x="379" y="1379"/>
                  </a:lnTo>
                  <a:lnTo>
                    <a:pt x="403" y="1404"/>
                  </a:lnTo>
                  <a:lnTo>
                    <a:pt x="429" y="1404"/>
                  </a:lnTo>
                  <a:lnTo>
                    <a:pt x="460" y="1404"/>
                  </a:lnTo>
                  <a:lnTo>
                    <a:pt x="460" y="1379"/>
                  </a:lnTo>
                  <a:lnTo>
                    <a:pt x="484" y="1379"/>
                  </a:lnTo>
                  <a:lnTo>
                    <a:pt x="484" y="1355"/>
                  </a:lnTo>
                  <a:lnTo>
                    <a:pt x="484" y="1324"/>
                  </a:lnTo>
                  <a:lnTo>
                    <a:pt x="515" y="1324"/>
                  </a:lnTo>
                  <a:lnTo>
                    <a:pt x="515" y="1299"/>
                  </a:lnTo>
                  <a:lnTo>
                    <a:pt x="515" y="1268"/>
                  </a:lnTo>
                  <a:lnTo>
                    <a:pt x="484" y="1268"/>
                  </a:lnTo>
                  <a:lnTo>
                    <a:pt x="484" y="1243"/>
                  </a:lnTo>
                  <a:lnTo>
                    <a:pt x="515" y="1243"/>
                  </a:lnTo>
                  <a:lnTo>
                    <a:pt x="515" y="1218"/>
                  </a:lnTo>
                  <a:lnTo>
                    <a:pt x="515" y="1188"/>
                  </a:lnTo>
                  <a:lnTo>
                    <a:pt x="540" y="1188"/>
                  </a:lnTo>
                  <a:lnTo>
                    <a:pt x="565" y="1188"/>
                  </a:lnTo>
                  <a:lnTo>
                    <a:pt x="597" y="1163"/>
                  </a:lnTo>
                  <a:lnTo>
                    <a:pt x="597" y="1138"/>
                  </a:lnTo>
                  <a:lnTo>
                    <a:pt x="621" y="1138"/>
                  </a:lnTo>
                  <a:lnTo>
                    <a:pt x="597" y="1138"/>
                  </a:lnTo>
                  <a:lnTo>
                    <a:pt x="597" y="1107"/>
                  </a:lnTo>
                  <a:lnTo>
                    <a:pt x="621" y="1107"/>
                  </a:lnTo>
                  <a:lnTo>
                    <a:pt x="621" y="1082"/>
                  </a:lnTo>
                  <a:lnTo>
                    <a:pt x="597" y="1082"/>
                  </a:lnTo>
                  <a:lnTo>
                    <a:pt x="621" y="1058"/>
                  </a:lnTo>
                  <a:lnTo>
                    <a:pt x="621" y="1027"/>
                  </a:lnTo>
                  <a:lnTo>
                    <a:pt x="621" y="1002"/>
                  </a:lnTo>
                  <a:lnTo>
                    <a:pt x="646" y="1002"/>
                  </a:lnTo>
                  <a:lnTo>
                    <a:pt x="646" y="971"/>
                  </a:lnTo>
                  <a:lnTo>
                    <a:pt x="677" y="971"/>
                  </a:lnTo>
                  <a:lnTo>
                    <a:pt x="677" y="946"/>
                  </a:lnTo>
                  <a:lnTo>
                    <a:pt x="702" y="946"/>
                  </a:lnTo>
                  <a:lnTo>
                    <a:pt x="702" y="922"/>
                  </a:lnTo>
                  <a:lnTo>
                    <a:pt x="702" y="891"/>
                  </a:lnTo>
                  <a:lnTo>
                    <a:pt x="702" y="866"/>
                  </a:lnTo>
                  <a:lnTo>
                    <a:pt x="677" y="841"/>
                  </a:lnTo>
                  <a:lnTo>
                    <a:pt x="677" y="761"/>
                  </a:lnTo>
                  <a:lnTo>
                    <a:pt x="646" y="761"/>
                  </a:lnTo>
                  <a:lnTo>
                    <a:pt x="621" y="761"/>
                  </a:lnTo>
                  <a:lnTo>
                    <a:pt x="597" y="761"/>
                  </a:lnTo>
                  <a:lnTo>
                    <a:pt x="597" y="786"/>
                  </a:lnTo>
                  <a:lnTo>
                    <a:pt x="565" y="786"/>
                  </a:lnTo>
                  <a:lnTo>
                    <a:pt x="540" y="705"/>
                  </a:lnTo>
                  <a:lnTo>
                    <a:pt x="515" y="705"/>
                  </a:lnTo>
                  <a:lnTo>
                    <a:pt x="515" y="674"/>
                  </a:lnTo>
                  <a:lnTo>
                    <a:pt x="460" y="625"/>
                  </a:lnTo>
                  <a:lnTo>
                    <a:pt x="460" y="594"/>
                  </a:lnTo>
                  <a:lnTo>
                    <a:pt x="460" y="569"/>
                  </a:lnTo>
                  <a:lnTo>
                    <a:pt x="460" y="544"/>
                  </a:lnTo>
                  <a:lnTo>
                    <a:pt x="429" y="513"/>
                  </a:lnTo>
                  <a:lnTo>
                    <a:pt x="429" y="489"/>
                  </a:lnTo>
                  <a:lnTo>
                    <a:pt x="460" y="489"/>
                  </a:lnTo>
                  <a:lnTo>
                    <a:pt x="460" y="458"/>
                  </a:lnTo>
                  <a:lnTo>
                    <a:pt x="460" y="433"/>
                  </a:lnTo>
                  <a:lnTo>
                    <a:pt x="429" y="433"/>
                  </a:lnTo>
                  <a:lnTo>
                    <a:pt x="460" y="408"/>
                  </a:lnTo>
                  <a:lnTo>
                    <a:pt x="429" y="408"/>
                  </a:lnTo>
                  <a:lnTo>
                    <a:pt x="429" y="377"/>
                  </a:lnTo>
                  <a:lnTo>
                    <a:pt x="429" y="352"/>
                  </a:lnTo>
                  <a:lnTo>
                    <a:pt x="460" y="352"/>
                  </a:lnTo>
                  <a:lnTo>
                    <a:pt x="460" y="328"/>
                  </a:lnTo>
                  <a:lnTo>
                    <a:pt x="429" y="328"/>
                  </a:lnTo>
                  <a:lnTo>
                    <a:pt x="460" y="328"/>
                  </a:lnTo>
                  <a:lnTo>
                    <a:pt x="460" y="297"/>
                  </a:lnTo>
                  <a:lnTo>
                    <a:pt x="460" y="272"/>
                  </a:lnTo>
                  <a:lnTo>
                    <a:pt x="429" y="247"/>
                  </a:lnTo>
                  <a:lnTo>
                    <a:pt x="429" y="216"/>
                  </a:lnTo>
                  <a:lnTo>
                    <a:pt x="429" y="192"/>
                  </a:lnTo>
                  <a:lnTo>
                    <a:pt x="403" y="192"/>
                  </a:lnTo>
                  <a:lnTo>
                    <a:pt x="403" y="161"/>
                  </a:lnTo>
                  <a:lnTo>
                    <a:pt x="348" y="136"/>
                  </a:lnTo>
                  <a:lnTo>
                    <a:pt x="322" y="111"/>
                  </a:lnTo>
                  <a:lnTo>
                    <a:pt x="298" y="136"/>
                  </a:lnTo>
                  <a:lnTo>
                    <a:pt x="298" y="111"/>
                  </a:lnTo>
                  <a:lnTo>
                    <a:pt x="298" y="80"/>
                  </a:lnTo>
                  <a:lnTo>
                    <a:pt x="266" y="80"/>
                  </a:lnTo>
                  <a:lnTo>
                    <a:pt x="298" y="80"/>
                  </a:lnTo>
                  <a:lnTo>
                    <a:pt x="266" y="80"/>
                  </a:lnTo>
                  <a:lnTo>
                    <a:pt x="266" y="56"/>
                  </a:lnTo>
                  <a:lnTo>
                    <a:pt x="242" y="31"/>
                  </a:lnTo>
                  <a:lnTo>
                    <a:pt x="217" y="31"/>
                  </a:lnTo>
                  <a:lnTo>
                    <a:pt x="185" y="31"/>
                  </a:lnTo>
                  <a:lnTo>
                    <a:pt x="185" y="56"/>
                  </a:lnTo>
                  <a:lnTo>
                    <a:pt x="161" y="56"/>
                  </a:lnTo>
                  <a:lnTo>
                    <a:pt x="130" y="80"/>
                  </a:lnTo>
                  <a:lnTo>
                    <a:pt x="105" y="56"/>
                  </a:lnTo>
                  <a:lnTo>
                    <a:pt x="105" y="31"/>
                  </a:lnTo>
                  <a:lnTo>
                    <a:pt x="105" y="0"/>
                  </a:lnTo>
                  <a:lnTo>
                    <a:pt x="80" y="0"/>
                  </a:lnTo>
                  <a:lnTo>
                    <a:pt x="49" y="31"/>
                  </a:lnTo>
                  <a:lnTo>
                    <a:pt x="49" y="56"/>
                  </a:lnTo>
                  <a:lnTo>
                    <a:pt x="24" y="80"/>
                  </a:lnTo>
                  <a:lnTo>
                    <a:pt x="24" y="111"/>
                  </a:lnTo>
                  <a:lnTo>
                    <a:pt x="0" y="136"/>
                  </a:lnTo>
                  <a:lnTo>
                    <a:pt x="0" y="161"/>
                  </a:lnTo>
                  <a:lnTo>
                    <a:pt x="0" y="19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46" name="Freeform 85">
              <a:extLst>
                <a:ext uri="{FF2B5EF4-FFF2-40B4-BE49-F238E27FC236}">
                  <a16:creationId xmlns:a16="http://schemas.microsoft.com/office/drawing/2014/main" id="{E69157B7-9015-4585-B7A1-F76D52A7A741}"/>
                </a:ext>
              </a:extLst>
            </p:cNvPr>
            <p:cNvSpPr>
              <a:spLocks/>
            </p:cNvSpPr>
            <p:nvPr/>
          </p:nvSpPr>
          <p:spPr bwMode="gray">
            <a:xfrm>
              <a:off x="8805649" y="3680719"/>
              <a:ext cx="585758" cy="326415"/>
            </a:xfrm>
            <a:custGeom>
              <a:avLst/>
              <a:gdLst/>
              <a:ahLst/>
              <a:cxnLst>
                <a:cxn ang="0">
                  <a:pos x="56" y="489"/>
                </a:cxn>
                <a:cxn ang="0">
                  <a:pos x="193" y="464"/>
                </a:cxn>
                <a:cxn ang="0">
                  <a:pos x="242" y="464"/>
                </a:cxn>
                <a:cxn ang="0">
                  <a:pos x="330" y="353"/>
                </a:cxn>
                <a:cxn ang="0">
                  <a:pos x="380" y="248"/>
                </a:cxn>
                <a:cxn ang="0">
                  <a:pos x="460" y="161"/>
                </a:cxn>
                <a:cxn ang="0">
                  <a:pos x="517" y="112"/>
                </a:cxn>
                <a:cxn ang="0">
                  <a:pos x="597" y="81"/>
                </a:cxn>
                <a:cxn ang="0">
                  <a:pos x="653" y="136"/>
                </a:cxn>
                <a:cxn ang="0">
                  <a:pos x="709" y="112"/>
                </a:cxn>
                <a:cxn ang="0">
                  <a:pos x="733" y="31"/>
                </a:cxn>
                <a:cxn ang="0">
                  <a:pos x="815" y="81"/>
                </a:cxn>
                <a:cxn ang="0">
                  <a:pos x="871" y="112"/>
                </a:cxn>
                <a:cxn ang="0">
                  <a:pos x="896" y="161"/>
                </a:cxn>
                <a:cxn ang="0">
                  <a:pos x="896" y="192"/>
                </a:cxn>
                <a:cxn ang="0">
                  <a:pos x="977" y="192"/>
                </a:cxn>
                <a:cxn ang="0">
                  <a:pos x="977" y="136"/>
                </a:cxn>
                <a:cxn ang="0">
                  <a:pos x="1032" y="81"/>
                </a:cxn>
                <a:cxn ang="0">
                  <a:pos x="1114" y="55"/>
                </a:cxn>
                <a:cxn ang="0">
                  <a:pos x="1169" y="81"/>
                </a:cxn>
                <a:cxn ang="0">
                  <a:pos x="1250" y="112"/>
                </a:cxn>
                <a:cxn ang="0">
                  <a:pos x="1275" y="55"/>
                </a:cxn>
                <a:cxn ang="0">
                  <a:pos x="1306" y="55"/>
                </a:cxn>
                <a:cxn ang="0">
                  <a:pos x="1356" y="31"/>
                </a:cxn>
                <a:cxn ang="0">
                  <a:pos x="1443" y="0"/>
                </a:cxn>
                <a:cxn ang="0">
                  <a:pos x="1524" y="31"/>
                </a:cxn>
                <a:cxn ang="0">
                  <a:pos x="1630" y="112"/>
                </a:cxn>
                <a:cxn ang="0">
                  <a:pos x="1655" y="112"/>
                </a:cxn>
                <a:cxn ang="0">
                  <a:pos x="1742" y="136"/>
                </a:cxn>
                <a:cxn ang="0">
                  <a:pos x="1711" y="217"/>
                </a:cxn>
                <a:cxn ang="0">
                  <a:pos x="1711" y="297"/>
                </a:cxn>
                <a:cxn ang="0">
                  <a:pos x="1655" y="378"/>
                </a:cxn>
                <a:cxn ang="0">
                  <a:pos x="1630" y="464"/>
                </a:cxn>
                <a:cxn ang="0">
                  <a:pos x="1574" y="514"/>
                </a:cxn>
                <a:cxn ang="0">
                  <a:pos x="1524" y="464"/>
                </a:cxn>
                <a:cxn ang="0">
                  <a:pos x="1468" y="409"/>
                </a:cxn>
                <a:cxn ang="0">
                  <a:pos x="1412" y="433"/>
                </a:cxn>
                <a:cxn ang="0">
                  <a:pos x="1331" y="464"/>
                </a:cxn>
                <a:cxn ang="0">
                  <a:pos x="1250" y="464"/>
                </a:cxn>
                <a:cxn ang="0">
                  <a:pos x="1145" y="489"/>
                </a:cxn>
                <a:cxn ang="0">
                  <a:pos x="1145" y="545"/>
                </a:cxn>
                <a:cxn ang="0">
                  <a:pos x="1088" y="626"/>
                </a:cxn>
                <a:cxn ang="0">
                  <a:pos x="1032" y="675"/>
                </a:cxn>
                <a:cxn ang="0">
                  <a:pos x="951" y="705"/>
                </a:cxn>
                <a:cxn ang="0">
                  <a:pos x="896" y="650"/>
                </a:cxn>
                <a:cxn ang="0">
                  <a:pos x="846" y="731"/>
                </a:cxn>
                <a:cxn ang="0">
                  <a:pos x="733" y="786"/>
                </a:cxn>
                <a:cxn ang="0">
                  <a:pos x="709" y="762"/>
                </a:cxn>
                <a:cxn ang="0">
                  <a:pos x="653" y="811"/>
                </a:cxn>
                <a:cxn ang="0">
                  <a:pos x="653" y="891"/>
                </a:cxn>
                <a:cxn ang="0">
                  <a:pos x="572" y="948"/>
                </a:cxn>
                <a:cxn ang="0">
                  <a:pos x="491" y="948"/>
                </a:cxn>
                <a:cxn ang="0">
                  <a:pos x="411" y="972"/>
                </a:cxn>
                <a:cxn ang="0">
                  <a:pos x="273" y="972"/>
                </a:cxn>
                <a:cxn ang="0">
                  <a:pos x="218" y="922"/>
                </a:cxn>
                <a:cxn ang="0">
                  <a:pos x="112" y="867"/>
                </a:cxn>
                <a:cxn ang="0">
                  <a:pos x="81" y="811"/>
                </a:cxn>
                <a:cxn ang="0">
                  <a:pos x="31" y="786"/>
                </a:cxn>
                <a:cxn ang="0">
                  <a:pos x="0" y="731"/>
                </a:cxn>
                <a:cxn ang="0">
                  <a:pos x="0" y="650"/>
                </a:cxn>
              </a:cxnLst>
              <a:rect l="0" t="0" r="r" b="b"/>
              <a:pathLst>
                <a:path w="1742" h="972">
                  <a:moveTo>
                    <a:pt x="31" y="595"/>
                  </a:moveTo>
                  <a:lnTo>
                    <a:pt x="31" y="545"/>
                  </a:lnTo>
                  <a:lnTo>
                    <a:pt x="56" y="489"/>
                  </a:lnTo>
                  <a:lnTo>
                    <a:pt x="112" y="464"/>
                  </a:lnTo>
                  <a:lnTo>
                    <a:pt x="136" y="489"/>
                  </a:lnTo>
                  <a:lnTo>
                    <a:pt x="193" y="464"/>
                  </a:lnTo>
                  <a:lnTo>
                    <a:pt x="193" y="489"/>
                  </a:lnTo>
                  <a:lnTo>
                    <a:pt x="218" y="464"/>
                  </a:lnTo>
                  <a:lnTo>
                    <a:pt x="242" y="464"/>
                  </a:lnTo>
                  <a:lnTo>
                    <a:pt x="273" y="433"/>
                  </a:lnTo>
                  <a:lnTo>
                    <a:pt x="299" y="409"/>
                  </a:lnTo>
                  <a:lnTo>
                    <a:pt x="330" y="353"/>
                  </a:lnTo>
                  <a:lnTo>
                    <a:pt x="380" y="353"/>
                  </a:lnTo>
                  <a:lnTo>
                    <a:pt x="380" y="297"/>
                  </a:lnTo>
                  <a:lnTo>
                    <a:pt x="380" y="248"/>
                  </a:lnTo>
                  <a:lnTo>
                    <a:pt x="435" y="217"/>
                  </a:lnTo>
                  <a:lnTo>
                    <a:pt x="435" y="192"/>
                  </a:lnTo>
                  <a:lnTo>
                    <a:pt x="460" y="161"/>
                  </a:lnTo>
                  <a:lnTo>
                    <a:pt x="491" y="136"/>
                  </a:lnTo>
                  <a:lnTo>
                    <a:pt x="491" y="112"/>
                  </a:lnTo>
                  <a:lnTo>
                    <a:pt x="517" y="112"/>
                  </a:lnTo>
                  <a:lnTo>
                    <a:pt x="548" y="112"/>
                  </a:lnTo>
                  <a:lnTo>
                    <a:pt x="572" y="81"/>
                  </a:lnTo>
                  <a:lnTo>
                    <a:pt x="597" y="81"/>
                  </a:lnTo>
                  <a:lnTo>
                    <a:pt x="597" y="112"/>
                  </a:lnTo>
                  <a:lnTo>
                    <a:pt x="628" y="136"/>
                  </a:lnTo>
                  <a:lnTo>
                    <a:pt x="653" y="136"/>
                  </a:lnTo>
                  <a:lnTo>
                    <a:pt x="678" y="136"/>
                  </a:lnTo>
                  <a:lnTo>
                    <a:pt x="678" y="112"/>
                  </a:lnTo>
                  <a:lnTo>
                    <a:pt x="709" y="112"/>
                  </a:lnTo>
                  <a:lnTo>
                    <a:pt x="709" y="55"/>
                  </a:lnTo>
                  <a:lnTo>
                    <a:pt x="733" y="55"/>
                  </a:lnTo>
                  <a:lnTo>
                    <a:pt x="733" y="31"/>
                  </a:lnTo>
                  <a:lnTo>
                    <a:pt x="759" y="31"/>
                  </a:lnTo>
                  <a:lnTo>
                    <a:pt x="790" y="55"/>
                  </a:lnTo>
                  <a:lnTo>
                    <a:pt x="815" y="81"/>
                  </a:lnTo>
                  <a:lnTo>
                    <a:pt x="815" y="112"/>
                  </a:lnTo>
                  <a:lnTo>
                    <a:pt x="846" y="112"/>
                  </a:lnTo>
                  <a:lnTo>
                    <a:pt x="871" y="112"/>
                  </a:lnTo>
                  <a:lnTo>
                    <a:pt x="871" y="136"/>
                  </a:lnTo>
                  <a:lnTo>
                    <a:pt x="871" y="161"/>
                  </a:lnTo>
                  <a:lnTo>
                    <a:pt x="896" y="161"/>
                  </a:lnTo>
                  <a:lnTo>
                    <a:pt x="871" y="161"/>
                  </a:lnTo>
                  <a:lnTo>
                    <a:pt x="871" y="192"/>
                  </a:lnTo>
                  <a:lnTo>
                    <a:pt x="896" y="192"/>
                  </a:lnTo>
                  <a:lnTo>
                    <a:pt x="927" y="192"/>
                  </a:lnTo>
                  <a:lnTo>
                    <a:pt x="951" y="192"/>
                  </a:lnTo>
                  <a:lnTo>
                    <a:pt x="977" y="192"/>
                  </a:lnTo>
                  <a:lnTo>
                    <a:pt x="977" y="136"/>
                  </a:lnTo>
                  <a:lnTo>
                    <a:pt x="1008" y="136"/>
                  </a:lnTo>
                  <a:lnTo>
                    <a:pt x="977" y="136"/>
                  </a:lnTo>
                  <a:lnTo>
                    <a:pt x="1008" y="112"/>
                  </a:lnTo>
                  <a:lnTo>
                    <a:pt x="1032" y="112"/>
                  </a:lnTo>
                  <a:lnTo>
                    <a:pt x="1032" y="81"/>
                  </a:lnTo>
                  <a:lnTo>
                    <a:pt x="1057" y="81"/>
                  </a:lnTo>
                  <a:lnTo>
                    <a:pt x="1114" y="81"/>
                  </a:lnTo>
                  <a:lnTo>
                    <a:pt x="1114" y="55"/>
                  </a:lnTo>
                  <a:lnTo>
                    <a:pt x="1145" y="55"/>
                  </a:lnTo>
                  <a:lnTo>
                    <a:pt x="1169" y="55"/>
                  </a:lnTo>
                  <a:lnTo>
                    <a:pt x="1169" y="81"/>
                  </a:lnTo>
                  <a:lnTo>
                    <a:pt x="1195" y="81"/>
                  </a:lnTo>
                  <a:lnTo>
                    <a:pt x="1226" y="112"/>
                  </a:lnTo>
                  <a:lnTo>
                    <a:pt x="1250" y="112"/>
                  </a:lnTo>
                  <a:lnTo>
                    <a:pt x="1250" y="81"/>
                  </a:lnTo>
                  <a:lnTo>
                    <a:pt x="1250" y="55"/>
                  </a:lnTo>
                  <a:lnTo>
                    <a:pt x="1275" y="55"/>
                  </a:lnTo>
                  <a:lnTo>
                    <a:pt x="1250" y="55"/>
                  </a:lnTo>
                  <a:lnTo>
                    <a:pt x="1275" y="31"/>
                  </a:lnTo>
                  <a:lnTo>
                    <a:pt x="1306" y="55"/>
                  </a:lnTo>
                  <a:lnTo>
                    <a:pt x="1306" y="31"/>
                  </a:lnTo>
                  <a:lnTo>
                    <a:pt x="1331" y="0"/>
                  </a:lnTo>
                  <a:lnTo>
                    <a:pt x="1356" y="31"/>
                  </a:lnTo>
                  <a:lnTo>
                    <a:pt x="1387" y="31"/>
                  </a:lnTo>
                  <a:lnTo>
                    <a:pt x="1387" y="0"/>
                  </a:lnTo>
                  <a:lnTo>
                    <a:pt x="1443" y="0"/>
                  </a:lnTo>
                  <a:lnTo>
                    <a:pt x="1468" y="31"/>
                  </a:lnTo>
                  <a:lnTo>
                    <a:pt x="1493" y="31"/>
                  </a:lnTo>
                  <a:lnTo>
                    <a:pt x="1524" y="31"/>
                  </a:lnTo>
                  <a:lnTo>
                    <a:pt x="1574" y="55"/>
                  </a:lnTo>
                  <a:lnTo>
                    <a:pt x="1574" y="81"/>
                  </a:lnTo>
                  <a:lnTo>
                    <a:pt x="1630" y="112"/>
                  </a:lnTo>
                  <a:lnTo>
                    <a:pt x="1630" y="81"/>
                  </a:lnTo>
                  <a:lnTo>
                    <a:pt x="1630" y="112"/>
                  </a:lnTo>
                  <a:lnTo>
                    <a:pt x="1655" y="112"/>
                  </a:lnTo>
                  <a:lnTo>
                    <a:pt x="1686" y="112"/>
                  </a:lnTo>
                  <a:lnTo>
                    <a:pt x="1742" y="112"/>
                  </a:lnTo>
                  <a:lnTo>
                    <a:pt x="1742" y="136"/>
                  </a:lnTo>
                  <a:lnTo>
                    <a:pt x="1742" y="161"/>
                  </a:lnTo>
                  <a:lnTo>
                    <a:pt x="1711" y="192"/>
                  </a:lnTo>
                  <a:lnTo>
                    <a:pt x="1711" y="217"/>
                  </a:lnTo>
                  <a:lnTo>
                    <a:pt x="1711" y="248"/>
                  </a:lnTo>
                  <a:lnTo>
                    <a:pt x="1711" y="272"/>
                  </a:lnTo>
                  <a:lnTo>
                    <a:pt x="1711" y="297"/>
                  </a:lnTo>
                  <a:lnTo>
                    <a:pt x="1711" y="328"/>
                  </a:lnTo>
                  <a:lnTo>
                    <a:pt x="1686" y="353"/>
                  </a:lnTo>
                  <a:lnTo>
                    <a:pt x="1655" y="378"/>
                  </a:lnTo>
                  <a:lnTo>
                    <a:pt x="1655" y="433"/>
                  </a:lnTo>
                  <a:lnTo>
                    <a:pt x="1655" y="464"/>
                  </a:lnTo>
                  <a:lnTo>
                    <a:pt x="1630" y="464"/>
                  </a:lnTo>
                  <a:lnTo>
                    <a:pt x="1630" y="489"/>
                  </a:lnTo>
                  <a:lnTo>
                    <a:pt x="1574" y="489"/>
                  </a:lnTo>
                  <a:lnTo>
                    <a:pt x="1574" y="514"/>
                  </a:lnTo>
                  <a:lnTo>
                    <a:pt x="1548" y="514"/>
                  </a:lnTo>
                  <a:lnTo>
                    <a:pt x="1524" y="489"/>
                  </a:lnTo>
                  <a:lnTo>
                    <a:pt x="1524" y="464"/>
                  </a:lnTo>
                  <a:lnTo>
                    <a:pt x="1493" y="433"/>
                  </a:lnTo>
                  <a:lnTo>
                    <a:pt x="1468" y="433"/>
                  </a:lnTo>
                  <a:lnTo>
                    <a:pt x="1468" y="409"/>
                  </a:lnTo>
                  <a:lnTo>
                    <a:pt x="1443" y="409"/>
                  </a:lnTo>
                  <a:lnTo>
                    <a:pt x="1443" y="433"/>
                  </a:lnTo>
                  <a:lnTo>
                    <a:pt x="1412" y="433"/>
                  </a:lnTo>
                  <a:lnTo>
                    <a:pt x="1387" y="464"/>
                  </a:lnTo>
                  <a:lnTo>
                    <a:pt x="1356" y="464"/>
                  </a:lnTo>
                  <a:lnTo>
                    <a:pt x="1331" y="464"/>
                  </a:lnTo>
                  <a:lnTo>
                    <a:pt x="1306" y="464"/>
                  </a:lnTo>
                  <a:lnTo>
                    <a:pt x="1275" y="464"/>
                  </a:lnTo>
                  <a:lnTo>
                    <a:pt x="1250" y="464"/>
                  </a:lnTo>
                  <a:lnTo>
                    <a:pt x="1250" y="433"/>
                  </a:lnTo>
                  <a:lnTo>
                    <a:pt x="1195" y="464"/>
                  </a:lnTo>
                  <a:lnTo>
                    <a:pt x="1145" y="489"/>
                  </a:lnTo>
                  <a:lnTo>
                    <a:pt x="1169" y="489"/>
                  </a:lnTo>
                  <a:lnTo>
                    <a:pt x="1145" y="514"/>
                  </a:lnTo>
                  <a:lnTo>
                    <a:pt x="1145" y="545"/>
                  </a:lnTo>
                  <a:lnTo>
                    <a:pt x="1145" y="569"/>
                  </a:lnTo>
                  <a:lnTo>
                    <a:pt x="1114" y="626"/>
                  </a:lnTo>
                  <a:lnTo>
                    <a:pt x="1088" y="626"/>
                  </a:lnTo>
                  <a:lnTo>
                    <a:pt x="1057" y="626"/>
                  </a:lnTo>
                  <a:lnTo>
                    <a:pt x="1057" y="650"/>
                  </a:lnTo>
                  <a:lnTo>
                    <a:pt x="1032" y="675"/>
                  </a:lnTo>
                  <a:lnTo>
                    <a:pt x="1008" y="705"/>
                  </a:lnTo>
                  <a:lnTo>
                    <a:pt x="977" y="675"/>
                  </a:lnTo>
                  <a:lnTo>
                    <a:pt x="951" y="705"/>
                  </a:lnTo>
                  <a:lnTo>
                    <a:pt x="951" y="675"/>
                  </a:lnTo>
                  <a:lnTo>
                    <a:pt x="927" y="675"/>
                  </a:lnTo>
                  <a:lnTo>
                    <a:pt x="896" y="650"/>
                  </a:lnTo>
                  <a:lnTo>
                    <a:pt x="871" y="675"/>
                  </a:lnTo>
                  <a:lnTo>
                    <a:pt x="846" y="705"/>
                  </a:lnTo>
                  <a:lnTo>
                    <a:pt x="846" y="731"/>
                  </a:lnTo>
                  <a:lnTo>
                    <a:pt x="815" y="762"/>
                  </a:lnTo>
                  <a:lnTo>
                    <a:pt x="759" y="762"/>
                  </a:lnTo>
                  <a:lnTo>
                    <a:pt x="733" y="786"/>
                  </a:lnTo>
                  <a:lnTo>
                    <a:pt x="733" y="762"/>
                  </a:lnTo>
                  <a:lnTo>
                    <a:pt x="709" y="786"/>
                  </a:lnTo>
                  <a:lnTo>
                    <a:pt x="709" y="762"/>
                  </a:lnTo>
                  <a:lnTo>
                    <a:pt x="678" y="786"/>
                  </a:lnTo>
                  <a:lnTo>
                    <a:pt x="653" y="786"/>
                  </a:lnTo>
                  <a:lnTo>
                    <a:pt x="653" y="811"/>
                  </a:lnTo>
                  <a:lnTo>
                    <a:pt x="628" y="841"/>
                  </a:lnTo>
                  <a:lnTo>
                    <a:pt x="628" y="891"/>
                  </a:lnTo>
                  <a:lnTo>
                    <a:pt x="653" y="891"/>
                  </a:lnTo>
                  <a:lnTo>
                    <a:pt x="653" y="922"/>
                  </a:lnTo>
                  <a:lnTo>
                    <a:pt x="628" y="922"/>
                  </a:lnTo>
                  <a:lnTo>
                    <a:pt x="572" y="948"/>
                  </a:lnTo>
                  <a:lnTo>
                    <a:pt x="548" y="948"/>
                  </a:lnTo>
                  <a:lnTo>
                    <a:pt x="517" y="948"/>
                  </a:lnTo>
                  <a:lnTo>
                    <a:pt x="491" y="948"/>
                  </a:lnTo>
                  <a:lnTo>
                    <a:pt x="460" y="972"/>
                  </a:lnTo>
                  <a:lnTo>
                    <a:pt x="435" y="948"/>
                  </a:lnTo>
                  <a:lnTo>
                    <a:pt x="411" y="972"/>
                  </a:lnTo>
                  <a:lnTo>
                    <a:pt x="354" y="972"/>
                  </a:lnTo>
                  <a:lnTo>
                    <a:pt x="330" y="972"/>
                  </a:lnTo>
                  <a:lnTo>
                    <a:pt x="273" y="972"/>
                  </a:lnTo>
                  <a:lnTo>
                    <a:pt x="273" y="948"/>
                  </a:lnTo>
                  <a:lnTo>
                    <a:pt x="242" y="948"/>
                  </a:lnTo>
                  <a:lnTo>
                    <a:pt x="218" y="922"/>
                  </a:lnTo>
                  <a:lnTo>
                    <a:pt x="162" y="891"/>
                  </a:lnTo>
                  <a:lnTo>
                    <a:pt x="136" y="867"/>
                  </a:lnTo>
                  <a:lnTo>
                    <a:pt x="112" y="867"/>
                  </a:lnTo>
                  <a:lnTo>
                    <a:pt x="81" y="867"/>
                  </a:lnTo>
                  <a:lnTo>
                    <a:pt x="81" y="841"/>
                  </a:lnTo>
                  <a:lnTo>
                    <a:pt x="81" y="811"/>
                  </a:lnTo>
                  <a:lnTo>
                    <a:pt x="56" y="811"/>
                  </a:lnTo>
                  <a:lnTo>
                    <a:pt x="56" y="786"/>
                  </a:lnTo>
                  <a:lnTo>
                    <a:pt x="31" y="786"/>
                  </a:lnTo>
                  <a:lnTo>
                    <a:pt x="31" y="762"/>
                  </a:lnTo>
                  <a:lnTo>
                    <a:pt x="31" y="731"/>
                  </a:lnTo>
                  <a:lnTo>
                    <a:pt x="0" y="731"/>
                  </a:lnTo>
                  <a:lnTo>
                    <a:pt x="0" y="705"/>
                  </a:lnTo>
                  <a:lnTo>
                    <a:pt x="0" y="675"/>
                  </a:lnTo>
                  <a:lnTo>
                    <a:pt x="0" y="650"/>
                  </a:lnTo>
                  <a:lnTo>
                    <a:pt x="31" y="650"/>
                  </a:lnTo>
                  <a:lnTo>
                    <a:pt x="31" y="595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47" name="Freeform 86">
              <a:extLst>
                <a:ext uri="{FF2B5EF4-FFF2-40B4-BE49-F238E27FC236}">
                  <a16:creationId xmlns:a16="http://schemas.microsoft.com/office/drawing/2014/main" id="{398D2092-E34E-4A23-AE09-505B2C59E126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0171" y="4172579"/>
              <a:ext cx="375601" cy="274994"/>
            </a:xfrm>
            <a:custGeom>
              <a:avLst/>
              <a:gdLst/>
              <a:ahLst/>
              <a:cxnLst>
                <a:cxn ang="0">
                  <a:pos x="137" y="218"/>
                </a:cxn>
                <a:cxn ang="0">
                  <a:pos x="137" y="218"/>
                </a:cxn>
                <a:cxn ang="0">
                  <a:pos x="218" y="243"/>
                </a:cxn>
                <a:cxn ang="0">
                  <a:pos x="274" y="243"/>
                </a:cxn>
                <a:cxn ang="0">
                  <a:pos x="324" y="243"/>
                </a:cxn>
                <a:cxn ang="0">
                  <a:pos x="381" y="243"/>
                </a:cxn>
                <a:cxn ang="0">
                  <a:pos x="406" y="274"/>
                </a:cxn>
                <a:cxn ang="0">
                  <a:pos x="437" y="243"/>
                </a:cxn>
                <a:cxn ang="0">
                  <a:pos x="461" y="218"/>
                </a:cxn>
                <a:cxn ang="0">
                  <a:pos x="518" y="162"/>
                </a:cxn>
                <a:cxn ang="0">
                  <a:pos x="518" y="137"/>
                </a:cxn>
                <a:cxn ang="0">
                  <a:pos x="543" y="137"/>
                </a:cxn>
                <a:cxn ang="0">
                  <a:pos x="599" y="137"/>
                </a:cxn>
                <a:cxn ang="0">
                  <a:pos x="680" y="112"/>
                </a:cxn>
                <a:cxn ang="0">
                  <a:pos x="705" y="137"/>
                </a:cxn>
                <a:cxn ang="0">
                  <a:pos x="737" y="112"/>
                </a:cxn>
                <a:cxn ang="0">
                  <a:pos x="761" y="81"/>
                </a:cxn>
                <a:cxn ang="0">
                  <a:pos x="817" y="81"/>
                </a:cxn>
                <a:cxn ang="0">
                  <a:pos x="874" y="81"/>
                </a:cxn>
                <a:cxn ang="0">
                  <a:pos x="874" y="81"/>
                </a:cxn>
                <a:cxn ang="0">
                  <a:pos x="843" y="24"/>
                </a:cxn>
                <a:cxn ang="0">
                  <a:pos x="874" y="0"/>
                </a:cxn>
                <a:cxn ang="0">
                  <a:pos x="954" y="0"/>
                </a:cxn>
                <a:cxn ang="0">
                  <a:pos x="980" y="24"/>
                </a:cxn>
                <a:cxn ang="0">
                  <a:pos x="1004" y="81"/>
                </a:cxn>
                <a:cxn ang="0">
                  <a:pos x="1117" y="194"/>
                </a:cxn>
                <a:cxn ang="0">
                  <a:pos x="1004" y="162"/>
                </a:cxn>
                <a:cxn ang="0">
                  <a:pos x="980" y="218"/>
                </a:cxn>
                <a:cxn ang="0">
                  <a:pos x="923" y="243"/>
                </a:cxn>
                <a:cxn ang="0">
                  <a:pos x="792" y="324"/>
                </a:cxn>
                <a:cxn ang="0">
                  <a:pos x="761" y="355"/>
                </a:cxn>
                <a:cxn ang="0">
                  <a:pos x="792" y="411"/>
                </a:cxn>
                <a:cxn ang="0">
                  <a:pos x="792" y="461"/>
                </a:cxn>
                <a:cxn ang="0">
                  <a:pos x="792" y="542"/>
                </a:cxn>
                <a:cxn ang="0">
                  <a:pos x="655" y="573"/>
                </a:cxn>
                <a:cxn ang="0">
                  <a:pos x="705" y="598"/>
                </a:cxn>
                <a:cxn ang="0">
                  <a:pos x="680" y="679"/>
                </a:cxn>
                <a:cxn ang="0">
                  <a:pos x="680" y="710"/>
                </a:cxn>
                <a:cxn ang="0">
                  <a:pos x="599" y="710"/>
                </a:cxn>
                <a:cxn ang="0">
                  <a:pos x="543" y="710"/>
                </a:cxn>
                <a:cxn ang="0">
                  <a:pos x="493" y="654"/>
                </a:cxn>
                <a:cxn ang="0">
                  <a:pos x="381" y="710"/>
                </a:cxn>
                <a:cxn ang="0">
                  <a:pos x="324" y="710"/>
                </a:cxn>
                <a:cxn ang="0">
                  <a:pos x="300" y="736"/>
                </a:cxn>
                <a:cxn ang="0">
                  <a:pos x="243" y="736"/>
                </a:cxn>
                <a:cxn ang="0">
                  <a:pos x="218" y="736"/>
                </a:cxn>
                <a:cxn ang="0">
                  <a:pos x="162" y="791"/>
                </a:cxn>
                <a:cxn ang="0">
                  <a:pos x="81" y="816"/>
                </a:cxn>
                <a:cxn ang="0">
                  <a:pos x="55" y="736"/>
                </a:cxn>
                <a:cxn ang="0">
                  <a:pos x="81" y="710"/>
                </a:cxn>
                <a:cxn ang="0">
                  <a:pos x="137" y="679"/>
                </a:cxn>
                <a:cxn ang="0">
                  <a:pos x="194" y="654"/>
                </a:cxn>
                <a:cxn ang="0">
                  <a:pos x="137" y="598"/>
                </a:cxn>
                <a:cxn ang="0">
                  <a:pos x="81" y="542"/>
                </a:cxn>
                <a:cxn ang="0">
                  <a:pos x="81" y="492"/>
                </a:cxn>
                <a:cxn ang="0">
                  <a:pos x="55" y="436"/>
                </a:cxn>
                <a:cxn ang="0">
                  <a:pos x="81" y="381"/>
                </a:cxn>
                <a:cxn ang="0">
                  <a:pos x="55" y="355"/>
                </a:cxn>
                <a:cxn ang="0">
                  <a:pos x="0" y="324"/>
                </a:cxn>
                <a:cxn ang="0">
                  <a:pos x="55" y="299"/>
                </a:cxn>
                <a:cxn ang="0">
                  <a:pos x="81" y="243"/>
                </a:cxn>
              </a:cxnLst>
              <a:rect l="0" t="0" r="r" b="b"/>
              <a:pathLst>
                <a:path w="1117" h="816">
                  <a:moveTo>
                    <a:pt x="81" y="218"/>
                  </a:moveTo>
                  <a:lnTo>
                    <a:pt x="137" y="218"/>
                  </a:lnTo>
                  <a:lnTo>
                    <a:pt x="137" y="243"/>
                  </a:lnTo>
                  <a:lnTo>
                    <a:pt x="137" y="218"/>
                  </a:lnTo>
                  <a:lnTo>
                    <a:pt x="162" y="218"/>
                  </a:lnTo>
                  <a:lnTo>
                    <a:pt x="218" y="243"/>
                  </a:lnTo>
                  <a:lnTo>
                    <a:pt x="243" y="243"/>
                  </a:lnTo>
                  <a:lnTo>
                    <a:pt x="274" y="243"/>
                  </a:lnTo>
                  <a:lnTo>
                    <a:pt x="300" y="243"/>
                  </a:lnTo>
                  <a:lnTo>
                    <a:pt x="324" y="243"/>
                  </a:lnTo>
                  <a:lnTo>
                    <a:pt x="355" y="243"/>
                  </a:lnTo>
                  <a:lnTo>
                    <a:pt x="381" y="243"/>
                  </a:lnTo>
                  <a:lnTo>
                    <a:pt x="381" y="274"/>
                  </a:lnTo>
                  <a:lnTo>
                    <a:pt x="406" y="274"/>
                  </a:lnTo>
                  <a:lnTo>
                    <a:pt x="406" y="243"/>
                  </a:lnTo>
                  <a:lnTo>
                    <a:pt x="437" y="243"/>
                  </a:lnTo>
                  <a:lnTo>
                    <a:pt x="437" y="218"/>
                  </a:lnTo>
                  <a:lnTo>
                    <a:pt x="461" y="218"/>
                  </a:lnTo>
                  <a:lnTo>
                    <a:pt x="493" y="162"/>
                  </a:lnTo>
                  <a:lnTo>
                    <a:pt x="518" y="162"/>
                  </a:lnTo>
                  <a:lnTo>
                    <a:pt x="493" y="137"/>
                  </a:lnTo>
                  <a:lnTo>
                    <a:pt x="518" y="137"/>
                  </a:lnTo>
                  <a:lnTo>
                    <a:pt x="518" y="162"/>
                  </a:lnTo>
                  <a:lnTo>
                    <a:pt x="543" y="137"/>
                  </a:lnTo>
                  <a:lnTo>
                    <a:pt x="574" y="137"/>
                  </a:lnTo>
                  <a:lnTo>
                    <a:pt x="599" y="137"/>
                  </a:lnTo>
                  <a:lnTo>
                    <a:pt x="624" y="137"/>
                  </a:lnTo>
                  <a:lnTo>
                    <a:pt x="680" y="112"/>
                  </a:lnTo>
                  <a:lnTo>
                    <a:pt x="680" y="137"/>
                  </a:lnTo>
                  <a:lnTo>
                    <a:pt x="705" y="137"/>
                  </a:lnTo>
                  <a:lnTo>
                    <a:pt x="705" y="112"/>
                  </a:lnTo>
                  <a:lnTo>
                    <a:pt x="737" y="112"/>
                  </a:lnTo>
                  <a:lnTo>
                    <a:pt x="737" y="81"/>
                  </a:lnTo>
                  <a:lnTo>
                    <a:pt x="761" y="81"/>
                  </a:lnTo>
                  <a:lnTo>
                    <a:pt x="792" y="81"/>
                  </a:lnTo>
                  <a:lnTo>
                    <a:pt x="817" y="81"/>
                  </a:lnTo>
                  <a:lnTo>
                    <a:pt x="843" y="81"/>
                  </a:lnTo>
                  <a:lnTo>
                    <a:pt x="874" y="81"/>
                  </a:lnTo>
                  <a:lnTo>
                    <a:pt x="874" y="112"/>
                  </a:lnTo>
                  <a:lnTo>
                    <a:pt x="874" y="81"/>
                  </a:lnTo>
                  <a:lnTo>
                    <a:pt x="843" y="57"/>
                  </a:lnTo>
                  <a:lnTo>
                    <a:pt x="843" y="24"/>
                  </a:lnTo>
                  <a:lnTo>
                    <a:pt x="874" y="24"/>
                  </a:lnTo>
                  <a:lnTo>
                    <a:pt x="874" y="0"/>
                  </a:lnTo>
                  <a:lnTo>
                    <a:pt x="898" y="0"/>
                  </a:lnTo>
                  <a:lnTo>
                    <a:pt x="954" y="0"/>
                  </a:lnTo>
                  <a:lnTo>
                    <a:pt x="980" y="0"/>
                  </a:lnTo>
                  <a:lnTo>
                    <a:pt x="980" y="24"/>
                  </a:lnTo>
                  <a:lnTo>
                    <a:pt x="980" y="57"/>
                  </a:lnTo>
                  <a:lnTo>
                    <a:pt x="1004" y="81"/>
                  </a:lnTo>
                  <a:lnTo>
                    <a:pt x="1061" y="162"/>
                  </a:lnTo>
                  <a:lnTo>
                    <a:pt x="1117" y="194"/>
                  </a:lnTo>
                  <a:lnTo>
                    <a:pt x="1061" y="194"/>
                  </a:lnTo>
                  <a:lnTo>
                    <a:pt x="1004" y="162"/>
                  </a:lnTo>
                  <a:lnTo>
                    <a:pt x="980" y="162"/>
                  </a:lnTo>
                  <a:lnTo>
                    <a:pt x="980" y="218"/>
                  </a:lnTo>
                  <a:lnTo>
                    <a:pt x="980" y="243"/>
                  </a:lnTo>
                  <a:lnTo>
                    <a:pt x="923" y="243"/>
                  </a:lnTo>
                  <a:lnTo>
                    <a:pt x="817" y="299"/>
                  </a:lnTo>
                  <a:lnTo>
                    <a:pt x="792" y="324"/>
                  </a:lnTo>
                  <a:lnTo>
                    <a:pt x="761" y="324"/>
                  </a:lnTo>
                  <a:lnTo>
                    <a:pt x="761" y="355"/>
                  </a:lnTo>
                  <a:lnTo>
                    <a:pt x="761" y="381"/>
                  </a:lnTo>
                  <a:lnTo>
                    <a:pt x="792" y="411"/>
                  </a:lnTo>
                  <a:lnTo>
                    <a:pt x="817" y="411"/>
                  </a:lnTo>
                  <a:lnTo>
                    <a:pt x="792" y="461"/>
                  </a:lnTo>
                  <a:lnTo>
                    <a:pt x="792" y="517"/>
                  </a:lnTo>
                  <a:lnTo>
                    <a:pt x="792" y="542"/>
                  </a:lnTo>
                  <a:lnTo>
                    <a:pt x="737" y="542"/>
                  </a:lnTo>
                  <a:lnTo>
                    <a:pt x="655" y="573"/>
                  </a:lnTo>
                  <a:lnTo>
                    <a:pt x="655" y="598"/>
                  </a:lnTo>
                  <a:lnTo>
                    <a:pt x="705" y="598"/>
                  </a:lnTo>
                  <a:lnTo>
                    <a:pt x="680" y="623"/>
                  </a:lnTo>
                  <a:lnTo>
                    <a:pt x="680" y="679"/>
                  </a:lnTo>
                  <a:lnTo>
                    <a:pt x="705" y="679"/>
                  </a:lnTo>
                  <a:lnTo>
                    <a:pt x="680" y="710"/>
                  </a:lnTo>
                  <a:lnTo>
                    <a:pt x="655" y="736"/>
                  </a:lnTo>
                  <a:lnTo>
                    <a:pt x="599" y="710"/>
                  </a:lnTo>
                  <a:lnTo>
                    <a:pt x="574" y="679"/>
                  </a:lnTo>
                  <a:lnTo>
                    <a:pt x="543" y="710"/>
                  </a:lnTo>
                  <a:lnTo>
                    <a:pt x="493" y="679"/>
                  </a:lnTo>
                  <a:lnTo>
                    <a:pt x="493" y="654"/>
                  </a:lnTo>
                  <a:lnTo>
                    <a:pt x="437" y="654"/>
                  </a:lnTo>
                  <a:lnTo>
                    <a:pt x="381" y="710"/>
                  </a:lnTo>
                  <a:lnTo>
                    <a:pt x="324" y="736"/>
                  </a:lnTo>
                  <a:lnTo>
                    <a:pt x="324" y="710"/>
                  </a:lnTo>
                  <a:lnTo>
                    <a:pt x="324" y="736"/>
                  </a:lnTo>
                  <a:lnTo>
                    <a:pt x="300" y="736"/>
                  </a:lnTo>
                  <a:lnTo>
                    <a:pt x="274" y="710"/>
                  </a:lnTo>
                  <a:lnTo>
                    <a:pt x="243" y="736"/>
                  </a:lnTo>
                  <a:lnTo>
                    <a:pt x="218" y="710"/>
                  </a:lnTo>
                  <a:lnTo>
                    <a:pt x="218" y="736"/>
                  </a:lnTo>
                  <a:lnTo>
                    <a:pt x="194" y="736"/>
                  </a:lnTo>
                  <a:lnTo>
                    <a:pt x="162" y="791"/>
                  </a:lnTo>
                  <a:lnTo>
                    <a:pt x="106" y="816"/>
                  </a:lnTo>
                  <a:lnTo>
                    <a:pt x="81" y="816"/>
                  </a:lnTo>
                  <a:lnTo>
                    <a:pt x="55" y="760"/>
                  </a:lnTo>
                  <a:lnTo>
                    <a:pt x="55" y="736"/>
                  </a:lnTo>
                  <a:lnTo>
                    <a:pt x="81" y="736"/>
                  </a:lnTo>
                  <a:lnTo>
                    <a:pt x="81" y="710"/>
                  </a:lnTo>
                  <a:lnTo>
                    <a:pt x="137" y="710"/>
                  </a:lnTo>
                  <a:lnTo>
                    <a:pt x="137" y="679"/>
                  </a:lnTo>
                  <a:lnTo>
                    <a:pt x="162" y="679"/>
                  </a:lnTo>
                  <a:lnTo>
                    <a:pt x="194" y="654"/>
                  </a:lnTo>
                  <a:lnTo>
                    <a:pt x="194" y="623"/>
                  </a:lnTo>
                  <a:lnTo>
                    <a:pt x="137" y="598"/>
                  </a:lnTo>
                  <a:lnTo>
                    <a:pt x="81" y="573"/>
                  </a:lnTo>
                  <a:lnTo>
                    <a:pt x="81" y="542"/>
                  </a:lnTo>
                  <a:lnTo>
                    <a:pt x="106" y="517"/>
                  </a:lnTo>
                  <a:lnTo>
                    <a:pt x="81" y="492"/>
                  </a:lnTo>
                  <a:lnTo>
                    <a:pt x="55" y="492"/>
                  </a:lnTo>
                  <a:lnTo>
                    <a:pt x="55" y="436"/>
                  </a:lnTo>
                  <a:lnTo>
                    <a:pt x="81" y="411"/>
                  </a:lnTo>
                  <a:lnTo>
                    <a:pt x="81" y="381"/>
                  </a:lnTo>
                  <a:lnTo>
                    <a:pt x="55" y="381"/>
                  </a:lnTo>
                  <a:lnTo>
                    <a:pt x="55" y="355"/>
                  </a:lnTo>
                  <a:lnTo>
                    <a:pt x="0" y="381"/>
                  </a:lnTo>
                  <a:lnTo>
                    <a:pt x="0" y="324"/>
                  </a:lnTo>
                  <a:lnTo>
                    <a:pt x="24" y="299"/>
                  </a:lnTo>
                  <a:lnTo>
                    <a:pt x="55" y="299"/>
                  </a:lnTo>
                  <a:lnTo>
                    <a:pt x="81" y="274"/>
                  </a:lnTo>
                  <a:lnTo>
                    <a:pt x="81" y="243"/>
                  </a:lnTo>
                  <a:lnTo>
                    <a:pt x="81" y="218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48" name="Freeform 87">
              <a:extLst>
                <a:ext uri="{FF2B5EF4-FFF2-40B4-BE49-F238E27FC236}">
                  <a16:creationId xmlns:a16="http://schemas.microsoft.com/office/drawing/2014/main" id="{4A15B10C-6916-498B-8895-9004F0EDB0A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77001" y="4228472"/>
              <a:ext cx="684130" cy="628238"/>
            </a:xfrm>
            <a:custGeom>
              <a:avLst/>
              <a:gdLst/>
              <a:ahLst/>
              <a:cxnLst>
                <a:cxn ang="0">
                  <a:pos x="136" y="924"/>
                </a:cxn>
                <a:cxn ang="0">
                  <a:pos x="217" y="732"/>
                </a:cxn>
                <a:cxn ang="0">
                  <a:pos x="490" y="924"/>
                </a:cxn>
                <a:cxn ang="0">
                  <a:pos x="596" y="1110"/>
                </a:cxn>
                <a:cxn ang="0">
                  <a:pos x="838" y="1302"/>
                </a:cxn>
                <a:cxn ang="0">
                  <a:pos x="950" y="1438"/>
                </a:cxn>
                <a:cxn ang="0">
                  <a:pos x="1328" y="1569"/>
                </a:cxn>
                <a:cxn ang="0">
                  <a:pos x="1546" y="1600"/>
                </a:cxn>
                <a:cxn ang="0">
                  <a:pos x="1354" y="1407"/>
                </a:cxn>
                <a:cxn ang="0">
                  <a:pos x="1086" y="1191"/>
                </a:cxn>
                <a:cxn ang="0">
                  <a:pos x="869" y="948"/>
                </a:cxn>
                <a:cxn ang="0">
                  <a:pos x="758" y="732"/>
                </a:cxn>
                <a:cxn ang="0">
                  <a:pos x="974" y="732"/>
                </a:cxn>
                <a:cxn ang="0">
                  <a:pos x="1217" y="596"/>
                </a:cxn>
                <a:cxn ang="0">
                  <a:pos x="1521" y="627"/>
                </a:cxn>
                <a:cxn ang="0">
                  <a:pos x="1708" y="627"/>
                </a:cxn>
                <a:cxn ang="0">
                  <a:pos x="1819" y="675"/>
                </a:cxn>
                <a:cxn ang="0">
                  <a:pos x="1924" y="570"/>
                </a:cxn>
                <a:cxn ang="0">
                  <a:pos x="1950" y="489"/>
                </a:cxn>
                <a:cxn ang="0">
                  <a:pos x="1869" y="353"/>
                </a:cxn>
                <a:cxn ang="0">
                  <a:pos x="1708" y="217"/>
                </a:cxn>
                <a:cxn ang="0">
                  <a:pos x="1521" y="273"/>
                </a:cxn>
                <a:cxn ang="0">
                  <a:pos x="1304" y="248"/>
                </a:cxn>
                <a:cxn ang="0">
                  <a:pos x="1136" y="111"/>
                </a:cxn>
                <a:cxn ang="0">
                  <a:pos x="974" y="31"/>
                </a:cxn>
                <a:cxn ang="0">
                  <a:pos x="708" y="161"/>
                </a:cxn>
                <a:cxn ang="0">
                  <a:pos x="708" y="353"/>
                </a:cxn>
                <a:cxn ang="0">
                  <a:pos x="596" y="515"/>
                </a:cxn>
                <a:cxn ang="0">
                  <a:pos x="409" y="515"/>
                </a:cxn>
                <a:cxn ang="0">
                  <a:pos x="217" y="570"/>
                </a:cxn>
                <a:cxn ang="0">
                  <a:pos x="25" y="651"/>
                </a:cxn>
                <a:cxn ang="0">
                  <a:pos x="298" y="974"/>
                </a:cxn>
                <a:cxn ang="0">
                  <a:pos x="298" y="812"/>
                </a:cxn>
                <a:cxn ang="0">
                  <a:pos x="323" y="924"/>
                </a:cxn>
                <a:cxn ang="0">
                  <a:pos x="378" y="787"/>
                </a:cxn>
                <a:cxn ang="0">
                  <a:pos x="354" y="675"/>
                </a:cxn>
                <a:cxn ang="0">
                  <a:pos x="409" y="924"/>
                </a:cxn>
                <a:cxn ang="0">
                  <a:pos x="571" y="1110"/>
                </a:cxn>
                <a:cxn ang="0">
                  <a:pos x="490" y="948"/>
                </a:cxn>
                <a:cxn ang="0">
                  <a:pos x="435" y="868"/>
                </a:cxn>
                <a:cxn ang="0">
                  <a:pos x="490" y="1110"/>
                </a:cxn>
                <a:cxn ang="0">
                  <a:pos x="490" y="1191"/>
                </a:cxn>
                <a:cxn ang="0">
                  <a:pos x="540" y="1222"/>
                </a:cxn>
                <a:cxn ang="0">
                  <a:pos x="708" y="1271"/>
                </a:cxn>
                <a:cxn ang="0">
                  <a:pos x="838" y="1407"/>
                </a:cxn>
                <a:cxn ang="0">
                  <a:pos x="1031" y="1680"/>
                </a:cxn>
                <a:cxn ang="0">
                  <a:pos x="1217" y="1543"/>
                </a:cxn>
                <a:cxn ang="0">
                  <a:pos x="1112" y="1569"/>
                </a:cxn>
                <a:cxn ang="0">
                  <a:pos x="1304" y="1600"/>
                </a:cxn>
                <a:cxn ang="0">
                  <a:pos x="1273" y="1786"/>
                </a:cxn>
                <a:cxn ang="0">
                  <a:pos x="1167" y="1680"/>
                </a:cxn>
                <a:cxn ang="0">
                  <a:pos x="1409" y="1760"/>
                </a:cxn>
                <a:cxn ang="0">
                  <a:pos x="1490" y="1680"/>
                </a:cxn>
                <a:cxn ang="0">
                  <a:pos x="1385" y="1655"/>
                </a:cxn>
                <a:cxn ang="0">
                  <a:pos x="1651" y="1760"/>
                </a:cxn>
                <a:cxn ang="0">
                  <a:pos x="1844" y="1841"/>
                </a:cxn>
                <a:cxn ang="0">
                  <a:pos x="1651" y="1736"/>
                </a:cxn>
              </a:cxnLst>
              <a:rect l="0" t="0" r="r" b="b"/>
              <a:pathLst>
                <a:path w="2030" h="1866">
                  <a:moveTo>
                    <a:pt x="25" y="651"/>
                  </a:moveTo>
                  <a:lnTo>
                    <a:pt x="0" y="675"/>
                  </a:lnTo>
                  <a:lnTo>
                    <a:pt x="0" y="732"/>
                  </a:lnTo>
                  <a:lnTo>
                    <a:pt x="25" y="787"/>
                  </a:lnTo>
                  <a:lnTo>
                    <a:pt x="112" y="843"/>
                  </a:lnTo>
                  <a:lnTo>
                    <a:pt x="112" y="868"/>
                  </a:lnTo>
                  <a:lnTo>
                    <a:pt x="136" y="924"/>
                  </a:lnTo>
                  <a:lnTo>
                    <a:pt x="136" y="868"/>
                  </a:lnTo>
                  <a:lnTo>
                    <a:pt x="162" y="893"/>
                  </a:lnTo>
                  <a:lnTo>
                    <a:pt x="193" y="787"/>
                  </a:lnTo>
                  <a:lnTo>
                    <a:pt x="193" y="812"/>
                  </a:lnTo>
                  <a:lnTo>
                    <a:pt x="217" y="787"/>
                  </a:lnTo>
                  <a:lnTo>
                    <a:pt x="193" y="756"/>
                  </a:lnTo>
                  <a:lnTo>
                    <a:pt x="217" y="732"/>
                  </a:lnTo>
                  <a:lnTo>
                    <a:pt x="273" y="627"/>
                  </a:lnTo>
                  <a:lnTo>
                    <a:pt x="354" y="627"/>
                  </a:lnTo>
                  <a:lnTo>
                    <a:pt x="409" y="706"/>
                  </a:lnTo>
                  <a:lnTo>
                    <a:pt x="435" y="706"/>
                  </a:lnTo>
                  <a:lnTo>
                    <a:pt x="490" y="787"/>
                  </a:lnTo>
                  <a:lnTo>
                    <a:pt x="490" y="843"/>
                  </a:lnTo>
                  <a:lnTo>
                    <a:pt x="490" y="924"/>
                  </a:lnTo>
                  <a:lnTo>
                    <a:pt x="540" y="974"/>
                  </a:lnTo>
                  <a:lnTo>
                    <a:pt x="621" y="1053"/>
                  </a:lnTo>
                  <a:lnTo>
                    <a:pt x="708" y="1110"/>
                  </a:lnTo>
                  <a:lnTo>
                    <a:pt x="677" y="1110"/>
                  </a:lnTo>
                  <a:lnTo>
                    <a:pt x="621" y="1084"/>
                  </a:lnTo>
                  <a:lnTo>
                    <a:pt x="621" y="1110"/>
                  </a:lnTo>
                  <a:lnTo>
                    <a:pt x="596" y="1110"/>
                  </a:lnTo>
                  <a:lnTo>
                    <a:pt x="571" y="1110"/>
                  </a:lnTo>
                  <a:lnTo>
                    <a:pt x="596" y="1141"/>
                  </a:lnTo>
                  <a:lnTo>
                    <a:pt x="708" y="1271"/>
                  </a:lnTo>
                  <a:lnTo>
                    <a:pt x="789" y="1302"/>
                  </a:lnTo>
                  <a:lnTo>
                    <a:pt x="813" y="1327"/>
                  </a:lnTo>
                  <a:lnTo>
                    <a:pt x="838" y="1358"/>
                  </a:lnTo>
                  <a:lnTo>
                    <a:pt x="838" y="1302"/>
                  </a:lnTo>
                  <a:lnTo>
                    <a:pt x="869" y="1302"/>
                  </a:lnTo>
                  <a:lnTo>
                    <a:pt x="869" y="1358"/>
                  </a:lnTo>
                  <a:lnTo>
                    <a:pt x="894" y="1358"/>
                  </a:lnTo>
                  <a:lnTo>
                    <a:pt x="894" y="1463"/>
                  </a:lnTo>
                  <a:lnTo>
                    <a:pt x="950" y="1463"/>
                  </a:lnTo>
                  <a:lnTo>
                    <a:pt x="974" y="1463"/>
                  </a:lnTo>
                  <a:lnTo>
                    <a:pt x="950" y="1438"/>
                  </a:lnTo>
                  <a:lnTo>
                    <a:pt x="1005" y="1438"/>
                  </a:lnTo>
                  <a:lnTo>
                    <a:pt x="1031" y="1407"/>
                  </a:lnTo>
                  <a:lnTo>
                    <a:pt x="1086" y="1407"/>
                  </a:lnTo>
                  <a:lnTo>
                    <a:pt x="1055" y="1438"/>
                  </a:lnTo>
                  <a:lnTo>
                    <a:pt x="1112" y="1438"/>
                  </a:lnTo>
                  <a:lnTo>
                    <a:pt x="1217" y="1463"/>
                  </a:lnTo>
                  <a:lnTo>
                    <a:pt x="1328" y="1569"/>
                  </a:lnTo>
                  <a:lnTo>
                    <a:pt x="1385" y="1569"/>
                  </a:lnTo>
                  <a:lnTo>
                    <a:pt x="1434" y="1624"/>
                  </a:lnTo>
                  <a:lnTo>
                    <a:pt x="1465" y="1624"/>
                  </a:lnTo>
                  <a:lnTo>
                    <a:pt x="1465" y="1655"/>
                  </a:lnTo>
                  <a:lnTo>
                    <a:pt x="1490" y="1655"/>
                  </a:lnTo>
                  <a:lnTo>
                    <a:pt x="1546" y="1624"/>
                  </a:lnTo>
                  <a:lnTo>
                    <a:pt x="1546" y="1600"/>
                  </a:lnTo>
                  <a:lnTo>
                    <a:pt x="1521" y="1600"/>
                  </a:lnTo>
                  <a:lnTo>
                    <a:pt x="1490" y="1569"/>
                  </a:lnTo>
                  <a:lnTo>
                    <a:pt x="1465" y="1543"/>
                  </a:lnTo>
                  <a:lnTo>
                    <a:pt x="1409" y="1519"/>
                  </a:lnTo>
                  <a:lnTo>
                    <a:pt x="1385" y="1488"/>
                  </a:lnTo>
                  <a:lnTo>
                    <a:pt x="1385" y="1438"/>
                  </a:lnTo>
                  <a:lnTo>
                    <a:pt x="1354" y="1407"/>
                  </a:lnTo>
                  <a:lnTo>
                    <a:pt x="1354" y="1383"/>
                  </a:lnTo>
                  <a:lnTo>
                    <a:pt x="1304" y="1383"/>
                  </a:lnTo>
                  <a:lnTo>
                    <a:pt x="1273" y="1358"/>
                  </a:lnTo>
                  <a:lnTo>
                    <a:pt x="1248" y="1358"/>
                  </a:lnTo>
                  <a:lnTo>
                    <a:pt x="1167" y="1271"/>
                  </a:lnTo>
                  <a:lnTo>
                    <a:pt x="1112" y="1222"/>
                  </a:lnTo>
                  <a:lnTo>
                    <a:pt x="1086" y="1191"/>
                  </a:lnTo>
                  <a:lnTo>
                    <a:pt x="1031" y="1165"/>
                  </a:lnTo>
                  <a:lnTo>
                    <a:pt x="1005" y="1141"/>
                  </a:lnTo>
                  <a:lnTo>
                    <a:pt x="950" y="1029"/>
                  </a:lnTo>
                  <a:lnTo>
                    <a:pt x="919" y="1029"/>
                  </a:lnTo>
                  <a:lnTo>
                    <a:pt x="919" y="1005"/>
                  </a:lnTo>
                  <a:lnTo>
                    <a:pt x="919" y="948"/>
                  </a:lnTo>
                  <a:lnTo>
                    <a:pt x="869" y="948"/>
                  </a:lnTo>
                  <a:lnTo>
                    <a:pt x="838" y="924"/>
                  </a:lnTo>
                  <a:lnTo>
                    <a:pt x="813" y="868"/>
                  </a:lnTo>
                  <a:lnTo>
                    <a:pt x="789" y="868"/>
                  </a:lnTo>
                  <a:lnTo>
                    <a:pt x="789" y="843"/>
                  </a:lnTo>
                  <a:lnTo>
                    <a:pt x="758" y="812"/>
                  </a:lnTo>
                  <a:lnTo>
                    <a:pt x="758" y="787"/>
                  </a:lnTo>
                  <a:lnTo>
                    <a:pt x="758" y="732"/>
                  </a:lnTo>
                  <a:lnTo>
                    <a:pt x="758" y="706"/>
                  </a:lnTo>
                  <a:lnTo>
                    <a:pt x="758" y="675"/>
                  </a:lnTo>
                  <a:lnTo>
                    <a:pt x="758" y="651"/>
                  </a:lnTo>
                  <a:lnTo>
                    <a:pt x="789" y="651"/>
                  </a:lnTo>
                  <a:lnTo>
                    <a:pt x="813" y="675"/>
                  </a:lnTo>
                  <a:lnTo>
                    <a:pt x="838" y="706"/>
                  </a:lnTo>
                  <a:lnTo>
                    <a:pt x="974" y="732"/>
                  </a:lnTo>
                  <a:lnTo>
                    <a:pt x="1005" y="675"/>
                  </a:lnTo>
                  <a:lnTo>
                    <a:pt x="1031" y="627"/>
                  </a:lnTo>
                  <a:lnTo>
                    <a:pt x="1055" y="596"/>
                  </a:lnTo>
                  <a:lnTo>
                    <a:pt x="1136" y="627"/>
                  </a:lnTo>
                  <a:lnTo>
                    <a:pt x="1167" y="596"/>
                  </a:lnTo>
                  <a:lnTo>
                    <a:pt x="1192" y="596"/>
                  </a:lnTo>
                  <a:lnTo>
                    <a:pt x="1217" y="596"/>
                  </a:lnTo>
                  <a:lnTo>
                    <a:pt x="1273" y="627"/>
                  </a:lnTo>
                  <a:lnTo>
                    <a:pt x="1304" y="596"/>
                  </a:lnTo>
                  <a:lnTo>
                    <a:pt x="1328" y="627"/>
                  </a:lnTo>
                  <a:lnTo>
                    <a:pt x="1354" y="627"/>
                  </a:lnTo>
                  <a:lnTo>
                    <a:pt x="1409" y="627"/>
                  </a:lnTo>
                  <a:lnTo>
                    <a:pt x="1490" y="651"/>
                  </a:lnTo>
                  <a:lnTo>
                    <a:pt x="1521" y="627"/>
                  </a:lnTo>
                  <a:lnTo>
                    <a:pt x="1521" y="596"/>
                  </a:lnTo>
                  <a:lnTo>
                    <a:pt x="1570" y="596"/>
                  </a:lnTo>
                  <a:lnTo>
                    <a:pt x="1570" y="627"/>
                  </a:lnTo>
                  <a:lnTo>
                    <a:pt x="1601" y="627"/>
                  </a:lnTo>
                  <a:lnTo>
                    <a:pt x="1627" y="596"/>
                  </a:lnTo>
                  <a:lnTo>
                    <a:pt x="1682" y="596"/>
                  </a:lnTo>
                  <a:lnTo>
                    <a:pt x="1708" y="627"/>
                  </a:lnTo>
                  <a:lnTo>
                    <a:pt x="1732" y="627"/>
                  </a:lnTo>
                  <a:lnTo>
                    <a:pt x="1732" y="596"/>
                  </a:lnTo>
                  <a:lnTo>
                    <a:pt x="1763" y="627"/>
                  </a:lnTo>
                  <a:lnTo>
                    <a:pt x="1763" y="596"/>
                  </a:lnTo>
                  <a:lnTo>
                    <a:pt x="1819" y="627"/>
                  </a:lnTo>
                  <a:lnTo>
                    <a:pt x="1819" y="651"/>
                  </a:lnTo>
                  <a:lnTo>
                    <a:pt x="1819" y="675"/>
                  </a:lnTo>
                  <a:lnTo>
                    <a:pt x="1819" y="706"/>
                  </a:lnTo>
                  <a:lnTo>
                    <a:pt x="1869" y="706"/>
                  </a:lnTo>
                  <a:lnTo>
                    <a:pt x="1869" y="675"/>
                  </a:lnTo>
                  <a:lnTo>
                    <a:pt x="1900" y="651"/>
                  </a:lnTo>
                  <a:lnTo>
                    <a:pt x="1924" y="596"/>
                  </a:lnTo>
                  <a:lnTo>
                    <a:pt x="1900" y="570"/>
                  </a:lnTo>
                  <a:lnTo>
                    <a:pt x="1924" y="570"/>
                  </a:lnTo>
                  <a:lnTo>
                    <a:pt x="1924" y="546"/>
                  </a:lnTo>
                  <a:lnTo>
                    <a:pt x="1981" y="546"/>
                  </a:lnTo>
                  <a:lnTo>
                    <a:pt x="2005" y="515"/>
                  </a:lnTo>
                  <a:lnTo>
                    <a:pt x="2030" y="515"/>
                  </a:lnTo>
                  <a:lnTo>
                    <a:pt x="2030" y="489"/>
                  </a:lnTo>
                  <a:lnTo>
                    <a:pt x="1981" y="489"/>
                  </a:lnTo>
                  <a:lnTo>
                    <a:pt x="1950" y="489"/>
                  </a:lnTo>
                  <a:lnTo>
                    <a:pt x="1924" y="489"/>
                  </a:lnTo>
                  <a:lnTo>
                    <a:pt x="1844" y="459"/>
                  </a:lnTo>
                  <a:lnTo>
                    <a:pt x="1844" y="434"/>
                  </a:lnTo>
                  <a:lnTo>
                    <a:pt x="1869" y="434"/>
                  </a:lnTo>
                  <a:lnTo>
                    <a:pt x="1844" y="409"/>
                  </a:lnTo>
                  <a:lnTo>
                    <a:pt x="1869" y="378"/>
                  </a:lnTo>
                  <a:lnTo>
                    <a:pt x="1869" y="353"/>
                  </a:lnTo>
                  <a:lnTo>
                    <a:pt x="1844" y="378"/>
                  </a:lnTo>
                  <a:lnTo>
                    <a:pt x="1819" y="353"/>
                  </a:lnTo>
                  <a:lnTo>
                    <a:pt x="1819" y="298"/>
                  </a:lnTo>
                  <a:lnTo>
                    <a:pt x="1763" y="217"/>
                  </a:lnTo>
                  <a:lnTo>
                    <a:pt x="1732" y="192"/>
                  </a:lnTo>
                  <a:lnTo>
                    <a:pt x="1708" y="192"/>
                  </a:lnTo>
                  <a:lnTo>
                    <a:pt x="1708" y="217"/>
                  </a:lnTo>
                  <a:lnTo>
                    <a:pt x="1682" y="248"/>
                  </a:lnTo>
                  <a:lnTo>
                    <a:pt x="1651" y="273"/>
                  </a:lnTo>
                  <a:lnTo>
                    <a:pt x="1627" y="273"/>
                  </a:lnTo>
                  <a:lnTo>
                    <a:pt x="1601" y="298"/>
                  </a:lnTo>
                  <a:lnTo>
                    <a:pt x="1570" y="273"/>
                  </a:lnTo>
                  <a:lnTo>
                    <a:pt x="1546" y="273"/>
                  </a:lnTo>
                  <a:lnTo>
                    <a:pt x="1521" y="273"/>
                  </a:lnTo>
                  <a:lnTo>
                    <a:pt x="1490" y="273"/>
                  </a:lnTo>
                  <a:lnTo>
                    <a:pt x="1434" y="298"/>
                  </a:lnTo>
                  <a:lnTo>
                    <a:pt x="1409" y="273"/>
                  </a:lnTo>
                  <a:lnTo>
                    <a:pt x="1385" y="273"/>
                  </a:lnTo>
                  <a:lnTo>
                    <a:pt x="1354" y="248"/>
                  </a:lnTo>
                  <a:lnTo>
                    <a:pt x="1328" y="217"/>
                  </a:lnTo>
                  <a:lnTo>
                    <a:pt x="1304" y="248"/>
                  </a:lnTo>
                  <a:lnTo>
                    <a:pt x="1273" y="248"/>
                  </a:lnTo>
                  <a:lnTo>
                    <a:pt x="1273" y="217"/>
                  </a:lnTo>
                  <a:lnTo>
                    <a:pt x="1248" y="217"/>
                  </a:lnTo>
                  <a:lnTo>
                    <a:pt x="1217" y="192"/>
                  </a:lnTo>
                  <a:lnTo>
                    <a:pt x="1217" y="161"/>
                  </a:lnTo>
                  <a:lnTo>
                    <a:pt x="1192" y="137"/>
                  </a:lnTo>
                  <a:lnTo>
                    <a:pt x="1136" y="111"/>
                  </a:lnTo>
                  <a:lnTo>
                    <a:pt x="1112" y="111"/>
                  </a:lnTo>
                  <a:lnTo>
                    <a:pt x="1086" y="80"/>
                  </a:lnTo>
                  <a:lnTo>
                    <a:pt x="1086" y="56"/>
                  </a:lnTo>
                  <a:lnTo>
                    <a:pt x="1055" y="56"/>
                  </a:lnTo>
                  <a:lnTo>
                    <a:pt x="1031" y="56"/>
                  </a:lnTo>
                  <a:lnTo>
                    <a:pt x="1031" y="31"/>
                  </a:lnTo>
                  <a:lnTo>
                    <a:pt x="974" y="31"/>
                  </a:lnTo>
                  <a:lnTo>
                    <a:pt x="919" y="0"/>
                  </a:lnTo>
                  <a:lnTo>
                    <a:pt x="894" y="0"/>
                  </a:lnTo>
                  <a:lnTo>
                    <a:pt x="894" y="56"/>
                  </a:lnTo>
                  <a:lnTo>
                    <a:pt x="894" y="80"/>
                  </a:lnTo>
                  <a:lnTo>
                    <a:pt x="838" y="80"/>
                  </a:lnTo>
                  <a:lnTo>
                    <a:pt x="732" y="137"/>
                  </a:lnTo>
                  <a:lnTo>
                    <a:pt x="708" y="161"/>
                  </a:lnTo>
                  <a:lnTo>
                    <a:pt x="677" y="161"/>
                  </a:lnTo>
                  <a:lnTo>
                    <a:pt x="677" y="192"/>
                  </a:lnTo>
                  <a:lnTo>
                    <a:pt x="677" y="217"/>
                  </a:lnTo>
                  <a:lnTo>
                    <a:pt x="708" y="248"/>
                  </a:lnTo>
                  <a:lnTo>
                    <a:pt x="732" y="248"/>
                  </a:lnTo>
                  <a:lnTo>
                    <a:pt x="708" y="298"/>
                  </a:lnTo>
                  <a:lnTo>
                    <a:pt x="708" y="353"/>
                  </a:lnTo>
                  <a:lnTo>
                    <a:pt x="708" y="378"/>
                  </a:lnTo>
                  <a:lnTo>
                    <a:pt x="651" y="378"/>
                  </a:lnTo>
                  <a:lnTo>
                    <a:pt x="571" y="409"/>
                  </a:lnTo>
                  <a:lnTo>
                    <a:pt x="571" y="434"/>
                  </a:lnTo>
                  <a:lnTo>
                    <a:pt x="621" y="434"/>
                  </a:lnTo>
                  <a:lnTo>
                    <a:pt x="596" y="459"/>
                  </a:lnTo>
                  <a:lnTo>
                    <a:pt x="596" y="515"/>
                  </a:lnTo>
                  <a:lnTo>
                    <a:pt x="621" y="515"/>
                  </a:lnTo>
                  <a:lnTo>
                    <a:pt x="596" y="546"/>
                  </a:lnTo>
                  <a:lnTo>
                    <a:pt x="571" y="570"/>
                  </a:lnTo>
                  <a:lnTo>
                    <a:pt x="515" y="546"/>
                  </a:lnTo>
                  <a:lnTo>
                    <a:pt x="490" y="515"/>
                  </a:lnTo>
                  <a:lnTo>
                    <a:pt x="459" y="546"/>
                  </a:lnTo>
                  <a:lnTo>
                    <a:pt x="409" y="515"/>
                  </a:lnTo>
                  <a:lnTo>
                    <a:pt x="409" y="489"/>
                  </a:lnTo>
                  <a:lnTo>
                    <a:pt x="354" y="489"/>
                  </a:lnTo>
                  <a:lnTo>
                    <a:pt x="298" y="546"/>
                  </a:lnTo>
                  <a:lnTo>
                    <a:pt x="242" y="570"/>
                  </a:lnTo>
                  <a:lnTo>
                    <a:pt x="242" y="546"/>
                  </a:lnTo>
                  <a:lnTo>
                    <a:pt x="242" y="570"/>
                  </a:lnTo>
                  <a:lnTo>
                    <a:pt x="217" y="570"/>
                  </a:lnTo>
                  <a:lnTo>
                    <a:pt x="193" y="546"/>
                  </a:lnTo>
                  <a:lnTo>
                    <a:pt x="162" y="570"/>
                  </a:lnTo>
                  <a:lnTo>
                    <a:pt x="136" y="546"/>
                  </a:lnTo>
                  <a:lnTo>
                    <a:pt x="136" y="570"/>
                  </a:lnTo>
                  <a:lnTo>
                    <a:pt x="112" y="570"/>
                  </a:lnTo>
                  <a:lnTo>
                    <a:pt x="81" y="627"/>
                  </a:lnTo>
                  <a:lnTo>
                    <a:pt x="25" y="651"/>
                  </a:lnTo>
                  <a:close/>
                  <a:moveTo>
                    <a:pt x="298" y="1005"/>
                  </a:moveTo>
                  <a:lnTo>
                    <a:pt x="323" y="1005"/>
                  </a:lnTo>
                  <a:lnTo>
                    <a:pt x="378" y="1029"/>
                  </a:lnTo>
                  <a:lnTo>
                    <a:pt x="323" y="974"/>
                  </a:lnTo>
                  <a:lnTo>
                    <a:pt x="298" y="948"/>
                  </a:lnTo>
                  <a:lnTo>
                    <a:pt x="298" y="924"/>
                  </a:lnTo>
                  <a:lnTo>
                    <a:pt x="298" y="974"/>
                  </a:lnTo>
                  <a:lnTo>
                    <a:pt x="298" y="1005"/>
                  </a:lnTo>
                  <a:close/>
                  <a:moveTo>
                    <a:pt x="298" y="787"/>
                  </a:moveTo>
                  <a:lnTo>
                    <a:pt x="273" y="732"/>
                  </a:lnTo>
                  <a:lnTo>
                    <a:pt x="273" y="706"/>
                  </a:lnTo>
                  <a:lnTo>
                    <a:pt x="242" y="732"/>
                  </a:lnTo>
                  <a:lnTo>
                    <a:pt x="273" y="756"/>
                  </a:lnTo>
                  <a:lnTo>
                    <a:pt x="298" y="812"/>
                  </a:lnTo>
                  <a:lnTo>
                    <a:pt x="298" y="843"/>
                  </a:lnTo>
                  <a:lnTo>
                    <a:pt x="273" y="812"/>
                  </a:lnTo>
                  <a:lnTo>
                    <a:pt x="298" y="893"/>
                  </a:lnTo>
                  <a:lnTo>
                    <a:pt x="323" y="924"/>
                  </a:lnTo>
                  <a:lnTo>
                    <a:pt x="354" y="974"/>
                  </a:lnTo>
                  <a:lnTo>
                    <a:pt x="354" y="948"/>
                  </a:lnTo>
                  <a:lnTo>
                    <a:pt x="323" y="924"/>
                  </a:lnTo>
                  <a:lnTo>
                    <a:pt x="354" y="893"/>
                  </a:lnTo>
                  <a:lnTo>
                    <a:pt x="323" y="812"/>
                  </a:lnTo>
                  <a:lnTo>
                    <a:pt x="323" y="787"/>
                  </a:lnTo>
                  <a:lnTo>
                    <a:pt x="298" y="787"/>
                  </a:lnTo>
                  <a:close/>
                  <a:moveTo>
                    <a:pt x="354" y="787"/>
                  </a:moveTo>
                  <a:lnTo>
                    <a:pt x="378" y="756"/>
                  </a:lnTo>
                  <a:lnTo>
                    <a:pt x="378" y="787"/>
                  </a:lnTo>
                  <a:lnTo>
                    <a:pt x="435" y="787"/>
                  </a:lnTo>
                  <a:lnTo>
                    <a:pt x="409" y="756"/>
                  </a:lnTo>
                  <a:lnTo>
                    <a:pt x="409" y="732"/>
                  </a:lnTo>
                  <a:lnTo>
                    <a:pt x="378" y="732"/>
                  </a:lnTo>
                  <a:lnTo>
                    <a:pt x="378" y="706"/>
                  </a:lnTo>
                  <a:lnTo>
                    <a:pt x="354" y="706"/>
                  </a:lnTo>
                  <a:lnTo>
                    <a:pt x="354" y="675"/>
                  </a:lnTo>
                  <a:lnTo>
                    <a:pt x="323" y="675"/>
                  </a:lnTo>
                  <a:lnTo>
                    <a:pt x="323" y="706"/>
                  </a:lnTo>
                  <a:lnTo>
                    <a:pt x="323" y="732"/>
                  </a:lnTo>
                  <a:lnTo>
                    <a:pt x="298" y="732"/>
                  </a:lnTo>
                  <a:lnTo>
                    <a:pt x="298" y="756"/>
                  </a:lnTo>
                  <a:lnTo>
                    <a:pt x="354" y="787"/>
                  </a:lnTo>
                  <a:close/>
                  <a:moveTo>
                    <a:pt x="409" y="924"/>
                  </a:moveTo>
                  <a:lnTo>
                    <a:pt x="490" y="1005"/>
                  </a:lnTo>
                  <a:lnTo>
                    <a:pt x="490" y="1029"/>
                  </a:lnTo>
                  <a:lnTo>
                    <a:pt x="515" y="1029"/>
                  </a:lnTo>
                  <a:lnTo>
                    <a:pt x="540" y="1053"/>
                  </a:lnTo>
                  <a:lnTo>
                    <a:pt x="571" y="1053"/>
                  </a:lnTo>
                  <a:lnTo>
                    <a:pt x="571" y="1084"/>
                  </a:lnTo>
                  <a:lnTo>
                    <a:pt x="571" y="1110"/>
                  </a:lnTo>
                  <a:lnTo>
                    <a:pt x="596" y="1084"/>
                  </a:lnTo>
                  <a:lnTo>
                    <a:pt x="621" y="1084"/>
                  </a:lnTo>
                  <a:lnTo>
                    <a:pt x="571" y="1029"/>
                  </a:lnTo>
                  <a:lnTo>
                    <a:pt x="540" y="1029"/>
                  </a:lnTo>
                  <a:lnTo>
                    <a:pt x="490" y="1005"/>
                  </a:lnTo>
                  <a:lnTo>
                    <a:pt x="540" y="1005"/>
                  </a:lnTo>
                  <a:lnTo>
                    <a:pt x="490" y="948"/>
                  </a:lnTo>
                  <a:lnTo>
                    <a:pt x="490" y="974"/>
                  </a:lnTo>
                  <a:lnTo>
                    <a:pt x="435" y="924"/>
                  </a:lnTo>
                  <a:lnTo>
                    <a:pt x="409" y="924"/>
                  </a:lnTo>
                  <a:close/>
                  <a:moveTo>
                    <a:pt x="435" y="868"/>
                  </a:moveTo>
                  <a:lnTo>
                    <a:pt x="435" y="843"/>
                  </a:lnTo>
                  <a:lnTo>
                    <a:pt x="409" y="868"/>
                  </a:lnTo>
                  <a:lnTo>
                    <a:pt x="435" y="868"/>
                  </a:lnTo>
                  <a:lnTo>
                    <a:pt x="409" y="893"/>
                  </a:lnTo>
                  <a:lnTo>
                    <a:pt x="435" y="893"/>
                  </a:lnTo>
                  <a:lnTo>
                    <a:pt x="459" y="924"/>
                  </a:lnTo>
                  <a:lnTo>
                    <a:pt x="490" y="924"/>
                  </a:lnTo>
                  <a:lnTo>
                    <a:pt x="435" y="868"/>
                  </a:lnTo>
                  <a:close/>
                  <a:moveTo>
                    <a:pt x="435" y="1084"/>
                  </a:moveTo>
                  <a:lnTo>
                    <a:pt x="490" y="1110"/>
                  </a:lnTo>
                  <a:lnTo>
                    <a:pt x="459" y="1084"/>
                  </a:lnTo>
                  <a:lnTo>
                    <a:pt x="459" y="1053"/>
                  </a:lnTo>
                  <a:lnTo>
                    <a:pt x="459" y="1084"/>
                  </a:lnTo>
                  <a:lnTo>
                    <a:pt x="435" y="1084"/>
                  </a:lnTo>
                  <a:close/>
                  <a:moveTo>
                    <a:pt x="490" y="1165"/>
                  </a:moveTo>
                  <a:lnTo>
                    <a:pt x="459" y="1165"/>
                  </a:lnTo>
                  <a:lnTo>
                    <a:pt x="490" y="1191"/>
                  </a:lnTo>
                  <a:lnTo>
                    <a:pt x="515" y="1191"/>
                  </a:lnTo>
                  <a:lnTo>
                    <a:pt x="596" y="1302"/>
                  </a:lnTo>
                  <a:lnTo>
                    <a:pt x="621" y="1302"/>
                  </a:lnTo>
                  <a:lnTo>
                    <a:pt x="596" y="1271"/>
                  </a:lnTo>
                  <a:lnTo>
                    <a:pt x="621" y="1302"/>
                  </a:lnTo>
                  <a:lnTo>
                    <a:pt x="571" y="1246"/>
                  </a:lnTo>
                  <a:lnTo>
                    <a:pt x="540" y="1222"/>
                  </a:lnTo>
                  <a:lnTo>
                    <a:pt x="490" y="1165"/>
                  </a:lnTo>
                  <a:close/>
                  <a:moveTo>
                    <a:pt x="540" y="1165"/>
                  </a:moveTo>
                  <a:lnTo>
                    <a:pt x="596" y="1222"/>
                  </a:lnTo>
                  <a:lnTo>
                    <a:pt x="621" y="1222"/>
                  </a:lnTo>
                  <a:lnTo>
                    <a:pt x="651" y="1271"/>
                  </a:lnTo>
                  <a:lnTo>
                    <a:pt x="677" y="1271"/>
                  </a:lnTo>
                  <a:lnTo>
                    <a:pt x="708" y="1271"/>
                  </a:lnTo>
                  <a:lnTo>
                    <a:pt x="651" y="1222"/>
                  </a:lnTo>
                  <a:lnTo>
                    <a:pt x="621" y="1222"/>
                  </a:lnTo>
                  <a:lnTo>
                    <a:pt x="540" y="1165"/>
                  </a:lnTo>
                  <a:close/>
                  <a:moveTo>
                    <a:pt x="789" y="1383"/>
                  </a:moveTo>
                  <a:lnTo>
                    <a:pt x="789" y="1407"/>
                  </a:lnTo>
                  <a:lnTo>
                    <a:pt x="813" y="1407"/>
                  </a:lnTo>
                  <a:lnTo>
                    <a:pt x="838" y="1407"/>
                  </a:lnTo>
                  <a:lnTo>
                    <a:pt x="789" y="1383"/>
                  </a:lnTo>
                  <a:close/>
                  <a:moveTo>
                    <a:pt x="1005" y="1655"/>
                  </a:moveTo>
                  <a:lnTo>
                    <a:pt x="974" y="1655"/>
                  </a:lnTo>
                  <a:lnTo>
                    <a:pt x="950" y="1655"/>
                  </a:lnTo>
                  <a:lnTo>
                    <a:pt x="974" y="1680"/>
                  </a:lnTo>
                  <a:lnTo>
                    <a:pt x="974" y="1705"/>
                  </a:lnTo>
                  <a:lnTo>
                    <a:pt x="1031" y="1680"/>
                  </a:lnTo>
                  <a:lnTo>
                    <a:pt x="1031" y="1655"/>
                  </a:lnTo>
                  <a:lnTo>
                    <a:pt x="1005" y="1655"/>
                  </a:lnTo>
                  <a:close/>
                  <a:moveTo>
                    <a:pt x="1086" y="1488"/>
                  </a:moveTo>
                  <a:lnTo>
                    <a:pt x="1086" y="1519"/>
                  </a:lnTo>
                  <a:lnTo>
                    <a:pt x="1086" y="1543"/>
                  </a:lnTo>
                  <a:lnTo>
                    <a:pt x="1112" y="1543"/>
                  </a:lnTo>
                  <a:lnTo>
                    <a:pt x="1217" y="1543"/>
                  </a:lnTo>
                  <a:lnTo>
                    <a:pt x="1248" y="1543"/>
                  </a:lnTo>
                  <a:lnTo>
                    <a:pt x="1248" y="1519"/>
                  </a:lnTo>
                  <a:lnTo>
                    <a:pt x="1192" y="1488"/>
                  </a:lnTo>
                  <a:lnTo>
                    <a:pt x="1086" y="1488"/>
                  </a:lnTo>
                  <a:close/>
                  <a:moveTo>
                    <a:pt x="1192" y="1600"/>
                  </a:moveTo>
                  <a:lnTo>
                    <a:pt x="1167" y="1569"/>
                  </a:lnTo>
                  <a:lnTo>
                    <a:pt x="1112" y="1569"/>
                  </a:lnTo>
                  <a:lnTo>
                    <a:pt x="1136" y="1600"/>
                  </a:lnTo>
                  <a:lnTo>
                    <a:pt x="1086" y="1569"/>
                  </a:lnTo>
                  <a:lnTo>
                    <a:pt x="1055" y="1600"/>
                  </a:lnTo>
                  <a:lnTo>
                    <a:pt x="1086" y="1600"/>
                  </a:lnTo>
                  <a:lnTo>
                    <a:pt x="1112" y="1600"/>
                  </a:lnTo>
                  <a:lnTo>
                    <a:pt x="1136" y="1624"/>
                  </a:lnTo>
                  <a:lnTo>
                    <a:pt x="1304" y="1600"/>
                  </a:lnTo>
                  <a:lnTo>
                    <a:pt x="1354" y="1600"/>
                  </a:lnTo>
                  <a:lnTo>
                    <a:pt x="1354" y="1569"/>
                  </a:lnTo>
                  <a:lnTo>
                    <a:pt x="1192" y="1600"/>
                  </a:lnTo>
                  <a:close/>
                  <a:moveTo>
                    <a:pt x="1248" y="1760"/>
                  </a:moveTo>
                  <a:lnTo>
                    <a:pt x="1248" y="1786"/>
                  </a:lnTo>
                  <a:lnTo>
                    <a:pt x="1273" y="1817"/>
                  </a:lnTo>
                  <a:lnTo>
                    <a:pt x="1273" y="1786"/>
                  </a:lnTo>
                  <a:lnTo>
                    <a:pt x="1304" y="1786"/>
                  </a:lnTo>
                  <a:lnTo>
                    <a:pt x="1304" y="1760"/>
                  </a:lnTo>
                  <a:lnTo>
                    <a:pt x="1248" y="1760"/>
                  </a:lnTo>
                  <a:close/>
                  <a:moveTo>
                    <a:pt x="1354" y="1680"/>
                  </a:moveTo>
                  <a:lnTo>
                    <a:pt x="1304" y="1655"/>
                  </a:lnTo>
                  <a:lnTo>
                    <a:pt x="1248" y="1680"/>
                  </a:lnTo>
                  <a:lnTo>
                    <a:pt x="1167" y="1680"/>
                  </a:lnTo>
                  <a:lnTo>
                    <a:pt x="1192" y="1705"/>
                  </a:lnTo>
                  <a:lnTo>
                    <a:pt x="1167" y="1705"/>
                  </a:lnTo>
                  <a:lnTo>
                    <a:pt x="1273" y="1705"/>
                  </a:lnTo>
                  <a:lnTo>
                    <a:pt x="1354" y="1705"/>
                  </a:lnTo>
                  <a:lnTo>
                    <a:pt x="1354" y="1680"/>
                  </a:lnTo>
                  <a:close/>
                  <a:moveTo>
                    <a:pt x="1434" y="1736"/>
                  </a:moveTo>
                  <a:lnTo>
                    <a:pt x="1409" y="1760"/>
                  </a:lnTo>
                  <a:lnTo>
                    <a:pt x="1434" y="1760"/>
                  </a:lnTo>
                  <a:lnTo>
                    <a:pt x="1570" y="1786"/>
                  </a:lnTo>
                  <a:lnTo>
                    <a:pt x="1570" y="1760"/>
                  </a:lnTo>
                  <a:lnTo>
                    <a:pt x="1434" y="1736"/>
                  </a:lnTo>
                  <a:close/>
                  <a:moveTo>
                    <a:pt x="1570" y="1680"/>
                  </a:moveTo>
                  <a:lnTo>
                    <a:pt x="1570" y="1705"/>
                  </a:lnTo>
                  <a:lnTo>
                    <a:pt x="1490" y="1680"/>
                  </a:lnTo>
                  <a:lnTo>
                    <a:pt x="1465" y="1680"/>
                  </a:lnTo>
                  <a:lnTo>
                    <a:pt x="1434" y="1655"/>
                  </a:lnTo>
                  <a:lnTo>
                    <a:pt x="1354" y="1624"/>
                  </a:lnTo>
                  <a:lnTo>
                    <a:pt x="1328" y="1624"/>
                  </a:lnTo>
                  <a:lnTo>
                    <a:pt x="1304" y="1624"/>
                  </a:lnTo>
                  <a:lnTo>
                    <a:pt x="1304" y="1655"/>
                  </a:lnTo>
                  <a:lnTo>
                    <a:pt x="1385" y="1655"/>
                  </a:lnTo>
                  <a:lnTo>
                    <a:pt x="1409" y="1680"/>
                  </a:lnTo>
                  <a:lnTo>
                    <a:pt x="1434" y="1680"/>
                  </a:lnTo>
                  <a:lnTo>
                    <a:pt x="1465" y="1705"/>
                  </a:lnTo>
                  <a:lnTo>
                    <a:pt x="1546" y="1736"/>
                  </a:lnTo>
                  <a:lnTo>
                    <a:pt x="1570" y="1736"/>
                  </a:lnTo>
                  <a:lnTo>
                    <a:pt x="1601" y="1736"/>
                  </a:lnTo>
                  <a:lnTo>
                    <a:pt x="1651" y="1760"/>
                  </a:lnTo>
                  <a:lnTo>
                    <a:pt x="1708" y="1760"/>
                  </a:lnTo>
                  <a:lnTo>
                    <a:pt x="1682" y="1786"/>
                  </a:lnTo>
                  <a:lnTo>
                    <a:pt x="1732" y="1786"/>
                  </a:lnTo>
                  <a:lnTo>
                    <a:pt x="1732" y="1817"/>
                  </a:lnTo>
                  <a:lnTo>
                    <a:pt x="1844" y="1866"/>
                  </a:lnTo>
                  <a:lnTo>
                    <a:pt x="1869" y="1866"/>
                  </a:lnTo>
                  <a:lnTo>
                    <a:pt x="1844" y="1841"/>
                  </a:lnTo>
                  <a:lnTo>
                    <a:pt x="1869" y="1841"/>
                  </a:lnTo>
                  <a:lnTo>
                    <a:pt x="1844" y="1817"/>
                  </a:lnTo>
                  <a:lnTo>
                    <a:pt x="1763" y="1786"/>
                  </a:lnTo>
                  <a:lnTo>
                    <a:pt x="1763" y="1760"/>
                  </a:lnTo>
                  <a:lnTo>
                    <a:pt x="1732" y="1760"/>
                  </a:lnTo>
                  <a:lnTo>
                    <a:pt x="1682" y="1736"/>
                  </a:lnTo>
                  <a:lnTo>
                    <a:pt x="1651" y="1736"/>
                  </a:lnTo>
                  <a:lnTo>
                    <a:pt x="1627" y="1705"/>
                  </a:lnTo>
                  <a:lnTo>
                    <a:pt x="1627" y="1680"/>
                  </a:lnTo>
                  <a:lnTo>
                    <a:pt x="1601" y="1680"/>
                  </a:lnTo>
                  <a:lnTo>
                    <a:pt x="1570" y="1680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49" name="Freeform 88">
              <a:extLst>
                <a:ext uri="{FF2B5EF4-FFF2-40B4-BE49-F238E27FC236}">
                  <a16:creationId xmlns:a16="http://schemas.microsoft.com/office/drawing/2014/main" id="{F77432A1-9971-426A-883A-2DA0B2217999}"/>
                </a:ext>
              </a:extLst>
            </p:cNvPr>
            <p:cNvSpPr>
              <a:spLocks/>
            </p:cNvSpPr>
            <p:nvPr/>
          </p:nvSpPr>
          <p:spPr bwMode="gray">
            <a:xfrm>
              <a:off x="8731872" y="4427451"/>
              <a:ext cx="467265" cy="420316"/>
            </a:xfrm>
            <a:custGeom>
              <a:avLst/>
              <a:gdLst/>
              <a:ahLst/>
              <a:cxnLst>
                <a:cxn ang="0">
                  <a:pos x="790" y="1005"/>
                </a:cxn>
                <a:cxn ang="0">
                  <a:pos x="709" y="949"/>
                </a:cxn>
                <a:cxn ang="0">
                  <a:pos x="628" y="843"/>
                </a:cxn>
                <a:cxn ang="0">
                  <a:pos x="547" y="788"/>
                </a:cxn>
                <a:cxn ang="0">
                  <a:pos x="410" y="676"/>
                </a:cxn>
                <a:cxn ang="0">
                  <a:pos x="274" y="570"/>
                </a:cxn>
                <a:cxn ang="0">
                  <a:pos x="161" y="434"/>
                </a:cxn>
                <a:cxn ang="0">
                  <a:pos x="111" y="353"/>
                </a:cxn>
                <a:cxn ang="0">
                  <a:pos x="31" y="273"/>
                </a:cxn>
                <a:cxn ang="0">
                  <a:pos x="0" y="192"/>
                </a:cxn>
                <a:cxn ang="0">
                  <a:pos x="0" y="80"/>
                </a:cxn>
                <a:cxn ang="0">
                  <a:pos x="56" y="80"/>
                </a:cxn>
                <a:cxn ang="0">
                  <a:pos x="248" y="80"/>
                </a:cxn>
                <a:cxn ang="0">
                  <a:pos x="379" y="30"/>
                </a:cxn>
                <a:cxn ang="0">
                  <a:pos x="460" y="0"/>
                </a:cxn>
                <a:cxn ang="0">
                  <a:pos x="572" y="30"/>
                </a:cxn>
                <a:cxn ang="0">
                  <a:pos x="734" y="55"/>
                </a:cxn>
                <a:cxn ang="0">
                  <a:pos x="815" y="0"/>
                </a:cxn>
                <a:cxn ang="0">
                  <a:pos x="871" y="0"/>
                </a:cxn>
                <a:cxn ang="0">
                  <a:pos x="976" y="30"/>
                </a:cxn>
                <a:cxn ang="0">
                  <a:pos x="1008" y="0"/>
                </a:cxn>
                <a:cxn ang="0">
                  <a:pos x="1063" y="80"/>
                </a:cxn>
                <a:cxn ang="0">
                  <a:pos x="1113" y="80"/>
                </a:cxn>
                <a:cxn ang="0">
                  <a:pos x="1250" y="55"/>
                </a:cxn>
                <a:cxn ang="0">
                  <a:pos x="1194" y="247"/>
                </a:cxn>
                <a:cxn ang="0">
                  <a:pos x="1226" y="353"/>
                </a:cxn>
                <a:cxn ang="0">
                  <a:pos x="1362" y="409"/>
                </a:cxn>
                <a:cxn ang="0">
                  <a:pos x="1387" y="489"/>
                </a:cxn>
                <a:cxn ang="0">
                  <a:pos x="1331" y="546"/>
                </a:cxn>
                <a:cxn ang="0">
                  <a:pos x="1387" y="676"/>
                </a:cxn>
                <a:cxn ang="0">
                  <a:pos x="1331" y="707"/>
                </a:cxn>
                <a:cxn ang="0">
                  <a:pos x="1276" y="732"/>
                </a:cxn>
                <a:cxn ang="0">
                  <a:pos x="1250" y="788"/>
                </a:cxn>
                <a:cxn ang="0">
                  <a:pos x="1226" y="843"/>
                </a:cxn>
                <a:cxn ang="0">
                  <a:pos x="1169" y="843"/>
                </a:cxn>
                <a:cxn ang="0">
                  <a:pos x="1169" y="974"/>
                </a:cxn>
                <a:cxn ang="0">
                  <a:pos x="1089" y="1061"/>
                </a:cxn>
                <a:cxn ang="0">
                  <a:pos x="1144" y="1142"/>
                </a:cxn>
                <a:cxn ang="0">
                  <a:pos x="1113" y="1192"/>
                </a:cxn>
                <a:cxn ang="0">
                  <a:pos x="1113" y="1247"/>
                </a:cxn>
                <a:cxn ang="0">
                  <a:pos x="1008" y="1166"/>
                </a:cxn>
                <a:cxn ang="0">
                  <a:pos x="895" y="1142"/>
                </a:cxn>
                <a:cxn ang="0">
                  <a:pos x="845" y="1085"/>
                </a:cxn>
                <a:cxn ang="0">
                  <a:pos x="765" y="1061"/>
                </a:cxn>
              </a:cxnLst>
              <a:rect l="0" t="0" r="r" b="b"/>
              <a:pathLst>
                <a:path w="1387" h="1247">
                  <a:moveTo>
                    <a:pt x="734" y="1061"/>
                  </a:moveTo>
                  <a:lnTo>
                    <a:pt x="790" y="1030"/>
                  </a:lnTo>
                  <a:lnTo>
                    <a:pt x="790" y="1005"/>
                  </a:lnTo>
                  <a:lnTo>
                    <a:pt x="765" y="1005"/>
                  </a:lnTo>
                  <a:lnTo>
                    <a:pt x="734" y="974"/>
                  </a:lnTo>
                  <a:lnTo>
                    <a:pt x="709" y="949"/>
                  </a:lnTo>
                  <a:lnTo>
                    <a:pt x="653" y="924"/>
                  </a:lnTo>
                  <a:lnTo>
                    <a:pt x="628" y="893"/>
                  </a:lnTo>
                  <a:lnTo>
                    <a:pt x="628" y="843"/>
                  </a:lnTo>
                  <a:lnTo>
                    <a:pt x="597" y="812"/>
                  </a:lnTo>
                  <a:lnTo>
                    <a:pt x="597" y="788"/>
                  </a:lnTo>
                  <a:lnTo>
                    <a:pt x="547" y="788"/>
                  </a:lnTo>
                  <a:lnTo>
                    <a:pt x="516" y="763"/>
                  </a:lnTo>
                  <a:lnTo>
                    <a:pt x="492" y="763"/>
                  </a:lnTo>
                  <a:lnTo>
                    <a:pt x="410" y="676"/>
                  </a:lnTo>
                  <a:lnTo>
                    <a:pt x="355" y="627"/>
                  </a:lnTo>
                  <a:lnTo>
                    <a:pt x="329" y="596"/>
                  </a:lnTo>
                  <a:lnTo>
                    <a:pt x="274" y="570"/>
                  </a:lnTo>
                  <a:lnTo>
                    <a:pt x="248" y="546"/>
                  </a:lnTo>
                  <a:lnTo>
                    <a:pt x="193" y="434"/>
                  </a:lnTo>
                  <a:lnTo>
                    <a:pt x="161" y="434"/>
                  </a:lnTo>
                  <a:lnTo>
                    <a:pt x="161" y="409"/>
                  </a:lnTo>
                  <a:lnTo>
                    <a:pt x="161" y="353"/>
                  </a:lnTo>
                  <a:lnTo>
                    <a:pt x="111" y="353"/>
                  </a:lnTo>
                  <a:lnTo>
                    <a:pt x="80" y="328"/>
                  </a:lnTo>
                  <a:lnTo>
                    <a:pt x="56" y="273"/>
                  </a:lnTo>
                  <a:lnTo>
                    <a:pt x="31" y="273"/>
                  </a:lnTo>
                  <a:lnTo>
                    <a:pt x="31" y="247"/>
                  </a:lnTo>
                  <a:lnTo>
                    <a:pt x="0" y="216"/>
                  </a:lnTo>
                  <a:lnTo>
                    <a:pt x="0" y="192"/>
                  </a:lnTo>
                  <a:lnTo>
                    <a:pt x="0" y="136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0" y="55"/>
                  </a:lnTo>
                  <a:lnTo>
                    <a:pt x="31" y="55"/>
                  </a:lnTo>
                  <a:lnTo>
                    <a:pt x="56" y="80"/>
                  </a:lnTo>
                  <a:lnTo>
                    <a:pt x="80" y="111"/>
                  </a:lnTo>
                  <a:lnTo>
                    <a:pt x="217" y="136"/>
                  </a:lnTo>
                  <a:lnTo>
                    <a:pt x="248" y="80"/>
                  </a:lnTo>
                  <a:lnTo>
                    <a:pt x="274" y="30"/>
                  </a:lnTo>
                  <a:lnTo>
                    <a:pt x="298" y="0"/>
                  </a:lnTo>
                  <a:lnTo>
                    <a:pt x="379" y="30"/>
                  </a:lnTo>
                  <a:lnTo>
                    <a:pt x="410" y="0"/>
                  </a:lnTo>
                  <a:lnTo>
                    <a:pt x="435" y="0"/>
                  </a:lnTo>
                  <a:lnTo>
                    <a:pt x="460" y="0"/>
                  </a:lnTo>
                  <a:lnTo>
                    <a:pt x="516" y="30"/>
                  </a:lnTo>
                  <a:lnTo>
                    <a:pt x="547" y="0"/>
                  </a:lnTo>
                  <a:lnTo>
                    <a:pt x="572" y="30"/>
                  </a:lnTo>
                  <a:lnTo>
                    <a:pt x="597" y="30"/>
                  </a:lnTo>
                  <a:lnTo>
                    <a:pt x="653" y="30"/>
                  </a:lnTo>
                  <a:lnTo>
                    <a:pt x="734" y="55"/>
                  </a:lnTo>
                  <a:lnTo>
                    <a:pt x="765" y="30"/>
                  </a:lnTo>
                  <a:lnTo>
                    <a:pt x="765" y="0"/>
                  </a:lnTo>
                  <a:lnTo>
                    <a:pt x="815" y="0"/>
                  </a:lnTo>
                  <a:lnTo>
                    <a:pt x="815" y="30"/>
                  </a:lnTo>
                  <a:lnTo>
                    <a:pt x="845" y="30"/>
                  </a:lnTo>
                  <a:lnTo>
                    <a:pt x="871" y="0"/>
                  </a:lnTo>
                  <a:lnTo>
                    <a:pt x="926" y="0"/>
                  </a:lnTo>
                  <a:lnTo>
                    <a:pt x="952" y="30"/>
                  </a:lnTo>
                  <a:lnTo>
                    <a:pt x="976" y="30"/>
                  </a:lnTo>
                  <a:lnTo>
                    <a:pt x="976" y="0"/>
                  </a:lnTo>
                  <a:lnTo>
                    <a:pt x="1008" y="30"/>
                  </a:lnTo>
                  <a:lnTo>
                    <a:pt x="1008" y="0"/>
                  </a:lnTo>
                  <a:lnTo>
                    <a:pt x="1063" y="30"/>
                  </a:lnTo>
                  <a:lnTo>
                    <a:pt x="1063" y="55"/>
                  </a:lnTo>
                  <a:lnTo>
                    <a:pt x="1063" y="80"/>
                  </a:lnTo>
                  <a:lnTo>
                    <a:pt x="1063" y="111"/>
                  </a:lnTo>
                  <a:lnTo>
                    <a:pt x="1113" y="111"/>
                  </a:lnTo>
                  <a:lnTo>
                    <a:pt x="1113" y="80"/>
                  </a:lnTo>
                  <a:lnTo>
                    <a:pt x="1169" y="80"/>
                  </a:lnTo>
                  <a:lnTo>
                    <a:pt x="1194" y="55"/>
                  </a:lnTo>
                  <a:lnTo>
                    <a:pt x="1250" y="55"/>
                  </a:lnTo>
                  <a:lnTo>
                    <a:pt x="1250" y="161"/>
                  </a:lnTo>
                  <a:lnTo>
                    <a:pt x="1226" y="216"/>
                  </a:lnTo>
                  <a:lnTo>
                    <a:pt x="1194" y="247"/>
                  </a:lnTo>
                  <a:lnTo>
                    <a:pt x="1226" y="297"/>
                  </a:lnTo>
                  <a:lnTo>
                    <a:pt x="1194" y="297"/>
                  </a:lnTo>
                  <a:lnTo>
                    <a:pt x="1226" y="353"/>
                  </a:lnTo>
                  <a:lnTo>
                    <a:pt x="1276" y="353"/>
                  </a:lnTo>
                  <a:lnTo>
                    <a:pt x="1307" y="378"/>
                  </a:lnTo>
                  <a:lnTo>
                    <a:pt x="1362" y="409"/>
                  </a:lnTo>
                  <a:lnTo>
                    <a:pt x="1387" y="434"/>
                  </a:lnTo>
                  <a:lnTo>
                    <a:pt x="1387" y="458"/>
                  </a:lnTo>
                  <a:lnTo>
                    <a:pt x="1387" y="489"/>
                  </a:lnTo>
                  <a:lnTo>
                    <a:pt x="1276" y="489"/>
                  </a:lnTo>
                  <a:lnTo>
                    <a:pt x="1276" y="515"/>
                  </a:lnTo>
                  <a:lnTo>
                    <a:pt x="1331" y="546"/>
                  </a:lnTo>
                  <a:lnTo>
                    <a:pt x="1362" y="596"/>
                  </a:lnTo>
                  <a:lnTo>
                    <a:pt x="1387" y="651"/>
                  </a:lnTo>
                  <a:lnTo>
                    <a:pt x="1387" y="676"/>
                  </a:lnTo>
                  <a:lnTo>
                    <a:pt x="1362" y="676"/>
                  </a:lnTo>
                  <a:lnTo>
                    <a:pt x="1331" y="676"/>
                  </a:lnTo>
                  <a:lnTo>
                    <a:pt x="1331" y="707"/>
                  </a:lnTo>
                  <a:lnTo>
                    <a:pt x="1307" y="707"/>
                  </a:lnTo>
                  <a:lnTo>
                    <a:pt x="1276" y="707"/>
                  </a:lnTo>
                  <a:lnTo>
                    <a:pt x="1276" y="732"/>
                  </a:lnTo>
                  <a:lnTo>
                    <a:pt x="1250" y="732"/>
                  </a:lnTo>
                  <a:lnTo>
                    <a:pt x="1250" y="763"/>
                  </a:lnTo>
                  <a:lnTo>
                    <a:pt x="1250" y="788"/>
                  </a:lnTo>
                  <a:lnTo>
                    <a:pt x="1276" y="812"/>
                  </a:lnTo>
                  <a:lnTo>
                    <a:pt x="1250" y="843"/>
                  </a:lnTo>
                  <a:lnTo>
                    <a:pt x="1226" y="843"/>
                  </a:lnTo>
                  <a:lnTo>
                    <a:pt x="1226" y="812"/>
                  </a:lnTo>
                  <a:lnTo>
                    <a:pt x="1194" y="812"/>
                  </a:lnTo>
                  <a:lnTo>
                    <a:pt x="1169" y="843"/>
                  </a:lnTo>
                  <a:lnTo>
                    <a:pt x="1144" y="869"/>
                  </a:lnTo>
                  <a:lnTo>
                    <a:pt x="1113" y="924"/>
                  </a:lnTo>
                  <a:lnTo>
                    <a:pt x="1169" y="974"/>
                  </a:lnTo>
                  <a:lnTo>
                    <a:pt x="1089" y="1005"/>
                  </a:lnTo>
                  <a:lnTo>
                    <a:pt x="1089" y="1030"/>
                  </a:lnTo>
                  <a:lnTo>
                    <a:pt x="1089" y="1061"/>
                  </a:lnTo>
                  <a:lnTo>
                    <a:pt x="1089" y="1085"/>
                  </a:lnTo>
                  <a:lnTo>
                    <a:pt x="1089" y="1111"/>
                  </a:lnTo>
                  <a:lnTo>
                    <a:pt x="1144" y="1142"/>
                  </a:lnTo>
                  <a:lnTo>
                    <a:pt x="1144" y="1166"/>
                  </a:lnTo>
                  <a:lnTo>
                    <a:pt x="1144" y="1192"/>
                  </a:lnTo>
                  <a:lnTo>
                    <a:pt x="1113" y="1192"/>
                  </a:lnTo>
                  <a:lnTo>
                    <a:pt x="1144" y="1223"/>
                  </a:lnTo>
                  <a:lnTo>
                    <a:pt x="1144" y="1247"/>
                  </a:lnTo>
                  <a:lnTo>
                    <a:pt x="1113" y="1247"/>
                  </a:lnTo>
                  <a:lnTo>
                    <a:pt x="1089" y="1223"/>
                  </a:lnTo>
                  <a:lnTo>
                    <a:pt x="1008" y="1192"/>
                  </a:lnTo>
                  <a:lnTo>
                    <a:pt x="1008" y="1166"/>
                  </a:lnTo>
                  <a:lnTo>
                    <a:pt x="976" y="1166"/>
                  </a:lnTo>
                  <a:lnTo>
                    <a:pt x="926" y="1142"/>
                  </a:lnTo>
                  <a:lnTo>
                    <a:pt x="895" y="1142"/>
                  </a:lnTo>
                  <a:lnTo>
                    <a:pt x="871" y="1111"/>
                  </a:lnTo>
                  <a:lnTo>
                    <a:pt x="871" y="1085"/>
                  </a:lnTo>
                  <a:lnTo>
                    <a:pt x="845" y="1085"/>
                  </a:lnTo>
                  <a:lnTo>
                    <a:pt x="815" y="1085"/>
                  </a:lnTo>
                  <a:lnTo>
                    <a:pt x="765" y="1085"/>
                  </a:lnTo>
                  <a:lnTo>
                    <a:pt x="765" y="1061"/>
                  </a:lnTo>
                  <a:lnTo>
                    <a:pt x="734" y="1061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50" name="Freeform 89">
              <a:extLst>
                <a:ext uri="{FF2B5EF4-FFF2-40B4-BE49-F238E27FC236}">
                  <a16:creationId xmlns:a16="http://schemas.microsoft.com/office/drawing/2014/main" id="{B984E8DC-A03E-42B0-8B05-39C147928AFF}"/>
                </a:ext>
              </a:extLst>
            </p:cNvPr>
            <p:cNvSpPr>
              <a:spLocks/>
            </p:cNvSpPr>
            <p:nvPr/>
          </p:nvSpPr>
          <p:spPr bwMode="gray">
            <a:xfrm>
              <a:off x="9058289" y="4228471"/>
              <a:ext cx="561165" cy="713195"/>
            </a:xfrm>
            <a:custGeom>
              <a:avLst/>
              <a:gdLst/>
              <a:ahLst/>
              <a:cxnLst>
                <a:cxn ang="0">
                  <a:pos x="111" y="137"/>
                </a:cxn>
                <a:cxn ang="0">
                  <a:pos x="248" y="56"/>
                </a:cxn>
                <a:cxn ang="0">
                  <a:pos x="386" y="0"/>
                </a:cxn>
                <a:cxn ang="0">
                  <a:pos x="548" y="56"/>
                </a:cxn>
                <a:cxn ang="0">
                  <a:pos x="629" y="137"/>
                </a:cxn>
                <a:cxn ang="0">
                  <a:pos x="735" y="298"/>
                </a:cxn>
                <a:cxn ang="0">
                  <a:pos x="872" y="379"/>
                </a:cxn>
                <a:cxn ang="0">
                  <a:pos x="984" y="491"/>
                </a:cxn>
                <a:cxn ang="0">
                  <a:pos x="984" y="597"/>
                </a:cxn>
                <a:cxn ang="0">
                  <a:pos x="1090" y="652"/>
                </a:cxn>
                <a:cxn ang="0">
                  <a:pos x="1253" y="677"/>
                </a:cxn>
                <a:cxn ang="0">
                  <a:pos x="1333" y="571"/>
                </a:cxn>
                <a:cxn ang="0">
                  <a:pos x="1470" y="628"/>
                </a:cxn>
                <a:cxn ang="0">
                  <a:pos x="1390" y="708"/>
                </a:cxn>
                <a:cxn ang="0">
                  <a:pos x="1470" y="789"/>
                </a:cxn>
                <a:cxn ang="0">
                  <a:pos x="1414" y="894"/>
                </a:cxn>
                <a:cxn ang="0">
                  <a:pos x="1414" y="1056"/>
                </a:cxn>
                <a:cxn ang="0">
                  <a:pos x="1495" y="1167"/>
                </a:cxn>
                <a:cxn ang="0">
                  <a:pos x="1632" y="1248"/>
                </a:cxn>
                <a:cxn ang="0">
                  <a:pos x="1632" y="1360"/>
                </a:cxn>
                <a:cxn ang="0">
                  <a:pos x="1527" y="1441"/>
                </a:cxn>
                <a:cxn ang="0">
                  <a:pos x="1527" y="1547"/>
                </a:cxn>
                <a:cxn ang="0">
                  <a:pos x="1551" y="1683"/>
                </a:cxn>
                <a:cxn ang="0">
                  <a:pos x="1308" y="1765"/>
                </a:cxn>
                <a:cxn ang="0">
                  <a:pos x="1196" y="1820"/>
                </a:cxn>
                <a:cxn ang="0">
                  <a:pos x="1066" y="1845"/>
                </a:cxn>
                <a:cxn ang="0">
                  <a:pos x="929" y="2007"/>
                </a:cxn>
                <a:cxn ang="0">
                  <a:pos x="872" y="1901"/>
                </a:cxn>
                <a:cxn ang="0">
                  <a:pos x="766" y="1820"/>
                </a:cxn>
                <a:cxn ang="0">
                  <a:pos x="735" y="1765"/>
                </a:cxn>
                <a:cxn ang="0">
                  <a:pos x="629" y="1765"/>
                </a:cxn>
                <a:cxn ang="0">
                  <a:pos x="548" y="1708"/>
                </a:cxn>
                <a:cxn ang="0">
                  <a:pos x="467" y="1845"/>
                </a:cxn>
                <a:cxn ang="0">
                  <a:pos x="386" y="1926"/>
                </a:cxn>
                <a:cxn ang="0">
                  <a:pos x="355" y="1926"/>
                </a:cxn>
                <a:cxn ang="0">
                  <a:pos x="467" y="2062"/>
                </a:cxn>
                <a:cxn ang="0">
                  <a:pos x="386" y="2007"/>
                </a:cxn>
                <a:cxn ang="0">
                  <a:pos x="217" y="1901"/>
                </a:cxn>
                <a:cxn ang="0">
                  <a:pos x="217" y="1845"/>
                </a:cxn>
                <a:cxn ang="0">
                  <a:pos x="193" y="1845"/>
                </a:cxn>
                <a:cxn ang="0">
                  <a:pos x="137" y="1845"/>
                </a:cxn>
                <a:cxn ang="0">
                  <a:pos x="168" y="1765"/>
                </a:cxn>
                <a:cxn ang="0">
                  <a:pos x="111" y="1627"/>
                </a:cxn>
                <a:cxn ang="0">
                  <a:pos x="193" y="1441"/>
                </a:cxn>
                <a:cxn ang="0">
                  <a:pos x="299" y="1410"/>
                </a:cxn>
                <a:cxn ang="0">
                  <a:pos x="299" y="1304"/>
                </a:cxn>
                <a:cxn ang="0">
                  <a:pos x="411" y="1274"/>
                </a:cxn>
                <a:cxn ang="0">
                  <a:pos x="299" y="1087"/>
                </a:cxn>
                <a:cxn ang="0">
                  <a:pos x="330" y="975"/>
                </a:cxn>
                <a:cxn ang="0">
                  <a:pos x="217" y="844"/>
                </a:cxn>
                <a:cxn ang="0">
                  <a:pos x="193" y="677"/>
                </a:cxn>
                <a:cxn ang="0">
                  <a:pos x="193" y="571"/>
                </a:cxn>
                <a:cxn ang="0">
                  <a:pos x="299" y="491"/>
                </a:cxn>
                <a:cxn ang="0">
                  <a:pos x="111" y="435"/>
                </a:cxn>
                <a:cxn ang="0">
                  <a:pos x="111" y="379"/>
                </a:cxn>
              </a:cxnLst>
              <a:rect l="0" t="0" r="r" b="b"/>
              <a:pathLst>
                <a:path w="1664" h="2118">
                  <a:moveTo>
                    <a:pt x="0" y="193"/>
                  </a:moveTo>
                  <a:lnTo>
                    <a:pt x="31" y="193"/>
                  </a:lnTo>
                  <a:lnTo>
                    <a:pt x="56" y="161"/>
                  </a:lnTo>
                  <a:lnTo>
                    <a:pt x="87" y="161"/>
                  </a:lnTo>
                  <a:lnTo>
                    <a:pt x="111" y="137"/>
                  </a:lnTo>
                  <a:lnTo>
                    <a:pt x="137" y="112"/>
                  </a:lnTo>
                  <a:lnTo>
                    <a:pt x="168" y="112"/>
                  </a:lnTo>
                  <a:lnTo>
                    <a:pt x="193" y="80"/>
                  </a:lnTo>
                  <a:lnTo>
                    <a:pt x="217" y="80"/>
                  </a:lnTo>
                  <a:lnTo>
                    <a:pt x="248" y="56"/>
                  </a:lnTo>
                  <a:lnTo>
                    <a:pt x="248" y="31"/>
                  </a:lnTo>
                  <a:lnTo>
                    <a:pt x="274" y="31"/>
                  </a:lnTo>
                  <a:lnTo>
                    <a:pt x="299" y="31"/>
                  </a:lnTo>
                  <a:lnTo>
                    <a:pt x="355" y="31"/>
                  </a:lnTo>
                  <a:lnTo>
                    <a:pt x="386" y="0"/>
                  </a:lnTo>
                  <a:lnTo>
                    <a:pt x="411" y="0"/>
                  </a:lnTo>
                  <a:lnTo>
                    <a:pt x="435" y="0"/>
                  </a:lnTo>
                  <a:lnTo>
                    <a:pt x="467" y="0"/>
                  </a:lnTo>
                  <a:lnTo>
                    <a:pt x="492" y="31"/>
                  </a:lnTo>
                  <a:lnTo>
                    <a:pt x="548" y="56"/>
                  </a:lnTo>
                  <a:lnTo>
                    <a:pt x="548" y="80"/>
                  </a:lnTo>
                  <a:lnTo>
                    <a:pt x="572" y="112"/>
                  </a:lnTo>
                  <a:lnTo>
                    <a:pt x="598" y="112"/>
                  </a:lnTo>
                  <a:lnTo>
                    <a:pt x="629" y="112"/>
                  </a:lnTo>
                  <a:lnTo>
                    <a:pt x="629" y="137"/>
                  </a:lnTo>
                  <a:lnTo>
                    <a:pt x="685" y="193"/>
                  </a:lnTo>
                  <a:lnTo>
                    <a:pt x="710" y="193"/>
                  </a:lnTo>
                  <a:lnTo>
                    <a:pt x="710" y="248"/>
                  </a:lnTo>
                  <a:lnTo>
                    <a:pt x="735" y="274"/>
                  </a:lnTo>
                  <a:lnTo>
                    <a:pt x="735" y="298"/>
                  </a:lnTo>
                  <a:lnTo>
                    <a:pt x="766" y="329"/>
                  </a:lnTo>
                  <a:lnTo>
                    <a:pt x="791" y="355"/>
                  </a:lnTo>
                  <a:lnTo>
                    <a:pt x="816" y="355"/>
                  </a:lnTo>
                  <a:lnTo>
                    <a:pt x="847" y="379"/>
                  </a:lnTo>
                  <a:lnTo>
                    <a:pt x="872" y="379"/>
                  </a:lnTo>
                  <a:lnTo>
                    <a:pt x="929" y="379"/>
                  </a:lnTo>
                  <a:lnTo>
                    <a:pt x="984" y="410"/>
                  </a:lnTo>
                  <a:lnTo>
                    <a:pt x="1009" y="435"/>
                  </a:lnTo>
                  <a:lnTo>
                    <a:pt x="1009" y="460"/>
                  </a:lnTo>
                  <a:lnTo>
                    <a:pt x="984" y="491"/>
                  </a:lnTo>
                  <a:lnTo>
                    <a:pt x="984" y="516"/>
                  </a:lnTo>
                  <a:lnTo>
                    <a:pt x="1009" y="516"/>
                  </a:lnTo>
                  <a:lnTo>
                    <a:pt x="1034" y="547"/>
                  </a:lnTo>
                  <a:lnTo>
                    <a:pt x="1009" y="571"/>
                  </a:lnTo>
                  <a:lnTo>
                    <a:pt x="984" y="597"/>
                  </a:lnTo>
                  <a:lnTo>
                    <a:pt x="1034" y="597"/>
                  </a:lnTo>
                  <a:lnTo>
                    <a:pt x="1066" y="597"/>
                  </a:lnTo>
                  <a:lnTo>
                    <a:pt x="1066" y="628"/>
                  </a:lnTo>
                  <a:lnTo>
                    <a:pt x="1066" y="652"/>
                  </a:lnTo>
                  <a:lnTo>
                    <a:pt x="1090" y="652"/>
                  </a:lnTo>
                  <a:lnTo>
                    <a:pt x="1171" y="628"/>
                  </a:lnTo>
                  <a:lnTo>
                    <a:pt x="1196" y="652"/>
                  </a:lnTo>
                  <a:lnTo>
                    <a:pt x="1227" y="652"/>
                  </a:lnTo>
                  <a:lnTo>
                    <a:pt x="1227" y="677"/>
                  </a:lnTo>
                  <a:lnTo>
                    <a:pt x="1253" y="677"/>
                  </a:lnTo>
                  <a:lnTo>
                    <a:pt x="1253" y="708"/>
                  </a:lnTo>
                  <a:lnTo>
                    <a:pt x="1283" y="677"/>
                  </a:lnTo>
                  <a:lnTo>
                    <a:pt x="1283" y="597"/>
                  </a:lnTo>
                  <a:lnTo>
                    <a:pt x="1308" y="597"/>
                  </a:lnTo>
                  <a:lnTo>
                    <a:pt x="1333" y="571"/>
                  </a:lnTo>
                  <a:lnTo>
                    <a:pt x="1364" y="571"/>
                  </a:lnTo>
                  <a:lnTo>
                    <a:pt x="1390" y="628"/>
                  </a:lnTo>
                  <a:lnTo>
                    <a:pt x="1414" y="628"/>
                  </a:lnTo>
                  <a:lnTo>
                    <a:pt x="1445" y="628"/>
                  </a:lnTo>
                  <a:lnTo>
                    <a:pt x="1470" y="628"/>
                  </a:lnTo>
                  <a:lnTo>
                    <a:pt x="1470" y="652"/>
                  </a:lnTo>
                  <a:lnTo>
                    <a:pt x="1445" y="677"/>
                  </a:lnTo>
                  <a:lnTo>
                    <a:pt x="1414" y="677"/>
                  </a:lnTo>
                  <a:lnTo>
                    <a:pt x="1414" y="708"/>
                  </a:lnTo>
                  <a:lnTo>
                    <a:pt x="1390" y="708"/>
                  </a:lnTo>
                  <a:lnTo>
                    <a:pt x="1414" y="733"/>
                  </a:lnTo>
                  <a:lnTo>
                    <a:pt x="1414" y="758"/>
                  </a:lnTo>
                  <a:lnTo>
                    <a:pt x="1445" y="758"/>
                  </a:lnTo>
                  <a:lnTo>
                    <a:pt x="1470" y="758"/>
                  </a:lnTo>
                  <a:lnTo>
                    <a:pt x="1470" y="789"/>
                  </a:lnTo>
                  <a:lnTo>
                    <a:pt x="1445" y="813"/>
                  </a:lnTo>
                  <a:lnTo>
                    <a:pt x="1470" y="813"/>
                  </a:lnTo>
                  <a:lnTo>
                    <a:pt x="1470" y="844"/>
                  </a:lnTo>
                  <a:lnTo>
                    <a:pt x="1445" y="870"/>
                  </a:lnTo>
                  <a:lnTo>
                    <a:pt x="1414" y="894"/>
                  </a:lnTo>
                  <a:lnTo>
                    <a:pt x="1390" y="925"/>
                  </a:lnTo>
                  <a:lnTo>
                    <a:pt x="1390" y="951"/>
                  </a:lnTo>
                  <a:lnTo>
                    <a:pt x="1390" y="975"/>
                  </a:lnTo>
                  <a:lnTo>
                    <a:pt x="1390" y="1006"/>
                  </a:lnTo>
                  <a:lnTo>
                    <a:pt x="1414" y="1056"/>
                  </a:lnTo>
                  <a:lnTo>
                    <a:pt x="1445" y="1056"/>
                  </a:lnTo>
                  <a:lnTo>
                    <a:pt x="1445" y="1087"/>
                  </a:lnTo>
                  <a:lnTo>
                    <a:pt x="1470" y="1112"/>
                  </a:lnTo>
                  <a:lnTo>
                    <a:pt x="1470" y="1143"/>
                  </a:lnTo>
                  <a:lnTo>
                    <a:pt x="1495" y="1167"/>
                  </a:lnTo>
                  <a:lnTo>
                    <a:pt x="1527" y="1167"/>
                  </a:lnTo>
                  <a:lnTo>
                    <a:pt x="1551" y="1167"/>
                  </a:lnTo>
                  <a:lnTo>
                    <a:pt x="1582" y="1167"/>
                  </a:lnTo>
                  <a:lnTo>
                    <a:pt x="1607" y="1224"/>
                  </a:lnTo>
                  <a:lnTo>
                    <a:pt x="1632" y="1248"/>
                  </a:lnTo>
                  <a:lnTo>
                    <a:pt x="1664" y="1248"/>
                  </a:lnTo>
                  <a:lnTo>
                    <a:pt x="1664" y="1274"/>
                  </a:lnTo>
                  <a:lnTo>
                    <a:pt x="1632" y="1304"/>
                  </a:lnTo>
                  <a:lnTo>
                    <a:pt x="1632" y="1329"/>
                  </a:lnTo>
                  <a:lnTo>
                    <a:pt x="1632" y="1360"/>
                  </a:lnTo>
                  <a:lnTo>
                    <a:pt x="1607" y="1385"/>
                  </a:lnTo>
                  <a:lnTo>
                    <a:pt x="1607" y="1410"/>
                  </a:lnTo>
                  <a:lnTo>
                    <a:pt x="1582" y="1410"/>
                  </a:lnTo>
                  <a:lnTo>
                    <a:pt x="1551" y="1410"/>
                  </a:lnTo>
                  <a:lnTo>
                    <a:pt x="1527" y="1441"/>
                  </a:lnTo>
                  <a:lnTo>
                    <a:pt x="1495" y="1466"/>
                  </a:lnTo>
                  <a:lnTo>
                    <a:pt x="1495" y="1490"/>
                  </a:lnTo>
                  <a:lnTo>
                    <a:pt x="1527" y="1490"/>
                  </a:lnTo>
                  <a:lnTo>
                    <a:pt x="1527" y="1521"/>
                  </a:lnTo>
                  <a:lnTo>
                    <a:pt x="1527" y="1547"/>
                  </a:lnTo>
                  <a:lnTo>
                    <a:pt x="1527" y="1571"/>
                  </a:lnTo>
                  <a:lnTo>
                    <a:pt x="1551" y="1602"/>
                  </a:lnTo>
                  <a:lnTo>
                    <a:pt x="1551" y="1627"/>
                  </a:lnTo>
                  <a:lnTo>
                    <a:pt x="1551" y="1658"/>
                  </a:lnTo>
                  <a:lnTo>
                    <a:pt x="1551" y="1683"/>
                  </a:lnTo>
                  <a:lnTo>
                    <a:pt x="1527" y="1708"/>
                  </a:lnTo>
                  <a:lnTo>
                    <a:pt x="1470" y="1708"/>
                  </a:lnTo>
                  <a:lnTo>
                    <a:pt x="1390" y="1765"/>
                  </a:lnTo>
                  <a:lnTo>
                    <a:pt x="1364" y="1739"/>
                  </a:lnTo>
                  <a:lnTo>
                    <a:pt x="1308" y="1765"/>
                  </a:lnTo>
                  <a:lnTo>
                    <a:pt x="1283" y="1789"/>
                  </a:lnTo>
                  <a:lnTo>
                    <a:pt x="1227" y="1789"/>
                  </a:lnTo>
                  <a:lnTo>
                    <a:pt x="1227" y="1820"/>
                  </a:lnTo>
                  <a:lnTo>
                    <a:pt x="1196" y="1789"/>
                  </a:lnTo>
                  <a:lnTo>
                    <a:pt x="1196" y="1820"/>
                  </a:lnTo>
                  <a:lnTo>
                    <a:pt x="1171" y="1820"/>
                  </a:lnTo>
                  <a:lnTo>
                    <a:pt x="1146" y="1870"/>
                  </a:lnTo>
                  <a:lnTo>
                    <a:pt x="1146" y="1901"/>
                  </a:lnTo>
                  <a:lnTo>
                    <a:pt x="1115" y="1901"/>
                  </a:lnTo>
                  <a:lnTo>
                    <a:pt x="1066" y="1845"/>
                  </a:lnTo>
                  <a:lnTo>
                    <a:pt x="1034" y="1870"/>
                  </a:lnTo>
                  <a:lnTo>
                    <a:pt x="984" y="1926"/>
                  </a:lnTo>
                  <a:lnTo>
                    <a:pt x="953" y="2038"/>
                  </a:lnTo>
                  <a:lnTo>
                    <a:pt x="929" y="2038"/>
                  </a:lnTo>
                  <a:lnTo>
                    <a:pt x="929" y="2007"/>
                  </a:lnTo>
                  <a:lnTo>
                    <a:pt x="929" y="1981"/>
                  </a:lnTo>
                  <a:lnTo>
                    <a:pt x="896" y="1957"/>
                  </a:lnTo>
                  <a:lnTo>
                    <a:pt x="896" y="1926"/>
                  </a:lnTo>
                  <a:lnTo>
                    <a:pt x="896" y="1901"/>
                  </a:lnTo>
                  <a:lnTo>
                    <a:pt x="872" y="1901"/>
                  </a:lnTo>
                  <a:lnTo>
                    <a:pt x="872" y="1870"/>
                  </a:lnTo>
                  <a:lnTo>
                    <a:pt x="816" y="1845"/>
                  </a:lnTo>
                  <a:lnTo>
                    <a:pt x="791" y="1820"/>
                  </a:lnTo>
                  <a:lnTo>
                    <a:pt x="766" y="1845"/>
                  </a:lnTo>
                  <a:lnTo>
                    <a:pt x="766" y="1820"/>
                  </a:lnTo>
                  <a:lnTo>
                    <a:pt x="766" y="1789"/>
                  </a:lnTo>
                  <a:lnTo>
                    <a:pt x="735" y="1789"/>
                  </a:lnTo>
                  <a:lnTo>
                    <a:pt x="766" y="1789"/>
                  </a:lnTo>
                  <a:lnTo>
                    <a:pt x="735" y="1789"/>
                  </a:lnTo>
                  <a:lnTo>
                    <a:pt x="735" y="1765"/>
                  </a:lnTo>
                  <a:lnTo>
                    <a:pt x="710" y="1739"/>
                  </a:lnTo>
                  <a:lnTo>
                    <a:pt x="685" y="1739"/>
                  </a:lnTo>
                  <a:lnTo>
                    <a:pt x="654" y="1739"/>
                  </a:lnTo>
                  <a:lnTo>
                    <a:pt x="654" y="1765"/>
                  </a:lnTo>
                  <a:lnTo>
                    <a:pt x="629" y="1765"/>
                  </a:lnTo>
                  <a:lnTo>
                    <a:pt x="598" y="1789"/>
                  </a:lnTo>
                  <a:lnTo>
                    <a:pt x="572" y="1765"/>
                  </a:lnTo>
                  <a:lnTo>
                    <a:pt x="572" y="1739"/>
                  </a:lnTo>
                  <a:lnTo>
                    <a:pt x="572" y="1708"/>
                  </a:lnTo>
                  <a:lnTo>
                    <a:pt x="548" y="1708"/>
                  </a:lnTo>
                  <a:lnTo>
                    <a:pt x="517" y="1739"/>
                  </a:lnTo>
                  <a:lnTo>
                    <a:pt x="517" y="1765"/>
                  </a:lnTo>
                  <a:lnTo>
                    <a:pt x="492" y="1789"/>
                  </a:lnTo>
                  <a:lnTo>
                    <a:pt x="492" y="1820"/>
                  </a:lnTo>
                  <a:lnTo>
                    <a:pt x="467" y="1845"/>
                  </a:lnTo>
                  <a:lnTo>
                    <a:pt x="467" y="1870"/>
                  </a:lnTo>
                  <a:lnTo>
                    <a:pt x="467" y="1901"/>
                  </a:lnTo>
                  <a:lnTo>
                    <a:pt x="435" y="1901"/>
                  </a:lnTo>
                  <a:lnTo>
                    <a:pt x="435" y="1926"/>
                  </a:lnTo>
                  <a:lnTo>
                    <a:pt x="386" y="1926"/>
                  </a:lnTo>
                  <a:lnTo>
                    <a:pt x="355" y="1926"/>
                  </a:lnTo>
                  <a:lnTo>
                    <a:pt x="355" y="1901"/>
                  </a:lnTo>
                  <a:lnTo>
                    <a:pt x="355" y="1870"/>
                  </a:lnTo>
                  <a:lnTo>
                    <a:pt x="330" y="1901"/>
                  </a:lnTo>
                  <a:lnTo>
                    <a:pt x="355" y="1926"/>
                  </a:lnTo>
                  <a:lnTo>
                    <a:pt x="386" y="1957"/>
                  </a:lnTo>
                  <a:lnTo>
                    <a:pt x="411" y="1981"/>
                  </a:lnTo>
                  <a:lnTo>
                    <a:pt x="467" y="2007"/>
                  </a:lnTo>
                  <a:lnTo>
                    <a:pt x="467" y="2038"/>
                  </a:lnTo>
                  <a:lnTo>
                    <a:pt x="467" y="2062"/>
                  </a:lnTo>
                  <a:lnTo>
                    <a:pt x="467" y="2087"/>
                  </a:lnTo>
                  <a:lnTo>
                    <a:pt x="467" y="2118"/>
                  </a:lnTo>
                  <a:lnTo>
                    <a:pt x="435" y="2087"/>
                  </a:lnTo>
                  <a:lnTo>
                    <a:pt x="411" y="2062"/>
                  </a:lnTo>
                  <a:lnTo>
                    <a:pt x="386" y="2007"/>
                  </a:lnTo>
                  <a:lnTo>
                    <a:pt x="355" y="2007"/>
                  </a:lnTo>
                  <a:lnTo>
                    <a:pt x="299" y="1957"/>
                  </a:lnTo>
                  <a:lnTo>
                    <a:pt x="274" y="1926"/>
                  </a:lnTo>
                  <a:lnTo>
                    <a:pt x="248" y="1926"/>
                  </a:lnTo>
                  <a:lnTo>
                    <a:pt x="217" y="1901"/>
                  </a:lnTo>
                  <a:lnTo>
                    <a:pt x="217" y="1870"/>
                  </a:lnTo>
                  <a:lnTo>
                    <a:pt x="193" y="1901"/>
                  </a:lnTo>
                  <a:lnTo>
                    <a:pt x="168" y="1870"/>
                  </a:lnTo>
                  <a:lnTo>
                    <a:pt x="217" y="1870"/>
                  </a:lnTo>
                  <a:lnTo>
                    <a:pt x="217" y="1845"/>
                  </a:lnTo>
                  <a:lnTo>
                    <a:pt x="248" y="1845"/>
                  </a:lnTo>
                  <a:lnTo>
                    <a:pt x="248" y="1820"/>
                  </a:lnTo>
                  <a:lnTo>
                    <a:pt x="217" y="1845"/>
                  </a:lnTo>
                  <a:lnTo>
                    <a:pt x="193" y="1820"/>
                  </a:lnTo>
                  <a:lnTo>
                    <a:pt x="193" y="1845"/>
                  </a:lnTo>
                  <a:lnTo>
                    <a:pt x="168" y="1870"/>
                  </a:lnTo>
                  <a:lnTo>
                    <a:pt x="137" y="1845"/>
                  </a:lnTo>
                  <a:lnTo>
                    <a:pt x="137" y="1870"/>
                  </a:lnTo>
                  <a:lnTo>
                    <a:pt x="111" y="1845"/>
                  </a:lnTo>
                  <a:lnTo>
                    <a:pt x="137" y="1845"/>
                  </a:lnTo>
                  <a:lnTo>
                    <a:pt x="168" y="1845"/>
                  </a:lnTo>
                  <a:lnTo>
                    <a:pt x="168" y="1820"/>
                  </a:lnTo>
                  <a:lnTo>
                    <a:pt x="137" y="1789"/>
                  </a:lnTo>
                  <a:lnTo>
                    <a:pt x="168" y="1789"/>
                  </a:lnTo>
                  <a:lnTo>
                    <a:pt x="168" y="1765"/>
                  </a:lnTo>
                  <a:lnTo>
                    <a:pt x="168" y="1739"/>
                  </a:lnTo>
                  <a:lnTo>
                    <a:pt x="111" y="1708"/>
                  </a:lnTo>
                  <a:lnTo>
                    <a:pt x="111" y="1683"/>
                  </a:lnTo>
                  <a:lnTo>
                    <a:pt x="111" y="1658"/>
                  </a:lnTo>
                  <a:lnTo>
                    <a:pt x="111" y="1627"/>
                  </a:lnTo>
                  <a:lnTo>
                    <a:pt x="111" y="1602"/>
                  </a:lnTo>
                  <a:lnTo>
                    <a:pt x="193" y="1571"/>
                  </a:lnTo>
                  <a:lnTo>
                    <a:pt x="137" y="1521"/>
                  </a:lnTo>
                  <a:lnTo>
                    <a:pt x="168" y="1466"/>
                  </a:lnTo>
                  <a:lnTo>
                    <a:pt x="193" y="1441"/>
                  </a:lnTo>
                  <a:lnTo>
                    <a:pt x="217" y="1410"/>
                  </a:lnTo>
                  <a:lnTo>
                    <a:pt x="248" y="1410"/>
                  </a:lnTo>
                  <a:lnTo>
                    <a:pt x="248" y="1441"/>
                  </a:lnTo>
                  <a:lnTo>
                    <a:pt x="274" y="1441"/>
                  </a:lnTo>
                  <a:lnTo>
                    <a:pt x="299" y="1410"/>
                  </a:lnTo>
                  <a:lnTo>
                    <a:pt x="274" y="1385"/>
                  </a:lnTo>
                  <a:lnTo>
                    <a:pt x="274" y="1360"/>
                  </a:lnTo>
                  <a:lnTo>
                    <a:pt x="274" y="1329"/>
                  </a:lnTo>
                  <a:lnTo>
                    <a:pt x="299" y="1329"/>
                  </a:lnTo>
                  <a:lnTo>
                    <a:pt x="299" y="1304"/>
                  </a:lnTo>
                  <a:lnTo>
                    <a:pt x="330" y="1304"/>
                  </a:lnTo>
                  <a:lnTo>
                    <a:pt x="355" y="1304"/>
                  </a:lnTo>
                  <a:lnTo>
                    <a:pt x="355" y="1274"/>
                  </a:lnTo>
                  <a:lnTo>
                    <a:pt x="386" y="1274"/>
                  </a:lnTo>
                  <a:lnTo>
                    <a:pt x="411" y="1274"/>
                  </a:lnTo>
                  <a:lnTo>
                    <a:pt x="411" y="1248"/>
                  </a:lnTo>
                  <a:lnTo>
                    <a:pt x="386" y="1193"/>
                  </a:lnTo>
                  <a:lnTo>
                    <a:pt x="355" y="1143"/>
                  </a:lnTo>
                  <a:lnTo>
                    <a:pt x="299" y="1112"/>
                  </a:lnTo>
                  <a:lnTo>
                    <a:pt x="299" y="1087"/>
                  </a:lnTo>
                  <a:lnTo>
                    <a:pt x="411" y="1087"/>
                  </a:lnTo>
                  <a:lnTo>
                    <a:pt x="411" y="1056"/>
                  </a:lnTo>
                  <a:lnTo>
                    <a:pt x="411" y="1031"/>
                  </a:lnTo>
                  <a:lnTo>
                    <a:pt x="386" y="1006"/>
                  </a:lnTo>
                  <a:lnTo>
                    <a:pt x="330" y="975"/>
                  </a:lnTo>
                  <a:lnTo>
                    <a:pt x="299" y="951"/>
                  </a:lnTo>
                  <a:lnTo>
                    <a:pt x="248" y="951"/>
                  </a:lnTo>
                  <a:lnTo>
                    <a:pt x="217" y="894"/>
                  </a:lnTo>
                  <a:lnTo>
                    <a:pt x="248" y="894"/>
                  </a:lnTo>
                  <a:lnTo>
                    <a:pt x="217" y="844"/>
                  </a:lnTo>
                  <a:lnTo>
                    <a:pt x="248" y="813"/>
                  </a:lnTo>
                  <a:lnTo>
                    <a:pt x="274" y="758"/>
                  </a:lnTo>
                  <a:lnTo>
                    <a:pt x="274" y="652"/>
                  </a:lnTo>
                  <a:lnTo>
                    <a:pt x="217" y="652"/>
                  </a:lnTo>
                  <a:lnTo>
                    <a:pt x="193" y="677"/>
                  </a:lnTo>
                  <a:lnTo>
                    <a:pt x="137" y="677"/>
                  </a:lnTo>
                  <a:lnTo>
                    <a:pt x="168" y="652"/>
                  </a:lnTo>
                  <a:lnTo>
                    <a:pt x="193" y="597"/>
                  </a:lnTo>
                  <a:lnTo>
                    <a:pt x="168" y="571"/>
                  </a:lnTo>
                  <a:lnTo>
                    <a:pt x="193" y="571"/>
                  </a:lnTo>
                  <a:lnTo>
                    <a:pt x="193" y="547"/>
                  </a:lnTo>
                  <a:lnTo>
                    <a:pt x="248" y="547"/>
                  </a:lnTo>
                  <a:lnTo>
                    <a:pt x="274" y="516"/>
                  </a:lnTo>
                  <a:lnTo>
                    <a:pt x="299" y="516"/>
                  </a:lnTo>
                  <a:lnTo>
                    <a:pt x="299" y="491"/>
                  </a:lnTo>
                  <a:lnTo>
                    <a:pt x="248" y="491"/>
                  </a:lnTo>
                  <a:lnTo>
                    <a:pt x="217" y="491"/>
                  </a:lnTo>
                  <a:lnTo>
                    <a:pt x="193" y="491"/>
                  </a:lnTo>
                  <a:lnTo>
                    <a:pt x="111" y="460"/>
                  </a:lnTo>
                  <a:lnTo>
                    <a:pt x="111" y="435"/>
                  </a:lnTo>
                  <a:lnTo>
                    <a:pt x="137" y="435"/>
                  </a:lnTo>
                  <a:lnTo>
                    <a:pt x="111" y="410"/>
                  </a:lnTo>
                  <a:lnTo>
                    <a:pt x="137" y="379"/>
                  </a:lnTo>
                  <a:lnTo>
                    <a:pt x="137" y="355"/>
                  </a:lnTo>
                  <a:lnTo>
                    <a:pt x="111" y="379"/>
                  </a:lnTo>
                  <a:lnTo>
                    <a:pt x="87" y="355"/>
                  </a:lnTo>
                  <a:lnTo>
                    <a:pt x="87" y="298"/>
                  </a:lnTo>
                  <a:lnTo>
                    <a:pt x="31" y="217"/>
                  </a:lnTo>
                  <a:lnTo>
                    <a:pt x="0" y="193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51" name="Freeform 90">
              <a:extLst>
                <a:ext uri="{FF2B5EF4-FFF2-40B4-BE49-F238E27FC236}">
                  <a16:creationId xmlns:a16="http://schemas.microsoft.com/office/drawing/2014/main" id="{4350C7C8-5FDF-4978-B03B-F1D479F8AC34}"/>
                </a:ext>
              </a:extLst>
            </p:cNvPr>
            <p:cNvSpPr>
              <a:spLocks/>
            </p:cNvSpPr>
            <p:nvPr/>
          </p:nvSpPr>
          <p:spPr bwMode="gray">
            <a:xfrm>
              <a:off x="9360108" y="4803051"/>
              <a:ext cx="301823" cy="263814"/>
            </a:xfrm>
            <a:custGeom>
              <a:avLst/>
              <a:gdLst/>
              <a:ahLst/>
              <a:cxnLst>
                <a:cxn ang="0">
                  <a:pos x="57" y="328"/>
                </a:cxn>
                <a:cxn ang="0">
                  <a:pos x="137" y="161"/>
                </a:cxn>
                <a:cxn ang="0">
                  <a:pos x="218" y="192"/>
                </a:cxn>
                <a:cxn ang="0">
                  <a:pos x="249" y="161"/>
                </a:cxn>
                <a:cxn ang="0">
                  <a:pos x="299" y="111"/>
                </a:cxn>
                <a:cxn ang="0">
                  <a:pos x="330" y="111"/>
                </a:cxn>
                <a:cxn ang="0">
                  <a:pos x="386" y="80"/>
                </a:cxn>
                <a:cxn ang="0">
                  <a:pos x="467" y="31"/>
                </a:cxn>
                <a:cxn ang="0">
                  <a:pos x="572" y="0"/>
                </a:cxn>
                <a:cxn ang="0">
                  <a:pos x="653" y="31"/>
                </a:cxn>
                <a:cxn ang="0">
                  <a:pos x="685" y="56"/>
                </a:cxn>
                <a:cxn ang="0">
                  <a:pos x="709" y="80"/>
                </a:cxn>
                <a:cxn ang="0">
                  <a:pos x="765" y="111"/>
                </a:cxn>
                <a:cxn ang="0">
                  <a:pos x="815" y="111"/>
                </a:cxn>
                <a:cxn ang="0">
                  <a:pos x="846" y="161"/>
                </a:cxn>
                <a:cxn ang="0">
                  <a:pos x="870" y="192"/>
                </a:cxn>
                <a:cxn ang="0">
                  <a:pos x="896" y="248"/>
                </a:cxn>
                <a:cxn ang="0">
                  <a:pos x="870" y="297"/>
                </a:cxn>
                <a:cxn ang="0">
                  <a:pos x="896" y="353"/>
                </a:cxn>
                <a:cxn ang="0">
                  <a:pos x="896" y="433"/>
                </a:cxn>
                <a:cxn ang="0">
                  <a:pos x="846" y="433"/>
                </a:cxn>
                <a:cxn ang="0">
                  <a:pos x="846" y="513"/>
                </a:cxn>
                <a:cxn ang="0">
                  <a:pos x="790" y="544"/>
                </a:cxn>
                <a:cxn ang="0">
                  <a:pos x="709" y="570"/>
                </a:cxn>
                <a:cxn ang="0">
                  <a:pos x="597" y="570"/>
                </a:cxn>
                <a:cxn ang="0">
                  <a:pos x="517" y="650"/>
                </a:cxn>
                <a:cxn ang="0">
                  <a:pos x="467" y="706"/>
                </a:cxn>
                <a:cxn ang="0">
                  <a:pos x="386" y="730"/>
                </a:cxn>
                <a:cxn ang="0">
                  <a:pos x="299" y="761"/>
                </a:cxn>
                <a:cxn ang="0">
                  <a:pos x="218" y="761"/>
                </a:cxn>
                <a:cxn ang="0">
                  <a:pos x="168" y="761"/>
                </a:cxn>
                <a:cxn ang="0">
                  <a:pos x="137" y="786"/>
                </a:cxn>
                <a:cxn ang="0">
                  <a:pos x="88" y="706"/>
                </a:cxn>
                <a:cxn ang="0">
                  <a:pos x="31" y="625"/>
                </a:cxn>
                <a:cxn ang="0">
                  <a:pos x="31" y="570"/>
                </a:cxn>
                <a:cxn ang="0">
                  <a:pos x="0" y="513"/>
                </a:cxn>
                <a:cxn ang="0">
                  <a:pos x="31" y="489"/>
                </a:cxn>
                <a:cxn ang="0">
                  <a:pos x="31" y="433"/>
                </a:cxn>
                <a:cxn ang="0">
                  <a:pos x="31" y="408"/>
                </a:cxn>
                <a:cxn ang="0">
                  <a:pos x="0" y="377"/>
                </a:cxn>
                <a:cxn ang="0">
                  <a:pos x="31" y="353"/>
                </a:cxn>
                <a:cxn ang="0">
                  <a:pos x="0" y="328"/>
                </a:cxn>
              </a:cxnLst>
              <a:rect l="0" t="0" r="r" b="b"/>
              <a:pathLst>
                <a:path w="896" h="786">
                  <a:moveTo>
                    <a:pt x="31" y="328"/>
                  </a:moveTo>
                  <a:lnTo>
                    <a:pt x="57" y="328"/>
                  </a:lnTo>
                  <a:lnTo>
                    <a:pt x="88" y="217"/>
                  </a:lnTo>
                  <a:lnTo>
                    <a:pt x="137" y="161"/>
                  </a:lnTo>
                  <a:lnTo>
                    <a:pt x="168" y="136"/>
                  </a:lnTo>
                  <a:lnTo>
                    <a:pt x="218" y="192"/>
                  </a:lnTo>
                  <a:lnTo>
                    <a:pt x="249" y="192"/>
                  </a:lnTo>
                  <a:lnTo>
                    <a:pt x="249" y="161"/>
                  </a:lnTo>
                  <a:lnTo>
                    <a:pt x="274" y="111"/>
                  </a:lnTo>
                  <a:lnTo>
                    <a:pt x="299" y="111"/>
                  </a:lnTo>
                  <a:lnTo>
                    <a:pt x="299" y="80"/>
                  </a:lnTo>
                  <a:lnTo>
                    <a:pt x="330" y="111"/>
                  </a:lnTo>
                  <a:lnTo>
                    <a:pt x="330" y="80"/>
                  </a:lnTo>
                  <a:lnTo>
                    <a:pt x="386" y="80"/>
                  </a:lnTo>
                  <a:lnTo>
                    <a:pt x="410" y="56"/>
                  </a:lnTo>
                  <a:lnTo>
                    <a:pt x="467" y="31"/>
                  </a:lnTo>
                  <a:lnTo>
                    <a:pt x="491" y="56"/>
                  </a:lnTo>
                  <a:lnTo>
                    <a:pt x="572" y="0"/>
                  </a:lnTo>
                  <a:lnTo>
                    <a:pt x="628" y="0"/>
                  </a:lnTo>
                  <a:lnTo>
                    <a:pt x="653" y="31"/>
                  </a:lnTo>
                  <a:lnTo>
                    <a:pt x="653" y="56"/>
                  </a:lnTo>
                  <a:lnTo>
                    <a:pt x="685" y="56"/>
                  </a:lnTo>
                  <a:lnTo>
                    <a:pt x="685" y="80"/>
                  </a:lnTo>
                  <a:lnTo>
                    <a:pt x="709" y="80"/>
                  </a:lnTo>
                  <a:lnTo>
                    <a:pt x="733" y="111"/>
                  </a:lnTo>
                  <a:lnTo>
                    <a:pt x="765" y="111"/>
                  </a:lnTo>
                  <a:lnTo>
                    <a:pt x="790" y="111"/>
                  </a:lnTo>
                  <a:lnTo>
                    <a:pt x="815" y="111"/>
                  </a:lnTo>
                  <a:lnTo>
                    <a:pt x="815" y="136"/>
                  </a:lnTo>
                  <a:lnTo>
                    <a:pt x="846" y="161"/>
                  </a:lnTo>
                  <a:lnTo>
                    <a:pt x="846" y="192"/>
                  </a:lnTo>
                  <a:lnTo>
                    <a:pt x="870" y="192"/>
                  </a:lnTo>
                  <a:lnTo>
                    <a:pt x="870" y="217"/>
                  </a:lnTo>
                  <a:lnTo>
                    <a:pt x="896" y="248"/>
                  </a:lnTo>
                  <a:lnTo>
                    <a:pt x="896" y="272"/>
                  </a:lnTo>
                  <a:lnTo>
                    <a:pt x="870" y="297"/>
                  </a:lnTo>
                  <a:lnTo>
                    <a:pt x="896" y="328"/>
                  </a:lnTo>
                  <a:lnTo>
                    <a:pt x="896" y="353"/>
                  </a:lnTo>
                  <a:lnTo>
                    <a:pt x="896" y="377"/>
                  </a:lnTo>
                  <a:lnTo>
                    <a:pt x="896" y="433"/>
                  </a:lnTo>
                  <a:lnTo>
                    <a:pt x="870" y="433"/>
                  </a:lnTo>
                  <a:lnTo>
                    <a:pt x="846" y="433"/>
                  </a:lnTo>
                  <a:lnTo>
                    <a:pt x="846" y="458"/>
                  </a:lnTo>
                  <a:lnTo>
                    <a:pt x="846" y="513"/>
                  </a:lnTo>
                  <a:lnTo>
                    <a:pt x="815" y="513"/>
                  </a:lnTo>
                  <a:lnTo>
                    <a:pt x="790" y="544"/>
                  </a:lnTo>
                  <a:lnTo>
                    <a:pt x="765" y="544"/>
                  </a:lnTo>
                  <a:lnTo>
                    <a:pt x="709" y="570"/>
                  </a:lnTo>
                  <a:lnTo>
                    <a:pt x="628" y="570"/>
                  </a:lnTo>
                  <a:lnTo>
                    <a:pt x="597" y="570"/>
                  </a:lnTo>
                  <a:lnTo>
                    <a:pt x="548" y="625"/>
                  </a:lnTo>
                  <a:lnTo>
                    <a:pt x="517" y="650"/>
                  </a:lnTo>
                  <a:lnTo>
                    <a:pt x="517" y="706"/>
                  </a:lnTo>
                  <a:lnTo>
                    <a:pt x="467" y="706"/>
                  </a:lnTo>
                  <a:lnTo>
                    <a:pt x="436" y="730"/>
                  </a:lnTo>
                  <a:lnTo>
                    <a:pt x="386" y="730"/>
                  </a:lnTo>
                  <a:lnTo>
                    <a:pt x="355" y="761"/>
                  </a:lnTo>
                  <a:lnTo>
                    <a:pt x="299" y="761"/>
                  </a:lnTo>
                  <a:lnTo>
                    <a:pt x="249" y="761"/>
                  </a:lnTo>
                  <a:lnTo>
                    <a:pt x="218" y="761"/>
                  </a:lnTo>
                  <a:lnTo>
                    <a:pt x="194" y="761"/>
                  </a:lnTo>
                  <a:lnTo>
                    <a:pt x="168" y="761"/>
                  </a:lnTo>
                  <a:lnTo>
                    <a:pt x="168" y="786"/>
                  </a:lnTo>
                  <a:lnTo>
                    <a:pt x="137" y="786"/>
                  </a:lnTo>
                  <a:lnTo>
                    <a:pt x="112" y="706"/>
                  </a:lnTo>
                  <a:lnTo>
                    <a:pt x="88" y="706"/>
                  </a:lnTo>
                  <a:lnTo>
                    <a:pt x="88" y="675"/>
                  </a:lnTo>
                  <a:lnTo>
                    <a:pt x="31" y="625"/>
                  </a:lnTo>
                  <a:lnTo>
                    <a:pt x="31" y="594"/>
                  </a:lnTo>
                  <a:lnTo>
                    <a:pt x="31" y="570"/>
                  </a:lnTo>
                  <a:lnTo>
                    <a:pt x="31" y="544"/>
                  </a:lnTo>
                  <a:lnTo>
                    <a:pt x="0" y="513"/>
                  </a:lnTo>
                  <a:lnTo>
                    <a:pt x="0" y="489"/>
                  </a:lnTo>
                  <a:lnTo>
                    <a:pt x="31" y="489"/>
                  </a:lnTo>
                  <a:lnTo>
                    <a:pt x="31" y="458"/>
                  </a:lnTo>
                  <a:lnTo>
                    <a:pt x="31" y="433"/>
                  </a:lnTo>
                  <a:lnTo>
                    <a:pt x="0" y="433"/>
                  </a:lnTo>
                  <a:lnTo>
                    <a:pt x="31" y="408"/>
                  </a:lnTo>
                  <a:lnTo>
                    <a:pt x="0" y="408"/>
                  </a:lnTo>
                  <a:lnTo>
                    <a:pt x="0" y="377"/>
                  </a:lnTo>
                  <a:lnTo>
                    <a:pt x="0" y="353"/>
                  </a:lnTo>
                  <a:lnTo>
                    <a:pt x="31" y="353"/>
                  </a:lnTo>
                  <a:lnTo>
                    <a:pt x="31" y="328"/>
                  </a:lnTo>
                  <a:lnTo>
                    <a:pt x="0" y="328"/>
                  </a:lnTo>
                  <a:lnTo>
                    <a:pt x="31" y="328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52" name="Freeform 92">
              <a:extLst>
                <a:ext uri="{FF2B5EF4-FFF2-40B4-BE49-F238E27FC236}">
                  <a16:creationId xmlns:a16="http://schemas.microsoft.com/office/drawing/2014/main" id="{9A1F1B47-24B1-486F-8708-3C9228C9922E}"/>
                </a:ext>
              </a:extLst>
            </p:cNvPr>
            <p:cNvSpPr>
              <a:spLocks/>
            </p:cNvSpPr>
            <p:nvPr/>
          </p:nvSpPr>
          <p:spPr bwMode="gray">
            <a:xfrm>
              <a:off x="9042636" y="2182788"/>
              <a:ext cx="639415" cy="413607"/>
            </a:xfrm>
            <a:custGeom>
              <a:avLst/>
              <a:gdLst/>
              <a:ahLst/>
              <a:cxnLst>
                <a:cxn ang="0">
                  <a:pos x="105" y="1144"/>
                </a:cxn>
                <a:cxn ang="0">
                  <a:pos x="242" y="1062"/>
                </a:cxn>
                <a:cxn ang="0">
                  <a:pos x="435" y="1007"/>
                </a:cxn>
                <a:cxn ang="0">
                  <a:pos x="541" y="976"/>
                </a:cxn>
                <a:cxn ang="0">
                  <a:pos x="597" y="950"/>
                </a:cxn>
                <a:cxn ang="0">
                  <a:pos x="759" y="926"/>
                </a:cxn>
                <a:cxn ang="0">
                  <a:pos x="865" y="926"/>
                </a:cxn>
                <a:cxn ang="0">
                  <a:pos x="920" y="895"/>
                </a:cxn>
                <a:cxn ang="0">
                  <a:pos x="1002" y="814"/>
                </a:cxn>
                <a:cxn ang="0">
                  <a:pos x="1057" y="895"/>
                </a:cxn>
                <a:cxn ang="0">
                  <a:pos x="1163" y="926"/>
                </a:cxn>
                <a:cxn ang="0">
                  <a:pos x="1275" y="976"/>
                </a:cxn>
                <a:cxn ang="0">
                  <a:pos x="1412" y="1062"/>
                </a:cxn>
                <a:cxn ang="0">
                  <a:pos x="1518" y="1087"/>
                </a:cxn>
                <a:cxn ang="0">
                  <a:pos x="1599" y="1087"/>
                </a:cxn>
                <a:cxn ang="0">
                  <a:pos x="1711" y="1007"/>
                </a:cxn>
                <a:cxn ang="0">
                  <a:pos x="1791" y="926"/>
                </a:cxn>
                <a:cxn ang="0">
                  <a:pos x="1841" y="789"/>
                </a:cxn>
                <a:cxn ang="0">
                  <a:pos x="1872" y="653"/>
                </a:cxn>
                <a:cxn ang="0">
                  <a:pos x="1817" y="547"/>
                </a:cxn>
                <a:cxn ang="0">
                  <a:pos x="1736" y="435"/>
                </a:cxn>
                <a:cxn ang="0">
                  <a:pos x="1680" y="354"/>
                </a:cxn>
                <a:cxn ang="0">
                  <a:pos x="1711" y="217"/>
                </a:cxn>
                <a:cxn ang="0">
                  <a:pos x="1599" y="193"/>
                </a:cxn>
                <a:cxn ang="0">
                  <a:pos x="1462" y="136"/>
                </a:cxn>
                <a:cxn ang="0">
                  <a:pos x="1331" y="167"/>
                </a:cxn>
                <a:cxn ang="0">
                  <a:pos x="1275" y="167"/>
                </a:cxn>
                <a:cxn ang="0">
                  <a:pos x="1244" y="136"/>
                </a:cxn>
                <a:cxn ang="0">
                  <a:pos x="1138" y="81"/>
                </a:cxn>
                <a:cxn ang="0">
                  <a:pos x="1057" y="0"/>
                </a:cxn>
                <a:cxn ang="0">
                  <a:pos x="946" y="0"/>
                </a:cxn>
                <a:cxn ang="0">
                  <a:pos x="896" y="31"/>
                </a:cxn>
                <a:cxn ang="0">
                  <a:pos x="784" y="112"/>
                </a:cxn>
                <a:cxn ang="0">
                  <a:pos x="759" y="248"/>
                </a:cxn>
                <a:cxn ang="0">
                  <a:pos x="815" y="411"/>
                </a:cxn>
                <a:cxn ang="0">
                  <a:pos x="759" y="547"/>
                </a:cxn>
                <a:cxn ang="0">
                  <a:pos x="647" y="653"/>
                </a:cxn>
                <a:cxn ang="0">
                  <a:pos x="541" y="596"/>
                </a:cxn>
                <a:cxn ang="0">
                  <a:pos x="435" y="435"/>
                </a:cxn>
                <a:cxn ang="0">
                  <a:pos x="323" y="298"/>
                </a:cxn>
                <a:cxn ang="0">
                  <a:pos x="136" y="411"/>
                </a:cxn>
                <a:cxn ang="0">
                  <a:pos x="50" y="572"/>
                </a:cxn>
                <a:cxn ang="0">
                  <a:pos x="0" y="845"/>
                </a:cxn>
                <a:cxn ang="0">
                  <a:pos x="0" y="1112"/>
                </a:cxn>
              </a:cxnLst>
              <a:rect l="0" t="0" r="r" b="b"/>
              <a:pathLst>
                <a:path w="1898" h="1225">
                  <a:moveTo>
                    <a:pt x="50" y="1225"/>
                  </a:moveTo>
                  <a:lnTo>
                    <a:pt x="81" y="1192"/>
                  </a:lnTo>
                  <a:lnTo>
                    <a:pt x="105" y="1144"/>
                  </a:lnTo>
                  <a:lnTo>
                    <a:pt x="136" y="1112"/>
                  </a:lnTo>
                  <a:lnTo>
                    <a:pt x="162" y="1087"/>
                  </a:lnTo>
                  <a:lnTo>
                    <a:pt x="242" y="1062"/>
                  </a:lnTo>
                  <a:lnTo>
                    <a:pt x="268" y="1031"/>
                  </a:lnTo>
                  <a:lnTo>
                    <a:pt x="299" y="1007"/>
                  </a:lnTo>
                  <a:lnTo>
                    <a:pt x="435" y="1007"/>
                  </a:lnTo>
                  <a:lnTo>
                    <a:pt x="486" y="1007"/>
                  </a:lnTo>
                  <a:lnTo>
                    <a:pt x="486" y="976"/>
                  </a:lnTo>
                  <a:lnTo>
                    <a:pt x="541" y="976"/>
                  </a:lnTo>
                  <a:lnTo>
                    <a:pt x="566" y="976"/>
                  </a:lnTo>
                  <a:lnTo>
                    <a:pt x="566" y="950"/>
                  </a:lnTo>
                  <a:lnTo>
                    <a:pt x="597" y="950"/>
                  </a:lnTo>
                  <a:lnTo>
                    <a:pt x="678" y="950"/>
                  </a:lnTo>
                  <a:lnTo>
                    <a:pt x="702" y="926"/>
                  </a:lnTo>
                  <a:lnTo>
                    <a:pt x="759" y="926"/>
                  </a:lnTo>
                  <a:lnTo>
                    <a:pt x="784" y="950"/>
                  </a:lnTo>
                  <a:lnTo>
                    <a:pt x="815" y="976"/>
                  </a:lnTo>
                  <a:lnTo>
                    <a:pt x="865" y="926"/>
                  </a:lnTo>
                  <a:lnTo>
                    <a:pt x="896" y="950"/>
                  </a:lnTo>
                  <a:lnTo>
                    <a:pt x="920" y="926"/>
                  </a:lnTo>
                  <a:lnTo>
                    <a:pt x="920" y="895"/>
                  </a:lnTo>
                  <a:lnTo>
                    <a:pt x="946" y="845"/>
                  </a:lnTo>
                  <a:lnTo>
                    <a:pt x="977" y="845"/>
                  </a:lnTo>
                  <a:lnTo>
                    <a:pt x="1002" y="814"/>
                  </a:lnTo>
                  <a:lnTo>
                    <a:pt x="1033" y="814"/>
                  </a:lnTo>
                  <a:lnTo>
                    <a:pt x="1033" y="870"/>
                  </a:lnTo>
                  <a:lnTo>
                    <a:pt x="1057" y="895"/>
                  </a:lnTo>
                  <a:lnTo>
                    <a:pt x="1083" y="926"/>
                  </a:lnTo>
                  <a:lnTo>
                    <a:pt x="1114" y="950"/>
                  </a:lnTo>
                  <a:lnTo>
                    <a:pt x="1163" y="926"/>
                  </a:lnTo>
                  <a:lnTo>
                    <a:pt x="1220" y="926"/>
                  </a:lnTo>
                  <a:lnTo>
                    <a:pt x="1244" y="950"/>
                  </a:lnTo>
                  <a:lnTo>
                    <a:pt x="1275" y="976"/>
                  </a:lnTo>
                  <a:lnTo>
                    <a:pt x="1301" y="1007"/>
                  </a:lnTo>
                  <a:lnTo>
                    <a:pt x="1356" y="1031"/>
                  </a:lnTo>
                  <a:lnTo>
                    <a:pt x="1412" y="1062"/>
                  </a:lnTo>
                  <a:lnTo>
                    <a:pt x="1437" y="1087"/>
                  </a:lnTo>
                  <a:lnTo>
                    <a:pt x="1462" y="1112"/>
                  </a:lnTo>
                  <a:lnTo>
                    <a:pt x="1518" y="1087"/>
                  </a:lnTo>
                  <a:lnTo>
                    <a:pt x="1543" y="1112"/>
                  </a:lnTo>
                  <a:lnTo>
                    <a:pt x="1543" y="1087"/>
                  </a:lnTo>
                  <a:lnTo>
                    <a:pt x="1599" y="1087"/>
                  </a:lnTo>
                  <a:lnTo>
                    <a:pt x="1630" y="1007"/>
                  </a:lnTo>
                  <a:lnTo>
                    <a:pt x="1680" y="976"/>
                  </a:lnTo>
                  <a:lnTo>
                    <a:pt x="1711" y="1007"/>
                  </a:lnTo>
                  <a:lnTo>
                    <a:pt x="1736" y="976"/>
                  </a:lnTo>
                  <a:lnTo>
                    <a:pt x="1791" y="976"/>
                  </a:lnTo>
                  <a:lnTo>
                    <a:pt x="1791" y="926"/>
                  </a:lnTo>
                  <a:lnTo>
                    <a:pt x="1791" y="870"/>
                  </a:lnTo>
                  <a:lnTo>
                    <a:pt x="1791" y="814"/>
                  </a:lnTo>
                  <a:lnTo>
                    <a:pt x="1841" y="789"/>
                  </a:lnTo>
                  <a:lnTo>
                    <a:pt x="1872" y="734"/>
                  </a:lnTo>
                  <a:lnTo>
                    <a:pt x="1898" y="708"/>
                  </a:lnTo>
                  <a:lnTo>
                    <a:pt x="1872" y="653"/>
                  </a:lnTo>
                  <a:lnTo>
                    <a:pt x="1872" y="627"/>
                  </a:lnTo>
                  <a:lnTo>
                    <a:pt x="1841" y="596"/>
                  </a:lnTo>
                  <a:lnTo>
                    <a:pt x="1817" y="547"/>
                  </a:lnTo>
                  <a:lnTo>
                    <a:pt x="1791" y="516"/>
                  </a:lnTo>
                  <a:lnTo>
                    <a:pt x="1761" y="466"/>
                  </a:lnTo>
                  <a:lnTo>
                    <a:pt x="1736" y="435"/>
                  </a:lnTo>
                  <a:lnTo>
                    <a:pt x="1680" y="435"/>
                  </a:lnTo>
                  <a:lnTo>
                    <a:pt x="1680" y="379"/>
                  </a:lnTo>
                  <a:lnTo>
                    <a:pt x="1680" y="354"/>
                  </a:lnTo>
                  <a:lnTo>
                    <a:pt x="1680" y="298"/>
                  </a:lnTo>
                  <a:lnTo>
                    <a:pt x="1680" y="248"/>
                  </a:lnTo>
                  <a:lnTo>
                    <a:pt x="1711" y="217"/>
                  </a:lnTo>
                  <a:lnTo>
                    <a:pt x="1680" y="217"/>
                  </a:lnTo>
                  <a:lnTo>
                    <a:pt x="1680" y="193"/>
                  </a:lnTo>
                  <a:lnTo>
                    <a:pt x="1599" y="193"/>
                  </a:lnTo>
                  <a:lnTo>
                    <a:pt x="1574" y="112"/>
                  </a:lnTo>
                  <a:lnTo>
                    <a:pt x="1518" y="112"/>
                  </a:lnTo>
                  <a:lnTo>
                    <a:pt x="1462" y="136"/>
                  </a:lnTo>
                  <a:lnTo>
                    <a:pt x="1412" y="112"/>
                  </a:lnTo>
                  <a:lnTo>
                    <a:pt x="1381" y="136"/>
                  </a:lnTo>
                  <a:lnTo>
                    <a:pt x="1331" y="167"/>
                  </a:lnTo>
                  <a:lnTo>
                    <a:pt x="1331" y="193"/>
                  </a:lnTo>
                  <a:lnTo>
                    <a:pt x="1301" y="193"/>
                  </a:lnTo>
                  <a:lnTo>
                    <a:pt x="1275" y="167"/>
                  </a:lnTo>
                  <a:lnTo>
                    <a:pt x="1275" y="193"/>
                  </a:lnTo>
                  <a:lnTo>
                    <a:pt x="1220" y="167"/>
                  </a:lnTo>
                  <a:lnTo>
                    <a:pt x="1244" y="136"/>
                  </a:lnTo>
                  <a:lnTo>
                    <a:pt x="1194" y="112"/>
                  </a:lnTo>
                  <a:lnTo>
                    <a:pt x="1163" y="112"/>
                  </a:lnTo>
                  <a:lnTo>
                    <a:pt x="1138" y="81"/>
                  </a:lnTo>
                  <a:lnTo>
                    <a:pt x="1138" y="56"/>
                  </a:lnTo>
                  <a:lnTo>
                    <a:pt x="1083" y="56"/>
                  </a:lnTo>
                  <a:lnTo>
                    <a:pt x="1057" y="0"/>
                  </a:lnTo>
                  <a:lnTo>
                    <a:pt x="1033" y="56"/>
                  </a:lnTo>
                  <a:lnTo>
                    <a:pt x="977" y="31"/>
                  </a:lnTo>
                  <a:lnTo>
                    <a:pt x="946" y="0"/>
                  </a:lnTo>
                  <a:lnTo>
                    <a:pt x="946" y="31"/>
                  </a:lnTo>
                  <a:lnTo>
                    <a:pt x="920" y="31"/>
                  </a:lnTo>
                  <a:lnTo>
                    <a:pt x="896" y="31"/>
                  </a:lnTo>
                  <a:lnTo>
                    <a:pt x="865" y="56"/>
                  </a:lnTo>
                  <a:lnTo>
                    <a:pt x="815" y="81"/>
                  </a:lnTo>
                  <a:lnTo>
                    <a:pt x="784" y="112"/>
                  </a:lnTo>
                  <a:lnTo>
                    <a:pt x="759" y="112"/>
                  </a:lnTo>
                  <a:lnTo>
                    <a:pt x="759" y="167"/>
                  </a:lnTo>
                  <a:lnTo>
                    <a:pt x="759" y="248"/>
                  </a:lnTo>
                  <a:lnTo>
                    <a:pt x="784" y="273"/>
                  </a:lnTo>
                  <a:lnTo>
                    <a:pt x="784" y="354"/>
                  </a:lnTo>
                  <a:lnTo>
                    <a:pt x="815" y="411"/>
                  </a:lnTo>
                  <a:lnTo>
                    <a:pt x="815" y="435"/>
                  </a:lnTo>
                  <a:lnTo>
                    <a:pt x="815" y="516"/>
                  </a:lnTo>
                  <a:lnTo>
                    <a:pt x="759" y="547"/>
                  </a:lnTo>
                  <a:lnTo>
                    <a:pt x="734" y="596"/>
                  </a:lnTo>
                  <a:lnTo>
                    <a:pt x="678" y="627"/>
                  </a:lnTo>
                  <a:lnTo>
                    <a:pt x="647" y="653"/>
                  </a:lnTo>
                  <a:lnTo>
                    <a:pt x="622" y="627"/>
                  </a:lnTo>
                  <a:lnTo>
                    <a:pt x="566" y="627"/>
                  </a:lnTo>
                  <a:lnTo>
                    <a:pt x="541" y="596"/>
                  </a:lnTo>
                  <a:lnTo>
                    <a:pt x="486" y="491"/>
                  </a:lnTo>
                  <a:lnTo>
                    <a:pt x="460" y="466"/>
                  </a:lnTo>
                  <a:lnTo>
                    <a:pt x="435" y="435"/>
                  </a:lnTo>
                  <a:lnTo>
                    <a:pt x="348" y="379"/>
                  </a:lnTo>
                  <a:lnTo>
                    <a:pt x="323" y="354"/>
                  </a:lnTo>
                  <a:lnTo>
                    <a:pt x="323" y="298"/>
                  </a:lnTo>
                  <a:lnTo>
                    <a:pt x="268" y="329"/>
                  </a:lnTo>
                  <a:lnTo>
                    <a:pt x="218" y="411"/>
                  </a:lnTo>
                  <a:lnTo>
                    <a:pt x="136" y="411"/>
                  </a:lnTo>
                  <a:lnTo>
                    <a:pt x="105" y="435"/>
                  </a:lnTo>
                  <a:lnTo>
                    <a:pt x="81" y="547"/>
                  </a:lnTo>
                  <a:lnTo>
                    <a:pt x="50" y="572"/>
                  </a:lnTo>
                  <a:lnTo>
                    <a:pt x="50" y="677"/>
                  </a:lnTo>
                  <a:lnTo>
                    <a:pt x="50" y="764"/>
                  </a:lnTo>
                  <a:lnTo>
                    <a:pt x="0" y="845"/>
                  </a:lnTo>
                  <a:lnTo>
                    <a:pt x="0" y="926"/>
                  </a:lnTo>
                  <a:lnTo>
                    <a:pt x="0" y="1007"/>
                  </a:lnTo>
                  <a:lnTo>
                    <a:pt x="0" y="1112"/>
                  </a:lnTo>
                  <a:lnTo>
                    <a:pt x="24" y="1168"/>
                  </a:lnTo>
                  <a:lnTo>
                    <a:pt x="50" y="1225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53" name="Freeform 93">
              <a:extLst>
                <a:ext uri="{FF2B5EF4-FFF2-40B4-BE49-F238E27FC236}">
                  <a16:creationId xmlns:a16="http://schemas.microsoft.com/office/drawing/2014/main" id="{C63FE0D2-36C9-43C8-ADCB-4153D938EC3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58288" y="2457780"/>
              <a:ext cx="532102" cy="447143"/>
            </a:xfrm>
            <a:custGeom>
              <a:avLst/>
              <a:gdLst/>
              <a:ahLst/>
              <a:cxnLst>
                <a:cxn ang="0">
                  <a:pos x="31" y="378"/>
                </a:cxn>
                <a:cxn ang="0">
                  <a:pos x="87" y="298"/>
                </a:cxn>
                <a:cxn ang="0">
                  <a:pos x="192" y="248"/>
                </a:cxn>
                <a:cxn ang="0">
                  <a:pos x="248" y="192"/>
                </a:cxn>
                <a:cxn ang="0">
                  <a:pos x="435" y="192"/>
                </a:cxn>
                <a:cxn ang="0">
                  <a:pos x="491" y="161"/>
                </a:cxn>
                <a:cxn ang="0">
                  <a:pos x="516" y="136"/>
                </a:cxn>
                <a:cxn ang="0">
                  <a:pos x="628" y="136"/>
                </a:cxn>
                <a:cxn ang="0">
                  <a:pos x="708" y="111"/>
                </a:cxn>
                <a:cxn ang="0">
                  <a:pos x="765" y="161"/>
                </a:cxn>
                <a:cxn ang="0">
                  <a:pos x="846" y="136"/>
                </a:cxn>
                <a:cxn ang="0">
                  <a:pos x="870" y="80"/>
                </a:cxn>
                <a:cxn ang="0">
                  <a:pos x="926" y="31"/>
                </a:cxn>
                <a:cxn ang="0">
                  <a:pos x="983" y="0"/>
                </a:cxn>
                <a:cxn ang="0">
                  <a:pos x="1007" y="80"/>
                </a:cxn>
                <a:cxn ang="0">
                  <a:pos x="1063" y="136"/>
                </a:cxn>
                <a:cxn ang="0">
                  <a:pos x="1168" y="111"/>
                </a:cxn>
                <a:cxn ang="0">
                  <a:pos x="1225" y="161"/>
                </a:cxn>
                <a:cxn ang="0">
                  <a:pos x="1306" y="217"/>
                </a:cxn>
                <a:cxn ang="0">
                  <a:pos x="1386" y="272"/>
                </a:cxn>
                <a:cxn ang="0">
                  <a:pos x="1467" y="272"/>
                </a:cxn>
                <a:cxn ang="0">
                  <a:pos x="1492" y="353"/>
                </a:cxn>
                <a:cxn ang="0">
                  <a:pos x="1523" y="409"/>
                </a:cxn>
                <a:cxn ang="0">
                  <a:pos x="1523" y="465"/>
                </a:cxn>
                <a:cxn ang="0">
                  <a:pos x="1579" y="465"/>
                </a:cxn>
                <a:cxn ang="0">
                  <a:pos x="1548" y="546"/>
                </a:cxn>
                <a:cxn ang="0">
                  <a:pos x="1467" y="570"/>
                </a:cxn>
                <a:cxn ang="0">
                  <a:pos x="1443" y="626"/>
                </a:cxn>
                <a:cxn ang="0">
                  <a:pos x="1362" y="762"/>
                </a:cxn>
                <a:cxn ang="0">
                  <a:pos x="1386" y="867"/>
                </a:cxn>
                <a:cxn ang="0">
                  <a:pos x="1362" y="973"/>
                </a:cxn>
                <a:cxn ang="0">
                  <a:pos x="1443" y="1029"/>
                </a:cxn>
                <a:cxn ang="0">
                  <a:pos x="1412" y="1084"/>
                </a:cxn>
                <a:cxn ang="0">
                  <a:pos x="1362" y="1084"/>
                </a:cxn>
                <a:cxn ang="0">
                  <a:pos x="1362" y="1029"/>
                </a:cxn>
                <a:cxn ang="0">
                  <a:pos x="1306" y="1060"/>
                </a:cxn>
                <a:cxn ang="0">
                  <a:pos x="1225" y="1141"/>
                </a:cxn>
                <a:cxn ang="0">
                  <a:pos x="1194" y="1165"/>
                </a:cxn>
                <a:cxn ang="0">
                  <a:pos x="1168" y="1246"/>
                </a:cxn>
                <a:cxn ang="0">
                  <a:pos x="1113" y="1270"/>
                </a:cxn>
                <a:cxn ang="0">
                  <a:pos x="1032" y="1270"/>
                </a:cxn>
                <a:cxn ang="0">
                  <a:pos x="983" y="1301"/>
                </a:cxn>
                <a:cxn ang="0">
                  <a:pos x="895" y="1326"/>
                </a:cxn>
                <a:cxn ang="0">
                  <a:pos x="815" y="1270"/>
                </a:cxn>
                <a:cxn ang="0">
                  <a:pos x="765" y="1141"/>
                </a:cxn>
                <a:cxn ang="0">
                  <a:pos x="628" y="1141"/>
                </a:cxn>
                <a:cxn ang="0">
                  <a:pos x="547" y="1060"/>
                </a:cxn>
                <a:cxn ang="0">
                  <a:pos x="547" y="973"/>
                </a:cxn>
                <a:cxn ang="0">
                  <a:pos x="571" y="923"/>
                </a:cxn>
                <a:cxn ang="0">
                  <a:pos x="466" y="843"/>
                </a:cxn>
                <a:cxn ang="0">
                  <a:pos x="410" y="812"/>
                </a:cxn>
                <a:cxn ang="0">
                  <a:pos x="329" y="867"/>
                </a:cxn>
                <a:cxn ang="0">
                  <a:pos x="273" y="867"/>
                </a:cxn>
                <a:cxn ang="0">
                  <a:pos x="192" y="812"/>
                </a:cxn>
                <a:cxn ang="0">
                  <a:pos x="111" y="787"/>
                </a:cxn>
                <a:cxn ang="0">
                  <a:pos x="87" y="675"/>
                </a:cxn>
                <a:cxn ang="0">
                  <a:pos x="56" y="570"/>
                </a:cxn>
                <a:cxn ang="0">
                  <a:pos x="31" y="465"/>
                </a:cxn>
                <a:cxn ang="0">
                  <a:pos x="31" y="787"/>
                </a:cxn>
                <a:cxn ang="0">
                  <a:pos x="56" y="762"/>
                </a:cxn>
                <a:cxn ang="0">
                  <a:pos x="56" y="651"/>
                </a:cxn>
                <a:cxn ang="0">
                  <a:pos x="31" y="675"/>
                </a:cxn>
                <a:cxn ang="0">
                  <a:pos x="31" y="787"/>
                </a:cxn>
              </a:cxnLst>
              <a:rect l="0" t="0" r="r" b="b"/>
              <a:pathLst>
                <a:path w="1579" h="1326">
                  <a:moveTo>
                    <a:pt x="0" y="409"/>
                  </a:moveTo>
                  <a:lnTo>
                    <a:pt x="31" y="378"/>
                  </a:lnTo>
                  <a:lnTo>
                    <a:pt x="56" y="329"/>
                  </a:lnTo>
                  <a:lnTo>
                    <a:pt x="87" y="298"/>
                  </a:lnTo>
                  <a:lnTo>
                    <a:pt x="111" y="272"/>
                  </a:lnTo>
                  <a:lnTo>
                    <a:pt x="192" y="248"/>
                  </a:lnTo>
                  <a:lnTo>
                    <a:pt x="217" y="217"/>
                  </a:lnTo>
                  <a:lnTo>
                    <a:pt x="248" y="192"/>
                  </a:lnTo>
                  <a:lnTo>
                    <a:pt x="386" y="192"/>
                  </a:lnTo>
                  <a:lnTo>
                    <a:pt x="435" y="192"/>
                  </a:lnTo>
                  <a:lnTo>
                    <a:pt x="435" y="161"/>
                  </a:lnTo>
                  <a:lnTo>
                    <a:pt x="491" y="161"/>
                  </a:lnTo>
                  <a:lnTo>
                    <a:pt x="516" y="161"/>
                  </a:lnTo>
                  <a:lnTo>
                    <a:pt x="516" y="136"/>
                  </a:lnTo>
                  <a:lnTo>
                    <a:pt x="547" y="136"/>
                  </a:lnTo>
                  <a:lnTo>
                    <a:pt x="628" y="136"/>
                  </a:lnTo>
                  <a:lnTo>
                    <a:pt x="653" y="111"/>
                  </a:lnTo>
                  <a:lnTo>
                    <a:pt x="708" y="111"/>
                  </a:lnTo>
                  <a:lnTo>
                    <a:pt x="734" y="136"/>
                  </a:lnTo>
                  <a:lnTo>
                    <a:pt x="765" y="161"/>
                  </a:lnTo>
                  <a:lnTo>
                    <a:pt x="815" y="111"/>
                  </a:lnTo>
                  <a:lnTo>
                    <a:pt x="846" y="136"/>
                  </a:lnTo>
                  <a:lnTo>
                    <a:pt x="870" y="111"/>
                  </a:lnTo>
                  <a:lnTo>
                    <a:pt x="870" y="80"/>
                  </a:lnTo>
                  <a:lnTo>
                    <a:pt x="895" y="31"/>
                  </a:lnTo>
                  <a:lnTo>
                    <a:pt x="926" y="31"/>
                  </a:lnTo>
                  <a:lnTo>
                    <a:pt x="951" y="0"/>
                  </a:lnTo>
                  <a:lnTo>
                    <a:pt x="983" y="0"/>
                  </a:lnTo>
                  <a:lnTo>
                    <a:pt x="983" y="56"/>
                  </a:lnTo>
                  <a:lnTo>
                    <a:pt x="1007" y="80"/>
                  </a:lnTo>
                  <a:lnTo>
                    <a:pt x="1032" y="111"/>
                  </a:lnTo>
                  <a:lnTo>
                    <a:pt x="1063" y="136"/>
                  </a:lnTo>
                  <a:lnTo>
                    <a:pt x="1113" y="111"/>
                  </a:lnTo>
                  <a:lnTo>
                    <a:pt x="1168" y="111"/>
                  </a:lnTo>
                  <a:lnTo>
                    <a:pt x="1194" y="136"/>
                  </a:lnTo>
                  <a:lnTo>
                    <a:pt x="1225" y="161"/>
                  </a:lnTo>
                  <a:lnTo>
                    <a:pt x="1249" y="192"/>
                  </a:lnTo>
                  <a:lnTo>
                    <a:pt x="1306" y="217"/>
                  </a:lnTo>
                  <a:lnTo>
                    <a:pt x="1362" y="248"/>
                  </a:lnTo>
                  <a:lnTo>
                    <a:pt x="1386" y="272"/>
                  </a:lnTo>
                  <a:lnTo>
                    <a:pt x="1412" y="298"/>
                  </a:lnTo>
                  <a:lnTo>
                    <a:pt x="1467" y="272"/>
                  </a:lnTo>
                  <a:lnTo>
                    <a:pt x="1492" y="298"/>
                  </a:lnTo>
                  <a:lnTo>
                    <a:pt x="1492" y="353"/>
                  </a:lnTo>
                  <a:lnTo>
                    <a:pt x="1492" y="378"/>
                  </a:lnTo>
                  <a:lnTo>
                    <a:pt x="1523" y="409"/>
                  </a:lnTo>
                  <a:lnTo>
                    <a:pt x="1492" y="434"/>
                  </a:lnTo>
                  <a:lnTo>
                    <a:pt x="1523" y="465"/>
                  </a:lnTo>
                  <a:lnTo>
                    <a:pt x="1548" y="434"/>
                  </a:lnTo>
                  <a:lnTo>
                    <a:pt x="1579" y="465"/>
                  </a:lnTo>
                  <a:lnTo>
                    <a:pt x="1579" y="515"/>
                  </a:lnTo>
                  <a:lnTo>
                    <a:pt x="1548" y="546"/>
                  </a:lnTo>
                  <a:lnTo>
                    <a:pt x="1492" y="570"/>
                  </a:lnTo>
                  <a:lnTo>
                    <a:pt x="1467" y="570"/>
                  </a:lnTo>
                  <a:lnTo>
                    <a:pt x="1467" y="595"/>
                  </a:lnTo>
                  <a:lnTo>
                    <a:pt x="1443" y="626"/>
                  </a:lnTo>
                  <a:lnTo>
                    <a:pt x="1386" y="706"/>
                  </a:lnTo>
                  <a:lnTo>
                    <a:pt x="1362" y="762"/>
                  </a:lnTo>
                  <a:lnTo>
                    <a:pt x="1362" y="787"/>
                  </a:lnTo>
                  <a:lnTo>
                    <a:pt x="1386" y="867"/>
                  </a:lnTo>
                  <a:lnTo>
                    <a:pt x="1386" y="923"/>
                  </a:lnTo>
                  <a:lnTo>
                    <a:pt x="1362" y="973"/>
                  </a:lnTo>
                  <a:lnTo>
                    <a:pt x="1412" y="1003"/>
                  </a:lnTo>
                  <a:lnTo>
                    <a:pt x="1443" y="1029"/>
                  </a:lnTo>
                  <a:lnTo>
                    <a:pt x="1443" y="1060"/>
                  </a:lnTo>
                  <a:lnTo>
                    <a:pt x="1412" y="1084"/>
                  </a:lnTo>
                  <a:lnTo>
                    <a:pt x="1386" y="1110"/>
                  </a:lnTo>
                  <a:lnTo>
                    <a:pt x="1362" y="1084"/>
                  </a:lnTo>
                  <a:lnTo>
                    <a:pt x="1362" y="1060"/>
                  </a:lnTo>
                  <a:lnTo>
                    <a:pt x="1362" y="1029"/>
                  </a:lnTo>
                  <a:lnTo>
                    <a:pt x="1331" y="1029"/>
                  </a:lnTo>
                  <a:lnTo>
                    <a:pt x="1306" y="1060"/>
                  </a:lnTo>
                  <a:lnTo>
                    <a:pt x="1281" y="1084"/>
                  </a:lnTo>
                  <a:lnTo>
                    <a:pt x="1225" y="1141"/>
                  </a:lnTo>
                  <a:lnTo>
                    <a:pt x="1194" y="1141"/>
                  </a:lnTo>
                  <a:lnTo>
                    <a:pt x="1194" y="1165"/>
                  </a:lnTo>
                  <a:lnTo>
                    <a:pt x="1194" y="1189"/>
                  </a:lnTo>
                  <a:lnTo>
                    <a:pt x="1168" y="1246"/>
                  </a:lnTo>
                  <a:lnTo>
                    <a:pt x="1113" y="1246"/>
                  </a:lnTo>
                  <a:lnTo>
                    <a:pt x="1113" y="1270"/>
                  </a:lnTo>
                  <a:lnTo>
                    <a:pt x="1088" y="1270"/>
                  </a:lnTo>
                  <a:lnTo>
                    <a:pt x="1032" y="1270"/>
                  </a:lnTo>
                  <a:lnTo>
                    <a:pt x="1007" y="1270"/>
                  </a:lnTo>
                  <a:lnTo>
                    <a:pt x="983" y="1301"/>
                  </a:lnTo>
                  <a:lnTo>
                    <a:pt x="926" y="1301"/>
                  </a:lnTo>
                  <a:lnTo>
                    <a:pt x="895" y="1326"/>
                  </a:lnTo>
                  <a:lnTo>
                    <a:pt x="846" y="1326"/>
                  </a:lnTo>
                  <a:lnTo>
                    <a:pt x="815" y="1270"/>
                  </a:lnTo>
                  <a:lnTo>
                    <a:pt x="815" y="1220"/>
                  </a:lnTo>
                  <a:lnTo>
                    <a:pt x="765" y="1141"/>
                  </a:lnTo>
                  <a:lnTo>
                    <a:pt x="684" y="1141"/>
                  </a:lnTo>
                  <a:lnTo>
                    <a:pt x="628" y="1141"/>
                  </a:lnTo>
                  <a:lnTo>
                    <a:pt x="547" y="1110"/>
                  </a:lnTo>
                  <a:lnTo>
                    <a:pt x="547" y="1060"/>
                  </a:lnTo>
                  <a:lnTo>
                    <a:pt x="516" y="1003"/>
                  </a:lnTo>
                  <a:lnTo>
                    <a:pt x="547" y="973"/>
                  </a:lnTo>
                  <a:lnTo>
                    <a:pt x="571" y="948"/>
                  </a:lnTo>
                  <a:lnTo>
                    <a:pt x="571" y="923"/>
                  </a:lnTo>
                  <a:lnTo>
                    <a:pt x="516" y="867"/>
                  </a:lnTo>
                  <a:lnTo>
                    <a:pt x="466" y="843"/>
                  </a:lnTo>
                  <a:lnTo>
                    <a:pt x="435" y="843"/>
                  </a:lnTo>
                  <a:lnTo>
                    <a:pt x="410" y="812"/>
                  </a:lnTo>
                  <a:lnTo>
                    <a:pt x="386" y="843"/>
                  </a:lnTo>
                  <a:lnTo>
                    <a:pt x="329" y="867"/>
                  </a:lnTo>
                  <a:lnTo>
                    <a:pt x="298" y="843"/>
                  </a:lnTo>
                  <a:lnTo>
                    <a:pt x="273" y="867"/>
                  </a:lnTo>
                  <a:lnTo>
                    <a:pt x="217" y="812"/>
                  </a:lnTo>
                  <a:lnTo>
                    <a:pt x="192" y="812"/>
                  </a:lnTo>
                  <a:lnTo>
                    <a:pt x="168" y="787"/>
                  </a:lnTo>
                  <a:lnTo>
                    <a:pt x="111" y="787"/>
                  </a:lnTo>
                  <a:lnTo>
                    <a:pt x="111" y="731"/>
                  </a:lnTo>
                  <a:lnTo>
                    <a:pt x="87" y="675"/>
                  </a:lnTo>
                  <a:lnTo>
                    <a:pt x="87" y="626"/>
                  </a:lnTo>
                  <a:lnTo>
                    <a:pt x="56" y="570"/>
                  </a:lnTo>
                  <a:lnTo>
                    <a:pt x="31" y="546"/>
                  </a:lnTo>
                  <a:lnTo>
                    <a:pt x="31" y="465"/>
                  </a:lnTo>
                  <a:lnTo>
                    <a:pt x="0" y="409"/>
                  </a:lnTo>
                  <a:close/>
                  <a:moveTo>
                    <a:pt x="31" y="787"/>
                  </a:moveTo>
                  <a:lnTo>
                    <a:pt x="56" y="787"/>
                  </a:lnTo>
                  <a:lnTo>
                    <a:pt x="56" y="762"/>
                  </a:lnTo>
                  <a:lnTo>
                    <a:pt x="56" y="706"/>
                  </a:lnTo>
                  <a:lnTo>
                    <a:pt x="56" y="651"/>
                  </a:lnTo>
                  <a:lnTo>
                    <a:pt x="56" y="595"/>
                  </a:lnTo>
                  <a:lnTo>
                    <a:pt x="31" y="675"/>
                  </a:lnTo>
                  <a:lnTo>
                    <a:pt x="31" y="762"/>
                  </a:lnTo>
                  <a:lnTo>
                    <a:pt x="31" y="787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54" name="Freeform 94">
              <a:extLst>
                <a:ext uri="{FF2B5EF4-FFF2-40B4-BE49-F238E27FC236}">
                  <a16:creationId xmlns:a16="http://schemas.microsoft.com/office/drawing/2014/main" id="{01154431-8319-4C24-9A79-A2AA8497469F}"/>
                </a:ext>
              </a:extLst>
            </p:cNvPr>
            <p:cNvSpPr>
              <a:spLocks/>
            </p:cNvSpPr>
            <p:nvPr/>
          </p:nvSpPr>
          <p:spPr bwMode="gray">
            <a:xfrm>
              <a:off x="9845262" y="3698607"/>
              <a:ext cx="465031" cy="462792"/>
            </a:xfrm>
            <a:custGeom>
              <a:avLst/>
              <a:gdLst/>
              <a:ahLst/>
              <a:cxnLst>
                <a:cxn ang="0">
                  <a:pos x="784" y="1356"/>
                </a:cxn>
                <a:cxn ang="0">
                  <a:pos x="759" y="1332"/>
                </a:cxn>
                <a:cxn ang="0">
                  <a:pos x="784" y="1306"/>
                </a:cxn>
                <a:cxn ang="0">
                  <a:pos x="759" y="1250"/>
                </a:cxn>
                <a:cxn ang="0">
                  <a:pos x="734" y="1169"/>
                </a:cxn>
                <a:cxn ang="0">
                  <a:pos x="734" y="1114"/>
                </a:cxn>
                <a:cxn ang="0">
                  <a:pos x="703" y="1033"/>
                </a:cxn>
                <a:cxn ang="0">
                  <a:pos x="703" y="977"/>
                </a:cxn>
                <a:cxn ang="0">
                  <a:pos x="703" y="920"/>
                </a:cxn>
                <a:cxn ang="0">
                  <a:pos x="678" y="896"/>
                </a:cxn>
                <a:cxn ang="0">
                  <a:pos x="703" y="839"/>
                </a:cxn>
                <a:cxn ang="0">
                  <a:pos x="654" y="815"/>
                </a:cxn>
                <a:cxn ang="0">
                  <a:pos x="654" y="759"/>
                </a:cxn>
                <a:cxn ang="0">
                  <a:pos x="623" y="709"/>
                </a:cxn>
                <a:cxn ang="0">
                  <a:pos x="566" y="678"/>
                </a:cxn>
                <a:cxn ang="0">
                  <a:pos x="517" y="654"/>
                </a:cxn>
                <a:cxn ang="0">
                  <a:pos x="460" y="597"/>
                </a:cxn>
                <a:cxn ang="0">
                  <a:pos x="405" y="572"/>
                </a:cxn>
                <a:cxn ang="0">
                  <a:pos x="379" y="517"/>
                </a:cxn>
                <a:cxn ang="0">
                  <a:pos x="323" y="460"/>
                </a:cxn>
                <a:cxn ang="0">
                  <a:pos x="242" y="410"/>
                </a:cxn>
                <a:cxn ang="0">
                  <a:pos x="218" y="379"/>
                </a:cxn>
                <a:cxn ang="0">
                  <a:pos x="162" y="273"/>
                </a:cxn>
                <a:cxn ang="0">
                  <a:pos x="106" y="218"/>
                </a:cxn>
                <a:cxn ang="0">
                  <a:pos x="0" y="193"/>
                </a:cxn>
                <a:cxn ang="0">
                  <a:pos x="50" y="106"/>
                </a:cxn>
                <a:cxn ang="0">
                  <a:pos x="162" y="57"/>
                </a:cxn>
                <a:cxn ang="0">
                  <a:pos x="268" y="57"/>
                </a:cxn>
                <a:cxn ang="0">
                  <a:pos x="349" y="24"/>
                </a:cxn>
                <a:cxn ang="0">
                  <a:pos x="486" y="57"/>
                </a:cxn>
                <a:cxn ang="0">
                  <a:pos x="517" y="81"/>
                </a:cxn>
                <a:cxn ang="0">
                  <a:pos x="566" y="106"/>
                </a:cxn>
                <a:cxn ang="0">
                  <a:pos x="678" y="57"/>
                </a:cxn>
                <a:cxn ang="0">
                  <a:pos x="734" y="106"/>
                </a:cxn>
                <a:cxn ang="0">
                  <a:pos x="841" y="106"/>
                </a:cxn>
                <a:cxn ang="0">
                  <a:pos x="865" y="242"/>
                </a:cxn>
                <a:cxn ang="0">
                  <a:pos x="896" y="323"/>
                </a:cxn>
                <a:cxn ang="0">
                  <a:pos x="1002" y="379"/>
                </a:cxn>
                <a:cxn ang="0">
                  <a:pos x="1033" y="323"/>
                </a:cxn>
                <a:cxn ang="0">
                  <a:pos x="1058" y="491"/>
                </a:cxn>
                <a:cxn ang="0">
                  <a:pos x="1083" y="517"/>
                </a:cxn>
                <a:cxn ang="0">
                  <a:pos x="1163" y="541"/>
                </a:cxn>
                <a:cxn ang="0">
                  <a:pos x="1275" y="709"/>
                </a:cxn>
                <a:cxn ang="0">
                  <a:pos x="1381" y="678"/>
                </a:cxn>
                <a:cxn ang="0">
                  <a:pos x="1332" y="759"/>
                </a:cxn>
                <a:cxn ang="0">
                  <a:pos x="1220" y="734"/>
                </a:cxn>
                <a:cxn ang="0">
                  <a:pos x="1139" y="759"/>
                </a:cxn>
                <a:cxn ang="0">
                  <a:pos x="1083" y="759"/>
                </a:cxn>
                <a:cxn ang="0">
                  <a:pos x="1058" y="815"/>
                </a:cxn>
                <a:cxn ang="0">
                  <a:pos x="1002" y="759"/>
                </a:cxn>
                <a:cxn ang="0">
                  <a:pos x="952" y="815"/>
                </a:cxn>
                <a:cxn ang="0">
                  <a:pos x="977" y="896"/>
                </a:cxn>
                <a:cxn ang="0">
                  <a:pos x="1033" y="1008"/>
                </a:cxn>
                <a:cxn ang="0">
                  <a:pos x="977" y="1088"/>
                </a:cxn>
                <a:cxn ang="0">
                  <a:pos x="921" y="1219"/>
                </a:cxn>
                <a:cxn ang="0">
                  <a:pos x="952" y="1275"/>
                </a:cxn>
                <a:cxn ang="0">
                  <a:pos x="896" y="1332"/>
                </a:cxn>
                <a:cxn ang="0">
                  <a:pos x="815" y="1356"/>
                </a:cxn>
              </a:cxnLst>
              <a:rect l="0" t="0" r="r" b="b"/>
              <a:pathLst>
                <a:path w="1381" h="1356">
                  <a:moveTo>
                    <a:pt x="815" y="1356"/>
                  </a:moveTo>
                  <a:lnTo>
                    <a:pt x="784" y="1356"/>
                  </a:lnTo>
                  <a:lnTo>
                    <a:pt x="784" y="1332"/>
                  </a:lnTo>
                  <a:lnTo>
                    <a:pt x="759" y="1332"/>
                  </a:lnTo>
                  <a:lnTo>
                    <a:pt x="759" y="1306"/>
                  </a:lnTo>
                  <a:lnTo>
                    <a:pt x="784" y="1306"/>
                  </a:lnTo>
                  <a:lnTo>
                    <a:pt x="784" y="1275"/>
                  </a:lnTo>
                  <a:lnTo>
                    <a:pt x="759" y="1250"/>
                  </a:lnTo>
                  <a:lnTo>
                    <a:pt x="734" y="1219"/>
                  </a:lnTo>
                  <a:lnTo>
                    <a:pt x="734" y="1169"/>
                  </a:lnTo>
                  <a:lnTo>
                    <a:pt x="703" y="1138"/>
                  </a:lnTo>
                  <a:lnTo>
                    <a:pt x="734" y="1114"/>
                  </a:lnTo>
                  <a:lnTo>
                    <a:pt x="703" y="1057"/>
                  </a:lnTo>
                  <a:lnTo>
                    <a:pt x="703" y="1033"/>
                  </a:lnTo>
                  <a:lnTo>
                    <a:pt x="678" y="1008"/>
                  </a:lnTo>
                  <a:lnTo>
                    <a:pt x="703" y="977"/>
                  </a:lnTo>
                  <a:lnTo>
                    <a:pt x="703" y="951"/>
                  </a:lnTo>
                  <a:lnTo>
                    <a:pt x="703" y="920"/>
                  </a:lnTo>
                  <a:lnTo>
                    <a:pt x="703" y="896"/>
                  </a:lnTo>
                  <a:lnTo>
                    <a:pt x="678" y="896"/>
                  </a:lnTo>
                  <a:lnTo>
                    <a:pt x="678" y="870"/>
                  </a:lnTo>
                  <a:lnTo>
                    <a:pt x="703" y="839"/>
                  </a:lnTo>
                  <a:lnTo>
                    <a:pt x="678" y="815"/>
                  </a:lnTo>
                  <a:lnTo>
                    <a:pt x="654" y="815"/>
                  </a:lnTo>
                  <a:lnTo>
                    <a:pt x="654" y="790"/>
                  </a:lnTo>
                  <a:lnTo>
                    <a:pt x="654" y="759"/>
                  </a:lnTo>
                  <a:lnTo>
                    <a:pt x="623" y="734"/>
                  </a:lnTo>
                  <a:lnTo>
                    <a:pt x="623" y="709"/>
                  </a:lnTo>
                  <a:lnTo>
                    <a:pt x="597" y="678"/>
                  </a:lnTo>
                  <a:lnTo>
                    <a:pt x="566" y="678"/>
                  </a:lnTo>
                  <a:lnTo>
                    <a:pt x="541" y="678"/>
                  </a:lnTo>
                  <a:lnTo>
                    <a:pt x="517" y="654"/>
                  </a:lnTo>
                  <a:lnTo>
                    <a:pt x="486" y="654"/>
                  </a:lnTo>
                  <a:lnTo>
                    <a:pt x="460" y="597"/>
                  </a:lnTo>
                  <a:lnTo>
                    <a:pt x="436" y="572"/>
                  </a:lnTo>
                  <a:lnTo>
                    <a:pt x="405" y="572"/>
                  </a:lnTo>
                  <a:lnTo>
                    <a:pt x="379" y="541"/>
                  </a:lnTo>
                  <a:lnTo>
                    <a:pt x="379" y="517"/>
                  </a:lnTo>
                  <a:lnTo>
                    <a:pt x="349" y="517"/>
                  </a:lnTo>
                  <a:lnTo>
                    <a:pt x="323" y="460"/>
                  </a:lnTo>
                  <a:lnTo>
                    <a:pt x="299" y="436"/>
                  </a:lnTo>
                  <a:lnTo>
                    <a:pt x="242" y="410"/>
                  </a:lnTo>
                  <a:lnTo>
                    <a:pt x="242" y="379"/>
                  </a:lnTo>
                  <a:lnTo>
                    <a:pt x="218" y="379"/>
                  </a:lnTo>
                  <a:lnTo>
                    <a:pt x="218" y="354"/>
                  </a:lnTo>
                  <a:lnTo>
                    <a:pt x="162" y="273"/>
                  </a:lnTo>
                  <a:lnTo>
                    <a:pt x="137" y="242"/>
                  </a:lnTo>
                  <a:lnTo>
                    <a:pt x="106" y="218"/>
                  </a:lnTo>
                  <a:lnTo>
                    <a:pt x="50" y="193"/>
                  </a:lnTo>
                  <a:lnTo>
                    <a:pt x="0" y="193"/>
                  </a:lnTo>
                  <a:lnTo>
                    <a:pt x="0" y="81"/>
                  </a:lnTo>
                  <a:lnTo>
                    <a:pt x="50" y="106"/>
                  </a:lnTo>
                  <a:lnTo>
                    <a:pt x="137" y="81"/>
                  </a:lnTo>
                  <a:lnTo>
                    <a:pt x="162" y="57"/>
                  </a:lnTo>
                  <a:lnTo>
                    <a:pt x="187" y="24"/>
                  </a:lnTo>
                  <a:lnTo>
                    <a:pt x="268" y="57"/>
                  </a:lnTo>
                  <a:lnTo>
                    <a:pt x="299" y="0"/>
                  </a:lnTo>
                  <a:lnTo>
                    <a:pt x="349" y="24"/>
                  </a:lnTo>
                  <a:lnTo>
                    <a:pt x="379" y="57"/>
                  </a:lnTo>
                  <a:lnTo>
                    <a:pt x="486" y="57"/>
                  </a:lnTo>
                  <a:lnTo>
                    <a:pt x="541" y="24"/>
                  </a:lnTo>
                  <a:lnTo>
                    <a:pt x="517" y="81"/>
                  </a:lnTo>
                  <a:lnTo>
                    <a:pt x="541" y="57"/>
                  </a:lnTo>
                  <a:lnTo>
                    <a:pt x="566" y="106"/>
                  </a:lnTo>
                  <a:lnTo>
                    <a:pt x="597" y="57"/>
                  </a:lnTo>
                  <a:lnTo>
                    <a:pt x="678" y="57"/>
                  </a:lnTo>
                  <a:lnTo>
                    <a:pt x="703" y="57"/>
                  </a:lnTo>
                  <a:lnTo>
                    <a:pt x="734" y="106"/>
                  </a:lnTo>
                  <a:lnTo>
                    <a:pt x="815" y="81"/>
                  </a:lnTo>
                  <a:lnTo>
                    <a:pt x="841" y="106"/>
                  </a:lnTo>
                  <a:lnTo>
                    <a:pt x="841" y="193"/>
                  </a:lnTo>
                  <a:lnTo>
                    <a:pt x="865" y="242"/>
                  </a:lnTo>
                  <a:lnTo>
                    <a:pt x="841" y="273"/>
                  </a:lnTo>
                  <a:lnTo>
                    <a:pt x="896" y="323"/>
                  </a:lnTo>
                  <a:lnTo>
                    <a:pt x="977" y="354"/>
                  </a:lnTo>
                  <a:lnTo>
                    <a:pt x="1002" y="379"/>
                  </a:lnTo>
                  <a:lnTo>
                    <a:pt x="1002" y="323"/>
                  </a:lnTo>
                  <a:lnTo>
                    <a:pt x="1033" y="323"/>
                  </a:lnTo>
                  <a:lnTo>
                    <a:pt x="1033" y="410"/>
                  </a:lnTo>
                  <a:lnTo>
                    <a:pt x="1058" y="491"/>
                  </a:lnTo>
                  <a:lnTo>
                    <a:pt x="1083" y="460"/>
                  </a:lnTo>
                  <a:lnTo>
                    <a:pt x="1083" y="517"/>
                  </a:lnTo>
                  <a:lnTo>
                    <a:pt x="1083" y="541"/>
                  </a:lnTo>
                  <a:lnTo>
                    <a:pt x="1163" y="541"/>
                  </a:lnTo>
                  <a:lnTo>
                    <a:pt x="1251" y="541"/>
                  </a:lnTo>
                  <a:lnTo>
                    <a:pt x="1275" y="709"/>
                  </a:lnTo>
                  <a:lnTo>
                    <a:pt x="1332" y="709"/>
                  </a:lnTo>
                  <a:lnTo>
                    <a:pt x="1381" y="678"/>
                  </a:lnTo>
                  <a:lnTo>
                    <a:pt x="1357" y="734"/>
                  </a:lnTo>
                  <a:lnTo>
                    <a:pt x="1332" y="759"/>
                  </a:lnTo>
                  <a:lnTo>
                    <a:pt x="1275" y="759"/>
                  </a:lnTo>
                  <a:lnTo>
                    <a:pt x="1220" y="734"/>
                  </a:lnTo>
                  <a:lnTo>
                    <a:pt x="1163" y="790"/>
                  </a:lnTo>
                  <a:lnTo>
                    <a:pt x="1139" y="759"/>
                  </a:lnTo>
                  <a:lnTo>
                    <a:pt x="1114" y="790"/>
                  </a:lnTo>
                  <a:lnTo>
                    <a:pt x="1083" y="759"/>
                  </a:lnTo>
                  <a:lnTo>
                    <a:pt x="1058" y="790"/>
                  </a:lnTo>
                  <a:lnTo>
                    <a:pt x="1058" y="815"/>
                  </a:lnTo>
                  <a:lnTo>
                    <a:pt x="1033" y="734"/>
                  </a:lnTo>
                  <a:lnTo>
                    <a:pt x="1002" y="759"/>
                  </a:lnTo>
                  <a:lnTo>
                    <a:pt x="1002" y="790"/>
                  </a:lnTo>
                  <a:lnTo>
                    <a:pt x="952" y="815"/>
                  </a:lnTo>
                  <a:lnTo>
                    <a:pt x="1002" y="839"/>
                  </a:lnTo>
                  <a:lnTo>
                    <a:pt x="977" y="896"/>
                  </a:lnTo>
                  <a:lnTo>
                    <a:pt x="1033" y="951"/>
                  </a:lnTo>
                  <a:lnTo>
                    <a:pt x="1033" y="1008"/>
                  </a:lnTo>
                  <a:lnTo>
                    <a:pt x="1002" y="1033"/>
                  </a:lnTo>
                  <a:lnTo>
                    <a:pt x="977" y="1088"/>
                  </a:lnTo>
                  <a:lnTo>
                    <a:pt x="977" y="1114"/>
                  </a:lnTo>
                  <a:lnTo>
                    <a:pt x="921" y="1219"/>
                  </a:lnTo>
                  <a:lnTo>
                    <a:pt x="921" y="1250"/>
                  </a:lnTo>
                  <a:lnTo>
                    <a:pt x="952" y="1275"/>
                  </a:lnTo>
                  <a:lnTo>
                    <a:pt x="952" y="1332"/>
                  </a:lnTo>
                  <a:lnTo>
                    <a:pt x="896" y="1332"/>
                  </a:lnTo>
                  <a:lnTo>
                    <a:pt x="865" y="1306"/>
                  </a:lnTo>
                  <a:lnTo>
                    <a:pt x="815" y="1356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55" name="Freeform 95">
              <a:extLst>
                <a:ext uri="{FF2B5EF4-FFF2-40B4-BE49-F238E27FC236}">
                  <a16:creationId xmlns:a16="http://schemas.microsoft.com/office/drawing/2014/main" id="{C05C0BDB-0234-4E44-91BC-0FCCE34B74B1}"/>
                </a:ext>
              </a:extLst>
            </p:cNvPr>
            <p:cNvSpPr>
              <a:spLocks/>
            </p:cNvSpPr>
            <p:nvPr/>
          </p:nvSpPr>
          <p:spPr bwMode="gray">
            <a:xfrm>
              <a:off x="9362793" y="2853502"/>
              <a:ext cx="1864591" cy="1337987"/>
            </a:xfrm>
            <a:custGeom>
              <a:avLst/>
              <a:gdLst/>
              <a:ahLst/>
              <a:cxnLst>
                <a:cxn ang="0">
                  <a:pos x="57" y="2628"/>
                </a:cxn>
                <a:cxn ang="0">
                  <a:pos x="168" y="2492"/>
                </a:cxn>
                <a:cxn ang="0">
                  <a:pos x="194" y="2114"/>
                </a:cxn>
                <a:cxn ang="0">
                  <a:pos x="410" y="1817"/>
                </a:cxn>
                <a:cxn ang="0">
                  <a:pos x="436" y="1600"/>
                </a:cxn>
                <a:cxn ang="0">
                  <a:pos x="299" y="1407"/>
                </a:cxn>
                <a:cxn ang="0">
                  <a:pos x="249" y="1246"/>
                </a:cxn>
                <a:cxn ang="0">
                  <a:pos x="951" y="924"/>
                </a:cxn>
                <a:cxn ang="0">
                  <a:pos x="1361" y="1004"/>
                </a:cxn>
                <a:cxn ang="0">
                  <a:pos x="1660" y="979"/>
                </a:cxn>
                <a:cxn ang="0">
                  <a:pos x="2095" y="813"/>
                </a:cxn>
                <a:cxn ang="0">
                  <a:pos x="2201" y="595"/>
                </a:cxn>
                <a:cxn ang="0">
                  <a:pos x="2524" y="354"/>
                </a:cxn>
                <a:cxn ang="0">
                  <a:pos x="2853" y="31"/>
                </a:cxn>
                <a:cxn ang="0">
                  <a:pos x="3257" y="249"/>
                </a:cxn>
                <a:cxn ang="0">
                  <a:pos x="3667" y="490"/>
                </a:cxn>
                <a:cxn ang="0">
                  <a:pos x="3910" y="682"/>
                </a:cxn>
                <a:cxn ang="0">
                  <a:pos x="4314" y="490"/>
                </a:cxn>
                <a:cxn ang="0">
                  <a:pos x="4612" y="546"/>
                </a:cxn>
                <a:cxn ang="0">
                  <a:pos x="5023" y="546"/>
                </a:cxn>
                <a:cxn ang="0">
                  <a:pos x="5377" y="626"/>
                </a:cxn>
                <a:cxn ang="0">
                  <a:pos x="5377" y="1004"/>
                </a:cxn>
                <a:cxn ang="0">
                  <a:pos x="5538" y="1277"/>
                </a:cxn>
                <a:cxn ang="0">
                  <a:pos x="5209" y="1841"/>
                </a:cxn>
                <a:cxn ang="0">
                  <a:pos x="4966" y="2114"/>
                </a:cxn>
                <a:cxn ang="0">
                  <a:pos x="4724" y="2331"/>
                </a:cxn>
                <a:cxn ang="0">
                  <a:pos x="4426" y="2492"/>
                </a:cxn>
                <a:cxn ang="0">
                  <a:pos x="4395" y="2597"/>
                </a:cxn>
                <a:cxn ang="0">
                  <a:pos x="4482" y="2951"/>
                </a:cxn>
                <a:cxn ang="0">
                  <a:pos x="4861" y="2926"/>
                </a:cxn>
                <a:cxn ang="0">
                  <a:pos x="5047" y="3031"/>
                </a:cxn>
                <a:cxn ang="0">
                  <a:pos x="4693" y="3280"/>
                </a:cxn>
                <a:cxn ang="0">
                  <a:pos x="4451" y="3577"/>
                </a:cxn>
                <a:cxn ang="0">
                  <a:pos x="4096" y="3682"/>
                </a:cxn>
                <a:cxn ang="0">
                  <a:pos x="3910" y="3360"/>
                </a:cxn>
                <a:cxn ang="0">
                  <a:pos x="3854" y="3143"/>
                </a:cxn>
                <a:cxn ang="0">
                  <a:pos x="3991" y="3031"/>
                </a:cxn>
                <a:cxn ang="0">
                  <a:pos x="3748" y="2982"/>
                </a:cxn>
                <a:cxn ang="0">
                  <a:pos x="3370" y="3087"/>
                </a:cxn>
                <a:cxn ang="0">
                  <a:pos x="3289" y="2951"/>
                </a:cxn>
                <a:cxn ang="0">
                  <a:pos x="3394" y="2902"/>
                </a:cxn>
                <a:cxn ang="0">
                  <a:pos x="3313" y="2790"/>
                </a:cxn>
                <a:cxn ang="0">
                  <a:pos x="3176" y="2871"/>
                </a:cxn>
                <a:cxn ang="0">
                  <a:pos x="2990" y="3087"/>
                </a:cxn>
                <a:cxn ang="0">
                  <a:pos x="2879" y="3223"/>
                </a:cxn>
                <a:cxn ang="0">
                  <a:pos x="2934" y="3360"/>
                </a:cxn>
                <a:cxn ang="0">
                  <a:pos x="2772" y="3627"/>
                </a:cxn>
                <a:cxn ang="0">
                  <a:pos x="2772" y="3738"/>
                </a:cxn>
                <a:cxn ang="0">
                  <a:pos x="2555" y="3899"/>
                </a:cxn>
                <a:cxn ang="0">
                  <a:pos x="2393" y="3763"/>
                </a:cxn>
                <a:cxn ang="0">
                  <a:pos x="2393" y="3304"/>
                </a:cxn>
                <a:cxn ang="0">
                  <a:pos x="2661" y="3223"/>
                </a:cxn>
                <a:cxn ang="0">
                  <a:pos x="2524" y="3007"/>
                </a:cxn>
                <a:cxn ang="0">
                  <a:pos x="2307" y="2733"/>
                </a:cxn>
                <a:cxn ang="0">
                  <a:pos x="1959" y="2573"/>
                </a:cxn>
                <a:cxn ang="0">
                  <a:pos x="1492" y="2597"/>
                </a:cxn>
                <a:cxn ang="0">
                  <a:pos x="1169" y="2902"/>
                </a:cxn>
                <a:cxn ang="0">
                  <a:pos x="927" y="3031"/>
                </a:cxn>
                <a:cxn ang="0">
                  <a:pos x="628" y="3007"/>
                </a:cxn>
                <a:cxn ang="0">
                  <a:pos x="355" y="3007"/>
                </a:cxn>
                <a:cxn ang="0">
                  <a:pos x="194" y="3007"/>
                </a:cxn>
              </a:cxnLst>
              <a:rect l="0" t="0" r="r" b="b"/>
              <a:pathLst>
                <a:path w="5538" h="3924">
                  <a:moveTo>
                    <a:pt x="0" y="2902"/>
                  </a:moveTo>
                  <a:lnTo>
                    <a:pt x="0" y="2871"/>
                  </a:lnTo>
                  <a:lnTo>
                    <a:pt x="0" y="2814"/>
                  </a:lnTo>
                  <a:lnTo>
                    <a:pt x="31" y="2790"/>
                  </a:lnTo>
                  <a:lnTo>
                    <a:pt x="57" y="2764"/>
                  </a:lnTo>
                  <a:lnTo>
                    <a:pt x="57" y="2733"/>
                  </a:lnTo>
                  <a:lnTo>
                    <a:pt x="57" y="2709"/>
                  </a:lnTo>
                  <a:lnTo>
                    <a:pt x="57" y="2684"/>
                  </a:lnTo>
                  <a:lnTo>
                    <a:pt x="57" y="2653"/>
                  </a:lnTo>
                  <a:lnTo>
                    <a:pt x="57" y="2628"/>
                  </a:lnTo>
                  <a:lnTo>
                    <a:pt x="88" y="2597"/>
                  </a:lnTo>
                  <a:lnTo>
                    <a:pt x="88" y="2573"/>
                  </a:lnTo>
                  <a:lnTo>
                    <a:pt x="88" y="2548"/>
                  </a:lnTo>
                  <a:lnTo>
                    <a:pt x="112" y="2548"/>
                  </a:lnTo>
                  <a:lnTo>
                    <a:pt x="137" y="2548"/>
                  </a:lnTo>
                  <a:lnTo>
                    <a:pt x="137" y="2573"/>
                  </a:lnTo>
                  <a:lnTo>
                    <a:pt x="168" y="2548"/>
                  </a:lnTo>
                  <a:lnTo>
                    <a:pt x="218" y="2573"/>
                  </a:lnTo>
                  <a:lnTo>
                    <a:pt x="194" y="2517"/>
                  </a:lnTo>
                  <a:lnTo>
                    <a:pt x="168" y="2492"/>
                  </a:lnTo>
                  <a:lnTo>
                    <a:pt x="137" y="2492"/>
                  </a:lnTo>
                  <a:lnTo>
                    <a:pt x="168" y="2436"/>
                  </a:lnTo>
                  <a:lnTo>
                    <a:pt x="137" y="2386"/>
                  </a:lnTo>
                  <a:lnTo>
                    <a:pt x="112" y="2355"/>
                  </a:lnTo>
                  <a:lnTo>
                    <a:pt x="112" y="2331"/>
                  </a:lnTo>
                  <a:lnTo>
                    <a:pt x="112" y="2300"/>
                  </a:lnTo>
                  <a:lnTo>
                    <a:pt x="112" y="2276"/>
                  </a:lnTo>
                  <a:lnTo>
                    <a:pt x="112" y="2250"/>
                  </a:lnTo>
                  <a:lnTo>
                    <a:pt x="137" y="2219"/>
                  </a:lnTo>
                  <a:lnTo>
                    <a:pt x="194" y="2114"/>
                  </a:lnTo>
                  <a:lnTo>
                    <a:pt x="194" y="2089"/>
                  </a:lnTo>
                  <a:lnTo>
                    <a:pt x="218" y="2058"/>
                  </a:lnTo>
                  <a:lnTo>
                    <a:pt x="249" y="2033"/>
                  </a:lnTo>
                  <a:lnTo>
                    <a:pt x="249" y="2002"/>
                  </a:lnTo>
                  <a:lnTo>
                    <a:pt x="274" y="2002"/>
                  </a:lnTo>
                  <a:lnTo>
                    <a:pt x="299" y="1922"/>
                  </a:lnTo>
                  <a:lnTo>
                    <a:pt x="330" y="1897"/>
                  </a:lnTo>
                  <a:lnTo>
                    <a:pt x="355" y="1872"/>
                  </a:lnTo>
                  <a:lnTo>
                    <a:pt x="386" y="1841"/>
                  </a:lnTo>
                  <a:lnTo>
                    <a:pt x="410" y="1817"/>
                  </a:lnTo>
                  <a:lnTo>
                    <a:pt x="467" y="1817"/>
                  </a:lnTo>
                  <a:lnTo>
                    <a:pt x="467" y="1791"/>
                  </a:lnTo>
                  <a:lnTo>
                    <a:pt x="467" y="1760"/>
                  </a:lnTo>
                  <a:lnTo>
                    <a:pt x="467" y="1705"/>
                  </a:lnTo>
                  <a:lnTo>
                    <a:pt x="467" y="1680"/>
                  </a:lnTo>
                  <a:lnTo>
                    <a:pt x="467" y="1655"/>
                  </a:lnTo>
                  <a:lnTo>
                    <a:pt x="436" y="1655"/>
                  </a:lnTo>
                  <a:lnTo>
                    <a:pt x="436" y="1624"/>
                  </a:lnTo>
                  <a:lnTo>
                    <a:pt x="410" y="1624"/>
                  </a:lnTo>
                  <a:lnTo>
                    <a:pt x="436" y="1600"/>
                  </a:lnTo>
                  <a:lnTo>
                    <a:pt x="467" y="1600"/>
                  </a:lnTo>
                  <a:lnTo>
                    <a:pt x="467" y="1574"/>
                  </a:lnTo>
                  <a:lnTo>
                    <a:pt x="436" y="1574"/>
                  </a:lnTo>
                  <a:lnTo>
                    <a:pt x="410" y="1574"/>
                  </a:lnTo>
                  <a:lnTo>
                    <a:pt x="386" y="1543"/>
                  </a:lnTo>
                  <a:lnTo>
                    <a:pt x="386" y="1494"/>
                  </a:lnTo>
                  <a:lnTo>
                    <a:pt x="355" y="1494"/>
                  </a:lnTo>
                  <a:lnTo>
                    <a:pt x="355" y="1463"/>
                  </a:lnTo>
                  <a:lnTo>
                    <a:pt x="299" y="1438"/>
                  </a:lnTo>
                  <a:lnTo>
                    <a:pt x="299" y="1407"/>
                  </a:lnTo>
                  <a:lnTo>
                    <a:pt x="274" y="1407"/>
                  </a:lnTo>
                  <a:lnTo>
                    <a:pt x="274" y="1382"/>
                  </a:lnTo>
                  <a:lnTo>
                    <a:pt x="274" y="1358"/>
                  </a:lnTo>
                  <a:lnTo>
                    <a:pt x="274" y="1327"/>
                  </a:lnTo>
                  <a:lnTo>
                    <a:pt x="249" y="1327"/>
                  </a:lnTo>
                  <a:lnTo>
                    <a:pt x="249" y="1301"/>
                  </a:lnTo>
                  <a:lnTo>
                    <a:pt x="218" y="1301"/>
                  </a:lnTo>
                  <a:lnTo>
                    <a:pt x="194" y="1222"/>
                  </a:lnTo>
                  <a:lnTo>
                    <a:pt x="274" y="1222"/>
                  </a:lnTo>
                  <a:lnTo>
                    <a:pt x="249" y="1246"/>
                  </a:lnTo>
                  <a:lnTo>
                    <a:pt x="299" y="1246"/>
                  </a:lnTo>
                  <a:lnTo>
                    <a:pt x="330" y="1191"/>
                  </a:lnTo>
                  <a:lnTo>
                    <a:pt x="355" y="1165"/>
                  </a:lnTo>
                  <a:lnTo>
                    <a:pt x="355" y="1085"/>
                  </a:lnTo>
                  <a:lnTo>
                    <a:pt x="436" y="1060"/>
                  </a:lnTo>
                  <a:lnTo>
                    <a:pt x="597" y="979"/>
                  </a:lnTo>
                  <a:lnTo>
                    <a:pt x="685" y="949"/>
                  </a:lnTo>
                  <a:lnTo>
                    <a:pt x="846" y="924"/>
                  </a:lnTo>
                  <a:lnTo>
                    <a:pt x="870" y="949"/>
                  </a:lnTo>
                  <a:lnTo>
                    <a:pt x="951" y="924"/>
                  </a:lnTo>
                  <a:lnTo>
                    <a:pt x="982" y="979"/>
                  </a:lnTo>
                  <a:lnTo>
                    <a:pt x="1032" y="949"/>
                  </a:lnTo>
                  <a:lnTo>
                    <a:pt x="1145" y="949"/>
                  </a:lnTo>
                  <a:lnTo>
                    <a:pt x="1145" y="924"/>
                  </a:lnTo>
                  <a:lnTo>
                    <a:pt x="1193" y="924"/>
                  </a:lnTo>
                  <a:lnTo>
                    <a:pt x="1193" y="949"/>
                  </a:lnTo>
                  <a:lnTo>
                    <a:pt x="1250" y="979"/>
                  </a:lnTo>
                  <a:lnTo>
                    <a:pt x="1306" y="979"/>
                  </a:lnTo>
                  <a:lnTo>
                    <a:pt x="1361" y="979"/>
                  </a:lnTo>
                  <a:lnTo>
                    <a:pt x="1361" y="1004"/>
                  </a:lnTo>
                  <a:lnTo>
                    <a:pt x="1387" y="1004"/>
                  </a:lnTo>
                  <a:lnTo>
                    <a:pt x="1387" y="949"/>
                  </a:lnTo>
                  <a:lnTo>
                    <a:pt x="1411" y="924"/>
                  </a:lnTo>
                  <a:lnTo>
                    <a:pt x="1411" y="949"/>
                  </a:lnTo>
                  <a:lnTo>
                    <a:pt x="1468" y="949"/>
                  </a:lnTo>
                  <a:lnTo>
                    <a:pt x="1492" y="893"/>
                  </a:lnTo>
                  <a:lnTo>
                    <a:pt x="1548" y="949"/>
                  </a:lnTo>
                  <a:lnTo>
                    <a:pt x="1604" y="924"/>
                  </a:lnTo>
                  <a:lnTo>
                    <a:pt x="1629" y="893"/>
                  </a:lnTo>
                  <a:lnTo>
                    <a:pt x="1660" y="979"/>
                  </a:lnTo>
                  <a:lnTo>
                    <a:pt x="1684" y="979"/>
                  </a:lnTo>
                  <a:lnTo>
                    <a:pt x="1684" y="893"/>
                  </a:lnTo>
                  <a:lnTo>
                    <a:pt x="1766" y="843"/>
                  </a:lnTo>
                  <a:lnTo>
                    <a:pt x="1821" y="893"/>
                  </a:lnTo>
                  <a:lnTo>
                    <a:pt x="1847" y="924"/>
                  </a:lnTo>
                  <a:lnTo>
                    <a:pt x="1902" y="924"/>
                  </a:lnTo>
                  <a:lnTo>
                    <a:pt x="1959" y="843"/>
                  </a:lnTo>
                  <a:lnTo>
                    <a:pt x="1983" y="868"/>
                  </a:lnTo>
                  <a:lnTo>
                    <a:pt x="2039" y="868"/>
                  </a:lnTo>
                  <a:lnTo>
                    <a:pt x="2095" y="813"/>
                  </a:lnTo>
                  <a:lnTo>
                    <a:pt x="2144" y="843"/>
                  </a:lnTo>
                  <a:lnTo>
                    <a:pt x="2176" y="868"/>
                  </a:lnTo>
                  <a:lnTo>
                    <a:pt x="2225" y="893"/>
                  </a:lnTo>
                  <a:lnTo>
                    <a:pt x="2225" y="868"/>
                  </a:lnTo>
                  <a:lnTo>
                    <a:pt x="2257" y="813"/>
                  </a:lnTo>
                  <a:lnTo>
                    <a:pt x="2225" y="787"/>
                  </a:lnTo>
                  <a:lnTo>
                    <a:pt x="2201" y="763"/>
                  </a:lnTo>
                  <a:lnTo>
                    <a:pt x="2176" y="732"/>
                  </a:lnTo>
                  <a:lnTo>
                    <a:pt x="2201" y="651"/>
                  </a:lnTo>
                  <a:lnTo>
                    <a:pt x="2201" y="595"/>
                  </a:lnTo>
                  <a:lnTo>
                    <a:pt x="2201" y="570"/>
                  </a:lnTo>
                  <a:lnTo>
                    <a:pt x="2201" y="515"/>
                  </a:lnTo>
                  <a:lnTo>
                    <a:pt x="2225" y="515"/>
                  </a:lnTo>
                  <a:lnTo>
                    <a:pt x="2225" y="490"/>
                  </a:lnTo>
                  <a:lnTo>
                    <a:pt x="2225" y="465"/>
                  </a:lnTo>
                  <a:lnTo>
                    <a:pt x="2307" y="434"/>
                  </a:lnTo>
                  <a:lnTo>
                    <a:pt x="2338" y="385"/>
                  </a:lnTo>
                  <a:lnTo>
                    <a:pt x="2362" y="385"/>
                  </a:lnTo>
                  <a:lnTo>
                    <a:pt x="2474" y="354"/>
                  </a:lnTo>
                  <a:lnTo>
                    <a:pt x="2524" y="354"/>
                  </a:lnTo>
                  <a:lnTo>
                    <a:pt x="2555" y="328"/>
                  </a:lnTo>
                  <a:lnTo>
                    <a:pt x="2604" y="273"/>
                  </a:lnTo>
                  <a:lnTo>
                    <a:pt x="2580" y="216"/>
                  </a:lnTo>
                  <a:lnTo>
                    <a:pt x="2580" y="168"/>
                  </a:lnTo>
                  <a:lnTo>
                    <a:pt x="2635" y="168"/>
                  </a:lnTo>
                  <a:lnTo>
                    <a:pt x="2692" y="168"/>
                  </a:lnTo>
                  <a:lnTo>
                    <a:pt x="2741" y="168"/>
                  </a:lnTo>
                  <a:lnTo>
                    <a:pt x="2772" y="80"/>
                  </a:lnTo>
                  <a:lnTo>
                    <a:pt x="2798" y="56"/>
                  </a:lnTo>
                  <a:lnTo>
                    <a:pt x="2853" y="31"/>
                  </a:lnTo>
                  <a:lnTo>
                    <a:pt x="2879" y="31"/>
                  </a:lnTo>
                  <a:lnTo>
                    <a:pt x="2934" y="31"/>
                  </a:lnTo>
                  <a:lnTo>
                    <a:pt x="2959" y="0"/>
                  </a:lnTo>
                  <a:lnTo>
                    <a:pt x="3071" y="56"/>
                  </a:lnTo>
                  <a:lnTo>
                    <a:pt x="3095" y="137"/>
                  </a:lnTo>
                  <a:lnTo>
                    <a:pt x="3152" y="168"/>
                  </a:lnTo>
                  <a:lnTo>
                    <a:pt x="3176" y="216"/>
                  </a:lnTo>
                  <a:lnTo>
                    <a:pt x="3202" y="192"/>
                  </a:lnTo>
                  <a:lnTo>
                    <a:pt x="3232" y="216"/>
                  </a:lnTo>
                  <a:lnTo>
                    <a:pt x="3257" y="249"/>
                  </a:lnTo>
                  <a:lnTo>
                    <a:pt x="3176" y="297"/>
                  </a:lnTo>
                  <a:lnTo>
                    <a:pt x="3257" y="354"/>
                  </a:lnTo>
                  <a:lnTo>
                    <a:pt x="3289" y="490"/>
                  </a:lnTo>
                  <a:lnTo>
                    <a:pt x="3394" y="465"/>
                  </a:lnTo>
                  <a:lnTo>
                    <a:pt x="3419" y="490"/>
                  </a:lnTo>
                  <a:lnTo>
                    <a:pt x="3475" y="465"/>
                  </a:lnTo>
                  <a:lnTo>
                    <a:pt x="3555" y="385"/>
                  </a:lnTo>
                  <a:lnTo>
                    <a:pt x="3612" y="490"/>
                  </a:lnTo>
                  <a:lnTo>
                    <a:pt x="3667" y="465"/>
                  </a:lnTo>
                  <a:lnTo>
                    <a:pt x="3667" y="490"/>
                  </a:lnTo>
                  <a:lnTo>
                    <a:pt x="3667" y="515"/>
                  </a:lnTo>
                  <a:lnTo>
                    <a:pt x="3692" y="546"/>
                  </a:lnTo>
                  <a:lnTo>
                    <a:pt x="3717" y="570"/>
                  </a:lnTo>
                  <a:lnTo>
                    <a:pt x="3748" y="626"/>
                  </a:lnTo>
                  <a:lnTo>
                    <a:pt x="3717" y="651"/>
                  </a:lnTo>
                  <a:lnTo>
                    <a:pt x="3748" y="682"/>
                  </a:lnTo>
                  <a:lnTo>
                    <a:pt x="3798" y="732"/>
                  </a:lnTo>
                  <a:lnTo>
                    <a:pt x="3830" y="732"/>
                  </a:lnTo>
                  <a:lnTo>
                    <a:pt x="3885" y="732"/>
                  </a:lnTo>
                  <a:lnTo>
                    <a:pt x="3910" y="682"/>
                  </a:lnTo>
                  <a:lnTo>
                    <a:pt x="3991" y="626"/>
                  </a:lnTo>
                  <a:lnTo>
                    <a:pt x="4015" y="651"/>
                  </a:lnTo>
                  <a:lnTo>
                    <a:pt x="4072" y="682"/>
                  </a:lnTo>
                  <a:lnTo>
                    <a:pt x="4096" y="651"/>
                  </a:lnTo>
                  <a:lnTo>
                    <a:pt x="4152" y="651"/>
                  </a:lnTo>
                  <a:lnTo>
                    <a:pt x="4152" y="682"/>
                  </a:lnTo>
                  <a:lnTo>
                    <a:pt x="4183" y="682"/>
                  </a:lnTo>
                  <a:lnTo>
                    <a:pt x="4183" y="626"/>
                  </a:lnTo>
                  <a:lnTo>
                    <a:pt x="4290" y="546"/>
                  </a:lnTo>
                  <a:lnTo>
                    <a:pt x="4314" y="490"/>
                  </a:lnTo>
                  <a:lnTo>
                    <a:pt x="4370" y="465"/>
                  </a:lnTo>
                  <a:lnTo>
                    <a:pt x="4370" y="515"/>
                  </a:lnTo>
                  <a:lnTo>
                    <a:pt x="4426" y="515"/>
                  </a:lnTo>
                  <a:lnTo>
                    <a:pt x="4451" y="570"/>
                  </a:lnTo>
                  <a:lnTo>
                    <a:pt x="4482" y="595"/>
                  </a:lnTo>
                  <a:lnTo>
                    <a:pt x="4563" y="595"/>
                  </a:lnTo>
                  <a:lnTo>
                    <a:pt x="4587" y="595"/>
                  </a:lnTo>
                  <a:lnTo>
                    <a:pt x="4612" y="651"/>
                  </a:lnTo>
                  <a:lnTo>
                    <a:pt x="4643" y="570"/>
                  </a:lnTo>
                  <a:lnTo>
                    <a:pt x="4612" y="546"/>
                  </a:lnTo>
                  <a:lnTo>
                    <a:pt x="4668" y="515"/>
                  </a:lnTo>
                  <a:lnTo>
                    <a:pt x="4693" y="570"/>
                  </a:lnTo>
                  <a:lnTo>
                    <a:pt x="4724" y="570"/>
                  </a:lnTo>
                  <a:lnTo>
                    <a:pt x="4749" y="546"/>
                  </a:lnTo>
                  <a:lnTo>
                    <a:pt x="4805" y="515"/>
                  </a:lnTo>
                  <a:lnTo>
                    <a:pt x="4805" y="546"/>
                  </a:lnTo>
                  <a:lnTo>
                    <a:pt x="4861" y="546"/>
                  </a:lnTo>
                  <a:lnTo>
                    <a:pt x="4886" y="570"/>
                  </a:lnTo>
                  <a:lnTo>
                    <a:pt x="4942" y="515"/>
                  </a:lnTo>
                  <a:lnTo>
                    <a:pt x="5023" y="546"/>
                  </a:lnTo>
                  <a:lnTo>
                    <a:pt x="5047" y="515"/>
                  </a:lnTo>
                  <a:lnTo>
                    <a:pt x="5103" y="515"/>
                  </a:lnTo>
                  <a:lnTo>
                    <a:pt x="5128" y="546"/>
                  </a:lnTo>
                  <a:lnTo>
                    <a:pt x="5209" y="546"/>
                  </a:lnTo>
                  <a:lnTo>
                    <a:pt x="5239" y="515"/>
                  </a:lnTo>
                  <a:lnTo>
                    <a:pt x="5296" y="465"/>
                  </a:lnTo>
                  <a:lnTo>
                    <a:pt x="5296" y="490"/>
                  </a:lnTo>
                  <a:lnTo>
                    <a:pt x="5265" y="546"/>
                  </a:lnTo>
                  <a:lnTo>
                    <a:pt x="5265" y="570"/>
                  </a:lnTo>
                  <a:lnTo>
                    <a:pt x="5377" y="626"/>
                  </a:lnTo>
                  <a:lnTo>
                    <a:pt x="5346" y="706"/>
                  </a:lnTo>
                  <a:lnTo>
                    <a:pt x="5346" y="732"/>
                  </a:lnTo>
                  <a:lnTo>
                    <a:pt x="5265" y="787"/>
                  </a:lnTo>
                  <a:lnTo>
                    <a:pt x="5346" y="843"/>
                  </a:lnTo>
                  <a:lnTo>
                    <a:pt x="5402" y="813"/>
                  </a:lnTo>
                  <a:lnTo>
                    <a:pt x="5426" y="813"/>
                  </a:lnTo>
                  <a:lnTo>
                    <a:pt x="5402" y="868"/>
                  </a:lnTo>
                  <a:lnTo>
                    <a:pt x="5377" y="868"/>
                  </a:lnTo>
                  <a:lnTo>
                    <a:pt x="5346" y="949"/>
                  </a:lnTo>
                  <a:lnTo>
                    <a:pt x="5377" y="1004"/>
                  </a:lnTo>
                  <a:lnTo>
                    <a:pt x="5402" y="979"/>
                  </a:lnTo>
                  <a:lnTo>
                    <a:pt x="5426" y="979"/>
                  </a:lnTo>
                  <a:lnTo>
                    <a:pt x="5426" y="1029"/>
                  </a:lnTo>
                  <a:lnTo>
                    <a:pt x="5483" y="1060"/>
                  </a:lnTo>
                  <a:lnTo>
                    <a:pt x="5483" y="1085"/>
                  </a:lnTo>
                  <a:lnTo>
                    <a:pt x="5538" y="1085"/>
                  </a:lnTo>
                  <a:lnTo>
                    <a:pt x="5507" y="1165"/>
                  </a:lnTo>
                  <a:lnTo>
                    <a:pt x="5507" y="1191"/>
                  </a:lnTo>
                  <a:lnTo>
                    <a:pt x="5507" y="1222"/>
                  </a:lnTo>
                  <a:lnTo>
                    <a:pt x="5538" y="1277"/>
                  </a:lnTo>
                  <a:lnTo>
                    <a:pt x="5538" y="1327"/>
                  </a:lnTo>
                  <a:lnTo>
                    <a:pt x="5321" y="1438"/>
                  </a:lnTo>
                  <a:lnTo>
                    <a:pt x="5265" y="1407"/>
                  </a:lnTo>
                  <a:lnTo>
                    <a:pt x="5265" y="1519"/>
                  </a:lnTo>
                  <a:lnTo>
                    <a:pt x="5239" y="1574"/>
                  </a:lnTo>
                  <a:lnTo>
                    <a:pt x="5159" y="1624"/>
                  </a:lnTo>
                  <a:lnTo>
                    <a:pt x="5184" y="1705"/>
                  </a:lnTo>
                  <a:lnTo>
                    <a:pt x="5209" y="1791"/>
                  </a:lnTo>
                  <a:lnTo>
                    <a:pt x="5184" y="1817"/>
                  </a:lnTo>
                  <a:lnTo>
                    <a:pt x="5209" y="1841"/>
                  </a:lnTo>
                  <a:lnTo>
                    <a:pt x="5209" y="1897"/>
                  </a:lnTo>
                  <a:lnTo>
                    <a:pt x="5184" y="1922"/>
                  </a:lnTo>
                  <a:lnTo>
                    <a:pt x="5184" y="1897"/>
                  </a:lnTo>
                  <a:lnTo>
                    <a:pt x="5159" y="1897"/>
                  </a:lnTo>
                  <a:lnTo>
                    <a:pt x="5103" y="1897"/>
                  </a:lnTo>
                  <a:lnTo>
                    <a:pt x="5078" y="1953"/>
                  </a:lnTo>
                  <a:lnTo>
                    <a:pt x="5047" y="1977"/>
                  </a:lnTo>
                  <a:lnTo>
                    <a:pt x="5023" y="1977"/>
                  </a:lnTo>
                  <a:lnTo>
                    <a:pt x="4992" y="2033"/>
                  </a:lnTo>
                  <a:lnTo>
                    <a:pt x="4966" y="2114"/>
                  </a:lnTo>
                  <a:lnTo>
                    <a:pt x="4966" y="2089"/>
                  </a:lnTo>
                  <a:lnTo>
                    <a:pt x="4942" y="2089"/>
                  </a:lnTo>
                  <a:lnTo>
                    <a:pt x="4911" y="2114"/>
                  </a:lnTo>
                  <a:lnTo>
                    <a:pt x="4911" y="2138"/>
                  </a:lnTo>
                  <a:lnTo>
                    <a:pt x="4861" y="2195"/>
                  </a:lnTo>
                  <a:lnTo>
                    <a:pt x="4861" y="2250"/>
                  </a:lnTo>
                  <a:lnTo>
                    <a:pt x="4829" y="2219"/>
                  </a:lnTo>
                  <a:lnTo>
                    <a:pt x="4805" y="2250"/>
                  </a:lnTo>
                  <a:lnTo>
                    <a:pt x="4749" y="2276"/>
                  </a:lnTo>
                  <a:lnTo>
                    <a:pt x="4724" y="2331"/>
                  </a:lnTo>
                  <a:lnTo>
                    <a:pt x="4724" y="2355"/>
                  </a:lnTo>
                  <a:lnTo>
                    <a:pt x="4668" y="2355"/>
                  </a:lnTo>
                  <a:lnTo>
                    <a:pt x="4612" y="2386"/>
                  </a:lnTo>
                  <a:lnTo>
                    <a:pt x="4563" y="2436"/>
                  </a:lnTo>
                  <a:lnTo>
                    <a:pt x="4532" y="2492"/>
                  </a:lnTo>
                  <a:lnTo>
                    <a:pt x="4482" y="2548"/>
                  </a:lnTo>
                  <a:lnTo>
                    <a:pt x="4482" y="2517"/>
                  </a:lnTo>
                  <a:lnTo>
                    <a:pt x="4451" y="2548"/>
                  </a:lnTo>
                  <a:lnTo>
                    <a:pt x="4426" y="2517"/>
                  </a:lnTo>
                  <a:lnTo>
                    <a:pt x="4426" y="2492"/>
                  </a:lnTo>
                  <a:lnTo>
                    <a:pt x="4395" y="2492"/>
                  </a:lnTo>
                  <a:lnTo>
                    <a:pt x="4395" y="2467"/>
                  </a:lnTo>
                  <a:lnTo>
                    <a:pt x="4395" y="2492"/>
                  </a:lnTo>
                  <a:lnTo>
                    <a:pt x="4395" y="2517"/>
                  </a:lnTo>
                  <a:lnTo>
                    <a:pt x="4395" y="2548"/>
                  </a:lnTo>
                  <a:lnTo>
                    <a:pt x="4451" y="2597"/>
                  </a:lnTo>
                  <a:lnTo>
                    <a:pt x="4426" y="2628"/>
                  </a:lnTo>
                  <a:lnTo>
                    <a:pt x="4426" y="2597"/>
                  </a:lnTo>
                  <a:lnTo>
                    <a:pt x="4370" y="2548"/>
                  </a:lnTo>
                  <a:lnTo>
                    <a:pt x="4395" y="2597"/>
                  </a:lnTo>
                  <a:lnTo>
                    <a:pt x="4395" y="2684"/>
                  </a:lnTo>
                  <a:lnTo>
                    <a:pt x="4314" y="2764"/>
                  </a:lnTo>
                  <a:lnTo>
                    <a:pt x="4314" y="2790"/>
                  </a:lnTo>
                  <a:lnTo>
                    <a:pt x="4264" y="2790"/>
                  </a:lnTo>
                  <a:lnTo>
                    <a:pt x="4290" y="2845"/>
                  </a:lnTo>
                  <a:lnTo>
                    <a:pt x="4314" y="2814"/>
                  </a:lnTo>
                  <a:lnTo>
                    <a:pt x="4314" y="2790"/>
                  </a:lnTo>
                  <a:lnTo>
                    <a:pt x="4345" y="2790"/>
                  </a:lnTo>
                  <a:lnTo>
                    <a:pt x="4395" y="2871"/>
                  </a:lnTo>
                  <a:lnTo>
                    <a:pt x="4482" y="2951"/>
                  </a:lnTo>
                  <a:lnTo>
                    <a:pt x="4587" y="3007"/>
                  </a:lnTo>
                  <a:lnTo>
                    <a:pt x="4643" y="3062"/>
                  </a:lnTo>
                  <a:lnTo>
                    <a:pt x="4693" y="3087"/>
                  </a:lnTo>
                  <a:lnTo>
                    <a:pt x="4724" y="3062"/>
                  </a:lnTo>
                  <a:lnTo>
                    <a:pt x="4749" y="3007"/>
                  </a:lnTo>
                  <a:lnTo>
                    <a:pt x="4749" y="2982"/>
                  </a:lnTo>
                  <a:lnTo>
                    <a:pt x="4781" y="2951"/>
                  </a:lnTo>
                  <a:lnTo>
                    <a:pt x="4781" y="2982"/>
                  </a:lnTo>
                  <a:lnTo>
                    <a:pt x="4861" y="2982"/>
                  </a:lnTo>
                  <a:lnTo>
                    <a:pt x="4861" y="2926"/>
                  </a:lnTo>
                  <a:lnTo>
                    <a:pt x="4942" y="2871"/>
                  </a:lnTo>
                  <a:lnTo>
                    <a:pt x="4966" y="2902"/>
                  </a:lnTo>
                  <a:lnTo>
                    <a:pt x="4992" y="2871"/>
                  </a:lnTo>
                  <a:lnTo>
                    <a:pt x="5023" y="2902"/>
                  </a:lnTo>
                  <a:lnTo>
                    <a:pt x="5023" y="2926"/>
                  </a:lnTo>
                  <a:lnTo>
                    <a:pt x="4992" y="2982"/>
                  </a:lnTo>
                  <a:lnTo>
                    <a:pt x="4966" y="2982"/>
                  </a:lnTo>
                  <a:lnTo>
                    <a:pt x="4992" y="2982"/>
                  </a:lnTo>
                  <a:lnTo>
                    <a:pt x="5023" y="3007"/>
                  </a:lnTo>
                  <a:lnTo>
                    <a:pt x="5047" y="3031"/>
                  </a:lnTo>
                  <a:lnTo>
                    <a:pt x="5023" y="3087"/>
                  </a:lnTo>
                  <a:lnTo>
                    <a:pt x="4992" y="3112"/>
                  </a:lnTo>
                  <a:lnTo>
                    <a:pt x="4911" y="3112"/>
                  </a:lnTo>
                  <a:lnTo>
                    <a:pt x="4861" y="3168"/>
                  </a:lnTo>
                  <a:lnTo>
                    <a:pt x="4829" y="3143"/>
                  </a:lnTo>
                  <a:lnTo>
                    <a:pt x="4749" y="3143"/>
                  </a:lnTo>
                  <a:lnTo>
                    <a:pt x="4724" y="3168"/>
                  </a:lnTo>
                  <a:lnTo>
                    <a:pt x="4693" y="3199"/>
                  </a:lnTo>
                  <a:lnTo>
                    <a:pt x="4724" y="3223"/>
                  </a:lnTo>
                  <a:lnTo>
                    <a:pt x="4693" y="3280"/>
                  </a:lnTo>
                  <a:lnTo>
                    <a:pt x="4668" y="3280"/>
                  </a:lnTo>
                  <a:lnTo>
                    <a:pt x="4643" y="3328"/>
                  </a:lnTo>
                  <a:lnTo>
                    <a:pt x="4643" y="3360"/>
                  </a:lnTo>
                  <a:lnTo>
                    <a:pt x="4612" y="3385"/>
                  </a:lnTo>
                  <a:lnTo>
                    <a:pt x="4612" y="3360"/>
                  </a:lnTo>
                  <a:lnTo>
                    <a:pt x="4563" y="3385"/>
                  </a:lnTo>
                  <a:lnTo>
                    <a:pt x="4532" y="3409"/>
                  </a:lnTo>
                  <a:lnTo>
                    <a:pt x="4451" y="3496"/>
                  </a:lnTo>
                  <a:lnTo>
                    <a:pt x="4426" y="3546"/>
                  </a:lnTo>
                  <a:lnTo>
                    <a:pt x="4451" y="3577"/>
                  </a:lnTo>
                  <a:lnTo>
                    <a:pt x="4426" y="3602"/>
                  </a:lnTo>
                  <a:lnTo>
                    <a:pt x="4370" y="3682"/>
                  </a:lnTo>
                  <a:lnTo>
                    <a:pt x="4345" y="3707"/>
                  </a:lnTo>
                  <a:lnTo>
                    <a:pt x="4314" y="3707"/>
                  </a:lnTo>
                  <a:lnTo>
                    <a:pt x="4290" y="3738"/>
                  </a:lnTo>
                  <a:lnTo>
                    <a:pt x="4264" y="3738"/>
                  </a:lnTo>
                  <a:lnTo>
                    <a:pt x="4208" y="3707"/>
                  </a:lnTo>
                  <a:lnTo>
                    <a:pt x="4183" y="3707"/>
                  </a:lnTo>
                  <a:lnTo>
                    <a:pt x="4152" y="3707"/>
                  </a:lnTo>
                  <a:lnTo>
                    <a:pt x="4096" y="3682"/>
                  </a:lnTo>
                  <a:lnTo>
                    <a:pt x="4152" y="3658"/>
                  </a:lnTo>
                  <a:lnTo>
                    <a:pt x="4183" y="3658"/>
                  </a:lnTo>
                  <a:lnTo>
                    <a:pt x="4152" y="3627"/>
                  </a:lnTo>
                  <a:lnTo>
                    <a:pt x="4152" y="3546"/>
                  </a:lnTo>
                  <a:lnTo>
                    <a:pt x="4152" y="3521"/>
                  </a:lnTo>
                  <a:lnTo>
                    <a:pt x="4127" y="3440"/>
                  </a:lnTo>
                  <a:lnTo>
                    <a:pt x="4015" y="3409"/>
                  </a:lnTo>
                  <a:lnTo>
                    <a:pt x="3991" y="3440"/>
                  </a:lnTo>
                  <a:lnTo>
                    <a:pt x="3885" y="3409"/>
                  </a:lnTo>
                  <a:lnTo>
                    <a:pt x="3910" y="3360"/>
                  </a:lnTo>
                  <a:lnTo>
                    <a:pt x="3854" y="3385"/>
                  </a:lnTo>
                  <a:lnTo>
                    <a:pt x="3798" y="3385"/>
                  </a:lnTo>
                  <a:lnTo>
                    <a:pt x="3773" y="3440"/>
                  </a:lnTo>
                  <a:lnTo>
                    <a:pt x="3717" y="3440"/>
                  </a:lnTo>
                  <a:lnTo>
                    <a:pt x="3692" y="3409"/>
                  </a:lnTo>
                  <a:lnTo>
                    <a:pt x="3748" y="3360"/>
                  </a:lnTo>
                  <a:lnTo>
                    <a:pt x="3798" y="3304"/>
                  </a:lnTo>
                  <a:lnTo>
                    <a:pt x="3773" y="3280"/>
                  </a:lnTo>
                  <a:lnTo>
                    <a:pt x="3854" y="3199"/>
                  </a:lnTo>
                  <a:lnTo>
                    <a:pt x="3854" y="3143"/>
                  </a:lnTo>
                  <a:lnTo>
                    <a:pt x="3885" y="3168"/>
                  </a:lnTo>
                  <a:lnTo>
                    <a:pt x="3910" y="3112"/>
                  </a:lnTo>
                  <a:lnTo>
                    <a:pt x="3935" y="3112"/>
                  </a:lnTo>
                  <a:lnTo>
                    <a:pt x="3966" y="3087"/>
                  </a:lnTo>
                  <a:lnTo>
                    <a:pt x="3966" y="3062"/>
                  </a:lnTo>
                  <a:lnTo>
                    <a:pt x="4015" y="3062"/>
                  </a:lnTo>
                  <a:lnTo>
                    <a:pt x="4015" y="3031"/>
                  </a:lnTo>
                  <a:lnTo>
                    <a:pt x="4046" y="3007"/>
                  </a:lnTo>
                  <a:lnTo>
                    <a:pt x="4015" y="3007"/>
                  </a:lnTo>
                  <a:lnTo>
                    <a:pt x="3991" y="3031"/>
                  </a:lnTo>
                  <a:lnTo>
                    <a:pt x="3966" y="3007"/>
                  </a:lnTo>
                  <a:lnTo>
                    <a:pt x="3966" y="2982"/>
                  </a:lnTo>
                  <a:lnTo>
                    <a:pt x="3935" y="2926"/>
                  </a:lnTo>
                  <a:lnTo>
                    <a:pt x="3910" y="2951"/>
                  </a:lnTo>
                  <a:lnTo>
                    <a:pt x="3935" y="2982"/>
                  </a:lnTo>
                  <a:lnTo>
                    <a:pt x="3885" y="3007"/>
                  </a:lnTo>
                  <a:lnTo>
                    <a:pt x="3854" y="2982"/>
                  </a:lnTo>
                  <a:lnTo>
                    <a:pt x="3798" y="2951"/>
                  </a:lnTo>
                  <a:lnTo>
                    <a:pt x="3798" y="3007"/>
                  </a:lnTo>
                  <a:lnTo>
                    <a:pt x="3748" y="2982"/>
                  </a:lnTo>
                  <a:lnTo>
                    <a:pt x="3773" y="3007"/>
                  </a:lnTo>
                  <a:lnTo>
                    <a:pt x="3692" y="3031"/>
                  </a:lnTo>
                  <a:lnTo>
                    <a:pt x="3667" y="3062"/>
                  </a:lnTo>
                  <a:lnTo>
                    <a:pt x="3636" y="3087"/>
                  </a:lnTo>
                  <a:lnTo>
                    <a:pt x="3500" y="3112"/>
                  </a:lnTo>
                  <a:lnTo>
                    <a:pt x="3500" y="3087"/>
                  </a:lnTo>
                  <a:lnTo>
                    <a:pt x="3475" y="3087"/>
                  </a:lnTo>
                  <a:lnTo>
                    <a:pt x="3450" y="3062"/>
                  </a:lnTo>
                  <a:lnTo>
                    <a:pt x="3370" y="3062"/>
                  </a:lnTo>
                  <a:lnTo>
                    <a:pt x="3370" y="3087"/>
                  </a:lnTo>
                  <a:lnTo>
                    <a:pt x="3339" y="3062"/>
                  </a:lnTo>
                  <a:lnTo>
                    <a:pt x="3370" y="3031"/>
                  </a:lnTo>
                  <a:lnTo>
                    <a:pt x="3394" y="3031"/>
                  </a:lnTo>
                  <a:lnTo>
                    <a:pt x="3419" y="3007"/>
                  </a:lnTo>
                  <a:lnTo>
                    <a:pt x="3394" y="2982"/>
                  </a:lnTo>
                  <a:lnTo>
                    <a:pt x="3313" y="3007"/>
                  </a:lnTo>
                  <a:lnTo>
                    <a:pt x="3289" y="3007"/>
                  </a:lnTo>
                  <a:lnTo>
                    <a:pt x="3289" y="3031"/>
                  </a:lnTo>
                  <a:lnTo>
                    <a:pt x="3232" y="2982"/>
                  </a:lnTo>
                  <a:lnTo>
                    <a:pt x="3289" y="2951"/>
                  </a:lnTo>
                  <a:lnTo>
                    <a:pt x="3339" y="2951"/>
                  </a:lnTo>
                  <a:lnTo>
                    <a:pt x="3394" y="2951"/>
                  </a:lnTo>
                  <a:lnTo>
                    <a:pt x="3419" y="2926"/>
                  </a:lnTo>
                  <a:lnTo>
                    <a:pt x="3475" y="2926"/>
                  </a:lnTo>
                  <a:lnTo>
                    <a:pt x="3500" y="2926"/>
                  </a:lnTo>
                  <a:lnTo>
                    <a:pt x="3500" y="2871"/>
                  </a:lnTo>
                  <a:lnTo>
                    <a:pt x="3475" y="2902"/>
                  </a:lnTo>
                  <a:lnTo>
                    <a:pt x="3450" y="2902"/>
                  </a:lnTo>
                  <a:lnTo>
                    <a:pt x="3419" y="2926"/>
                  </a:lnTo>
                  <a:lnTo>
                    <a:pt x="3394" y="2902"/>
                  </a:lnTo>
                  <a:lnTo>
                    <a:pt x="3370" y="2902"/>
                  </a:lnTo>
                  <a:lnTo>
                    <a:pt x="3339" y="2845"/>
                  </a:lnTo>
                  <a:lnTo>
                    <a:pt x="3339" y="2790"/>
                  </a:lnTo>
                  <a:lnTo>
                    <a:pt x="3313" y="2733"/>
                  </a:lnTo>
                  <a:lnTo>
                    <a:pt x="3289" y="2733"/>
                  </a:lnTo>
                  <a:lnTo>
                    <a:pt x="3257" y="2709"/>
                  </a:lnTo>
                  <a:lnTo>
                    <a:pt x="3232" y="2709"/>
                  </a:lnTo>
                  <a:lnTo>
                    <a:pt x="3257" y="2733"/>
                  </a:lnTo>
                  <a:lnTo>
                    <a:pt x="3313" y="2764"/>
                  </a:lnTo>
                  <a:lnTo>
                    <a:pt x="3313" y="2790"/>
                  </a:lnTo>
                  <a:lnTo>
                    <a:pt x="3289" y="2814"/>
                  </a:lnTo>
                  <a:lnTo>
                    <a:pt x="3313" y="2871"/>
                  </a:lnTo>
                  <a:lnTo>
                    <a:pt x="3313" y="2902"/>
                  </a:lnTo>
                  <a:lnTo>
                    <a:pt x="3313" y="2926"/>
                  </a:lnTo>
                  <a:lnTo>
                    <a:pt x="3257" y="2926"/>
                  </a:lnTo>
                  <a:lnTo>
                    <a:pt x="3232" y="2951"/>
                  </a:lnTo>
                  <a:lnTo>
                    <a:pt x="3202" y="2951"/>
                  </a:lnTo>
                  <a:lnTo>
                    <a:pt x="3202" y="2926"/>
                  </a:lnTo>
                  <a:lnTo>
                    <a:pt x="3202" y="2871"/>
                  </a:lnTo>
                  <a:lnTo>
                    <a:pt x="3176" y="2871"/>
                  </a:lnTo>
                  <a:lnTo>
                    <a:pt x="3152" y="2871"/>
                  </a:lnTo>
                  <a:lnTo>
                    <a:pt x="3152" y="2902"/>
                  </a:lnTo>
                  <a:lnTo>
                    <a:pt x="3176" y="2902"/>
                  </a:lnTo>
                  <a:lnTo>
                    <a:pt x="3176" y="2951"/>
                  </a:lnTo>
                  <a:lnTo>
                    <a:pt x="3152" y="2982"/>
                  </a:lnTo>
                  <a:lnTo>
                    <a:pt x="3121" y="2982"/>
                  </a:lnTo>
                  <a:lnTo>
                    <a:pt x="3095" y="2982"/>
                  </a:lnTo>
                  <a:lnTo>
                    <a:pt x="3040" y="3031"/>
                  </a:lnTo>
                  <a:lnTo>
                    <a:pt x="2990" y="3062"/>
                  </a:lnTo>
                  <a:lnTo>
                    <a:pt x="2990" y="3087"/>
                  </a:lnTo>
                  <a:lnTo>
                    <a:pt x="2990" y="3112"/>
                  </a:lnTo>
                  <a:lnTo>
                    <a:pt x="2990" y="3168"/>
                  </a:lnTo>
                  <a:lnTo>
                    <a:pt x="2990" y="3199"/>
                  </a:lnTo>
                  <a:lnTo>
                    <a:pt x="2959" y="3168"/>
                  </a:lnTo>
                  <a:lnTo>
                    <a:pt x="2959" y="3199"/>
                  </a:lnTo>
                  <a:lnTo>
                    <a:pt x="2990" y="3223"/>
                  </a:lnTo>
                  <a:lnTo>
                    <a:pt x="2959" y="3328"/>
                  </a:lnTo>
                  <a:lnTo>
                    <a:pt x="2934" y="3280"/>
                  </a:lnTo>
                  <a:lnTo>
                    <a:pt x="2879" y="3249"/>
                  </a:lnTo>
                  <a:lnTo>
                    <a:pt x="2879" y="3223"/>
                  </a:lnTo>
                  <a:lnTo>
                    <a:pt x="2879" y="3199"/>
                  </a:lnTo>
                  <a:lnTo>
                    <a:pt x="2853" y="3199"/>
                  </a:lnTo>
                  <a:lnTo>
                    <a:pt x="2853" y="3249"/>
                  </a:lnTo>
                  <a:lnTo>
                    <a:pt x="2822" y="3223"/>
                  </a:lnTo>
                  <a:lnTo>
                    <a:pt x="2798" y="3223"/>
                  </a:lnTo>
                  <a:lnTo>
                    <a:pt x="2798" y="3249"/>
                  </a:lnTo>
                  <a:lnTo>
                    <a:pt x="2822" y="3249"/>
                  </a:lnTo>
                  <a:lnTo>
                    <a:pt x="2853" y="3280"/>
                  </a:lnTo>
                  <a:lnTo>
                    <a:pt x="2903" y="3304"/>
                  </a:lnTo>
                  <a:lnTo>
                    <a:pt x="2934" y="3360"/>
                  </a:lnTo>
                  <a:lnTo>
                    <a:pt x="2903" y="3409"/>
                  </a:lnTo>
                  <a:lnTo>
                    <a:pt x="2879" y="3465"/>
                  </a:lnTo>
                  <a:lnTo>
                    <a:pt x="2853" y="3440"/>
                  </a:lnTo>
                  <a:lnTo>
                    <a:pt x="2853" y="3496"/>
                  </a:lnTo>
                  <a:lnTo>
                    <a:pt x="2822" y="3496"/>
                  </a:lnTo>
                  <a:lnTo>
                    <a:pt x="2822" y="3521"/>
                  </a:lnTo>
                  <a:lnTo>
                    <a:pt x="2798" y="3521"/>
                  </a:lnTo>
                  <a:lnTo>
                    <a:pt x="2798" y="3546"/>
                  </a:lnTo>
                  <a:lnTo>
                    <a:pt x="2798" y="3577"/>
                  </a:lnTo>
                  <a:lnTo>
                    <a:pt x="2772" y="3627"/>
                  </a:lnTo>
                  <a:lnTo>
                    <a:pt x="2741" y="3602"/>
                  </a:lnTo>
                  <a:lnTo>
                    <a:pt x="2741" y="3577"/>
                  </a:lnTo>
                  <a:lnTo>
                    <a:pt x="2741" y="3546"/>
                  </a:lnTo>
                  <a:lnTo>
                    <a:pt x="2716" y="3546"/>
                  </a:lnTo>
                  <a:lnTo>
                    <a:pt x="2716" y="3577"/>
                  </a:lnTo>
                  <a:lnTo>
                    <a:pt x="2716" y="3602"/>
                  </a:lnTo>
                  <a:lnTo>
                    <a:pt x="2716" y="3658"/>
                  </a:lnTo>
                  <a:lnTo>
                    <a:pt x="2741" y="3682"/>
                  </a:lnTo>
                  <a:lnTo>
                    <a:pt x="2772" y="3707"/>
                  </a:lnTo>
                  <a:lnTo>
                    <a:pt x="2772" y="3738"/>
                  </a:lnTo>
                  <a:lnTo>
                    <a:pt x="2798" y="3738"/>
                  </a:lnTo>
                  <a:lnTo>
                    <a:pt x="2798" y="3794"/>
                  </a:lnTo>
                  <a:lnTo>
                    <a:pt x="2798" y="3818"/>
                  </a:lnTo>
                  <a:lnTo>
                    <a:pt x="2772" y="3818"/>
                  </a:lnTo>
                  <a:lnTo>
                    <a:pt x="2692" y="3763"/>
                  </a:lnTo>
                  <a:lnTo>
                    <a:pt x="2661" y="3763"/>
                  </a:lnTo>
                  <a:lnTo>
                    <a:pt x="2635" y="3794"/>
                  </a:lnTo>
                  <a:lnTo>
                    <a:pt x="2604" y="3818"/>
                  </a:lnTo>
                  <a:lnTo>
                    <a:pt x="2555" y="3844"/>
                  </a:lnTo>
                  <a:lnTo>
                    <a:pt x="2555" y="3899"/>
                  </a:lnTo>
                  <a:lnTo>
                    <a:pt x="2499" y="3899"/>
                  </a:lnTo>
                  <a:lnTo>
                    <a:pt x="2499" y="3924"/>
                  </a:lnTo>
                  <a:lnTo>
                    <a:pt x="2474" y="3924"/>
                  </a:lnTo>
                  <a:lnTo>
                    <a:pt x="2338" y="3924"/>
                  </a:lnTo>
                  <a:lnTo>
                    <a:pt x="2281" y="3899"/>
                  </a:lnTo>
                  <a:lnTo>
                    <a:pt x="2257" y="3844"/>
                  </a:lnTo>
                  <a:lnTo>
                    <a:pt x="2307" y="3794"/>
                  </a:lnTo>
                  <a:lnTo>
                    <a:pt x="2338" y="3818"/>
                  </a:lnTo>
                  <a:lnTo>
                    <a:pt x="2393" y="3818"/>
                  </a:lnTo>
                  <a:lnTo>
                    <a:pt x="2393" y="3763"/>
                  </a:lnTo>
                  <a:lnTo>
                    <a:pt x="2362" y="3738"/>
                  </a:lnTo>
                  <a:lnTo>
                    <a:pt x="2362" y="3707"/>
                  </a:lnTo>
                  <a:lnTo>
                    <a:pt x="2419" y="3602"/>
                  </a:lnTo>
                  <a:lnTo>
                    <a:pt x="2419" y="3577"/>
                  </a:lnTo>
                  <a:lnTo>
                    <a:pt x="2443" y="3521"/>
                  </a:lnTo>
                  <a:lnTo>
                    <a:pt x="2474" y="3496"/>
                  </a:lnTo>
                  <a:lnTo>
                    <a:pt x="2474" y="3440"/>
                  </a:lnTo>
                  <a:lnTo>
                    <a:pt x="2419" y="3385"/>
                  </a:lnTo>
                  <a:lnTo>
                    <a:pt x="2443" y="3328"/>
                  </a:lnTo>
                  <a:lnTo>
                    <a:pt x="2393" y="3304"/>
                  </a:lnTo>
                  <a:lnTo>
                    <a:pt x="2443" y="3280"/>
                  </a:lnTo>
                  <a:lnTo>
                    <a:pt x="2443" y="3249"/>
                  </a:lnTo>
                  <a:lnTo>
                    <a:pt x="2474" y="3223"/>
                  </a:lnTo>
                  <a:lnTo>
                    <a:pt x="2499" y="3304"/>
                  </a:lnTo>
                  <a:lnTo>
                    <a:pt x="2499" y="3280"/>
                  </a:lnTo>
                  <a:lnTo>
                    <a:pt x="2524" y="3249"/>
                  </a:lnTo>
                  <a:lnTo>
                    <a:pt x="2555" y="3280"/>
                  </a:lnTo>
                  <a:lnTo>
                    <a:pt x="2580" y="3249"/>
                  </a:lnTo>
                  <a:lnTo>
                    <a:pt x="2604" y="3280"/>
                  </a:lnTo>
                  <a:lnTo>
                    <a:pt x="2661" y="3223"/>
                  </a:lnTo>
                  <a:lnTo>
                    <a:pt x="2716" y="3249"/>
                  </a:lnTo>
                  <a:lnTo>
                    <a:pt x="2772" y="3249"/>
                  </a:lnTo>
                  <a:lnTo>
                    <a:pt x="2798" y="3223"/>
                  </a:lnTo>
                  <a:lnTo>
                    <a:pt x="2822" y="3168"/>
                  </a:lnTo>
                  <a:lnTo>
                    <a:pt x="2772" y="3199"/>
                  </a:lnTo>
                  <a:lnTo>
                    <a:pt x="2716" y="3199"/>
                  </a:lnTo>
                  <a:lnTo>
                    <a:pt x="2692" y="3031"/>
                  </a:lnTo>
                  <a:lnTo>
                    <a:pt x="2604" y="3031"/>
                  </a:lnTo>
                  <a:lnTo>
                    <a:pt x="2524" y="3031"/>
                  </a:lnTo>
                  <a:lnTo>
                    <a:pt x="2524" y="3007"/>
                  </a:lnTo>
                  <a:lnTo>
                    <a:pt x="2524" y="2951"/>
                  </a:lnTo>
                  <a:lnTo>
                    <a:pt x="2499" y="2982"/>
                  </a:lnTo>
                  <a:lnTo>
                    <a:pt x="2474" y="2902"/>
                  </a:lnTo>
                  <a:lnTo>
                    <a:pt x="2474" y="2814"/>
                  </a:lnTo>
                  <a:lnTo>
                    <a:pt x="2443" y="2814"/>
                  </a:lnTo>
                  <a:lnTo>
                    <a:pt x="2443" y="2871"/>
                  </a:lnTo>
                  <a:lnTo>
                    <a:pt x="2419" y="2845"/>
                  </a:lnTo>
                  <a:lnTo>
                    <a:pt x="2338" y="2814"/>
                  </a:lnTo>
                  <a:lnTo>
                    <a:pt x="2281" y="2764"/>
                  </a:lnTo>
                  <a:lnTo>
                    <a:pt x="2307" y="2733"/>
                  </a:lnTo>
                  <a:lnTo>
                    <a:pt x="2281" y="2684"/>
                  </a:lnTo>
                  <a:lnTo>
                    <a:pt x="2281" y="2597"/>
                  </a:lnTo>
                  <a:lnTo>
                    <a:pt x="2257" y="2573"/>
                  </a:lnTo>
                  <a:lnTo>
                    <a:pt x="2176" y="2597"/>
                  </a:lnTo>
                  <a:lnTo>
                    <a:pt x="2144" y="2548"/>
                  </a:lnTo>
                  <a:lnTo>
                    <a:pt x="2120" y="2548"/>
                  </a:lnTo>
                  <a:lnTo>
                    <a:pt x="2039" y="2548"/>
                  </a:lnTo>
                  <a:lnTo>
                    <a:pt x="2008" y="2597"/>
                  </a:lnTo>
                  <a:lnTo>
                    <a:pt x="1983" y="2548"/>
                  </a:lnTo>
                  <a:lnTo>
                    <a:pt x="1959" y="2573"/>
                  </a:lnTo>
                  <a:lnTo>
                    <a:pt x="1983" y="2517"/>
                  </a:lnTo>
                  <a:lnTo>
                    <a:pt x="1928" y="2548"/>
                  </a:lnTo>
                  <a:lnTo>
                    <a:pt x="1821" y="2548"/>
                  </a:lnTo>
                  <a:lnTo>
                    <a:pt x="1791" y="2517"/>
                  </a:lnTo>
                  <a:lnTo>
                    <a:pt x="1741" y="2492"/>
                  </a:lnTo>
                  <a:lnTo>
                    <a:pt x="1710" y="2548"/>
                  </a:lnTo>
                  <a:lnTo>
                    <a:pt x="1629" y="2517"/>
                  </a:lnTo>
                  <a:lnTo>
                    <a:pt x="1604" y="2548"/>
                  </a:lnTo>
                  <a:lnTo>
                    <a:pt x="1579" y="2573"/>
                  </a:lnTo>
                  <a:lnTo>
                    <a:pt x="1492" y="2597"/>
                  </a:lnTo>
                  <a:lnTo>
                    <a:pt x="1442" y="2573"/>
                  </a:lnTo>
                  <a:lnTo>
                    <a:pt x="1442" y="2684"/>
                  </a:lnTo>
                  <a:lnTo>
                    <a:pt x="1387" y="2733"/>
                  </a:lnTo>
                  <a:lnTo>
                    <a:pt x="1331" y="2733"/>
                  </a:lnTo>
                  <a:lnTo>
                    <a:pt x="1306" y="2790"/>
                  </a:lnTo>
                  <a:lnTo>
                    <a:pt x="1281" y="2845"/>
                  </a:lnTo>
                  <a:lnTo>
                    <a:pt x="1250" y="2871"/>
                  </a:lnTo>
                  <a:lnTo>
                    <a:pt x="1225" y="2871"/>
                  </a:lnTo>
                  <a:lnTo>
                    <a:pt x="1193" y="2902"/>
                  </a:lnTo>
                  <a:lnTo>
                    <a:pt x="1169" y="2902"/>
                  </a:lnTo>
                  <a:lnTo>
                    <a:pt x="1113" y="2926"/>
                  </a:lnTo>
                  <a:lnTo>
                    <a:pt x="1088" y="2926"/>
                  </a:lnTo>
                  <a:lnTo>
                    <a:pt x="1063" y="2926"/>
                  </a:lnTo>
                  <a:lnTo>
                    <a:pt x="1063" y="2951"/>
                  </a:lnTo>
                  <a:lnTo>
                    <a:pt x="1032" y="2951"/>
                  </a:lnTo>
                  <a:lnTo>
                    <a:pt x="1032" y="2982"/>
                  </a:lnTo>
                  <a:lnTo>
                    <a:pt x="1008" y="3031"/>
                  </a:lnTo>
                  <a:lnTo>
                    <a:pt x="982" y="3031"/>
                  </a:lnTo>
                  <a:lnTo>
                    <a:pt x="951" y="3062"/>
                  </a:lnTo>
                  <a:lnTo>
                    <a:pt x="927" y="3031"/>
                  </a:lnTo>
                  <a:lnTo>
                    <a:pt x="870" y="3007"/>
                  </a:lnTo>
                  <a:lnTo>
                    <a:pt x="870" y="2982"/>
                  </a:lnTo>
                  <a:lnTo>
                    <a:pt x="846" y="2951"/>
                  </a:lnTo>
                  <a:lnTo>
                    <a:pt x="815" y="2982"/>
                  </a:lnTo>
                  <a:lnTo>
                    <a:pt x="790" y="2982"/>
                  </a:lnTo>
                  <a:lnTo>
                    <a:pt x="765" y="3007"/>
                  </a:lnTo>
                  <a:lnTo>
                    <a:pt x="734" y="3007"/>
                  </a:lnTo>
                  <a:lnTo>
                    <a:pt x="709" y="3007"/>
                  </a:lnTo>
                  <a:lnTo>
                    <a:pt x="685" y="3007"/>
                  </a:lnTo>
                  <a:lnTo>
                    <a:pt x="628" y="3007"/>
                  </a:lnTo>
                  <a:lnTo>
                    <a:pt x="628" y="3031"/>
                  </a:lnTo>
                  <a:lnTo>
                    <a:pt x="597" y="3031"/>
                  </a:lnTo>
                  <a:lnTo>
                    <a:pt x="572" y="3007"/>
                  </a:lnTo>
                  <a:lnTo>
                    <a:pt x="548" y="3031"/>
                  </a:lnTo>
                  <a:lnTo>
                    <a:pt x="517" y="3007"/>
                  </a:lnTo>
                  <a:lnTo>
                    <a:pt x="491" y="3007"/>
                  </a:lnTo>
                  <a:lnTo>
                    <a:pt x="467" y="3031"/>
                  </a:lnTo>
                  <a:lnTo>
                    <a:pt x="436" y="3031"/>
                  </a:lnTo>
                  <a:lnTo>
                    <a:pt x="386" y="2982"/>
                  </a:lnTo>
                  <a:lnTo>
                    <a:pt x="355" y="3007"/>
                  </a:lnTo>
                  <a:lnTo>
                    <a:pt x="355" y="3031"/>
                  </a:lnTo>
                  <a:lnTo>
                    <a:pt x="330" y="3031"/>
                  </a:lnTo>
                  <a:lnTo>
                    <a:pt x="299" y="3062"/>
                  </a:lnTo>
                  <a:lnTo>
                    <a:pt x="274" y="3062"/>
                  </a:lnTo>
                  <a:lnTo>
                    <a:pt x="274" y="3031"/>
                  </a:lnTo>
                  <a:lnTo>
                    <a:pt x="274" y="3007"/>
                  </a:lnTo>
                  <a:lnTo>
                    <a:pt x="249" y="2982"/>
                  </a:lnTo>
                  <a:lnTo>
                    <a:pt x="249" y="3007"/>
                  </a:lnTo>
                  <a:lnTo>
                    <a:pt x="218" y="3007"/>
                  </a:lnTo>
                  <a:lnTo>
                    <a:pt x="194" y="3007"/>
                  </a:lnTo>
                  <a:lnTo>
                    <a:pt x="168" y="2982"/>
                  </a:lnTo>
                  <a:lnTo>
                    <a:pt x="137" y="2951"/>
                  </a:lnTo>
                  <a:lnTo>
                    <a:pt x="112" y="2951"/>
                  </a:lnTo>
                  <a:lnTo>
                    <a:pt x="88" y="2926"/>
                  </a:lnTo>
                  <a:lnTo>
                    <a:pt x="88" y="2902"/>
                  </a:lnTo>
                  <a:lnTo>
                    <a:pt x="57" y="2902"/>
                  </a:lnTo>
                  <a:lnTo>
                    <a:pt x="57" y="2871"/>
                  </a:lnTo>
                  <a:lnTo>
                    <a:pt x="31" y="2871"/>
                  </a:lnTo>
                  <a:lnTo>
                    <a:pt x="0" y="290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56" name="Freeform 96">
              <a:extLst>
                <a:ext uri="{FF2B5EF4-FFF2-40B4-BE49-F238E27FC236}">
                  <a16:creationId xmlns:a16="http://schemas.microsoft.com/office/drawing/2014/main" id="{46DD4786-55C3-450E-BB5F-FB6E7C3A8AEB}"/>
                </a:ext>
              </a:extLst>
            </p:cNvPr>
            <p:cNvSpPr>
              <a:spLocks/>
            </p:cNvSpPr>
            <p:nvPr/>
          </p:nvSpPr>
          <p:spPr bwMode="gray">
            <a:xfrm>
              <a:off x="9344459" y="2422010"/>
              <a:ext cx="862987" cy="856281"/>
            </a:xfrm>
            <a:custGeom>
              <a:avLst/>
              <a:gdLst/>
              <a:ahLst/>
              <a:cxnLst>
                <a:cxn ang="0">
                  <a:pos x="136" y="1409"/>
                </a:cxn>
                <a:cxn ang="0">
                  <a:pos x="266" y="1378"/>
                </a:cxn>
                <a:cxn ang="0">
                  <a:pos x="347" y="1272"/>
                </a:cxn>
                <a:cxn ang="0">
                  <a:pos x="459" y="1167"/>
                </a:cxn>
                <a:cxn ang="0">
                  <a:pos x="515" y="1191"/>
                </a:cxn>
                <a:cxn ang="0">
                  <a:pos x="596" y="1136"/>
                </a:cxn>
                <a:cxn ang="0">
                  <a:pos x="539" y="974"/>
                </a:cxn>
                <a:cxn ang="0">
                  <a:pos x="596" y="732"/>
                </a:cxn>
                <a:cxn ang="0">
                  <a:pos x="701" y="651"/>
                </a:cxn>
                <a:cxn ang="0">
                  <a:pos x="676" y="571"/>
                </a:cxn>
                <a:cxn ang="0">
                  <a:pos x="645" y="459"/>
                </a:cxn>
                <a:cxn ang="0">
                  <a:pos x="732" y="298"/>
                </a:cxn>
                <a:cxn ang="0">
                  <a:pos x="893" y="267"/>
                </a:cxn>
                <a:cxn ang="0">
                  <a:pos x="943" y="81"/>
                </a:cxn>
                <a:cxn ang="0">
                  <a:pos x="1111" y="0"/>
                </a:cxn>
                <a:cxn ang="0">
                  <a:pos x="1353" y="105"/>
                </a:cxn>
                <a:cxn ang="0">
                  <a:pos x="1515" y="0"/>
                </a:cxn>
                <a:cxn ang="0">
                  <a:pos x="1652" y="24"/>
                </a:cxn>
                <a:cxn ang="0">
                  <a:pos x="1788" y="217"/>
                </a:cxn>
                <a:cxn ang="0">
                  <a:pos x="1838" y="435"/>
                </a:cxn>
                <a:cxn ang="0">
                  <a:pos x="2006" y="596"/>
                </a:cxn>
                <a:cxn ang="0">
                  <a:pos x="2142" y="701"/>
                </a:cxn>
                <a:cxn ang="0">
                  <a:pos x="2272" y="756"/>
                </a:cxn>
                <a:cxn ang="0">
                  <a:pos x="2328" y="837"/>
                </a:cxn>
                <a:cxn ang="0">
                  <a:pos x="2464" y="813"/>
                </a:cxn>
                <a:cxn ang="0">
                  <a:pos x="2571" y="949"/>
                </a:cxn>
                <a:cxn ang="0">
                  <a:pos x="2464" y="1136"/>
                </a:cxn>
                <a:cxn ang="0">
                  <a:pos x="2303" y="1136"/>
                </a:cxn>
                <a:cxn ang="0">
                  <a:pos x="2248" y="1272"/>
                </a:cxn>
                <a:cxn ang="0">
                  <a:pos x="2353" y="1378"/>
                </a:cxn>
                <a:cxn ang="0">
                  <a:pos x="2409" y="1514"/>
                </a:cxn>
                <a:cxn ang="0">
                  <a:pos x="2521" y="1650"/>
                </a:cxn>
                <a:cxn ang="0">
                  <a:pos x="2272" y="1762"/>
                </a:cxn>
                <a:cxn ang="0">
                  <a:pos x="2248" y="1868"/>
                </a:cxn>
                <a:cxn ang="0">
                  <a:pos x="2248" y="2060"/>
                </a:cxn>
                <a:cxn ang="0">
                  <a:pos x="2272" y="2191"/>
                </a:cxn>
                <a:cxn ang="0">
                  <a:pos x="2086" y="2165"/>
                </a:cxn>
                <a:cxn ang="0">
                  <a:pos x="1894" y="2222"/>
                </a:cxn>
                <a:cxn ang="0">
                  <a:pos x="1731" y="2277"/>
                </a:cxn>
                <a:cxn ang="0">
                  <a:pos x="1595" y="2246"/>
                </a:cxn>
                <a:cxn ang="0">
                  <a:pos x="1458" y="2222"/>
                </a:cxn>
                <a:cxn ang="0">
                  <a:pos x="1410" y="2277"/>
                </a:cxn>
                <a:cxn ang="0">
                  <a:pos x="1241" y="2222"/>
                </a:cxn>
                <a:cxn ang="0">
                  <a:pos x="1030" y="2277"/>
                </a:cxn>
                <a:cxn ang="0">
                  <a:pos x="732" y="2246"/>
                </a:cxn>
                <a:cxn ang="0">
                  <a:pos x="403" y="2463"/>
                </a:cxn>
                <a:cxn ang="0">
                  <a:pos x="323" y="2519"/>
                </a:cxn>
                <a:cxn ang="0">
                  <a:pos x="266" y="2358"/>
                </a:cxn>
                <a:cxn ang="0">
                  <a:pos x="185" y="2303"/>
                </a:cxn>
                <a:cxn ang="0">
                  <a:pos x="105" y="2277"/>
                </a:cxn>
                <a:cxn ang="0">
                  <a:pos x="136" y="2165"/>
                </a:cxn>
                <a:cxn ang="0">
                  <a:pos x="242" y="2060"/>
                </a:cxn>
                <a:cxn ang="0">
                  <a:pos x="242" y="1923"/>
                </a:cxn>
                <a:cxn ang="0">
                  <a:pos x="161" y="1762"/>
                </a:cxn>
              </a:cxnLst>
              <a:rect l="0" t="0" r="r" b="b"/>
              <a:pathLst>
                <a:path w="2571" h="2544">
                  <a:moveTo>
                    <a:pt x="0" y="1433"/>
                  </a:moveTo>
                  <a:lnTo>
                    <a:pt x="49" y="1433"/>
                  </a:lnTo>
                  <a:lnTo>
                    <a:pt x="80" y="1409"/>
                  </a:lnTo>
                  <a:lnTo>
                    <a:pt x="136" y="1409"/>
                  </a:lnTo>
                  <a:lnTo>
                    <a:pt x="161" y="1378"/>
                  </a:lnTo>
                  <a:lnTo>
                    <a:pt x="185" y="1378"/>
                  </a:lnTo>
                  <a:lnTo>
                    <a:pt x="242" y="1378"/>
                  </a:lnTo>
                  <a:lnTo>
                    <a:pt x="266" y="1378"/>
                  </a:lnTo>
                  <a:lnTo>
                    <a:pt x="266" y="1353"/>
                  </a:lnTo>
                  <a:lnTo>
                    <a:pt x="323" y="1353"/>
                  </a:lnTo>
                  <a:lnTo>
                    <a:pt x="347" y="1297"/>
                  </a:lnTo>
                  <a:lnTo>
                    <a:pt x="347" y="1272"/>
                  </a:lnTo>
                  <a:lnTo>
                    <a:pt x="347" y="1247"/>
                  </a:lnTo>
                  <a:lnTo>
                    <a:pt x="378" y="1247"/>
                  </a:lnTo>
                  <a:lnTo>
                    <a:pt x="434" y="1191"/>
                  </a:lnTo>
                  <a:lnTo>
                    <a:pt x="459" y="1167"/>
                  </a:lnTo>
                  <a:lnTo>
                    <a:pt x="484" y="1136"/>
                  </a:lnTo>
                  <a:lnTo>
                    <a:pt x="515" y="1136"/>
                  </a:lnTo>
                  <a:lnTo>
                    <a:pt x="515" y="1167"/>
                  </a:lnTo>
                  <a:lnTo>
                    <a:pt x="515" y="1191"/>
                  </a:lnTo>
                  <a:lnTo>
                    <a:pt x="539" y="1217"/>
                  </a:lnTo>
                  <a:lnTo>
                    <a:pt x="565" y="1191"/>
                  </a:lnTo>
                  <a:lnTo>
                    <a:pt x="596" y="1167"/>
                  </a:lnTo>
                  <a:lnTo>
                    <a:pt x="596" y="1136"/>
                  </a:lnTo>
                  <a:lnTo>
                    <a:pt x="565" y="1110"/>
                  </a:lnTo>
                  <a:lnTo>
                    <a:pt x="515" y="1079"/>
                  </a:lnTo>
                  <a:lnTo>
                    <a:pt x="539" y="1030"/>
                  </a:lnTo>
                  <a:lnTo>
                    <a:pt x="539" y="974"/>
                  </a:lnTo>
                  <a:lnTo>
                    <a:pt x="515" y="894"/>
                  </a:lnTo>
                  <a:lnTo>
                    <a:pt x="515" y="868"/>
                  </a:lnTo>
                  <a:lnTo>
                    <a:pt x="539" y="813"/>
                  </a:lnTo>
                  <a:lnTo>
                    <a:pt x="596" y="732"/>
                  </a:lnTo>
                  <a:lnTo>
                    <a:pt x="620" y="701"/>
                  </a:lnTo>
                  <a:lnTo>
                    <a:pt x="620" y="677"/>
                  </a:lnTo>
                  <a:lnTo>
                    <a:pt x="645" y="677"/>
                  </a:lnTo>
                  <a:lnTo>
                    <a:pt x="701" y="651"/>
                  </a:lnTo>
                  <a:lnTo>
                    <a:pt x="732" y="620"/>
                  </a:lnTo>
                  <a:lnTo>
                    <a:pt x="732" y="571"/>
                  </a:lnTo>
                  <a:lnTo>
                    <a:pt x="701" y="540"/>
                  </a:lnTo>
                  <a:lnTo>
                    <a:pt x="676" y="571"/>
                  </a:lnTo>
                  <a:lnTo>
                    <a:pt x="645" y="540"/>
                  </a:lnTo>
                  <a:lnTo>
                    <a:pt x="676" y="515"/>
                  </a:lnTo>
                  <a:lnTo>
                    <a:pt x="645" y="484"/>
                  </a:lnTo>
                  <a:lnTo>
                    <a:pt x="645" y="459"/>
                  </a:lnTo>
                  <a:lnTo>
                    <a:pt x="645" y="404"/>
                  </a:lnTo>
                  <a:lnTo>
                    <a:pt x="645" y="378"/>
                  </a:lnTo>
                  <a:lnTo>
                    <a:pt x="701" y="378"/>
                  </a:lnTo>
                  <a:lnTo>
                    <a:pt x="732" y="298"/>
                  </a:lnTo>
                  <a:lnTo>
                    <a:pt x="781" y="267"/>
                  </a:lnTo>
                  <a:lnTo>
                    <a:pt x="812" y="298"/>
                  </a:lnTo>
                  <a:lnTo>
                    <a:pt x="838" y="267"/>
                  </a:lnTo>
                  <a:lnTo>
                    <a:pt x="893" y="267"/>
                  </a:lnTo>
                  <a:lnTo>
                    <a:pt x="893" y="217"/>
                  </a:lnTo>
                  <a:lnTo>
                    <a:pt x="893" y="162"/>
                  </a:lnTo>
                  <a:lnTo>
                    <a:pt x="893" y="105"/>
                  </a:lnTo>
                  <a:lnTo>
                    <a:pt x="943" y="81"/>
                  </a:lnTo>
                  <a:lnTo>
                    <a:pt x="974" y="24"/>
                  </a:lnTo>
                  <a:lnTo>
                    <a:pt x="1030" y="55"/>
                  </a:lnTo>
                  <a:lnTo>
                    <a:pt x="1080" y="0"/>
                  </a:lnTo>
                  <a:lnTo>
                    <a:pt x="1111" y="0"/>
                  </a:lnTo>
                  <a:lnTo>
                    <a:pt x="1161" y="81"/>
                  </a:lnTo>
                  <a:lnTo>
                    <a:pt x="1216" y="0"/>
                  </a:lnTo>
                  <a:lnTo>
                    <a:pt x="1329" y="24"/>
                  </a:lnTo>
                  <a:lnTo>
                    <a:pt x="1353" y="105"/>
                  </a:lnTo>
                  <a:lnTo>
                    <a:pt x="1378" y="136"/>
                  </a:lnTo>
                  <a:lnTo>
                    <a:pt x="1410" y="105"/>
                  </a:lnTo>
                  <a:lnTo>
                    <a:pt x="1458" y="55"/>
                  </a:lnTo>
                  <a:lnTo>
                    <a:pt x="1515" y="0"/>
                  </a:lnTo>
                  <a:lnTo>
                    <a:pt x="1539" y="24"/>
                  </a:lnTo>
                  <a:lnTo>
                    <a:pt x="1571" y="0"/>
                  </a:lnTo>
                  <a:lnTo>
                    <a:pt x="1595" y="0"/>
                  </a:lnTo>
                  <a:lnTo>
                    <a:pt x="1652" y="24"/>
                  </a:lnTo>
                  <a:lnTo>
                    <a:pt x="1707" y="55"/>
                  </a:lnTo>
                  <a:lnTo>
                    <a:pt x="1788" y="105"/>
                  </a:lnTo>
                  <a:lnTo>
                    <a:pt x="1788" y="162"/>
                  </a:lnTo>
                  <a:lnTo>
                    <a:pt x="1788" y="217"/>
                  </a:lnTo>
                  <a:lnTo>
                    <a:pt x="1838" y="267"/>
                  </a:lnTo>
                  <a:lnTo>
                    <a:pt x="1868" y="323"/>
                  </a:lnTo>
                  <a:lnTo>
                    <a:pt x="1868" y="354"/>
                  </a:lnTo>
                  <a:lnTo>
                    <a:pt x="1838" y="435"/>
                  </a:lnTo>
                  <a:lnTo>
                    <a:pt x="1925" y="484"/>
                  </a:lnTo>
                  <a:lnTo>
                    <a:pt x="1975" y="484"/>
                  </a:lnTo>
                  <a:lnTo>
                    <a:pt x="1975" y="571"/>
                  </a:lnTo>
                  <a:lnTo>
                    <a:pt x="2006" y="596"/>
                  </a:lnTo>
                  <a:lnTo>
                    <a:pt x="2030" y="596"/>
                  </a:lnTo>
                  <a:lnTo>
                    <a:pt x="2054" y="651"/>
                  </a:lnTo>
                  <a:lnTo>
                    <a:pt x="2111" y="701"/>
                  </a:lnTo>
                  <a:lnTo>
                    <a:pt x="2142" y="701"/>
                  </a:lnTo>
                  <a:lnTo>
                    <a:pt x="2222" y="701"/>
                  </a:lnTo>
                  <a:lnTo>
                    <a:pt x="2248" y="701"/>
                  </a:lnTo>
                  <a:lnTo>
                    <a:pt x="2272" y="701"/>
                  </a:lnTo>
                  <a:lnTo>
                    <a:pt x="2272" y="756"/>
                  </a:lnTo>
                  <a:lnTo>
                    <a:pt x="2272" y="868"/>
                  </a:lnTo>
                  <a:lnTo>
                    <a:pt x="2248" y="868"/>
                  </a:lnTo>
                  <a:lnTo>
                    <a:pt x="2303" y="868"/>
                  </a:lnTo>
                  <a:lnTo>
                    <a:pt x="2328" y="837"/>
                  </a:lnTo>
                  <a:lnTo>
                    <a:pt x="2353" y="813"/>
                  </a:lnTo>
                  <a:lnTo>
                    <a:pt x="2409" y="813"/>
                  </a:lnTo>
                  <a:lnTo>
                    <a:pt x="2440" y="813"/>
                  </a:lnTo>
                  <a:lnTo>
                    <a:pt x="2464" y="813"/>
                  </a:lnTo>
                  <a:lnTo>
                    <a:pt x="2464" y="868"/>
                  </a:lnTo>
                  <a:lnTo>
                    <a:pt x="2490" y="894"/>
                  </a:lnTo>
                  <a:lnTo>
                    <a:pt x="2545" y="918"/>
                  </a:lnTo>
                  <a:lnTo>
                    <a:pt x="2571" y="949"/>
                  </a:lnTo>
                  <a:lnTo>
                    <a:pt x="2571" y="974"/>
                  </a:lnTo>
                  <a:lnTo>
                    <a:pt x="2521" y="999"/>
                  </a:lnTo>
                  <a:lnTo>
                    <a:pt x="2545" y="1055"/>
                  </a:lnTo>
                  <a:lnTo>
                    <a:pt x="2464" y="1136"/>
                  </a:lnTo>
                  <a:lnTo>
                    <a:pt x="2409" y="1167"/>
                  </a:lnTo>
                  <a:lnTo>
                    <a:pt x="2353" y="1167"/>
                  </a:lnTo>
                  <a:lnTo>
                    <a:pt x="2328" y="1136"/>
                  </a:lnTo>
                  <a:lnTo>
                    <a:pt x="2303" y="1136"/>
                  </a:lnTo>
                  <a:lnTo>
                    <a:pt x="2248" y="1167"/>
                  </a:lnTo>
                  <a:lnTo>
                    <a:pt x="2248" y="1217"/>
                  </a:lnTo>
                  <a:lnTo>
                    <a:pt x="2248" y="1247"/>
                  </a:lnTo>
                  <a:lnTo>
                    <a:pt x="2248" y="1272"/>
                  </a:lnTo>
                  <a:lnTo>
                    <a:pt x="2303" y="1328"/>
                  </a:lnTo>
                  <a:lnTo>
                    <a:pt x="2328" y="1328"/>
                  </a:lnTo>
                  <a:lnTo>
                    <a:pt x="2353" y="1353"/>
                  </a:lnTo>
                  <a:lnTo>
                    <a:pt x="2353" y="1378"/>
                  </a:lnTo>
                  <a:lnTo>
                    <a:pt x="2353" y="1409"/>
                  </a:lnTo>
                  <a:lnTo>
                    <a:pt x="2384" y="1433"/>
                  </a:lnTo>
                  <a:lnTo>
                    <a:pt x="2384" y="1464"/>
                  </a:lnTo>
                  <a:lnTo>
                    <a:pt x="2409" y="1514"/>
                  </a:lnTo>
                  <a:lnTo>
                    <a:pt x="2464" y="1595"/>
                  </a:lnTo>
                  <a:lnTo>
                    <a:pt x="2464" y="1626"/>
                  </a:lnTo>
                  <a:lnTo>
                    <a:pt x="2490" y="1626"/>
                  </a:lnTo>
                  <a:lnTo>
                    <a:pt x="2521" y="1650"/>
                  </a:lnTo>
                  <a:lnTo>
                    <a:pt x="2409" y="1681"/>
                  </a:lnTo>
                  <a:lnTo>
                    <a:pt x="2384" y="1681"/>
                  </a:lnTo>
                  <a:lnTo>
                    <a:pt x="2353" y="1731"/>
                  </a:lnTo>
                  <a:lnTo>
                    <a:pt x="2272" y="1762"/>
                  </a:lnTo>
                  <a:lnTo>
                    <a:pt x="2272" y="1787"/>
                  </a:lnTo>
                  <a:lnTo>
                    <a:pt x="2272" y="1811"/>
                  </a:lnTo>
                  <a:lnTo>
                    <a:pt x="2248" y="1811"/>
                  </a:lnTo>
                  <a:lnTo>
                    <a:pt x="2248" y="1868"/>
                  </a:lnTo>
                  <a:lnTo>
                    <a:pt x="2248" y="1892"/>
                  </a:lnTo>
                  <a:lnTo>
                    <a:pt x="2248" y="1949"/>
                  </a:lnTo>
                  <a:lnTo>
                    <a:pt x="2222" y="2029"/>
                  </a:lnTo>
                  <a:lnTo>
                    <a:pt x="2248" y="2060"/>
                  </a:lnTo>
                  <a:lnTo>
                    <a:pt x="2272" y="2085"/>
                  </a:lnTo>
                  <a:lnTo>
                    <a:pt x="2303" y="2110"/>
                  </a:lnTo>
                  <a:lnTo>
                    <a:pt x="2272" y="2165"/>
                  </a:lnTo>
                  <a:lnTo>
                    <a:pt x="2272" y="2191"/>
                  </a:lnTo>
                  <a:lnTo>
                    <a:pt x="2222" y="2165"/>
                  </a:lnTo>
                  <a:lnTo>
                    <a:pt x="2191" y="2141"/>
                  </a:lnTo>
                  <a:lnTo>
                    <a:pt x="2142" y="2110"/>
                  </a:lnTo>
                  <a:lnTo>
                    <a:pt x="2086" y="2165"/>
                  </a:lnTo>
                  <a:lnTo>
                    <a:pt x="2030" y="2165"/>
                  </a:lnTo>
                  <a:lnTo>
                    <a:pt x="2006" y="2141"/>
                  </a:lnTo>
                  <a:lnTo>
                    <a:pt x="1949" y="2222"/>
                  </a:lnTo>
                  <a:lnTo>
                    <a:pt x="1894" y="2222"/>
                  </a:lnTo>
                  <a:lnTo>
                    <a:pt x="1868" y="2191"/>
                  </a:lnTo>
                  <a:lnTo>
                    <a:pt x="1813" y="2141"/>
                  </a:lnTo>
                  <a:lnTo>
                    <a:pt x="1731" y="2191"/>
                  </a:lnTo>
                  <a:lnTo>
                    <a:pt x="1731" y="2277"/>
                  </a:lnTo>
                  <a:lnTo>
                    <a:pt x="1707" y="2277"/>
                  </a:lnTo>
                  <a:lnTo>
                    <a:pt x="1676" y="2191"/>
                  </a:lnTo>
                  <a:lnTo>
                    <a:pt x="1652" y="2222"/>
                  </a:lnTo>
                  <a:lnTo>
                    <a:pt x="1595" y="2246"/>
                  </a:lnTo>
                  <a:lnTo>
                    <a:pt x="1539" y="2191"/>
                  </a:lnTo>
                  <a:lnTo>
                    <a:pt x="1515" y="2246"/>
                  </a:lnTo>
                  <a:lnTo>
                    <a:pt x="1458" y="2246"/>
                  </a:lnTo>
                  <a:lnTo>
                    <a:pt x="1458" y="2222"/>
                  </a:lnTo>
                  <a:lnTo>
                    <a:pt x="1434" y="2246"/>
                  </a:lnTo>
                  <a:lnTo>
                    <a:pt x="1434" y="2303"/>
                  </a:lnTo>
                  <a:lnTo>
                    <a:pt x="1410" y="2303"/>
                  </a:lnTo>
                  <a:lnTo>
                    <a:pt x="1410" y="2277"/>
                  </a:lnTo>
                  <a:lnTo>
                    <a:pt x="1353" y="2277"/>
                  </a:lnTo>
                  <a:lnTo>
                    <a:pt x="1297" y="2277"/>
                  </a:lnTo>
                  <a:lnTo>
                    <a:pt x="1241" y="2246"/>
                  </a:lnTo>
                  <a:lnTo>
                    <a:pt x="1241" y="2222"/>
                  </a:lnTo>
                  <a:lnTo>
                    <a:pt x="1192" y="2222"/>
                  </a:lnTo>
                  <a:lnTo>
                    <a:pt x="1192" y="2246"/>
                  </a:lnTo>
                  <a:lnTo>
                    <a:pt x="1080" y="2246"/>
                  </a:lnTo>
                  <a:lnTo>
                    <a:pt x="1030" y="2277"/>
                  </a:lnTo>
                  <a:lnTo>
                    <a:pt x="999" y="2222"/>
                  </a:lnTo>
                  <a:lnTo>
                    <a:pt x="919" y="2246"/>
                  </a:lnTo>
                  <a:lnTo>
                    <a:pt x="893" y="2222"/>
                  </a:lnTo>
                  <a:lnTo>
                    <a:pt x="732" y="2246"/>
                  </a:lnTo>
                  <a:lnTo>
                    <a:pt x="645" y="2277"/>
                  </a:lnTo>
                  <a:lnTo>
                    <a:pt x="484" y="2358"/>
                  </a:lnTo>
                  <a:lnTo>
                    <a:pt x="403" y="2383"/>
                  </a:lnTo>
                  <a:lnTo>
                    <a:pt x="403" y="2463"/>
                  </a:lnTo>
                  <a:lnTo>
                    <a:pt x="378" y="2488"/>
                  </a:lnTo>
                  <a:lnTo>
                    <a:pt x="347" y="2544"/>
                  </a:lnTo>
                  <a:lnTo>
                    <a:pt x="297" y="2544"/>
                  </a:lnTo>
                  <a:lnTo>
                    <a:pt x="323" y="2519"/>
                  </a:lnTo>
                  <a:lnTo>
                    <a:pt x="242" y="2519"/>
                  </a:lnTo>
                  <a:lnTo>
                    <a:pt x="266" y="2439"/>
                  </a:lnTo>
                  <a:lnTo>
                    <a:pt x="266" y="2383"/>
                  </a:lnTo>
                  <a:lnTo>
                    <a:pt x="266" y="2358"/>
                  </a:lnTo>
                  <a:lnTo>
                    <a:pt x="242" y="2327"/>
                  </a:lnTo>
                  <a:lnTo>
                    <a:pt x="216" y="2327"/>
                  </a:lnTo>
                  <a:lnTo>
                    <a:pt x="216" y="2303"/>
                  </a:lnTo>
                  <a:lnTo>
                    <a:pt x="185" y="2303"/>
                  </a:lnTo>
                  <a:lnTo>
                    <a:pt x="161" y="2303"/>
                  </a:lnTo>
                  <a:lnTo>
                    <a:pt x="136" y="2303"/>
                  </a:lnTo>
                  <a:lnTo>
                    <a:pt x="105" y="2303"/>
                  </a:lnTo>
                  <a:lnTo>
                    <a:pt x="105" y="2277"/>
                  </a:lnTo>
                  <a:lnTo>
                    <a:pt x="80" y="2277"/>
                  </a:lnTo>
                  <a:lnTo>
                    <a:pt x="105" y="2246"/>
                  </a:lnTo>
                  <a:lnTo>
                    <a:pt x="105" y="2222"/>
                  </a:lnTo>
                  <a:lnTo>
                    <a:pt x="136" y="2165"/>
                  </a:lnTo>
                  <a:lnTo>
                    <a:pt x="161" y="2110"/>
                  </a:lnTo>
                  <a:lnTo>
                    <a:pt x="185" y="2110"/>
                  </a:lnTo>
                  <a:lnTo>
                    <a:pt x="242" y="2085"/>
                  </a:lnTo>
                  <a:lnTo>
                    <a:pt x="242" y="2060"/>
                  </a:lnTo>
                  <a:lnTo>
                    <a:pt x="266" y="2060"/>
                  </a:lnTo>
                  <a:lnTo>
                    <a:pt x="266" y="2004"/>
                  </a:lnTo>
                  <a:lnTo>
                    <a:pt x="266" y="1980"/>
                  </a:lnTo>
                  <a:lnTo>
                    <a:pt x="242" y="1923"/>
                  </a:lnTo>
                  <a:lnTo>
                    <a:pt x="242" y="1892"/>
                  </a:lnTo>
                  <a:lnTo>
                    <a:pt x="216" y="1868"/>
                  </a:lnTo>
                  <a:lnTo>
                    <a:pt x="216" y="1811"/>
                  </a:lnTo>
                  <a:lnTo>
                    <a:pt x="161" y="1762"/>
                  </a:lnTo>
                  <a:lnTo>
                    <a:pt x="136" y="1681"/>
                  </a:lnTo>
                  <a:lnTo>
                    <a:pt x="80" y="1595"/>
                  </a:lnTo>
                  <a:lnTo>
                    <a:pt x="0" y="1433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57" name="Freeform 98">
              <a:extLst>
                <a:ext uri="{FF2B5EF4-FFF2-40B4-BE49-F238E27FC236}">
                  <a16:creationId xmlns:a16="http://schemas.microsoft.com/office/drawing/2014/main" id="{057AD4A3-C2E1-46B5-A5C7-2FC413BD66D5}"/>
                </a:ext>
              </a:extLst>
            </p:cNvPr>
            <p:cNvSpPr>
              <a:spLocks/>
            </p:cNvSpPr>
            <p:nvPr/>
          </p:nvSpPr>
          <p:spPr bwMode="gray">
            <a:xfrm>
              <a:off x="8988978" y="2723832"/>
              <a:ext cx="281702" cy="172149"/>
            </a:xfrm>
            <a:custGeom>
              <a:avLst/>
              <a:gdLst/>
              <a:ahLst/>
              <a:cxnLst>
                <a:cxn ang="0">
                  <a:pos x="242" y="0"/>
                </a:cxn>
                <a:cxn ang="0">
                  <a:pos x="266" y="0"/>
                </a:cxn>
                <a:cxn ang="0">
                  <a:pos x="242" y="80"/>
                </a:cxn>
                <a:cxn ang="0">
                  <a:pos x="211" y="106"/>
                </a:cxn>
                <a:cxn ang="0">
                  <a:pos x="186" y="137"/>
                </a:cxn>
                <a:cxn ang="0">
                  <a:pos x="186" y="161"/>
                </a:cxn>
                <a:cxn ang="0">
                  <a:pos x="161" y="218"/>
                </a:cxn>
                <a:cxn ang="0">
                  <a:pos x="211" y="187"/>
                </a:cxn>
                <a:cxn ang="0">
                  <a:pos x="242" y="187"/>
                </a:cxn>
                <a:cxn ang="0">
                  <a:pos x="266" y="187"/>
                </a:cxn>
                <a:cxn ang="0">
                  <a:pos x="297" y="187"/>
                </a:cxn>
                <a:cxn ang="0">
                  <a:pos x="323" y="161"/>
                </a:cxn>
                <a:cxn ang="0">
                  <a:pos x="347" y="137"/>
                </a:cxn>
                <a:cxn ang="0">
                  <a:pos x="347" y="106"/>
                </a:cxn>
                <a:cxn ang="0">
                  <a:pos x="323" y="80"/>
                </a:cxn>
                <a:cxn ang="0">
                  <a:pos x="323" y="56"/>
                </a:cxn>
                <a:cxn ang="0">
                  <a:pos x="323" y="25"/>
                </a:cxn>
                <a:cxn ang="0">
                  <a:pos x="323" y="0"/>
                </a:cxn>
                <a:cxn ang="0">
                  <a:pos x="378" y="0"/>
                </a:cxn>
                <a:cxn ang="0">
                  <a:pos x="403" y="25"/>
                </a:cxn>
                <a:cxn ang="0">
                  <a:pos x="428" y="25"/>
                </a:cxn>
                <a:cxn ang="0">
                  <a:pos x="484" y="80"/>
                </a:cxn>
                <a:cxn ang="0">
                  <a:pos x="509" y="56"/>
                </a:cxn>
                <a:cxn ang="0">
                  <a:pos x="539" y="80"/>
                </a:cxn>
                <a:cxn ang="0">
                  <a:pos x="596" y="56"/>
                </a:cxn>
                <a:cxn ang="0">
                  <a:pos x="620" y="25"/>
                </a:cxn>
                <a:cxn ang="0">
                  <a:pos x="646" y="56"/>
                </a:cxn>
                <a:cxn ang="0">
                  <a:pos x="677" y="56"/>
                </a:cxn>
                <a:cxn ang="0">
                  <a:pos x="726" y="80"/>
                </a:cxn>
                <a:cxn ang="0">
                  <a:pos x="782" y="137"/>
                </a:cxn>
                <a:cxn ang="0">
                  <a:pos x="782" y="161"/>
                </a:cxn>
                <a:cxn ang="0">
                  <a:pos x="757" y="187"/>
                </a:cxn>
                <a:cxn ang="0">
                  <a:pos x="726" y="218"/>
                </a:cxn>
                <a:cxn ang="0">
                  <a:pos x="757" y="273"/>
                </a:cxn>
                <a:cxn ang="0">
                  <a:pos x="757" y="323"/>
                </a:cxn>
                <a:cxn ang="0">
                  <a:pos x="838" y="354"/>
                </a:cxn>
                <a:cxn ang="0">
                  <a:pos x="807" y="403"/>
                </a:cxn>
                <a:cxn ang="0">
                  <a:pos x="701" y="460"/>
                </a:cxn>
                <a:cxn ang="0">
                  <a:pos x="509" y="484"/>
                </a:cxn>
                <a:cxn ang="0">
                  <a:pos x="428" y="515"/>
                </a:cxn>
                <a:cxn ang="0">
                  <a:pos x="266" y="515"/>
                </a:cxn>
                <a:cxn ang="0">
                  <a:pos x="130" y="515"/>
                </a:cxn>
                <a:cxn ang="0">
                  <a:pos x="0" y="515"/>
                </a:cxn>
                <a:cxn ang="0">
                  <a:pos x="0" y="484"/>
                </a:cxn>
                <a:cxn ang="0">
                  <a:pos x="24" y="484"/>
                </a:cxn>
                <a:cxn ang="0">
                  <a:pos x="24" y="434"/>
                </a:cxn>
                <a:cxn ang="0">
                  <a:pos x="49" y="403"/>
                </a:cxn>
                <a:cxn ang="0">
                  <a:pos x="161" y="323"/>
                </a:cxn>
                <a:cxn ang="0">
                  <a:pos x="81" y="323"/>
                </a:cxn>
                <a:cxn ang="0">
                  <a:pos x="81" y="354"/>
                </a:cxn>
                <a:cxn ang="0">
                  <a:pos x="49" y="323"/>
                </a:cxn>
                <a:cxn ang="0">
                  <a:pos x="24" y="354"/>
                </a:cxn>
                <a:cxn ang="0">
                  <a:pos x="0" y="379"/>
                </a:cxn>
                <a:cxn ang="0">
                  <a:pos x="24" y="298"/>
                </a:cxn>
                <a:cxn ang="0">
                  <a:pos x="0" y="273"/>
                </a:cxn>
                <a:cxn ang="0">
                  <a:pos x="0" y="218"/>
                </a:cxn>
                <a:cxn ang="0">
                  <a:pos x="130" y="187"/>
                </a:cxn>
                <a:cxn ang="0">
                  <a:pos x="161" y="161"/>
                </a:cxn>
                <a:cxn ang="0">
                  <a:pos x="186" y="106"/>
                </a:cxn>
                <a:cxn ang="0">
                  <a:pos x="211" y="25"/>
                </a:cxn>
                <a:cxn ang="0">
                  <a:pos x="242" y="0"/>
                </a:cxn>
              </a:cxnLst>
              <a:rect l="0" t="0" r="r" b="b"/>
              <a:pathLst>
                <a:path w="838" h="515">
                  <a:moveTo>
                    <a:pt x="242" y="0"/>
                  </a:moveTo>
                  <a:lnTo>
                    <a:pt x="266" y="0"/>
                  </a:lnTo>
                  <a:lnTo>
                    <a:pt x="242" y="80"/>
                  </a:lnTo>
                  <a:lnTo>
                    <a:pt x="211" y="106"/>
                  </a:lnTo>
                  <a:lnTo>
                    <a:pt x="186" y="137"/>
                  </a:lnTo>
                  <a:lnTo>
                    <a:pt x="186" y="161"/>
                  </a:lnTo>
                  <a:lnTo>
                    <a:pt x="161" y="218"/>
                  </a:lnTo>
                  <a:lnTo>
                    <a:pt x="211" y="187"/>
                  </a:lnTo>
                  <a:lnTo>
                    <a:pt x="242" y="187"/>
                  </a:lnTo>
                  <a:lnTo>
                    <a:pt x="266" y="187"/>
                  </a:lnTo>
                  <a:lnTo>
                    <a:pt x="297" y="187"/>
                  </a:lnTo>
                  <a:lnTo>
                    <a:pt x="323" y="161"/>
                  </a:lnTo>
                  <a:lnTo>
                    <a:pt x="347" y="137"/>
                  </a:lnTo>
                  <a:lnTo>
                    <a:pt x="347" y="106"/>
                  </a:lnTo>
                  <a:lnTo>
                    <a:pt x="323" y="80"/>
                  </a:lnTo>
                  <a:lnTo>
                    <a:pt x="323" y="56"/>
                  </a:lnTo>
                  <a:lnTo>
                    <a:pt x="323" y="25"/>
                  </a:lnTo>
                  <a:lnTo>
                    <a:pt x="323" y="0"/>
                  </a:lnTo>
                  <a:lnTo>
                    <a:pt x="378" y="0"/>
                  </a:lnTo>
                  <a:lnTo>
                    <a:pt x="403" y="25"/>
                  </a:lnTo>
                  <a:lnTo>
                    <a:pt x="428" y="25"/>
                  </a:lnTo>
                  <a:lnTo>
                    <a:pt x="484" y="80"/>
                  </a:lnTo>
                  <a:lnTo>
                    <a:pt x="509" y="56"/>
                  </a:lnTo>
                  <a:lnTo>
                    <a:pt x="539" y="80"/>
                  </a:lnTo>
                  <a:lnTo>
                    <a:pt x="596" y="56"/>
                  </a:lnTo>
                  <a:lnTo>
                    <a:pt x="620" y="25"/>
                  </a:lnTo>
                  <a:lnTo>
                    <a:pt x="646" y="56"/>
                  </a:lnTo>
                  <a:lnTo>
                    <a:pt x="677" y="56"/>
                  </a:lnTo>
                  <a:lnTo>
                    <a:pt x="726" y="80"/>
                  </a:lnTo>
                  <a:lnTo>
                    <a:pt x="782" y="137"/>
                  </a:lnTo>
                  <a:lnTo>
                    <a:pt x="782" y="161"/>
                  </a:lnTo>
                  <a:lnTo>
                    <a:pt x="757" y="187"/>
                  </a:lnTo>
                  <a:lnTo>
                    <a:pt x="726" y="218"/>
                  </a:lnTo>
                  <a:lnTo>
                    <a:pt x="757" y="273"/>
                  </a:lnTo>
                  <a:lnTo>
                    <a:pt x="757" y="323"/>
                  </a:lnTo>
                  <a:lnTo>
                    <a:pt x="838" y="354"/>
                  </a:lnTo>
                  <a:lnTo>
                    <a:pt x="807" y="403"/>
                  </a:lnTo>
                  <a:lnTo>
                    <a:pt x="701" y="460"/>
                  </a:lnTo>
                  <a:lnTo>
                    <a:pt x="509" y="484"/>
                  </a:lnTo>
                  <a:lnTo>
                    <a:pt x="428" y="515"/>
                  </a:lnTo>
                  <a:lnTo>
                    <a:pt x="266" y="515"/>
                  </a:lnTo>
                  <a:lnTo>
                    <a:pt x="130" y="515"/>
                  </a:lnTo>
                  <a:lnTo>
                    <a:pt x="0" y="515"/>
                  </a:lnTo>
                  <a:lnTo>
                    <a:pt x="0" y="484"/>
                  </a:lnTo>
                  <a:lnTo>
                    <a:pt x="24" y="484"/>
                  </a:lnTo>
                  <a:lnTo>
                    <a:pt x="24" y="434"/>
                  </a:lnTo>
                  <a:lnTo>
                    <a:pt x="49" y="403"/>
                  </a:lnTo>
                  <a:lnTo>
                    <a:pt x="161" y="323"/>
                  </a:lnTo>
                  <a:lnTo>
                    <a:pt x="81" y="323"/>
                  </a:lnTo>
                  <a:lnTo>
                    <a:pt x="81" y="354"/>
                  </a:lnTo>
                  <a:lnTo>
                    <a:pt x="49" y="323"/>
                  </a:lnTo>
                  <a:lnTo>
                    <a:pt x="24" y="354"/>
                  </a:lnTo>
                  <a:lnTo>
                    <a:pt x="0" y="379"/>
                  </a:lnTo>
                  <a:lnTo>
                    <a:pt x="24" y="298"/>
                  </a:lnTo>
                  <a:lnTo>
                    <a:pt x="0" y="273"/>
                  </a:lnTo>
                  <a:lnTo>
                    <a:pt x="0" y="218"/>
                  </a:lnTo>
                  <a:lnTo>
                    <a:pt x="130" y="187"/>
                  </a:lnTo>
                  <a:lnTo>
                    <a:pt x="161" y="161"/>
                  </a:lnTo>
                  <a:lnTo>
                    <a:pt x="186" y="106"/>
                  </a:lnTo>
                  <a:lnTo>
                    <a:pt x="211" y="25"/>
                  </a:lnTo>
                  <a:lnTo>
                    <a:pt x="242" y="0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58" name="Freeform 99">
              <a:extLst>
                <a:ext uri="{FF2B5EF4-FFF2-40B4-BE49-F238E27FC236}">
                  <a16:creationId xmlns:a16="http://schemas.microsoft.com/office/drawing/2014/main" id="{FC8275A5-026A-4F02-A047-6B4E698BFE3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037532" y="4418507"/>
              <a:ext cx="1415211" cy="1158102"/>
            </a:xfrm>
            <a:custGeom>
              <a:avLst/>
              <a:gdLst/>
              <a:ahLst/>
              <a:cxnLst>
                <a:cxn ang="0">
                  <a:pos x="136" y="1545"/>
                </a:cxn>
                <a:cxn ang="0">
                  <a:pos x="136" y="1353"/>
                </a:cxn>
                <a:cxn ang="0">
                  <a:pos x="136" y="1167"/>
                </a:cxn>
                <a:cxn ang="0">
                  <a:pos x="87" y="1086"/>
                </a:cxn>
                <a:cxn ang="0">
                  <a:pos x="168" y="999"/>
                </a:cxn>
                <a:cxn ang="0">
                  <a:pos x="297" y="918"/>
                </a:cxn>
                <a:cxn ang="0">
                  <a:pos x="434" y="918"/>
                </a:cxn>
                <a:cxn ang="0">
                  <a:pos x="546" y="918"/>
                </a:cxn>
                <a:cxn ang="0">
                  <a:pos x="627" y="918"/>
                </a:cxn>
                <a:cxn ang="0">
                  <a:pos x="925" y="1110"/>
                </a:cxn>
                <a:cxn ang="0">
                  <a:pos x="1087" y="1191"/>
                </a:cxn>
                <a:cxn ang="0">
                  <a:pos x="950" y="1297"/>
                </a:cxn>
                <a:cxn ang="0">
                  <a:pos x="733" y="1328"/>
                </a:cxn>
                <a:cxn ang="0">
                  <a:pos x="546" y="1464"/>
                </a:cxn>
                <a:cxn ang="0">
                  <a:pos x="329" y="1731"/>
                </a:cxn>
                <a:cxn ang="0">
                  <a:pos x="192" y="1949"/>
                </a:cxn>
                <a:cxn ang="0">
                  <a:pos x="168" y="1812"/>
                </a:cxn>
                <a:cxn ang="0">
                  <a:pos x="354" y="1682"/>
                </a:cxn>
                <a:cxn ang="0">
                  <a:pos x="217" y="1651"/>
                </a:cxn>
                <a:cxn ang="0">
                  <a:pos x="55" y="1626"/>
                </a:cxn>
                <a:cxn ang="0">
                  <a:pos x="31" y="1980"/>
                </a:cxn>
                <a:cxn ang="0">
                  <a:pos x="4204" y="2495"/>
                </a:cxn>
                <a:cxn ang="0">
                  <a:pos x="3931" y="105"/>
                </a:cxn>
                <a:cxn ang="0">
                  <a:pos x="3496" y="25"/>
                </a:cxn>
                <a:cxn ang="0">
                  <a:pos x="3093" y="0"/>
                </a:cxn>
                <a:cxn ang="0">
                  <a:pos x="2254" y="435"/>
                </a:cxn>
                <a:cxn ang="0">
                  <a:pos x="1490" y="1055"/>
                </a:cxn>
                <a:cxn ang="0">
                  <a:pos x="1248" y="1297"/>
                </a:cxn>
                <a:cxn ang="0">
                  <a:pos x="1087" y="1464"/>
                </a:cxn>
                <a:cxn ang="0">
                  <a:pos x="1111" y="1514"/>
                </a:cxn>
                <a:cxn ang="0">
                  <a:pos x="652" y="1626"/>
                </a:cxn>
                <a:cxn ang="0">
                  <a:pos x="515" y="1651"/>
                </a:cxn>
                <a:cxn ang="0">
                  <a:pos x="217" y="2165"/>
                </a:cxn>
                <a:cxn ang="0">
                  <a:pos x="410" y="2277"/>
                </a:cxn>
                <a:cxn ang="0">
                  <a:pos x="627" y="2439"/>
                </a:cxn>
                <a:cxn ang="0">
                  <a:pos x="546" y="2576"/>
                </a:cxn>
                <a:cxn ang="0">
                  <a:pos x="571" y="2681"/>
                </a:cxn>
                <a:cxn ang="0">
                  <a:pos x="410" y="2600"/>
                </a:cxn>
                <a:cxn ang="0">
                  <a:pos x="410" y="2737"/>
                </a:cxn>
                <a:cxn ang="0">
                  <a:pos x="683" y="2842"/>
                </a:cxn>
                <a:cxn ang="0">
                  <a:pos x="845" y="3010"/>
                </a:cxn>
                <a:cxn ang="0">
                  <a:pos x="950" y="3221"/>
                </a:cxn>
                <a:cxn ang="0">
                  <a:pos x="1329" y="3171"/>
                </a:cxn>
                <a:cxn ang="0">
                  <a:pos x="1030" y="3389"/>
                </a:cxn>
                <a:cxn ang="0">
                  <a:pos x="1279" y="3413"/>
                </a:cxn>
                <a:cxn ang="0">
                  <a:pos x="1410" y="3277"/>
                </a:cxn>
                <a:cxn ang="0">
                  <a:pos x="1626" y="3221"/>
                </a:cxn>
                <a:cxn ang="0">
                  <a:pos x="1875" y="3413"/>
                </a:cxn>
                <a:cxn ang="0">
                  <a:pos x="2303" y="3221"/>
                </a:cxn>
                <a:cxn ang="0">
                  <a:pos x="2900" y="2978"/>
                </a:cxn>
                <a:cxn ang="0">
                  <a:pos x="3608" y="2923"/>
                </a:cxn>
                <a:cxn ang="0">
                  <a:pos x="3825" y="2519"/>
                </a:cxn>
              </a:cxnLst>
              <a:rect l="0" t="0" r="r" b="b"/>
              <a:pathLst>
                <a:path w="4204" h="3438">
                  <a:moveTo>
                    <a:pt x="55" y="1626"/>
                  </a:moveTo>
                  <a:lnTo>
                    <a:pt x="87" y="1626"/>
                  </a:lnTo>
                  <a:lnTo>
                    <a:pt x="87" y="1595"/>
                  </a:lnTo>
                  <a:lnTo>
                    <a:pt x="111" y="1514"/>
                  </a:lnTo>
                  <a:lnTo>
                    <a:pt x="136" y="1545"/>
                  </a:lnTo>
                  <a:lnTo>
                    <a:pt x="168" y="1490"/>
                  </a:lnTo>
                  <a:lnTo>
                    <a:pt x="168" y="1464"/>
                  </a:lnTo>
                  <a:lnTo>
                    <a:pt x="136" y="1433"/>
                  </a:lnTo>
                  <a:lnTo>
                    <a:pt x="111" y="1384"/>
                  </a:lnTo>
                  <a:lnTo>
                    <a:pt x="136" y="1353"/>
                  </a:lnTo>
                  <a:lnTo>
                    <a:pt x="168" y="1328"/>
                  </a:lnTo>
                  <a:lnTo>
                    <a:pt x="217" y="1297"/>
                  </a:lnTo>
                  <a:lnTo>
                    <a:pt x="192" y="1248"/>
                  </a:lnTo>
                  <a:lnTo>
                    <a:pt x="192" y="1191"/>
                  </a:lnTo>
                  <a:lnTo>
                    <a:pt x="136" y="1167"/>
                  </a:lnTo>
                  <a:lnTo>
                    <a:pt x="111" y="1136"/>
                  </a:lnTo>
                  <a:lnTo>
                    <a:pt x="55" y="1136"/>
                  </a:lnTo>
                  <a:lnTo>
                    <a:pt x="55" y="1110"/>
                  </a:lnTo>
                  <a:lnTo>
                    <a:pt x="55" y="1086"/>
                  </a:lnTo>
                  <a:lnTo>
                    <a:pt x="87" y="1086"/>
                  </a:lnTo>
                  <a:lnTo>
                    <a:pt x="111" y="1086"/>
                  </a:lnTo>
                  <a:lnTo>
                    <a:pt x="111" y="1055"/>
                  </a:lnTo>
                  <a:lnTo>
                    <a:pt x="111" y="1030"/>
                  </a:lnTo>
                  <a:lnTo>
                    <a:pt x="136" y="999"/>
                  </a:lnTo>
                  <a:lnTo>
                    <a:pt x="168" y="999"/>
                  </a:lnTo>
                  <a:lnTo>
                    <a:pt x="192" y="974"/>
                  </a:lnTo>
                  <a:lnTo>
                    <a:pt x="217" y="974"/>
                  </a:lnTo>
                  <a:lnTo>
                    <a:pt x="249" y="949"/>
                  </a:lnTo>
                  <a:lnTo>
                    <a:pt x="273" y="918"/>
                  </a:lnTo>
                  <a:lnTo>
                    <a:pt x="297" y="918"/>
                  </a:lnTo>
                  <a:lnTo>
                    <a:pt x="329" y="918"/>
                  </a:lnTo>
                  <a:lnTo>
                    <a:pt x="329" y="894"/>
                  </a:lnTo>
                  <a:lnTo>
                    <a:pt x="385" y="894"/>
                  </a:lnTo>
                  <a:lnTo>
                    <a:pt x="410" y="918"/>
                  </a:lnTo>
                  <a:lnTo>
                    <a:pt x="434" y="918"/>
                  </a:lnTo>
                  <a:lnTo>
                    <a:pt x="465" y="949"/>
                  </a:lnTo>
                  <a:lnTo>
                    <a:pt x="465" y="918"/>
                  </a:lnTo>
                  <a:lnTo>
                    <a:pt x="491" y="918"/>
                  </a:lnTo>
                  <a:lnTo>
                    <a:pt x="515" y="918"/>
                  </a:lnTo>
                  <a:lnTo>
                    <a:pt x="546" y="918"/>
                  </a:lnTo>
                  <a:lnTo>
                    <a:pt x="546" y="894"/>
                  </a:lnTo>
                  <a:lnTo>
                    <a:pt x="571" y="894"/>
                  </a:lnTo>
                  <a:lnTo>
                    <a:pt x="596" y="868"/>
                  </a:lnTo>
                  <a:lnTo>
                    <a:pt x="627" y="868"/>
                  </a:lnTo>
                  <a:lnTo>
                    <a:pt x="627" y="918"/>
                  </a:lnTo>
                  <a:lnTo>
                    <a:pt x="652" y="949"/>
                  </a:lnTo>
                  <a:lnTo>
                    <a:pt x="683" y="974"/>
                  </a:lnTo>
                  <a:lnTo>
                    <a:pt x="683" y="1030"/>
                  </a:lnTo>
                  <a:lnTo>
                    <a:pt x="733" y="1055"/>
                  </a:lnTo>
                  <a:lnTo>
                    <a:pt x="925" y="1110"/>
                  </a:lnTo>
                  <a:lnTo>
                    <a:pt x="1061" y="1136"/>
                  </a:lnTo>
                  <a:lnTo>
                    <a:pt x="1061" y="1110"/>
                  </a:lnTo>
                  <a:lnTo>
                    <a:pt x="1087" y="1110"/>
                  </a:lnTo>
                  <a:lnTo>
                    <a:pt x="1087" y="1167"/>
                  </a:lnTo>
                  <a:lnTo>
                    <a:pt x="1087" y="1191"/>
                  </a:lnTo>
                  <a:lnTo>
                    <a:pt x="1087" y="1217"/>
                  </a:lnTo>
                  <a:lnTo>
                    <a:pt x="1087" y="1248"/>
                  </a:lnTo>
                  <a:lnTo>
                    <a:pt x="1030" y="1272"/>
                  </a:lnTo>
                  <a:lnTo>
                    <a:pt x="1006" y="1272"/>
                  </a:lnTo>
                  <a:lnTo>
                    <a:pt x="950" y="1297"/>
                  </a:lnTo>
                  <a:lnTo>
                    <a:pt x="925" y="1272"/>
                  </a:lnTo>
                  <a:lnTo>
                    <a:pt x="925" y="1297"/>
                  </a:lnTo>
                  <a:lnTo>
                    <a:pt x="869" y="1272"/>
                  </a:lnTo>
                  <a:lnTo>
                    <a:pt x="814" y="1272"/>
                  </a:lnTo>
                  <a:lnTo>
                    <a:pt x="733" y="1328"/>
                  </a:lnTo>
                  <a:lnTo>
                    <a:pt x="733" y="1353"/>
                  </a:lnTo>
                  <a:lnTo>
                    <a:pt x="683" y="1353"/>
                  </a:lnTo>
                  <a:lnTo>
                    <a:pt x="627" y="1353"/>
                  </a:lnTo>
                  <a:lnTo>
                    <a:pt x="546" y="1384"/>
                  </a:lnTo>
                  <a:lnTo>
                    <a:pt x="546" y="1464"/>
                  </a:lnTo>
                  <a:lnTo>
                    <a:pt x="515" y="1545"/>
                  </a:lnTo>
                  <a:lnTo>
                    <a:pt x="465" y="1595"/>
                  </a:lnTo>
                  <a:lnTo>
                    <a:pt x="434" y="1626"/>
                  </a:lnTo>
                  <a:lnTo>
                    <a:pt x="329" y="1707"/>
                  </a:lnTo>
                  <a:lnTo>
                    <a:pt x="329" y="1731"/>
                  </a:lnTo>
                  <a:lnTo>
                    <a:pt x="297" y="1731"/>
                  </a:lnTo>
                  <a:lnTo>
                    <a:pt x="297" y="1763"/>
                  </a:lnTo>
                  <a:lnTo>
                    <a:pt x="217" y="1868"/>
                  </a:lnTo>
                  <a:lnTo>
                    <a:pt x="249" y="1899"/>
                  </a:lnTo>
                  <a:lnTo>
                    <a:pt x="192" y="1949"/>
                  </a:lnTo>
                  <a:lnTo>
                    <a:pt x="168" y="1949"/>
                  </a:lnTo>
                  <a:lnTo>
                    <a:pt x="192" y="1868"/>
                  </a:lnTo>
                  <a:lnTo>
                    <a:pt x="192" y="1843"/>
                  </a:lnTo>
                  <a:lnTo>
                    <a:pt x="168" y="1843"/>
                  </a:lnTo>
                  <a:lnTo>
                    <a:pt x="168" y="1812"/>
                  </a:lnTo>
                  <a:lnTo>
                    <a:pt x="217" y="1763"/>
                  </a:lnTo>
                  <a:lnTo>
                    <a:pt x="297" y="1707"/>
                  </a:lnTo>
                  <a:lnTo>
                    <a:pt x="329" y="1682"/>
                  </a:lnTo>
                  <a:lnTo>
                    <a:pt x="329" y="1651"/>
                  </a:lnTo>
                  <a:lnTo>
                    <a:pt x="354" y="1682"/>
                  </a:lnTo>
                  <a:lnTo>
                    <a:pt x="354" y="1651"/>
                  </a:lnTo>
                  <a:lnTo>
                    <a:pt x="329" y="1595"/>
                  </a:lnTo>
                  <a:lnTo>
                    <a:pt x="273" y="1651"/>
                  </a:lnTo>
                  <a:lnTo>
                    <a:pt x="249" y="1682"/>
                  </a:lnTo>
                  <a:lnTo>
                    <a:pt x="217" y="1651"/>
                  </a:lnTo>
                  <a:lnTo>
                    <a:pt x="168" y="1682"/>
                  </a:lnTo>
                  <a:lnTo>
                    <a:pt x="136" y="1682"/>
                  </a:lnTo>
                  <a:lnTo>
                    <a:pt x="111" y="1707"/>
                  </a:lnTo>
                  <a:lnTo>
                    <a:pt x="87" y="1707"/>
                  </a:lnTo>
                  <a:lnTo>
                    <a:pt x="55" y="1626"/>
                  </a:lnTo>
                  <a:close/>
                  <a:moveTo>
                    <a:pt x="55" y="1868"/>
                  </a:moveTo>
                  <a:lnTo>
                    <a:pt x="55" y="1899"/>
                  </a:lnTo>
                  <a:lnTo>
                    <a:pt x="31" y="1899"/>
                  </a:lnTo>
                  <a:lnTo>
                    <a:pt x="0" y="1949"/>
                  </a:lnTo>
                  <a:lnTo>
                    <a:pt x="31" y="1980"/>
                  </a:lnTo>
                  <a:lnTo>
                    <a:pt x="111" y="1923"/>
                  </a:lnTo>
                  <a:lnTo>
                    <a:pt x="87" y="1899"/>
                  </a:lnTo>
                  <a:lnTo>
                    <a:pt x="87" y="1868"/>
                  </a:lnTo>
                  <a:lnTo>
                    <a:pt x="55" y="1868"/>
                  </a:lnTo>
                  <a:close/>
                  <a:moveTo>
                    <a:pt x="4204" y="2495"/>
                  </a:moveTo>
                  <a:lnTo>
                    <a:pt x="4204" y="55"/>
                  </a:lnTo>
                  <a:lnTo>
                    <a:pt x="4180" y="136"/>
                  </a:lnTo>
                  <a:lnTo>
                    <a:pt x="4123" y="105"/>
                  </a:lnTo>
                  <a:lnTo>
                    <a:pt x="3962" y="136"/>
                  </a:lnTo>
                  <a:lnTo>
                    <a:pt x="3931" y="105"/>
                  </a:lnTo>
                  <a:lnTo>
                    <a:pt x="3794" y="105"/>
                  </a:lnTo>
                  <a:lnTo>
                    <a:pt x="3744" y="186"/>
                  </a:lnTo>
                  <a:lnTo>
                    <a:pt x="3583" y="136"/>
                  </a:lnTo>
                  <a:lnTo>
                    <a:pt x="3583" y="81"/>
                  </a:lnTo>
                  <a:lnTo>
                    <a:pt x="3496" y="25"/>
                  </a:lnTo>
                  <a:lnTo>
                    <a:pt x="3390" y="136"/>
                  </a:lnTo>
                  <a:lnTo>
                    <a:pt x="3285" y="136"/>
                  </a:lnTo>
                  <a:lnTo>
                    <a:pt x="3148" y="55"/>
                  </a:lnTo>
                  <a:lnTo>
                    <a:pt x="3148" y="0"/>
                  </a:lnTo>
                  <a:lnTo>
                    <a:pt x="3093" y="0"/>
                  </a:lnTo>
                  <a:lnTo>
                    <a:pt x="3067" y="81"/>
                  </a:lnTo>
                  <a:lnTo>
                    <a:pt x="2981" y="136"/>
                  </a:lnTo>
                  <a:lnTo>
                    <a:pt x="2931" y="105"/>
                  </a:lnTo>
                  <a:lnTo>
                    <a:pt x="2497" y="242"/>
                  </a:lnTo>
                  <a:lnTo>
                    <a:pt x="2254" y="435"/>
                  </a:lnTo>
                  <a:lnTo>
                    <a:pt x="1925" y="813"/>
                  </a:lnTo>
                  <a:lnTo>
                    <a:pt x="1956" y="894"/>
                  </a:lnTo>
                  <a:lnTo>
                    <a:pt x="1764" y="999"/>
                  </a:lnTo>
                  <a:lnTo>
                    <a:pt x="1546" y="974"/>
                  </a:lnTo>
                  <a:lnTo>
                    <a:pt x="1490" y="1055"/>
                  </a:lnTo>
                  <a:lnTo>
                    <a:pt x="1142" y="1110"/>
                  </a:lnTo>
                  <a:lnTo>
                    <a:pt x="1111" y="1217"/>
                  </a:lnTo>
                  <a:lnTo>
                    <a:pt x="1223" y="1248"/>
                  </a:lnTo>
                  <a:lnTo>
                    <a:pt x="1223" y="1272"/>
                  </a:lnTo>
                  <a:lnTo>
                    <a:pt x="1248" y="1297"/>
                  </a:lnTo>
                  <a:lnTo>
                    <a:pt x="1441" y="1248"/>
                  </a:lnTo>
                  <a:lnTo>
                    <a:pt x="1465" y="1272"/>
                  </a:lnTo>
                  <a:lnTo>
                    <a:pt x="1279" y="1328"/>
                  </a:lnTo>
                  <a:lnTo>
                    <a:pt x="1142" y="1384"/>
                  </a:lnTo>
                  <a:lnTo>
                    <a:pt x="1087" y="1464"/>
                  </a:lnTo>
                  <a:lnTo>
                    <a:pt x="1111" y="1490"/>
                  </a:lnTo>
                  <a:lnTo>
                    <a:pt x="1192" y="1464"/>
                  </a:lnTo>
                  <a:lnTo>
                    <a:pt x="1192" y="1490"/>
                  </a:lnTo>
                  <a:lnTo>
                    <a:pt x="1167" y="1514"/>
                  </a:lnTo>
                  <a:lnTo>
                    <a:pt x="1111" y="1514"/>
                  </a:lnTo>
                  <a:lnTo>
                    <a:pt x="869" y="1571"/>
                  </a:lnTo>
                  <a:lnTo>
                    <a:pt x="788" y="1626"/>
                  </a:lnTo>
                  <a:lnTo>
                    <a:pt x="788" y="1571"/>
                  </a:lnTo>
                  <a:lnTo>
                    <a:pt x="683" y="1571"/>
                  </a:lnTo>
                  <a:lnTo>
                    <a:pt x="652" y="1626"/>
                  </a:lnTo>
                  <a:lnTo>
                    <a:pt x="733" y="1651"/>
                  </a:lnTo>
                  <a:lnTo>
                    <a:pt x="707" y="1682"/>
                  </a:lnTo>
                  <a:lnTo>
                    <a:pt x="596" y="1707"/>
                  </a:lnTo>
                  <a:lnTo>
                    <a:pt x="546" y="1651"/>
                  </a:lnTo>
                  <a:lnTo>
                    <a:pt x="515" y="1651"/>
                  </a:lnTo>
                  <a:lnTo>
                    <a:pt x="329" y="1763"/>
                  </a:lnTo>
                  <a:lnTo>
                    <a:pt x="273" y="1899"/>
                  </a:lnTo>
                  <a:lnTo>
                    <a:pt x="168" y="2004"/>
                  </a:lnTo>
                  <a:lnTo>
                    <a:pt x="192" y="2110"/>
                  </a:lnTo>
                  <a:lnTo>
                    <a:pt x="217" y="2165"/>
                  </a:lnTo>
                  <a:lnTo>
                    <a:pt x="192" y="2246"/>
                  </a:lnTo>
                  <a:lnTo>
                    <a:pt x="329" y="2196"/>
                  </a:lnTo>
                  <a:lnTo>
                    <a:pt x="491" y="2110"/>
                  </a:lnTo>
                  <a:lnTo>
                    <a:pt x="491" y="2141"/>
                  </a:lnTo>
                  <a:lnTo>
                    <a:pt x="410" y="2277"/>
                  </a:lnTo>
                  <a:lnTo>
                    <a:pt x="546" y="2358"/>
                  </a:lnTo>
                  <a:lnTo>
                    <a:pt x="515" y="2408"/>
                  </a:lnTo>
                  <a:lnTo>
                    <a:pt x="546" y="2439"/>
                  </a:lnTo>
                  <a:lnTo>
                    <a:pt x="596" y="2408"/>
                  </a:lnTo>
                  <a:lnTo>
                    <a:pt x="627" y="2439"/>
                  </a:lnTo>
                  <a:lnTo>
                    <a:pt x="596" y="2464"/>
                  </a:lnTo>
                  <a:lnTo>
                    <a:pt x="596" y="2495"/>
                  </a:lnTo>
                  <a:lnTo>
                    <a:pt x="571" y="2519"/>
                  </a:lnTo>
                  <a:lnTo>
                    <a:pt x="546" y="2519"/>
                  </a:lnTo>
                  <a:lnTo>
                    <a:pt x="546" y="2576"/>
                  </a:lnTo>
                  <a:lnTo>
                    <a:pt x="596" y="2600"/>
                  </a:lnTo>
                  <a:lnTo>
                    <a:pt x="596" y="2626"/>
                  </a:lnTo>
                  <a:lnTo>
                    <a:pt x="683" y="2657"/>
                  </a:lnTo>
                  <a:lnTo>
                    <a:pt x="596" y="2706"/>
                  </a:lnTo>
                  <a:lnTo>
                    <a:pt x="571" y="2681"/>
                  </a:lnTo>
                  <a:lnTo>
                    <a:pt x="571" y="2706"/>
                  </a:lnTo>
                  <a:lnTo>
                    <a:pt x="546" y="2681"/>
                  </a:lnTo>
                  <a:lnTo>
                    <a:pt x="515" y="2657"/>
                  </a:lnTo>
                  <a:lnTo>
                    <a:pt x="465" y="2576"/>
                  </a:lnTo>
                  <a:lnTo>
                    <a:pt x="410" y="2600"/>
                  </a:lnTo>
                  <a:lnTo>
                    <a:pt x="434" y="2706"/>
                  </a:lnTo>
                  <a:lnTo>
                    <a:pt x="465" y="2681"/>
                  </a:lnTo>
                  <a:lnTo>
                    <a:pt x="491" y="2737"/>
                  </a:lnTo>
                  <a:lnTo>
                    <a:pt x="465" y="2762"/>
                  </a:lnTo>
                  <a:lnTo>
                    <a:pt x="410" y="2737"/>
                  </a:lnTo>
                  <a:lnTo>
                    <a:pt x="410" y="2793"/>
                  </a:lnTo>
                  <a:lnTo>
                    <a:pt x="546" y="2842"/>
                  </a:lnTo>
                  <a:lnTo>
                    <a:pt x="571" y="2793"/>
                  </a:lnTo>
                  <a:lnTo>
                    <a:pt x="627" y="2793"/>
                  </a:lnTo>
                  <a:lnTo>
                    <a:pt x="683" y="2842"/>
                  </a:lnTo>
                  <a:lnTo>
                    <a:pt x="683" y="2818"/>
                  </a:lnTo>
                  <a:lnTo>
                    <a:pt x="814" y="2842"/>
                  </a:lnTo>
                  <a:lnTo>
                    <a:pt x="845" y="2954"/>
                  </a:lnTo>
                  <a:lnTo>
                    <a:pt x="764" y="3010"/>
                  </a:lnTo>
                  <a:lnTo>
                    <a:pt x="845" y="3010"/>
                  </a:lnTo>
                  <a:lnTo>
                    <a:pt x="894" y="3140"/>
                  </a:lnTo>
                  <a:lnTo>
                    <a:pt x="950" y="3115"/>
                  </a:lnTo>
                  <a:lnTo>
                    <a:pt x="1030" y="3171"/>
                  </a:lnTo>
                  <a:lnTo>
                    <a:pt x="1030" y="3221"/>
                  </a:lnTo>
                  <a:lnTo>
                    <a:pt x="950" y="3221"/>
                  </a:lnTo>
                  <a:lnTo>
                    <a:pt x="925" y="3277"/>
                  </a:lnTo>
                  <a:lnTo>
                    <a:pt x="950" y="3308"/>
                  </a:lnTo>
                  <a:lnTo>
                    <a:pt x="1006" y="3277"/>
                  </a:lnTo>
                  <a:lnTo>
                    <a:pt x="1030" y="3277"/>
                  </a:lnTo>
                  <a:lnTo>
                    <a:pt x="1329" y="3171"/>
                  </a:lnTo>
                  <a:lnTo>
                    <a:pt x="1304" y="3221"/>
                  </a:lnTo>
                  <a:lnTo>
                    <a:pt x="1279" y="3221"/>
                  </a:lnTo>
                  <a:lnTo>
                    <a:pt x="1248" y="3277"/>
                  </a:lnTo>
                  <a:lnTo>
                    <a:pt x="1142" y="3332"/>
                  </a:lnTo>
                  <a:lnTo>
                    <a:pt x="1030" y="3389"/>
                  </a:lnTo>
                  <a:lnTo>
                    <a:pt x="1061" y="3438"/>
                  </a:lnTo>
                  <a:lnTo>
                    <a:pt x="1142" y="3389"/>
                  </a:lnTo>
                  <a:lnTo>
                    <a:pt x="1167" y="3358"/>
                  </a:lnTo>
                  <a:lnTo>
                    <a:pt x="1279" y="3332"/>
                  </a:lnTo>
                  <a:lnTo>
                    <a:pt x="1279" y="3413"/>
                  </a:lnTo>
                  <a:lnTo>
                    <a:pt x="1304" y="3413"/>
                  </a:lnTo>
                  <a:lnTo>
                    <a:pt x="1360" y="3389"/>
                  </a:lnTo>
                  <a:lnTo>
                    <a:pt x="1384" y="3332"/>
                  </a:lnTo>
                  <a:lnTo>
                    <a:pt x="1360" y="3251"/>
                  </a:lnTo>
                  <a:lnTo>
                    <a:pt x="1410" y="3277"/>
                  </a:lnTo>
                  <a:lnTo>
                    <a:pt x="1410" y="3221"/>
                  </a:lnTo>
                  <a:lnTo>
                    <a:pt x="1490" y="3221"/>
                  </a:lnTo>
                  <a:lnTo>
                    <a:pt x="1521" y="3277"/>
                  </a:lnTo>
                  <a:lnTo>
                    <a:pt x="1626" y="3308"/>
                  </a:lnTo>
                  <a:lnTo>
                    <a:pt x="1626" y="3221"/>
                  </a:lnTo>
                  <a:lnTo>
                    <a:pt x="1707" y="3251"/>
                  </a:lnTo>
                  <a:lnTo>
                    <a:pt x="1707" y="3308"/>
                  </a:lnTo>
                  <a:lnTo>
                    <a:pt x="1738" y="3308"/>
                  </a:lnTo>
                  <a:lnTo>
                    <a:pt x="1764" y="3358"/>
                  </a:lnTo>
                  <a:lnTo>
                    <a:pt x="1875" y="3413"/>
                  </a:lnTo>
                  <a:lnTo>
                    <a:pt x="2006" y="3413"/>
                  </a:lnTo>
                  <a:lnTo>
                    <a:pt x="2061" y="3413"/>
                  </a:lnTo>
                  <a:lnTo>
                    <a:pt x="2198" y="3277"/>
                  </a:lnTo>
                  <a:lnTo>
                    <a:pt x="2279" y="3308"/>
                  </a:lnTo>
                  <a:lnTo>
                    <a:pt x="2303" y="3221"/>
                  </a:lnTo>
                  <a:lnTo>
                    <a:pt x="2303" y="3115"/>
                  </a:lnTo>
                  <a:lnTo>
                    <a:pt x="2254" y="3010"/>
                  </a:lnTo>
                  <a:lnTo>
                    <a:pt x="2303" y="2978"/>
                  </a:lnTo>
                  <a:lnTo>
                    <a:pt x="2552" y="2923"/>
                  </a:lnTo>
                  <a:lnTo>
                    <a:pt x="2900" y="2978"/>
                  </a:lnTo>
                  <a:lnTo>
                    <a:pt x="3093" y="3090"/>
                  </a:lnTo>
                  <a:lnTo>
                    <a:pt x="3254" y="3090"/>
                  </a:lnTo>
                  <a:lnTo>
                    <a:pt x="3309" y="3035"/>
                  </a:lnTo>
                  <a:lnTo>
                    <a:pt x="3366" y="3035"/>
                  </a:lnTo>
                  <a:lnTo>
                    <a:pt x="3608" y="2923"/>
                  </a:lnTo>
                  <a:lnTo>
                    <a:pt x="3632" y="2842"/>
                  </a:lnTo>
                  <a:lnTo>
                    <a:pt x="3689" y="2842"/>
                  </a:lnTo>
                  <a:lnTo>
                    <a:pt x="3713" y="2818"/>
                  </a:lnTo>
                  <a:lnTo>
                    <a:pt x="3713" y="2737"/>
                  </a:lnTo>
                  <a:lnTo>
                    <a:pt x="3825" y="2519"/>
                  </a:lnTo>
                  <a:lnTo>
                    <a:pt x="3881" y="2464"/>
                  </a:lnTo>
                  <a:lnTo>
                    <a:pt x="4148" y="2519"/>
                  </a:lnTo>
                  <a:lnTo>
                    <a:pt x="4204" y="2495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59" name="Freeform 104">
              <a:extLst>
                <a:ext uri="{FF2B5EF4-FFF2-40B4-BE49-F238E27FC236}">
                  <a16:creationId xmlns:a16="http://schemas.microsoft.com/office/drawing/2014/main" id="{8D608ECE-CD7A-403B-9DCC-28F9550D4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9202" y="3506334"/>
              <a:ext cx="1404032" cy="1424152"/>
            </a:xfrm>
            <a:custGeom>
              <a:avLst/>
              <a:gdLst/>
              <a:ahLst/>
              <a:cxnLst>
                <a:cxn ang="0">
                  <a:pos x="2199" y="4230"/>
                </a:cxn>
                <a:cxn ang="0">
                  <a:pos x="2335" y="4013"/>
                </a:cxn>
                <a:cxn ang="0">
                  <a:pos x="2603" y="3746"/>
                </a:cxn>
                <a:cxn ang="0">
                  <a:pos x="2820" y="3715"/>
                </a:cxn>
                <a:cxn ang="0">
                  <a:pos x="3038" y="3746"/>
                </a:cxn>
                <a:cxn ang="0">
                  <a:pos x="3335" y="3908"/>
                </a:cxn>
                <a:cxn ang="0">
                  <a:pos x="3529" y="3908"/>
                </a:cxn>
                <a:cxn ang="0">
                  <a:pos x="3659" y="3802"/>
                </a:cxn>
                <a:cxn ang="0">
                  <a:pos x="3876" y="3634"/>
                </a:cxn>
                <a:cxn ang="0">
                  <a:pos x="3907" y="3417"/>
                </a:cxn>
                <a:cxn ang="0">
                  <a:pos x="3795" y="3069"/>
                </a:cxn>
                <a:cxn ang="0">
                  <a:pos x="3826" y="2771"/>
                </a:cxn>
                <a:cxn ang="0">
                  <a:pos x="3771" y="2442"/>
                </a:cxn>
                <a:cxn ang="0">
                  <a:pos x="3578" y="2336"/>
                </a:cxn>
                <a:cxn ang="0">
                  <a:pos x="3441" y="2417"/>
                </a:cxn>
                <a:cxn ang="0">
                  <a:pos x="3498" y="2224"/>
                </a:cxn>
                <a:cxn ang="0">
                  <a:pos x="3714" y="1982"/>
                </a:cxn>
                <a:cxn ang="0">
                  <a:pos x="3795" y="1821"/>
                </a:cxn>
                <a:cxn ang="0">
                  <a:pos x="3932" y="1821"/>
                </a:cxn>
                <a:cxn ang="0">
                  <a:pos x="3987" y="1628"/>
                </a:cxn>
                <a:cxn ang="0">
                  <a:pos x="4037" y="1330"/>
                </a:cxn>
                <a:cxn ang="0">
                  <a:pos x="4094" y="1063"/>
                </a:cxn>
                <a:cxn ang="0">
                  <a:pos x="3826" y="1032"/>
                </a:cxn>
                <a:cxn ang="0">
                  <a:pos x="3578" y="814"/>
                </a:cxn>
                <a:cxn ang="0">
                  <a:pos x="3311" y="814"/>
                </a:cxn>
                <a:cxn ang="0">
                  <a:pos x="3143" y="678"/>
                </a:cxn>
                <a:cxn ang="0">
                  <a:pos x="3118" y="517"/>
                </a:cxn>
                <a:cxn ang="0">
                  <a:pos x="2931" y="572"/>
                </a:cxn>
                <a:cxn ang="0">
                  <a:pos x="2876" y="380"/>
                </a:cxn>
                <a:cxn ang="0">
                  <a:pos x="2715" y="299"/>
                </a:cxn>
                <a:cxn ang="0">
                  <a:pos x="2547" y="218"/>
                </a:cxn>
                <a:cxn ang="0">
                  <a:pos x="2361" y="33"/>
                </a:cxn>
                <a:cxn ang="0">
                  <a:pos x="2143" y="380"/>
                </a:cxn>
                <a:cxn ang="0">
                  <a:pos x="1739" y="598"/>
                </a:cxn>
                <a:cxn ang="0">
                  <a:pos x="1602" y="790"/>
                </a:cxn>
                <a:cxn ang="0">
                  <a:pos x="1224" y="709"/>
                </a:cxn>
                <a:cxn ang="0">
                  <a:pos x="1006" y="629"/>
                </a:cxn>
                <a:cxn ang="0">
                  <a:pos x="1056" y="952"/>
                </a:cxn>
                <a:cxn ang="0">
                  <a:pos x="925" y="1032"/>
                </a:cxn>
                <a:cxn ang="0">
                  <a:pos x="678" y="1063"/>
                </a:cxn>
                <a:cxn ang="0">
                  <a:pos x="460" y="895"/>
                </a:cxn>
                <a:cxn ang="0">
                  <a:pos x="273" y="926"/>
                </a:cxn>
                <a:cxn ang="0">
                  <a:pos x="31" y="983"/>
                </a:cxn>
                <a:cxn ang="0">
                  <a:pos x="161" y="1113"/>
                </a:cxn>
                <a:cxn ang="0">
                  <a:pos x="0" y="1194"/>
                </a:cxn>
                <a:cxn ang="0">
                  <a:pos x="192" y="1330"/>
                </a:cxn>
                <a:cxn ang="0">
                  <a:pos x="410" y="1441"/>
                </a:cxn>
                <a:cxn ang="0">
                  <a:pos x="491" y="1579"/>
                </a:cxn>
                <a:cxn ang="0">
                  <a:pos x="628" y="1522"/>
                </a:cxn>
                <a:cxn ang="0">
                  <a:pos x="709" y="1603"/>
                </a:cxn>
                <a:cxn ang="0">
                  <a:pos x="895" y="1709"/>
                </a:cxn>
                <a:cxn ang="0">
                  <a:pos x="759" y="1877"/>
                </a:cxn>
                <a:cxn ang="0">
                  <a:pos x="839" y="2039"/>
                </a:cxn>
                <a:cxn ang="0">
                  <a:pos x="1032" y="2255"/>
                </a:cxn>
                <a:cxn ang="0">
                  <a:pos x="1032" y="2417"/>
                </a:cxn>
                <a:cxn ang="0">
                  <a:pos x="1032" y="2442"/>
                </a:cxn>
                <a:cxn ang="0">
                  <a:pos x="1193" y="2820"/>
                </a:cxn>
                <a:cxn ang="0">
                  <a:pos x="951" y="2958"/>
                </a:cxn>
                <a:cxn ang="0">
                  <a:pos x="925" y="3038"/>
                </a:cxn>
                <a:cxn ang="0">
                  <a:pos x="759" y="3634"/>
                </a:cxn>
                <a:cxn ang="0">
                  <a:pos x="1056" y="3883"/>
                </a:cxn>
                <a:cxn ang="0">
                  <a:pos x="1522" y="3988"/>
                </a:cxn>
              </a:cxnLst>
              <a:rect l="0" t="0" r="r" b="b"/>
              <a:pathLst>
                <a:path w="4174" h="4230">
                  <a:moveTo>
                    <a:pt x="1789" y="4069"/>
                  </a:moveTo>
                  <a:lnTo>
                    <a:pt x="1820" y="4045"/>
                  </a:lnTo>
                  <a:lnTo>
                    <a:pt x="1870" y="4069"/>
                  </a:lnTo>
                  <a:lnTo>
                    <a:pt x="1901" y="4100"/>
                  </a:lnTo>
                  <a:lnTo>
                    <a:pt x="1901" y="4125"/>
                  </a:lnTo>
                  <a:lnTo>
                    <a:pt x="1926" y="4150"/>
                  </a:lnTo>
                  <a:lnTo>
                    <a:pt x="1982" y="4206"/>
                  </a:lnTo>
                  <a:lnTo>
                    <a:pt x="2038" y="4181"/>
                  </a:lnTo>
                  <a:lnTo>
                    <a:pt x="2088" y="4150"/>
                  </a:lnTo>
                  <a:lnTo>
                    <a:pt x="2143" y="4206"/>
                  </a:lnTo>
                  <a:lnTo>
                    <a:pt x="2199" y="4230"/>
                  </a:lnTo>
                  <a:lnTo>
                    <a:pt x="2224" y="4181"/>
                  </a:lnTo>
                  <a:lnTo>
                    <a:pt x="2335" y="4150"/>
                  </a:lnTo>
                  <a:lnTo>
                    <a:pt x="2361" y="4181"/>
                  </a:lnTo>
                  <a:lnTo>
                    <a:pt x="2385" y="4181"/>
                  </a:lnTo>
                  <a:lnTo>
                    <a:pt x="2385" y="4150"/>
                  </a:lnTo>
                  <a:lnTo>
                    <a:pt x="2361" y="4125"/>
                  </a:lnTo>
                  <a:lnTo>
                    <a:pt x="2361" y="4100"/>
                  </a:lnTo>
                  <a:lnTo>
                    <a:pt x="2335" y="4069"/>
                  </a:lnTo>
                  <a:lnTo>
                    <a:pt x="2361" y="4069"/>
                  </a:lnTo>
                  <a:lnTo>
                    <a:pt x="2361" y="3988"/>
                  </a:lnTo>
                  <a:lnTo>
                    <a:pt x="2335" y="4013"/>
                  </a:lnTo>
                  <a:lnTo>
                    <a:pt x="2335" y="3988"/>
                  </a:lnTo>
                  <a:lnTo>
                    <a:pt x="2361" y="3964"/>
                  </a:lnTo>
                  <a:lnTo>
                    <a:pt x="2361" y="3932"/>
                  </a:lnTo>
                  <a:lnTo>
                    <a:pt x="2385" y="3908"/>
                  </a:lnTo>
                  <a:lnTo>
                    <a:pt x="2385" y="3883"/>
                  </a:lnTo>
                  <a:lnTo>
                    <a:pt x="2416" y="3827"/>
                  </a:lnTo>
                  <a:lnTo>
                    <a:pt x="2442" y="3802"/>
                  </a:lnTo>
                  <a:lnTo>
                    <a:pt x="2497" y="3770"/>
                  </a:lnTo>
                  <a:lnTo>
                    <a:pt x="2547" y="3802"/>
                  </a:lnTo>
                  <a:lnTo>
                    <a:pt x="2578" y="3746"/>
                  </a:lnTo>
                  <a:lnTo>
                    <a:pt x="2603" y="3746"/>
                  </a:lnTo>
                  <a:lnTo>
                    <a:pt x="2634" y="3715"/>
                  </a:lnTo>
                  <a:lnTo>
                    <a:pt x="2658" y="3690"/>
                  </a:lnTo>
                  <a:lnTo>
                    <a:pt x="2684" y="3690"/>
                  </a:lnTo>
                  <a:lnTo>
                    <a:pt x="2684" y="3665"/>
                  </a:lnTo>
                  <a:lnTo>
                    <a:pt x="2739" y="3634"/>
                  </a:lnTo>
                  <a:lnTo>
                    <a:pt x="2739" y="3665"/>
                  </a:lnTo>
                  <a:lnTo>
                    <a:pt x="2715" y="3665"/>
                  </a:lnTo>
                  <a:lnTo>
                    <a:pt x="2764" y="3690"/>
                  </a:lnTo>
                  <a:lnTo>
                    <a:pt x="2764" y="3715"/>
                  </a:lnTo>
                  <a:lnTo>
                    <a:pt x="2795" y="3715"/>
                  </a:lnTo>
                  <a:lnTo>
                    <a:pt x="2820" y="3715"/>
                  </a:lnTo>
                  <a:lnTo>
                    <a:pt x="2876" y="3746"/>
                  </a:lnTo>
                  <a:lnTo>
                    <a:pt x="2931" y="3746"/>
                  </a:lnTo>
                  <a:lnTo>
                    <a:pt x="2931" y="3770"/>
                  </a:lnTo>
                  <a:lnTo>
                    <a:pt x="2931" y="3802"/>
                  </a:lnTo>
                  <a:lnTo>
                    <a:pt x="2931" y="3770"/>
                  </a:lnTo>
                  <a:lnTo>
                    <a:pt x="2957" y="3802"/>
                  </a:lnTo>
                  <a:lnTo>
                    <a:pt x="3038" y="3802"/>
                  </a:lnTo>
                  <a:lnTo>
                    <a:pt x="3012" y="3770"/>
                  </a:lnTo>
                  <a:lnTo>
                    <a:pt x="3012" y="3746"/>
                  </a:lnTo>
                  <a:lnTo>
                    <a:pt x="3012" y="3715"/>
                  </a:lnTo>
                  <a:lnTo>
                    <a:pt x="3038" y="3746"/>
                  </a:lnTo>
                  <a:lnTo>
                    <a:pt x="3062" y="3746"/>
                  </a:lnTo>
                  <a:lnTo>
                    <a:pt x="3093" y="3802"/>
                  </a:lnTo>
                  <a:lnTo>
                    <a:pt x="3174" y="3802"/>
                  </a:lnTo>
                  <a:lnTo>
                    <a:pt x="3174" y="3770"/>
                  </a:lnTo>
                  <a:lnTo>
                    <a:pt x="3199" y="3827"/>
                  </a:lnTo>
                  <a:lnTo>
                    <a:pt x="3199" y="3851"/>
                  </a:lnTo>
                  <a:lnTo>
                    <a:pt x="3254" y="3851"/>
                  </a:lnTo>
                  <a:lnTo>
                    <a:pt x="3280" y="3883"/>
                  </a:lnTo>
                  <a:lnTo>
                    <a:pt x="3311" y="3851"/>
                  </a:lnTo>
                  <a:lnTo>
                    <a:pt x="3311" y="3883"/>
                  </a:lnTo>
                  <a:lnTo>
                    <a:pt x="3335" y="3908"/>
                  </a:lnTo>
                  <a:lnTo>
                    <a:pt x="3360" y="3908"/>
                  </a:lnTo>
                  <a:lnTo>
                    <a:pt x="3360" y="3932"/>
                  </a:lnTo>
                  <a:lnTo>
                    <a:pt x="3391" y="3932"/>
                  </a:lnTo>
                  <a:lnTo>
                    <a:pt x="3391" y="3908"/>
                  </a:lnTo>
                  <a:lnTo>
                    <a:pt x="3441" y="3932"/>
                  </a:lnTo>
                  <a:lnTo>
                    <a:pt x="3472" y="3932"/>
                  </a:lnTo>
                  <a:lnTo>
                    <a:pt x="3441" y="3964"/>
                  </a:lnTo>
                  <a:lnTo>
                    <a:pt x="3498" y="3932"/>
                  </a:lnTo>
                  <a:lnTo>
                    <a:pt x="3472" y="3932"/>
                  </a:lnTo>
                  <a:lnTo>
                    <a:pt x="3498" y="3908"/>
                  </a:lnTo>
                  <a:lnTo>
                    <a:pt x="3529" y="3908"/>
                  </a:lnTo>
                  <a:lnTo>
                    <a:pt x="3529" y="3932"/>
                  </a:lnTo>
                  <a:lnTo>
                    <a:pt x="3553" y="3932"/>
                  </a:lnTo>
                  <a:lnTo>
                    <a:pt x="3553" y="3908"/>
                  </a:lnTo>
                  <a:lnTo>
                    <a:pt x="3609" y="3908"/>
                  </a:lnTo>
                  <a:lnTo>
                    <a:pt x="3634" y="3883"/>
                  </a:lnTo>
                  <a:lnTo>
                    <a:pt x="3659" y="3883"/>
                  </a:lnTo>
                  <a:lnTo>
                    <a:pt x="3659" y="3851"/>
                  </a:lnTo>
                  <a:lnTo>
                    <a:pt x="3659" y="3827"/>
                  </a:lnTo>
                  <a:lnTo>
                    <a:pt x="3634" y="3851"/>
                  </a:lnTo>
                  <a:lnTo>
                    <a:pt x="3634" y="3827"/>
                  </a:lnTo>
                  <a:lnTo>
                    <a:pt x="3659" y="3802"/>
                  </a:lnTo>
                  <a:lnTo>
                    <a:pt x="3690" y="3770"/>
                  </a:lnTo>
                  <a:lnTo>
                    <a:pt x="3714" y="3770"/>
                  </a:lnTo>
                  <a:lnTo>
                    <a:pt x="3740" y="3770"/>
                  </a:lnTo>
                  <a:lnTo>
                    <a:pt x="3740" y="3746"/>
                  </a:lnTo>
                  <a:lnTo>
                    <a:pt x="3771" y="3746"/>
                  </a:lnTo>
                  <a:lnTo>
                    <a:pt x="3771" y="3715"/>
                  </a:lnTo>
                  <a:lnTo>
                    <a:pt x="3795" y="3715"/>
                  </a:lnTo>
                  <a:lnTo>
                    <a:pt x="3826" y="3715"/>
                  </a:lnTo>
                  <a:lnTo>
                    <a:pt x="3826" y="3665"/>
                  </a:lnTo>
                  <a:lnTo>
                    <a:pt x="3851" y="3634"/>
                  </a:lnTo>
                  <a:lnTo>
                    <a:pt x="3876" y="3634"/>
                  </a:lnTo>
                  <a:lnTo>
                    <a:pt x="3907" y="3665"/>
                  </a:lnTo>
                  <a:lnTo>
                    <a:pt x="3907" y="3634"/>
                  </a:lnTo>
                  <a:lnTo>
                    <a:pt x="3907" y="3609"/>
                  </a:lnTo>
                  <a:lnTo>
                    <a:pt x="3932" y="3609"/>
                  </a:lnTo>
                  <a:lnTo>
                    <a:pt x="3956" y="3585"/>
                  </a:lnTo>
                  <a:lnTo>
                    <a:pt x="3932" y="3554"/>
                  </a:lnTo>
                  <a:lnTo>
                    <a:pt x="3956" y="3528"/>
                  </a:lnTo>
                  <a:lnTo>
                    <a:pt x="4013" y="3473"/>
                  </a:lnTo>
                  <a:lnTo>
                    <a:pt x="4013" y="3447"/>
                  </a:lnTo>
                  <a:lnTo>
                    <a:pt x="3987" y="3392"/>
                  </a:lnTo>
                  <a:lnTo>
                    <a:pt x="3907" y="3417"/>
                  </a:lnTo>
                  <a:lnTo>
                    <a:pt x="3826" y="3392"/>
                  </a:lnTo>
                  <a:lnTo>
                    <a:pt x="3771" y="3367"/>
                  </a:lnTo>
                  <a:lnTo>
                    <a:pt x="3740" y="3311"/>
                  </a:lnTo>
                  <a:lnTo>
                    <a:pt x="3771" y="3286"/>
                  </a:lnTo>
                  <a:lnTo>
                    <a:pt x="3740" y="3231"/>
                  </a:lnTo>
                  <a:lnTo>
                    <a:pt x="3771" y="3200"/>
                  </a:lnTo>
                  <a:lnTo>
                    <a:pt x="3771" y="3150"/>
                  </a:lnTo>
                  <a:lnTo>
                    <a:pt x="3826" y="3150"/>
                  </a:lnTo>
                  <a:lnTo>
                    <a:pt x="3795" y="3150"/>
                  </a:lnTo>
                  <a:lnTo>
                    <a:pt x="3795" y="3094"/>
                  </a:lnTo>
                  <a:lnTo>
                    <a:pt x="3795" y="3069"/>
                  </a:lnTo>
                  <a:lnTo>
                    <a:pt x="3740" y="3069"/>
                  </a:lnTo>
                  <a:lnTo>
                    <a:pt x="3690" y="3038"/>
                  </a:lnTo>
                  <a:lnTo>
                    <a:pt x="3690" y="3013"/>
                  </a:lnTo>
                  <a:lnTo>
                    <a:pt x="3659" y="2989"/>
                  </a:lnTo>
                  <a:lnTo>
                    <a:pt x="3659" y="2958"/>
                  </a:lnTo>
                  <a:lnTo>
                    <a:pt x="3690" y="2932"/>
                  </a:lnTo>
                  <a:lnTo>
                    <a:pt x="3740" y="2932"/>
                  </a:lnTo>
                  <a:lnTo>
                    <a:pt x="3826" y="2877"/>
                  </a:lnTo>
                  <a:lnTo>
                    <a:pt x="3826" y="2851"/>
                  </a:lnTo>
                  <a:lnTo>
                    <a:pt x="3851" y="2796"/>
                  </a:lnTo>
                  <a:lnTo>
                    <a:pt x="3826" y="2771"/>
                  </a:lnTo>
                  <a:lnTo>
                    <a:pt x="3795" y="2771"/>
                  </a:lnTo>
                  <a:lnTo>
                    <a:pt x="3795" y="2715"/>
                  </a:lnTo>
                  <a:lnTo>
                    <a:pt x="3714" y="2659"/>
                  </a:lnTo>
                  <a:lnTo>
                    <a:pt x="3714" y="2635"/>
                  </a:lnTo>
                  <a:lnTo>
                    <a:pt x="3714" y="2604"/>
                  </a:lnTo>
                  <a:lnTo>
                    <a:pt x="3795" y="2578"/>
                  </a:lnTo>
                  <a:lnTo>
                    <a:pt x="3795" y="2554"/>
                  </a:lnTo>
                  <a:lnTo>
                    <a:pt x="3795" y="2523"/>
                  </a:lnTo>
                  <a:lnTo>
                    <a:pt x="3771" y="2473"/>
                  </a:lnTo>
                  <a:lnTo>
                    <a:pt x="3740" y="2498"/>
                  </a:lnTo>
                  <a:lnTo>
                    <a:pt x="3771" y="2442"/>
                  </a:lnTo>
                  <a:lnTo>
                    <a:pt x="3714" y="2442"/>
                  </a:lnTo>
                  <a:lnTo>
                    <a:pt x="3714" y="2417"/>
                  </a:lnTo>
                  <a:lnTo>
                    <a:pt x="3740" y="2392"/>
                  </a:lnTo>
                  <a:lnTo>
                    <a:pt x="3714" y="2336"/>
                  </a:lnTo>
                  <a:lnTo>
                    <a:pt x="3714" y="2305"/>
                  </a:lnTo>
                  <a:lnTo>
                    <a:pt x="3690" y="2305"/>
                  </a:lnTo>
                  <a:lnTo>
                    <a:pt x="3659" y="2305"/>
                  </a:lnTo>
                  <a:lnTo>
                    <a:pt x="3634" y="2336"/>
                  </a:lnTo>
                  <a:lnTo>
                    <a:pt x="3634" y="2305"/>
                  </a:lnTo>
                  <a:lnTo>
                    <a:pt x="3609" y="2336"/>
                  </a:lnTo>
                  <a:lnTo>
                    <a:pt x="3578" y="2336"/>
                  </a:lnTo>
                  <a:lnTo>
                    <a:pt x="3553" y="2336"/>
                  </a:lnTo>
                  <a:lnTo>
                    <a:pt x="3529" y="2362"/>
                  </a:lnTo>
                  <a:lnTo>
                    <a:pt x="3529" y="2392"/>
                  </a:lnTo>
                  <a:lnTo>
                    <a:pt x="3553" y="2392"/>
                  </a:lnTo>
                  <a:lnTo>
                    <a:pt x="3553" y="2417"/>
                  </a:lnTo>
                  <a:lnTo>
                    <a:pt x="3529" y="2417"/>
                  </a:lnTo>
                  <a:lnTo>
                    <a:pt x="3529" y="2442"/>
                  </a:lnTo>
                  <a:lnTo>
                    <a:pt x="3498" y="2442"/>
                  </a:lnTo>
                  <a:lnTo>
                    <a:pt x="3472" y="2442"/>
                  </a:lnTo>
                  <a:lnTo>
                    <a:pt x="3441" y="2442"/>
                  </a:lnTo>
                  <a:lnTo>
                    <a:pt x="3441" y="2417"/>
                  </a:lnTo>
                  <a:lnTo>
                    <a:pt x="3472" y="2392"/>
                  </a:lnTo>
                  <a:lnTo>
                    <a:pt x="3498" y="2392"/>
                  </a:lnTo>
                  <a:lnTo>
                    <a:pt x="3498" y="2362"/>
                  </a:lnTo>
                  <a:lnTo>
                    <a:pt x="3498" y="2336"/>
                  </a:lnTo>
                  <a:lnTo>
                    <a:pt x="3529" y="2336"/>
                  </a:lnTo>
                  <a:lnTo>
                    <a:pt x="3498" y="2305"/>
                  </a:lnTo>
                  <a:lnTo>
                    <a:pt x="3472" y="2305"/>
                  </a:lnTo>
                  <a:lnTo>
                    <a:pt x="3498" y="2305"/>
                  </a:lnTo>
                  <a:lnTo>
                    <a:pt x="3472" y="2281"/>
                  </a:lnTo>
                  <a:lnTo>
                    <a:pt x="3498" y="2255"/>
                  </a:lnTo>
                  <a:lnTo>
                    <a:pt x="3498" y="2224"/>
                  </a:lnTo>
                  <a:lnTo>
                    <a:pt x="3553" y="2175"/>
                  </a:lnTo>
                  <a:lnTo>
                    <a:pt x="3609" y="2144"/>
                  </a:lnTo>
                  <a:lnTo>
                    <a:pt x="3609" y="2119"/>
                  </a:lnTo>
                  <a:lnTo>
                    <a:pt x="3609" y="2094"/>
                  </a:lnTo>
                  <a:lnTo>
                    <a:pt x="3609" y="2063"/>
                  </a:lnTo>
                  <a:lnTo>
                    <a:pt x="3634" y="2039"/>
                  </a:lnTo>
                  <a:lnTo>
                    <a:pt x="3634" y="2063"/>
                  </a:lnTo>
                  <a:lnTo>
                    <a:pt x="3659" y="2039"/>
                  </a:lnTo>
                  <a:lnTo>
                    <a:pt x="3690" y="2039"/>
                  </a:lnTo>
                  <a:lnTo>
                    <a:pt x="3690" y="2007"/>
                  </a:lnTo>
                  <a:lnTo>
                    <a:pt x="3714" y="1982"/>
                  </a:lnTo>
                  <a:lnTo>
                    <a:pt x="3740" y="1958"/>
                  </a:lnTo>
                  <a:lnTo>
                    <a:pt x="3771" y="1926"/>
                  </a:lnTo>
                  <a:lnTo>
                    <a:pt x="3771" y="1901"/>
                  </a:lnTo>
                  <a:lnTo>
                    <a:pt x="3795" y="1901"/>
                  </a:lnTo>
                  <a:lnTo>
                    <a:pt x="3795" y="1877"/>
                  </a:lnTo>
                  <a:lnTo>
                    <a:pt x="3826" y="1877"/>
                  </a:lnTo>
                  <a:lnTo>
                    <a:pt x="3795" y="1845"/>
                  </a:lnTo>
                  <a:lnTo>
                    <a:pt x="3771" y="1877"/>
                  </a:lnTo>
                  <a:lnTo>
                    <a:pt x="3771" y="1845"/>
                  </a:lnTo>
                  <a:lnTo>
                    <a:pt x="3771" y="1821"/>
                  </a:lnTo>
                  <a:lnTo>
                    <a:pt x="3795" y="1821"/>
                  </a:lnTo>
                  <a:lnTo>
                    <a:pt x="3795" y="1790"/>
                  </a:lnTo>
                  <a:lnTo>
                    <a:pt x="3826" y="1790"/>
                  </a:lnTo>
                  <a:lnTo>
                    <a:pt x="3851" y="1790"/>
                  </a:lnTo>
                  <a:lnTo>
                    <a:pt x="3876" y="1790"/>
                  </a:lnTo>
                  <a:lnTo>
                    <a:pt x="3851" y="1821"/>
                  </a:lnTo>
                  <a:lnTo>
                    <a:pt x="3876" y="1821"/>
                  </a:lnTo>
                  <a:lnTo>
                    <a:pt x="3876" y="1845"/>
                  </a:lnTo>
                  <a:lnTo>
                    <a:pt x="3907" y="1821"/>
                  </a:lnTo>
                  <a:lnTo>
                    <a:pt x="3932" y="1821"/>
                  </a:lnTo>
                  <a:lnTo>
                    <a:pt x="3956" y="1821"/>
                  </a:lnTo>
                  <a:lnTo>
                    <a:pt x="3932" y="1821"/>
                  </a:lnTo>
                  <a:lnTo>
                    <a:pt x="3932" y="1790"/>
                  </a:lnTo>
                  <a:lnTo>
                    <a:pt x="3956" y="1821"/>
                  </a:lnTo>
                  <a:lnTo>
                    <a:pt x="3956" y="1790"/>
                  </a:lnTo>
                  <a:lnTo>
                    <a:pt x="3956" y="1764"/>
                  </a:lnTo>
                  <a:lnTo>
                    <a:pt x="3987" y="1764"/>
                  </a:lnTo>
                  <a:lnTo>
                    <a:pt x="3987" y="1740"/>
                  </a:lnTo>
                  <a:lnTo>
                    <a:pt x="3956" y="1740"/>
                  </a:lnTo>
                  <a:lnTo>
                    <a:pt x="3956" y="1709"/>
                  </a:lnTo>
                  <a:lnTo>
                    <a:pt x="3956" y="1684"/>
                  </a:lnTo>
                  <a:lnTo>
                    <a:pt x="3956" y="1659"/>
                  </a:lnTo>
                  <a:lnTo>
                    <a:pt x="3987" y="1628"/>
                  </a:lnTo>
                  <a:lnTo>
                    <a:pt x="3987" y="1603"/>
                  </a:lnTo>
                  <a:lnTo>
                    <a:pt x="3987" y="1579"/>
                  </a:lnTo>
                  <a:lnTo>
                    <a:pt x="3987" y="1548"/>
                  </a:lnTo>
                  <a:lnTo>
                    <a:pt x="3987" y="1522"/>
                  </a:lnTo>
                  <a:lnTo>
                    <a:pt x="3987" y="1491"/>
                  </a:lnTo>
                  <a:lnTo>
                    <a:pt x="4013" y="1467"/>
                  </a:lnTo>
                  <a:lnTo>
                    <a:pt x="4013" y="1441"/>
                  </a:lnTo>
                  <a:lnTo>
                    <a:pt x="4013" y="1410"/>
                  </a:lnTo>
                  <a:lnTo>
                    <a:pt x="4037" y="1410"/>
                  </a:lnTo>
                  <a:lnTo>
                    <a:pt x="4037" y="1386"/>
                  </a:lnTo>
                  <a:lnTo>
                    <a:pt x="4037" y="1330"/>
                  </a:lnTo>
                  <a:lnTo>
                    <a:pt x="4068" y="1305"/>
                  </a:lnTo>
                  <a:lnTo>
                    <a:pt x="4068" y="1280"/>
                  </a:lnTo>
                  <a:lnTo>
                    <a:pt x="4068" y="1249"/>
                  </a:lnTo>
                  <a:lnTo>
                    <a:pt x="4125" y="1225"/>
                  </a:lnTo>
                  <a:lnTo>
                    <a:pt x="4125" y="1194"/>
                  </a:lnTo>
                  <a:lnTo>
                    <a:pt x="4125" y="1168"/>
                  </a:lnTo>
                  <a:lnTo>
                    <a:pt x="4149" y="1168"/>
                  </a:lnTo>
                  <a:lnTo>
                    <a:pt x="4149" y="1144"/>
                  </a:lnTo>
                  <a:lnTo>
                    <a:pt x="4174" y="1088"/>
                  </a:lnTo>
                  <a:lnTo>
                    <a:pt x="4149" y="1088"/>
                  </a:lnTo>
                  <a:lnTo>
                    <a:pt x="4094" y="1063"/>
                  </a:lnTo>
                  <a:lnTo>
                    <a:pt x="4068" y="1063"/>
                  </a:lnTo>
                  <a:lnTo>
                    <a:pt x="4068" y="1032"/>
                  </a:lnTo>
                  <a:lnTo>
                    <a:pt x="4037" y="1063"/>
                  </a:lnTo>
                  <a:lnTo>
                    <a:pt x="4013" y="1063"/>
                  </a:lnTo>
                  <a:lnTo>
                    <a:pt x="3987" y="1032"/>
                  </a:lnTo>
                  <a:lnTo>
                    <a:pt x="3956" y="1007"/>
                  </a:lnTo>
                  <a:lnTo>
                    <a:pt x="3932" y="983"/>
                  </a:lnTo>
                  <a:lnTo>
                    <a:pt x="3907" y="1007"/>
                  </a:lnTo>
                  <a:lnTo>
                    <a:pt x="3851" y="1007"/>
                  </a:lnTo>
                  <a:lnTo>
                    <a:pt x="3826" y="1007"/>
                  </a:lnTo>
                  <a:lnTo>
                    <a:pt x="3826" y="1032"/>
                  </a:lnTo>
                  <a:lnTo>
                    <a:pt x="3795" y="983"/>
                  </a:lnTo>
                  <a:lnTo>
                    <a:pt x="3771" y="983"/>
                  </a:lnTo>
                  <a:lnTo>
                    <a:pt x="3740" y="983"/>
                  </a:lnTo>
                  <a:lnTo>
                    <a:pt x="3740" y="1007"/>
                  </a:lnTo>
                  <a:lnTo>
                    <a:pt x="3714" y="1007"/>
                  </a:lnTo>
                  <a:lnTo>
                    <a:pt x="3714" y="983"/>
                  </a:lnTo>
                  <a:lnTo>
                    <a:pt x="3690" y="952"/>
                  </a:lnTo>
                  <a:lnTo>
                    <a:pt x="3659" y="895"/>
                  </a:lnTo>
                  <a:lnTo>
                    <a:pt x="3659" y="871"/>
                  </a:lnTo>
                  <a:lnTo>
                    <a:pt x="3609" y="845"/>
                  </a:lnTo>
                  <a:lnTo>
                    <a:pt x="3578" y="814"/>
                  </a:lnTo>
                  <a:lnTo>
                    <a:pt x="3529" y="845"/>
                  </a:lnTo>
                  <a:lnTo>
                    <a:pt x="3498" y="845"/>
                  </a:lnTo>
                  <a:lnTo>
                    <a:pt x="3472" y="845"/>
                  </a:lnTo>
                  <a:lnTo>
                    <a:pt x="3441" y="814"/>
                  </a:lnTo>
                  <a:lnTo>
                    <a:pt x="3417" y="790"/>
                  </a:lnTo>
                  <a:lnTo>
                    <a:pt x="3417" y="814"/>
                  </a:lnTo>
                  <a:lnTo>
                    <a:pt x="3391" y="814"/>
                  </a:lnTo>
                  <a:lnTo>
                    <a:pt x="3391" y="790"/>
                  </a:lnTo>
                  <a:lnTo>
                    <a:pt x="3360" y="814"/>
                  </a:lnTo>
                  <a:lnTo>
                    <a:pt x="3335" y="814"/>
                  </a:lnTo>
                  <a:lnTo>
                    <a:pt x="3311" y="814"/>
                  </a:lnTo>
                  <a:lnTo>
                    <a:pt x="3335" y="814"/>
                  </a:lnTo>
                  <a:lnTo>
                    <a:pt x="3311" y="790"/>
                  </a:lnTo>
                  <a:lnTo>
                    <a:pt x="3311" y="765"/>
                  </a:lnTo>
                  <a:lnTo>
                    <a:pt x="3280" y="765"/>
                  </a:lnTo>
                  <a:lnTo>
                    <a:pt x="3254" y="734"/>
                  </a:lnTo>
                  <a:lnTo>
                    <a:pt x="3230" y="734"/>
                  </a:lnTo>
                  <a:lnTo>
                    <a:pt x="3230" y="709"/>
                  </a:lnTo>
                  <a:lnTo>
                    <a:pt x="3199" y="709"/>
                  </a:lnTo>
                  <a:lnTo>
                    <a:pt x="3199" y="678"/>
                  </a:lnTo>
                  <a:lnTo>
                    <a:pt x="3174" y="678"/>
                  </a:lnTo>
                  <a:lnTo>
                    <a:pt x="3143" y="678"/>
                  </a:lnTo>
                  <a:lnTo>
                    <a:pt x="3143" y="653"/>
                  </a:lnTo>
                  <a:lnTo>
                    <a:pt x="3143" y="629"/>
                  </a:lnTo>
                  <a:lnTo>
                    <a:pt x="3143" y="598"/>
                  </a:lnTo>
                  <a:lnTo>
                    <a:pt x="3118" y="598"/>
                  </a:lnTo>
                  <a:lnTo>
                    <a:pt x="3118" y="572"/>
                  </a:lnTo>
                  <a:lnTo>
                    <a:pt x="3143" y="548"/>
                  </a:lnTo>
                  <a:lnTo>
                    <a:pt x="3118" y="548"/>
                  </a:lnTo>
                  <a:lnTo>
                    <a:pt x="3143" y="517"/>
                  </a:lnTo>
                  <a:lnTo>
                    <a:pt x="3143" y="491"/>
                  </a:lnTo>
                  <a:lnTo>
                    <a:pt x="3118" y="491"/>
                  </a:lnTo>
                  <a:lnTo>
                    <a:pt x="3118" y="517"/>
                  </a:lnTo>
                  <a:lnTo>
                    <a:pt x="3093" y="517"/>
                  </a:lnTo>
                  <a:lnTo>
                    <a:pt x="3093" y="548"/>
                  </a:lnTo>
                  <a:lnTo>
                    <a:pt x="3093" y="572"/>
                  </a:lnTo>
                  <a:lnTo>
                    <a:pt x="3062" y="572"/>
                  </a:lnTo>
                  <a:lnTo>
                    <a:pt x="3038" y="598"/>
                  </a:lnTo>
                  <a:lnTo>
                    <a:pt x="3012" y="598"/>
                  </a:lnTo>
                  <a:lnTo>
                    <a:pt x="2981" y="598"/>
                  </a:lnTo>
                  <a:lnTo>
                    <a:pt x="2981" y="572"/>
                  </a:lnTo>
                  <a:lnTo>
                    <a:pt x="2957" y="572"/>
                  </a:lnTo>
                  <a:lnTo>
                    <a:pt x="2931" y="598"/>
                  </a:lnTo>
                  <a:lnTo>
                    <a:pt x="2931" y="572"/>
                  </a:lnTo>
                  <a:lnTo>
                    <a:pt x="2900" y="572"/>
                  </a:lnTo>
                  <a:lnTo>
                    <a:pt x="2900" y="548"/>
                  </a:lnTo>
                  <a:lnTo>
                    <a:pt x="2931" y="548"/>
                  </a:lnTo>
                  <a:lnTo>
                    <a:pt x="2931" y="517"/>
                  </a:lnTo>
                  <a:lnTo>
                    <a:pt x="2931" y="491"/>
                  </a:lnTo>
                  <a:lnTo>
                    <a:pt x="2900" y="491"/>
                  </a:lnTo>
                  <a:lnTo>
                    <a:pt x="2931" y="491"/>
                  </a:lnTo>
                  <a:lnTo>
                    <a:pt x="2931" y="467"/>
                  </a:lnTo>
                  <a:lnTo>
                    <a:pt x="2931" y="436"/>
                  </a:lnTo>
                  <a:lnTo>
                    <a:pt x="2900" y="411"/>
                  </a:lnTo>
                  <a:lnTo>
                    <a:pt x="2876" y="380"/>
                  </a:lnTo>
                  <a:lnTo>
                    <a:pt x="2845" y="411"/>
                  </a:lnTo>
                  <a:lnTo>
                    <a:pt x="2820" y="380"/>
                  </a:lnTo>
                  <a:lnTo>
                    <a:pt x="2795" y="411"/>
                  </a:lnTo>
                  <a:lnTo>
                    <a:pt x="2764" y="411"/>
                  </a:lnTo>
                  <a:lnTo>
                    <a:pt x="2764" y="380"/>
                  </a:lnTo>
                  <a:lnTo>
                    <a:pt x="2764" y="355"/>
                  </a:lnTo>
                  <a:lnTo>
                    <a:pt x="2764" y="330"/>
                  </a:lnTo>
                  <a:lnTo>
                    <a:pt x="2739" y="330"/>
                  </a:lnTo>
                  <a:lnTo>
                    <a:pt x="2715" y="330"/>
                  </a:lnTo>
                  <a:lnTo>
                    <a:pt x="2739" y="299"/>
                  </a:lnTo>
                  <a:lnTo>
                    <a:pt x="2715" y="299"/>
                  </a:lnTo>
                  <a:lnTo>
                    <a:pt x="2684" y="330"/>
                  </a:lnTo>
                  <a:lnTo>
                    <a:pt x="2658" y="299"/>
                  </a:lnTo>
                  <a:lnTo>
                    <a:pt x="2658" y="275"/>
                  </a:lnTo>
                  <a:lnTo>
                    <a:pt x="2658" y="249"/>
                  </a:lnTo>
                  <a:lnTo>
                    <a:pt x="2658" y="218"/>
                  </a:lnTo>
                  <a:lnTo>
                    <a:pt x="2634" y="194"/>
                  </a:lnTo>
                  <a:lnTo>
                    <a:pt x="2634" y="169"/>
                  </a:lnTo>
                  <a:lnTo>
                    <a:pt x="2603" y="169"/>
                  </a:lnTo>
                  <a:lnTo>
                    <a:pt x="2578" y="169"/>
                  </a:lnTo>
                  <a:lnTo>
                    <a:pt x="2547" y="194"/>
                  </a:lnTo>
                  <a:lnTo>
                    <a:pt x="2547" y="218"/>
                  </a:lnTo>
                  <a:lnTo>
                    <a:pt x="2547" y="194"/>
                  </a:lnTo>
                  <a:lnTo>
                    <a:pt x="2522" y="194"/>
                  </a:lnTo>
                  <a:lnTo>
                    <a:pt x="2497" y="138"/>
                  </a:lnTo>
                  <a:lnTo>
                    <a:pt x="2466" y="138"/>
                  </a:lnTo>
                  <a:lnTo>
                    <a:pt x="2466" y="113"/>
                  </a:lnTo>
                  <a:lnTo>
                    <a:pt x="2466" y="81"/>
                  </a:lnTo>
                  <a:lnTo>
                    <a:pt x="2466" y="57"/>
                  </a:lnTo>
                  <a:lnTo>
                    <a:pt x="2442" y="57"/>
                  </a:lnTo>
                  <a:lnTo>
                    <a:pt x="2466" y="0"/>
                  </a:lnTo>
                  <a:lnTo>
                    <a:pt x="2416" y="33"/>
                  </a:lnTo>
                  <a:lnTo>
                    <a:pt x="2361" y="33"/>
                  </a:lnTo>
                  <a:lnTo>
                    <a:pt x="2304" y="33"/>
                  </a:lnTo>
                  <a:lnTo>
                    <a:pt x="2199" y="57"/>
                  </a:lnTo>
                  <a:lnTo>
                    <a:pt x="2143" y="113"/>
                  </a:lnTo>
                  <a:lnTo>
                    <a:pt x="2143" y="138"/>
                  </a:lnTo>
                  <a:lnTo>
                    <a:pt x="2143" y="194"/>
                  </a:lnTo>
                  <a:lnTo>
                    <a:pt x="2143" y="249"/>
                  </a:lnTo>
                  <a:lnTo>
                    <a:pt x="2119" y="330"/>
                  </a:lnTo>
                  <a:lnTo>
                    <a:pt x="2143" y="355"/>
                  </a:lnTo>
                  <a:lnTo>
                    <a:pt x="2119" y="355"/>
                  </a:lnTo>
                  <a:lnTo>
                    <a:pt x="2119" y="380"/>
                  </a:lnTo>
                  <a:lnTo>
                    <a:pt x="2143" y="380"/>
                  </a:lnTo>
                  <a:lnTo>
                    <a:pt x="2168" y="411"/>
                  </a:lnTo>
                  <a:lnTo>
                    <a:pt x="2168" y="436"/>
                  </a:lnTo>
                  <a:lnTo>
                    <a:pt x="2119" y="411"/>
                  </a:lnTo>
                  <a:lnTo>
                    <a:pt x="2088" y="436"/>
                  </a:lnTo>
                  <a:lnTo>
                    <a:pt x="2088" y="467"/>
                  </a:lnTo>
                  <a:lnTo>
                    <a:pt x="2062" y="467"/>
                  </a:lnTo>
                  <a:lnTo>
                    <a:pt x="1951" y="548"/>
                  </a:lnTo>
                  <a:lnTo>
                    <a:pt x="1926" y="548"/>
                  </a:lnTo>
                  <a:lnTo>
                    <a:pt x="1845" y="572"/>
                  </a:lnTo>
                  <a:lnTo>
                    <a:pt x="1789" y="548"/>
                  </a:lnTo>
                  <a:lnTo>
                    <a:pt x="1739" y="598"/>
                  </a:lnTo>
                  <a:lnTo>
                    <a:pt x="1652" y="629"/>
                  </a:lnTo>
                  <a:lnTo>
                    <a:pt x="1652" y="653"/>
                  </a:lnTo>
                  <a:lnTo>
                    <a:pt x="1628" y="678"/>
                  </a:lnTo>
                  <a:lnTo>
                    <a:pt x="1628" y="709"/>
                  </a:lnTo>
                  <a:lnTo>
                    <a:pt x="1652" y="734"/>
                  </a:lnTo>
                  <a:lnTo>
                    <a:pt x="1683" y="734"/>
                  </a:lnTo>
                  <a:lnTo>
                    <a:pt x="1739" y="765"/>
                  </a:lnTo>
                  <a:lnTo>
                    <a:pt x="1708" y="765"/>
                  </a:lnTo>
                  <a:lnTo>
                    <a:pt x="1652" y="765"/>
                  </a:lnTo>
                  <a:lnTo>
                    <a:pt x="1628" y="765"/>
                  </a:lnTo>
                  <a:lnTo>
                    <a:pt x="1602" y="790"/>
                  </a:lnTo>
                  <a:lnTo>
                    <a:pt x="1571" y="790"/>
                  </a:lnTo>
                  <a:lnTo>
                    <a:pt x="1522" y="814"/>
                  </a:lnTo>
                  <a:lnTo>
                    <a:pt x="1466" y="765"/>
                  </a:lnTo>
                  <a:lnTo>
                    <a:pt x="1410" y="765"/>
                  </a:lnTo>
                  <a:lnTo>
                    <a:pt x="1385" y="765"/>
                  </a:lnTo>
                  <a:lnTo>
                    <a:pt x="1329" y="765"/>
                  </a:lnTo>
                  <a:lnTo>
                    <a:pt x="1305" y="734"/>
                  </a:lnTo>
                  <a:lnTo>
                    <a:pt x="1248" y="734"/>
                  </a:lnTo>
                  <a:lnTo>
                    <a:pt x="1248" y="765"/>
                  </a:lnTo>
                  <a:lnTo>
                    <a:pt x="1224" y="734"/>
                  </a:lnTo>
                  <a:lnTo>
                    <a:pt x="1224" y="709"/>
                  </a:lnTo>
                  <a:lnTo>
                    <a:pt x="1193" y="653"/>
                  </a:lnTo>
                  <a:lnTo>
                    <a:pt x="1193" y="629"/>
                  </a:lnTo>
                  <a:lnTo>
                    <a:pt x="1224" y="598"/>
                  </a:lnTo>
                  <a:lnTo>
                    <a:pt x="1224" y="572"/>
                  </a:lnTo>
                  <a:lnTo>
                    <a:pt x="1168" y="548"/>
                  </a:lnTo>
                  <a:lnTo>
                    <a:pt x="1143" y="572"/>
                  </a:lnTo>
                  <a:lnTo>
                    <a:pt x="1112" y="572"/>
                  </a:lnTo>
                  <a:lnTo>
                    <a:pt x="1006" y="517"/>
                  </a:lnTo>
                  <a:lnTo>
                    <a:pt x="1006" y="548"/>
                  </a:lnTo>
                  <a:lnTo>
                    <a:pt x="1032" y="572"/>
                  </a:lnTo>
                  <a:lnTo>
                    <a:pt x="1006" y="629"/>
                  </a:lnTo>
                  <a:lnTo>
                    <a:pt x="1032" y="653"/>
                  </a:lnTo>
                  <a:lnTo>
                    <a:pt x="1032" y="678"/>
                  </a:lnTo>
                  <a:lnTo>
                    <a:pt x="1056" y="734"/>
                  </a:lnTo>
                  <a:lnTo>
                    <a:pt x="1056" y="790"/>
                  </a:lnTo>
                  <a:lnTo>
                    <a:pt x="1087" y="790"/>
                  </a:lnTo>
                  <a:lnTo>
                    <a:pt x="1056" y="871"/>
                  </a:lnTo>
                  <a:lnTo>
                    <a:pt x="1087" y="871"/>
                  </a:lnTo>
                  <a:lnTo>
                    <a:pt x="1087" y="895"/>
                  </a:lnTo>
                  <a:lnTo>
                    <a:pt x="1087" y="952"/>
                  </a:lnTo>
                  <a:lnTo>
                    <a:pt x="1087" y="926"/>
                  </a:lnTo>
                  <a:lnTo>
                    <a:pt x="1056" y="952"/>
                  </a:lnTo>
                  <a:lnTo>
                    <a:pt x="1056" y="1007"/>
                  </a:lnTo>
                  <a:lnTo>
                    <a:pt x="1087" y="1032"/>
                  </a:lnTo>
                  <a:lnTo>
                    <a:pt x="1112" y="1063"/>
                  </a:lnTo>
                  <a:lnTo>
                    <a:pt x="1087" y="1088"/>
                  </a:lnTo>
                  <a:lnTo>
                    <a:pt x="1056" y="1088"/>
                  </a:lnTo>
                  <a:lnTo>
                    <a:pt x="1032" y="1063"/>
                  </a:lnTo>
                  <a:lnTo>
                    <a:pt x="975" y="1088"/>
                  </a:lnTo>
                  <a:lnTo>
                    <a:pt x="951" y="1063"/>
                  </a:lnTo>
                  <a:lnTo>
                    <a:pt x="975" y="1032"/>
                  </a:lnTo>
                  <a:lnTo>
                    <a:pt x="951" y="1032"/>
                  </a:lnTo>
                  <a:lnTo>
                    <a:pt x="925" y="1032"/>
                  </a:lnTo>
                  <a:lnTo>
                    <a:pt x="925" y="1088"/>
                  </a:lnTo>
                  <a:lnTo>
                    <a:pt x="895" y="1032"/>
                  </a:lnTo>
                  <a:lnTo>
                    <a:pt x="870" y="1032"/>
                  </a:lnTo>
                  <a:lnTo>
                    <a:pt x="870" y="1063"/>
                  </a:lnTo>
                  <a:lnTo>
                    <a:pt x="839" y="1032"/>
                  </a:lnTo>
                  <a:lnTo>
                    <a:pt x="814" y="1032"/>
                  </a:lnTo>
                  <a:lnTo>
                    <a:pt x="814" y="1007"/>
                  </a:lnTo>
                  <a:lnTo>
                    <a:pt x="789" y="1032"/>
                  </a:lnTo>
                  <a:lnTo>
                    <a:pt x="709" y="1088"/>
                  </a:lnTo>
                  <a:lnTo>
                    <a:pt x="678" y="1088"/>
                  </a:lnTo>
                  <a:lnTo>
                    <a:pt x="678" y="1063"/>
                  </a:lnTo>
                  <a:lnTo>
                    <a:pt x="652" y="1032"/>
                  </a:lnTo>
                  <a:lnTo>
                    <a:pt x="652" y="1007"/>
                  </a:lnTo>
                  <a:lnTo>
                    <a:pt x="628" y="952"/>
                  </a:lnTo>
                  <a:lnTo>
                    <a:pt x="597" y="952"/>
                  </a:lnTo>
                  <a:lnTo>
                    <a:pt x="597" y="926"/>
                  </a:lnTo>
                  <a:lnTo>
                    <a:pt x="597" y="895"/>
                  </a:lnTo>
                  <a:lnTo>
                    <a:pt x="572" y="895"/>
                  </a:lnTo>
                  <a:lnTo>
                    <a:pt x="541" y="926"/>
                  </a:lnTo>
                  <a:lnTo>
                    <a:pt x="541" y="871"/>
                  </a:lnTo>
                  <a:lnTo>
                    <a:pt x="516" y="895"/>
                  </a:lnTo>
                  <a:lnTo>
                    <a:pt x="460" y="895"/>
                  </a:lnTo>
                  <a:lnTo>
                    <a:pt x="460" y="871"/>
                  </a:lnTo>
                  <a:lnTo>
                    <a:pt x="436" y="895"/>
                  </a:lnTo>
                  <a:lnTo>
                    <a:pt x="436" y="926"/>
                  </a:lnTo>
                  <a:lnTo>
                    <a:pt x="410" y="952"/>
                  </a:lnTo>
                  <a:lnTo>
                    <a:pt x="379" y="952"/>
                  </a:lnTo>
                  <a:lnTo>
                    <a:pt x="329" y="926"/>
                  </a:lnTo>
                  <a:lnTo>
                    <a:pt x="329" y="983"/>
                  </a:lnTo>
                  <a:lnTo>
                    <a:pt x="329" y="952"/>
                  </a:lnTo>
                  <a:lnTo>
                    <a:pt x="298" y="952"/>
                  </a:lnTo>
                  <a:lnTo>
                    <a:pt x="298" y="926"/>
                  </a:lnTo>
                  <a:lnTo>
                    <a:pt x="273" y="926"/>
                  </a:lnTo>
                  <a:lnTo>
                    <a:pt x="218" y="926"/>
                  </a:lnTo>
                  <a:lnTo>
                    <a:pt x="218" y="952"/>
                  </a:lnTo>
                  <a:lnTo>
                    <a:pt x="192" y="952"/>
                  </a:lnTo>
                  <a:lnTo>
                    <a:pt x="161" y="926"/>
                  </a:lnTo>
                  <a:lnTo>
                    <a:pt x="137" y="926"/>
                  </a:lnTo>
                  <a:lnTo>
                    <a:pt x="137" y="952"/>
                  </a:lnTo>
                  <a:lnTo>
                    <a:pt x="112" y="926"/>
                  </a:lnTo>
                  <a:lnTo>
                    <a:pt x="81" y="952"/>
                  </a:lnTo>
                  <a:lnTo>
                    <a:pt x="81" y="983"/>
                  </a:lnTo>
                  <a:lnTo>
                    <a:pt x="56" y="952"/>
                  </a:lnTo>
                  <a:lnTo>
                    <a:pt x="31" y="983"/>
                  </a:lnTo>
                  <a:lnTo>
                    <a:pt x="0" y="1032"/>
                  </a:lnTo>
                  <a:lnTo>
                    <a:pt x="31" y="1032"/>
                  </a:lnTo>
                  <a:lnTo>
                    <a:pt x="0" y="1063"/>
                  </a:lnTo>
                  <a:lnTo>
                    <a:pt x="31" y="1063"/>
                  </a:lnTo>
                  <a:lnTo>
                    <a:pt x="56" y="1063"/>
                  </a:lnTo>
                  <a:lnTo>
                    <a:pt x="112" y="1063"/>
                  </a:lnTo>
                  <a:lnTo>
                    <a:pt x="137" y="1063"/>
                  </a:lnTo>
                  <a:lnTo>
                    <a:pt x="112" y="1088"/>
                  </a:lnTo>
                  <a:lnTo>
                    <a:pt x="137" y="1088"/>
                  </a:lnTo>
                  <a:lnTo>
                    <a:pt x="161" y="1088"/>
                  </a:lnTo>
                  <a:lnTo>
                    <a:pt x="161" y="1113"/>
                  </a:lnTo>
                  <a:lnTo>
                    <a:pt x="112" y="1113"/>
                  </a:lnTo>
                  <a:lnTo>
                    <a:pt x="81" y="1088"/>
                  </a:lnTo>
                  <a:lnTo>
                    <a:pt x="56" y="1113"/>
                  </a:lnTo>
                  <a:lnTo>
                    <a:pt x="81" y="1113"/>
                  </a:lnTo>
                  <a:lnTo>
                    <a:pt x="56" y="1168"/>
                  </a:lnTo>
                  <a:lnTo>
                    <a:pt x="81" y="1144"/>
                  </a:lnTo>
                  <a:lnTo>
                    <a:pt x="137" y="1144"/>
                  </a:lnTo>
                  <a:lnTo>
                    <a:pt x="161" y="1194"/>
                  </a:lnTo>
                  <a:lnTo>
                    <a:pt x="137" y="1225"/>
                  </a:lnTo>
                  <a:lnTo>
                    <a:pt x="137" y="1194"/>
                  </a:lnTo>
                  <a:lnTo>
                    <a:pt x="0" y="1194"/>
                  </a:lnTo>
                  <a:lnTo>
                    <a:pt x="0" y="1225"/>
                  </a:lnTo>
                  <a:lnTo>
                    <a:pt x="56" y="1225"/>
                  </a:lnTo>
                  <a:lnTo>
                    <a:pt x="81" y="1225"/>
                  </a:lnTo>
                  <a:lnTo>
                    <a:pt x="112" y="1280"/>
                  </a:lnTo>
                  <a:lnTo>
                    <a:pt x="112" y="1305"/>
                  </a:lnTo>
                  <a:lnTo>
                    <a:pt x="112" y="1330"/>
                  </a:lnTo>
                  <a:lnTo>
                    <a:pt x="112" y="1361"/>
                  </a:lnTo>
                  <a:lnTo>
                    <a:pt x="137" y="1361"/>
                  </a:lnTo>
                  <a:lnTo>
                    <a:pt x="161" y="1361"/>
                  </a:lnTo>
                  <a:lnTo>
                    <a:pt x="161" y="1330"/>
                  </a:lnTo>
                  <a:lnTo>
                    <a:pt x="192" y="1330"/>
                  </a:lnTo>
                  <a:lnTo>
                    <a:pt x="192" y="1305"/>
                  </a:lnTo>
                  <a:lnTo>
                    <a:pt x="192" y="1330"/>
                  </a:lnTo>
                  <a:lnTo>
                    <a:pt x="218" y="1330"/>
                  </a:lnTo>
                  <a:lnTo>
                    <a:pt x="242" y="1305"/>
                  </a:lnTo>
                  <a:lnTo>
                    <a:pt x="273" y="1386"/>
                  </a:lnTo>
                  <a:lnTo>
                    <a:pt x="298" y="1386"/>
                  </a:lnTo>
                  <a:lnTo>
                    <a:pt x="298" y="1361"/>
                  </a:lnTo>
                  <a:lnTo>
                    <a:pt x="329" y="1386"/>
                  </a:lnTo>
                  <a:lnTo>
                    <a:pt x="379" y="1410"/>
                  </a:lnTo>
                  <a:lnTo>
                    <a:pt x="379" y="1441"/>
                  </a:lnTo>
                  <a:lnTo>
                    <a:pt x="410" y="1441"/>
                  </a:lnTo>
                  <a:lnTo>
                    <a:pt x="436" y="1410"/>
                  </a:lnTo>
                  <a:lnTo>
                    <a:pt x="460" y="1410"/>
                  </a:lnTo>
                  <a:lnTo>
                    <a:pt x="436" y="1441"/>
                  </a:lnTo>
                  <a:lnTo>
                    <a:pt x="460" y="1467"/>
                  </a:lnTo>
                  <a:lnTo>
                    <a:pt x="460" y="1441"/>
                  </a:lnTo>
                  <a:lnTo>
                    <a:pt x="491" y="1441"/>
                  </a:lnTo>
                  <a:lnTo>
                    <a:pt x="516" y="1441"/>
                  </a:lnTo>
                  <a:lnTo>
                    <a:pt x="491" y="1467"/>
                  </a:lnTo>
                  <a:lnTo>
                    <a:pt x="491" y="1491"/>
                  </a:lnTo>
                  <a:lnTo>
                    <a:pt x="460" y="1548"/>
                  </a:lnTo>
                  <a:lnTo>
                    <a:pt x="491" y="1579"/>
                  </a:lnTo>
                  <a:lnTo>
                    <a:pt x="491" y="1548"/>
                  </a:lnTo>
                  <a:lnTo>
                    <a:pt x="491" y="1522"/>
                  </a:lnTo>
                  <a:lnTo>
                    <a:pt x="516" y="1522"/>
                  </a:lnTo>
                  <a:lnTo>
                    <a:pt x="541" y="1522"/>
                  </a:lnTo>
                  <a:lnTo>
                    <a:pt x="541" y="1491"/>
                  </a:lnTo>
                  <a:lnTo>
                    <a:pt x="572" y="1522"/>
                  </a:lnTo>
                  <a:lnTo>
                    <a:pt x="597" y="1522"/>
                  </a:lnTo>
                  <a:lnTo>
                    <a:pt x="597" y="1491"/>
                  </a:lnTo>
                  <a:lnTo>
                    <a:pt x="628" y="1522"/>
                  </a:lnTo>
                  <a:lnTo>
                    <a:pt x="628" y="1491"/>
                  </a:lnTo>
                  <a:lnTo>
                    <a:pt x="628" y="1522"/>
                  </a:lnTo>
                  <a:lnTo>
                    <a:pt x="628" y="1548"/>
                  </a:lnTo>
                  <a:lnTo>
                    <a:pt x="572" y="1548"/>
                  </a:lnTo>
                  <a:lnTo>
                    <a:pt x="572" y="1579"/>
                  </a:lnTo>
                  <a:lnTo>
                    <a:pt x="628" y="1579"/>
                  </a:lnTo>
                  <a:lnTo>
                    <a:pt x="652" y="1548"/>
                  </a:lnTo>
                  <a:lnTo>
                    <a:pt x="652" y="1579"/>
                  </a:lnTo>
                  <a:lnTo>
                    <a:pt x="678" y="1548"/>
                  </a:lnTo>
                  <a:lnTo>
                    <a:pt x="733" y="1579"/>
                  </a:lnTo>
                  <a:lnTo>
                    <a:pt x="678" y="1579"/>
                  </a:lnTo>
                  <a:lnTo>
                    <a:pt x="678" y="1603"/>
                  </a:lnTo>
                  <a:lnTo>
                    <a:pt x="709" y="1603"/>
                  </a:lnTo>
                  <a:lnTo>
                    <a:pt x="709" y="1628"/>
                  </a:lnTo>
                  <a:lnTo>
                    <a:pt x="678" y="1628"/>
                  </a:lnTo>
                  <a:lnTo>
                    <a:pt x="678" y="1659"/>
                  </a:lnTo>
                  <a:lnTo>
                    <a:pt x="678" y="1684"/>
                  </a:lnTo>
                  <a:lnTo>
                    <a:pt x="652" y="1684"/>
                  </a:lnTo>
                  <a:lnTo>
                    <a:pt x="709" y="1709"/>
                  </a:lnTo>
                  <a:lnTo>
                    <a:pt x="709" y="1684"/>
                  </a:lnTo>
                  <a:lnTo>
                    <a:pt x="733" y="1709"/>
                  </a:lnTo>
                  <a:lnTo>
                    <a:pt x="789" y="1684"/>
                  </a:lnTo>
                  <a:lnTo>
                    <a:pt x="839" y="1684"/>
                  </a:lnTo>
                  <a:lnTo>
                    <a:pt x="895" y="1709"/>
                  </a:lnTo>
                  <a:lnTo>
                    <a:pt x="925" y="1740"/>
                  </a:lnTo>
                  <a:lnTo>
                    <a:pt x="895" y="1740"/>
                  </a:lnTo>
                  <a:lnTo>
                    <a:pt x="839" y="1709"/>
                  </a:lnTo>
                  <a:lnTo>
                    <a:pt x="789" y="1709"/>
                  </a:lnTo>
                  <a:lnTo>
                    <a:pt x="789" y="1764"/>
                  </a:lnTo>
                  <a:lnTo>
                    <a:pt x="759" y="1764"/>
                  </a:lnTo>
                  <a:lnTo>
                    <a:pt x="814" y="1790"/>
                  </a:lnTo>
                  <a:lnTo>
                    <a:pt x="839" y="1821"/>
                  </a:lnTo>
                  <a:lnTo>
                    <a:pt x="814" y="1821"/>
                  </a:lnTo>
                  <a:lnTo>
                    <a:pt x="789" y="1877"/>
                  </a:lnTo>
                  <a:lnTo>
                    <a:pt x="759" y="1877"/>
                  </a:lnTo>
                  <a:lnTo>
                    <a:pt x="759" y="1845"/>
                  </a:lnTo>
                  <a:lnTo>
                    <a:pt x="733" y="1845"/>
                  </a:lnTo>
                  <a:lnTo>
                    <a:pt x="709" y="1821"/>
                  </a:lnTo>
                  <a:lnTo>
                    <a:pt x="733" y="1821"/>
                  </a:lnTo>
                  <a:lnTo>
                    <a:pt x="759" y="1821"/>
                  </a:lnTo>
                  <a:lnTo>
                    <a:pt x="759" y="1845"/>
                  </a:lnTo>
                  <a:lnTo>
                    <a:pt x="759" y="1877"/>
                  </a:lnTo>
                  <a:lnTo>
                    <a:pt x="759" y="1901"/>
                  </a:lnTo>
                  <a:lnTo>
                    <a:pt x="814" y="1982"/>
                  </a:lnTo>
                  <a:lnTo>
                    <a:pt x="839" y="2007"/>
                  </a:lnTo>
                  <a:lnTo>
                    <a:pt x="839" y="2039"/>
                  </a:lnTo>
                  <a:lnTo>
                    <a:pt x="839" y="2094"/>
                  </a:lnTo>
                  <a:lnTo>
                    <a:pt x="870" y="2094"/>
                  </a:lnTo>
                  <a:lnTo>
                    <a:pt x="895" y="2119"/>
                  </a:lnTo>
                  <a:lnTo>
                    <a:pt x="951" y="2144"/>
                  </a:lnTo>
                  <a:lnTo>
                    <a:pt x="951" y="2175"/>
                  </a:lnTo>
                  <a:lnTo>
                    <a:pt x="1032" y="2200"/>
                  </a:lnTo>
                  <a:lnTo>
                    <a:pt x="1032" y="2224"/>
                  </a:lnTo>
                  <a:lnTo>
                    <a:pt x="1056" y="2200"/>
                  </a:lnTo>
                  <a:lnTo>
                    <a:pt x="1087" y="2200"/>
                  </a:lnTo>
                  <a:lnTo>
                    <a:pt x="1087" y="2224"/>
                  </a:lnTo>
                  <a:lnTo>
                    <a:pt x="1032" y="2255"/>
                  </a:lnTo>
                  <a:lnTo>
                    <a:pt x="1032" y="2281"/>
                  </a:lnTo>
                  <a:lnTo>
                    <a:pt x="1056" y="2281"/>
                  </a:lnTo>
                  <a:lnTo>
                    <a:pt x="1056" y="2336"/>
                  </a:lnTo>
                  <a:lnTo>
                    <a:pt x="1087" y="2336"/>
                  </a:lnTo>
                  <a:lnTo>
                    <a:pt x="1087" y="2362"/>
                  </a:lnTo>
                  <a:lnTo>
                    <a:pt x="1056" y="2362"/>
                  </a:lnTo>
                  <a:lnTo>
                    <a:pt x="1087" y="2392"/>
                  </a:lnTo>
                  <a:lnTo>
                    <a:pt x="1056" y="2392"/>
                  </a:lnTo>
                  <a:lnTo>
                    <a:pt x="1087" y="2392"/>
                  </a:lnTo>
                  <a:lnTo>
                    <a:pt x="1056" y="2417"/>
                  </a:lnTo>
                  <a:lnTo>
                    <a:pt x="1032" y="2417"/>
                  </a:lnTo>
                  <a:lnTo>
                    <a:pt x="1032" y="2392"/>
                  </a:lnTo>
                  <a:lnTo>
                    <a:pt x="1006" y="2392"/>
                  </a:lnTo>
                  <a:lnTo>
                    <a:pt x="1006" y="2362"/>
                  </a:lnTo>
                  <a:lnTo>
                    <a:pt x="1006" y="2336"/>
                  </a:lnTo>
                  <a:lnTo>
                    <a:pt x="951" y="2305"/>
                  </a:lnTo>
                  <a:lnTo>
                    <a:pt x="975" y="2336"/>
                  </a:lnTo>
                  <a:lnTo>
                    <a:pt x="975" y="2362"/>
                  </a:lnTo>
                  <a:lnTo>
                    <a:pt x="1006" y="2392"/>
                  </a:lnTo>
                  <a:lnTo>
                    <a:pt x="1006" y="2442"/>
                  </a:lnTo>
                  <a:lnTo>
                    <a:pt x="1032" y="2417"/>
                  </a:lnTo>
                  <a:lnTo>
                    <a:pt x="1032" y="2442"/>
                  </a:lnTo>
                  <a:lnTo>
                    <a:pt x="1006" y="2473"/>
                  </a:lnTo>
                  <a:lnTo>
                    <a:pt x="1006" y="2498"/>
                  </a:lnTo>
                  <a:lnTo>
                    <a:pt x="1032" y="2498"/>
                  </a:lnTo>
                  <a:lnTo>
                    <a:pt x="1032" y="2523"/>
                  </a:lnTo>
                  <a:lnTo>
                    <a:pt x="1087" y="2554"/>
                  </a:lnTo>
                  <a:lnTo>
                    <a:pt x="1087" y="2578"/>
                  </a:lnTo>
                  <a:lnTo>
                    <a:pt x="1143" y="2604"/>
                  </a:lnTo>
                  <a:lnTo>
                    <a:pt x="1168" y="2690"/>
                  </a:lnTo>
                  <a:lnTo>
                    <a:pt x="1168" y="2771"/>
                  </a:lnTo>
                  <a:lnTo>
                    <a:pt x="1168" y="2820"/>
                  </a:lnTo>
                  <a:lnTo>
                    <a:pt x="1193" y="2820"/>
                  </a:lnTo>
                  <a:lnTo>
                    <a:pt x="1193" y="2851"/>
                  </a:lnTo>
                  <a:lnTo>
                    <a:pt x="1168" y="2851"/>
                  </a:lnTo>
                  <a:lnTo>
                    <a:pt x="1168" y="2820"/>
                  </a:lnTo>
                  <a:lnTo>
                    <a:pt x="1143" y="2771"/>
                  </a:lnTo>
                  <a:lnTo>
                    <a:pt x="1143" y="2690"/>
                  </a:lnTo>
                  <a:lnTo>
                    <a:pt x="1112" y="2659"/>
                  </a:lnTo>
                  <a:lnTo>
                    <a:pt x="1056" y="2578"/>
                  </a:lnTo>
                  <a:lnTo>
                    <a:pt x="1056" y="2554"/>
                  </a:lnTo>
                  <a:lnTo>
                    <a:pt x="1032" y="2604"/>
                  </a:lnTo>
                  <a:lnTo>
                    <a:pt x="975" y="2771"/>
                  </a:lnTo>
                  <a:lnTo>
                    <a:pt x="951" y="2958"/>
                  </a:lnTo>
                  <a:lnTo>
                    <a:pt x="925" y="3013"/>
                  </a:lnTo>
                  <a:lnTo>
                    <a:pt x="951" y="3013"/>
                  </a:lnTo>
                  <a:lnTo>
                    <a:pt x="951" y="2958"/>
                  </a:lnTo>
                  <a:lnTo>
                    <a:pt x="975" y="2958"/>
                  </a:lnTo>
                  <a:lnTo>
                    <a:pt x="975" y="2932"/>
                  </a:lnTo>
                  <a:lnTo>
                    <a:pt x="1006" y="2989"/>
                  </a:lnTo>
                  <a:lnTo>
                    <a:pt x="1032" y="3013"/>
                  </a:lnTo>
                  <a:lnTo>
                    <a:pt x="975" y="3013"/>
                  </a:lnTo>
                  <a:lnTo>
                    <a:pt x="975" y="2989"/>
                  </a:lnTo>
                  <a:lnTo>
                    <a:pt x="951" y="3013"/>
                  </a:lnTo>
                  <a:lnTo>
                    <a:pt x="925" y="3038"/>
                  </a:lnTo>
                  <a:lnTo>
                    <a:pt x="925" y="3069"/>
                  </a:lnTo>
                  <a:lnTo>
                    <a:pt x="895" y="3200"/>
                  </a:lnTo>
                  <a:lnTo>
                    <a:pt x="814" y="3504"/>
                  </a:lnTo>
                  <a:lnTo>
                    <a:pt x="789" y="3528"/>
                  </a:lnTo>
                  <a:lnTo>
                    <a:pt x="733" y="3585"/>
                  </a:lnTo>
                  <a:lnTo>
                    <a:pt x="709" y="3585"/>
                  </a:lnTo>
                  <a:lnTo>
                    <a:pt x="678" y="3585"/>
                  </a:lnTo>
                  <a:lnTo>
                    <a:pt x="678" y="3609"/>
                  </a:lnTo>
                  <a:lnTo>
                    <a:pt x="709" y="3609"/>
                  </a:lnTo>
                  <a:lnTo>
                    <a:pt x="733" y="3665"/>
                  </a:lnTo>
                  <a:lnTo>
                    <a:pt x="759" y="3634"/>
                  </a:lnTo>
                  <a:lnTo>
                    <a:pt x="814" y="3665"/>
                  </a:lnTo>
                  <a:lnTo>
                    <a:pt x="759" y="3746"/>
                  </a:lnTo>
                  <a:lnTo>
                    <a:pt x="789" y="3770"/>
                  </a:lnTo>
                  <a:lnTo>
                    <a:pt x="814" y="3715"/>
                  </a:lnTo>
                  <a:lnTo>
                    <a:pt x="839" y="3715"/>
                  </a:lnTo>
                  <a:lnTo>
                    <a:pt x="839" y="3746"/>
                  </a:lnTo>
                  <a:lnTo>
                    <a:pt x="870" y="3770"/>
                  </a:lnTo>
                  <a:lnTo>
                    <a:pt x="951" y="3827"/>
                  </a:lnTo>
                  <a:lnTo>
                    <a:pt x="1006" y="3827"/>
                  </a:lnTo>
                  <a:lnTo>
                    <a:pt x="1032" y="3851"/>
                  </a:lnTo>
                  <a:lnTo>
                    <a:pt x="1056" y="3883"/>
                  </a:lnTo>
                  <a:lnTo>
                    <a:pt x="1087" y="3908"/>
                  </a:lnTo>
                  <a:lnTo>
                    <a:pt x="1112" y="3908"/>
                  </a:lnTo>
                  <a:lnTo>
                    <a:pt x="1168" y="3908"/>
                  </a:lnTo>
                  <a:lnTo>
                    <a:pt x="1224" y="3932"/>
                  </a:lnTo>
                  <a:lnTo>
                    <a:pt x="1248" y="3988"/>
                  </a:lnTo>
                  <a:lnTo>
                    <a:pt x="1355" y="3964"/>
                  </a:lnTo>
                  <a:lnTo>
                    <a:pt x="1385" y="3988"/>
                  </a:lnTo>
                  <a:lnTo>
                    <a:pt x="1410" y="3988"/>
                  </a:lnTo>
                  <a:lnTo>
                    <a:pt x="1466" y="3988"/>
                  </a:lnTo>
                  <a:lnTo>
                    <a:pt x="1491" y="4013"/>
                  </a:lnTo>
                  <a:lnTo>
                    <a:pt x="1522" y="3988"/>
                  </a:lnTo>
                  <a:lnTo>
                    <a:pt x="1522" y="3908"/>
                  </a:lnTo>
                  <a:lnTo>
                    <a:pt x="1547" y="3908"/>
                  </a:lnTo>
                  <a:lnTo>
                    <a:pt x="1571" y="3932"/>
                  </a:lnTo>
                  <a:lnTo>
                    <a:pt x="1628" y="3964"/>
                  </a:lnTo>
                  <a:lnTo>
                    <a:pt x="1683" y="3964"/>
                  </a:lnTo>
                  <a:lnTo>
                    <a:pt x="1683" y="3988"/>
                  </a:lnTo>
                  <a:lnTo>
                    <a:pt x="1739" y="3988"/>
                  </a:lnTo>
                  <a:lnTo>
                    <a:pt x="1764" y="4013"/>
                  </a:lnTo>
                  <a:lnTo>
                    <a:pt x="1789" y="4069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60" name="Freeform 105">
              <a:extLst>
                <a:ext uri="{FF2B5EF4-FFF2-40B4-BE49-F238E27FC236}">
                  <a16:creationId xmlns:a16="http://schemas.microsoft.com/office/drawing/2014/main" id="{057A3F06-D2BD-41DF-8A14-9CE9D907731B}"/>
                </a:ext>
              </a:extLst>
            </p:cNvPr>
            <p:cNvSpPr>
              <a:spLocks/>
            </p:cNvSpPr>
            <p:nvPr/>
          </p:nvSpPr>
          <p:spPr bwMode="gray">
            <a:xfrm>
              <a:off x="7900184" y="4838823"/>
              <a:ext cx="127436" cy="274994"/>
            </a:xfrm>
            <a:custGeom>
              <a:avLst/>
              <a:gdLst/>
              <a:ahLst/>
              <a:cxnLst>
                <a:cxn ang="0">
                  <a:pos x="0" y="323"/>
                </a:cxn>
                <a:cxn ang="0">
                  <a:pos x="31" y="323"/>
                </a:cxn>
                <a:cxn ang="0">
                  <a:pos x="57" y="378"/>
                </a:cxn>
                <a:cxn ang="0">
                  <a:pos x="0" y="404"/>
                </a:cxn>
                <a:cxn ang="0">
                  <a:pos x="31" y="435"/>
                </a:cxn>
                <a:cxn ang="0">
                  <a:pos x="57" y="484"/>
                </a:cxn>
                <a:cxn ang="0">
                  <a:pos x="31" y="515"/>
                </a:cxn>
                <a:cxn ang="0">
                  <a:pos x="81" y="540"/>
                </a:cxn>
                <a:cxn ang="0">
                  <a:pos x="112" y="565"/>
                </a:cxn>
                <a:cxn ang="0">
                  <a:pos x="112" y="596"/>
                </a:cxn>
                <a:cxn ang="0">
                  <a:pos x="81" y="620"/>
                </a:cxn>
                <a:cxn ang="0">
                  <a:pos x="81" y="620"/>
                </a:cxn>
                <a:cxn ang="0">
                  <a:pos x="112" y="651"/>
                </a:cxn>
                <a:cxn ang="0">
                  <a:pos x="137" y="651"/>
                </a:cxn>
                <a:cxn ang="0">
                  <a:pos x="112" y="677"/>
                </a:cxn>
                <a:cxn ang="0">
                  <a:pos x="137" y="701"/>
                </a:cxn>
                <a:cxn ang="0">
                  <a:pos x="193" y="757"/>
                </a:cxn>
                <a:cxn ang="0">
                  <a:pos x="218" y="782"/>
                </a:cxn>
                <a:cxn ang="0">
                  <a:pos x="242" y="813"/>
                </a:cxn>
                <a:cxn ang="0">
                  <a:pos x="242" y="757"/>
                </a:cxn>
                <a:cxn ang="0">
                  <a:pos x="299" y="732"/>
                </a:cxn>
                <a:cxn ang="0">
                  <a:pos x="273" y="701"/>
                </a:cxn>
                <a:cxn ang="0">
                  <a:pos x="330" y="701"/>
                </a:cxn>
                <a:cxn ang="0">
                  <a:pos x="299" y="701"/>
                </a:cxn>
                <a:cxn ang="0">
                  <a:pos x="330" y="677"/>
                </a:cxn>
                <a:cxn ang="0">
                  <a:pos x="330" y="620"/>
                </a:cxn>
                <a:cxn ang="0">
                  <a:pos x="330" y="565"/>
                </a:cxn>
                <a:cxn ang="0">
                  <a:pos x="330" y="515"/>
                </a:cxn>
                <a:cxn ang="0">
                  <a:pos x="380" y="378"/>
                </a:cxn>
                <a:cxn ang="0">
                  <a:pos x="354" y="217"/>
                </a:cxn>
                <a:cxn ang="0">
                  <a:pos x="354" y="217"/>
                </a:cxn>
                <a:cxn ang="0">
                  <a:pos x="354" y="81"/>
                </a:cxn>
                <a:cxn ang="0">
                  <a:pos x="299" y="0"/>
                </a:cxn>
                <a:cxn ang="0">
                  <a:pos x="273" y="49"/>
                </a:cxn>
                <a:cxn ang="0">
                  <a:pos x="273" y="105"/>
                </a:cxn>
                <a:cxn ang="0">
                  <a:pos x="273" y="161"/>
                </a:cxn>
                <a:cxn ang="0">
                  <a:pos x="218" y="136"/>
                </a:cxn>
                <a:cxn ang="0">
                  <a:pos x="193" y="186"/>
                </a:cxn>
                <a:cxn ang="0">
                  <a:pos x="112" y="217"/>
                </a:cxn>
                <a:cxn ang="0">
                  <a:pos x="57" y="242"/>
                </a:cxn>
                <a:cxn ang="0">
                  <a:pos x="57" y="297"/>
                </a:cxn>
              </a:cxnLst>
              <a:rect l="0" t="0" r="r" b="b"/>
              <a:pathLst>
                <a:path w="380" h="813">
                  <a:moveTo>
                    <a:pt x="31" y="297"/>
                  </a:moveTo>
                  <a:lnTo>
                    <a:pt x="0" y="323"/>
                  </a:lnTo>
                  <a:lnTo>
                    <a:pt x="0" y="347"/>
                  </a:lnTo>
                  <a:lnTo>
                    <a:pt x="31" y="323"/>
                  </a:lnTo>
                  <a:lnTo>
                    <a:pt x="31" y="347"/>
                  </a:lnTo>
                  <a:lnTo>
                    <a:pt x="57" y="378"/>
                  </a:lnTo>
                  <a:lnTo>
                    <a:pt x="31" y="378"/>
                  </a:lnTo>
                  <a:lnTo>
                    <a:pt x="0" y="404"/>
                  </a:lnTo>
                  <a:lnTo>
                    <a:pt x="31" y="404"/>
                  </a:lnTo>
                  <a:lnTo>
                    <a:pt x="31" y="435"/>
                  </a:lnTo>
                  <a:lnTo>
                    <a:pt x="81" y="484"/>
                  </a:lnTo>
                  <a:lnTo>
                    <a:pt x="57" y="484"/>
                  </a:lnTo>
                  <a:lnTo>
                    <a:pt x="57" y="515"/>
                  </a:lnTo>
                  <a:lnTo>
                    <a:pt x="31" y="515"/>
                  </a:lnTo>
                  <a:lnTo>
                    <a:pt x="31" y="540"/>
                  </a:lnTo>
                  <a:lnTo>
                    <a:pt x="81" y="540"/>
                  </a:lnTo>
                  <a:lnTo>
                    <a:pt x="112" y="540"/>
                  </a:lnTo>
                  <a:lnTo>
                    <a:pt x="112" y="565"/>
                  </a:lnTo>
                  <a:lnTo>
                    <a:pt x="81" y="565"/>
                  </a:lnTo>
                  <a:lnTo>
                    <a:pt x="112" y="596"/>
                  </a:lnTo>
                  <a:lnTo>
                    <a:pt x="81" y="596"/>
                  </a:lnTo>
                  <a:lnTo>
                    <a:pt x="81" y="620"/>
                  </a:lnTo>
                  <a:lnTo>
                    <a:pt x="57" y="620"/>
                  </a:lnTo>
                  <a:lnTo>
                    <a:pt x="81" y="620"/>
                  </a:lnTo>
                  <a:lnTo>
                    <a:pt x="112" y="620"/>
                  </a:lnTo>
                  <a:lnTo>
                    <a:pt x="112" y="651"/>
                  </a:lnTo>
                  <a:lnTo>
                    <a:pt x="112" y="620"/>
                  </a:lnTo>
                  <a:lnTo>
                    <a:pt x="137" y="651"/>
                  </a:lnTo>
                  <a:lnTo>
                    <a:pt x="137" y="677"/>
                  </a:lnTo>
                  <a:lnTo>
                    <a:pt x="112" y="677"/>
                  </a:lnTo>
                  <a:lnTo>
                    <a:pt x="112" y="701"/>
                  </a:lnTo>
                  <a:lnTo>
                    <a:pt x="137" y="701"/>
                  </a:lnTo>
                  <a:lnTo>
                    <a:pt x="137" y="732"/>
                  </a:lnTo>
                  <a:lnTo>
                    <a:pt x="193" y="757"/>
                  </a:lnTo>
                  <a:lnTo>
                    <a:pt x="218" y="757"/>
                  </a:lnTo>
                  <a:lnTo>
                    <a:pt x="218" y="782"/>
                  </a:lnTo>
                  <a:lnTo>
                    <a:pt x="242" y="782"/>
                  </a:lnTo>
                  <a:lnTo>
                    <a:pt x="242" y="813"/>
                  </a:lnTo>
                  <a:lnTo>
                    <a:pt x="273" y="782"/>
                  </a:lnTo>
                  <a:lnTo>
                    <a:pt x="242" y="757"/>
                  </a:lnTo>
                  <a:lnTo>
                    <a:pt x="273" y="757"/>
                  </a:lnTo>
                  <a:lnTo>
                    <a:pt x="299" y="732"/>
                  </a:lnTo>
                  <a:lnTo>
                    <a:pt x="273" y="732"/>
                  </a:lnTo>
                  <a:lnTo>
                    <a:pt x="273" y="701"/>
                  </a:lnTo>
                  <a:lnTo>
                    <a:pt x="299" y="701"/>
                  </a:lnTo>
                  <a:lnTo>
                    <a:pt x="330" y="701"/>
                  </a:lnTo>
                  <a:lnTo>
                    <a:pt x="299" y="677"/>
                  </a:lnTo>
                  <a:lnTo>
                    <a:pt x="299" y="701"/>
                  </a:lnTo>
                  <a:lnTo>
                    <a:pt x="299" y="677"/>
                  </a:lnTo>
                  <a:lnTo>
                    <a:pt x="330" y="677"/>
                  </a:lnTo>
                  <a:lnTo>
                    <a:pt x="299" y="651"/>
                  </a:lnTo>
                  <a:lnTo>
                    <a:pt x="330" y="620"/>
                  </a:lnTo>
                  <a:lnTo>
                    <a:pt x="330" y="596"/>
                  </a:lnTo>
                  <a:lnTo>
                    <a:pt x="330" y="565"/>
                  </a:lnTo>
                  <a:lnTo>
                    <a:pt x="330" y="540"/>
                  </a:lnTo>
                  <a:lnTo>
                    <a:pt x="330" y="515"/>
                  </a:lnTo>
                  <a:lnTo>
                    <a:pt x="380" y="435"/>
                  </a:lnTo>
                  <a:lnTo>
                    <a:pt x="380" y="378"/>
                  </a:lnTo>
                  <a:lnTo>
                    <a:pt x="380" y="347"/>
                  </a:lnTo>
                  <a:lnTo>
                    <a:pt x="354" y="217"/>
                  </a:lnTo>
                  <a:lnTo>
                    <a:pt x="354" y="186"/>
                  </a:lnTo>
                  <a:lnTo>
                    <a:pt x="354" y="217"/>
                  </a:lnTo>
                  <a:lnTo>
                    <a:pt x="330" y="161"/>
                  </a:lnTo>
                  <a:lnTo>
                    <a:pt x="354" y="81"/>
                  </a:lnTo>
                  <a:lnTo>
                    <a:pt x="330" y="0"/>
                  </a:lnTo>
                  <a:lnTo>
                    <a:pt x="299" y="0"/>
                  </a:lnTo>
                  <a:lnTo>
                    <a:pt x="299" y="24"/>
                  </a:lnTo>
                  <a:lnTo>
                    <a:pt x="273" y="49"/>
                  </a:lnTo>
                  <a:lnTo>
                    <a:pt x="299" y="81"/>
                  </a:lnTo>
                  <a:lnTo>
                    <a:pt x="273" y="105"/>
                  </a:lnTo>
                  <a:lnTo>
                    <a:pt x="299" y="136"/>
                  </a:lnTo>
                  <a:lnTo>
                    <a:pt x="273" y="161"/>
                  </a:lnTo>
                  <a:lnTo>
                    <a:pt x="242" y="136"/>
                  </a:lnTo>
                  <a:lnTo>
                    <a:pt x="218" y="136"/>
                  </a:lnTo>
                  <a:lnTo>
                    <a:pt x="193" y="161"/>
                  </a:lnTo>
                  <a:lnTo>
                    <a:pt x="193" y="186"/>
                  </a:lnTo>
                  <a:lnTo>
                    <a:pt x="137" y="186"/>
                  </a:lnTo>
                  <a:lnTo>
                    <a:pt x="112" y="217"/>
                  </a:lnTo>
                  <a:lnTo>
                    <a:pt x="81" y="217"/>
                  </a:lnTo>
                  <a:lnTo>
                    <a:pt x="57" y="242"/>
                  </a:lnTo>
                  <a:lnTo>
                    <a:pt x="57" y="266"/>
                  </a:lnTo>
                  <a:lnTo>
                    <a:pt x="57" y="297"/>
                  </a:lnTo>
                  <a:lnTo>
                    <a:pt x="31" y="297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61" name="Freeform 107">
              <a:extLst>
                <a:ext uri="{FF2B5EF4-FFF2-40B4-BE49-F238E27FC236}">
                  <a16:creationId xmlns:a16="http://schemas.microsoft.com/office/drawing/2014/main" id="{4A6DE625-B58A-4908-BFAE-E600CA835CF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98528" y="-21632"/>
              <a:ext cx="2354215" cy="3948283"/>
            </a:xfrm>
            <a:custGeom>
              <a:avLst/>
              <a:gdLst/>
              <a:ahLst/>
              <a:cxnLst>
                <a:cxn ang="0">
                  <a:pos x="3740" y="435"/>
                </a:cxn>
                <a:cxn ang="0">
                  <a:pos x="3255" y="484"/>
                </a:cxn>
                <a:cxn ang="0">
                  <a:pos x="2900" y="136"/>
                </a:cxn>
                <a:cxn ang="0">
                  <a:pos x="3087" y="782"/>
                </a:cxn>
                <a:cxn ang="0">
                  <a:pos x="3360" y="1216"/>
                </a:cxn>
                <a:cxn ang="0">
                  <a:pos x="3063" y="1272"/>
                </a:cxn>
                <a:cxn ang="0">
                  <a:pos x="2982" y="2222"/>
                </a:cxn>
                <a:cxn ang="0">
                  <a:pos x="2627" y="2383"/>
                </a:cxn>
                <a:cxn ang="0">
                  <a:pos x="2522" y="2681"/>
                </a:cxn>
                <a:cxn ang="0">
                  <a:pos x="2684" y="2842"/>
                </a:cxn>
                <a:cxn ang="0">
                  <a:pos x="2167" y="2873"/>
                </a:cxn>
                <a:cxn ang="0">
                  <a:pos x="1813" y="2383"/>
                </a:cxn>
                <a:cxn ang="0">
                  <a:pos x="1597" y="2060"/>
                </a:cxn>
                <a:cxn ang="0">
                  <a:pos x="1298" y="1980"/>
                </a:cxn>
                <a:cxn ang="0">
                  <a:pos x="1248" y="1787"/>
                </a:cxn>
                <a:cxn ang="0">
                  <a:pos x="1652" y="1843"/>
                </a:cxn>
                <a:cxn ang="0">
                  <a:pos x="2546" y="1706"/>
                </a:cxn>
                <a:cxn ang="0">
                  <a:pos x="2491" y="838"/>
                </a:cxn>
                <a:cxn ang="0">
                  <a:pos x="1950" y="758"/>
                </a:cxn>
                <a:cxn ang="0">
                  <a:pos x="757" y="677"/>
                </a:cxn>
                <a:cxn ang="0">
                  <a:pos x="484" y="515"/>
                </a:cxn>
                <a:cxn ang="0">
                  <a:pos x="273" y="677"/>
                </a:cxn>
                <a:cxn ang="0">
                  <a:pos x="80" y="1352"/>
                </a:cxn>
                <a:cxn ang="0">
                  <a:pos x="484" y="2141"/>
                </a:cxn>
                <a:cxn ang="0">
                  <a:pos x="869" y="2979"/>
                </a:cxn>
                <a:cxn ang="0">
                  <a:pos x="1516" y="3737"/>
                </a:cxn>
                <a:cxn ang="0">
                  <a:pos x="1137" y="5201"/>
                </a:cxn>
                <a:cxn ang="0">
                  <a:pos x="1273" y="5145"/>
                </a:cxn>
                <a:cxn ang="0">
                  <a:pos x="1652" y="5362"/>
                </a:cxn>
                <a:cxn ang="0">
                  <a:pos x="1329" y="5610"/>
                </a:cxn>
                <a:cxn ang="0">
                  <a:pos x="1466" y="6206"/>
                </a:cxn>
                <a:cxn ang="0">
                  <a:pos x="1379" y="6529"/>
                </a:cxn>
                <a:cxn ang="0">
                  <a:pos x="1627" y="7069"/>
                </a:cxn>
                <a:cxn ang="0">
                  <a:pos x="2086" y="7367"/>
                </a:cxn>
                <a:cxn ang="0">
                  <a:pos x="2603" y="7584"/>
                </a:cxn>
                <a:cxn ang="0">
                  <a:pos x="3063" y="8099"/>
                </a:cxn>
                <a:cxn ang="0">
                  <a:pos x="3063" y="8397"/>
                </a:cxn>
                <a:cxn ang="0">
                  <a:pos x="3224" y="8888"/>
                </a:cxn>
                <a:cxn ang="0">
                  <a:pos x="3851" y="8615"/>
                </a:cxn>
                <a:cxn ang="0">
                  <a:pos x="4336" y="8943"/>
                </a:cxn>
                <a:cxn ang="0">
                  <a:pos x="4796" y="9210"/>
                </a:cxn>
                <a:cxn ang="0">
                  <a:pos x="5261" y="9154"/>
                </a:cxn>
                <a:cxn ang="0">
                  <a:pos x="5721" y="9074"/>
                </a:cxn>
                <a:cxn ang="0">
                  <a:pos x="6125" y="9290"/>
                </a:cxn>
                <a:cxn ang="0">
                  <a:pos x="6262" y="9644"/>
                </a:cxn>
                <a:cxn ang="0">
                  <a:pos x="5963" y="10378"/>
                </a:cxn>
                <a:cxn ang="0">
                  <a:pos x="6286" y="10240"/>
                </a:cxn>
                <a:cxn ang="0">
                  <a:pos x="6181" y="10538"/>
                </a:cxn>
                <a:cxn ang="0">
                  <a:pos x="6181" y="10811"/>
                </a:cxn>
                <a:cxn ang="0">
                  <a:pos x="6100" y="11215"/>
                </a:cxn>
                <a:cxn ang="0">
                  <a:pos x="5939" y="11407"/>
                </a:cxn>
                <a:cxn ang="0">
                  <a:pos x="6125" y="11594"/>
                </a:cxn>
                <a:cxn ang="0">
                  <a:pos x="6858" y="11674"/>
                </a:cxn>
                <a:cxn ang="0">
                  <a:pos x="2086" y="5282"/>
                </a:cxn>
                <a:cxn ang="0">
                  <a:pos x="1870" y="4550"/>
                </a:cxn>
                <a:cxn ang="0">
                  <a:pos x="2820" y="4412"/>
                </a:cxn>
                <a:cxn ang="0">
                  <a:pos x="2385" y="3873"/>
                </a:cxn>
                <a:cxn ang="0">
                  <a:pos x="2603" y="3768"/>
                </a:cxn>
                <a:cxn ang="0">
                  <a:pos x="2658" y="3848"/>
                </a:cxn>
              </a:cxnLst>
              <a:rect l="0" t="0" r="r" b="b"/>
              <a:pathLst>
                <a:path w="6995" h="11730">
                  <a:moveTo>
                    <a:pt x="3683" y="0"/>
                  </a:moveTo>
                  <a:lnTo>
                    <a:pt x="3740" y="55"/>
                  </a:lnTo>
                  <a:lnTo>
                    <a:pt x="3771" y="81"/>
                  </a:lnTo>
                  <a:lnTo>
                    <a:pt x="3796" y="81"/>
                  </a:lnTo>
                  <a:lnTo>
                    <a:pt x="3740" y="105"/>
                  </a:lnTo>
                  <a:lnTo>
                    <a:pt x="3740" y="136"/>
                  </a:lnTo>
                  <a:lnTo>
                    <a:pt x="3714" y="136"/>
                  </a:lnTo>
                  <a:lnTo>
                    <a:pt x="3683" y="217"/>
                  </a:lnTo>
                  <a:lnTo>
                    <a:pt x="3659" y="186"/>
                  </a:lnTo>
                  <a:lnTo>
                    <a:pt x="3659" y="273"/>
                  </a:lnTo>
                  <a:lnTo>
                    <a:pt x="3714" y="297"/>
                  </a:lnTo>
                  <a:lnTo>
                    <a:pt x="3714" y="354"/>
                  </a:lnTo>
                  <a:lnTo>
                    <a:pt x="3740" y="435"/>
                  </a:lnTo>
                  <a:lnTo>
                    <a:pt x="3771" y="459"/>
                  </a:lnTo>
                  <a:lnTo>
                    <a:pt x="3771" y="515"/>
                  </a:lnTo>
                  <a:lnTo>
                    <a:pt x="3820" y="571"/>
                  </a:lnTo>
                  <a:lnTo>
                    <a:pt x="3771" y="571"/>
                  </a:lnTo>
                  <a:lnTo>
                    <a:pt x="3633" y="732"/>
                  </a:lnTo>
                  <a:lnTo>
                    <a:pt x="3633" y="677"/>
                  </a:lnTo>
                  <a:lnTo>
                    <a:pt x="3553" y="758"/>
                  </a:lnTo>
                  <a:lnTo>
                    <a:pt x="3497" y="758"/>
                  </a:lnTo>
                  <a:lnTo>
                    <a:pt x="3386" y="651"/>
                  </a:lnTo>
                  <a:lnTo>
                    <a:pt x="3255" y="620"/>
                  </a:lnTo>
                  <a:lnTo>
                    <a:pt x="3224" y="596"/>
                  </a:lnTo>
                  <a:lnTo>
                    <a:pt x="3224" y="515"/>
                  </a:lnTo>
                  <a:lnTo>
                    <a:pt x="3255" y="484"/>
                  </a:lnTo>
                  <a:lnTo>
                    <a:pt x="3224" y="459"/>
                  </a:lnTo>
                  <a:lnTo>
                    <a:pt x="3280" y="378"/>
                  </a:lnTo>
                  <a:lnTo>
                    <a:pt x="3360" y="297"/>
                  </a:lnTo>
                  <a:lnTo>
                    <a:pt x="3417" y="273"/>
                  </a:lnTo>
                  <a:lnTo>
                    <a:pt x="3386" y="217"/>
                  </a:lnTo>
                  <a:lnTo>
                    <a:pt x="3336" y="186"/>
                  </a:lnTo>
                  <a:lnTo>
                    <a:pt x="3305" y="161"/>
                  </a:lnTo>
                  <a:lnTo>
                    <a:pt x="3305" y="136"/>
                  </a:lnTo>
                  <a:lnTo>
                    <a:pt x="3255" y="136"/>
                  </a:lnTo>
                  <a:lnTo>
                    <a:pt x="3199" y="105"/>
                  </a:lnTo>
                  <a:lnTo>
                    <a:pt x="3144" y="55"/>
                  </a:lnTo>
                  <a:lnTo>
                    <a:pt x="3006" y="81"/>
                  </a:lnTo>
                  <a:lnTo>
                    <a:pt x="2900" y="136"/>
                  </a:lnTo>
                  <a:lnTo>
                    <a:pt x="2820" y="186"/>
                  </a:lnTo>
                  <a:lnTo>
                    <a:pt x="2684" y="186"/>
                  </a:lnTo>
                  <a:lnTo>
                    <a:pt x="2708" y="217"/>
                  </a:lnTo>
                  <a:lnTo>
                    <a:pt x="2900" y="273"/>
                  </a:lnTo>
                  <a:lnTo>
                    <a:pt x="2957" y="404"/>
                  </a:lnTo>
                  <a:lnTo>
                    <a:pt x="2982" y="378"/>
                  </a:lnTo>
                  <a:lnTo>
                    <a:pt x="2982" y="459"/>
                  </a:lnTo>
                  <a:lnTo>
                    <a:pt x="3006" y="459"/>
                  </a:lnTo>
                  <a:lnTo>
                    <a:pt x="2982" y="515"/>
                  </a:lnTo>
                  <a:lnTo>
                    <a:pt x="3037" y="571"/>
                  </a:lnTo>
                  <a:lnTo>
                    <a:pt x="3037" y="596"/>
                  </a:lnTo>
                  <a:lnTo>
                    <a:pt x="3063" y="758"/>
                  </a:lnTo>
                  <a:lnTo>
                    <a:pt x="3087" y="782"/>
                  </a:lnTo>
                  <a:lnTo>
                    <a:pt x="3144" y="813"/>
                  </a:lnTo>
                  <a:lnTo>
                    <a:pt x="3118" y="782"/>
                  </a:lnTo>
                  <a:lnTo>
                    <a:pt x="3144" y="782"/>
                  </a:lnTo>
                  <a:lnTo>
                    <a:pt x="3199" y="813"/>
                  </a:lnTo>
                  <a:lnTo>
                    <a:pt x="3305" y="869"/>
                  </a:lnTo>
                  <a:lnTo>
                    <a:pt x="3280" y="894"/>
                  </a:lnTo>
                  <a:lnTo>
                    <a:pt x="3305" y="950"/>
                  </a:lnTo>
                  <a:lnTo>
                    <a:pt x="3360" y="974"/>
                  </a:lnTo>
                  <a:lnTo>
                    <a:pt x="3336" y="1000"/>
                  </a:lnTo>
                  <a:lnTo>
                    <a:pt x="3360" y="1055"/>
                  </a:lnTo>
                  <a:lnTo>
                    <a:pt x="3336" y="1111"/>
                  </a:lnTo>
                  <a:lnTo>
                    <a:pt x="3360" y="1136"/>
                  </a:lnTo>
                  <a:lnTo>
                    <a:pt x="3360" y="1216"/>
                  </a:lnTo>
                  <a:lnTo>
                    <a:pt x="3386" y="1247"/>
                  </a:lnTo>
                  <a:lnTo>
                    <a:pt x="3417" y="1272"/>
                  </a:lnTo>
                  <a:lnTo>
                    <a:pt x="3441" y="1352"/>
                  </a:lnTo>
                  <a:lnTo>
                    <a:pt x="3386" y="1272"/>
                  </a:lnTo>
                  <a:lnTo>
                    <a:pt x="3336" y="1247"/>
                  </a:lnTo>
                  <a:lnTo>
                    <a:pt x="3280" y="1297"/>
                  </a:lnTo>
                  <a:lnTo>
                    <a:pt x="3280" y="1352"/>
                  </a:lnTo>
                  <a:lnTo>
                    <a:pt x="3255" y="1352"/>
                  </a:lnTo>
                  <a:lnTo>
                    <a:pt x="3255" y="1297"/>
                  </a:lnTo>
                  <a:lnTo>
                    <a:pt x="3280" y="1216"/>
                  </a:lnTo>
                  <a:lnTo>
                    <a:pt x="3224" y="1216"/>
                  </a:lnTo>
                  <a:lnTo>
                    <a:pt x="3174" y="1192"/>
                  </a:lnTo>
                  <a:lnTo>
                    <a:pt x="3063" y="1272"/>
                  </a:lnTo>
                  <a:lnTo>
                    <a:pt x="2982" y="1247"/>
                  </a:lnTo>
                  <a:lnTo>
                    <a:pt x="2957" y="1352"/>
                  </a:lnTo>
                  <a:lnTo>
                    <a:pt x="2957" y="1464"/>
                  </a:lnTo>
                  <a:lnTo>
                    <a:pt x="2900" y="1570"/>
                  </a:lnTo>
                  <a:lnTo>
                    <a:pt x="2845" y="1626"/>
                  </a:lnTo>
                  <a:lnTo>
                    <a:pt x="2789" y="1787"/>
                  </a:lnTo>
                  <a:lnTo>
                    <a:pt x="2739" y="1868"/>
                  </a:lnTo>
                  <a:lnTo>
                    <a:pt x="2764" y="2005"/>
                  </a:lnTo>
                  <a:lnTo>
                    <a:pt x="2876" y="2086"/>
                  </a:lnTo>
                  <a:lnTo>
                    <a:pt x="2926" y="2086"/>
                  </a:lnTo>
                  <a:lnTo>
                    <a:pt x="3037" y="2191"/>
                  </a:lnTo>
                  <a:lnTo>
                    <a:pt x="3037" y="2222"/>
                  </a:lnTo>
                  <a:lnTo>
                    <a:pt x="2982" y="2222"/>
                  </a:lnTo>
                  <a:lnTo>
                    <a:pt x="3037" y="2278"/>
                  </a:lnTo>
                  <a:lnTo>
                    <a:pt x="2982" y="2278"/>
                  </a:lnTo>
                  <a:lnTo>
                    <a:pt x="2957" y="2302"/>
                  </a:lnTo>
                  <a:lnTo>
                    <a:pt x="2957" y="2328"/>
                  </a:lnTo>
                  <a:lnTo>
                    <a:pt x="2926" y="2359"/>
                  </a:lnTo>
                  <a:lnTo>
                    <a:pt x="2900" y="2383"/>
                  </a:lnTo>
                  <a:lnTo>
                    <a:pt x="2845" y="2359"/>
                  </a:lnTo>
                  <a:lnTo>
                    <a:pt x="2658" y="2359"/>
                  </a:lnTo>
                  <a:lnTo>
                    <a:pt x="2658" y="2383"/>
                  </a:lnTo>
                  <a:lnTo>
                    <a:pt x="2627" y="2440"/>
                  </a:lnTo>
                  <a:lnTo>
                    <a:pt x="2603" y="2488"/>
                  </a:lnTo>
                  <a:lnTo>
                    <a:pt x="2603" y="2409"/>
                  </a:lnTo>
                  <a:lnTo>
                    <a:pt x="2627" y="2383"/>
                  </a:lnTo>
                  <a:lnTo>
                    <a:pt x="2627" y="2359"/>
                  </a:lnTo>
                  <a:lnTo>
                    <a:pt x="2572" y="2383"/>
                  </a:lnTo>
                  <a:lnTo>
                    <a:pt x="2491" y="2359"/>
                  </a:lnTo>
                  <a:lnTo>
                    <a:pt x="2466" y="2328"/>
                  </a:lnTo>
                  <a:lnTo>
                    <a:pt x="2330" y="2302"/>
                  </a:lnTo>
                  <a:lnTo>
                    <a:pt x="2304" y="2359"/>
                  </a:lnTo>
                  <a:lnTo>
                    <a:pt x="2304" y="2464"/>
                  </a:lnTo>
                  <a:lnTo>
                    <a:pt x="2273" y="2464"/>
                  </a:lnTo>
                  <a:lnTo>
                    <a:pt x="2273" y="2488"/>
                  </a:lnTo>
                  <a:lnTo>
                    <a:pt x="2330" y="2576"/>
                  </a:lnTo>
                  <a:lnTo>
                    <a:pt x="2361" y="2576"/>
                  </a:lnTo>
                  <a:lnTo>
                    <a:pt x="2410" y="2625"/>
                  </a:lnTo>
                  <a:lnTo>
                    <a:pt x="2522" y="2681"/>
                  </a:lnTo>
                  <a:lnTo>
                    <a:pt x="2572" y="2656"/>
                  </a:lnTo>
                  <a:lnTo>
                    <a:pt x="2572" y="2601"/>
                  </a:lnTo>
                  <a:lnTo>
                    <a:pt x="2603" y="2576"/>
                  </a:lnTo>
                  <a:lnTo>
                    <a:pt x="2603" y="2601"/>
                  </a:lnTo>
                  <a:lnTo>
                    <a:pt x="2627" y="2625"/>
                  </a:lnTo>
                  <a:lnTo>
                    <a:pt x="2684" y="2656"/>
                  </a:lnTo>
                  <a:lnTo>
                    <a:pt x="2658" y="2681"/>
                  </a:lnTo>
                  <a:lnTo>
                    <a:pt x="2684" y="2706"/>
                  </a:lnTo>
                  <a:lnTo>
                    <a:pt x="2708" y="2706"/>
                  </a:lnTo>
                  <a:lnTo>
                    <a:pt x="2739" y="2737"/>
                  </a:lnTo>
                  <a:lnTo>
                    <a:pt x="2739" y="2792"/>
                  </a:lnTo>
                  <a:lnTo>
                    <a:pt x="2708" y="2818"/>
                  </a:lnTo>
                  <a:lnTo>
                    <a:pt x="2684" y="2842"/>
                  </a:lnTo>
                  <a:lnTo>
                    <a:pt x="2658" y="2923"/>
                  </a:lnTo>
                  <a:lnTo>
                    <a:pt x="2603" y="2923"/>
                  </a:lnTo>
                  <a:lnTo>
                    <a:pt x="2546" y="2898"/>
                  </a:lnTo>
                  <a:lnTo>
                    <a:pt x="2522" y="2923"/>
                  </a:lnTo>
                  <a:lnTo>
                    <a:pt x="2410" y="2923"/>
                  </a:lnTo>
                  <a:lnTo>
                    <a:pt x="2385" y="2898"/>
                  </a:lnTo>
                  <a:lnTo>
                    <a:pt x="2361" y="2898"/>
                  </a:lnTo>
                  <a:lnTo>
                    <a:pt x="2361" y="2873"/>
                  </a:lnTo>
                  <a:lnTo>
                    <a:pt x="2330" y="2842"/>
                  </a:lnTo>
                  <a:lnTo>
                    <a:pt x="2304" y="2873"/>
                  </a:lnTo>
                  <a:lnTo>
                    <a:pt x="2273" y="2842"/>
                  </a:lnTo>
                  <a:lnTo>
                    <a:pt x="2193" y="2818"/>
                  </a:lnTo>
                  <a:lnTo>
                    <a:pt x="2167" y="2873"/>
                  </a:lnTo>
                  <a:lnTo>
                    <a:pt x="2006" y="2818"/>
                  </a:lnTo>
                  <a:lnTo>
                    <a:pt x="2031" y="2761"/>
                  </a:lnTo>
                  <a:lnTo>
                    <a:pt x="1975" y="2706"/>
                  </a:lnTo>
                  <a:lnTo>
                    <a:pt x="2006" y="2656"/>
                  </a:lnTo>
                  <a:lnTo>
                    <a:pt x="1925" y="2625"/>
                  </a:lnTo>
                  <a:lnTo>
                    <a:pt x="1925" y="2545"/>
                  </a:lnTo>
                  <a:lnTo>
                    <a:pt x="1894" y="2576"/>
                  </a:lnTo>
                  <a:lnTo>
                    <a:pt x="1894" y="2545"/>
                  </a:lnTo>
                  <a:lnTo>
                    <a:pt x="1870" y="2520"/>
                  </a:lnTo>
                  <a:lnTo>
                    <a:pt x="1813" y="2464"/>
                  </a:lnTo>
                  <a:lnTo>
                    <a:pt x="1789" y="2440"/>
                  </a:lnTo>
                  <a:lnTo>
                    <a:pt x="1844" y="2383"/>
                  </a:lnTo>
                  <a:lnTo>
                    <a:pt x="1813" y="2383"/>
                  </a:lnTo>
                  <a:lnTo>
                    <a:pt x="1813" y="2359"/>
                  </a:lnTo>
                  <a:lnTo>
                    <a:pt x="1844" y="2302"/>
                  </a:lnTo>
                  <a:lnTo>
                    <a:pt x="1789" y="2278"/>
                  </a:lnTo>
                  <a:lnTo>
                    <a:pt x="1789" y="2222"/>
                  </a:lnTo>
                  <a:lnTo>
                    <a:pt x="1844" y="2247"/>
                  </a:lnTo>
                  <a:lnTo>
                    <a:pt x="1813" y="2222"/>
                  </a:lnTo>
                  <a:lnTo>
                    <a:pt x="1813" y="2191"/>
                  </a:lnTo>
                  <a:lnTo>
                    <a:pt x="1789" y="2166"/>
                  </a:lnTo>
                  <a:lnTo>
                    <a:pt x="1763" y="2166"/>
                  </a:lnTo>
                  <a:lnTo>
                    <a:pt x="1763" y="2141"/>
                  </a:lnTo>
                  <a:lnTo>
                    <a:pt x="1652" y="2086"/>
                  </a:lnTo>
                  <a:lnTo>
                    <a:pt x="1597" y="2086"/>
                  </a:lnTo>
                  <a:lnTo>
                    <a:pt x="1597" y="2060"/>
                  </a:lnTo>
                  <a:lnTo>
                    <a:pt x="1571" y="2086"/>
                  </a:lnTo>
                  <a:lnTo>
                    <a:pt x="1490" y="2060"/>
                  </a:lnTo>
                  <a:lnTo>
                    <a:pt x="1466" y="2110"/>
                  </a:lnTo>
                  <a:lnTo>
                    <a:pt x="1410" y="2110"/>
                  </a:lnTo>
                  <a:lnTo>
                    <a:pt x="1490" y="2029"/>
                  </a:lnTo>
                  <a:lnTo>
                    <a:pt x="1466" y="2029"/>
                  </a:lnTo>
                  <a:lnTo>
                    <a:pt x="1490" y="2005"/>
                  </a:lnTo>
                  <a:lnTo>
                    <a:pt x="1466" y="1980"/>
                  </a:lnTo>
                  <a:lnTo>
                    <a:pt x="1435" y="2005"/>
                  </a:lnTo>
                  <a:lnTo>
                    <a:pt x="1379" y="1980"/>
                  </a:lnTo>
                  <a:lnTo>
                    <a:pt x="1353" y="2005"/>
                  </a:lnTo>
                  <a:lnTo>
                    <a:pt x="1329" y="2005"/>
                  </a:lnTo>
                  <a:lnTo>
                    <a:pt x="1298" y="1980"/>
                  </a:lnTo>
                  <a:lnTo>
                    <a:pt x="1353" y="1980"/>
                  </a:lnTo>
                  <a:lnTo>
                    <a:pt x="1353" y="1949"/>
                  </a:lnTo>
                  <a:lnTo>
                    <a:pt x="1379" y="1924"/>
                  </a:lnTo>
                  <a:lnTo>
                    <a:pt x="1273" y="1924"/>
                  </a:lnTo>
                  <a:lnTo>
                    <a:pt x="1298" y="1893"/>
                  </a:lnTo>
                  <a:lnTo>
                    <a:pt x="1273" y="1893"/>
                  </a:lnTo>
                  <a:lnTo>
                    <a:pt x="1192" y="1868"/>
                  </a:lnTo>
                  <a:lnTo>
                    <a:pt x="1192" y="1813"/>
                  </a:lnTo>
                  <a:lnTo>
                    <a:pt x="1137" y="1787"/>
                  </a:lnTo>
                  <a:lnTo>
                    <a:pt x="1111" y="1763"/>
                  </a:lnTo>
                  <a:lnTo>
                    <a:pt x="1137" y="1732"/>
                  </a:lnTo>
                  <a:lnTo>
                    <a:pt x="1248" y="1763"/>
                  </a:lnTo>
                  <a:lnTo>
                    <a:pt x="1248" y="1787"/>
                  </a:lnTo>
                  <a:lnTo>
                    <a:pt x="1298" y="1813"/>
                  </a:lnTo>
                  <a:lnTo>
                    <a:pt x="1353" y="1843"/>
                  </a:lnTo>
                  <a:lnTo>
                    <a:pt x="1410" y="1868"/>
                  </a:lnTo>
                  <a:lnTo>
                    <a:pt x="1410" y="1813"/>
                  </a:lnTo>
                  <a:lnTo>
                    <a:pt x="1435" y="1843"/>
                  </a:lnTo>
                  <a:lnTo>
                    <a:pt x="1516" y="1843"/>
                  </a:lnTo>
                  <a:lnTo>
                    <a:pt x="1516" y="1813"/>
                  </a:lnTo>
                  <a:lnTo>
                    <a:pt x="1547" y="1843"/>
                  </a:lnTo>
                  <a:lnTo>
                    <a:pt x="1547" y="1813"/>
                  </a:lnTo>
                  <a:lnTo>
                    <a:pt x="1627" y="1813"/>
                  </a:lnTo>
                  <a:lnTo>
                    <a:pt x="1597" y="1843"/>
                  </a:lnTo>
                  <a:lnTo>
                    <a:pt x="1652" y="1868"/>
                  </a:lnTo>
                  <a:lnTo>
                    <a:pt x="1652" y="1843"/>
                  </a:lnTo>
                  <a:lnTo>
                    <a:pt x="1677" y="1843"/>
                  </a:lnTo>
                  <a:lnTo>
                    <a:pt x="1763" y="1868"/>
                  </a:lnTo>
                  <a:lnTo>
                    <a:pt x="1950" y="1868"/>
                  </a:lnTo>
                  <a:lnTo>
                    <a:pt x="2006" y="1843"/>
                  </a:lnTo>
                  <a:lnTo>
                    <a:pt x="2143" y="1813"/>
                  </a:lnTo>
                  <a:lnTo>
                    <a:pt x="2193" y="1813"/>
                  </a:lnTo>
                  <a:lnTo>
                    <a:pt x="2249" y="1843"/>
                  </a:lnTo>
                  <a:lnTo>
                    <a:pt x="2273" y="1843"/>
                  </a:lnTo>
                  <a:lnTo>
                    <a:pt x="2385" y="1813"/>
                  </a:lnTo>
                  <a:lnTo>
                    <a:pt x="2466" y="1763"/>
                  </a:lnTo>
                  <a:lnTo>
                    <a:pt x="2491" y="1732"/>
                  </a:lnTo>
                  <a:lnTo>
                    <a:pt x="2522" y="1732"/>
                  </a:lnTo>
                  <a:lnTo>
                    <a:pt x="2546" y="1706"/>
                  </a:lnTo>
                  <a:lnTo>
                    <a:pt x="2572" y="1651"/>
                  </a:lnTo>
                  <a:lnTo>
                    <a:pt x="2603" y="1626"/>
                  </a:lnTo>
                  <a:lnTo>
                    <a:pt x="2627" y="1570"/>
                  </a:lnTo>
                  <a:lnTo>
                    <a:pt x="2658" y="1514"/>
                  </a:lnTo>
                  <a:lnTo>
                    <a:pt x="2708" y="1464"/>
                  </a:lnTo>
                  <a:lnTo>
                    <a:pt x="2708" y="1352"/>
                  </a:lnTo>
                  <a:lnTo>
                    <a:pt x="2739" y="1192"/>
                  </a:lnTo>
                  <a:lnTo>
                    <a:pt x="2684" y="1031"/>
                  </a:lnTo>
                  <a:lnTo>
                    <a:pt x="2627" y="1031"/>
                  </a:lnTo>
                  <a:lnTo>
                    <a:pt x="2603" y="950"/>
                  </a:lnTo>
                  <a:lnTo>
                    <a:pt x="2572" y="950"/>
                  </a:lnTo>
                  <a:lnTo>
                    <a:pt x="2546" y="894"/>
                  </a:lnTo>
                  <a:lnTo>
                    <a:pt x="2491" y="838"/>
                  </a:lnTo>
                  <a:lnTo>
                    <a:pt x="2410" y="813"/>
                  </a:lnTo>
                  <a:lnTo>
                    <a:pt x="2441" y="869"/>
                  </a:lnTo>
                  <a:lnTo>
                    <a:pt x="2385" y="838"/>
                  </a:lnTo>
                  <a:lnTo>
                    <a:pt x="2385" y="813"/>
                  </a:lnTo>
                  <a:lnTo>
                    <a:pt x="2304" y="782"/>
                  </a:lnTo>
                  <a:lnTo>
                    <a:pt x="2224" y="732"/>
                  </a:lnTo>
                  <a:lnTo>
                    <a:pt x="2249" y="782"/>
                  </a:lnTo>
                  <a:lnTo>
                    <a:pt x="2167" y="782"/>
                  </a:lnTo>
                  <a:lnTo>
                    <a:pt x="2086" y="758"/>
                  </a:lnTo>
                  <a:lnTo>
                    <a:pt x="2062" y="732"/>
                  </a:lnTo>
                  <a:lnTo>
                    <a:pt x="2006" y="732"/>
                  </a:lnTo>
                  <a:lnTo>
                    <a:pt x="2006" y="758"/>
                  </a:lnTo>
                  <a:lnTo>
                    <a:pt x="1950" y="758"/>
                  </a:lnTo>
                  <a:lnTo>
                    <a:pt x="1894" y="701"/>
                  </a:lnTo>
                  <a:lnTo>
                    <a:pt x="1813" y="677"/>
                  </a:lnTo>
                  <a:lnTo>
                    <a:pt x="1677" y="620"/>
                  </a:lnTo>
                  <a:lnTo>
                    <a:pt x="1298" y="515"/>
                  </a:lnTo>
                  <a:lnTo>
                    <a:pt x="1056" y="540"/>
                  </a:lnTo>
                  <a:lnTo>
                    <a:pt x="1080" y="596"/>
                  </a:lnTo>
                  <a:lnTo>
                    <a:pt x="1030" y="620"/>
                  </a:lnTo>
                  <a:lnTo>
                    <a:pt x="869" y="596"/>
                  </a:lnTo>
                  <a:lnTo>
                    <a:pt x="814" y="620"/>
                  </a:lnTo>
                  <a:lnTo>
                    <a:pt x="814" y="813"/>
                  </a:lnTo>
                  <a:lnTo>
                    <a:pt x="783" y="838"/>
                  </a:lnTo>
                  <a:lnTo>
                    <a:pt x="783" y="677"/>
                  </a:lnTo>
                  <a:lnTo>
                    <a:pt x="757" y="677"/>
                  </a:lnTo>
                  <a:lnTo>
                    <a:pt x="757" y="596"/>
                  </a:lnTo>
                  <a:lnTo>
                    <a:pt x="733" y="596"/>
                  </a:lnTo>
                  <a:lnTo>
                    <a:pt x="702" y="651"/>
                  </a:lnTo>
                  <a:lnTo>
                    <a:pt x="676" y="620"/>
                  </a:lnTo>
                  <a:lnTo>
                    <a:pt x="676" y="651"/>
                  </a:lnTo>
                  <a:lnTo>
                    <a:pt x="652" y="620"/>
                  </a:lnTo>
                  <a:lnTo>
                    <a:pt x="571" y="651"/>
                  </a:lnTo>
                  <a:lnTo>
                    <a:pt x="596" y="620"/>
                  </a:lnTo>
                  <a:lnTo>
                    <a:pt x="571" y="571"/>
                  </a:lnTo>
                  <a:lnTo>
                    <a:pt x="539" y="571"/>
                  </a:lnTo>
                  <a:lnTo>
                    <a:pt x="515" y="620"/>
                  </a:lnTo>
                  <a:lnTo>
                    <a:pt x="484" y="571"/>
                  </a:lnTo>
                  <a:lnTo>
                    <a:pt x="484" y="515"/>
                  </a:lnTo>
                  <a:lnTo>
                    <a:pt x="571" y="540"/>
                  </a:lnTo>
                  <a:lnTo>
                    <a:pt x="652" y="515"/>
                  </a:lnTo>
                  <a:lnTo>
                    <a:pt x="676" y="459"/>
                  </a:lnTo>
                  <a:lnTo>
                    <a:pt x="621" y="435"/>
                  </a:lnTo>
                  <a:lnTo>
                    <a:pt x="539" y="459"/>
                  </a:lnTo>
                  <a:lnTo>
                    <a:pt x="434" y="459"/>
                  </a:lnTo>
                  <a:lnTo>
                    <a:pt x="459" y="484"/>
                  </a:lnTo>
                  <a:lnTo>
                    <a:pt x="403" y="540"/>
                  </a:lnTo>
                  <a:lnTo>
                    <a:pt x="434" y="571"/>
                  </a:lnTo>
                  <a:lnTo>
                    <a:pt x="378" y="651"/>
                  </a:lnTo>
                  <a:lnTo>
                    <a:pt x="354" y="596"/>
                  </a:lnTo>
                  <a:lnTo>
                    <a:pt x="242" y="571"/>
                  </a:lnTo>
                  <a:lnTo>
                    <a:pt x="273" y="677"/>
                  </a:lnTo>
                  <a:lnTo>
                    <a:pt x="242" y="701"/>
                  </a:lnTo>
                  <a:lnTo>
                    <a:pt x="216" y="701"/>
                  </a:lnTo>
                  <a:lnTo>
                    <a:pt x="161" y="677"/>
                  </a:lnTo>
                  <a:lnTo>
                    <a:pt x="161" y="732"/>
                  </a:lnTo>
                  <a:lnTo>
                    <a:pt x="136" y="782"/>
                  </a:lnTo>
                  <a:lnTo>
                    <a:pt x="105" y="869"/>
                  </a:lnTo>
                  <a:lnTo>
                    <a:pt x="80" y="894"/>
                  </a:lnTo>
                  <a:lnTo>
                    <a:pt x="80" y="950"/>
                  </a:lnTo>
                  <a:lnTo>
                    <a:pt x="55" y="1031"/>
                  </a:lnTo>
                  <a:lnTo>
                    <a:pt x="0" y="1055"/>
                  </a:lnTo>
                  <a:lnTo>
                    <a:pt x="0" y="1167"/>
                  </a:lnTo>
                  <a:lnTo>
                    <a:pt x="80" y="1111"/>
                  </a:lnTo>
                  <a:lnTo>
                    <a:pt x="80" y="1352"/>
                  </a:lnTo>
                  <a:lnTo>
                    <a:pt x="161" y="1433"/>
                  </a:lnTo>
                  <a:lnTo>
                    <a:pt x="216" y="1433"/>
                  </a:lnTo>
                  <a:lnTo>
                    <a:pt x="323" y="1514"/>
                  </a:lnTo>
                  <a:lnTo>
                    <a:pt x="378" y="1570"/>
                  </a:lnTo>
                  <a:lnTo>
                    <a:pt x="434" y="1595"/>
                  </a:lnTo>
                  <a:lnTo>
                    <a:pt x="484" y="1651"/>
                  </a:lnTo>
                  <a:lnTo>
                    <a:pt x="459" y="1763"/>
                  </a:lnTo>
                  <a:lnTo>
                    <a:pt x="434" y="1813"/>
                  </a:lnTo>
                  <a:lnTo>
                    <a:pt x="434" y="1868"/>
                  </a:lnTo>
                  <a:lnTo>
                    <a:pt x="403" y="1949"/>
                  </a:lnTo>
                  <a:lnTo>
                    <a:pt x="403" y="2005"/>
                  </a:lnTo>
                  <a:lnTo>
                    <a:pt x="459" y="2086"/>
                  </a:lnTo>
                  <a:lnTo>
                    <a:pt x="484" y="2141"/>
                  </a:lnTo>
                  <a:lnTo>
                    <a:pt x="539" y="2191"/>
                  </a:lnTo>
                  <a:lnTo>
                    <a:pt x="621" y="2278"/>
                  </a:lnTo>
                  <a:lnTo>
                    <a:pt x="676" y="2359"/>
                  </a:lnTo>
                  <a:lnTo>
                    <a:pt x="733" y="2409"/>
                  </a:lnTo>
                  <a:lnTo>
                    <a:pt x="869" y="2601"/>
                  </a:lnTo>
                  <a:lnTo>
                    <a:pt x="838" y="2601"/>
                  </a:lnTo>
                  <a:lnTo>
                    <a:pt x="783" y="2656"/>
                  </a:lnTo>
                  <a:lnTo>
                    <a:pt x="814" y="2681"/>
                  </a:lnTo>
                  <a:lnTo>
                    <a:pt x="814" y="2842"/>
                  </a:lnTo>
                  <a:lnTo>
                    <a:pt x="869" y="2842"/>
                  </a:lnTo>
                  <a:lnTo>
                    <a:pt x="894" y="2898"/>
                  </a:lnTo>
                  <a:lnTo>
                    <a:pt x="838" y="2954"/>
                  </a:lnTo>
                  <a:lnTo>
                    <a:pt x="869" y="2979"/>
                  </a:lnTo>
                  <a:lnTo>
                    <a:pt x="894" y="3060"/>
                  </a:lnTo>
                  <a:lnTo>
                    <a:pt x="975" y="3035"/>
                  </a:lnTo>
                  <a:lnTo>
                    <a:pt x="999" y="3115"/>
                  </a:lnTo>
                  <a:lnTo>
                    <a:pt x="999" y="3141"/>
                  </a:lnTo>
                  <a:lnTo>
                    <a:pt x="1030" y="3221"/>
                  </a:lnTo>
                  <a:lnTo>
                    <a:pt x="1137" y="3277"/>
                  </a:lnTo>
                  <a:lnTo>
                    <a:pt x="1192" y="3333"/>
                  </a:lnTo>
                  <a:lnTo>
                    <a:pt x="1167" y="3469"/>
                  </a:lnTo>
                  <a:lnTo>
                    <a:pt x="1137" y="3550"/>
                  </a:lnTo>
                  <a:lnTo>
                    <a:pt x="1273" y="3631"/>
                  </a:lnTo>
                  <a:lnTo>
                    <a:pt x="1379" y="3656"/>
                  </a:lnTo>
                  <a:lnTo>
                    <a:pt x="1490" y="3687"/>
                  </a:lnTo>
                  <a:lnTo>
                    <a:pt x="1516" y="3737"/>
                  </a:lnTo>
                  <a:lnTo>
                    <a:pt x="1627" y="3816"/>
                  </a:lnTo>
                  <a:lnTo>
                    <a:pt x="1627" y="4065"/>
                  </a:lnTo>
                  <a:lnTo>
                    <a:pt x="1516" y="4388"/>
                  </a:lnTo>
                  <a:lnTo>
                    <a:pt x="1490" y="4443"/>
                  </a:lnTo>
                  <a:lnTo>
                    <a:pt x="1435" y="4630"/>
                  </a:lnTo>
                  <a:lnTo>
                    <a:pt x="1410" y="4661"/>
                  </a:lnTo>
                  <a:lnTo>
                    <a:pt x="1379" y="4742"/>
                  </a:lnTo>
                  <a:lnTo>
                    <a:pt x="1379" y="4797"/>
                  </a:lnTo>
                  <a:lnTo>
                    <a:pt x="1298" y="4878"/>
                  </a:lnTo>
                  <a:lnTo>
                    <a:pt x="1298" y="4984"/>
                  </a:lnTo>
                  <a:lnTo>
                    <a:pt x="1248" y="4984"/>
                  </a:lnTo>
                  <a:lnTo>
                    <a:pt x="1192" y="5145"/>
                  </a:lnTo>
                  <a:lnTo>
                    <a:pt x="1137" y="5201"/>
                  </a:lnTo>
                  <a:lnTo>
                    <a:pt x="1167" y="5201"/>
                  </a:lnTo>
                  <a:lnTo>
                    <a:pt x="1217" y="5177"/>
                  </a:lnTo>
                  <a:lnTo>
                    <a:pt x="1217" y="5145"/>
                  </a:lnTo>
                  <a:lnTo>
                    <a:pt x="1248" y="5120"/>
                  </a:lnTo>
                  <a:lnTo>
                    <a:pt x="1217" y="5096"/>
                  </a:lnTo>
                  <a:lnTo>
                    <a:pt x="1273" y="5065"/>
                  </a:lnTo>
                  <a:lnTo>
                    <a:pt x="1298" y="5009"/>
                  </a:lnTo>
                  <a:lnTo>
                    <a:pt x="1329" y="5065"/>
                  </a:lnTo>
                  <a:lnTo>
                    <a:pt x="1298" y="5065"/>
                  </a:lnTo>
                  <a:lnTo>
                    <a:pt x="1298" y="5096"/>
                  </a:lnTo>
                  <a:lnTo>
                    <a:pt x="1329" y="5145"/>
                  </a:lnTo>
                  <a:lnTo>
                    <a:pt x="1329" y="5177"/>
                  </a:lnTo>
                  <a:lnTo>
                    <a:pt x="1273" y="5145"/>
                  </a:lnTo>
                  <a:lnTo>
                    <a:pt x="1248" y="5145"/>
                  </a:lnTo>
                  <a:lnTo>
                    <a:pt x="1298" y="5201"/>
                  </a:lnTo>
                  <a:lnTo>
                    <a:pt x="1353" y="5225"/>
                  </a:lnTo>
                  <a:lnTo>
                    <a:pt x="1379" y="5225"/>
                  </a:lnTo>
                  <a:lnTo>
                    <a:pt x="1435" y="5256"/>
                  </a:lnTo>
                  <a:lnTo>
                    <a:pt x="1435" y="5282"/>
                  </a:lnTo>
                  <a:lnTo>
                    <a:pt x="1547" y="5256"/>
                  </a:lnTo>
                  <a:lnTo>
                    <a:pt x="1571" y="5225"/>
                  </a:lnTo>
                  <a:lnTo>
                    <a:pt x="1652" y="5256"/>
                  </a:lnTo>
                  <a:lnTo>
                    <a:pt x="1677" y="5282"/>
                  </a:lnTo>
                  <a:lnTo>
                    <a:pt x="1763" y="5313"/>
                  </a:lnTo>
                  <a:lnTo>
                    <a:pt x="1763" y="5362"/>
                  </a:lnTo>
                  <a:lnTo>
                    <a:pt x="1652" y="5362"/>
                  </a:lnTo>
                  <a:lnTo>
                    <a:pt x="1571" y="5393"/>
                  </a:lnTo>
                  <a:lnTo>
                    <a:pt x="1516" y="5362"/>
                  </a:lnTo>
                  <a:lnTo>
                    <a:pt x="1490" y="5393"/>
                  </a:lnTo>
                  <a:lnTo>
                    <a:pt x="1466" y="5418"/>
                  </a:lnTo>
                  <a:lnTo>
                    <a:pt x="1490" y="5443"/>
                  </a:lnTo>
                  <a:lnTo>
                    <a:pt x="1466" y="5474"/>
                  </a:lnTo>
                  <a:lnTo>
                    <a:pt x="1435" y="5498"/>
                  </a:lnTo>
                  <a:lnTo>
                    <a:pt x="1410" y="5524"/>
                  </a:lnTo>
                  <a:lnTo>
                    <a:pt x="1379" y="5474"/>
                  </a:lnTo>
                  <a:lnTo>
                    <a:pt x="1353" y="5524"/>
                  </a:lnTo>
                  <a:lnTo>
                    <a:pt x="1353" y="5555"/>
                  </a:lnTo>
                  <a:lnTo>
                    <a:pt x="1379" y="5579"/>
                  </a:lnTo>
                  <a:lnTo>
                    <a:pt x="1329" y="5610"/>
                  </a:lnTo>
                  <a:lnTo>
                    <a:pt x="1329" y="5579"/>
                  </a:lnTo>
                  <a:lnTo>
                    <a:pt x="1298" y="5555"/>
                  </a:lnTo>
                  <a:lnTo>
                    <a:pt x="1273" y="5610"/>
                  </a:lnTo>
                  <a:lnTo>
                    <a:pt x="1298" y="5636"/>
                  </a:lnTo>
                  <a:lnTo>
                    <a:pt x="1298" y="5716"/>
                  </a:lnTo>
                  <a:lnTo>
                    <a:pt x="1353" y="5741"/>
                  </a:lnTo>
                  <a:lnTo>
                    <a:pt x="1379" y="5741"/>
                  </a:lnTo>
                  <a:lnTo>
                    <a:pt x="1329" y="5797"/>
                  </a:lnTo>
                  <a:lnTo>
                    <a:pt x="1329" y="5958"/>
                  </a:lnTo>
                  <a:lnTo>
                    <a:pt x="1379" y="6070"/>
                  </a:lnTo>
                  <a:lnTo>
                    <a:pt x="1379" y="6120"/>
                  </a:lnTo>
                  <a:lnTo>
                    <a:pt x="1410" y="6206"/>
                  </a:lnTo>
                  <a:lnTo>
                    <a:pt x="1466" y="6206"/>
                  </a:lnTo>
                  <a:lnTo>
                    <a:pt x="1435" y="6256"/>
                  </a:lnTo>
                  <a:lnTo>
                    <a:pt x="1410" y="6232"/>
                  </a:lnTo>
                  <a:lnTo>
                    <a:pt x="1410" y="6337"/>
                  </a:lnTo>
                  <a:lnTo>
                    <a:pt x="1435" y="6368"/>
                  </a:lnTo>
                  <a:lnTo>
                    <a:pt x="1490" y="6368"/>
                  </a:lnTo>
                  <a:lnTo>
                    <a:pt x="1597" y="6448"/>
                  </a:lnTo>
                  <a:lnTo>
                    <a:pt x="1571" y="6505"/>
                  </a:lnTo>
                  <a:lnTo>
                    <a:pt x="1547" y="6529"/>
                  </a:lnTo>
                  <a:lnTo>
                    <a:pt x="1516" y="6505"/>
                  </a:lnTo>
                  <a:lnTo>
                    <a:pt x="1516" y="6473"/>
                  </a:lnTo>
                  <a:lnTo>
                    <a:pt x="1466" y="6448"/>
                  </a:lnTo>
                  <a:lnTo>
                    <a:pt x="1435" y="6505"/>
                  </a:lnTo>
                  <a:lnTo>
                    <a:pt x="1379" y="6529"/>
                  </a:lnTo>
                  <a:lnTo>
                    <a:pt x="1379" y="6553"/>
                  </a:lnTo>
                  <a:lnTo>
                    <a:pt x="1353" y="6610"/>
                  </a:lnTo>
                  <a:lnTo>
                    <a:pt x="1353" y="6665"/>
                  </a:lnTo>
                  <a:lnTo>
                    <a:pt x="1410" y="6665"/>
                  </a:lnTo>
                  <a:lnTo>
                    <a:pt x="1435" y="6746"/>
                  </a:lnTo>
                  <a:lnTo>
                    <a:pt x="1516" y="6746"/>
                  </a:lnTo>
                  <a:lnTo>
                    <a:pt x="1516" y="6771"/>
                  </a:lnTo>
                  <a:lnTo>
                    <a:pt x="1547" y="6771"/>
                  </a:lnTo>
                  <a:lnTo>
                    <a:pt x="1516" y="6802"/>
                  </a:lnTo>
                  <a:lnTo>
                    <a:pt x="1516" y="6988"/>
                  </a:lnTo>
                  <a:lnTo>
                    <a:pt x="1571" y="6988"/>
                  </a:lnTo>
                  <a:lnTo>
                    <a:pt x="1597" y="7019"/>
                  </a:lnTo>
                  <a:lnTo>
                    <a:pt x="1627" y="7069"/>
                  </a:lnTo>
                  <a:lnTo>
                    <a:pt x="1652" y="7100"/>
                  </a:lnTo>
                  <a:lnTo>
                    <a:pt x="1677" y="7149"/>
                  </a:lnTo>
                  <a:lnTo>
                    <a:pt x="1708" y="7180"/>
                  </a:lnTo>
                  <a:lnTo>
                    <a:pt x="1708" y="7206"/>
                  </a:lnTo>
                  <a:lnTo>
                    <a:pt x="1733" y="7261"/>
                  </a:lnTo>
                  <a:lnTo>
                    <a:pt x="1708" y="7287"/>
                  </a:lnTo>
                  <a:lnTo>
                    <a:pt x="1763" y="7318"/>
                  </a:lnTo>
                  <a:lnTo>
                    <a:pt x="1813" y="7261"/>
                  </a:lnTo>
                  <a:lnTo>
                    <a:pt x="1844" y="7261"/>
                  </a:lnTo>
                  <a:lnTo>
                    <a:pt x="1894" y="7342"/>
                  </a:lnTo>
                  <a:lnTo>
                    <a:pt x="1950" y="7261"/>
                  </a:lnTo>
                  <a:lnTo>
                    <a:pt x="2062" y="7287"/>
                  </a:lnTo>
                  <a:lnTo>
                    <a:pt x="2086" y="7367"/>
                  </a:lnTo>
                  <a:lnTo>
                    <a:pt x="2112" y="7398"/>
                  </a:lnTo>
                  <a:lnTo>
                    <a:pt x="2143" y="7367"/>
                  </a:lnTo>
                  <a:lnTo>
                    <a:pt x="2193" y="7318"/>
                  </a:lnTo>
                  <a:lnTo>
                    <a:pt x="2249" y="7261"/>
                  </a:lnTo>
                  <a:lnTo>
                    <a:pt x="2273" y="7287"/>
                  </a:lnTo>
                  <a:lnTo>
                    <a:pt x="2304" y="7261"/>
                  </a:lnTo>
                  <a:lnTo>
                    <a:pt x="2330" y="7261"/>
                  </a:lnTo>
                  <a:lnTo>
                    <a:pt x="2385" y="7287"/>
                  </a:lnTo>
                  <a:lnTo>
                    <a:pt x="2441" y="7318"/>
                  </a:lnTo>
                  <a:lnTo>
                    <a:pt x="2522" y="7367"/>
                  </a:lnTo>
                  <a:lnTo>
                    <a:pt x="2522" y="7479"/>
                  </a:lnTo>
                  <a:lnTo>
                    <a:pt x="2572" y="7529"/>
                  </a:lnTo>
                  <a:lnTo>
                    <a:pt x="2603" y="7584"/>
                  </a:lnTo>
                  <a:lnTo>
                    <a:pt x="2603" y="7615"/>
                  </a:lnTo>
                  <a:lnTo>
                    <a:pt x="2572" y="7696"/>
                  </a:lnTo>
                  <a:lnTo>
                    <a:pt x="2658" y="7746"/>
                  </a:lnTo>
                  <a:lnTo>
                    <a:pt x="2708" y="7746"/>
                  </a:lnTo>
                  <a:lnTo>
                    <a:pt x="2708" y="7833"/>
                  </a:lnTo>
                  <a:lnTo>
                    <a:pt x="2739" y="7857"/>
                  </a:lnTo>
                  <a:lnTo>
                    <a:pt x="2764" y="7857"/>
                  </a:lnTo>
                  <a:lnTo>
                    <a:pt x="2789" y="7914"/>
                  </a:lnTo>
                  <a:lnTo>
                    <a:pt x="2845" y="7962"/>
                  </a:lnTo>
                  <a:lnTo>
                    <a:pt x="3006" y="7962"/>
                  </a:lnTo>
                  <a:lnTo>
                    <a:pt x="3006" y="8130"/>
                  </a:lnTo>
                  <a:lnTo>
                    <a:pt x="3037" y="8130"/>
                  </a:lnTo>
                  <a:lnTo>
                    <a:pt x="3063" y="8099"/>
                  </a:lnTo>
                  <a:lnTo>
                    <a:pt x="3087" y="8074"/>
                  </a:lnTo>
                  <a:lnTo>
                    <a:pt x="3199" y="8074"/>
                  </a:lnTo>
                  <a:lnTo>
                    <a:pt x="3199" y="8130"/>
                  </a:lnTo>
                  <a:lnTo>
                    <a:pt x="3224" y="8155"/>
                  </a:lnTo>
                  <a:lnTo>
                    <a:pt x="3280" y="8180"/>
                  </a:lnTo>
                  <a:lnTo>
                    <a:pt x="3305" y="8211"/>
                  </a:lnTo>
                  <a:lnTo>
                    <a:pt x="3305" y="8235"/>
                  </a:lnTo>
                  <a:lnTo>
                    <a:pt x="3255" y="8261"/>
                  </a:lnTo>
                  <a:lnTo>
                    <a:pt x="3280" y="8316"/>
                  </a:lnTo>
                  <a:lnTo>
                    <a:pt x="3199" y="8397"/>
                  </a:lnTo>
                  <a:lnTo>
                    <a:pt x="3144" y="8428"/>
                  </a:lnTo>
                  <a:lnTo>
                    <a:pt x="3087" y="8428"/>
                  </a:lnTo>
                  <a:lnTo>
                    <a:pt x="3063" y="8397"/>
                  </a:lnTo>
                  <a:lnTo>
                    <a:pt x="3037" y="8397"/>
                  </a:lnTo>
                  <a:lnTo>
                    <a:pt x="2982" y="8428"/>
                  </a:lnTo>
                  <a:lnTo>
                    <a:pt x="2982" y="8534"/>
                  </a:lnTo>
                  <a:lnTo>
                    <a:pt x="3037" y="8589"/>
                  </a:lnTo>
                  <a:lnTo>
                    <a:pt x="3063" y="8589"/>
                  </a:lnTo>
                  <a:lnTo>
                    <a:pt x="3087" y="8615"/>
                  </a:lnTo>
                  <a:lnTo>
                    <a:pt x="3087" y="8670"/>
                  </a:lnTo>
                  <a:lnTo>
                    <a:pt x="3118" y="8695"/>
                  </a:lnTo>
                  <a:lnTo>
                    <a:pt x="3118" y="8726"/>
                  </a:lnTo>
                  <a:lnTo>
                    <a:pt x="3144" y="8776"/>
                  </a:lnTo>
                  <a:lnTo>
                    <a:pt x="3199" y="8857"/>
                  </a:lnTo>
                  <a:lnTo>
                    <a:pt x="3199" y="8888"/>
                  </a:lnTo>
                  <a:lnTo>
                    <a:pt x="3224" y="8888"/>
                  </a:lnTo>
                  <a:lnTo>
                    <a:pt x="3255" y="8912"/>
                  </a:lnTo>
                  <a:lnTo>
                    <a:pt x="3305" y="8912"/>
                  </a:lnTo>
                  <a:lnTo>
                    <a:pt x="3336" y="8888"/>
                  </a:lnTo>
                  <a:lnTo>
                    <a:pt x="3386" y="8832"/>
                  </a:lnTo>
                  <a:lnTo>
                    <a:pt x="3360" y="8776"/>
                  </a:lnTo>
                  <a:lnTo>
                    <a:pt x="3360" y="8726"/>
                  </a:lnTo>
                  <a:lnTo>
                    <a:pt x="3522" y="8726"/>
                  </a:lnTo>
                  <a:lnTo>
                    <a:pt x="3553" y="8639"/>
                  </a:lnTo>
                  <a:lnTo>
                    <a:pt x="3578" y="8615"/>
                  </a:lnTo>
                  <a:lnTo>
                    <a:pt x="3633" y="8589"/>
                  </a:lnTo>
                  <a:lnTo>
                    <a:pt x="3714" y="8589"/>
                  </a:lnTo>
                  <a:lnTo>
                    <a:pt x="3740" y="8558"/>
                  </a:lnTo>
                  <a:lnTo>
                    <a:pt x="3851" y="8615"/>
                  </a:lnTo>
                  <a:lnTo>
                    <a:pt x="3877" y="8695"/>
                  </a:lnTo>
                  <a:lnTo>
                    <a:pt x="3932" y="8726"/>
                  </a:lnTo>
                  <a:lnTo>
                    <a:pt x="3957" y="8776"/>
                  </a:lnTo>
                  <a:lnTo>
                    <a:pt x="3982" y="8751"/>
                  </a:lnTo>
                  <a:lnTo>
                    <a:pt x="4013" y="8776"/>
                  </a:lnTo>
                  <a:lnTo>
                    <a:pt x="4038" y="8807"/>
                  </a:lnTo>
                  <a:lnTo>
                    <a:pt x="3957" y="8857"/>
                  </a:lnTo>
                  <a:lnTo>
                    <a:pt x="4038" y="8912"/>
                  </a:lnTo>
                  <a:lnTo>
                    <a:pt x="4069" y="9049"/>
                  </a:lnTo>
                  <a:lnTo>
                    <a:pt x="4174" y="9024"/>
                  </a:lnTo>
                  <a:lnTo>
                    <a:pt x="4200" y="9049"/>
                  </a:lnTo>
                  <a:lnTo>
                    <a:pt x="4255" y="9024"/>
                  </a:lnTo>
                  <a:lnTo>
                    <a:pt x="4336" y="8943"/>
                  </a:lnTo>
                  <a:lnTo>
                    <a:pt x="4392" y="9049"/>
                  </a:lnTo>
                  <a:lnTo>
                    <a:pt x="4447" y="9024"/>
                  </a:lnTo>
                  <a:lnTo>
                    <a:pt x="4447" y="9074"/>
                  </a:lnTo>
                  <a:lnTo>
                    <a:pt x="4473" y="9105"/>
                  </a:lnTo>
                  <a:lnTo>
                    <a:pt x="4497" y="9129"/>
                  </a:lnTo>
                  <a:lnTo>
                    <a:pt x="4528" y="9185"/>
                  </a:lnTo>
                  <a:lnTo>
                    <a:pt x="4497" y="9210"/>
                  </a:lnTo>
                  <a:lnTo>
                    <a:pt x="4528" y="9242"/>
                  </a:lnTo>
                  <a:lnTo>
                    <a:pt x="4578" y="9290"/>
                  </a:lnTo>
                  <a:lnTo>
                    <a:pt x="4665" y="9290"/>
                  </a:lnTo>
                  <a:lnTo>
                    <a:pt x="4691" y="9242"/>
                  </a:lnTo>
                  <a:lnTo>
                    <a:pt x="4771" y="9185"/>
                  </a:lnTo>
                  <a:lnTo>
                    <a:pt x="4796" y="9210"/>
                  </a:lnTo>
                  <a:lnTo>
                    <a:pt x="4852" y="9242"/>
                  </a:lnTo>
                  <a:lnTo>
                    <a:pt x="4876" y="9210"/>
                  </a:lnTo>
                  <a:lnTo>
                    <a:pt x="4933" y="9210"/>
                  </a:lnTo>
                  <a:lnTo>
                    <a:pt x="4933" y="9242"/>
                  </a:lnTo>
                  <a:lnTo>
                    <a:pt x="4964" y="9242"/>
                  </a:lnTo>
                  <a:lnTo>
                    <a:pt x="4964" y="9185"/>
                  </a:lnTo>
                  <a:lnTo>
                    <a:pt x="5069" y="9105"/>
                  </a:lnTo>
                  <a:lnTo>
                    <a:pt x="5094" y="9049"/>
                  </a:lnTo>
                  <a:lnTo>
                    <a:pt x="5149" y="9024"/>
                  </a:lnTo>
                  <a:lnTo>
                    <a:pt x="5149" y="9074"/>
                  </a:lnTo>
                  <a:lnTo>
                    <a:pt x="5206" y="9074"/>
                  </a:lnTo>
                  <a:lnTo>
                    <a:pt x="5230" y="9129"/>
                  </a:lnTo>
                  <a:lnTo>
                    <a:pt x="5261" y="9154"/>
                  </a:lnTo>
                  <a:lnTo>
                    <a:pt x="5367" y="9154"/>
                  </a:lnTo>
                  <a:lnTo>
                    <a:pt x="5392" y="9210"/>
                  </a:lnTo>
                  <a:lnTo>
                    <a:pt x="5424" y="9129"/>
                  </a:lnTo>
                  <a:lnTo>
                    <a:pt x="5392" y="9105"/>
                  </a:lnTo>
                  <a:lnTo>
                    <a:pt x="5448" y="9074"/>
                  </a:lnTo>
                  <a:lnTo>
                    <a:pt x="5472" y="9129"/>
                  </a:lnTo>
                  <a:lnTo>
                    <a:pt x="5504" y="9129"/>
                  </a:lnTo>
                  <a:lnTo>
                    <a:pt x="5529" y="9105"/>
                  </a:lnTo>
                  <a:lnTo>
                    <a:pt x="5585" y="9074"/>
                  </a:lnTo>
                  <a:lnTo>
                    <a:pt x="5585" y="9105"/>
                  </a:lnTo>
                  <a:lnTo>
                    <a:pt x="5640" y="9105"/>
                  </a:lnTo>
                  <a:lnTo>
                    <a:pt x="5666" y="9129"/>
                  </a:lnTo>
                  <a:lnTo>
                    <a:pt x="5721" y="9074"/>
                  </a:lnTo>
                  <a:lnTo>
                    <a:pt x="5802" y="9105"/>
                  </a:lnTo>
                  <a:lnTo>
                    <a:pt x="5827" y="9074"/>
                  </a:lnTo>
                  <a:lnTo>
                    <a:pt x="5883" y="9074"/>
                  </a:lnTo>
                  <a:lnTo>
                    <a:pt x="5908" y="9105"/>
                  </a:lnTo>
                  <a:lnTo>
                    <a:pt x="5989" y="9105"/>
                  </a:lnTo>
                  <a:lnTo>
                    <a:pt x="6020" y="9074"/>
                  </a:lnTo>
                  <a:lnTo>
                    <a:pt x="6075" y="9024"/>
                  </a:lnTo>
                  <a:lnTo>
                    <a:pt x="6075" y="9049"/>
                  </a:lnTo>
                  <a:lnTo>
                    <a:pt x="6044" y="9105"/>
                  </a:lnTo>
                  <a:lnTo>
                    <a:pt x="6044" y="9129"/>
                  </a:lnTo>
                  <a:lnTo>
                    <a:pt x="6157" y="9185"/>
                  </a:lnTo>
                  <a:lnTo>
                    <a:pt x="6125" y="9266"/>
                  </a:lnTo>
                  <a:lnTo>
                    <a:pt x="6125" y="9290"/>
                  </a:lnTo>
                  <a:lnTo>
                    <a:pt x="6044" y="9347"/>
                  </a:lnTo>
                  <a:lnTo>
                    <a:pt x="6125" y="9402"/>
                  </a:lnTo>
                  <a:lnTo>
                    <a:pt x="6181" y="9371"/>
                  </a:lnTo>
                  <a:lnTo>
                    <a:pt x="6205" y="9371"/>
                  </a:lnTo>
                  <a:lnTo>
                    <a:pt x="6181" y="9428"/>
                  </a:lnTo>
                  <a:lnTo>
                    <a:pt x="6157" y="9428"/>
                  </a:lnTo>
                  <a:lnTo>
                    <a:pt x="6125" y="9508"/>
                  </a:lnTo>
                  <a:lnTo>
                    <a:pt x="6157" y="9564"/>
                  </a:lnTo>
                  <a:lnTo>
                    <a:pt x="6181" y="9539"/>
                  </a:lnTo>
                  <a:lnTo>
                    <a:pt x="6205" y="9539"/>
                  </a:lnTo>
                  <a:lnTo>
                    <a:pt x="6205" y="9589"/>
                  </a:lnTo>
                  <a:lnTo>
                    <a:pt x="6262" y="9620"/>
                  </a:lnTo>
                  <a:lnTo>
                    <a:pt x="6262" y="9644"/>
                  </a:lnTo>
                  <a:lnTo>
                    <a:pt x="6318" y="9644"/>
                  </a:lnTo>
                  <a:lnTo>
                    <a:pt x="6286" y="9725"/>
                  </a:lnTo>
                  <a:lnTo>
                    <a:pt x="6286" y="9781"/>
                  </a:lnTo>
                  <a:lnTo>
                    <a:pt x="6318" y="9837"/>
                  </a:lnTo>
                  <a:lnTo>
                    <a:pt x="6318" y="9887"/>
                  </a:lnTo>
                  <a:lnTo>
                    <a:pt x="6100" y="9998"/>
                  </a:lnTo>
                  <a:lnTo>
                    <a:pt x="6044" y="9967"/>
                  </a:lnTo>
                  <a:lnTo>
                    <a:pt x="6044" y="10079"/>
                  </a:lnTo>
                  <a:lnTo>
                    <a:pt x="6020" y="10135"/>
                  </a:lnTo>
                  <a:lnTo>
                    <a:pt x="5939" y="10185"/>
                  </a:lnTo>
                  <a:lnTo>
                    <a:pt x="5963" y="10266"/>
                  </a:lnTo>
                  <a:lnTo>
                    <a:pt x="5989" y="10352"/>
                  </a:lnTo>
                  <a:lnTo>
                    <a:pt x="5963" y="10378"/>
                  </a:lnTo>
                  <a:lnTo>
                    <a:pt x="5989" y="10402"/>
                  </a:lnTo>
                  <a:lnTo>
                    <a:pt x="6044" y="10378"/>
                  </a:lnTo>
                  <a:lnTo>
                    <a:pt x="6075" y="10297"/>
                  </a:lnTo>
                  <a:lnTo>
                    <a:pt x="6125" y="10266"/>
                  </a:lnTo>
                  <a:lnTo>
                    <a:pt x="6075" y="10352"/>
                  </a:lnTo>
                  <a:lnTo>
                    <a:pt x="6075" y="10378"/>
                  </a:lnTo>
                  <a:lnTo>
                    <a:pt x="6157" y="10321"/>
                  </a:lnTo>
                  <a:lnTo>
                    <a:pt x="6181" y="10297"/>
                  </a:lnTo>
                  <a:lnTo>
                    <a:pt x="6205" y="10266"/>
                  </a:lnTo>
                  <a:lnTo>
                    <a:pt x="6181" y="10240"/>
                  </a:lnTo>
                  <a:lnTo>
                    <a:pt x="6238" y="10216"/>
                  </a:lnTo>
                  <a:lnTo>
                    <a:pt x="6262" y="10216"/>
                  </a:lnTo>
                  <a:lnTo>
                    <a:pt x="6286" y="10240"/>
                  </a:lnTo>
                  <a:lnTo>
                    <a:pt x="6286" y="10266"/>
                  </a:lnTo>
                  <a:lnTo>
                    <a:pt x="6343" y="10266"/>
                  </a:lnTo>
                  <a:lnTo>
                    <a:pt x="6343" y="10297"/>
                  </a:lnTo>
                  <a:lnTo>
                    <a:pt x="6286" y="10321"/>
                  </a:lnTo>
                  <a:lnTo>
                    <a:pt x="6262" y="10321"/>
                  </a:lnTo>
                  <a:lnTo>
                    <a:pt x="6238" y="10402"/>
                  </a:lnTo>
                  <a:lnTo>
                    <a:pt x="6205" y="10378"/>
                  </a:lnTo>
                  <a:lnTo>
                    <a:pt x="6205" y="10433"/>
                  </a:lnTo>
                  <a:lnTo>
                    <a:pt x="6181" y="10483"/>
                  </a:lnTo>
                  <a:lnTo>
                    <a:pt x="6100" y="10514"/>
                  </a:lnTo>
                  <a:lnTo>
                    <a:pt x="6100" y="10538"/>
                  </a:lnTo>
                  <a:lnTo>
                    <a:pt x="6125" y="10563"/>
                  </a:lnTo>
                  <a:lnTo>
                    <a:pt x="6181" y="10538"/>
                  </a:lnTo>
                  <a:lnTo>
                    <a:pt x="6205" y="10563"/>
                  </a:lnTo>
                  <a:lnTo>
                    <a:pt x="6157" y="10594"/>
                  </a:lnTo>
                  <a:lnTo>
                    <a:pt x="6100" y="10619"/>
                  </a:lnTo>
                  <a:lnTo>
                    <a:pt x="6075" y="10594"/>
                  </a:lnTo>
                  <a:lnTo>
                    <a:pt x="6044" y="10619"/>
                  </a:lnTo>
                  <a:lnTo>
                    <a:pt x="6044" y="10650"/>
                  </a:lnTo>
                  <a:lnTo>
                    <a:pt x="5989" y="10699"/>
                  </a:lnTo>
                  <a:lnTo>
                    <a:pt x="5939" y="10699"/>
                  </a:lnTo>
                  <a:lnTo>
                    <a:pt x="5989" y="10780"/>
                  </a:lnTo>
                  <a:lnTo>
                    <a:pt x="6075" y="10811"/>
                  </a:lnTo>
                  <a:lnTo>
                    <a:pt x="6044" y="10780"/>
                  </a:lnTo>
                  <a:lnTo>
                    <a:pt x="6100" y="10780"/>
                  </a:lnTo>
                  <a:lnTo>
                    <a:pt x="6181" y="10811"/>
                  </a:lnTo>
                  <a:lnTo>
                    <a:pt x="6205" y="10836"/>
                  </a:lnTo>
                  <a:lnTo>
                    <a:pt x="6286" y="10836"/>
                  </a:lnTo>
                  <a:lnTo>
                    <a:pt x="6286" y="10892"/>
                  </a:lnTo>
                  <a:lnTo>
                    <a:pt x="6205" y="10861"/>
                  </a:lnTo>
                  <a:lnTo>
                    <a:pt x="6181" y="10836"/>
                  </a:lnTo>
                  <a:lnTo>
                    <a:pt x="6181" y="10972"/>
                  </a:lnTo>
                  <a:lnTo>
                    <a:pt x="6157" y="10948"/>
                  </a:lnTo>
                  <a:lnTo>
                    <a:pt x="6157" y="10917"/>
                  </a:lnTo>
                  <a:lnTo>
                    <a:pt x="6125" y="10948"/>
                  </a:lnTo>
                  <a:lnTo>
                    <a:pt x="6125" y="11110"/>
                  </a:lnTo>
                  <a:lnTo>
                    <a:pt x="6100" y="11134"/>
                  </a:lnTo>
                  <a:lnTo>
                    <a:pt x="6075" y="11190"/>
                  </a:lnTo>
                  <a:lnTo>
                    <a:pt x="6100" y="11215"/>
                  </a:lnTo>
                  <a:lnTo>
                    <a:pt x="6100" y="11295"/>
                  </a:lnTo>
                  <a:lnTo>
                    <a:pt x="6075" y="11352"/>
                  </a:lnTo>
                  <a:lnTo>
                    <a:pt x="6044" y="11352"/>
                  </a:lnTo>
                  <a:lnTo>
                    <a:pt x="6020" y="11376"/>
                  </a:lnTo>
                  <a:lnTo>
                    <a:pt x="5989" y="11376"/>
                  </a:lnTo>
                  <a:lnTo>
                    <a:pt x="5963" y="11407"/>
                  </a:lnTo>
                  <a:lnTo>
                    <a:pt x="5908" y="11376"/>
                  </a:lnTo>
                  <a:lnTo>
                    <a:pt x="5883" y="11376"/>
                  </a:lnTo>
                  <a:lnTo>
                    <a:pt x="5858" y="11407"/>
                  </a:lnTo>
                  <a:lnTo>
                    <a:pt x="5908" y="11407"/>
                  </a:lnTo>
                  <a:lnTo>
                    <a:pt x="5883" y="11433"/>
                  </a:lnTo>
                  <a:lnTo>
                    <a:pt x="5883" y="11464"/>
                  </a:lnTo>
                  <a:lnTo>
                    <a:pt x="5939" y="11407"/>
                  </a:lnTo>
                  <a:lnTo>
                    <a:pt x="5939" y="11464"/>
                  </a:lnTo>
                  <a:lnTo>
                    <a:pt x="5908" y="11488"/>
                  </a:lnTo>
                  <a:lnTo>
                    <a:pt x="5883" y="11488"/>
                  </a:lnTo>
                  <a:lnTo>
                    <a:pt x="5858" y="11544"/>
                  </a:lnTo>
                  <a:lnTo>
                    <a:pt x="5883" y="11569"/>
                  </a:lnTo>
                  <a:lnTo>
                    <a:pt x="5908" y="11569"/>
                  </a:lnTo>
                  <a:lnTo>
                    <a:pt x="5989" y="11544"/>
                  </a:lnTo>
                  <a:lnTo>
                    <a:pt x="5963" y="11513"/>
                  </a:lnTo>
                  <a:lnTo>
                    <a:pt x="5939" y="11488"/>
                  </a:lnTo>
                  <a:lnTo>
                    <a:pt x="6044" y="11488"/>
                  </a:lnTo>
                  <a:lnTo>
                    <a:pt x="6044" y="11513"/>
                  </a:lnTo>
                  <a:lnTo>
                    <a:pt x="6075" y="11544"/>
                  </a:lnTo>
                  <a:lnTo>
                    <a:pt x="6125" y="11594"/>
                  </a:lnTo>
                  <a:lnTo>
                    <a:pt x="6205" y="11625"/>
                  </a:lnTo>
                  <a:lnTo>
                    <a:pt x="6286" y="11625"/>
                  </a:lnTo>
                  <a:lnTo>
                    <a:pt x="6318" y="11594"/>
                  </a:lnTo>
                  <a:lnTo>
                    <a:pt x="6286" y="11594"/>
                  </a:lnTo>
                  <a:lnTo>
                    <a:pt x="6318" y="11569"/>
                  </a:lnTo>
                  <a:lnTo>
                    <a:pt x="6374" y="11594"/>
                  </a:lnTo>
                  <a:lnTo>
                    <a:pt x="6343" y="11594"/>
                  </a:lnTo>
                  <a:lnTo>
                    <a:pt x="6399" y="11625"/>
                  </a:lnTo>
                  <a:lnTo>
                    <a:pt x="6423" y="11594"/>
                  </a:lnTo>
                  <a:lnTo>
                    <a:pt x="6454" y="11649"/>
                  </a:lnTo>
                  <a:lnTo>
                    <a:pt x="6803" y="11649"/>
                  </a:lnTo>
                  <a:lnTo>
                    <a:pt x="6834" y="11674"/>
                  </a:lnTo>
                  <a:lnTo>
                    <a:pt x="6858" y="11674"/>
                  </a:lnTo>
                  <a:lnTo>
                    <a:pt x="6995" y="11730"/>
                  </a:lnTo>
                  <a:lnTo>
                    <a:pt x="6995" y="0"/>
                  </a:lnTo>
                  <a:lnTo>
                    <a:pt x="3683" y="0"/>
                  </a:lnTo>
                  <a:close/>
                  <a:moveTo>
                    <a:pt x="2330" y="4903"/>
                  </a:moveTo>
                  <a:lnTo>
                    <a:pt x="2304" y="4878"/>
                  </a:lnTo>
                  <a:lnTo>
                    <a:pt x="2304" y="5096"/>
                  </a:lnTo>
                  <a:lnTo>
                    <a:pt x="2193" y="5120"/>
                  </a:lnTo>
                  <a:lnTo>
                    <a:pt x="2143" y="5096"/>
                  </a:lnTo>
                  <a:lnTo>
                    <a:pt x="2086" y="5120"/>
                  </a:lnTo>
                  <a:lnTo>
                    <a:pt x="2086" y="5177"/>
                  </a:lnTo>
                  <a:lnTo>
                    <a:pt x="2062" y="5201"/>
                  </a:lnTo>
                  <a:lnTo>
                    <a:pt x="2086" y="5256"/>
                  </a:lnTo>
                  <a:lnTo>
                    <a:pt x="2086" y="5282"/>
                  </a:lnTo>
                  <a:lnTo>
                    <a:pt x="1950" y="5282"/>
                  </a:lnTo>
                  <a:lnTo>
                    <a:pt x="1652" y="4903"/>
                  </a:lnTo>
                  <a:lnTo>
                    <a:pt x="1547" y="4797"/>
                  </a:lnTo>
                  <a:lnTo>
                    <a:pt x="1516" y="4797"/>
                  </a:lnTo>
                  <a:lnTo>
                    <a:pt x="1490" y="4742"/>
                  </a:lnTo>
                  <a:lnTo>
                    <a:pt x="1516" y="4742"/>
                  </a:lnTo>
                  <a:lnTo>
                    <a:pt x="1547" y="4686"/>
                  </a:lnTo>
                  <a:lnTo>
                    <a:pt x="1547" y="4605"/>
                  </a:lnTo>
                  <a:lnTo>
                    <a:pt x="1571" y="4581"/>
                  </a:lnTo>
                  <a:lnTo>
                    <a:pt x="1597" y="4469"/>
                  </a:lnTo>
                  <a:lnTo>
                    <a:pt x="1627" y="4443"/>
                  </a:lnTo>
                  <a:lnTo>
                    <a:pt x="1789" y="4500"/>
                  </a:lnTo>
                  <a:lnTo>
                    <a:pt x="1870" y="4550"/>
                  </a:lnTo>
                  <a:lnTo>
                    <a:pt x="1894" y="4550"/>
                  </a:lnTo>
                  <a:lnTo>
                    <a:pt x="1975" y="4605"/>
                  </a:lnTo>
                  <a:lnTo>
                    <a:pt x="2031" y="4581"/>
                  </a:lnTo>
                  <a:lnTo>
                    <a:pt x="2167" y="4605"/>
                  </a:lnTo>
                  <a:lnTo>
                    <a:pt x="2193" y="4686"/>
                  </a:lnTo>
                  <a:lnTo>
                    <a:pt x="2330" y="4797"/>
                  </a:lnTo>
                  <a:lnTo>
                    <a:pt x="2361" y="4878"/>
                  </a:lnTo>
                  <a:lnTo>
                    <a:pt x="2330" y="4903"/>
                  </a:lnTo>
                  <a:close/>
                  <a:moveTo>
                    <a:pt x="2957" y="4307"/>
                  </a:moveTo>
                  <a:lnTo>
                    <a:pt x="2926" y="4388"/>
                  </a:lnTo>
                  <a:lnTo>
                    <a:pt x="2926" y="4412"/>
                  </a:lnTo>
                  <a:lnTo>
                    <a:pt x="2876" y="4443"/>
                  </a:lnTo>
                  <a:lnTo>
                    <a:pt x="2820" y="4412"/>
                  </a:lnTo>
                  <a:lnTo>
                    <a:pt x="2820" y="4332"/>
                  </a:lnTo>
                  <a:lnTo>
                    <a:pt x="2739" y="4282"/>
                  </a:lnTo>
                  <a:lnTo>
                    <a:pt x="2684" y="4201"/>
                  </a:lnTo>
                  <a:lnTo>
                    <a:pt x="2546" y="4170"/>
                  </a:lnTo>
                  <a:lnTo>
                    <a:pt x="2410" y="4115"/>
                  </a:lnTo>
                  <a:lnTo>
                    <a:pt x="2385" y="4065"/>
                  </a:lnTo>
                  <a:lnTo>
                    <a:pt x="2441" y="4034"/>
                  </a:lnTo>
                  <a:lnTo>
                    <a:pt x="2330" y="3954"/>
                  </a:lnTo>
                  <a:lnTo>
                    <a:pt x="2330" y="3929"/>
                  </a:lnTo>
                  <a:lnTo>
                    <a:pt x="2441" y="3954"/>
                  </a:lnTo>
                  <a:lnTo>
                    <a:pt x="2441" y="3929"/>
                  </a:lnTo>
                  <a:lnTo>
                    <a:pt x="2385" y="3904"/>
                  </a:lnTo>
                  <a:lnTo>
                    <a:pt x="2385" y="3873"/>
                  </a:lnTo>
                  <a:lnTo>
                    <a:pt x="2304" y="3792"/>
                  </a:lnTo>
                  <a:lnTo>
                    <a:pt x="2385" y="3816"/>
                  </a:lnTo>
                  <a:lnTo>
                    <a:pt x="2273" y="3737"/>
                  </a:lnTo>
                  <a:lnTo>
                    <a:pt x="2304" y="3711"/>
                  </a:lnTo>
                  <a:lnTo>
                    <a:pt x="2410" y="3792"/>
                  </a:lnTo>
                  <a:lnTo>
                    <a:pt x="2441" y="3873"/>
                  </a:lnTo>
                  <a:lnTo>
                    <a:pt x="2522" y="3929"/>
                  </a:lnTo>
                  <a:lnTo>
                    <a:pt x="2522" y="3873"/>
                  </a:lnTo>
                  <a:lnTo>
                    <a:pt x="2466" y="3848"/>
                  </a:lnTo>
                  <a:lnTo>
                    <a:pt x="2522" y="3816"/>
                  </a:lnTo>
                  <a:lnTo>
                    <a:pt x="2572" y="3848"/>
                  </a:lnTo>
                  <a:lnTo>
                    <a:pt x="2603" y="3816"/>
                  </a:lnTo>
                  <a:lnTo>
                    <a:pt x="2603" y="3768"/>
                  </a:lnTo>
                  <a:lnTo>
                    <a:pt x="2522" y="3656"/>
                  </a:lnTo>
                  <a:lnTo>
                    <a:pt x="2361" y="3656"/>
                  </a:lnTo>
                  <a:lnTo>
                    <a:pt x="2441" y="3737"/>
                  </a:lnTo>
                  <a:lnTo>
                    <a:pt x="2410" y="3768"/>
                  </a:lnTo>
                  <a:lnTo>
                    <a:pt x="2224" y="3575"/>
                  </a:lnTo>
                  <a:lnTo>
                    <a:pt x="2224" y="3550"/>
                  </a:lnTo>
                  <a:lnTo>
                    <a:pt x="2410" y="3575"/>
                  </a:lnTo>
                  <a:lnTo>
                    <a:pt x="2491" y="3631"/>
                  </a:lnTo>
                  <a:lnTo>
                    <a:pt x="2522" y="3600"/>
                  </a:lnTo>
                  <a:lnTo>
                    <a:pt x="2627" y="3687"/>
                  </a:lnTo>
                  <a:lnTo>
                    <a:pt x="2684" y="3737"/>
                  </a:lnTo>
                  <a:lnTo>
                    <a:pt x="2684" y="3816"/>
                  </a:lnTo>
                  <a:lnTo>
                    <a:pt x="2658" y="3848"/>
                  </a:lnTo>
                  <a:lnTo>
                    <a:pt x="2845" y="4065"/>
                  </a:lnTo>
                  <a:lnTo>
                    <a:pt x="2926" y="4090"/>
                  </a:lnTo>
                  <a:lnTo>
                    <a:pt x="2982" y="4307"/>
                  </a:lnTo>
                  <a:lnTo>
                    <a:pt x="2957" y="4307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62" name="Freeform 62">
              <a:extLst>
                <a:ext uri="{FF2B5EF4-FFF2-40B4-BE49-F238E27FC236}">
                  <a16:creationId xmlns:a16="http://schemas.microsoft.com/office/drawing/2014/main" id="{8D64607C-C2C3-4D5D-8669-D3B0F50D30E3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0124" y="5442467"/>
              <a:ext cx="55892" cy="44715"/>
            </a:xfrm>
            <a:custGeom>
              <a:avLst/>
              <a:gdLst/>
              <a:ahLst/>
              <a:cxnLst>
                <a:cxn ang="0">
                  <a:pos x="57" y="56"/>
                </a:cxn>
                <a:cxn ang="0">
                  <a:pos x="26" y="56"/>
                </a:cxn>
                <a:cxn ang="0">
                  <a:pos x="0" y="106"/>
                </a:cxn>
                <a:cxn ang="0">
                  <a:pos x="26" y="106"/>
                </a:cxn>
                <a:cxn ang="0">
                  <a:pos x="57" y="137"/>
                </a:cxn>
                <a:cxn ang="0">
                  <a:pos x="82" y="137"/>
                </a:cxn>
                <a:cxn ang="0">
                  <a:pos x="82" y="106"/>
                </a:cxn>
                <a:cxn ang="0">
                  <a:pos x="137" y="81"/>
                </a:cxn>
                <a:cxn ang="0">
                  <a:pos x="163" y="56"/>
                </a:cxn>
                <a:cxn ang="0">
                  <a:pos x="163" y="0"/>
                </a:cxn>
                <a:cxn ang="0">
                  <a:pos x="137" y="0"/>
                </a:cxn>
                <a:cxn ang="0">
                  <a:pos x="106" y="0"/>
                </a:cxn>
                <a:cxn ang="0">
                  <a:pos x="57" y="25"/>
                </a:cxn>
                <a:cxn ang="0">
                  <a:pos x="57" y="56"/>
                </a:cxn>
              </a:cxnLst>
              <a:rect l="0" t="0" r="r" b="b"/>
              <a:pathLst>
                <a:path w="163" h="137">
                  <a:moveTo>
                    <a:pt x="57" y="56"/>
                  </a:moveTo>
                  <a:lnTo>
                    <a:pt x="26" y="56"/>
                  </a:lnTo>
                  <a:lnTo>
                    <a:pt x="0" y="106"/>
                  </a:lnTo>
                  <a:lnTo>
                    <a:pt x="26" y="106"/>
                  </a:lnTo>
                  <a:lnTo>
                    <a:pt x="57" y="137"/>
                  </a:lnTo>
                  <a:lnTo>
                    <a:pt x="82" y="137"/>
                  </a:lnTo>
                  <a:lnTo>
                    <a:pt x="82" y="106"/>
                  </a:lnTo>
                  <a:lnTo>
                    <a:pt x="137" y="81"/>
                  </a:lnTo>
                  <a:lnTo>
                    <a:pt x="163" y="56"/>
                  </a:lnTo>
                  <a:lnTo>
                    <a:pt x="163" y="0"/>
                  </a:lnTo>
                  <a:lnTo>
                    <a:pt x="137" y="0"/>
                  </a:lnTo>
                  <a:lnTo>
                    <a:pt x="106" y="0"/>
                  </a:lnTo>
                  <a:lnTo>
                    <a:pt x="57" y="25"/>
                  </a:lnTo>
                  <a:lnTo>
                    <a:pt x="57" y="56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63" name="Freeform 63">
              <a:extLst>
                <a:ext uri="{FF2B5EF4-FFF2-40B4-BE49-F238E27FC236}">
                  <a16:creationId xmlns:a16="http://schemas.microsoft.com/office/drawing/2014/main" id="{6C7F4E2F-F9DF-4C25-B604-790AF5CAE1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988010" y="5496126"/>
              <a:ext cx="29063" cy="26829"/>
            </a:xfrm>
            <a:custGeom>
              <a:avLst/>
              <a:gdLst/>
              <a:ahLst/>
              <a:cxnLst>
                <a:cxn ang="0">
                  <a:pos x="25" y="57"/>
                </a:cxn>
                <a:cxn ang="0">
                  <a:pos x="49" y="81"/>
                </a:cxn>
                <a:cxn ang="0">
                  <a:pos x="80" y="81"/>
                </a:cxn>
                <a:cxn ang="0">
                  <a:pos x="80" y="57"/>
                </a:cxn>
                <a:cxn ang="0">
                  <a:pos x="80" y="26"/>
                </a:cxn>
                <a:cxn ang="0">
                  <a:pos x="49" y="57"/>
                </a:cxn>
                <a:cxn ang="0">
                  <a:pos x="25" y="26"/>
                </a:cxn>
                <a:cxn ang="0">
                  <a:pos x="25" y="0"/>
                </a:cxn>
                <a:cxn ang="0">
                  <a:pos x="25" y="26"/>
                </a:cxn>
                <a:cxn ang="0">
                  <a:pos x="0" y="26"/>
                </a:cxn>
                <a:cxn ang="0">
                  <a:pos x="0" y="57"/>
                </a:cxn>
                <a:cxn ang="0">
                  <a:pos x="0" y="81"/>
                </a:cxn>
                <a:cxn ang="0">
                  <a:pos x="25" y="57"/>
                </a:cxn>
              </a:cxnLst>
              <a:rect l="0" t="0" r="r" b="b"/>
              <a:pathLst>
                <a:path w="80" h="81">
                  <a:moveTo>
                    <a:pt x="25" y="57"/>
                  </a:moveTo>
                  <a:lnTo>
                    <a:pt x="49" y="81"/>
                  </a:lnTo>
                  <a:lnTo>
                    <a:pt x="80" y="81"/>
                  </a:lnTo>
                  <a:lnTo>
                    <a:pt x="80" y="57"/>
                  </a:lnTo>
                  <a:lnTo>
                    <a:pt x="80" y="26"/>
                  </a:lnTo>
                  <a:lnTo>
                    <a:pt x="49" y="57"/>
                  </a:lnTo>
                  <a:lnTo>
                    <a:pt x="25" y="26"/>
                  </a:lnTo>
                  <a:lnTo>
                    <a:pt x="25" y="0"/>
                  </a:lnTo>
                  <a:lnTo>
                    <a:pt x="25" y="26"/>
                  </a:lnTo>
                  <a:lnTo>
                    <a:pt x="0" y="26"/>
                  </a:lnTo>
                  <a:lnTo>
                    <a:pt x="0" y="57"/>
                  </a:lnTo>
                  <a:lnTo>
                    <a:pt x="0" y="81"/>
                  </a:lnTo>
                  <a:lnTo>
                    <a:pt x="25" y="57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64" name="Freeform 64">
              <a:extLst>
                <a:ext uri="{FF2B5EF4-FFF2-40B4-BE49-F238E27FC236}">
                  <a16:creationId xmlns:a16="http://schemas.microsoft.com/office/drawing/2014/main" id="{0AB01290-5392-4BAC-A5F6-2524793D4695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6624" y="5321739"/>
              <a:ext cx="136379" cy="111785"/>
            </a:xfrm>
            <a:custGeom>
              <a:avLst/>
              <a:gdLst/>
              <a:ahLst/>
              <a:cxnLst>
                <a:cxn ang="0">
                  <a:pos x="273" y="329"/>
                </a:cxn>
                <a:cxn ang="0">
                  <a:pos x="273" y="299"/>
                </a:cxn>
                <a:cxn ang="0">
                  <a:pos x="330" y="273"/>
                </a:cxn>
                <a:cxn ang="0">
                  <a:pos x="354" y="218"/>
                </a:cxn>
                <a:cxn ang="0">
                  <a:pos x="380" y="192"/>
                </a:cxn>
                <a:cxn ang="0">
                  <a:pos x="380" y="137"/>
                </a:cxn>
                <a:cxn ang="0">
                  <a:pos x="411" y="137"/>
                </a:cxn>
                <a:cxn ang="0">
                  <a:pos x="411" y="112"/>
                </a:cxn>
                <a:cxn ang="0">
                  <a:pos x="380" y="81"/>
                </a:cxn>
                <a:cxn ang="0">
                  <a:pos x="354" y="112"/>
                </a:cxn>
                <a:cxn ang="0">
                  <a:pos x="299" y="56"/>
                </a:cxn>
                <a:cxn ang="0">
                  <a:pos x="330" y="56"/>
                </a:cxn>
                <a:cxn ang="0">
                  <a:pos x="330" y="25"/>
                </a:cxn>
                <a:cxn ang="0">
                  <a:pos x="299" y="25"/>
                </a:cxn>
                <a:cxn ang="0">
                  <a:pos x="273" y="25"/>
                </a:cxn>
                <a:cxn ang="0">
                  <a:pos x="330" y="0"/>
                </a:cxn>
                <a:cxn ang="0">
                  <a:pos x="242" y="0"/>
                </a:cxn>
                <a:cxn ang="0">
                  <a:pos x="162" y="25"/>
                </a:cxn>
                <a:cxn ang="0">
                  <a:pos x="81" y="81"/>
                </a:cxn>
                <a:cxn ang="0">
                  <a:pos x="56" y="112"/>
                </a:cxn>
                <a:cxn ang="0">
                  <a:pos x="0" y="137"/>
                </a:cxn>
                <a:cxn ang="0">
                  <a:pos x="0" y="192"/>
                </a:cxn>
                <a:cxn ang="0">
                  <a:pos x="56" y="192"/>
                </a:cxn>
                <a:cxn ang="0">
                  <a:pos x="31" y="192"/>
                </a:cxn>
                <a:cxn ang="0">
                  <a:pos x="56" y="218"/>
                </a:cxn>
                <a:cxn ang="0">
                  <a:pos x="81" y="192"/>
                </a:cxn>
                <a:cxn ang="0">
                  <a:pos x="112" y="161"/>
                </a:cxn>
                <a:cxn ang="0">
                  <a:pos x="136" y="192"/>
                </a:cxn>
                <a:cxn ang="0">
                  <a:pos x="136" y="242"/>
                </a:cxn>
                <a:cxn ang="0">
                  <a:pos x="162" y="273"/>
                </a:cxn>
                <a:cxn ang="0">
                  <a:pos x="218" y="273"/>
                </a:cxn>
                <a:cxn ang="0">
                  <a:pos x="218" y="299"/>
                </a:cxn>
                <a:cxn ang="0">
                  <a:pos x="273" y="329"/>
                </a:cxn>
              </a:cxnLst>
              <a:rect l="0" t="0" r="r" b="b"/>
              <a:pathLst>
                <a:path w="411" h="329">
                  <a:moveTo>
                    <a:pt x="273" y="329"/>
                  </a:moveTo>
                  <a:lnTo>
                    <a:pt x="273" y="299"/>
                  </a:lnTo>
                  <a:lnTo>
                    <a:pt x="330" y="273"/>
                  </a:lnTo>
                  <a:lnTo>
                    <a:pt x="354" y="218"/>
                  </a:lnTo>
                  <a:lnTo>
                    <a:pt x="380" y="192"/>
                  </a:lnTo>
                  <a:lnTo>
                    <a:pt x="380" y="137"/>
                  </a:lnTo>
                  <a:lnTo>
                    <a:pt x="411" y="137"/>
                  </a:lnTo>
                  <a:lnTo>
                    <a:pt x="411" y="112"/>
                  </a:lnTo>
                  <a:lnTo>
                    <a:pt x="380" y="81"/>
                  </a:lnTo>
                  <a:lnTo>
                    <a:pt x="354" y="112"/>
                  </a:lnTo>
                  <a:lnTo>
                    <a:pt x="299" y="56"/>
                  </a:lnTo>
                  <a:lnTo>
                    <a:pt x="330" y="56"/>
                  </a:lnTo>
                  <a:lnTo>
                    <a:pt x="330" y="25"/>
                  </a:lnTo>
                  <a:lnTo>
                    <a:pt x="299" y="25"/>
                  </a:lnTo>
                  <a:lnTo>
                    <a:pt x="273" y="25"/>
                  </a:lnTo>
                  <a:lnTo>
                    <a:pt x="330" y="0"/>
                  </a:lnTo>
                  <a:lnTo>
                    <a:pt x="242" y="0"/>
                  </a:lnTo>
                  <a:lnTo>
                    <a:pt x="162" y="25"/>
                  </a:lnTo>
                  <a:lnTo>
                    <a:pt x="81" y="81"/>
                  </a:lnTo>
                  <a:lnTo>
                    <a:pt x="56" y="112"/>
                  </a:lnTo>
                  <a:lnTo>
                    <a:pt x="0" y="137"/>
                  </a:lnTo>
                  <a:lnTo>
                    <a:pt x="0" y="192"/>
                  </a:lnTo>
                  <a:lnTo>
                    <a:pt x="56" y="192"/>
                  </a:lnTo>
                  <a:lnTo>
                    <a:pt x="31" y="192"/>
                  </a:lnTo>
                  <a:lnTo>
                    <a:pt x="56" y="218"/>
                  </a:lnTo>
                  <a:lnTo>
                    <a:pt x="81" y="192"/>
                  </a:lnTo>
                  <a:lnTo>
                    <a:pt x="112" y="161"/>
                  </a:lnTo>
                  <a:lnTo>
                    <a:pt x="136" y="192"/>
                  </a:lnTo>
                  <a:lnTo>
                    <a:pt x="136" y="242"/>
                  </a:lnTo>
                  <a:lnTo>
                    <a:pt x="162" y="273"/>
                  </a:lnTo>
                  <a:lnTo>
                    <a:pt x="218" y="273"/>
                  </a:lnTo>
                  <a:lnTo>
                    <a:pt x="218" y="299"/>
                  </a:lnTo>
                  <a:lnTo>
                    <a:pt x="273" y="329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65" name="Freeform 65">
              <a:extLst>
                <a:ext uri="{FF2B5EF4-FFF2-40B4-BE49-F238E27FC236}">
                  <a16:creationId xmlns:a16="http://schemas.microsoft.com/office/drawing/2014/main" id="{DC1A3FD1-9BEA-48CF-BCF8-0F35857DB35F}"/>
                </a:ext>
              </a:extLst>
            </p:cNvPr>
            <p:cNvSpPr>
              <a:spLocks/>
            </p:cNvSpPr>
            <p:nvPr/>
          </p:nvSpPr>
          <p:spPr bwMode="gray">
            <a:xfrm>
              <a:off x="7307718" y="5303854"/>
              <a:ext cx="64837" cy="44715"/>
            </a:xfrm>
            <a:custGeom>
              <a:avLst/>
              <a:gdLst/>
              <a:ahLst/>
              <a:cxnLst>
                <a:cxn ang="0">
                  <a:pos x="56" y="55"/>
                </a:cxn>
                <a:cxn ang="0">
                  <a:pos x="112" y="111"/>
                </a:cxn>
                <a:cxn ang="0">
                  <a:pos x="192" y="136"/>
                </a:cxn>
                <a:cxn ang="0">
                  <a:pos x="192" y="111"/>
                </a:cxn>
                <a:cxn ang="0">
                  <a:pos x="192" y="80"/>
                </a:cxn>
                <a:cxn ang="0">
                  <a:pos x="192" y="111"/>
                </a:cxn>
                <a:cxn ang="0">
                  <a:pos x="168" y="55"/>
                </a:cxn>
                <a:cxn ang="0">
                  <a:pos x="192" y="55"/>
                </a:cxn>
                <a:cxn ang="0">
                  <a:pos x="168" y="31"/>
                </a:cxn>
                <a:cxn ang="0">
                  <a:pos x="137" y="31"/>
                </a:cxn>
                <a:cxn ang="0">
                  <a:pos x="112" y="0"/>
                </a:cxn>
                <a:cxn ang="0">
                  <a:pos x="31" y="0"/>
                </a:cxn>
                <a:cxn ang="0">
                  <a:pos x="0" y="31"/>
                </a:cxn>
                <a:cxn ang="0">
                  <a:pos x="31" y="55"/>
                </a:cxn>
                <a:cxn ang="0">
                  <a:pos x="0" y="80"/>
                </a:cxn>
                <a:cxn ang="0">
                  <a:pos x="56" y="55"/>
                </a:cxn>
              </a:cxnLst>
              <a:rect l="0" t="0" r="r" b="b"/>
              <a:pathLst>
                <a:path w="192" h="136">
                  <a:moveTo>
                    <a:pt x="56" y="55"/>
                  </a:moveTo>
                  <a:lnTo>
                    <a:pt x="112" y="111"/>
                  </a:lnTo>
                  <a:lnTo>
                    <a:pt x="192" y="136"/>
                  </a:lnTo>
                  <a:lnTo>
                    <a:pt x="192" y="111"/>
                  </a:lnTo>
                  <a:lnTo>
                    <a:pt x="192" y="80"/>
                  </a:lnTo>
                  <a:lnTo>
                    <a:pt x="192" y="111"/>
                  </a:lnTo>
                  <a:lnTo>
                    <a:pt x="168" y="55"/>
                  </a:lnTo>
                  <a:lnTo>
                    <a:pt x="192" y="55"/>
                  </a:lnTo>
                  <a:lnTo>
                    <a:pt x="168" y="31"/>
                  </a:lnTo>
                  <a:lnTo>
                    <a:pt x="137" y="31"/>
                  </a:lnTo>
                  <a:lnTo>
                    <a:pt x="112" y="0"/>
                  </a:lnTo>
                  <a:lnTo>
                    <a:pt x="31" y="0"/>
                  </a:lnTo>
                  <a:lnTo>
                    <a:pt x="0" y="31"/>
                  </a:lnTo>
                  <a:lnTo>
                    <a:pt x="31" y="55"/>
                  </a:lnTo>
                  <a:lnTo>
                    <a:pt x="0" y="80"/>
                  </a:lnTo>
                  <a:lnTo>
                    <a:pt x="56" y="55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66" name="Freeform 91">
              <a:extLst>
                <a:ext uri="{FF2B5EF4-FFF2-40B4-BE49-F238E27FC236}">
                  <a16:creationId xmlns:a16="http://schemas.microsoft.com/office/drawing/2014/main" id="{2B798C6B-DDA0-4573-8698-76397564AA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51580" y="1903321"/>
              <a:ext cx="527630" cy="382309"/>
            </a:xfrm>
            <a:custGeom>
              <a:avLst/>
              <a:gdLst/>
              <a:ahLst/>
              <a:cxnLst>
                <a:cxn ang="0">
                  <a:pos x="81" y="1110"/>
                </a:cxn>
                <a:cxn ang="0">
                  <a:pos x="137" y="1053"/>
                </a:cxn>
                <a:cxn ang="0">
                  <a:pos x="244" y="917"/>
                </a:cxn>
                <a:cxn ang="0">
                  <a:pos x="275" y="867"/>
                </a:cxn>
                <a:cxn ang="0">
                  <a:pos x="355" y="756"/>
                </a:cxn>
                <a:cxn ang="0">
                  <a:pos x="412" y="706"/>
                </a:cxn>
                <a:cxn ang="0">
                  <a:pos x="275" y="706"/>
                </a:cxn>
                <a:cxn ang="0">
                  <a:pos x="244" y="731"/>
                </a:cxn>
                <a:cxn ang="0">
                  <a:pos x="113" y="756"/>
                </a:cxn>
                <a:cxn ang="0">
                  <a:pos x="57" y="837"/>
                </a:cxn>
                <a:cxn ang="0">
                  <a:pos x="26" y="867"/>
                </a:cxn>
                <a:cxn ang="0">
                  <a:pos x="81" y="973"/>
                </a:cxn>
                <a:cxn ang="0">
                  <a:pos x="113" y="1029"/>
                </a:cxn>
                <a:cxn ang="0">
                  <a:pos x="113" y="595"/>
                </a:cxn>
                <a:cxn ang="0">
                  <a:pos x="81" y="620"/>
                </a:cxn>
                <a:cxn ang="0">
                  <a:pos x="194" y="706"/>
                </a:cxn>
                <a:cxn ang="0">
                  <a:pos x="244" y="620"/>
                </a:cxn>
                <a:cxn ang="0">
                  <a:pos x="244" y="570"/>
                </a:cxn>
                <a:cxn ang="0">
                  <a:pos x="137" y="515"/>
                </a:cxn>
                <a:cxn ang="0">
                  <a:pos x="299" y="515"/>
                </a:cxn>
                <a:cxn ang="0">
                  <a:pos x="324" y="539"/>
                </a:cxn>
                <a:cxn ang="0">
                  <a:pos x="324" y="489"/>
                </a:cxn>
                <a:cxn ang="0">
                  <a:pos x="791" y="917"/>
                </a:cxn>
                <a:cxn ang="0">
                  <a:pos x="896" y="867"/>
                </a:cxn>
                <a:cxn ang="0">
                  <a:pos x="952" y="867"/>
                </a:cxn>
                <a:cxn ang="0">
                  <a:pos x="1059" y="892"/>
                </a:cxn>
                <a:cxn ang="0">
                  <a:pos x="1139" y="948"/>
                </a:cxn>
                <a:cxn ang="0">
                  <a:pos x="1195" y="1004"/>
                </a:cxn>
                <a:cxn ang="0">
                  <a:pos x="1275" y="1029"/>
                </a:cxn>
                <a:cxn ang="0">
                  <a:pos x="1356" y="973"/>
                </a:cxn>
                <a:cxn ang="0">
                  <a:pos x="1493" y="948"/>
                </a:cxn>
                <a:cxn ang="0">
                  <a:pos x="1519" y="812"/>
                </a:cxn>
                <a:cxn ang="0">
                  <a:pos x="1438" y="595"/>
                </a:cxn>
                <a:cxn ang="0">
                  <a:pos x="1332" y="458"/>
                </a:cxn>
                <a:cxn ang="0">
                  <a:pos x="1275" y="353"/>
                </a:cxn>
                <a:cxn ang="0">
                  <a:pos x="1469" y="242"/>
                </a:cxn>
                <a:cxn ang="0">
                  <a:pos x="1493" y="25"/>
                </a:cxn>
                <a:cxn ang="0">
                  <a:pos x="1412" y="25"/>
                </a:cxn>
                <a:cxn ang="0">
                  <a:pos x="1332" y="80"/>
                </a:cxn>
                <a:cxn ang="0">
                  <a:pos x="1114" y="80"/>
                </a:cxn>
                <a:cxn ang="0">
                  <a:pos x="921" y="106"/>
                </a:cxn>
                <a:cxn ang="0">
                  <a:pos x="815" y="161"/>
                </a:cxn>
                <a:cxn ang="0">
                  <a:pos x="710" y="192"/>
                </a:cxn>
                <a:cxn ang="0">
                  <a:pos x="678" y="192"/>
                </a:cxn>
                <a:cxn ang="0">
                  <a:pos x="597" y="217"/>
                </a:cxn>
                <a:cxn ang="0">
                  <a:pos x="542" y="322"/>
                </a:cxn>
                <a:cxn ang="0">
                  <a:pos x="461" y="353"/>
                </a:cxn>
                <a:cxn ang="0">
                  <a:pos x="380" y="403"/>
                </a:cxn>
                <a:cxn ang="0">
                  <a:pos x="412" y="489"/>
                </a:cxn>
                <a:cxn ang="0">
                  <a:pos x="412" y="539"/>
                </a:cxn>
                <a:cxn ang="0">
                  <a:pos x="492" y="595"/>
                </a:cxn>
                <a:cxn ang="0">
                  <a:pos x="461" y="651"/>
                </a:cxn>
                <a:cxn ang="0">
                  <a:pos x="517" y="756"/>
                </a:cxn>
                <a:cxn ang="0">
                  <a:pos x="623" y="837"/>
                </a:cxn>
                <a:cxn ang="0">
                  <a:pos x="678" y="731"/>
                </a:cxn>
                <a:cxn ang="0">
                  <a:pos x="735" y="787"/>
                </a:cxn>
                <a:cxn ang="0">
                  <a:pos x="735" y="948"/>
                </a:cxn>
              </a:cxnLst>
              <a:rect l="0" t="0" r="r" b="b"/>
              <a:pathLst>
                <a:path w="1574" h="1134">
                  <a:moveTo>
                    <a:pt x="113" y="1029"/>
                  </a:moveTo>
                  <a:lnTo>
                    <a:pt x="81" y="1053"/>
                  </a:lnTo>
                  <a:lnTo>
                    <a:pt x="81" y="1110"/>
                  </a:lnTo>
                  <a:lnTo>
                    <a:pt x="113" y="1134"/>
                  </a:lnTo>
                  <a:lnTo>
                    <a:pt x="137" y="1110"/>
                  </a:lnTo>
                  <a:lnTo>
                    <a:pt x="137" y="1053"/>
                  </a:lnTo>
                  <a:lnTo>
                    <a:pt x="137" y="1029"/>
                  </a:lnTo>
                  <a:lnTo>
                    <a:pt x="163" y="973"/>
                  </a:lnTo>
                  <a:lnTo>
                    <a:pt x="244" y="917"/>
                  </a:lnTo>
                  <a:lnTo>
                    <a:pt x="244" y="892"/>
                  </a:lnTo>
                  <a:lnTo>
                    <a:pt x="275" y="892"/>
                  </a:lnTo>
                  <a:lnTo>
                    <a:pt x="275" y="867"/>
                  </a:lnTo>
                  <a:lnTo>
                    <a:pt x="299" y="867"/>
                  </a:lnTo>
                  <a:lnTo>
                    <a:pt x="324" y="812"/>
                  </a:lnTo>
                  <a:lnTo>
                    <a:pt x="355" y="756"/>
                  </a:lnTo>
                  <a:lnTo>
                    <a:pt x="380" y="756"/>
                  </a:lnTo>
                  <a:lnTo>
                    <a:pt x="380" y="731"/>
                  </a:lnTo>
                  <a:lnTo>
                    <a:pt x="412" y="706"/>
                  </a:lnTo>
                  <a:lnTo>
                    <a:pt x="380" y="706"/>
                  </a:lnTo>
                  <a:lnTo>
                    <a:pt x="355" y="675"/>
                  </a:lnTo>
                  <a:lnTo>
                    <a:pt x="275" y="706"/>
                  </a:lnTo>
                  <a:lnTo>
                    <a:pt x="324" y="731"/>
                  </a:lnTo>
                  <a:lnTo>
                    <a:pt x="299" y="756"/>
                  </a:lnTo>
                  <a:lnTo>
                    <a:pt x="244" y="731"/>
                  </a:lnTo>
                  <a:lnTo>
                    <a:pt x="218" y="731"/>
                  </a:lnTo>
                  <a:lnTo>
                    <a:pt x="194" y="731"/>
                  </a:lnTo>
                  <a:lnTo>
                    <a:pt x="113" y="756"/>
                  </a:lnTo>
                  <a:lnTo>
                    <a:pt x="81" y="812"/>
                  </a:lnTo>
                  <a:lnTo>
                    <a:pt x="57" y="812"/>
                  </a:lnTo>
                  <a:lnTo>
                    <a:pt x="57" y="837"/>
                  </a:lnTo>
                  <a:lnTo>
                    <a:pt x="26" y="812"/>
                  </a:lnTo>
                  <a:lnTo>
                    <a:pt x="0" y="837"/>
                  </a:lnTo>
                  <a:lnTo>
                    <a:pt x="26" y="867"/>
                  </a:lnTo>
                  <a:lnTo>
                    <a:pt x="26" y="892"/>
                  </a:lnTo>
                  <a:lnTo>
                    <a:pt x="26" y="917"/>
                  </a:lnTo>
                  <a:lnTo>
                    <a:pt x="81" y="973"/>
                  </a:lnTo>
                  <a:lnTo>
                    <a:pt x="113" y="948"/>
                  </a:lnTo>
                  <a:lnTo>
                    <a:pt x="113" y="1004"/>
                  </a:lnTo>
                  <a:lnTo>
                    <a:pt x="113" y="1029"/>
                  </a:lnTo>
                  <a:close/>
                  <a:moveTo>
                    <a:pt x="113" y="570"/>
                  </a:moveTo>
                  <a:lnTo>
                    <a:pt x="81" y="570"/>
                  </a:lnTo>
                  <a:lnTo>
                    <a:pt x="113" y="595"/>
                  </a:lnTo>
                  <a:lnTo>
                    <a:pt x="26" y="595"/>
                  </a:lnTo>
                  <a:lnTo>
                    <a:pt x="26" y="620"/>
                  </a:lnTo>
                  <a:lnTo>
                    <a:pt x="81" y="620"/>
                  </a:lnTo>
                  <a:lnTo>
                    <a:pt x="137" y="651"/>
                  </a:lnTo>
                  <a:lnTo>
                    <a:pt x="163" y="706"/>
                  </a:lnTo>
                  <a:lnTo>
                    <a:pt x="194" y="706"/>
                  </a:lnTo>
                  <a:lnTo>
                    <a:pt x="194" y="651"/>
                  </a:lnTo>
                  <a:lnTo>
                    <a:pt x="218" y="651"/>
                  </a:lnTo>
                  <a:lnTo>
                    <a:pt x="244" y="620"/>
                  </a:lnTo>
                  <a:lnTo>
                    <a:pt x="244" y="595"/>
                  </a:lnTo>
                  <a:lnTo>
                    <a:pt x="275" y="595"/>
                  </a:lnTo>
                  <a:lnTo>
                    <a:pt x="244" y="570"/>
                  </a:lnTo>
                  <a:lnTo>
                    <a:pt x="218" y="539"/>
                  </a:lnTo>
                  <a:lnTo>
                    <a:pt x="194" y="539"/>
                  </a:lnTo>
                  <a:lnTo>
                    <a:pt x="137" y="515"/>
                  </a:lnTo>
                  <a:lnTo>
                    <a:pt x="113" y="570"/>
                  </a:lnTo>
                  <a:close/>
                  <a:moveTo>
                    <a:pt x="324" y="489"/>
                  </a:moveTo>
                  <a:lnTo>
                    <a:pt x="299" y="515"/>
                  </a:lnTo>
                  <a:lnTo>
                    <a:pt x="275" y="489"/>
                  </a:lnTo>
                  <a:lnTo>
                    <a:pt x="275" y="539"/>
                  </a:lnTo>
                  <a:lnTo>
                    <a:pt x="324" y="539"/>
                  </a:lnTo>
                  <a:lnTo>
                    <a:pt x="324" y="515"/>
                  </a:lnTo>
                  <a:lnTo>
                    <a:pt x="355" y="515"/>
                  </a:lnTo>
                  <a:lnTo>
                    <a:pt x="324" y="489"/>
                  </a:lnTo>
                  <a:close/>
                  <a:moveTo>
                    <a:pt x="735" y="948"/>
                  </a:moveTo>
                  <a:lnTo>
                    <a:pt x="759" y="948"/>
                  </a:lnTo>
                  <a:lnTo>
                    <a:pt x="791" y="917"/>
                  </a:lnTo>
                  <a:lnTo>
                    <a:pt x="841" y="892"/>
                  </a:lnTo>
                  <a:lnTo>
                    <a:pt x="872" y="867"/>
                  </a:lnTo>
                  <a:lnTo>
                    <a:pt x="896" y="867"/>
                  </a:lnTo>
                  <a:lnTo>
                    <a:pt x="921" y="867"/>
                  </a:lnTo>
                  <a:lnTo>
                    <a:pt x="921" y="837"/>
                  </a:lnTo>
                  <a:lnTo>
                    <a:pt x="952" y="867"/>
                  </a:lnTo>
                  <a:lnTo>
                    <a:pt x="1008" y="892"/>
                  </a:lnTo>
                  <a:lnTo>
                    <a:pt x="1033" y="837"/>
                  </a:lnTo>
                  <a:lnTo>
                    <a:pt x="1059" y="892"/>
                  </a:lnTo>
                  <a:lnTo>
                    <a:pt x="1114" y="892"/>
                  </a:lnTo>
                  <a:lnTo>
                    <a:pt x="1114" y="917"/>
                  </a:lnTo>
                  <a:lnTo>
                    <a:pt x="1139" y="948"/>
                  </a:lnTo>
                  <a:lnTo>
                    <a:pt x="1170" y="948"/>
                  </a:lnTo>
                  <a:lnTo>
                    <a:pt x="1220" y="973"/>
                  </a:lnTo>
                  <a:lnTo>
                    <a:pt x="1195" y="1004"/>
                  </a:lnTo>
                  <a:lnTo>
                    <a:pt x="1251" y="1029"/>
                  </a:lnTo>
                  <a:lnTo>
                    <a:pt x="1251" y="1004"/>
                  </a:lnTo>
                  <a:lnTo>
                    <a:pt x="1275" y="1029"/>
                  </a:lnTo>
                  <a:lnTo>
                    <a:pt x="1307" y="1029"/>
                  </a:lnTo>
                  <a:lnTo>
                    <a:pt x="1307" y="1004"/>
                  </a:lnTo>
                  <a:lnTo>
                    <a:pt x="1356" y="973"/>
                  </a:lnTo>
                  <a:lnTo>
                    <a:pt x="1388" y="948"/>
                  </a:lnTo>
                  <a:lnTo>
                    <a:pt x="1438" y="973"/>
                  </a:lnTo>
                  <a:lnTo>
                    <a:pt x="1493" y="948"/>
                  </a:lnTo>
                  <a:lnTo>
                    <a:pt x="1493" y="892"/>
                  </a:lnTo>
                  <a:lnTo>
                    <a:pt x="1519" y="837"/>
                  </a:lnTo>
                  <a:lnTo>
                    <a:pt x="1519" y="812"/>
                  </a:lnTo>
                  <a:lnTo>
                    <a:pt x="1574" y="787"/>
                  </a:lnTo>
                  <a:lnTo>
                    <a:pt x="1469" y="595"/>
                  </a:lnTo>
                  <a:lnTo>
                    <a:pt x="1438" y="595"/>
                  </a:lnTo>
                  <a:lnTo>
                    <a:pt x="1438" y="539"/>
                  </a:lnTo>
                  <a:lnTo>
                    <a:pt x="1388" y="458"/>
                  </a:lnTo>
                  <a:lnTo>
                    <a:pt x="1332" y="458"/>
                  </a:lnTo>
                  <a:lnTo>
                    <a:pt x="1307" y="434"/>
                  </a:lnTo>
                  <a:lnTo>
                    <a:pt x="1307" y="403"/>
                  </a:lnTo>
                  <a:lnTo>
                    <a:pt x="1275" y="353"/>
                  </a:lnTo>
                  <a:lnTo>
                    <a:pt x="1307" y="322"/>
                  </a:lnTo>
                  <a:lnTo>
                    <a:pt x="1356" y="273"/>
                  </a:lnTo>
                  <a:lnTo>
                    <a:pt x="1469" y="242"/>
                  </a:lnTo>
                  <a:lnTo>
                    <a:pt x="1469" y="80"/>
                  </a:lnTo>
                  <a:lnTo>
                    <a:pt x="1519" y="25"/>
                  </a:lnTo>
                  <a:lnTo>
                    <a:pt x="1493" y="25"/>
                  </a:lnTo>
                  <a:lnTo>
                    <a:pt x="1438" y="0"/>
                  </a:lnTo>
                  <a:lnTo>
                    <a:pt x="1438" y="25"/>
                  </a:lnTo>
                  <a:lnTo>
                    <a:pt x="1412" y="25"/>
                  </a:lnTo>
                  <a:lnTo>
                    <a:pt x="1412" y="56"/>
                  </a:lnTo>
                  <a:lnTo>
                    <a:pt x="1356" y="56"/>
                  </a:lnTo>
                  <a:lnTo>
                    <a:pt x="1332" y="80"/>
                  </a:lnTo>
                  <a:lnTo>
                    <a:pt x="1251" y="80"/>
                  </a:lnTo>
                  <a:lnTo>
                    <a:pt x="1220" y="106"/>
                  </a:lnTo>
                  <a:lnTo>
                    <a:pt x="1114" y="80"/>
                  </a:lnTo>
                  <a:lnTo>
                    <a:pt x="1090" y="80"/>
                  </a:lnTo>
                  <a:lnTo>
                    <a:pt x="952" y="80"/>
                  </a:lnTo>
                  <a:lnTo>
                    <a:pt x="921" y="106"/>
                  </a:lnTo>
                  <a:lnTo>
                    <a:pt x="841" y="80"/>
                  </a:lnTo>
                  <a:lnTo>
                    <a:pt x="841" y="137"/>
                  </a:lnTo>
                  <a:lnTo>
                    <a:pt x="815" y="161"/>
                  </a:lnTo>
                  <a:lnTo>
                    <a:pt x="791" y="137"/>
                  </a:lnTo>
                  <a:lnTo>
                    <a:pt x="759" y="161"/>
                  </a:lnTo>
                  <a:lnTo>
                    <a:pt x="710" y="192"/>
                  </a:lnTo>
                  <a:lnTo>
                    <a:pt x="710" y="161"/>
                  </a:lnTo>
                  <a:lnTo>
                    <a:pt x="678" y="161"/>
                  </a:lnTo>
                  <a:lnTo>
                    <a:pt x="678" y="192"/>
                  </a:lnTo>
                  <a:lnTo>
                    <a:pt x="678" y="217"/>
                  </a:lnTo>
                  <a:lnTo>
                    <a:pt x="654" y="192"/>
                  </a:lnTo>
                  <a:lnTo>
                    <a:pt x="597" y="217"/>
                  </a:lnTo>
                  <a:lnTo>
                    <a:pt x="573" y="242"/>
                  </a:lnTo>
                  <a:lnTo>
                    <a:pt x="517" y="298"/>
                  </a:lnTo>
                  <a:lnTo>
                    <a:pt x="542" y="322"/>
                  </a:lnTo>
                  <a:lnTo>
                    <a:pt x="517" y="322"/>
                  </a:lnTo>
                  <a:lnTo>
                    <a:pt x="492" y="322"/>
                  </a:lnTo>
                  <a:lnTo>
                    <a:pt x="461" y="353"/>
                  </a:lnTo>
                  <a:lnTo>
                    <a:pt x="461" y="378"/>
                  </a:lnTo>
                  <a:lnTo>
                    <a:pt x="436" y="378"/>
                  </a:lnTo>
                  <a:lnTo>
                    <a:pt x="380" y="403"/>
                  </a:lnTo>
                  <a:lnTo>
                    <a:pt x="412" y="458"/>
                  </a:lnTo>
                  <a:lnTo>
                    <a:pt x="380" y="458"/>
                  </a:lnTo>
                  <a:lnTo>
                    <a:pt x="412" y="489"/>
                  </a:lnTo>
                  <a:lnTo>
                    <a:pt x="436" y="489"/>
                  </a:lnTo>
                  <a:lnTo>
                    <a:pt x="436" y="515"/>
                  </a:lnTo>
                  <a:lnTo>
                    <a:pt x="412" y="539"/>
                  </a:lnTo>
                  <a:lnTo>
                    <a:pt x="436" y="570"/>
                  </a:lnTo>
                  <a:lnTo>
                    <a:pt x="436" y="595"/>
                  </a:lnTo>
                  <a:lnTo>
                    <a:pt x="492" y="595"/>
                  </a:lnTo>
                  <a:lnTo>
                    <a:pt x="517" y="595"/>
                  </a:lnTo>
                  <a:lnTo>
                    <a:pt x="492" y="595"/>
                  </a:lnTo>
                  <a:lnTo>
                    <a:pt x="461" y="651"/>
                  </a:lnTo>
                  <a:lnTo>
                    <a:pt x="461" y="706"/>
                  </a:lnTo>
                  <a:lnTo>
                    <a:pt x="517" y="731"/>
                  </a:lnTo>
                  <a:lnTo>
                    <a:pt x="517" y="756"/>
                  </a:lnTo>
                  <a:lnTo>
                    <a:pt x="542" y="787"/>
                  </a:lnTo>
                  <a:lnTo>
                    <a:pt x="597" y="812"/>
                  </a:lnTo>
                  <a:lnTo>
                    <a:pt x="623" y="837"/>
                  </a:lnTo>
                  <a:lnTo>
                    <a:pt x="678" y="787"/>
                  </a:lnTo>
                  <a:lnTo>
                    <a:pt x="678" y="756"/>
                  </a:lnTo>
                  <a:lnTo>
                    <a:pt x="678" y="731"/>
                  </a:lnTo>
                  <a:lnTo>
                    <a:pt x="710" y="731"/>
                  </a:lnTo>
                  <a:lnTo>
                    <a:pt x="735" y="756"/>
                  </a:lnTo>
                  <a:lnTo>
                    <a:pt x="735" y="787"/>
                  </a:lnTo>
                  <a:lnTo>
                    <a:pt x="735" y="812"/>
                  </a:lnTo>
                  <a:lnTo>
                    <a:pt x="735" y="892"/>
                  </a:lnTo>
                  <a:lnTo>
                    <a:pt x="735" y="948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67" name="Freeform 100">
              <a:extLst>
                <a:ext uri="{FF2B5EF4-FFF2-40B4-BE49-F238E27FC236}">
                  <a16:creationId xmlns:a16="http://schemas.microsoft.com/office/drawing/2014/main" id="{31FAA8D9-AF59-4B7C-8DAF-37347C65FFFF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12914" y="5433525"/>
              <a:ext cx="286173" cy="254873"/>
            </a:xfrm>
            <a:custGeom>
              <a:avLst/>
              <a:gdLst/>
              <a:ahLst/>
              <a:cxnLst>
                <a:cxn ang="0">
                  <a:pos x="816" y="0"/>
                </a:cxn>
                <a:cxn ang="0">
                  <a:pos x="710" y="107"/>
                </a:cxn>
                <a:cxn ang="0">
                  <a:pos x="655" y="187"/>
                </a:cxn>
                <a:cxn ang="0">
                  <a:pos x="468" y="323"/>
                </a:cxn>
                <a:cxn ang="0">
                  <a:pos x="219" y="348"/>
                </a:cxn>
                <a:cxn ang="0">
                  <a:pos x="275" y="428"/>
                </a:cxn>
                <a:cxn ang="0">
                  <a:pos x="219" y="485"/>
                </a:cxn>
                <a:cxn ang="0">
                  <a:pos x="170" y="459"/>
                </a:cxn>
                <a:cxn ang="0">
                  <a:pos x="113" y="509"/>
                </a:cxn>
                <a:cxn ang="0">
                  <a:pos x="88" y="595"/>
                </a:cxn>
                <a:cxn ang="0">
                  <a:pos x="32" y="564"/>
                </a:cxn>
                <a:cxn ang="0">
                  <a:pos x="0" y="595"/>
                </a:cxn>
                <a:cxn ang="0">
                  <a:pos x="138" y="757"/>
                </a:cxn>
                <a:cxn ang="0">
                  <a:pos x="250" y="757"/>
                </a:cxn>
                <a:cxn ang="0">
                  <a:pos x="331" y="702"/>
                </a:cxn>
                <a:cxn ang="0">
                  <a:pos x="387" y="757"/>
                </a:cxn>
                <a:cxn ang="0">
                  <a:pos x="412" y="757"/>
                </a:cxn>
                <a:cxn ang="0">
                  <a:pos x="412" y="676"/>
                </a:cxn>
                <a:cxn ang="0">
                  <a:pos x="599" y="540"/>
                </a:cxn>
                <a:cxn ang="0">
                  <a:pos x="599" y="485"/>
                </a:cxn>
                <a:cxn ang="0">
                  <a:pos x="686" y="459"/>
                </a:cxn>
                <a:cxn ang="0">
                  <a:pos x="710" y="428"/>
                </a:cxn>
                <a:cxn ang="0">
                  <a:pos x="767" y="428"/>
                </a:cxn>
                <a:cxn ang="0">
                  <a:pos x="792" y="404"/>
                </a:cxn>
                <a:cxn ang="0">
                  <a:pos x="686" y="323"/>
                </a:cxn>
                <a:cxn ang="0">
                  <a:pos x="655" y="267"/>
                </a:cxn>
                <a:cxn ang="0">
                  <a:pos x="710" y="243"/>
                </a:cxn>
                <a:cxn ang="0">
                  <a:pos x="710" y="187"/>
                </a:cxn>
                <a:cxn ang="0">
                  <a:pos x="847" y="26"/>
                </a:cxn>
                <a:cxn ang="0">
                  <a:pos x="816" y="0"/>
                </a:cxn>
              </a:cxnLst>
              <a:rect l="0" t="0" r="r" b="b"/>
              <a:pathLst>
                <a:path w="847" h="757">
                  <a:moveTo>
                    <a:pt x="816" y="0"/>
                  </a:moveTo>
                  <a:lnTo>
                    <a:pt x="710" y="107"/>
                  </a:lnTo>
                  <a:lnTo>
                    <a:pt x="655" y="187"/>
                  </a:lnTo>
                  <a:lnTo>
                    <a:pt x="468" y="323"/>
                  </a:lnTo>
                  <a:lnTo>
                    <a:pt x="219" y="348"/>
                  </a:lnTo>
                  <a:lnTo>
                    <a:pt x="275" y="428"/>
                  </a:lnTo>
                  <a:lnTo>
                    <a:pt x="219" y="485"/>
                  </a:lnTo>
                  <a:lnTo>
                    <a:pt x="170" y="459"/>
                  </a:lnTo>
                  <a:lnTo>
                    <a:pt x="113" y="509"/>
                  </a:lnTo>
                  <a:lnTo>
                    <a:pt x="88" y="595"/>
                  </a:lnTo>
                  <a:lnTo>
                    <a:pt x="32" y="564"/>
                  </a:lnTo>
                  <a:lnTo>
                    <a:pt x="0" y="595"/>
                  </a:lnTo>
                  <a:lnTo>
                    <a:pt x="138" y="757"/>
                  </a:lnTo>
                  <a:lnTo>
                    <a:pt x="250" y="757"/>
                  </a:lnTo>
                  <a:lnTo>
                    <a:pt x="331" y="702"/>
                  </a:lnTo>
                  <a:lnTo>
                    <a:pt x="387" y="757"/>
                  </a:lnTo>
                  <a:lnTo>
                    <a:pt x="412" y="757"/>
                  </a:lnTo>
                  <a:lnTo>
                    <a:pt x="412" y="676"/>
                  </a:lnTo>
                  <a:lnTo>
                    <a:pt x="599" y="540"/>
                  </a:lnTo>
                  <a:lnTo>
                    <a:pt x="599" y="485"/>
                  </a:lnTo>
                  <a:lnTo>
                    <a:pt x="686" y="459"/>
                  </a:lnTo>
                  <a:lnTo>
                    <a:pt x="710" y="428"/>
                  </a:lnTo>
                  <a:lnTo>
                    <a:pt x="767" y="428"/>
                  </a:lnTo>
                  <a:lnTo>
                    <a:pt x="792" y="404"/>
                  </a:lnTo>
                  <a:lnTo>
                    <a:pt x="686" y="323"/>
                  </a:lnTo>
                  <a:lnTo>
                    <a:pt x="655" y="267"/>
                  </a:lnTo>
                  <a:lnTo>
                    <a:pt x="710" y="243"/>
                  </a:lnTo>
                  <a:lnTo>
                    <a:pt x="710" y="187"/>
                  </a:lnTo>
                  <a:lnTo>
                    <a:pt x="847" y="26"/>
                  </a:lnTo>
                  <a:lnTo>
                    <a:pt x="816" y="0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68" name="Freeform 75">
              <a:extLst>
                <a:ext uri="{FF2B5EF4-FFF2-40B4-BE49-F238E27FC236}">
                  <a16:creationId xmlns:a16="http://schemas.microsoft.com/office/drawing/2014/main" id="{9520E062-5188-4F88-9B9F-0D197ABDC89A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0791" y="4147984"/>
              <a:ext cx="17886" cy="33536"/>
            </a:xfrm>
            <a:custGeom>
              <a:avLst/>
              <a:gdLst/>
              <a:ahLst/>
              <a:cxnLst>
                <a:cxn ang="0">
                  <a:pos x="30" y="0"/>
                </a:cxn>
                <a:cxn ang="0">
                  <a:pos x="30" y="24"/>
                </a:cxn>
                <a:cxn ang="0">
                  <a:pos x="54" y="24"/>
                </a:cxn>
                <a:cxn ang="0">
                  <a:pos x="54" y="54"/>
                </a:cxn>
                <a:cxn ang="0">
                  <a:pos x="54" y="78"/>
                </a:cxn>
                <a:cxn ang="0">
                  <a:pos x="54" y="102"/>
                </a:cxn>
                <a:cxn ang="0">
                  <a:pos x="30" y="102"/>
                </a:cxn>
                <a:cxn ang="0">
                  <a:pos x="0" y="102"/>
                </a:cxn>
                <a:cxn ang="0">
                  <a:pos x="30" y="78"/>
                </a:cxn>
                <a:cxn ang="0">
                  <a:pos x="0" y="54"/>
                </a:cxn>
                <a:cxn ang="0">
                  <a:pos x="0" y="24"/>
                </a:cxn>
                <a:cxn ang="0">
                  <a:pos x="30" y="24"/>
                </a:cxn>
                <a:cxn ang="0">
                  <a:pos x="30" y="0"/>
                </a:cxn>
              </a:cxnLst>
              <a:rect l="0" t="0" r="r" b="b"/>
              <a:pathLst>
                <a:path w="54" h="102">
                  <a:moveTo>
                    <a:pt x="30" y="0"/>
                  </a:moveTo>
                  <a:lnTo>
                    <a:pt x="30" y="24"/>
                  </a:lnTo>
                  <a:lnTo>
                    <a:pt x="54" y="24"/>
                  </a:lnTo>
                  <a:lnTo>
                    <a:pt x="54" y="54"/>
                  </a:lnTo>
                  <a:lnTo>
                    <a:pt x="54" y="78"/>
                  </a:lnTo>
                  <a:lnTo>
                    <a:pt x="54" y="102"/>
                  </a:lnTo>
                  <a:lnTo>
                    <a:pt x="30" y="102"/>
                  </a:lnTo>
                  <a:lnTo>
                    <a:pt x="0" y="102"/>
                  </a:lnTo>
                  <a:lnTo>
                    <a:pt x="30" y="78"/>
                  </a:lnTo>
                  <a:lnTo>
                    <a:pt x="0" y="54"/>
                  </a:lnTo>
                  <a:lnTo>
                    <a:pt x="0" y="24"/>
                  </a:lnTo>
                  <a:lnTo>
                    <a:pt x="30" y="24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69" name="Freeform 76">
              <a:extLst>
                <a:ext uri="{FF2B5EF4-FFF2-40B4-BE49-F238E27FC236}">
                  <a16:creationId xmlns:a16="http://schemas.microsoft.com/office/drawing/2014/main" id="{5AC96B6C-B4D7-4B72-93A9-E85876DD37B1}"/>
                </a:ext>
              </a:extLst>
            </p:cNvPr>
            <p:cNvSpPr>
              <a:spLocks/>
            </p:cNvSpPr>
            <p:nvPr/>
          </p:nvSpPr>
          <p:spPr bwMode="gray">
            <a:xfrm>
              <a:off x="8356272" y="4666672"/>
              <a:ext cx="8943" cy="20123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30" y="0"/>
                </a:cxn>
                <a:cxn ang="0">
                  <a:pos x="30" y="27"/>
                </a:cxn>
                <a:cxn ang="0">
                  <a:pos x="30" y="60"/>
                </a:cxn>
                <a:cxn ang="0">
                  <a:pos x="0" y="60"/>
                </a:cxn>
                <a:cxn ang="0">
                  <a:pos x="0" y="27"/>
                </a:cxn>
              </a:cxnLst>
              <a:rect l="0" t="0" r="r" b="b"/>
              <a:pathLst>
                <a:path w="30" h="60">
                  <a:moveTo>
                    <a:pt x="0" y="27"/>
                  </a:moveTo>
                  <a:lnTo>
                    <a:pt x="30" y="0"/>
                  </a:lnTo>
                  <a:lnTo>
                    <a:pt x="30" y="27"/>
                  </a:lnTo>
                  <a:lnTo>
                    <a:pt x="30" y="60"/>
                  </a:lnTo>
                  <a:lnTo>
                    <a:pt x="0" y="60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70" name="Freeform 97">
              <a:extLst>
                <a:ext uri="{FF2B5EF4-FFF2-40B4-BE49-F238E27FC236}">
                  <a16:creationId xmlns:a16="http://schemas.microsoft.com/office/drawing/2014/main" id="{43EFCF10-42A0-4084-9863-89E230651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8959917" y="2878098"/>
              <a:ext cx="17886" cy="17886"/>
            </a:xfrm>
            <a:custGeom>
              <a:avLst/>
              <a:gdLst/>
              <a:ahLst/>
              <a:cxnLst>
                <a:cxn ang="0">
                  <a:pos x="30" y="55"/>
                </a:cxn>
                <a:cxn ang="0">
                  <a:pos x="55" y="24"/>
                </a:cxn>
                <a:cxn ang="0">
                  <a:pos x="55" y="0"/>
                </a:cxn>
                <a:cxn ang="0">
                  <a:pos x="30" y="24"/>
                </a:cxn>
                <a:cxn ang="0">
                  <a:pos x="0" y="55"/>
                </a:cxn>
                <a:cxn ang="0">
                  <a:pos x="30" y="55"/>
                </a:cxn>
              </a:cxnLst>
              <a:rect l="0" t="0" r="r" b="b"/>
              <a:pathLst>
                <a:path w="55" h="55">
                  <a:moveTo>
                    <a:pt x="30" y="55"/>
                  </a:moveTo>
                  <a:lnTo>
                    <a:pt x="55" y="24"/>
                  </a:lnTo>
                  <a:lnTo>
                    <a:pt x="55" y="0"/>
                  </a:lnTo>
                  <a:lnTo>
                    <a:pt x="30" y="24"/>
                  </a:lnTo>
                  <a:lnTo>
                    <a:pt x="0" y="55"/>
                  </a:lnTo>
                  <a:lnTo>
                    <a:pt x="30" y="55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71" name="Freeform 101">
              <a:extLst>
                <a:ext uri="{FF2B5EF4-FFF2-40B4-BE49-F238E27FC236}">
                  <a16:creationId xmlns:a16="http://schemas.microsoft.com/office/drawing/2014/main" id="{49B9508F-A9EC-436E-9F18-F855A0214CE8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4524" y="4038434"/>
              <a:ext cx="17886" cy="24592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54" y="78"/>
                </a:cxn>
                <a:cxn ang="0">
                  <a:pos x="54" y="48"/>
                </a:cxn>
                <a:cxn ang="0">
                  <a:pos x="24" y="24"/>
                </a:cxn>
                <a:cxn ang="0">
                  <a:pos x="0" y="0"/>
                </a:cxn>
                <a:cxn ang="0">
                  <a:pos x="0" y="24"/>
                </a:cxn>
                <a:cxn ang="0">
                  <a:pos x="0" y="48"/>
                </a:cxn>
              </a:cxnLst>
              <a:rect l="0" t="0" r="r" b="b"/>
              <a:pathLst>
                <a:path w="54" h="78">
                  <a:moveTo>
                    <a:pt x="0" y="48"/>
                  </a:moveTo>
                  <a:lnTo>
                    <a:pt x="54" y="78"/>
                  </a:lnTo>
                  <a:lnTo>
                    <a:pt x="54" y="48"/>
                  </a:lnTo>
                  <a:lnTo>
                    <a:pt x="24" y="24"/>
                  </a:lnTo>
                  <a:lnTo>
                    <a:pt x="0" y="0"/>
                  </a:lnTo>
                  <a:lnTo>
                    <a:pt x="0" y="24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72" name="Freeform 102">
              <a:extLst>
                <a:ext uri="{FF2B5EF4-FFF2-40B4-BE49-F238E27FC236}">
                  <a16:creationId xmlns:a16="http://schemas.microsoft.com/office/drawing/2014/main" id="{FABBC834-8B8F-4A79-A801-5C9E4332B179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4524" y="4038434"/>
              <a:ext cx="17886" cy="24592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55" y="80"/>
                </a:cxn>
                <a:cxn ang="0">
                  <a:pos x="55" y="49"/>
                </a:cxn>
                <a:cxn ang="0">
                  <a:pos x="24" y="24"/>
                </a:cxn>
                <a:cxn ang="0">
                  <a:pos x="0" y="0"/>
                </a:cxn>
                <a:cxn ang="0">
                  <a:pos x="0" y="24"/>
                </a:cxn>
                <a:cxn ang="0">
                  <a:pos x="0" y="49"/>
                </a:cxn>
              </a:cxnLst>
              <a:rect l="0" t="0" r="r" b="b"/>
              <a:pathLst>
                <a:path w="55" h="80">
                  <a:moveTo>
                    <a:pt x="0" y="49"/>
                  </a:moveTo>
                  <a:lnTo>
                    <a:pt x="55" y="80"/>
                  </a:lnTo>
                  <a:lnTo>
                    <a:pt x="55" y="49"/>
                  </a:lnTo>
                  <a:lnTo>
                    <a:pt x="24" y="24"/>
                  </a:lnTo>
                  <a:lnTo>
                    <a:pt x="0" y="0"/>
                  </a:lnTo>
                  <a:lnTo>
                    <a:pt x="0" y="24"/>
                  </a:lnTo>
                  <a:lnTo>
                    <a:pt x="0" y="49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73" name="Freeform 103">
              <a:extLst>
                <a:ext uri="{FF2B5EF4-FFF2-40B4-BE49-F238E27FC236}">
                  <a16:creationId xmlns:a16="http://schemas.microsoft.com/office/drawing/2014/main" id="{8662AA9B-5428-48D4-A135-A4240212C4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759968" y="4248593"/>
              <a:ext cx="26829" cy="24592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26" y="55"/>
                </a:cxn>
                <a:cxn ang="0">
                  <a:pos x="81" y="81"/>
                </a:cxn>
                <a:cxn ang="0">
                  <a:pos x="81" y="55"/>
                </a:cxn>
                <a:cxn ang="0">
                  <a:pos x="50" y="24"/>
                </a:cxn>
                <a:cxn ang="0">
                  <a:pos x="26" y="24"/>
                </a:cxn>
                <a:cxn ang="0">
                  <a:pos x="26" y="0"/>
                </a:cxn>
                <a:cxn ang="0">
                  <a:pos x="0" y="24"/>
                </a:cxn>
              </a:cxnLst>
              <a:rect l="0" t="0" r="r" b="b"/>
              <a:pathLst>
                <a:path w="81" h="81">
                  <a:moveTo>
                    <a:pt x="0" y="24"/>
                  </a:moveTo>
                  <a:lnTo>
                    <a:pt x="26" y="55"/>
                  </a:lnTo>
                  <a:lnTo>
                    <a:pt x="81" y="81"/>
                  </a:lnTo>
                  <a:lnTo>
                    <a:pt x="81" y="55"/>
                  </a:lnTo>
                  <a:lnTo>
                    <a:pt x="50" y="24"/>
                  </a:lnTo>
                  <a:lnTo>
                    <a:pt x="26" y="24"/>
                  </a:lnTo>
                  <a:lnTo>
                    <a:pt x="26" y="0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  <p:sp>
          <p:nvSpPr>
            <p:cNvPr id="274" name="Freeform 106">
              <a:extLst>
                <a:ext uri="{FF2B5EF4-FFF2-40B4-BE49-F238E27FC236}">
                  <a16:creationId xmlns:a16="http://schemas.microsoft.com/office/drawing/2014/main" id="{DB3B2947-7AE2-430E-966C-3F48F3D3B52B}"/>
                </a:ext>
              </a:extLst>
            </p:cNvPr>
            <p:cNvSpPr>
              <a:spLocks/>
            </p:cNvSpPr>
            <p:nvPr/>
          </p:nvSpPr>
          <p:spPr bwMode="gray">
            <a:xfrm>
              <a:off x="7598361" y="3669541"/>
              <a:ext cx="87194" cy="122965"/>
            </a:xfrm>
            <a:custGeom>
              <a:avLst/>
              <a:gdLst/>
              <a:ahLst/>
              <a:cxnLst>
                <a:cxn ang="0">
                  <a:pos x="27" y="333"/>
                </a:cxn>
                <a:cxn ang="0">
                  <a:pos x="27" y="306"/>
                </a:cxn>
                <a:cxn ang="0">
                  <a:pos x="55" y="280"/>
                </a:cxn>
                <a:cxn ang="0">
                  <a:pos x="27" y="249"/>
                </a:cxn>
                <a:cxn ang="0">
                  <a:pos x="27" y="222"/>
                </a:cxn>
                <a:cxn ang="0">
                  <a:pos x="0" y="196"/>
                </a:cxn>
                <a:cxn ang="0">
                  <a:pos x="0" y="169"/>
                </a:cxn>
                <a:cxn ang="0">
                  <a:pos x="0" y="138"/>
                </a:cxn>
                <a:cxn ang="0">
                  <a:pos x="0" y="111"/>
                </a:cxn>
                <a:cxn ang="0">
                  <a:pos x="27" y="111"/>
                </a:cxn>
                <a:cxn ang="0">
                  <a:pos x="27" y="84"/>
                </a:cxn>
                <a:cxn ang="0">
                  <a:pos x="27" y="58"/>
                </a:cxn>
                <a:cxn ang="0">
                  <a:pos x="55" y="31"/>
                </a:cxn>
                <a:cxn ang="0">
                  <a:pos x="55" y="0"/>
                </a:cxn>
                <a:cxn ang="0">
                  <a:pos x="83" y="0"/>
                </a:cxn>
                <a:cxn ang="0">
                  <a:pos x="83" y="31"/>
                </a:cxn>
                <a:cxn ang="0">
                  <a:pos x="116" y="0"/>
                </a:cxn>
                <a:cxn ang="0">
                  <a:pos x="116" y="31"/>
                </a:cxn>
                <a:cxn ang="0">
                  <a:pos x="116" y="58"/>
                </a:cxn>
                <a:cxn ang="0">
                  <a:pos x="143" y="111"/>
                </a:cxn>
                <a:cxn ang="0">
                  <a:pos x="143" y="138"/>
                </a:cxn>
                <a:cxn ang="0">
                  <a:pos x="226" y="196"/>
                </a:cxn>
                <a:cxn ang="0">
                  <a:pos x="258" y="196"/>
                </a:cxn>
                <a:cxn ang="0">
                  <a:pos x="226" y="249"/>
                </a:cxn>
                <a:cxn ang="0">
                  <a:pos x="199" y="280"/>
                </a:cxn>
                <a:cxn ang="0">
                  <a:pos x="199" y="306"/>
                </a:cxn>
                <a:cxn ang="0">
                  <a:pos x="199" y="333"/>
                </a:cxn>
                <a:cxn ang="0">
                  <a:pos x="199" y="359"/>
                </a:cxn>
                <a:cxn ang="0">
                  <a:pos x="171" y="333"/>
                </a:cxn>
                <a:cxn ang="0">
                  <a:pos x="116" y="359"/>
                </a:cxn>
                <a:cxn ang="0">
                  <a:pos x="83" y="359"/>
                </a:cxn>
                <a:cxn ang="0">
                  <a:pos x="55" y="359"/>
                </a:cxn>
                <a:cxn ang="0">
                  <a:pos x="27" y="333"/>
                </a:cxn>
              </a:cxnLst>
              <a:rect l="0" t="0" r="r" b="b"/>
              <a:pathLst>
                <a:path w="258" h="359">
                  <a:moveTo>
                    <a:pt x="27" y="333"/>
                  </a:moveTo>
                  <a:lnTo>
                    <a:pt x="27" y="306"/>
                  </a:lnTo>
                  <a:lnTo>
                    <a:pt x="55" y="280"/>
                  </a:lnTo>
                  <a:lnTo>
                    <a:pt x="27" y="249"/>
                  </a:lnTo>
                  <a:lnTo>
                    <a:pt x="27" y="222"/>
                  </a:lnTo>
                  <a:lnTo>
                    <a:pt x="0" y="196"/>
                  </a:lnTo>
                  <a:lnTo>
                    <a:pt x="0" y="169"/>
                  </a:lnTo>
                  <a:lnTo>
                    <a:pt x="0" y="138"/>
                  </a:lnTo>
                  <a:lnTo>
                    <a:pt x="0" y="111"/>
                  </a:lnTo>
                  <a:lnTo>
                    <a:pt x="27" y="111"/>
                  </a:lnTo>
                  <a:lnTo>
                    <a:pt x="27" y="84"/>
                  </a:lnTo>
                  <a:lnTo>
                    <a:pt x="27" y="58"/>
                  </a:lnTo>
                  <a:lnTo>
                    <a:pt x="55" y="31"/>
                  </a:lnTo>
                  <a:lnTo>
                    <a:pt x="55" y="0"/>
                  </a:lnTo>
                  <a:lnTo>
                    <a:pt x="83" y="0"/>
                  </a:lnTo>
                  <a:lnTo>
                    <a:pt x="83" y="31"/>
                  </a:lnTo>
                  <a:lnTo>
                    <a:pt x="116" y="0"/>
                  </a:lnTo>
                  <a:lnTo>
                    <a:pt x="116" y="31"/>
                  </a:lnTo>
                  <a:lnTo>
                    <a:pt x="116" y="58"/>
                  </a:lnTo>
                  <a:lnTo>
                    <a:pt x="143" y="111"/>
                  </a:lnTo>
                  <a:lnTo>
                    <a:pt x="143" y="138"/>
                  </a:lnTo>
                  <a:lnTo>
                    <a:pt x="226" y="196"/>
                  </a:lnTo>
                  <a:lnTo>
                    <a:pt x="258" y="196"/>
                  </a:lnTo>
                  <a:lnTo>
                    <a:pt x="226" y="249"/>
                  </a:lnTo>
                  <a:lnTo>
                    <a:pt x="199" y="280"/>
                  </a:lnTo>
                  <a:lnTo>
                    <a:pt x="199" y="306"/>
                  </a:lnTo>
                  <a:lnTo>
                    <a:pt x="199" y="333"/>
                  </a:lnTo>
                  <a:lnTo>
                    <a:pt x="199" y="359"/>
                  </a:lnTo>
                  <a:lnTo>
                    <a:pt x="171" y="333"/>
                  </a:lnTo>
                  <a:lnTo>
                    <a:pt x="116" y="359"/>
                  </a:lnTo>
                  <a:lnTo>
                    <a:pt x="83" y="359"/>
                  </a:lnTo>
                  <a:lnTo>
                    <a:pt x="55" y="359"/>
                  </a:lnTo>
                  <a:lnTo>
                    <a:pt x="27" y="333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 sz="1013">
                <a:latin typeface="+mj-lt"/>
              </a:endParaRPr>
            </a:p>
          </p:txBody>
        </p:sp>
      </p:grpSp>
      <p:grpSp>
        <p:nvGrpSpPr>
          <p:cNvPr id="275" name="Group 290">
            <a:extLst>
              <a:ext uri="{FF2B5EF4-FFF2-40B4-BE49-F238E27FC236}">
                <a16:creationId xmlns:a16="http://schemas.microsoft.com/office/drawing/2014/main" id="{434BFB19-89D4-4211-9CDA-324C80D60244}"/>
              </a:ext>
            </a:extLst>
          </p:cNvPr>
          <p:cNvGrpSpPr/>
          <p:nvPr/>
        </p:nvGrpSpPr>
        <p:grpSpPr>
          <a:xfrm>
            <a:off x="2419595" y="2016640"/>
            <a:ext cx="3294824" cy="2669931"/>
            <a:chOff x="5610659" y="1424751"/>
            <a:chExt cx="5465743" cy="4429117"/>
          </a:xfrm>
        </p:grpSpPr>
        <p:grpSp>
          <p:nvGrpSpPr>
            <p:cNvPr id="276" name="Group 358">
              <a:extLst>
                <a:ext uri="{FF2B5EF4-FFF2-40B4-BE49-F238E27FC236}">
                  <a16:creationId xmlns:a16="http://schemas.microsoft.com/office/drawing/2014/main" id="{03D0DCDE-05FE-4972-98A6-9F675EA327E7}"/>
                </a:ext>
              </a:extLst>
            </p:cNvPr>
            <p:cNvGrpSpPr/>
            <p:nvPr/>
          </p:nvGrpSpPr>
          <p:grpSpPr>
            <a:xfrm>
              <a:off x="6275616" y="2501117"/>
              <a:ext cx="918788" cy="1085077"/>
              <a:chOff x="6275616" y="2501117"/>
              <a:chExt cx="918788" cy="1085077"/>
            </a:xfrm>
          </p:grpSpPr>
          <p:sp>
            <p:nvSpPr>
              <p:cNvPr id="396" name="Oval 478">
                <a:extLst>
                  <a:ext uri="{FF2B5EF4-FFF2-40B4-BE49-F238E27FC236}">
                    <a16:creationId xmlns:a16="http://schemas.microsoft.com/office/drawing/2014/main" id="{7A1722EA-97E7-465C-8CE6-5D81F8BF496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808328" y="3200118"/>
                <a:ext cx="386076" cy="386076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97" name="Oval 479">
                <a:extLst>
                  <a:ext uri="{FF2B5EF4-FFF2-40B4-BE49-F238E27FC236}">
                    <a16:creationId xmlns:a16="http://schemas.microsoft.com/office/drawing/2014/main" id="{B7B20C82-D8D6-40FE-A826-564C93E49DD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275616" y="2969974"/>
                <a:ext cx="249457" cy="249457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98" name="Oval 480">
                <a:extLst>
                  <a:ext uri="{FF2B5EF4-FFF2-40B4-BE49-F238E27FC236}">
                    <a16:creationId xmlns:a16="http://schemas.microsoft.com/office/drawing/2014/main" id="{3585FDAA-A9BB-40EB-9FC4-999862E8DC1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583698" y="2501117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99" name="Oval 481">
                <a:extLst>
                  <a:ext uri="{FF2B5EF4-FFF2-40B4-BE49-F238E27FC236}">
                    <a16:creationId xmlns:a16="http://schemas.microsoft.com/office/drawing/2014/main" id="{C9012682-78BF-4F33-8E8C-70C1F30A970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723936" y="2522189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400" name="Oval 482">
                <a:extLst>
                  <a:ext uri="{FF2B5EF4-FFF2-40B4-BE49-F238E27FC236}">
                    <a16:creationId xmlns:a16="http://schemas.microsoft.com/office/drawing/2014/main" id="{F5EBCF9C-0E6C-432B-8EA4-381C1885F40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427050" y="2720111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401" name="Oval 483">
                <a:extLst>
                  <a:ext uri="{FF2B5EF4-FFF2-40B4-BE49-F238E27FC236}">
                    <a16:creationId xmlns:a16="http://schemas.microsoft.com/office/drawing/2014/main" id="{E59499B7-E5A7-4313-A9CE-CDA919719CC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884305" y="3023327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402" name="Oval 484">
                <a:extLst>
                  <a:ext uri="{FF2B5EF4-FFF2-40B4-BE49-F238E27FC236}">
                    <a16:creationId xmlns:a16="http://schemas.microsoft.com/office/drawing/2014/main" id="{4DB0F50E-BA30-49FC-9976-D4609C528D6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875687" y="2932157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403" name="Oval 485">
                <a:extLst>
                  <a:ext uri="{FF2B5EF4-FFF2-40B4-BE49-F238E27FC236}">
                    <a16:creationId xmlns:a16="http://schemas.microsoft.com/office/drawing/2014/main" id="{57B123D7-D37C-4357-B8F1-7B4CF5D905E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806740" y="2984773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404" name="Oval 486">
                <a:extLst>
                  <a:ext uri="{FF2B5EF4-FFF2-40B4-BE49-F238E27FC236}">
                    <a16:creationId xmlns:a16="http://schemas.microsoft.com/office/drawing/2014/main" id="{BA907A0E-BCF0-4F63-A6DE-A10384648EE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737795" y="2990518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405" name="Oval 487">
                <a:extLst>
                  <a:ext uri="{FF2B5EF4-FFF2-40B4-BE49-F238E27FC236}">
                    <a16:creationId xmlns:a16="http://schemas.microsoft.com/office/drawing/2014/main" id="{92A85594-4CB8-4FDA-9743-A902336802D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676712" y="3301985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406" name="Oval 488">
                <a:extLst>
                  <a:ext uri="{FF2B5EF4-FFF2-40B4-BE49-F238E27FC236}">
                    <a16:creationId xmlns:a16="http://schemas.microsoft.com/office/drawing/2014/main" id="{467A48BA-FF02-4B38-B3DE-46B5D6F68A6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753155" y="3119649"/>
                <a:ext cx="196472" cy="196472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</p:grpSp>
        <p:grpSp>
          <p:nvGrpSpPr>
            <p:cNvPr id="277" name="Group 359">
              <a:extLst>
                <a:ext uri="{FF2B5EF4-FFF2-40B4-BE49-F238E27FC236}">
                  <a16:creationId xmlns:a16="http://schemas.microsoft.com/office/drawing/2014/main" id="{3830F3D0-FFAE-4BD0-A120-188177306C5C}"/>
                </a:ext>
              </a:extLst>
            </p:cNvPr>
            <p:cNvGrpSpPr/>
            <p:nvPr/>
          </p:nvGrpSpPr>
          <p:grpSpPr>
            <a:xfrm>
              <a:off x="5610659" y="4580293"/>
              <a:ext cx="1570226" cy="1273575"/>
              <a:chOff x="5610659" y="4580293"/>
              <a:chExt cx="1570226" cy="1273575"/>
            </a:xfrm>
          </p:grpSpPr>
          <p:sp>
            <p:nvSpPr>
              <p:cNvPr id="375" name="Oval 457">
                <a:extLst>
                  <a:ext uri="{FF2B5EF4-FFF2-40B4-BE49-F238E27FC236}">
                    <a16:creationId xmlns:a16="http://schemas.microsoft.com/office/drawing/2014/main" id="{370C4E87-B6D0-4227-8A12-84300FF562C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062954" y="5688398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76" name="Oval 458">
                <a:extLst>
                  <a:ext uri="{FF2B5EF4-FFF2-40B4-BE49-F238E27FC236}">
                    <a16:creationId xmlns:a16="http://schemas.microsoft.com/office/drawing/2014/main" id="{E70B1A4C-C7E5-4DD1-B8F4-8C6520EF46E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918168" y="5626346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77" name="Oval 459">
                <a:extLst>
                  <a:ext uri="{FF2B5EF4-FFF2-40B4-BE49-F238E27FC236}">
                    <a16:creationId xmlns:a16="http://schemas.microsoft.com/office/drawing/2014/main" id="{7A3D5290-9054-447A-8FED-A79798DE721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064725" y="5580197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78" name="Oval 460">
                <a:extLst>
                  <a:ext uri="{FF2B5EF4-FFF2-40B4-BE49-F238E27FC236}">
                    <a16:creationId xmlns:a16="http://schemas.microsoft.com/office/drawing/2014/main" id="{0E17734E-BE45-40D7-BE62-E7F75D2F17B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173890" y="5652015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79" name="Oval 461">
                <a:extLst>
                  <a:ext uri="{FF2B5EF4-FFF2-40B4-BE49-F238E27FC236}">
                    <a16:creationId xmlns:a16="http://schemas.microsoft.com/office/drawing/2014/main" id="{E094DACD-CEBB-4724-9AFB-2408BF174FB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672700" y="5385884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80" name="Oval 462">
                <a:extLst>
                  <a:ext uri="{FF2B5EF4-FFF2-40B4-BE49-F238E27FC236}">
                    <a16:creationId xmlns:a16="http://schemas.microsoft.com/office/drawing/2014/main" id="{A69D9433-45C4-4C51-AD2B-C0ACFBE7D26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649518" y="5551354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81" name="Oval 463">
                <a:extLst>
                  <a:ext uri="{FF2B5EF4-FFF2-40B4-BE49-F238E27FC236}">
                    <a16:creationId xmlns:a16="http://schemas.microsoft.com/office/drawing/2014/main" id="{B6ECB31D-97CE-4E89-B71E-3E9C051DFF4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612410" y="5654502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82" name="Oval 464">
                <a:extLst>
                  <a:ext uri="{FF2B5EF4-FFF2-40B4-BE49-F238E27FC236}">
                    <a16:creationId xmlns:a16="http://schemas.microsoft.com/office/drawing/2014/main" id="{E593986E-ACA6-40B6-9DB9-C22C3A1152E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583698" y="5598153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83" name="Oval 465">
                <a:extLst>
                  <a:ext uri="{FF2B5EF4-FFF2-40B4-BE49-F238E27FC236}">
                    <a16:creationId xmlns:a16="http://schemas.microsoft.com/office/drawing/2014/main" id="{BA55966A-ECA5-48CF-B205-EB87894CD96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155555" y="4939404"/>
                <a:ext cx="386076" cy="386076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84" name="Oval 466">
                <a:extLst>
                  <a:ext uri="{FF2B5EF4-FFF2-40B4-BE49-F238E27FC236}">
                    <a16:creationId xmlns:a16="http://schemas.microsoft.com/office/drawing/2014/main" id="{1FBBBAB1-7983-4E31-AEEC-51D4DF29390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877812" y="4967932"/>
                <a:ext cx="249457" cy="249457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85" name="Oval 467">
                <a:extLst>
                  <a:ext uri="{FF2B5EF4-FFF2-40B4-BE49-F238E27FC236}">
                    <a16:creationId xmlns:a16="http://schemas.microsoft.com/office/drawing/2014/main" id="{74E57AC0-1F27-43D0-B353-90A61EC763A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616424" y="4979439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86" name="Oval 468">
                <a:extLst>
                  <a:ext uri="{FF2B5EF4-FFF2-40B4-BE49-F238E27FC236}">
                    <a16:creationId xmlns:a16="http://schemas.microsoft.com/office/drawing/2014/main" id="{8CCF620D-5F4A-4A7B-915F-DC54A1F6B83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513127" y="4700324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87" name="Oval 469">
                <a:extLst>
                  <a:ext uri="{FF2B5EF4-FFF2-40B4-BE49-F238E27FC236}">
                    <a16:creationId xmlns:a16="http://schemas.microsoft.com/office/drawing/2014/main" id="{7C1DA6F1-FC70-4E0D-A3F2-AF00A89E71B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193721" y="4622134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88" name="Oval 470">
                <a:extLst>
                  <a:ext uri="{FF2B5EF4-FFF2-40B4-BE49-F238E27FC236}">
                    <a16:creationId xmlns:a16="http://schemas.microsoft.com/office/drawing/2014/main" id="{48F9BAF3-D7CB-49C8-B4A9-E37AE479605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225974" y="4603209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89" name="Oval 471">
                <a:extLst>
                  <a:ext uri="{FF2B5EF4-FFF2-40B4-BE49-F238E27FC236}">
                    <a16:creationId xmlns:a16="http://schemas.microsoft.com/office/drawing/2014/main" id="{B5DC7FC9-C9A8-408D-8E2F-91F309CF695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860146" y="4580293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90" name="Oval 472">
                <a:extLst>
                  <a:ext uri="{FF2B5EF4-FFF2-40B4-BE49-F238E27FC236}">
                    <a16:creationId xmlns:a16="http://schemas.microsoft.com/office/drawing/2014/main" id="{B339CA13-ABDF-4C39-AF56-A72AE148D77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780111" y="4845760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91" name="Oval 473">
                <a:extLst>
                  <a:ext uri="{FF2B5EF4-FFF2-40B4-BE49-F238E27FC236}">
                    <a16:creationId xmlns:a16="http://schemas.microsoft.com/office/drawing/2014/main" id="{A6727703-F422-498D-9C93-57834E2C91D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731892" y="5009806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92" name="Oval 474">
                <a:extLst>
                  <a:ext uri="{FF2B5EF4-FFF2-40B4-BE49-F238E27FC236}">
                    <a16:creationId xmlns:a16="http://schemas.microsoft.com/office/drawing/2014/main" id="{B9181BCC-9E61-4CE0-9685-1E95FD5B7FA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201470" y="4909643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93" name="Oval 475">
                <a:extLst>
                  <a:ext uri="{FF2B5EF4-FFF2-40B4-BE49-F238E27FC236}">
                    <a16:creationId xmlns:a16="http://schemas.microsoft.com/office/drawing/2014/main" id="{A1778BE8-7292-4AD0-B1C7-09298E6BB90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081602" y="5335885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94" name="Oval 476">
                <a:extLst>
                  <a:ext uri="{FF2B5EF4-FFF2-40B4-BE49-F238E27FC236}">
                    <a16:creationId xmlns:a16="http://schemas.microsoft.com/office/drawing/2014/main" id="{DD72F4B5-107B-40DE-92E1-F617395585C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610659" y="5440220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95" name="Oval 477">
                <a:extLst>
                  <a:ext uri="{FF2B5EF4-FFF2-40B4-BE49-F238E27FC236}">
                    <a16:creationId xmlns:a16="http://schemas.microsoft.com/office/drawing/2014/main" id="{FB0D27BD-B867-4922-891A-F36C530706C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946942" y="5729581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</p:grpSp>
        <p:grpSp>
          <p:nvGrpSpPr>
            <p:cNvPr id="278" name="Group 360">
              <a:extLst>
                <a:ext uri="{FF2B5EF4-FFF2-40B4-BE49-F238E27FC236}">
                  <a16:creationId xmlns:a16="http://schemas.microsoft.com/office/drawing/2014/main" id="{883CABB0-2629-4417-8663-DF3BE80339CC}"/>
                </a:ext>
              </a:extLst>
            </p:cNvPr>
            <p:cNvGrpSpPr/>
            <p:nvPr/>
          </p:nvGrpSpPr>
          <p:grpSpPr>
            <a:xfrm>
              <a:off x="7740722" y="4284365"/>
              <a:ext cx="1238074" cy="1496195"/>
              <a:chOff x="7740722" y="4284365"/>
              <a:chExt cx="1238074" cy="1496195"/>
            </a:xfrm>
          </p:grpSpPr>
          <p:sp>
            <p:nvSpPr>
              <p:cNvPr id="360" name="Oval 442">
                <a:extLst>
                  <a:ext uri="{FF2B5EF4-FFF2-40B4-BE49-F238E27FC236}">
                    <a16:creationId xmlns:a16="http://schemas.microsoft.com/office/drawing/2014/main" id="{F965A46A-C9BA-4CBB-B3AA-AAD87CD01BE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442238" y="5615090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grpSp>
            <p:nvGrpSpPr>
              <p:cNvPr id="361" name="Group 443">
                <a:extLst>
                  <a:ext uri="{FF2B5EF4-FFF2-40B4-BE49-F238E27FC236}">
                    <a16:creationId xmlns:a16="http://schemas.microsoft.com/office/drawing/2014/main" id="{F620D87F-64B7-458A-A142-4BA214F3E876}"/>
                  </a:ext>
                </a:extLst>
              </p:cNvPr>
              <p:cNvGrpSpPr/>
              <p:nvPr/>
            </p:nvGrpSpPr>
            <p:grpSpPr>
              <a:xfrm>
                <a:off x="7740722" y="4284365"/>
                <a:ext cx="1238074" cy="996044"/>
                <a:chOff x="7740722" y="4284365"/>
                <a:chExt cx="1238074" cy="996044"/>
              </a:xfrm>
            </p:grpSpPr>
            <p:sp>
              <p:nvSpPr>
                <p:cNvPr id="362" name="Oval 444">
                  <a:extLst>
                    <a:ext uri="{FF2B5EF4-FFF2-40B4-BE49-F238E27FC236}">
                      <a16:creationId xmlns:a16="http://schemas.microsoft.com/office/drawing/2014/main" id="{7D9A0461-3B67-47F2-AD96-6CAF6B160BC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7882054" y="4375037"/>
                  <a:ext cx="249457" cy="249457"/>
                </a:xfrm>
                <a:prstGeom prst="ellipse">
                  <a:avLst/>
                </a:prstGeom>
                <a:solidFill>
                  <a:srgbClr val="CCCCCC"/>
                </a:solidFill>
                <a:ln w="31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2783" tIns="31392" rIns="31392" bIns="31392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defTabSz="867982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221" dirty="0">
                    <a:latin typeface="+mj-lt"/>
                  </a:endParaRPr>
                </a:p>
              </p:txBody>
            </p:sp>
            <p:sp>
              <p:nvSpPr>
                <p:cNvPr id="363" name="Oval 445">
                  <a:extLst>
                    <a:ext uri="{FF2B5EF4-FFF2-40B4-BE49-F238E27FC236}">
                      <a16:creationId xmlns:a16="http://schemas.microsoft.com/office/drawing/2014/main" id="{A49D86A0-1218-4048-96BD-EBDCF8147AC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7740722" y="4467784"/>
                  <a:ext cx="165470" cy="165470"/>
                </a:xfrm>
                <a:prstGeom prst="ellipse">
                  <a:avLst/>
                </a:prstGeom>
                <a:solidFill>
                  <a:srgbClr val="CCCCCC"/>
                </a:solidFill>
                <a:ln w="31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2783" tIns="31392" rIns="31392" bIns="31392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defTabSz="867982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221" dirty="0">
                    <a:latin typeface="+mj-lt"/>
                  </a:endParaRPr>
                </a:p>
              </p:txBody>
            </p:sp>
            <p:sp>
              <p:nvSpPr>
                <p:cNvPr id="364" name="Oval 446">
                  <a:extLst>
                    <a:ext uri="{FF2B5EF4-FFF2-40B4-BE49-F238E27FC236}">
                      <a16:creationId xmlns:a16="http://schemas.microsoft.com/office/drawing/2014/main" id="{DCAA1605-C83B-41D6-AC33-68E236DB500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7902630" y="4552467"/>
                  <a:ext cx="165470" cy="165470"/>
                </a:xfrm>
                <a:prstGeom prst="ellipse">
                  <a:avLst/>
                </a:prstGeom>
                <a:solidFill>
                  <a:srgbClr val="CCCCCC"/>
                </a:solidFill>
                <a:ln w="31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2783" tIns="31392" rIns="31392" bIns="31392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defTabSz="867982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221" dirty="0">
                    <a:latin typeface="+mj-lt"/>
                  </a:endParaRPr>
                </a:p>
              </p:txBody>
            </p:sp>
            <p:sp>
              <p:nvSpPr>
                <p:cNvPr id="365" name="Oval 447">
                  <a:extLst>
                    <a:ext uri="{FF2B5EF4-FFF2-40B4-BE49-F238E27FC236}">
                      <a16:creationId xmlns:a16="http://schemas.microsoft.com/office/drawing/2014/main" id="{60A34D07-378B-43EA-9EEC-1590AEBF7D8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8589967" y="5114939"/>
                  <a:ext cx="165470" cy="165470"/>
                </a:xfrm>
                <a:prstGeom prst="ellipse">
                  <a:avLst/>
                </a:prstGeom>
                <a:solidFill>
                  <a:srgbClr val="CCCCCC"/>
                </a:solidFill>
                <a:ln w="31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2783" tIns="31392" rIns="31392" bIns="31392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defTabSz="867982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221" dirty="0">
                    <a:latin typeface="+mj-lt"/>
                  </a:endParaRPr>
                </a:p>
              </p:txBody>
            </p:sp>
            <p:sp>
              <p:nvSpPr>
                <p:cNvPr id="366" name="Oval 448">
                  <a:extLst>
                    <a:ext uri="{FF2B5EF4-FFF2-40B4-BE49-F238E27FC236}">
                      <a16:creationId xmlns:a16="http://schemas.microsoft.com/office/drawing/2014/main" id="{37E52248-D724-421A-B66B-1ED5F0596C9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8372244" y="4948955"/>
                  <a:ext cx="249457" cy="249457"/>
                </a:xfrm>
                <a:prstGeom prst="ellipse">
                  <a:avLst/>
                </a:prstGeom>
                <a:solidFill>
                  <a:srgbClr val="CCCCCC"/>
                </a:solidFill>
                <a:ln w="31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2783" tIns="31392" rIns="31392" bIns="31392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defTabSz="867982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221" dirty="0">
                    <a:latin typeface="+mj-lt"/>
                  </a:endParaRPr>
                </a:p>
              </p:txBody>
            </p:sp>
            <p:sp>
              <p:nvSpPr>
                <p:cNvPr id="367" name="Oval 449">
                  <a:extLst>
                    <a:ext uri="{FF2B5EF4-FFF2-40B4-BE49-F238E27FC236}">
                      <a16:creationId xmlns:a16="http://schemas.microsoft.com/office/drawing/2014/main" id="{B39E076F-6C2D-4CDA-8C6F-4EED6D8F93F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8677719" y="4303348"/>
                  <a:ext cx="165470" cy="165470"/>
                </a:xfrm>
                <a:prstGeom prst="ellipse">
                  <a:avLst/>
                </a:prstGeom>
                <a:solidFill>
                  <a:srgbClr val="CCCCCC"/>
                </a:solidFill>
                <a:ln w="31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2783" tIns="31392" rIns="31392" bIns="31392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defTabSz="867982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221" dirty="0">
                    <a:latin typeface="+mj-lt"/>
                  </a:endParaRPr>
                </a:p>
              </p:txBody>
            </p:sp>
            <p:sp>
              <p:nvSpPr>
                <p:cNvPr id="368" name="Oval 450">
                  <a:extLst>
                    <a:ext uri="{FF2B5EF4-FFF2-40B4-BE49-F238E27FC236}">
                      <a16:creationId xmlns:a16="http://schemas.microsoft.com/office/drawing/2014/main" id="{0C7BDB8B-EB99-4491-91F9-3BDB12CBB0C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8218981" y="4753582"/>
                  <a:ext cx="99283" cy="99283"/>
                </a:xfrm>
                <a:prstGeom prst="ellipse">
                  <a:avLst/>
                </a:prstGeom>
                <a:solidFill>
                  <a:srgbClr val="CCCCCC"/>
                </a:solidFill>
                <a:ln w="31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2783" tIns="31392" rIns="31392" bIns="31392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defTabSz="867982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221" dirty="0">
                    <a:latin typeface="+mj-lt"/>
                  </a:endParaRPr>
                </a:p>
              </p:txBody>
            </p:sp>
            <p:sp>
              <p:nvSpPr>
                <p:cNvPr id="369" name="Oval 451">
                  <a:extLst>
                    <a:ext uri="{FF2B5EF4-FFF2-40B4-BE49-F238E27FC236}">
                      <a16:creationId xmlns:a16="http://schemas.microsoft.com/office/drawing/2014/main" id="{927C9A3D-6593-4DBC-A608-F30C9501063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8186512" y="4603161"/>
                  <a:ext cx="99283" cy="99283"/>
                </a:xfrm>
                <a:prstGeom prst="ellipse">
                  <a:avLst/>
                </a:prstGeom>
                <a:solidFill>
                  <a:srgbClr val="CCCCCC"/>
                </a:solidFill>
                <a:ln w="31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2783" tIns="31392" rIns="31392" bIns="31392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defTabSz="867982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221" dirty="0">
                    <a:latin typeface="+mj-lt"/>
                  </a:endParaRPr>
                </a:p>
              </p:txBody>
            </p:sp>
            <p:sp>
              <p:nvSpPr>
                <p:cNvPr id="370" name="Oval 452">
                  <a:extLst>
                    <a:ext uri="{FF2B5EF4-FFF2-40B4-BE49-F238E27FC236}">
                      <a16:creationId xmlns:a16="http://schemas.microsoft.com/office/drawing/2014/main" id="{E35E0F34-B7ED-40A2-8B6F-BF760C3B169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8272500" y="4443307"/>
                  <a:ext cx="99283" cy="99283"/>
                </a:xfrm>
                <a:prstGeom prst="ellipse">
                  <a:avLst/>
                </a:prstGeom>
                <a:solidFill>
                  <a:srgbClr val="CCCCCC"/>
                </a:solidFill>
                <a:ln w="31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2783" tIns="31392" rIns="31392" bIns="31392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defTabSz="867982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221" dirty="0">
                    <a:latin typeface="+mj-lt"/>
                  </a:endParaRPr>
                </a:p>
              </p:txBody>
            </p:sp>
            <p:sp>
              <p:nvSpPr>
                <p:cNvPr id="371" name="Oval 453">
                  <a:extLst>
                    <a:ext uri="{FF2B5EF4-FFF2-40B4-BE49-F238E27FC236}">
                      <a16:creationId xmlns:a16="http://schemas.microsoft.com/office/drawing/2014/main" id="{7B62CDA9-7B91-4284-8B2A-E747CC9192E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8464429" y="4425353"/>
                  <a:ext cx="99283" cy="99283"/>
                </a:xfrm>
                <a:prstGeom prst="ellipse">
                  <a:avLst/>
                </a:prstGeom>
                <a:solidFill>
                  <a:srgbClr val="CCCCCC"/>
                </a:solidFill>
                <a:ln w="31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2783" tIns="31392" rIns="31392" bIns="31392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defTabSz="867982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221" dirty="0">
                    <a:latin typeface="+mj-lt"/>
                  </a:endParaRPr>
                </a:p>
              </p:txBody>
            </p:sp>
            <p:sp>
              <p:nvSpPr>
                <p:cNvPr id="372" name="Oval 454">
                  <a:extLst>
                    <a:ext uri="{FF2B5EF4-FFF2-40B4-BE49-F238E27FC236}">
                      <a16:creationId xmlns:a16="http://schemas.microsoft.com/office/drawing/2014/main" id="{EC68A57F-C8BC-4B9F-8525-7CEDEF7F154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8541377" y="4284365"/>
                  <a:ext cx="99283" cy="99283"/>
                </a:xfrm>
                <a:prstGeom prst="ellipse">
                  <a:avLst/>
                </a:prstGeom>
                <a:solidFill>
                  <a:srgbClr val="CCCCCC"/>
                </a:solidFill>
                <a:ln w="31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2783" tIns="31392" rIns="31392" bIns="31392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defTabSz="867982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221" dirty="0">
                    <a:latin typeface="+mj-lt"/>
                  </a:endParaRPr>
                </a:p>
              </p:txBody>
            </p:sp>
            <p:sp>
              <p:nvSpPr>
                <p:cNvPr id="373" name="Oval 455">
                  <a:extLst>
                    <a:ext uri="{FF2B5EF4-FFF2-40B4-BE49-F238E27FC236}">
                      <a16:creationId xmlns:a16="http://schemas.microsoft.com/office/drawing/2014/main" id="{3F809A6A-CA54-44FA-8EA1-B34D4FD2041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8879513" y="5045189"/>
                  <a:ext cx="99283" cy="99283"/>
                </a:xfrm>
                <a:prstGeom prst="ellipse">
                  <a:avLst/>
                </a:prstGeom>
                <a:solidFill>
                  <a:srgbClr val="CCCCCC"/>
                </a:solidFill>
                <a:ln w="31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2783" tIns="31392" rIns="31392" bIns="31392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defTabSz="867982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221" dirty="0">
                    <a:latin typeface="+mj-lt"/>
                  </a:endParaRPr>
                </a:p>
              </p:txBody>
            </p:sp>
            <p:sp>
              <p:nvSpPr>
                <p:cNvPr id="374" name="Oval 456">
                  <a:extLst>
                    <a:ext uri="{FF2B5EF4-FFF2-40B4-BE49-F238E27FC236}">
                      <a16:creationId xmlns:a16="http://schemas.microsoft.com/office/drawing/2014/main" id="{FA4CB13A-F385-4139-8458-8FE5B141491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8393717" y="4838823"/>
                  <a:ext cx="41367" cy="41367"/>
                </a:xfrm>
                <a:prstGeom prst="ellipse">
                  <a:avLst/>
                </a:prstGeom>
                <a:solidFill>
                  <a:srgbClr val="CCCCCC"/>
                </a:solidFill>
                <a:ln w="31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2783" tIns="31392" rIns="31392" bIns="31392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defTabSz="867982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221" dirty="0">
                    <a:latin typeface="+mj-lt"/>
                  </a:endParaRPr>
                </a:p>
              </p:txBody>
            </p:sp>
          </p:grpSp>
        </p:grpSp>
        <p:grpSp>
          <p:nvGrpSpPr>
            <p:cNvPr id="279" name="Group 361">
              <a:extLst>
                <a:ext uri="{FF2B5EF4-FFF2-40B4-BE49-F238E27FC236}">
                  <a16:creationId xmlns:a16="http://schemas.microsoft.com/office/drawing/2014/main" id="{C5338A90-D074-4E1F-B998-9BA7B125AE47}"/>
                </a:ext>
              </a:extLst>
            </p:cNvPr>
            <p:cNvGrpSpPr/>
            <p:nvPr/>
          </p:nvGrpSpPr>
          <p:grpSpPr>
            <a:xfrm>
              <a:off x="8593924" y="2753020"/>
              <a:ext cx="849818" cy="1530520"/>
              <a:chOff x="8593924" y="2753020"/>
              <a:chExt cx="849818" cy="1530520"/>
            </a:xfrm>
          </p:grpSpPr>
          <p:sp>
            <p:nvSpPr>
              <p:cNvPr id="335" name="Oval 417">
                <a:extLst>
                  <a:ext uri="{FF2B5EF4-FFF2-40B4-BE49-F238E27FC236}">
                    <a16:creationId xmlns:a16="http://schemas.microsoft.com/office/drawing/2014/main" id="{19FB8DA9-E595-4A98-9A4A-4A7C7D121D4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635736" y="4105050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36" name="Oval 418">
                <a:extLst>
                  <a:ext uri="{FF2B5EF4-FFF2-40B4-BE49-F238E27FC236}">
                    <a16:creationId xmlns:a16="http://schemas.microsoft.com/office/drawing/2014/main" id="{93675E86-0EF6-4AF3-9F69-E0663415087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597713" y="3853815"/>
                <a:ext cx="249457" cy="249457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37" name="Oval 419">
                <a:extLst>
                  <a:ext uri="{FF2B5EF4-FFF2-40B4-BE49-F238E27FC236}">
                    <a16:creationId xmlns:a16="http://schemas.microsoft.com/office/drawing/2014/main" id="{50CE0993-2F5B-4CF2-B619-8E673D91444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878531" y="4034083"/>
                <a:ext cx="249457" cy="249457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38" name="Oval 420">
                <a:extLst>
                  <a:ext uri="{FF2B5EF4-FFF2-40B4-BE49-F238E27FC236}">
                    <a16:creationId xmlns:a16="http://schemas.microsoft.com/office/drawing/2014/main" id="{65D8036A-FCD3-408E-9F00-1BDA112B149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136006" y="3852948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39" name="Oval 421">
                <a:extLst>
                  <a:ext uri="{FF2B5EF4-FFF2-40B4-BE49-F238E27FC236}">
                    <a16:creationId xmlns:a16="http://schemas.microsoft.com/office/drawing/2014/main" id="{9F0AF0F7-DE07-4603-A6ED-CB1F3544391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201777" y="4177717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40" name="Oval 422">
                <a:extLst>
                  <a:ext uri="{FF2B5EF4-FFF2-40B4-BE49-F238E27FC236}">
                    <a16:creationId xmlns:a16="http://schemas.microsoft.com/office/drawing/2014/main" id="{FDA94089-B57C-4FC4-AB76-DB4AC8192BF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187414" y="4111643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41" name="Oval 423">
                <a:extLst>
                  <a:ext uri="{FF2B5EF4-FFF2-40B4-BE49-F238E27FC236}">
                    <a16:creationId xmlns:a16="http://schemas.microsoft.com/office/drawing/2014/main" id="{2BD60781-8087-4FFC-ACEE-26F00BFB152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027458" y="3084034"/>
                <a:ext cx="249457" cy="249457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42" name="Oval 424">
                <a:extLst>
                  <a:ext uri="{FF2B5EF4-FFF2-40B4-BE49-F238E27FC236}">
                    <a16:creationId xmlns:a16="http://schemas.microsoft.com/office/drawing/2014/main" id="{A30A4878-CAE8-4BA9-A597-FF7029E0B04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593924" y="3130727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43" name="Oval 425">
                <a:extLst>
                  <a:ext uri="{FF2B5EF4-FFF2-40B4-BE49-F238E27FC236}">
                    <a16:creationId xmlns:a16="http://schemas.microsoft.com/office/drawing/2014/main" id="{C9428508-8A0F-4667-8621-C2F8A4BAD41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685377" y="3335295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44" name="Oval 426">
                <a:extLst>
                  <a:ext uri="{FF2B5EF4-FFF2-40B4-BE49-F238E27FC236}">
                    <a16:creationId xmlns:a16="http://schemas.microsoft.com/office/drawing/2014/main" id="{FE68ED4C-CDC7-42B7-A643-3AE01EF5962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918261" y="3195435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45" name="Oval 427">
                <a:extLst>
                  <a:ext uri="{FF2B5EF4-FFF2-40B4-BE49-F238E27FC236}">
                    <a16:creationId xmlns:a16="http://schemas.microsoft.com/office/drawing/2014/main" id="{02D7AFB4-FD17-472F-9034-2C93094E777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996406" y="3500253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46" name="Oval 428">
                <a:extLst>
                  <a:ext uri="{FF2B5EF4-FFF2-40B4-BE49-F238E27FC236}">
                    <a16:creationId xmlns:a16="http://schemas.microsoft.com/office/drawing/2014/main" id="{45A400F6-875A-4B00-A3C9-6AB6975059C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818875" y="2836283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47" name="Oval 429">
                <a:extLst>
                  <a:ext uri="{FF2B5EF4-FFF2-40B4-BE49-F238E27FC236}">
                    <a16:creationId xmlns:a16="http://schemas.microsoft.com/office/drawing/2014/main" id="{100C82EC-2B7A-4744-B87C-9D12BC78805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782546" y="2858819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48" name="Oval 430">
                <a:extLst>
                  <a:ext uri="{FF2B5EF4-FFF2-40B4-BE49-F238E27FC236}">
                    <a16:creationId xmlns:a16="http://schemas.microsoft.com/office/drawing/2014/main" id="{3797BCBB-5789-4203-8B4B-6CCB3615833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985976" y="2753020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49" name="Oval 431">
                <a:extLst>
                  <a:ext uri="{FF2B5EF4-FFF2-40B4-BE49-F238E27FC236}">
                    <a16:creationId xmlns:a16="http://schemas.microsoft.com/office/drawing/2014/main" id="{F61B875A-186F-45C9-8912-C3969E295D4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321122" y="2875469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50" name="Oval 432">
                <a:extLst>
                  <a:ext uri="{FF2B5EF4-FFF2-40B4-BE49-F238E27FC236}">
                    <a16:creationId xmlns:a16="http://schemas.microsoft.com/office/drawing/2014/main" id="{82D86FA9-B516-40FC-A3B6-39BAD47808A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274697" y="2975963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51" name="Oval 433">
                <a:extLst>
                  <a:ext uri="{FF2B5EF4-FFF2-40B4-BE49-F238E27FC236}">
                    <a16:creationId xmlns:a16="http://schemas.microsoft.com/office/drawing/2014/main" id="{58DE530F-27F8-44BD-9584-A799DAA4DA3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344459" y="3121222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52" name="Oval 434">
                <a:extLst>
                  <a:ext uri="{FF2B5EF4-FFF2-40B4-BE49-F238E27FC236}">
                    <a16:creationId xmlns:a16="http://schemas.microsoft.com/office/drawing/2014/main" id="{AB9EC2CD-825A-4341-AF1E-239536B96FE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736960" y="3060977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53" name="Oval 435">
                <a:extLst>
                  <a:ext uri="{FF2B5EF4-FFF2-40B4-BE49-F238E27FC236}">
                    <a16:creationId xmlns:a16="http://schemas.microsoft.com/office/drawing/2014/main" id="{28ED82D3-A3D0-4786-A1E4-C62AFAC3EE2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780051" y="3075340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54" name="Oval 436">
                <a:extLst>
                  <a:ext uri="{FF2B5EF4-FFF2-40B4-BE49-F238E27FC236}">
                    <a16:creationId xmlns:a16="http://schemas.microsoft.com/office/drawing/2014/main" id="{C56607E4-81F3-46E5-BEF0-ADFD492AA53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124497" y="3289432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55" name="Oval 437">
                <a:extLst>
                  <a:ext uri="{FF2B5EF4-FFF2-40B4-BE49-F238E27FC236}">
                    <a16:creationId xmlns:a16="http://schemas.microsoft.com/office/drawing/2014/main" id="{D8FA5DE5-4310-4DEB-BD2A-3D920D889B4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093175" y="3394820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56" name="Oval 438">
                <a:extLst>
                  <a:ext uri="{FF2B5EF4-FFF2-40B4-BE49-F238E27FC236}">
                    <a16:creationId xmlns:a16="http://schemas.microsoft.com/office/drawing/2014/main" id="{704BCF24-2345-493E-81FA-1630CF870BD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289127" y="3369872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57" name="Oval 439">
                <a:extLst>
                  <a:ext uri="{FF2B5EF4-FFF2-40B4-BE49-F238E27FC236}">
                    <a16:creationId xmlns:a16="http://schemas.microsoft.com/office/drawing/2014/main" id="{23856DC9-381B-4352-8FE4-F224BD70267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955585" y="3430502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58" name="Oval 440">
                <a:extLst>
                  <a:ext uri="{FF2B5EF4-FFF2-40B4-BE49-F238E27FC236}">
                    <a16:creationId xmlns:a16="http://schemas.microsoft.com/office/drawing/2014/main" id="{B689DD1B-D751-45CA-AE47-59AF650C30C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886942" y="3621765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59" name="Oval 441">
                <a:extLst>
                  <a:ext uri="{FF2B5EF4-FFF2-40B4-BE49-F238E27FC236}">
                    <a16:creationId xmlns:a16="http://schemas.microsoft.com/office/drawing/2014/main" id="{26E6A033-EC35-4EE3-8411-14F404279C7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689772" y="3764640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</p:grpSp>
        <p:grpSp>
          <p:nvGrpSpPr>
            <p:cNvPr id="280" name="Group 362">
              <a:extLst>
                <a:ext uri="{FF2B5EF4-FFF2-40B4-BE49-F238E27FC236}">
                  <a16:creationId xmlns:a16="http://schemas.microsoft.com/office/drawing/2014/main" id="{2CC93A30-FBA2-422C-9B92-108B9EC80DAE}"/>
                </a:ext>
              </a:extLst>
            </p:cNvPr>
            <p:cNvGrpSpPr/>
            <p:nvPr/>
          </p:nvGrpSpPr>
          <p:grpSpPr>
            <a:xfrm>
              <a:off x="10015610" y="1575332"/>
              <a:ext cx="1060792" cy="1344419"/>
              <a:chOff x="10015610" y="1575332"/>
              <a:chExt cx="1060792" cy="1344419"/>
            </a:xfrm>
          </p:grpSpPr>
          <p:sp>
            <p:nvSpPr>
              <p:cNvPr id="322" name="Oval 404">
                <a:extLst>
                  <a:ext uri="{FF2B5EF4-FFF2-40B4-BE49-F238E27FC236}">
                    <a16:creationId xmlns:a16="http://schemas.microsoft.com/office/drawing/2014/main" id="{9931056C-683C-4346-AFCE-B1744B16AD1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524377" y="2058642"/>
                <a:ext cx="386076" cy="386076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23" name="Oval 405">
                <a:extLst>
                  <a:ext uri="{FF2B5EF4-FFF2-40B4-BE49-F238E27FC236}">
                    <a16:creationId xmlns:a16="http://schemas.microsoft.com/office/drawing/2014/main" id="{4D0B1A0D-8CBB-444C-942C-C1DD8ED55B6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837669" y="1787039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24" name="Oval 406">
                <a:extLst>
                  <a:ext uri="{FF2B5EF4-FFF2-40B4-BE49-F238E27FC236}">
                    <a16:creationId xmlns:a16="http://schemas.microsoft.com/office/drawing/2014/main" id="{A68B5176-B270-41E5-84CF-8F9DA8B5475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899441" y="2601633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25" name="Oval 407">
                <a:extLst>
                  <a:ext uri="{FF2B5EF4-FFF2-40B4-BE49-F238E27FC236}">
                    <a16:creationId xmlns:a16="http://schemas.microsoft.com/office/drawing/2014/main" id="{9317BC39-3503-4F81-8DE5-4E69576453C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873586" y="2753889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26" name="Oval 408">
                <a:extLst>
                  <a:ext uri="{FF2B5EF4-FFF2-40B4-BE49-F238E27FC236}">
                    <a16:creationId xmlns:a16="http://schemas.microsoft.com/office/drawing/2014/main" id="{E3B61051-3644-4059-ADD6-606419FACE7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015610" y="2481526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27" name="Oval 409">
                <a:extLst>
                  <a:ext uri="{FF2B5EF4-FFF2-40B4-BE49-F238E27FC236}">
                    <a16:creationId xmlns:a16="http://schemas.microsoft.com/office/drawing/2014/main" id="{395C5CAB-A091-483D-BD68-A3DBAE8CD91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565832" y="2820468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28" name="Oval 410">
                <a:extLst>
                  <a:ext uri="{FF2B5EF4-FFF2-40B4-BE49-F238E27FC236}">
                    <a16:creationId xmlns:a16="http://schemas.microsoft.com/office/drawing/2014/main" id="{2098A162-9706-4D15-B6C1-34C4590384C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562959" y="2625121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29" name="Oval 411">
                <a:extLst>
                  <a:ext uri="{FF2B5EF4-FFF2-40B4-BE49-F238E27FC236}">
                    <a16:creationId xmlns:a16="http://schemas.microsoft.com/office/drawing/2014/main" id="{442A2E3D-C3FD-4C84-A654-2679DE727F2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564249" y="2422010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30" name="Oval 412">
                <a:extLst>
                  <a:ext uri="{FF2B5EF4-FFF2-40B4-BE49-F238E27FC236}">
                    <a16:creationId xmlns:a16="http://schemas.microsoft.com/office/drawing/2014/main" id="{E9E6B176-5CFB-484B-9D1C-21D24BAFF6A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730811" y="2458649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31" name="Oval 413">
                <a:extLst>
                  <a:ext uri="{FF2B5EF4-FFF2-40B4-BE49-F238E27FC236}">
                    <a16:creationId xmlns:a16="http://schemas.microsoft.com/office/drawing/2014/main" id="{CA7C079C-7E59-4A09-9E9E-667138699EE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910932" y="2285630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32" name="Oval 414">
                <a:extLst>
                  <a:ext uri="{FF2B5EF4-FFF2-40B4-BE49-F238E27FC236}">
                    <a16:creationId xmlns:a16="http://schemas.microsoft.com/office/drawing/2014/main" id="{6FEB4DE5-FAB5-4023-B9FB-0AB961B92A1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971323" y="2060750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33" name="Oval 415">
                <a:extLst>
                  <a:ext uri="{FF2B5EF4-FFF2-40B4-BE49-F238E27FC236}">
                    <a16:creationId xmlns:a16="http://schemas.microsoft.com/office/drawing/2014/main" id="{36B94DC8-83DA-4219-928C-9B58BEE1943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531170" y="1903321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34" name="Oval 416">
                <a:extLst>
                  <a:ext uri="{FF2B5EF4-FFF2-40B4-BE49-F238E27FC236}">
                    <a16:creationId xmlns:a16="http://schemas.microsoft.com/office/drawing/2014/main" id="{8F1DC16C-13C8-4377-899E-7E0779C50AE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885594" y="1575332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</p:grpSp>
        <p:grpSp>
          <p:nvGrpSpPr>
            <p:cNvPr id="281" name="Group 363">
              <a:extLst>
                <a:ext uri="{FF2B5EF4-FFF2-40B4-BE49-F238E27FC236}">
                  <a16:creationId xmlns:a16="http://schemas.microsoft.com/office/drawing/2014/main" id="{1A687550-5B60-4E16-9E52-9A3D5CF1AF12}"/>
                </a:ext>
              </a:extLst>
            </p:cNvPr>
            <p:cNvGrpSpPr/>
            <p:nvPr/>
          </p:nvGrpSpPr>
          <p:grpSpPr>
            <a:xfrm>
              <a:off x="7602208" y="1424751"/>
              <a:ext cx="2525416" cy="1425189"/>
              <a:chOff x="7602208" y="1424751"/>
              <a:chExt cx="2525416" cy="1425189"/>
            </a:xfrm>
          </p:grpSpPr>
          <p:sp>
            <p:nvSpPr>
              <p:cNvPr id="310" name="Oval 392">
                <a:extLst>
                  <a:ext uri="{FF2B5EF4-FFF2-40B4-BE49-F238E27FC236}">
                    <a16:creationId xmlns:a16="http://schemas.microsoft.com/office/drawing/2014/main" id="{70C0AAE4-33C7-45DB-9EB4-1CDF7C18044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559724" y="1917539"/>
                <a:ext cx="249457" cy="249457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11" name="Oval 393">
                <a:extLst>
                  <a:ext uri="{FF2B5EF4-FFF2-40B4-BE49-F238E27FC236}">
                    <a16:creationId xmlns:a16="http://schemas.microsoft.com/office/drawing/2014/main" id="{68FBE91D-0475-44DD-934D-A5D5DB58EDF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189458" y="2600483"/>
                <a:ext cx="249457" cy="249457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12" name="Oval 394">
                <a:extLst>
                  <a:ext uri="{FF2B5EF4-FFF2-40B4-BE49-F238E27FC236}">
                    <a16:creationId xmlns:a16="http://schemas.microsoft.com/office/drawing/2014/main" id="{04883571-C6ED-4881-8E9C-99C12D8910A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038799" y="1869774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13" name="Oval 395">
                <a:extLst>
                  <a:ext uri="{FF2B5EF4-FFF2-40B4-BE49-F238E27FC236}">
                    <a16:creationId xmlns:a16="http://schemas.microsoft.com/office/drawing/2014/main" id="{40624B97-B1CE-4D26-A2B3-E40730A4388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118330" y="2252435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14" name="Oval 396">
                <a:extLst>
                  <a:ext uri="{FF2B5EF4-FFF2-40B4-BE49-F238E27FC236}">
                    <a16:creationId xmlns:a16="http://schemas.microsoft.com/office/drawing/2014/main" id="{6EF3BBB6-6DFF-432D-9256-97A2078B8F6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602208" y="1844657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15" name="Oval 397">
                <a:extLst>
                  <a:ext uri="{FF2B5EF4-FFF2-40B4-BE49-F238E27FC236}">
                    <a16:creationId xmlns:a16="http://schemas.microsoft.com/office/drawing/2014/main" id="{C8A4F878-F179-48B4-97B2-25EA8AA34CD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993173" y="2581408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16" name="Oval 398">
                <a:extLst>
                  <a:ext uri="{FF2B5EF4-FFF2-40B4-BE49-F238E27FC236}">
                    <a16:creationId xmlns:a16="http://schemas.microsoft.com/office/drawing/2014/main" id="{418F82EA-4401-4DAC-82A7-C3A8D9C7F2B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496892" y="1564098"/>
                <a:ext cx="386076" cy="386076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17" name="Oval 399">
                <a:extLst>
                  <a:ext uri="{FF2B5EF4-FFF2-40B4-BE49-F238E27FC236}">
                    <a16:creationId xmlns:a16="http://schemas.microsoft.com/office/drawing/2014/main" id="{143A1532-DEA5-4CA5-B4B6-AFB23CCE586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095563" y="1745469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18" name="Oval 400">
                <a:extLst>
                  <a:ext uri="{FF2B5EF4-FFF2-40B4-BE49-F238E27FC236}">
                    <a16:creationId xmlns:a16="http://schemas.microsoft.com/office/drawing/2014/main" id="{D01717B5-FD74-447C-AF65-9429F5D91B2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216112" y="1946671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19" name="Oval 401">
                <a:extLst>
                  <a:ext uri="{FF2B5EF4-FFF2-40B4-BE49-F238E27FC236}">
                    <a16:creationId xmlns:a16="http://schemas.microsoft.com/office/drawing/2014/main" id="{76D6B233-48CA-4BED-9E56-3C2F2C53A57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500114" y="2095187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20" name="Oval 402">
                <a:extLst>
                  <a:ext uri="{FF2B5EF4-FFF2-40B4-BE49-F238E27FC236}">
                    <a16:creationId xmlns:a16="http://schemas.microsoft.com/office/drawing/2014/main" id="{544B701D-1207-4E13-8BB4-D1F18AC573E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712875" y="1966399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21" name="Oval 403">
                <a:extLst>
                  <a:ext uri="{FF2B5EF4-FFF2-40B4-BE49-F238E27FC236}">
                    <a16:creationId xmlns:a16="http://schemas.microsoft.com/office/drawing/2014/main" id="{186AF7F2-ABC5-4E6E-B065-33348F518C8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028341" y="1424751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570" dirty="0">
                  <a:latin typeface="+mj-lt"/>
                </a:endParaRPr>
              </a:p>
            </p:txBody>
          </p:sp>
        </p:grpSp>
        <p:grpSp>
          <p:nvGrpSpPr>
            <p:cNvPr id="282" name="Group 364">
              <a:extLst>
                <a:ext uri="{FF2B5EF4-FFF2-40B4-BE49-F238E27FC236}">
                  <a16:creationId xmlns:a16="http://schemas.microsoft.com/office/drawing/2014/main" id="{7C91DD89-2106-4B49-BD7B-D7A62BE39772}"/>
                </a:ext>
              </a:extLst>
            </p:cNvPr>
            <p:cNvGrpSpPr/>
            <p:nvPr/>
          </p:nvGrpSpPr>
          <p:grpSpPr>
            <a:xfrm>
              <a:off x="7340773" y="2901610"/>
              <a:ext cx="1264956" cy="1276107"/>
              <a:chOff x="7340773" y="2901610"/>
              <a:chExt cx="1264956" cy="1276107"/>
            </a:xfrm>
          </p:grpSpPr>
          <p:sp>
            <p:nvSpPr>
              <p:cNvPr id="292" name="Oval 374">
                <a:extLst>
                  <a:ext uri="{FF2B5EF4-FFF2-40B4-BE49-F238E27FC236}">
                    <a16:creationId xmlns:a16="http://schemas.microsoft.com/office/drawing/2014/main" id="{6F6699BE-6598-4AEF-8AFC-D31538C62D9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356272" y="3568288"/>
                <a:ext cx="249457" cy="249457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93" name="Oval 375">
                <a:extLst>
                  <a:ext uri="{FF2B5EF4-FFF2-40B4-BE49-F238E27FC236}">
                    <a16:creationId xmlns:a16="http://schemas.microsoft.com/office/drawing/2014/main" id="{1F248C6C-95EF-447C-AFA7-F6E9BCC0B8D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144464" y="3016623"/>
                <a:ext cx="386076" cy="386076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94" name="Oval 376">
                <a:extLst>
                  <a:ext uri="{FF2B5EF4-FFF2-40B4-BE49-F238E27FC236}">
                    <a16:creationId xmlns:a16="http://schemas.microsoft.com/office/drawing/2014/main" id="{025CF89C-EEC5-4F89-88E0-3E3D281BC77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218981" y="3339679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95" name="Oval 377">
                <a:extLst>
                  <a:ext uri="{FF2B5EF4-FFF2-40B4-BE49-F238E27FC236}">
                    <a16:creationId xmlns:a16="http://schemas.microsoft.com/office/drawing/2014/main" id="{B8432CA7-0AFA-4F57-8E20-E72AC3C5076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416177" y="2999501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96" name="Oval 378">
                <a:extLst>
                  <a:ext uri="{FF2B5EF4-FFF2-40B4-BE49-F238E27FC236}">
                    <a16:creationId xmlns:a16="http://schemas.microsoft.com/office/drawing/2014/main" id="{3A4B9703-504A-4BBE-83B3-32C24E18DC0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408811" y="3418073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97" name="Oval 379">
                <a:extLst>
                  <a:ext uri="{FF2B5EF4-FFF2-40B4-BE49-F238E27FC236}">
                    <a16:creationId xmlns:a16="http://schemas.microsoft.com/office/drawing/2014/main" id="{F3EAEAB8-29CA-478D-B00C-925B6EBCF53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106840" y="3444288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98" name="Oval 380">
                <a:extLst>
                  <a:ext uri="{FF2B5EF4-FFF2-40B4-BE49-F238E27FC236}">
                    <a16:creationId xmlns:a16="http://schemas.microsoft.com/office/drawing/2014/main" id="{41F01671-59AF-4A8D-A6EE-F0374B1351F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588209" y="3283465"/>
                <a:ext cx="386076" cy="386076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99" name="Oval 381">
                <a:extLst>
                  <a:ext uri="{FF2B5EF4-FFF2-40B4-BE49-F238E27FC236}">
                    <a16:creationId xmlns:a16="http://schemas.microsoft.com/office/drawing/2014/main" id="{53CFB5ED-0B42-4AB8-83EA-0211E65AF07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856581" y="2953612"/>
                <a:ext cx="249457" cy="249457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00" name="Oval 382">
                <a:extLst>
                  <a:ext uri="{FF2B5EF4-FFF2-40B4-BE49-F238E27FC236}">
                    <a16:creationId xmlns:a16="http://schemas.microsoft.com/office/drawing/2014/main" id="{42732789-E5F1-4C06-B35B-907D6D922F9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873018" y="3211621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01" name="Oval 383">
                <a:extLst>
                  <a:ext uri="{FF2B5EF4-FFF2-40B4-BE49-F238E27FC236}">
                    <a16:creationId xmlns:a16="http://schemas.microsoft.com/office/drawing/2014/main" id="{86AAF894-0518-408A-9481-D2B5CCBDC40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771612" y="3086762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02" name="Oval 384">
                <a:extLst>
                  <a:ext uri="{FF2B5EF4-FFF2-40B4-BE49-F238E27FC236}">
                    <a16:creationId xmlns:a16="http://schemas.microsoft.com/office/drawing/2014/main" id="{274096E4-5E8F-4178-8C2A-76E5394FEE4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951897" y="2901610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03" name="Oval 385">
                <a:extLst>
                  <a:ext uri="{FF2B5EF4-FFF2-40B4-BE49-F238E27FC236}">
                    <a16:creationId xmlns:a16="http://schemas.microsoft.com/office/drawing/2014/main" id="{84117D74-B6CF-425A-8F2D-DCDE5731953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111758" y="3924099"/>
                <a:ext cx="249457" cy="249457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04" name="Oval 386">
                <a:extLst>
                  <a:ext uri="{FF2B5EF4-FFF2-40B4-BE49-F238E27FC236}">
                    <a16:creationId xmlns:a16="http://schemas.microsoft.com/office/drawing/2014/main" id="{9FCF230F-37DA-40BE-9664-AA5E3D9306E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927675" y="3827037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05" name="Oval 387">
                <a:extLst>
                  <a:ext uri="{FF2B5EF4-FFF2-40B4-BE49-F238E27FC236}">
                    <a16:creationId xmlns:a16="http://schemas.microsoft.com/office/drawing/2014/main" id="{3D9FD1D0-CBD2-449F-A5B2-F53689CB959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766910" y="3866815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06" name="Oval 388">
                <a:extLst>
                  <a:ext uri="{FF2B5EF4-FFF2-40B4-BE49-F238E27FC236}">
                    <a16:creationId xmlns:a16="http://schemas.microsoft.com/office/drawing/2014/main" id="{E71743E7-375A-426B-8913-9E1A34D0DDE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863048" y="4078434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07" name="Oval 389">
                <a:extLst>
                  <a:ext uri="{FF2B5EF4-FFF2-40B4-BE49-F238E27FC236}">
                    <a16:creationId xmlns:a16="http://schemas.microsoft.com/office/drawing/2014/main" id="{FB04C938-5BF6-4EAD-9535-646CC6857A3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340773" y="3461356"/>
                <a:ext cx="249457" cy="249457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08" name="Oval 390">
                <a:extLst>
                  <a:ext uri="{FF2B5EF4-FFF2-40B4-BE49-F238E27FC236}">
                    <a16:creationId xmlns:a16="http://schemas.microsoft.com/office/drawing/2014/main" id="{CF96327D-64BF-4164-AA07-66719E69764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446380" y="3200213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309" name="Oval 391">
                <a:extLst>
                  <a:ext uri="{FF2B5EF4-FFF2-40B4-BE49-F238E27FC236}">
                    <a16:creationId xmlns:a16="http://schemas.microsoft.com/office/drawing/2014/main" id="{2A7A2C7F-020F-4C9D-B8DD-88DF57EB2D9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383553" y="3321876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</p:grpSp>
        <p:grpSp>
          <p:nvGrpSpPr>
            <p:cNvPr id="283" name="Group 365">
              <a:extLst>
                <a:ext uri="{FF2B5EF4-FFF2-40B4-BE49-F238E27FC236}">
                  <a16:creationId xmlns:a16="http://schemas.microsoft.com/office/drawing/2014/main" id="{DC2572E5-BDF3-4ADD-B19D-FC9DBD432328}"/>
                </a:ext>
              </a:extLst>
            </p:cNvPr>
            <p:cNvGrpSpPr/>
            <p:nvPr/>
          </p:nvGrpSpPr>
          <p:grpSpPr>
            <a:xfrm>
              <a:off x="6713584" y="3529785"/>
              <a:ext cx="855713" cy="1313789"/>
              <a:chOff x="6713584" y="3529785"/>
              <a:chExt cx="855713" cy="1313789"/>
            </a:xfrm>
          </p:grpSpPr>
          <p:sp>
            <p:nvSpPr>
              <p:cNvPr id="284" name="Oval 366">
                <a:extLst>
                  <a:ext uri="{FF2B5EF4-FFF2-40B4-BE49-F238E27FC236}">
                    <a16:creationId xmlns:a16="http://schemas.microsoft.com/office/drawing/2014/main" id="{ECB7D452-06AA-4C26-A86F-2577738A3A4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403827" y="4678104"/>
                <a:ext cx="165470" cy="165470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85" name="Oval 367">
                <a:extLst>
                  <a:ext uri="{FF2B5EF4-FFF2-40B4-BE49-F238E27FC236}">
                    <a16:creationId xmlns:a16="http://schemas.microsoft.com/office/drawing/2014/main" id="{B2F5171E-9B52-47A5-AF5D-470258DD661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105735" y="3700770"/>
                <a:ext cx="249457" cy="249457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86" name="Oval 368">
                <a:extLst>
                  <a:ext uri="{FF2B5EF4-FFF2-40B4-BE49-F238E27FC236}">
                    <a16:creationId xmlns:a16="http://schemas.microsoft.com/office/drawing/2014/main" id="{8E772123-4236-442E-A4EE-27BFA79800C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265219" y="3529785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87" name="Oval 369">
                <a:extLst>
                  <a:ext uri="{FF2B5EF4-FFF2-40B4-BE49-F238E27FC236}">
                    <a16:creationId xmlns:a16="http://schemas.microsoft.com/office/drawing/2014/main" id="{122B8BCE-5BF9-4510-A7F4-86145167952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717583" y="3884281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88" name="Oval 370">
                <a:extLst>
                  <a:ext uri="{FF2B5EF4-FFF2-40B4-BE49-F238E27FC236}">
                    <a16:creationId xmlns:a16="http://schemas.microsoft.com/office/drawing/2014/main" id="{671BE916-D112-4406-BDC3-DB4E266107D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713584" y="4053630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89" name="Oval 371">
                <a:extLst>
                  <a:ext uri="{FF2B5EF4-FFF2-40B4-BE49-F238E27FC236}">
                    <a16:creationId xmlns:a16="http://schemas.microsoft.com/office/drawing/2014/main" id="{CA9079CD-67A1-4C59-B52E-A1F69B4BA22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748801" y="4502825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90" name="Oval 372">
                <a:extLst>
                  <a:ext uri="{FF2B5EF4-FFF2-40B4-BE49-F238E27FC236}">
                    <a16:creationId xmlns:a16="http://schemas.microsoft.com/office/drawing/2014/main" id="{1C528E1C-ECEE-4B90-BABA-872BF157BAA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026321" y="4705124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  <p:sp>
            <p:nvSpPr>
              <p:cNvPr id="291" name="Oval 373">
                <a:extLst>
                  <a:ext uri="{FF2B5EF4-FFF2-40B4-BE49-F238E27FC236}">
                    <a16:creationId xmlns:a16="http://schemas.microsoft.com/office/drawing/2014/main" id="{8B84CC45-AD2C-4A49-A5E4-50ECF6EAC1E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262522" y="4683630"/>
                <a:ext cx="99283" cy="99283"/>
              </a:xfrm>
              <a:prstGeom prst="ellipse">
                <a:avLst/>
              </a:prstGeom>
              <a:solidFill>
                <a:srgbClr val="CCCCCC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2783" tIns="31392" rIns="31392" bIns="31392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defTabSz="867982" rt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 sz="1221" dirty="0">
                  <a:latin typeface="+mj-lt"/>
                </a:endParaRPr>
              </a:p>
            </p:txBody>
          </p:sp>
        </p:grpSp>
      </p:grpSp>
      <p:grpSp>
        <p:nvGrpSpPr>
          <p:cNvPr id="407" name="Group 291">
            <a:extLst>
              <a:ext uri="{FF2B5EF4-FFF2-40B4-BE49-F238E27FC236}">
                <a16:creationId xmlns:a16="http://schemas.microsoft.com/office/drawing/2014/main" id="{F7B3C99C-6F3F-4FE2-9855-C1D16F011A72}"/>
              </a:ext>
            </a:extLst>
          </p:cNvPr>
          <p:cNvGrpSpPr/>
          <p:nvPr/>
        </p:nvGrpSpPr>
        <p:grpSpPr>
          <a:xfrm>
            <a:off x="2461794" y="2201011"/>
            <a:ext cx="3123445" cy="2390366"/>
            <a:chOff x="5680661" y="1730601"/>
            <a:chExt cx="5181445" cy="3965349"/>
          </a:xfrm>
        </p:grpSpPr>
        <p:sp>
          <p:nvSpPr>
            <p:cNvPr id="408" name="Rectangle 335">
              <a:extLst>
                <a:ext uri="{FF2B5EF4-FFF2-40B4-BE49-F238E27FC236}">
                  <a16:creationId xmlns:a16="http://schemas.microsoft.com/office/drawing/2014/main" id="{52677982-308E-4FA6-8895-6CC23C7A218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442961" y="3531258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09" name="Rectangle 336">
              <a:extLst>
                <a:ext uri="{FF2B5EF4-FFF2-40B4-BE49-F238E27FC236}">
                  <a16:creationId xmlns:a16="http://schemas.microsoft.com/office/drawing/2014/main" id="{ADA13D47-98B1-4234-843E-C1CE82F0FDE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512010" y="4385521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10" name="Rectangle 337">
              <a:extLst>
                <a:ext uri="{FF2B5EF4-FFF2-40B4-BE49-F238E27FC236}">
                  <a16:creationId xmlns:a16="http://schemas.microsoft.com/office/drawing/2014/main" id="{5DDD8501-2C45-41C7-A958-93519597675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147930" y="5571847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11" name="Rectangle 338">
              <a:extLst>
                <a:ext uri="{FF2B5EF4-FFF2-40B4-BE49-F238E27FC236}">
                  <a16:creationId xmlns:a16="http://schemas.microsoft.com/office/drawing/2014/main" id="{12FECCD7-32E9-49F8-960D-35E2A8E179E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36118" y="5040038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12" name="Rectangle 339">
              <a:extLst>
                <a:ext uri="{FF2B5EF4-FFF2-40B4-BE49-F238E27FC236}">
                  <a16:creationId xmlns:a16="http://schemas.microsoft.com/office/drawing/2014/main" id="{94635CD3-7B80-4356-8F32-C7C5A3E8A03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680661" y="5413015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13" name="Rectangle 340">
              <a:extLst>
                <a:ext uri="{FF2B5EF4-FFF2-40B4-BE49-F238E27FC236}">
                  <a16:creationId xmlns:a16="http://schemas.microsoft.com/office/drawing/2014/main" id="{254885BD-576B-4E52-9FE8-32A374B33C1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981692" y="5005736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14" name="Rectangle 341">
              <a:extLst>
                <a:ext uri="{FF2B5EF4-FFF2-40B4-BE49-F238E27FC236}">
                  <a16:creationId xmlns:a16="http://schemas.microsoft.com/office/drawing/2014/main" id="{28F85965-079A-41D6-81AD-D0129377B2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975027" y="4398723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15" name="Rectangle 342">
              <a:extLst>
                <a:ext uri="{FF2B5EF4-FFF2-40B4-BE49-F238E27FC236}">
                  <a16:creationId xmlns:a16="http://schemas.microsoft.com/office/drawing/2014/main" id="{A24943AD-2111-455E-A21B-97FCD8ECA5E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445585" y="4996991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16" name="Rectangle 343">
              <a:extLst>
                <a:ext uri="{FF2B5EF4-FFF2-40B4-BE49-F238E27FC236}">
                  <a16:creationId xmlns:a16="http://schemas.microsoft.com/office/drawing/2014/main" id="{B32273EE-4834-4F3D-8E11-0AF4829ACE3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769876" y="3913157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17" name="Rectangle 344">
              <a:extLst>
                <a:ext uri="{FF2B5EF4-FFF2-40B4-BE49-F238E27FC236}">
                  <a16:creationId xmlns:a16="http://schemas.microsoft.com/office/drawing/2014/main" id="{4FC93D6B-90DB-448C-802D-35BA015EFB9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589882" y="3928163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18" name="Rectangle 345">
              <a:extLst>
                <a:ext uri="{FF2B5EF4-FFF2-40B4-BE49-F238E27FC236}">
                  <a16:creationId xmlns:a16="http://schemas.microsoft.com/office/drawing/2014/main" id="{50E4C305-D164-4635-BF2B-DD7F06DBF52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49711" y="4083675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19" name="Rectangle 346">
              <a:extLst>
                <a:ext uri="{FF2B5EF4-FFF2-40B4-BE49-F238E27FC236}">
                  <a16:creationId xmlns:a16="http://schemas.microsoft.com/office/drawing/2014/main" id="{149452C7-8C19-4511-8601-AA7C79CC46D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78585" y="3494586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20" name="Rectangle 347">
              <a:extLst>
                <a:ext uri="{FF2B5EF4-FFF2-40B4-BE49-F238E27FC236}">
                  <a16:creationId xmlns:a16="http://schemas.microsoft.com/office/drawing/2014/main" id="{3F836143-96FF-41C4-BA4D-4806DCD4D88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449008" y="3614201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21" name="Rectangle 348">
              <a:extLst>
                <a:ext uri="{FF2B5EF4-FFF2-40B4-BE49-F238E27FC236}">
                  <a16:creationId xmlns:a16="http://schemas.microsoft.com/office/drawing/2014/main" id="{3257EBA1-A34E-45B2-98D4-7FAD4B6252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94097" y="2661780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22" name="Rectangle 349">
              <a:extLst>
                <a:ext uri="{FF2B5EF4-FFF2-40B4-BE49-F238E27FC236}">
                  <a16:creationId xmlns:a16="http://schemas.microsoft.com/office/drawing/2014/main" id="{80E92F65-1193-4A7F-A3B0-54878EC3FAA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100863" y="1871853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23" name="Rectangle 350">
              <a:extLst>
                <a:ext uri="{FF2B5EF4-FFF2-40B4-BE49-F238E27FC236}">
                  <a16:creationId xmlns:a16="http://schemas.microsoft.com/office/drawing/2014/main" id="{A7AE7B5F-298E-457A-AD15-462CCFD5D2C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71808" y="1730601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24" name="Rectangle 351">
              <a:extLst>
                <a:ext uri="{FF2B5EF4-FFF2-40B4-BE49-F238E27FC236}">
                  <a16:creationId xmlns:a16="http://schemas.microsoft.com/office/drawing/2014/main" id="{757AF108-5882-40F1-9F76-04842593E12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0738003" y="2233072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25" name="Rectangle 352">
              <a:extLst>
                <a:ext uri="{FF2B5EF4-FFF2-40B4-BE49-F238E27FC236}">
                  <a16:creationId xmlns:a16="http://schemas.microsoft.com/office/drawing/2014/main" id="{20C8818F-18B8-4EC5-B2A4-1268D287049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112037" y="3136496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26" name="Rectangle 353">
              <a:extLst>
                <a:ext uri="{FF2B5EF4-FFF2-40B4-BE49-F238E27FC236}">
                  <a16:creationId xmlns:a16="http://schemas.microsoft.com/office/drawing/2014/main" id="{E05AF935-AD64-40B4-BB6C-95C064A3789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659821" y="3501946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27" name="Rectangle 354">
              <a:extLst>
                <a:ext uri="{FF2B5EF4-FFF2-40B4-BE49-F238E27FC236}">
                  <a16:creationId xmlns:a16="http://schemas.microsoft.com/office/drawing/2014/main" id="{BA0A6E7B-BA5F-4560-8BDA-6D44C42591E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43763" y="3030064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28" name="Rectangle 355">
              <a:extLst>
                <a:ext uri="{FF2B5EF4-FFF2-40B4-BE49-F238E27FC236}">
                  <a16:creationId xmlns:a16="http://schemas.microsoft.com/office/drawing/2014/main" id="{EF9FA0A1-FEB4-4FA7-85E9-751C822ECB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33825" y="3136791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29" name="Rectangle 356">
              <a:extLst>
                <a:ext uri="{FF2B5EF4-FFF2-40B4-BE49-F238E27FC236}">
                  <a16:creationId xmlns:a16="http://schemas.microsoft.com/office/drawing/2014/main" id="{43772E62-E681-4862-A5B8-8283848E2F6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925235" y="3039042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30" name="Rectangle 357">
              <a:extLst>
                <a:ext uri="{FF2B5EF4-FFF2-40B4-BE49-F238E27FC236}">
                  <a16:creationId xmlns:a16="http://schemas.microsoft.com/office/drawing/2014/main" id="{7CE3516A-6BAB-434B-A772-C74124486CF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064004" y="4017156"/>
              <a:ext cx="124103" cy="124103"/>
            </a:xfrm>
            <a:prstGeom prst="rect">
              <a:avLst/>
            </a:prstGeom>
            <a:solidFill>
              <a:srgbClr val="D4051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</p:grpSp>
      <p:grpSp>
        <p:nvGrpSpPr>
          <p:cNvPr id="431" name="Group 292">
            <a:extLst>
              <a:ext uri="{FF2B5EF4-FFF2-40B4-BE49-F238E27FC236}">
                <a16:creationId xmlns:a16="http://schemas.microsoft.com/office/drawing/2014/main" id="{B8F7A6CE-CDFD-4164-B780-EEA7804CAC50}"/>
              </a:ext>
            </a:extLst>
          </p:cNvPr>
          <p:cNvGrpSpPr/>
          <p:nvPr/>
        </p:nvGrpSpPr>
        <p:grpSpPr>
          <a:xfrm>
            <a:off x="3149136" y="2344360"/>
            <a:ext cx="1170872" cy="1374530"/>
            <a:chOff x="6820883" y="1968403"/>
            <a:chExt cx="1942345" cy="2280190"/>
          </a:xfrm>
        </p:grpSpPr>
        <p:sp>
          <p:nvSpPr>
            <p:cNvPr id="432" name="Rectangle 328">
              <a:extLst>
                <a:ext uri="{FF2B5EF4-FFF2-40B4-BE49-F238E27FC236}">
                  <a16:creationId xmlns:a16="http://schemas.microsoft.com/office/drawing/2014/main" id="{3C6199BA-02D6-4D11-8FF1-F90783FA45F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820883" y="3155878"/>
              <a:ext cx="124103" cy="124103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33" name="Rectangle 329">
              <a:extLst>
                <a:ext uri="{FF2B5EF4-FFF2-40B4-BE49-F238E27FC236}">
                  <a16:creationId xmlns:a16="http://schemas.microsoft.com/office/drawing/2014/main" id="{2CE3283C-F66E-47DD-AFCC-6DD5C716956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482172" y="3281814"/>
              <a:ext cx="124103" cy="124103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34" name="Rectangle 330">
              <a:extLst>
                <a:ext uri="{FF2B5EF4-FFF2-40B4-BE49-F238E27FC236}">
                  <a16:creationId xmlns:a16="http://schemas.microsoft.com/office/drawing/2014/main" id="{64763906-9229-4E2B-9CF9-E1C94770DA6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204288" y="3768988"/>
              <a:ext cx="124103" cy="124103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35" name="Rectangle 331">
              <a:extLst>
                <a:ext uri="{FF2B5EF4-FFF2-40B4-BE49-F238E27FC236}">
                  <a16:creationId xmlns:a16="http://schemas.microsoft.com/office/drawing/2014/main" id="{8C0A525A-ADD5-4950-ABB3-756446AE88C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774101" y="4124490"/>
              <a:ext cx="124103" cy="124103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36" name="Rectangle 332">
              <a:extLst>
                <a:ext uri="{FF2B5EF4-FFF2-40B4-BE49-F238E27FC236}">
                  <a16:creationId xmlns:a16="http://schemas.microsoft.com/office/drawing/2014/main" id="{F3E51F58-BA13-4240-B963-22CD56192ED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09722" y="3999903"/>
              <a:ext cx="124103" cy="124103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37" name="Rectangle 333">
              <a:extLst>
                <a:ext uri="{FF2B5EF4-FFF2-40B4-BE49-F238E27FC236}">
                  <a16:creationId xmlns:a16="http://schemas.microsoft.com/office/drawing/2014/main" id="{A1634359-CA11-4321-89F7-A1A85DEE98D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639125" y="1968403"/>
              <a:ext cx="124103" cy="124103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  <p:sp>
          <p:nvSpPr>
            <p:cNvPr id="438" name="Rectangle 334">
              <a:extLst>
                <a:ext uri="{FF2B5EF4-FFF2-40B4-BE49-F238E27FC236}">
                  <a16:creationId xmlns:a16="http://schemas.microsoft.com/office/drawing/2014/main" id="{E8783774-510F-46D3-92FB-59878AE3F6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827181" y="3494586"/>
              <a:ext cx="124103" cy="124103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698" dirty="0">
                <a:latin typeface="+mj-lt"/>
              </a:endParaRPr>
            </a:p>
          </p:txBody>
        </p:sp>
      </p:grpSp>
      <p:grpSp>
        <p:nvGrpSpPr>
          <p:cNvPr id="439" name="Group 293">
            <a:extLst>
              <a:ext uri="{FF2B5EF4-FFF2-40B4-BE49-F238E27FC236}">
                <a16:creationId xmlns:a16="http://schemas.microsoft.com/office/drawing/2014/main" id="{F67C64AB-831F-49CC-8AFD-2130D0E7C4E4}"/>
              </a:ext>
            </a:extLst>
          </p:cNvPr>
          <p:cNvGrpSpPr/>
          <p:nvPr/>
        </p:nvGrpSpPr>
        <p:grpSpPr>
          <a:xfrm>
            <a:off x="2510009" y="2353983"/>
            <a:ext cx="2328175" cy="2122373"/>
            <a:chOff x="5760647" y="1984365"/>
            <a:chExt cx="3862181" cy="3520777"/>
          </a:xfrm>
        </p:grpSpPr>
        <p:sp>
          <p:nvSpPr>
            <p:cNvPr id="440" name="TextBox 445">
              <a:extLst>
                <a:ext uri="{FF2B5EF4-FFF2-40B4-BE49-F238E27FC236}">
                  <a16:creationId xmlns:a16="http://schemas.microsoft.com/office/drawing/2014/main" id="{49BCD01C-E32A-4048-BA32-E76069361CC7}"/>
                </a:ext>
              </a:extLst>
            </p:cNvPr>
            <p:cNvSpPr txBox="1"/>
            <p:nvPr/>
          </p:nvSpPr>
          <p:spPr bwMode="gray">
            <a:xfrm>
              <a:off x="7517247" y="1984365"/>
              <a:ext cx="729665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1" i="0" u="none" baseline="0">
                  <a:latin typeface="+mj-lt"/>
                </a:rPr>
                <a:t>NORVÈGE</a:t>
              </a:r>
            </a:p>
          </p:txBody>
        </p:sp>
        <p:sp>
          <p:nvSpPr>
            <p:cNvPr id="441" name="TextBox 451">
              <a:extLst>
                <a:ext uri="{FF2B5EF4-FFF2-40B4-BE49-F238E27FC236}">
                  <a16:creationId xmlns:a16="http://schemas.microsoft.com/office/drawing/2014/main" id="{C9801803-9C15-42A7-8079-BF58FC713597}"/>
                </a:ext>
              </a:extLst>
            </p:cNvPr>
            <p:cNvSpPr txBox="1"/>
            <p:nvPr/>
          </p:nvSpPr>
          <p:spPr bwMode="gray">
            <a:xfrm>
              <a:off x="6536064" y="2654404"/>
              <a:ext cx="651503" cy="306340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spcAft>
                  <a:spcPts val="436"/>
                </a:spcAft>
              </a:pPr>
              <a:r>
                <a:rPr lang="fr-FR" sz="600" b="1" i="0" u="none" baseline="0" dirty="0">
                  <a:latin typeface="+mj-lt"/>
                </a:rPr>
                <a:t>ROYAUME-</a:t>
              </a:r>
              <a:r>
                <a:rPr lang="fr-FR" sz="600" b="1" dirty="0">
                  <a:latin typeface="+mj-lt"/>
                </a:rPr>
                <a:t/>
              </a:r>
              <a:br>
                <a:rPr lang="fr-FR" sz="600" b="1" dirty="0">
                  <a:latin typeface="+mj-lt"/>
                </a:rPr>
              </a:br>
              <a:r>
                <a:rPr lang="fr-FR" sz="600" b="1" i="0" u="none" baseline="0" dirty="0">
                  <a:latin typeface="+mj-lt"/>
                </a:rPr>
                <a:t>UNI</a:t>
              </a:r>
            </a:p>
          </p:txBody>
        </p:sp>
        <p:sp>
          <p:nvSpPr>
            <p:cNvPr id="442" name="TextBox 453">
              <a:extLst>
                <a:ext uri="{FF2B5EF4-FFF2-40B4-BE49-F238E27FC236}">
                  <a16:creationId xmlns:a16="http://schemas.microsoft.com/office/drawing/2014/main" id="{CDE8D879-A708-4A97-B748-D967BC1DA0A8}"/>
                </a:ext>
              </a:extLst>
            </p:cNvPr>
            <p:cNvSpPr txBox="1"/>
            <p:nvPr/>
          </p:nvSpPr>
          <p:spPr bwMode="gray">
            <a:xfrm>
              <a:off x="7448560" y="2690116"/>
              <a:ext cx="822027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1" i="0" u="none" baseline="0">
                  <a:latin typeface="+mj-lt"/>
                </a:rPr>
                <a:t>DANEMARK</a:t>
              </a:r>
            </a:p>
          </p:txBody>
        </p:sp>
        <p:sp>
          <p:nvSpPr>
            <p:cNvPr id="443" name="TextBox 456">
              <a:extLst>
                <a:ext uri="{FF2B5EF4-FFF2-40B4-BE49-F238E27FC236}">
                  <a16:creationId xmlns:a16="http://schemas.microsoft.com/office/drawing/2014/main" id="{9AEDDD85-2E8B-4213-B40D-DF093368DE84}"/>
                </a:ext>
              </a:extLst>
            </p:cNvPr>
            <p:cNvSpPr txBox="1"/>
            <p:nvPr/>
          </p:nvSpPr>
          <p:spPr bwMode="gray">
            <a:xfrm>
              <a:off x="8698787" y="2913239"/>
              <a:ext cx="665011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1" i="0" u="none" baseline="0">
                  <a:latin typeface="+mj-lt"/>
                </a:rPr>
                <a:t>POLOGNE</a:t>
              </a:r>
            </a:p>
          </p:txBody>
        </p:sp>
        <p:sp>
          <p:nvSpPr>
            <p:cNvPr id="444" name="TextBox 457">
              <a:extLst>
                <a:ext uri="{FF2B5EF4-FFF2-40B4-BE49-F238E27FC236}">
                  <a16:creationId xmlns:a16="http://schemas.microsoft.com/office/drawing/2014/main" id="{6264FBDC-7BC4-4528-9FE9-363DEA9A214A}"/>
                </a:ext>
              </a:extLst>
            </p:cNvPr>
            <p:cNvSpPr txBox="1"/>
            <p:nvPr/>
          </p:nvSpPr>
          <p:spPr bwMode="gray">
            <a:xfrm>
              <a:off x="8309656" y="3654161"/>
              <a:ext cx="1119524" cy="14040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500" b="1" i="0" u="none" baseline="0" dirty="0">
                  <a:latin typeface="+mj-lt"/>
                </a:rPr>
                <a:t>RÉPUBLIQUE TCHÈQUE</a:t>
              </a:r>
            </a:p>
          </p:txBody>
        </p:sp>
        <p:sp>
          <p:nvSpPr>
            <p:cNvPr id="445" name="TextBox 458">
              <a:extLst>
                <a:ext uri="{FF2B5EF4-FFF2-40B4-BE49-F238E27FC236}">
                  <a16:creationId xmlns:a16="http://schemas.microsoft.com/office/drawing/2014/main" id="{A6A510D3-1BDC-45DF-AA14-0F6DE91011AF}"/>
                </a:ext>
              </a:extLst>
            </p:cNvPr>
            <p:cNvSpPr txBox="1"/>
            <p:nvPr/>
          </p:nvSpPr>
          <p:spPr bwMode="gray">
            <a:xfrm>
              <a:off x="6228188" y="5341760"/>
              <a:ext cx="558435" cy="16338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00" b="1" i="0" u="none" baseline="0" dirty="0">
                  <a:latin typeface="+mj-lt"/>
                </a:rPr>
                <a:t>ESPAGNE</a:t>
              </a:r>
            </a:p>
          </p:txBody>
        </p:sp>
        <p:sp>
          <p:nvSpPr>
            <p:cNvPr id="446" name="TextBox 459">
              <a:extLst>
                <a:ext uri="{FF2B5EF4-FFF2-40B4-BE49-F238E27FC236}">
                  <a16:creationId xmlns:a16="http://schemas.microsoft.com/office/drawing/2014/main" id="{F0318AB2-E0B7-40F0-9129-B7F8606D830B}"/>
                </a:ext>
              </a:extLst>
            </p:cNvPr>
            <p:cNvSpPr txBox="1"/>
            <p:nvPr/>
          </p:nvSpPr>
          <p:spPr bwMode="gray">
            <a:xfrm>
              <a:off x="8127665" y="4062482"/>
              <a:ext cx="701956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1" i="0" u="none" baseline="0">
                  <a:latin typeface="+mj-lt"/>
                </a:rPr>
                <a:t>AUTRICHE</a:t>
              </a:r>
            </a:p>
          </p:txBody>
        </p:sp>
        <p:sp>
          <p:nvSpPr>
            <p:cNvPr id="447" name="TextBox 460">
              <a:extLst>
                <a:ext uri="{FF2B5EF4-FFF2-40B4-BE49-F238E27FC236}">
                  <a16:creationId xmlns:a16="http://schemas.microsoft.com/office/drawing/2014/main" id="{6CCF34C6-AFB7-4C23-B09D-2EC507D3B9B2}"/>
                </a:ext>
              </a:extLst>
            </p:cNvPr>
            <p:cNvSpPr txBox="1"/>
            <p:nvPr/>
          </p:nvSpPr>
          <p:spPr bwMode="gray">
            <a:xfrm>
              <a:off x="8819273" y="3898146"/>
              <a:ext cx="803555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1" i="0" u="none" baseline="0">
                  <a:latin typeface="+mj-lt"/>
                </a:rPr>
                <a:t>HONGRIE</a:t>
              </a:r>
            </a:p>
          </p:txBody>
        </p:sp>
        <p:sp>
          <p:nvSpPr>
            <p:cNvPr id="448" name="TextBox 464">
              <a:extLst>
                <a:ext uri="{FF2B5EF4-FFF2-40B4-BE49-F238E27FC236}">
                  <a16:creationId xmlns:a16="http://schemas.microsoft.com/office/drawing/2014/main" id="{A2C347EA-B125-4697-9074-2811B23A719D}"/>
                </a:ext>
              </a:extLst>
            </p:cNvPr>
            <p:cNvSpPr txBox="1"/>
            <p:nvPr/>
          </p:nvSpPr>
          <p:spPr bwMode="gray">
            <a:xfrm>
              <a:off x="8186718" y="4799919"/>
              <a:ext cx="458735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1" i="0" u="none" baseline="0">
                  <a:latin typeface="+mj-lt"/>
                </a:rPr>
                <a:t>ITALIE</a:t>
              </a:r>
            </a:p>
          </p:txBody>
        </p:sp>
        <p:sp>
          <p:nvSpPr>
            <p:cNvPr id="449" name="TextBox 487">
              <a:extLst>
                <a:ext uri="{FF2B5EF4-FFF2-40B4-BE49-F238E27FC236}">
                  <a16:creationId xmlns:a16="http://schemas.microsoft.com/office/drawing/2014/main" id="{7385902B-4A2E-443A-8C87-0C5D0FD14875}"/>
                </a:ext>
              </a:extLst>
            </p:cNvPr>
            <p:cNvSpPr txBox="1"/>
            <p:nvPr/>
          </p:nvSpPr>
          <p:spPr bwMode="gray">
            <a:xfrm>
              <a:off x="7480287" y="3666962"/>
              <a:ext cx="731281" cy="16338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00" b="1" i="0" u="none" baseline="0" dirty="0">
                  <a:latin typeface="+mj-lt"/>
                </a:rPr>
                <a:t>ALLEMAGNE</a:t>
              </a:r>
            </a:p>
          </p:txBody>
        </p:sp>
        <p:sp>
          <p:nvSpPr>
            <p:cNvPr id="450" name="TextBox 489">
              <a:extLst>
                <a:ext uri="{FF2B5EF4-FFF2-40B4-BE49-F238E27FC236}">
                  <a16:creationId xmlns:a16="http://schemas.microsoft.com/office/drawing/2014/main" id="{000584A6-0044-4956-ADED-8CFBF759F785}"/>
                </a:ext>
              </a:extLst>
            </p:cNvPr>
            <p:cNvSpPr txBox="1"/>
            <p:nvPr/>
          </p:nvSpPr>
          <p:spPr bwMode="gray">
            <a:xfrm>
              <a:off x="5760647" y="2850238"/>
              <a:ext cx="701956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1" i="0" u="none" baseline="0">
                  <a:latin typeface="+mj-lt"/>
                </a:rPr>
                <a:t>IRLANDE</a:t>
              </a:r>
            </a:p>
          </p:txBody>
        </p:sp>
        <p:sp>
          <p:nvSpPr>
            <p:cNvPr id="451" name="TextBox 493">
              <a:extLst>
                <a:ext uri="{FF2B5EF4-FFF2-40B4-BE49-F238E27FC236}">
                  <a16:creationId xmlns:a16="http://schemas.microsoft.com/office/drawing/2014/main" id="{434792AB-3076-44D3-8C44-23ED8E8E294A}"/>
                </a:ext>
              </a:extLst>
            </p:cNvPr>
            <p:cNvSpPr txBox="1"/>
            <p:nvPr/>
          </p:nvSpPr>
          <p:spPr bwMode="gray">
            <a:xfrm>
              <a:off x="6847917" y="4217205"/>
              <a:ext cx="640383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1" i="0" u="none" baseline="0">
                  <a:latin typeface="+mj-lt"/>
                </a:rPr>
                <a:t>FRANCE</a:t>
              </a:r>
            </a:p>
          </p:txBody>
        </p:sp>
      </p:grpSp>
      <p:grpSp>
        <p:nvGrpSpPr>
          <p:cNvPr id="452" name="Group 294">
            <a:extLst>
              <a:ext uri="{FF2B5EF4-FFF2-40B4-BE49-F238E27FC236}">
                <a16:creationId xmlns:a16="http://schemas.microsoft.com/office/drawing/2014/main" id="{13012D71-21CF-4280-B309-E399C644BCC6}"/>
              </a:ext>
            </a:extLst>
          </p:cNvPr>
          <p:cNvGrpSpPr/>
          <p:nvPr/>
        </p:nvGrpSpPr>
        <p:grpSpPr>
          <a:xfrm>
            <a:off x="2445580" y="2090145"/>
            <a:ext cx="3235638" cy="2551359"/>
            <a:chOff x="5653761" y="1546687"/>
            <a:chExt cx="5367562" cy="4232418"/>
          </a:xfrm>
        </p:grpSpPr>
        <p:sp>
          <p:nvSpPr>
            <p:cNvPr id="453" name="TextBox 446">
              <a:extLst>
                <a:ext uri="{FF2B5EF4-FFF2-40B4-BE49-F238E27FC236}">
                  <a16:creationId xmlns:a16="http://schemas.microsoft.com/office/drawing/2014/main" id="{F21FD3EC-4D87-4E92-9D56-AEA771C9C132}"/>
                </a:ext>
              </a:extLst>
            </p:cNvPr>
            <p:cNvSpPr txBox="1"/>
            <p:nvPr/>
          </p:nvSpPr>
          <p:spPr bwMode="gray">
            <a:xfrm>
              <a:off x="8469710" y="2111983"/>
              <a:ext cx="800476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Stockholm</a:t>
              </a:r>
            </a:p>
          </p:txBody>
        </p:sp>
        <p:sp>
          <p:nvSpPr>
            <p:cNvPr id="454" name="TextBox 447">
              <a:extLst>
                <a:ext uri="{FF2B5EF4-FFF2-40B4-BE49-F238E27FC236}">
                  <a16:creationId xmlns:a16="http://schemas.microsoft.com/office/drawing/2014/main" id="{41D1A97E-81CB-418F-8DC3-343BD770EF11}"/>
                </a:ext>
              </a:extLst>
            </p:cNvPr>
            <p:cNvSpPr txBox="1"/>
            <p:nvPr/>
          </p:nvSpPr>
          <p:spPr bwMode="gray">
            <a:xfrm>
              <a:off x="8045596" y="1692525"/>
              <a:ext cx="332505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Oslo</a:t>
              </a:r>
            </a:p>
          </p:txBody>
        </p:sp>
        <p:sp>
          <p:nvSpPr>
            <p:cNvPr id="455" name="TextBox 448">
              <a:extLst>
                <a:ext uri="{FF2B5EF4-FFF2-40B4-BE49-F238E27FC236}">
                  <a16:creationId xmlns:a16="http://schemas.microsoft.com/office/drawing/2014/main" id="{5A9C7B52-0660-43CC-A898-5CA62CA9496B}"/>
                </a:ext>
              </a:extLst>
            </p:cNvPr>
            <p:cNvSpPr txBox="1"/>
            <p:nvPr/>
          </p:nvSpPr>
          <p:spPr bwMode="gray">
            <a:xfrm>
              <a:off x="8949972" y="1546687"/>
              <a:ext cx="600358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Helsinki</a:t>
              </a:r>
            </a:p>
          </p:txBody>
        </p:sp>
        <p:sp>
          <p:nvSpPr>
            <p:cNvPr id="456" name="TextBox 449">
              <a:extLst>
                <a:ext uri="{FF2B5EF4-FFF2-40B4-BE49-F238E27FC236}">
                  <a16:creationId xmlns:a16="http://schemas.microsoft.com/office/drawing/2014/main" id="{82832AB4-FB8A-43F9-A432-0717F3A6A2A3}"/>
                </a:ext>
              </a:extLst>
            </p:cNvPr>
            <p:cNvSpPr txBox="1"/>
            <p:nvPr/>
          </p:nvSpPr>
          <p:spPr bwMode="gray">
            <a:xfrm>
              <a:off x="9301646" y="1581738"/>
              <a:ext cx="831266" cy="41255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Saint</a:t>
              </a:r>
              <a:r>
                <a:rPr lang="fr-FR" sz="698" b="1" i="0" u="none" baseline="0">
                  <a:latin typeface="+mj-lt"/>
                </a:rPr>
                <a:t> </a:t>
              </a:r>
              <a:r>
                <a:rPr lang="fr-FR" sz="698" b="1">
                  <a:latin typeface="+mj-lt"/>
                </a:rPr>
                <a:t/>
              </a:r>
              <a:br>
                <a:rPr lang="fr-FR" sz="698" b="1">
                  <a:latin typeface="+mj-lt"/>
                </a:rPr>
              </a:br>
              <a:r>
                <a:rPr lang="fr-FR" sz="698" b="0" i="0" u="none" baseline="0">
                  <a:latin typeface="+mj-lt"/>
                </a:rPr>
                <a:t>Pétersbourg</a:t>
              </a:r>
            </a:p>
          </p:txBody>
        </p:sp>
        <p:sp>
          <p:nvSpPr>
            <p:cNvPr id="457" name="TextBox 450">
              <a:extLst>
                <a:ext uri="{FF2B5EF4-FFF2-40B4-BE49-F238E27FC236}">
                  <a16:creationId xmlns:a16="http://schemas.microsoft.com/office/drawing/2014/main" id="{C1F3A85C-E8D3-4119-806D-AD63D56001B0}"/>
                </a:ext>
              </a:extLst>
            </p:cNvPr>
            <p:cNvSpPr txBox="1"/>
            <p:nvPr/>
          </p:nvSpPr>
          <p:spPr bwMode="gray">
            <a:xfrm>
              <a:off x="10402493" y="2054206"/>
              <a:ext cx="618830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Moscou</a:t>
              </a:r>
            </a:p>
          </p:txBody>
        </p:sp>
        <p:sp>
          <p:nvSpPr>
            <p:cNvPr id="458" name="TextBox 454">
              <a:extLst>
                <a:ext uri="{FF2B5EF4-FFF2-40B4-BE49-F238E27FC236}">
                  <a16:creationId xmlns:a16="http://schemas.microsoft.com/office/drawing/2014/main" id="{6FD6EBB4-47AB-46CF-A7C3-13D8B84CC9A5}"/>
                </a:ext>
              </a:extLst>
            </p:cNvPr>
            <p:cNvSpPr txBox="1"/>
            <p:nvPr/>
          </p:nvSpPr>
          <p:spPr bwMode="gray">
            <a:xfrm>
              <a:off x="6835018" y="3794775"/>
              <a:ext cx="372530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Paris</a:t>
              </a:r>
            </a:p>
          </p:txBody>
        </p:sp>
        <p:sp>
          <p:nvSpPr>
            <p:cNvPr id="459" name="TextBox 455">
              <a:extLst>
                <a:ext uri="{FF2B5EF4-FFF2-40B4-BE49-F238E27FC236}">
                  <a16:creationId xmlns:a16="http://schemas.microsoft.com/office/drawing/2014/main" id="{94FCD7EE-64EE-449A-9766-9D230D9D4902}"/>
                </a:ext>
              </a:extLst>
            </p:cNvPr>
            <p:cNvSpPr txBox="1"/>
            <p:nvPr/>
          </p:nvSpPr>
          <p:spPr bwMode="gray">
            <a:xfrm>
              <a:off x="8018575" y="4362073"/>
              <a:ext cx="415633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Milan</a:t>
              </a:r>
            </a:p>
          </p:txBody>
        </p:sp>
        <p:sp>
          <p:nvSpPr>
            <p:cNvPr id="460" name="TextBox 461">
              <a:extLst>
                <a:ext uri="{FF2B5EF4-FFF2-40B4-BE49-F238E27FC236}">
                  <a16:creationId xmlns:a16="http://schemas.microsoft.com/office/drawing/2014/main" id="{3A2B1720-E149-4EED-8B1A-2FBE93597F97}"/>
                </a:ext>
              </a:extLst>
            </p:cNvPr>
            <p:cNvSpPr txBox="1"/>
            <p:nvPr/>
          </p:nvSpPr>
          <p:spPr bwMode="gray">
            <a:xfrm>
              <a:off x="8465160" y="3763417"/>
              <a:ext cx="511072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Vienne</a:t>
              </a:r>
            </a:p>
          </p:txBody>
        </p:sp>
        <p:sp>
          <p:nvSpPr>
            <p:cNvPr id="461" name="TextBox 462">
              <a:extLst>
                <a:ext uri="{FF2B5EF4-FFF2-40B4-BE49-F238E27FC236}">
                  <a16:creationId xmlns:a16="http://schemas.microsoft.com/office/drawing/2014/main" id="{D11DC6F6-A732-41B1-B4C7-1A9ABE066A9F}"/>
                </a:ext>
              </a:extLst>
            </p:cNvPr>
            <p:cNvSpPr txBox="1"/>
            <p:nvPr/>
          </p:nvSpPr>
          <p:spPr bwMode="gray">
            <a:xfrm>
              <a:off x="8660644" y="4154118"/>
              <a:ext cx="705035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Budapest</a:t>
              </a:r>
            </a:p>
          </p:txBody>
        </p:sp>
        <p:sp>
          <p:nvSpPr>
            <p:cNvPr id="462" name="TextBox 465">
              <a:extLst>
                <a:ext uri="{FF2B5EF4-FFF2-40B4-BE49-F238E27FC236}">
                  <a16:creationId xmlns:a16="http://schemas.microsoft.com/office/drawing/2014/main" id="{2FA564E8-92D7-402C-946E-729FB4A04EF1}"/>
                </a:ext>
              </a:extLst>
            </p:cNvPr>
            <p:cNvSpPr txBox="1"/>
            <p:nvPr/>
          </p:nvSpPr>
          <p:spPr bwMode="gray">
            <a:xfrm>
              <a:off x="8492782" y="4956469"/>
              <a:ext cx="437184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Rome</a:t>
              </a:r>
            </a:p>
          </p:txBody>
        </p:sp>
        <p:sp>
          <p:nvSpPr>
            <p:cNvPr id="463" name="TextBox 466">
              <a:extLst>
                <a:ext uri="{FF2B5EF4-FFF2-40B4-BE49-F238E27FC236}">
                  <a16:creationId xmlns:a16="http://schemas.microsoft.com/office/drawing/2014/main" id="{680B65F2-8908-4FAE-84FB-4B9875FF93DA}"/>
                </a:ext>
              </a:extLst>
            </p:cNvPr>
            <p:cNvSpPr txBox="1"/>
            <p:nvPr/>
          </p:nvSpPr>
          <p:spPr bwMode="gray">
            <a:xfrm>
              <a:off x="6688126" y="5089026"/>
              <a:ext cx="748138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Barcelone</a:t>
              </a:r>
            </a:p>
          </p:txBody>
        </p:sp>
        <p:sp>
          <p:nvSpPr>
            <p:cNvPr id="464" name="TextBox 467">
              <a:extLst>
                <a:ext uri="{FF2B5EF4-FFF2-40B4-BE49-F238E27FC236}">
                  <a16:creationId xmlns:a16="http://schemas.microsoft.com/office/drawing/2014/main" id="{2770261F-BF0E-4D74-A51E-2663FBE9C835}"/>
                </a:ext>
              </a:extLst>
            </p:cNvPr>
            <p:cNvSpPr txBox="1"/>
            <p:nvPr/>
          </p:nvSpPr>
          <p:spPr bwMode="gray">
            <a:xfrm>
              <a:off x="5653761" y="5558913"/>
              <a:ext cx="492600" cy="22019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 dirty="0">
                  <a:latin typeface="+mj-lt"/>
                </a:rPr>
                <a:t>Lisbonne</a:t>
              </a:r>
            </a:p>
          </p:txBody>
        </p:sp>
        <p:sp>
          <p:nvSpPr>
            <p:cNvPr id="465" name="TextBox 468">
              <a:extLst>
                <a:ext uri="{FF2B5EF4-FFF2-40B4-BE49-F238E27FC236}">
                  <a16:creationId xmlns:a16="http://schemas.microsoft.com/office/drawing/2014/main" id="{EBFE7FC9-DD69-4A4B-B495-36BD599A27DF}"/>
                </a:ext>
              </a:extLst>
            </p:cNvPr>
            <p:cNvSpPr txBox="1"/>
            <p:nvPr/>
          </p:nvSpPr>
          <p:spPr bwMode="gray">
            <a:xfrm>
              <a:off x="6131623" y="5143762"/>
              <a:ext cx="529548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Madrid</a:t>
              </a:r>
            </a:p>
          </p:txBody>
        </p:sp>
        <p:sp>
          <p:nvSpPr>
            <p:cNvPr id="466" name="TextBox 480">
              <a:extLst>
                <a:ext uri="{FF2B5EF4-FFF2-40B4-BE49-F238E27FC236}">
                  <a16:creationId xmlns:a16="http://schemas.microsoft.com/office/drawing/2014/main" id="{2DB22D61-9A0E-40C0-937D-888D5B17C08F}"/>
                </a:ext>
              </a:extLst>
            </p:cNvPr>
            <p:cNvSpPr txBox="1"/>
            <p:nvPr/>
          </p:nvSpPr>
          <p:spPr bwMode="gray">
            <a:xfrm>
              <a:off x="7576572" y="3317158"/>
              <a:ext cx="612673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Cologne</a:t>
              </a:r>
            </a:p>
          </p:txBody>
        </p:sp>
        <p:sp>
          <p:nvSpPr>
            <p:cNvPr id="467" name="TextBox 481">
              <a:extLst>
                <a:ext uri="{FF2B5EF4-FFF2-40B4-BE49-F238E27FC236}">
                  <a16:creationId xmlns:a16="http://schemas.microsoft.com/office/drawing/2014/main" id="{6A864E51-47CC-4AE2-96D1-DFA80970F997}"/>
                </a:ext>
              </a:extLst>
            </p:cNvPr>
            <p:cNvSpPr txBox="1"/>
            <p:nvPr/>
          </p:nvSpPr>
          <p:spPr bwMode="gray">
            <a:xfrm>
              <a:off x="7073970" y="3117766"/>
              <a:ext cx="877445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Amsterdam</a:t>
              </a:r>
            </a:p>
          </p:txBody>
        </p:sp>
        <p:sp>
          <p:nvSpPr>
            <p:cNvPr id="468" name="TextBox 494">
              <a:extLst>
                <a:ext uri="{FF2B5EF4-FFF2-40B4-BE49-F238E27FC236}">
                  <a16:creationId xmlns:a16="http://schemas.microsoft.com/office/drawing/2014/main" id="{DB14E243-C070-49C1-AE67-758E0CD344DA}"/>
                </a:ext>
              </a:extLst>
            </p:cNvPr>
            <p:cNvSpPr txBox="1"/>
            <p:nvPr/>
          </p:nvSpPr>
          <p:spPr bwMode="gray">
            <a:xfrm>
              <a:off x="8056228" y="2975773"/>
              <a:ext cx="446420" cy="2201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ct val="110000"/>
                </a:lnSpc>
                <a:spcAft>
                  <a:spcPts val="436"/>
                </a:spcAft>
              </a:pPr>
              <a:r>
                <a:rPr lang="fr-FR" sz="698" b="0" i="0" u="none" baseline="0">
                  <a:latin typeface="+mj-lt"/>
                </a:rPr>
                <a:t>Berlin</a:t>
              </a:r>
            </a:p>
          </p:txBody>
        </p:sp>
      </p:grpSp>
      <p:grpSp>
        <p:nvGrpSpPr>
          <p:cNvPr id="469" name="Gruppieren 468">
            <a:extLst>
              <a:ext uri="{FF2B5EF4-FFF2-40B4-BE49-F238E27FC236}">
                <a16:creationId xmlns:a16="http://schemas.microsoft.com/office/drawing/2014/main" id="{8684215F-AE9F-43E4-B5A7-1339BF53FE1B}"/>
              </a:ext>
            </a:extLst>
          </p:cNvPr>
          <p:cNvGrpSpPr/>
          <p:nvPr/>
        </p:nvGrpSpPr>
        <p:grpSpPr>
          <a:xfrm>
            <a:off x="315668" y="3989030"/>
            <a:ext cx="1342515" cy="363221"/>
            <a:chOff x="3895685" y="3883679"/>
            <a:chExt cx="1159567" cy="313724"/>
          </a:xfrm>
        </p:grpSpPr>
        <p:sp>
          <p:nvSpPr>
            <p:cNvPr id="471" name="TextBox 1588">
              <a:extLst>
                <a:ext uri="{FF2B5EF4-FFF2-40B4-BE49-F238E27FC236}">
                  <a16:creationId xmlns:a16="http://schemas.microsoft.com/office/drawing/2014/main" id="{6BC9B6F8-5E2A-46F8-8B4B-C01479A277AD}"/>
                </a:ext>
              </a:extLst>
            </p:cNvPr>
            <p:cNvSpPr txBox="1"/>
            <p:nvPr/>
          </p:nvSpPr>
          <p:spPr bwMode="gray">
            <a:xfrm>
              <a:off x="4005403" y="3883679"/>
              <a:ext cx="714939" cy="126958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r>
                <a:rPr lang="fr-FR" sz="825" b="0" i="0" u="none" baseline="0" dirty="0">
                  <a:latin typeface="+mj-lt"/>
                  <a:cs typeface="Delivery Arabic" panose="020F0503020204020204" pitchFamily="34" charset="-78"/>
                </a:rPr>
                <a:t>30 centres EFN</a:t>
              </a:r>
            </a:p>
          </p:txBody>
        </p:sp>
        <p:sp>
          <p:nvSpPr>
            <p:cNvPr id="472" name="TextBox 1587">
              <a:extLst>
                <a:ext uri="{FF2B5EF4-FFF2-40B4-BE49-F238E27FC236}">
                  <a16:creationId xmlns:a16="http://schemas.microsoft.com/office/drawing/2014/main" id="{E61A89D1-9044-40D9-BE21-3AFAD850509B}"/>
                </a:ext>
              </a:extLst>
            </p:cNvPr>
            <p:cNvSpPr txBox="1"/>
            <p:nvPr/>
          </p:nvSpPr>
          <p:spPr bwMode="gray">
            <a:xfrm>
              <a:off x="4005403" y="4087746"/>
              <a:ext cx="1049849" cy="10965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r>
                <a:rPr lang="fr-FR" sz="825" b="0" i="0" u="none" baseline="0">
                  <a:latin typeface="+mj-lt"/>
                  <a:cs typeface="Delivery Arabic" panose="020F0503020204020204" pitchFamily="34" charset="-78"/>
                </a:rPr>
                <a:t>Zones à forte demande</a:t>
              </a:r>
            </a:p>
          </p:txBody>
        </p:sp>
        <p:sp>
          <p:nvSpPr>
            <p:cNvPr id="473" name="Rectangle 298">
              <a:extLst>
                <a:ext uri="{FF2B5EF4-FFF2-40B4-BE49-F238E27FC236}">
                  <a16:creationId xmlns:a16="http://schemas.microsoft.com/office/drawing/2014/main" id="{F1D54DA3-207F-4A3E-8421-F75E809BE2C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905242" y="3918142"/>
              <a:ext cx="60595" cy="60595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872" dirty="0">
                <a:latin typeface="+mj-lt"/>
              </a:endParaRPr>
            </a:p>
          </p:txBody>
        </p:sp>
        <p:sp>
          <p:nvSpPr>
            <p:cNvPr id="474" name="Oval 299">
              <a:extLst>
                <a:ext uri="{FF2B5EF4-FFF2-40B4-BE49-F238E27FC236}">
                  <a16:creationId xmlns:a16="http://schemas.microsoft.com/office/drawing/2014/main" id="{F1F6A6A7-1454-4C47-878B-5EC6D2236A7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895685" y="4102179"/>
              <a:ext cx="80792" cy="80792"/>
            </a:xfrm>
            <a:prstGeom prst="ellipse">
              <a:avLst/>
            </a:prstGeom>
            <a:solidFill>
              <a:srgbClr val="CCCCCC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2783" tIns="31392" rIns="31392" bIns="31392" numCol="1" rtlCol="0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867982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21" dirty="0">
                <a:latin typeface="+mj-lt"/>
              </a:endParaRPr>
            </a:p>
          </p:txBody>
        </p:sp>
      </p:grpSp>
      <p:sp>
        <p:nvSpPr>
          <p:cNvPr id="475" name="Oval 6">
            <a:extLst>
              <a:ext uri="{FF2B5EF4-FFF2-40B4-BE49-F238E27FC236}">
                <a16:creationId xmlns:a16="http://schemas.microsoft.com/office/drawing/2014/main" id="{9D6B41B6-A912-4834-AC0D-DBD77A115D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686" y="2169501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476" name="Freeform 5">
            <a:extLst>
              <a:ext uri="{FF2B5EF4-FFF2-40B4-BE49-F238E27FC236}">
                <a16:creationId xmlns:a16="http://schemas.microsoft.com/office/drawing/2014/main" id="{20520ED0-4E01-4F10-ABAE-EFD9F3CAC3A1}"/>
              </a:ext>
            </a:extLst>
          </p:cNvPr>
          <p:cNvSpPr>
            <a:spLocks noEditPoints="1"/>
          </p:cNvSpPr>
          <p:nvPr/>
        </p:nvSpPr>
        <p:spPr bwMode="auto">
          <a:xfrm>
            <a:off x="7121380" y="2396402"/>
            <a:ext cx="360612" cy="266199"/>
          </a:xfrm>
          <a:custGeom>
            <a:avLst/>
            <a:gdLst>
              <a:gd name="T0" fmla="*/ 76 w 630"/>
              <a:gd name="T1" fmla="*/ 249 h 468"/>
              <a:gd name="T2" fmla="*/ 171 w 630"/>
              <a:gd name="T3" fmla="*/ 249 h 468"/>
              <a:gd name="T4" fmla="*/ 171 w 630"/>
              <a:gd name="T5" fmla="*/ 290 h 468"/>
              <a:gd name="T6" fmla="*/ 76 w 630"/>
              <a:gd name="T7" fmla="*/ 290 h 468"/>
              <a:gd name="T8" fmla="*/ 76 w 630"/>
              <a:gd name="T9" fmla="*/ 249 h 468"/>
              <a:gd name="T10" fmla="*/ 200 w 630"/>
              <a:gd name="T11" fmla="*/ 249 h 468"/>
              <a:gd name="T12" fmla="*/ 293 w 630"/>
              <a:gd name="T13" fmla="*/ 249 h 468"/>
              <a:gd name="T14" fmla="*/ 293 w 630"/>
              <a:gd name="T15" fmla="*/ 290 h 468"/>
              <a:gd name="T16" fmla="*/ 200 w 630"/>
              <a:gd name="T17" fmla="*/ 290 h 468"/>
              <a:gd name="T18" fmla="*/ 200 w 630"/>
              <a:gd name="T19" fmla="*/ 249 h 468"/>
              <a:gd name="T20" fmla="*/ 322 w 630"/>
              <a:gd name="T21" fmla="*/ 249 h 468"/>
              <a:gd name="T22" fmla="*/ 417 w 630"/>
              <a:gd name="T23" fmla="*/ 249 h 468"/>
              <a:gd name="T24" fmla="*/ 417 w 630"/>
              <a:gd name="T25" fmla="*/ 290 h 468"/>
              <a:gd name="T26" fmla="*/ 322 w 630"/>
              <a:gd name="T27" fmla="*/ 290 h 468"/>
              <a:gd name="T28" fmla="*/ 322 w 630"/>
              <a:gd name="T29" fmla="*/ 249 h 468"/>
              <a:gd name="T30" fmla="*/ 446 w 630"/>
              <a:gd name="T31" fmla="*/ 249 h 468"/>
              <a:gd name="T32" fmla="*/ 539 w 630"/>
              <a:gd name="T33" fmla="*/ 249 h 468"/>
              <a:gd name="T34" fmla="*/ 539 w 630"/>
              <a:gd name="T35" fmla="*/ 290 h 468"/>
              <a:gd name="T36" fmla="*/ 446 w 630"/>
              <a:gd name="T37" fmla="*/ 290 h 468"/>
              <a:gd name="T38" fmla="*/ 446 w 630"/>
              <a:gd name="T39" fmla="*/ 249 h 468"/>
              <a:gd name="T40" fmla="*/ 315 w 630"/>
              <a:gd name="T41" fmla="*/ 0 h 468"/>
              <a:gd name="T42" fmla="*/ 0 w 630"/>
              <a:gd name="T43" fmla="*/ 124 h 468"/>
              <a:gd name="T44" fmla="*/ 0 w 630"/>
              <a:gd name="T45" fmla="*/ 177 h 468"/>
              <a:gd name="T46" fmla="*/ 45 w 630"/>
              <a:gd name="T47" fmla="*/ 180 h 468"/>
              <a:gd name="T48" fmla="*/ 45 w 630"/>
              <a:gd name="T49" fmla="*/ 465 h 468"/>
              <a:gd name="T50" fmla="*/ 312 w 630"/>
              <a:gd name="T51" fmla="*/ 465 h 468"/>
              <a:gd name="T52" fmla="*/ 312 w 630"/>
              <a:gd name="T53" fmla="*/ 367 h 468"/>
              <a:gd name="T54" fmla="*/ 536 w 630"/>
              <a:gd name="T55" fmla="*/ 367 h 468"/>
              <a:gd name="T56" fmla="*/ 536 w 630"/>
              <a:gd name="T57" fmla="*/ 468 h 468"/>
              <a:gd name="T58" fmla="*/ 584 w 630"/>
              <a:gd name="T59" fmla="*/ 468 h 468"/>
              <a:gd name="T60" fmla="*/ 584 w 630"/>
              <a:gd name="T61" fmla="*/ 177 h 468"/>
              <a:gd name="T62" fmla="*/ 630 w 630"/>
              <a:gd name="T63" fmla="*/ 177 h 468"/>
              <a:gd name="T64" fmla="*/ 630 w 630"/>
              <a:gd name="T65" fmla="*/ 127 h 468"/>
              <a:gd name="T66" fmla="*/ 315 w 630"/>
              <a:gd name="T67" fmla="*/ 0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30" h="468">
                <a:moveTo>
                  <a:pt x="76" y="249"/>
                </a:moveTo>
                <a:lnTo>
                  <a:pt x="171" y="249"/>
                </a:lnTo>
                <a:lnTo>
                  <a:pt x="171" y="290"/>
                </a:lnTo>
                <a:lnTo>
                  <a:pt x="76" y="290"/>
                </a:lnTo>
                <a:lnTo>
                  <a:pt x="76" y="249"/>
                </a:lnTo>
                <a:close/>
                <a:moveTo>
                  <a:pt x="200" y="249"/>
                </a:moveTo>
                <a:lnTo>
                  <a:pt x="293" y="249"/>
                </a:lnTo>
                <a:lnTo>
                  <a:pt x="293" y="290"/>
                </a:lnTo>
                <a:lnTo>
                  <a:pt x="200" y="290"/>
                </a:lnTo>
                <a:lnTo>
                  <a:pt x="200" y="249"/>
                </a:lnTo>
                <a:close/>
                <a:moveTo>
                  <a:pt x="322" y="249"/>
                </a:moveTo>
                <a:lnTo>
                  <a:pt x="417" y="249"/>
                </a:lnTo>
                <a:lnTo>
                  <a:pt x="417" y="290"/>
                </a:lnTo>
                <a:lnTo>
                  <a:pt x="322" y="290"/>
                </a:lnTo>
                <a:lnTo>
                  <a:pt x="322" y="249"/>
                </a:lnTo>
                <a:close/>
                <a:moveTo>
                  <a:pt x="446" y="249"/>
                </a:moveTo>
                <a:lnTo>
                  <a:pt x="539" y="249"/>
                </a:lnTo>
                <a:lnTo>
                  <a:pt x="539" y="290"/>
                </a:lnTo>
                <a:lnTo>
                  <a:pt x="446" y="290"/>
                </a:lnTo>
                <a:lnTo>
                  <a:pt x="446" y="249"/>
                </a:lnTo>
                <a:close/>
                <a:moveTo>
                  <a:pt x="315" y="0"/>
                </a:moveTo>
                <a:lnTo>
                  <a:pt x="0" y="124"/>
                </a:lnTo>
                <a:lnTo>
                  <a:pt x="0" y="177"/>
                </a:lnTo>
                <a:lnTo>
                  <a:pt x="45" y="180"/>
                </a:lnTo>
                <a:lnTo>
                  <a:pt x="45" y="465"/>
                </a:lnTo>
                <a:lnTo>
                  <a:pt x="312" y="465"/>
                </a:lnTo>
                <a:lnTo>
                  <a:pt x="312" y="367"/>
                </a:lnTo>
                <a:lnTo>
                  <a:pt x="536" y="367"/>
                </a:lnTo>
                <a:lnTo>
                  <a:pt x="536" y="468"/>
                </a:lnTo>
                <a:lnTo>
                  <a:pt x="584" y="468"/>
                </a:lnTo>
                <a:lnTo>
                  <a:pt x="584" y="177"/>
                </a:lnTo>
                <a:lnTo>
                  <a:pt x="630" y="177"/>
                </a:lnTo>
                <a:lnTo>
                  <a:pt x="630" y="127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478" name="Oval 7">
            <a:extLst>
              <a:ext uri="{FF2B5EF4-FFF2-40B4-BE49-F238E27FC236}">
                <a16:creationId xmlns:a16="http://schemas.microsoft.com/office/drawing/2014/main" id="{EF383517-D7D7-4260-B8A1-882A8D36A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7985" y="2909129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479" name="Gruppieren 478">
            <a:extLst>
              <a:ext uri="{FF2B5EF4-FFF2-40B4-BE49-F238E27FC236}">
                <a16:creationId xmlns:a16="http://schemas.microsoft.com/office/drawing/2014/main" id="{A32FE894-04B2-4452-A315-36FC503D2BAE}"/>
              </a:ext>
            </a:extLst>
          </p:cNvPr>
          <p:cNvGrpSpPr/>
          <p:nvPr/>
        </p:nvGrpSpPr>
        <p:grpSpPr>
          <a:xfrm>
            <a:off x="8028031" y="3159718"/>
            <a:ext cx="549989" cy="218821"/>
            <a:chOff x="1455282" y="1844935"/>
            <a:chExt cx="1203137" cy="481714"/>
          </a:xfrm>
          <a:solidFill>
            <a:schemeClr val="accent3"/>
          </a:solidFill>
        </p:grpSpPr>
        <p:grpSp>
          <p:nvGrpSpPr>
            <p:cNvPr id="480" name="Group 337954">
              <a:extLst>
                <a:ext uri="{FF2B5EF4-FFF2-40B4-BE49-F238E27FC236}">
                  <a16:creationId xmlns:a16="http://schemas.microsoft.com/office/drawing/2014/main" id="{236C0A1B-29D6-43D2-8B93-3C0309D846BF}"/>
                </a:ext>
              </a:extLst>
            </p:cNvPr>
            <p:cNvGrpSpPr/>
            <p:nvPr/>
          </p:nvGrpSpPr>
          <p:grpSpPr>
            <a:xfrm>
              <a:off x="1777943" y="1844935"/>
              <a:ext cx="880476" cy="481714"/>
              <a:chOff x="-1220788" y="1668463"/>
              <a:chExt cx="960438" cy="525462"/>
            </a:xfrm>
            <a:grpFill/>
          </p:grpSpPr>
          <p:sp>
            <p:nvSpPr>
              <p:cNvPr id="482" name="Freeform 55">
                <a:extLst>
                  <a:ext uri="{FF2B5EF4-FFF2-40B4-BE49-F238E27FC236}">
                    <a16:creationId xmlns:a16="http://schemas.microsoft.com/office/drawing/2014/main" id="{8A025B80-E34C-440A-BFBC-DFE47A938D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160463" y="2001838"/>
                <a:ext cx="184150" cy="192087"/>
              </a:xfrm>
              <a:custGeom>
                <a:avLst/>
                <a:gdLst>
                  <a:gd name="T0" fmla="*/ 49 w 49"/>
                  <a:gd name="T1" fmla="*/ 25 h 51"/>
                  <a:gd name="T2" fmla="*/ 25 w 49"/>
                  <a:gd name="T3" fmla="*/ 0 h 51"/>
                  <a:gd name="T4" fmla="*/ 0 w 49"/>
                  <a:gd name="T5" fmla="*/ 25 h 51"/>
                  <a:gd name="T6" fmla="*/ 25 w 49"/>
                  <a:gd name="T7" fmla="*/ 51 h 51"/>
                  <a:gd name="T8" fmla="*/ 49 w 49"/>
                  <a:gd name="T9" fmla="*/ 25 h 51"/>
                  <a:gd name="T10" fmla="*/ 36 w 49"/>
                  <a:gd name="T11" fmla="*/ 25 h 51"/>
                  <a:gd name="T12" fmla="*/ 25 w 49"/>
                  <a:gd name="T13" fmla="*/ 37 h 51"/>
                  <a:gd name="T14" fmla="*/ 15 w 49"/>
                  <a:gd name="T15" fmla="*/ 25 h 51"/>
                  <a:gd name="T16" fmla="*/ 25 w 49"/>
                  <a:gd name="T17" fmla="*/ 14 h 51"/>
                  <a:gd name="T18" fmla="*/ 36 w 49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51">
                    <a:moveTo>
                      <a:pt x="49" y="25"/>
                    </a:moveTo>
                    <a:cubicBezTo>
                      <a:pt x="49" y="12"/>
                      <a:pt x="38" y="0"/>
                      <a:pt x="25" y="0"/>
                    </a:cubicBezTo>
                    <a:cubicBezTo>
                      <a:pt x="12" y="0"/>
                      <a:pt x="0" y="12"/>
                      <a:pt x="0" y="25"/>
                    </a:cubicBezTo>
                    <a:cubicBezTo>
                      <a:pt x="0" y="39"/>
                      <a:pt x="12" y="51"/>
                      <a:pt x="25" y="51"/>
                    </a:cubicBezTo>
                    <a:cubicBezTo>
                      <a:pt x="38" y="51"/>
                      <a:pt x="49" y="39"/>
                      <a:pt x="49" y="25"/>
                    </a:cubicBezTo>
                    <a:close/>
                    <a:moveTo>
                      <a:pt x="36" y="25"/>
                    </a:moveTo>
                    <a:cubicBezTo>
                      <a:pt x="36" y="32"/>
                      <a:pt x="31" y="37"/>
                      <a:pt x="25" y="37"/>
                    </a:cubicBezTo>
                    <a:cubicBezTo>
                      <a:pt x="19" y="37"/>
                      <a:pt x="15" y="32"/>
                      <a:pt x="15" y="25"/>
                    </a:cubicBezTo>
                    <a:cubicBezTo>
                      <a:pt x="15" y="19"/>
                      <a:pt x="19" y="14"/>
                      <a:pt x="25" y="14"/>
                    </a:cubicBezTo>
                    <a:cubicBezTo>
                      <a:pt x="31" y="14"/>
                      <a:pt x="36" y="19"/>
                      <a:pt x="36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3" name="Freeform 56">
                <a:extLst>
                  <a:ext uri="{FF2B5EF4-FFF2-40B4-BE49-F238E27FC236}">
                    <a16:creationId xmlns:a16="http://schemas.microsoft.com/office/drawing/2014/main" id="{10CC0140-B0BD-47F3-851F-6736D3B20F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19113" y="2001838"/>
                <a:ext cx="180975" cy="192087"/>
              </a:xfrm>
              <a:custGeom>
                <a:avLst/>
                <a:gdLst>
                  <a:gd name="T0" fmla="*/ 48 w 48"/>
                  <a:gd name="T1" fmla="*/ 25 h 51"/>
                  <a:gd name="T2" fmla="*/ 23 w 48"/>
                  <a:gd name="T3" fmla="*/ 0 h 51"/>
                  <a:gd name="T4" fmla="*/ 0 w 48"/>
                  <a:gd name="T5" fmla="*/ 25 h 51"/>
                  <a:gd name="T6" fmla="*/ 23 w 48"/>
                  <a:gd name="T7" fmla="*/ 51 h 51"/>
                  <a:gd name="T8" fmla="*/ 48 w 48"/>
                  <a:gd name="T9" fmla="*/ 25 h 51"/>
                  <a:gd name="T10" fmla="*/ 35 w 48"/>
                  <a:gd name="T11" fmla="*/ 25 h 51"/>
                  <a:gd name="T12" fmla="*/ 23 w 48"/>
                  <a:gd name="T13" fmla="*/ 37 h 51"/>
                  <a:gd name="T14" fmla="*/ 13 w 48"/>
                  <a:gd name="T15" fmla="*/ 25 h 51"/>
                  <a:gd name="T16" fmla="*/ 23 w 48"/>
                  <a:gd name="T17" fmla="*/ 14 h 51"/>
                  <a:gd name="T18" fmla="*/ 35 w 48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51">
                    <a:moveTo>
                      <a:pt x="48" y="25"/>
                    </a:moveTo>
                    <a:cubicBezTo>
                      <a:pt x="48" y="12"/>
                      <a:pt x="37" y="0"/>
                      <a:pt x="23" y="0"/>
                    </a:cubicBezTo>
                    <a:cubicBezTo>
                      <a:pt x="10" y="0"/>
                      <a:pt x="0" y="12"/>
                      <a:pt x="0" y="25"/>
                    </a:cubicBezTo>
                    <a:cubicBezTo>
                      <a:pt x="0" y="39"/>
                      <a:pt x="10" y="51"/>
                      <a:pt x="23" y="51"/>
                    </a:cubicBezTo>
                    <a:cubicBezTo>
                      <a:pt x="37" y="51"/>
                      <a:pt x="48" y="39"/>
                      <a:pt x="48" y="25"/>
                    </a:cubicBezTo>
                    <a:close/>
                    <a:moveTo>
                      <a:pt x="35" y="25"/>
                    </a:moveTo>
                    <a:cubicBezTo>
                      <a:pt x="35" y="32"/>
                      <a:pt x="29" y="37"/>
                      <a:pt x="23" y="37"/>
                    </a:cubicBezTo>
                    <a:cubicBezTo>
                      <a:pt x="17" y="37"/>
                      <a:pt x="13" y="32"/>
                      <a:pt x="13" y="25"/>
                    </a:cubicBezTo>
                    <a:cubicBezTo>
                      <a:pt x="13" y="19"/>
                      <a:pt x="17" y="14"/>
                      <a:pt x="23" y="14"/>
                    </a:cubicBezTo>
                    <a:cubicBezTo>
                      <a:pt x="29" y="14"/>
                      <a:pt x="35" y="19"/>
                      <a:pt x="35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4" name="Freeform 57">
                <a:extLst>
                  <a:ext uri="{FF2B5EF4-FFF2-40B4-BE49-F238E27FC236}">
                    <a16:creationId xmlns:a16="http://schemas.microsoft.com/office/drawing/2014/main" id="{DF39F209-1FA4-4BAA-821E-721196D556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0788" y="2012950"/>
                <a:ext cx="79375" cy="82550"/>
              </a:xfrm>
              <a:custGeom>
                <a:avLst/>
                <a:gdLst>
                  <a:gd name="T0" fmla="*/ 0 w 21"/>
                  <a:gd name="T1" fmla="*/ 0 h 22"/>
                  <a:gd name="T2" fmla="*/ 0 w 21"/>
                  <a:gd name="T3" fmla="*/ 20 h 22"/>
                  <a:gd name="T4" fmla="*/ 4 w 21"/>
                  <a:gd name="T5" fmla="*/ 22 h 22"/>
                  <a:gd name="T6" fmla="*/ 11 w 21"/>
                  <a:gd name="T7" fmla="*/ 22 h 22"/>
                  <a:gd name="T8" fmla="*/ 11 w 21"/>
                  <a:gd name="T9" fmla="*/ 22 h 22"/>
                  <a:gd name="T10" fmla="*/ 21 w 21"/>
                  <a:gd name="T11" fmla="*/ 0 h 22"/>
                  <a:gd name="T12" fmla="*/ 0 w 21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2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2"/>
                      <a:pt x="4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13"/>
                      <a:pt x="15" y="5"/>
                      <a:pt x="2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5" name="Freeform 58">
                <a:extLst>
                  <a:ext uri="{FF2B5EF4-FFF2-40B4-BE49-F238E27FC236}">
                    <a16:creationId xmlns:a16="http://schemas.microsoft.com/office/drawing/2014/main" id="{F30DF347-69C5-48B3-8670-BACAD398C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0788" y="1668463"/>
                <a:ext cx="646113" cy="330200"/>
              </a:xfrm>
              <a:custGeom>
                <a:avLst/>
                <a:gdLst>
                  <a:gd name="T0" fmla="*/ 169 w 172"/>
                  <a:gd name="T1" fmla="*/ 0 h 88"/>
                  <a:gd name="T2" fmla="*/ 4 w 172"/>
                  <a:gd name="T3" fmla="*/ 0 h 88"/>
                  <a:gd name="T4" fmla="*/ 0 w 172"/>
                  <a:gd name="T5" fmla="*/ 3 h 88"/>
                  <a:gd name="T6" fmla="*/ 0 w 172"/>
                  <a:gd name="T7" fmla="*/ 88 h 88"/>
                  <a:gd name="T8" fmla="*/ 26 w 172"/>
                  <a:gd name="T9" fmla="*/ 88 h 88"/>
                  <a:gd name="T10" fmla="*/ 41 w 172"/>
                  <a:gd name="T11" fmla="*/ 83 h 88"/>
                  <a:gd name="T12" fmla="*/ 56 w 172"/>
                  <a:gd name="T13" fmla="*/ 88 h 88"/>
                  <a:gd name="T14" fmla="*/ 172 w 172"/>
                  <a:gd name="T15" fmla="*/ 88 h 88"/>
                  <a:gd name="T16" fmla="*/ 172 w 172"/>
                  <a:gd name="T17" fmla="*/ 3 h 88"/>
                  <a:gd name="T18" fmla="*/ 169 w 172"/>
                  <a:gd name="T1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88">
                    <a:moveTo>
                      <a:pt x="169" y="0"/>
                    </a:moveTo>
                    <a:cubicBezTo>
                      <a:pt x="0" y="0"/>
                      <a:pt x="4" y="0"/>
                      <a:pt x="4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31" y="85"/>
                      <a:pt x="36" y="83"/>
                      <a:pt x="41" y="83"/>
                    </a:cubicBezTo>
                    <a:cubicBezTo>
                      <a:pt x="47" y="83"/>
                      <a:pt x="52" y="85"/>
                      <a:pt x="56" y="88"/>
                    </a:cubicBezTo>
                    <a:cubicBezTo>
                      <a:pt x="172" y="88"/>
                      <a:pt x="172" y="88"/>
                      <a:pt x="172" y="88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72" y="1"/>
                      <a:pt x="171" y="0"/>
                      <a:pt x="1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6" name="Freeform 59">
                <a:extLst>
                  <a:ext uri="{FF2B5EF4-FFF2-40B4-BE49-F238E27FC236}">
                    <a16:creationId xmlns:a16="http://schemas.microsoft.com/office/drawing/2014/main" id="{329B8F6B-CF05-46AE-A3B5-49B8C0E098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992188" y="1739900"/>
                <a:ext cx="731838" cy="355600"/>
              </a:xfrm>
              <a:custGeom>
                <a:avLst/>
                <a:gdLst>
                  <a:gd name="T0" fmla="*/ 176 w 195"/>
                  <a:gd name="T1" fmla="*/ 4 h 95"/>
                  <a:gd name="T2" fmla="*/ 171 w 195"/>
                  <a:gd name="T3" fmla="*/ 2 h 95"/>
                  <a:gd name="T4" fmla="*/ 123 w 195"/>
                  <a:gd name="T5" fmla="*/ 2 h 95"/>
                  <a:gd name="T6" fmla="*/ 119 w 195"/>
                  <a:gd name="T7" fmla="*/ 4 h 95"/>
                  <a:gd name="T8" fmla="*/ 119 w 195"/>
                  <a:gd name="T9" fmla="*/ 73 h 95"/>
                  <a:gd name="T10" fmla="*/ 108 w 195"/>
                  <a:gd name="T11" fmla="*/ 73 h 95"/>
                  <a:gd name="T12" fmla="*/ 108 w 195"/>
                  <a:gd name="T13" fmla="*/ 73 h 95"/>
                  <a:gd name="T14" fmla="*/ 95 w 195"/>
                  <a:gd name="T15" fmla="*/ 73 h 95"/>
                  <a:gd name="T16" fmla="*/ 55 w 195"/>
                  <a:gd name="T17" fmla="*/ 73 h 95"/>
                  <a:gd name="T18" fmla="*/ 0 w 195"/>
                  <a:gd name="T19" fmla="*/ 73 h 95"/>
                  <a:gd name="T20" fmla="*/ 9 w 195"/>
                  <a:gd name="T21" fmla="*/ 95 h 95"/>
                  <a:gd name="T22" fmla="*/ 9 w 195"/>
                  <a:gd name="T23" fmla="*/ 95 h 95"/>
                  <a:gd name="T24" fmla="*/ 45 w 195"/>
                  <a:gd name="T25" fmla="*/ 95 h 95"/>
                  <a:gd name="T26" fmla="*/ 104 w 195"/>
                  <a:gd name="T27" fmla="*/ 95 h 95"/>
                  <a:gd name="T28" fmla="*/ 108 w 195"/>
                  <a:gd name="T29" fmla="*/ 95 h 95"/>
                  <a:gd name="T30" fmla="*/ 108 w 195"/>
                  <a:gd name="T31" fmla="*/ 95 h 95"/>
                  <a:gd name="T32" fmla="*/ 120 w 195"/>
                  <a:gd name="T33" fmla="*/ 95 h 95"/>
                  <a:gd name="T34" fmla="*/ 120 w 195"/>
                  <a:gd name="T35" fmla="*/ 88 h 95"/>
                  <a:gd name="T36" fmla="*/ 149 w 195"/>
                  <a:gd name="T37" fmla="*/ 64 h 95"/>
                  <a:gd name="T38" fmla="*/ 180 w 195"/>
                  <a:gd name="T39" fmla="*/ 95 h 95"/>
                  <a:gd name="T40" fmla="*/ 195 w 195"/>
                  <a:gd name="T41" fmla="*/ 95 h 95"/>
                  <a:gd name="T42" fmla="*/ 195 w 195"/>
                  <a:gd name="T43" fmla="*/ 48 h 95"/>
                  <a:gd name="T44" fmla="*/ 176 w 195"/>
                  <a:gd name="T45" fmla="*/ 4 h 95"/>
                  <a:gd name="T46" fmla="*/ 141 w 195"/>
                  <a:gd name="T47" fmla="*/ 39 h 95"/>
                  <a:gd name="T48" fmla="*/ 141 w 195"/>
                  <a:gd name="T49" fmla="*/ 10 h 95"/>
                  <a:gd name="T50" fmla="*/ 167 w 195"/>
                  <a:gd name="T51" fmla="*/ 10 h 95"/>
                  <a:gd name="T52" fmla="*/ 179 w 195"/>
                  <a:gd name="T53" fmla="*/ 39 h 95"/>
                  <a:gd name="T54" fmla="*/ 141 w 195"/>
                  <a:gd name="T55" fmla="*/ 3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5" h="95">
                    <a:moveTo>
                      <a:pt x="176" y="4"/>
                    </a:moveTo>
                    <a:cubicBezTo>
                      <a:pt x="176" y="0"/>
                      <a:pt x="171" y="2"/>
                      <a:pt x="171" y="2"/>
                    </a:cubicBezTo>
                    <a:cubicBezTo>
                      <a:pt x="171" y="2"/>
                      <a:pt x="171" y="2"/>
                      <a:pt x="123" y="2"/>
                    </a:cubicBezTo>
                    <a:cubicBezTo>
                      <a:pt x="123" y="2"/>
                      <a:pt x="119" y="0"/>
                      <a:pt x="119" y="4"/>
                    </a:cubicBezTo>
                    <a:cubicBezTo>
                      <a:pt x="119" y="4"/>
                      <a:pt x="119" y="4"/>
                      <a:pt x="119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95" y="73"/>
                      <a:pt x="95" y="73"/>
                      <a:pt x="95" y="73"/>
                    </a:cubicBezTo>
                    <a:cubicBezTo>
                      <a:pt x="55" y="73"/>
                      <a:pt x="55" y="73"/>
                      <a:pt x="55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6" y="78"/>
                      <a:pt x="9" y="86"/>
                      <a:pt x="9" y="95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44" y="95"/>
                      <a:pt x="45" y="95"/>
                      <a:pt x="45" y="95"/>
                    </a:cubicBezTo>
                    <a:cubicBezTo>
                      <a:pt x="104" y="95"/>
                      <a:pt x="104" y="95"/>
                      <a:pt x="104" y="95"/>
                    </a:cubicBezTo>
                    <a:cubicBezTo>
                      <a:pt x="107" y="95"/>
                      <a:pt x="107" y="95"/>
                      <a:pt x="108" y="95"/>
                    </a:cubicBezTo>
                    <a:cubicBezTo>
                      <a:pt x="108" y="95"/>
                      <a:pt x="108" y="95"/>
                      <a:pt x="108" y="95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0" y="88"/>
                      <a:pt x="120" y="88"/>
                      <a:pt x="120" y="88"/>
                    </a:cubicBezTo>
                    <a:cubicBezTo>
                      <a:pt x="123" y="75"/>
                      <a:pt x="135" y="64"/>
                      <a:pt x="149" y="64"/>
                    </a:cubicBezTo>
                    <a:cubicBezTo>
                      <a:pt x="165" y="64"/>
                      <a:pt x="180" y="78"/>
                      <a:pt x="180" y="95"/>
                    </a:cubicBezTo>
                    <a:cubicBezTo>
                      <a:pt x="180" y="95"/>
                      <a:pt x="180" y="95"/>
                      <a:pt x="195" y="95"/>
                    </a:cubicBezTo>
                    <a:cubicBezTo>
                      <a:pt x="195" y="48"/>
                      <a:pt x="195" y="48"/>
                      <a:pt x="195" y="48"/>
                    </a:cubicBezTo>
                    <a:cubicBezTo>
                      <a:pt x="195" y="48"/>
                      <a:pt x="177" y="8"/>
                      <a:pt x="176" y="4"/>
                    </a:cubicBezTo>
                    <a:close/>
                    <a:moveTo>
                      <a:pt x="141" y="39"/>
                    </a:moveTo>
                    <a:cubicBezTo>
                      <a:pt x="141" y="39"/>
                      <a:pt x="141" y="39"/>
                      <a:pt x="141" y="10"/>
                    </a:cubicBezTo>
                    <a:cubicBezTo>
                      <a:pt x="141" y="10"/>
                      <a:pt x="141" y="10"/>
                      <a:pt x="167" y="10"/>
                    </a:cubicBezTo>
                    <a:cubicBezTo>
                      <a:pt x="179" y="39"/>
                      <a:pt x="179" y="39"/>
                      <a:pt x="179" y="39"/>
                    </a:cubicBezTo>
                    <a:cubicBezTo>
                      <a:pt x="179" y="39"/>
                      <a:pt x="172" y="39"/>
                      <a:pt x="141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481" name="Freeform 7">
              <a:extLst>
                <a:ext uri="{FF2B5EF4-FFF2-40B4-BE49-F238E27FC236}">
                  <a16:creationId xmlns:a16="http://schemas.microsoft.com/office/drawing/2014/main" id="{AFA53A4E-D46E-4C8F-872D-B297A7FB1516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1455282" y="1871867"/>
              <a:ext cx="239580" cy="315545"/>
            </a:xfrm>
            <a:custGeom>
              <a:avLst/>
              <a:gdLst>
                <a:gd name="T0" fmla="*/ 18 w 243"/>
                <a:gd name="T1" fmla="*/ 36 h 320"/>
                <a:gd name="T2" fmla="*/ 225 w 243"/>
                <a:gd name="T3" fmla="*/ 36 h 320"/>
                <a:gd name="T4" fmla="*/ 243 w 243"/>
                <a:gd name="T5" fmla="*/ 18 h 320"/>
                <a:gd name="T6" fmla="*/ 225 w 243"/>
                <a:gd name="T7" fmla="*/ 0 h 320"/>
                <a:gd name="T8" fmla="*/ 18 w 243"/>
                <a:gd name="T9" fmla="*/ 0 h 320"/>
                <a:gd name="T10" fmla="*/ 0 w 243"/>
                <a:gd name="T11" fmla="*/ 18 h 320"/>
                <a:gd name="T12" fmla="*/ 18 w 243"/>
                <a:gd name="T13" fmla="*/ 36 h 320"/>
                <a:gd name="T14" fmla="*/ 225 w 243"/>
                <a:gd name="T15" fmla="*/ 284 h 320"/>
                <a:gd name="T16" fmla="*/ 18 w 243"/>
                <a:gd name="T17" fmla="*/ 284 h 320"/>
                <a:gd name="T18" fmla="*/ 0 w 243"/>
                <a:gd name="T19" fmla="*/ 302 h 320"/>
                <a:gd name="T20" fmla="*/ 18 w 243"/>
                <a:gd name="T21" fmla="*/ 320 h 320"/>
                <a:gd name="T22" fmla="*/ 225 w 243"/>
                <a:gd name="T23" fmla="*/ 320 h 320"/>
                <a:gd name="T24" fmla="*/ 243 w 243"/>
                <a:gd name="T25" fmla="*/ 302 h 320"/>
                <a:gd name="T26" fmla="*/ 225 w 243"/>
                <a:gd name="T27" fmla="*/ 284 h 320"/>
                <a:gd name="T28" fmla="*/ 18 w 243"/>
                <a:gd name="T29" fmla="*/ 176 h 320"/>
                <a:gd name="T30" fmla="*/ 113 w 243"/>
                <a:gd name="T31" fmla="*/ 176 h 320"/>
                <a:gd name="T32" fmla="*/ 131 w 243"/>
                <a:gd name="T33" fmla="*/ 158 h 320"/>
                <a:gd name="T34" fmla="*/ 113 w 243"/>
                <a:gd name="T35" fmla="*/ 140 h 320"/>
                <a:gd name="T36" fmla="*/ 18 w 243"/>
                <a:gd name="T37" fmla="*/ 140 h 320"/>
                <a:gd name="T38" fmla="*/ 0 w 243"/>
                <a:gd name="T39" fmla="*/ 158 h 320"/>
                <a:gd name="T40" fmla="*/ 18 w 243"/>
                <a:gd name="T41" fmla="*/ 17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320">
                  <a:moveTo>
                    <a:pt x="18" y="36"/>
                  </a:moveTo>
                  <a:cubicBezTo>
                    <a:pt x="225" y="36"/>
                    <a:pt x="225" y="36"/>
                    <a:pt x="225" y="36"/>
                  </a:cubicBezTo>
                  <a:cubicBezTo>
                    <a:pt x="235" y="36"/>
                    <a:pt x="243" y="28"/>
                    <a:pt x="243" y="18"/>
                  </a:cubicBezTo>
                  <a:cubicBezTo>
                    <a:pt x="243" y="8"/>
                    <a:pt x="235" y="0"/>
                    <a:pt x="225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close/>
                  <a:moveTo>
                    <a:pt x="225" y="284"/>
                  </a:moveTo>
                  <a:cubicBezTo>
                    <a:pt x="18" y="284"/>
                    <a:pt x="18" y="284"/>
                    <a:pt x="18" y="284"/>
                  </a:cubicBezTo>
                  <a:cubicBezTo>
                    <a:pt x="8" y="284"/>
                    <a:pt x="0" y="292"/>
                    <a:pt x="0" y="302"/>
                  </a:cubicBezTo>
                  <a:cubicBezTo>
                    <a:pt x="0" y="312"/>
                    <a:pt x="8" y="320"/>
                    <a:pt x="18" y="320"/>
                  </a:cubicBezTo>
                  <a:cubicBezTo>
                    <a:pt x="225" y="320"/>
                    <a:pt x="225" y="320"/>
                    <a:pt x="225" y="320"/>
                  </a:cubicBezTo>
                  <a:cubicBezTo>
                    <a:pt x="235" y="320"/>
                    <a:pt x="243" y="312"/>
                    <a:pt x="243" y="302"/>
                  </a:cubicBezTo>
                  <a:cubicBezTo>
                    <a:pt x="243" y="292"/>
                    <a:pt x="235" y="284"/>
                    <a:pt x="225" y="284"/>
                  </a:cubicBezTo>
                  <a:close/>
                  <a:moveTo>
                    <a:pt x="18" y="176"/>
                  </a:moveTo>
                  <a:cubicBezTo>
                    <a:pt x="113" y="176"/>
                    <a:pt x="113" y="176"/>
                    <a:pt x="113" y="176"/>
                  </a:cubicBezTo>
                  <a:cubicBezTo>
                    <a:pt x="123" y="176"/>
                    <a:pt x="131" y="168"/>
                    <a:pt x="131" y="158"/>
                  </a:cubicBezTo>
                  <a:cubicBezTo>
                    <a:pt x="131" y="148"/>
                    <a:pt x="123" y="140"/>
                    <a:pt x="113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8" y="140"/>
                    <a:pt x="0" y="148"/>
                    <a:pt x="0" y="158"/>
                  </a:cubicBezTo>
                  <a:cubicBezTo>
                    <a:pt x="0" y="168"/>
                    <a:pt x="8" y="176"/>
                    <a:pt x="18" y="1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87" name="Gruppieren 486">
            <a:extLst>
              <a:ext uri="{FF2B5EF4-FFF2-40B4-BE49-F238E27FC236}">
                <a16:creationId xmlns:a16="http://schemas.microsoft.com/office/drawing/2014/main" id="{568BA259-DD3D-493B-A0D9-30C777C3934D}"/>
              </a:ext>
            </a:extLst>
          </p:cNvPr>
          <p:cNvGrpSpPr/>
          <p:nvPr/>
        </p:nvGrpSpPr>
        <p:grpSpPr>
          <a:xfrm>
            <a:off x="6913822" y="690245"/>
            <a:ext cx="720000" cy="720000"/>
            <a:chOff x="323851" y="2299246"/>
            <a:chExt cx="1004240" cy="1010596"/>
          </a:xfrm>
        </p:grpSpPr>
        <p:sp>
          <p:nvSpPr>
            <p:cNvPr id="488" name="Oval 5">
              <a:extLst>
                <a:ext uri="{FF2B5EF4-FFF2-40B4-BE49-F238E27FC236}">
                  <a16:creationId xmlns:a16="http://schemas.microsoft.com/office/drawing/2014/main" id="{C5300E2F-881C-4B3E-A83B-DADEBFC6B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851" y="2299246"/>
              <a:ext cx="1004240" cy="1010596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grpSp>
          <p:nvGrpSpPr>
            <p:cNvPr id="489" name="Gruppieren 488">
              <a:extLst>
                <a:ext uri="{FF2B5EF4-FFF2-40B4-BE49-F238E27FC236}">
                  <a16:creationId xmlns:a16="http://schemas.microsoft.com/office/drawing/2014/main" id="{6535194F-A90A-4BAA-A44F-DBACCE222DF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6395" y="2476360"/>
              <a:ext cx="559151" cy="656368"/>
              <a:chOff x="2355850" y="-1588"/>
              <a:chExt cx="5843588" cy="6859588"/>
            </a:xfrm>
            <a:solidFill>
              <a:schemeClr val="accent4"/>
            </a:solidFill>
          </p:grpSpPr>
          <p:sp>
            <p:nvSpPr>
              <p:cNvPr id="490" name="Freeform 5">
                <a:extLst>
                  <a:ext uri="{FF2B5EF4-FFF2-40B4-BE49-F238E27FC236}">
                    <a16:creationId xmlns:a16="http://schemas.microsoft.com/office/drawing/2014/main" id="{9839F299-026F-4500-BACA-432ED762C4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67375" y="4162425"/>
                <a:ext cx="1917700" cy="1274763"/>
              </a:xfrm>
              <a:custGeom>
                <a:avLst/>
                <a:gdLst/>
                <a:ahLst/>
                <a:cxnLst>
                  <a:cxn ang="0">
                    <a:pos x="575" y="586"/>
                  </a:cxn>
                  <a:cxn ang="0">
                    <a:pos x="625" y="631"/>
                  </a:cxn>
                  <a:cxn ang="0">
                    <a:pos x="672" y="660"/>
                  </a:cxn>
                  <a:cxn ang="0">
                    <a:pos x="758" y="614"/>
                  </a:cxn>
                  <a:cxn ang="0">
                    <a:pos x="784" y="585"/>
                  </a:cxn>
                  <a:cxn ang="0">
                    <a:pos x="740" y="599"/>
                  </a:cxn>
                  <a:cxn ang="0">
                    <a:pos x="668" y="542"/>
                  </a:cxn>
                  <a:cxn ang="0">
                    <a:pos x="948" y="438"/>
                  </a:cxn>
                  <a:cxn ang="0">
                    <a:pos x="988" y="242"/>
                  </a:cxn>
                  <a:cxn ang="0">
                    <a:pos x="913" y="209"/>
                  </a:cxn>
                  <a:cxn ang="0">
                    <a:pos x="836" y="180"/>
                  </a:cxn>
                  <a:cxn ang="0">
                    <a:pos x="742" y="162"/>
                  </a:cxn>
                  <a:cxn ang="0">
                    <a:pos x="686" y="105"/>
                  </a:cxn>
                  <a:cxn ang="0">
                    <a:pos x="677" y="43"/>
                  </a:cxn>
                  <a:cxn ang="0">
                    <a:pos x="649" y="6"/>
                  </a:cxn>
                  <a:cxn ang="0">
                    <a:pos x="592" y="15"/>
                  </a:cxn>
                  <a:cxn ang="0">
                    <a:pos x="549" y="31"/>
                  </a:cxn>
                  <a:cxn ang="0">
                    <a:pos x="492" y="52"/>
                  </a:cxn>
                  <a:cxn ang="0">
                    <a:pos x="432" y="88"/>
                  </a:cxn>
                  <a:cxn ang="0">
                    <a:pos x="378" y="92"/>
                  </a:cxn>
                  <a:cxn ang="0">
                    <a:pos x="321" y="83"/>
                  </a:cxn>
                  <a:cxn ang="0">
                    <a:pos x="255" y="54"/>
                  </a:cxn>
                  <a:cxn ang="0">
                    <a:pos x="176" y="46"/>
                  </a:cxn>
                  <a:cxn ang="0">
                    <a:pos x="115" y="70"/>
                  </a:cxn>
                  <a:cxn ang="0">
                    <a:pos x="139" y="130"/>
                  </a:cxn>
                  <a:cxn ang="0">
                    <a:pos x="135" y="170"/>
                  </a:cxn>
                  <a:cxn ang="0">
                    <a:pos x="66" y="235"/>
                  </a:cxn>
                  <a:cxn ang="0">
                    <a:pos x="67" y="276"/>
                  </a:cxn>
                  <a:cxn ang="0">
                    <a:pos x="25" y="291"/>
                  </a:cxn>
                  <a:cxn ang="0">
                    <a:pos x="0" y="331"/>
                  </a:cxn>
                  <a:cxn ang="0">
                    <a:pos x="52" y="369"/>
                  </a:cxn>
                  <a:cxn ang="0">
                    <a:pos x="122" y="378"/>
                  </a:cxn>
                  <a:cxn ang="0">
                    <a:pos x="211" y="374"/>
                  </a:cxn>
                  <a:cxn ang="0">
                    <a:pos x="252" y="337"/>
                  </a:cxn>
                  <a:cxn ang="0">
                    <a:pos x="284" y="336"/>
                  </a:cxn>
                  <a:cxn ang="0">
                    <a:pos x="323" y="348"/>
                  </a:cxn>
                  <a:cxn ang="0">
                    <a:pos x="343" y="359"/>
                  </a:cxn>
                  <a:cxn ang="0">
                    <a:pos x="363" y="365"/>
                  </a:cxn>
                  <a:cxn ang="0">
                    <a:pos x="389" y="378"/>
                  </a:cxn>
                  <a:cxn ang="0">
                    <a:pos x="387" y="404"/>
                  </a:cxn>
                  <a:cxn ang="0">
                    <a:pos x="398" y="431"/>
                  </a:cxn>
                  <a:cxn ang="0">
                    <a:pos x="406" y="453"/>
                  </a:cxn>
                  <a:cxn ang="0">
                    <a:pos x="427" y="490"/>
                  </a:cxn>
                  <a:cxn ang="0">
                    <a:pos x="406" y="507"/>
                  </a:cxn>
                  <a:cxn ang="0">
                    <a:pos x="389" y="504"/>
                  </a:cxn>
                  <a:cxn ang="0">
                    <a:pos x="375" y="523"/>
                  </a:cxn>
                  <a:cxn ang="0">
                    <a:pos x="350" y="562"/>
                  </a:cxn>
                  <a:cxn ang="0">
                    <a:pos x="342" y="586"/>
                  </a:cxn>
                  <a:cxn ang="0">
                    <a:pos x="385" y="595"/>
                  </a:cxn>
                  <a:cxn ang="0">
                    <a:pos x="445" y="557"/>
                  </a:cxn>
                  <a:cxn ang="0">
                    <a:pos x="474" y="508"/>
                  </a:cxn>
                  <a:cxn ang="0">
                    <a:pos x="542" y="495"/>
                  </a:cxn>
                  <a:cxn ang="0">
                    <a:pos x="555" y="536"/>
                  </a:cxn>
                  <a:cxn ang="0">
                    <a:pos x="637" y="532"/>
                  </a:cxn>
                  <a:cxn ang="0">
                    <a:pos x="695" y="533"/>
                  </a:cxn>
                  <a:cxn ang="0">
                    <a:pos x="737" y="506"/>
                  </a:cxn>
                  <a:cxn ang="0">
                    <a:pos x="836" y="469"/>
                  </a:cxn>
                  <a:cxn ang="0">
                    <a:pos x="912" y="437"/>
                  </a:cxn>
                  <a:cxn ang="0">
                    <a:pos x="967" y="387"/>
                  </a:cxn>
                  <a:cxn ang="0">
                    <a:pos x="992" y="331"/>
                  </a:cxn>
                  <a:cxn ang="0">
                    <a:pos x="134" y="165"/>
                  </a:cxn>
                </a:cxnLst>
                <a:rect l="0" t="0" r="r" b="b"/>
                <a:pathLst>
                  <a:path w="1026" h="682">
                    <a:moveTo>
                      <a:pt x="641" y="535"/>
                    </a:moveTo>
                    <a:cubicBezTo>
                      <a:pt x="641" y="534"/>
                      <a:pt x="639" y="534"/>
                      <a:pt x="638" y="533"/>
                    </a:cubicBezTo>
                    <a:cubicBezTo>
                      <a:pt x="638" y="536"/>
                      <a:pt x="637" y="539"/>
                      <a:pt x="637" y="542"/>
                    </a:cubicBezTo>
                    <a:cubicBezTo>
                      <a:pt x="637" y="544"/>
                      <a:pt x="637" y="546"/>
                      <a:pt x="638" y="547"/>
                    </a:cubicBezTo>
                    <a:cubicBezTo>
                      <a:pt x="639" y="550"/>
                      <a:pt x="640" y="548"/>
                      <a:pt x="642" y="550"/>
                    </a:cubicBezTo>
                    <a:cubicBezTo>
                      <a:pt x="644" y="552"/>
                      <a:pt x="642" y="553"/>
                      <a:pt x="640" y="554"/>
                    </a:cubicBezTo>
                    <a:cubicBezTo>
                      <a:pt x="639" y="555"/>
                      <a:pt x="637" y="556"/>
                      <a:pt x="635" y="557"/>
                    </a:cubicBezTo>
                    <a:cubicBezTo>
                      <a:pt x="632" y="560"/>
                      <a:pt x="629" y="559"/>
                      <a:pt x="624" y="560"/>
                    </a:cubicBezTo>
                    <a:cubicBezTo>
                      <a:pt x="621" y="560"/>
                      <a:pt x="616" y="562"/>
                      <a:pt x="613" y="564"/>
                    </a:cubicBezTo>
                    <a:cubicBezTo>
                      <a:pt x="607" y="568"/>
                      <a:pt x="599" y="572"/>
                      <a:pt x="593" y="575"/>
                    </a:cubicBezTo>
                    <a:cubicBezTo>
                      <a:pt x="588" y="577"/>
                      <a:pt x="583" y="579"/>
                      <a:pt x="579" y="583"/>
                    </a:cubicBezTo>
                    <a:cubicBezTo>
                      <a:pt x="578" y="584"/>
                      <a:pt x="576" y="585"/>
                      <a:pt x="575" y="586"/>
                    </a:cubicBezTo>
                    <a:cubicBezTo>
                      <a:pt x="572" y="587"/>
                      <a:pt x="571" y="586"/>
                      <a:pt x="569" y="589"/>
                    </a:cubicBezTo>
                    <a:cubicBezTo>
                      <a:pt x="568" y="591"/>
                      <a:pt x="565" y="596"/>
                      <a:pt x="567" y="599"/>
                    </a:cubicBezTo>
                    <a:cubicBezTo>
                      <a:pt x="569" y="601"/>
                      <a:pt x="578" y="601"/>
                      <a:pt x="581" y="601"/>
                    </a:cubicBezTo>
                    <a:cubicBezTo>
                      <a:pt x="583" y="601"/>
                      <a:pt x="586" y="600"/>
                      <a:pt x="588" y="600"/>
                    </a:cubicBezTo>
                    <a:cubicBezTo>
                      <a:pt x="591" y="601"/>
                      <a:pt x="590" y="603"/>
                      <a:pt x="592" y="605"/>
                    </a:cubicBezTo>
                    <a:cubicBezTo>
                      <a:pt x="593" y="606"/>
                      <a:pt x="596" y="607"/>
                      <a:pt x="597" y="607"/>
                    </a:cubicBezTo>
                    <a:cubicBezTo>
                      <a:pt x="600" y="608"/>
                      <a:pt x="601" y="609"/>
                      <a:pt x="603" y="610"/>
                    </a:cubicBezTo>
                    <a:cubicBezTo>
                      <a:pt x="605" y="611"/>
                      <a:pt x="607" y="613"/>
                      <a:pt x="609" y="614"/>
                    </a:cubicBezTo>
                    <a:cubicBezTo>
                      <a:pt x="613" y="616"/>
                      <a:pt x="615" y="612"/>
                      <a:pt x="618" y="610"/>
                    </a:cubicBezTo>
                    <a:cubicBezTo>
                      <a:pt x="623" y="607"/>
                      <a:pt x="625" y="610"/>
                      <a:pt x="625" y="615"/>
                    </a:cubicBezTo>
                    <a:cubicBezTo>
                      <a:pt x="624" y="619"/>
                      <a:pt x="626" y="622"/>
                      <a:pt x="625" y="626"/>
                    </a:cubicBezTo>
                    <a:cubicBezTo>
                      <a:pt x="625" y="629"/>
                      <a:pt x="624" y="629"/>
                      <a:pt x="625" y="631"/>
                    </a:cubicBezTo>
                    <a:cubicBezTo>
                      <a:pt x="626" y="634"/>
                      <a:pt x="628" y="635"/>
                      <a:pt x="628" y="638"/>
                    </a:cubicBezTo>
                    <a:cubicBezTo>
                      <a:pt x="628" y="642"/>
                      <a:pt x="622" y="647"/>
                      <a:pt x="620" y="650"/>
                    </a:cubicBezTo>
                    <a:cubicBezTo>
                      <a:pt x="619" y="651"/>
                      <a:pt x="618" y="652"/>
                      <a:pt x="616" y="653"/>
                    </a:cubicBezTo>
                    <a:cubicBezTo>
                      <a:pt x="614" y="655"/>
                      <a:pt x="611" y="655"/>
                      <a:pt x="612" y="658"/>
                    </a:cubicBezTo>
                    <a:cubicBezTo>
                      <a:pt x="614" y="668"/>
                      <a:pt x="630" y="661"/>
                      <a:pt x="634" y="667"/>
                    </a:cubicBezTo>
                    <a:cubicBezTo>
                      <a:pt x="635" y="668"/>
                      <a:pt x="634" y="670"/>
                      <a:pt x="635" y="671"/>
                    </a:cubicBezTo>
                    <a:cubicBezTo>
                      <a:pt x="636" y="674"/>
                      <a:pt x="639" y="676"/>
                      <a:pt x="642" y="677"/>
                    </a:cubicBezTo>
                    <a:cubicBezTo>
                      <a:pt x="648" y="682"/>
                      <a:pt x="663" y="681"/>
                      <a:pt x="670" y="679"/>
                    </a:cubicBezTo>
                    <a:cubicBezTo>
                      <a:pt x="673" y="678"/>
                      <a:pt x="675" y="677"/>
                      <a:pt x="677" y="676"/>
                    </a:cubicBezTo>
                    <a:cubicBezTo>
                      <a:pt x="681" y="675"/>
                      <a:pt x="684" y="677"/>
                      <a:pt x="684" y="672"/>
                    </a:cubicBezTo>
                    <a:cubicBezTo>
                      <a:pt x="683" y="664"/>
                      <a:pt x="671" y="663"/>
                      <a:pt x="665" y="666"/>
                    </a:cubicBezTo>
                    <a:cubicBezTo>
                      <a:pt x="663" y="662"/>
                      <a:pt x="670" y="661"/>
                      <a:pt x="672" y="660"/>
                    </a:cubicBezTo>
                    <a:cubicBezTo>
                      <a:pt x="676" y="659"/>
                      <a:pt x="678" y="658"/>
                      <a:pt x="681" y="656"/>
                    </a:cubicBezTo>
                    <a:cubicBezTo>
                      <a:pt x="683" y="654"/>
                      <a:pt x="685" y="653"/>
                      <a:pt x="686" y="650"/>
                    </a:cubicBezTo>
                    <a:cubicBezTo>
                      <a:pt x="686" y="647"/>
                      <a:pt x="686" y="642"/>
                      <a:pt x="689" y="640"/>
                    </a:cubicBezTo>
                    <a:cubicBezTo>
                      <a:pt x="692" y="639"/>
                      <a:pt x="696" y="641"/>
                      <a:pt x="699" y="640"/>
                    </a:cubicBezTo>
                    <a:cubicBezTo>
                      <a:pt x="703" y="638"/>
                      <a:pt x="706" y="635"/>
                      <a:pt x="710" y="635"/>
                    </a:cubicBezTo>
                    <a:cubicBezTo>
                      <a:pt x="715" y="635"/>
                      <a:pt x="712" y="637"/>
                      <a:pt x="715" y="639"/>
                    </a:cubicBezTo>
                    <a:cubicBezTo>
                      <a:pt x="718" y="642"/>
                      <a:pt x="721" y="634"/>
                      <a:pt x="722" y="632"/>
                    </a:cubicBezTo>
                    <a:cubicBezTo>
                      <a:pt x="724" y="630"/>
                      <a:pt x="726" y="626"/>
                      <a:pt x="728" y="625"/>
                    </a:cubicBezTo>
                    <a:cubicBezTo>
                      <a:pt x="730" y="623"/>
                      <a:pt x="733" y="625"/>
                      <a:pt x="735" y="622"/>
                    </a:cubicBezTo>
                    <a:cubicBezTo>
                      <a:pt x="740" y="617"/>
                      <a:pt x="742" y="609"/>
                      <a:pt x="750" y="611"/>
                    </a:cubicBezTo>
                    <a:cubicBezTo>
                      <a:pt x="751" y="611"/>
                      <a:pt x="753" y="612"/>
                      <a:pt x="753" y="613"/>
                    </a:cubicBezTo>
                    <a:cubicBezTo>
                      <a:pt x="755" y="613"/>
                      <a:pt x="756" y="614"/>
                      <a:pt x="758" y="614"/>
                    </a:cubicBezTo>
                    <a:cubicBezTo>
                      <a:pt x="761" y="615"/>
                      <a:pt x="764" y="615"/>
                      <a:pt x="767" y="615"/>
                    </a:cubicBezTo>
                    <a:cubicBezTo>
                      <a:pt x="774" y="615"/>
                      <a:pt x="780" y="612"/>
                      <a:pt x="787" y="613"/>
                    </a:cubicBezTo>
                    <a:cubicBezTo>
                      <a:pt x="786" y="613"/>
                      <a:pt x="787" y="614"/>
                      <a:pt x="787" y="615"/>
                    </a:cubicBezTo>
                    <a:cubicBezTo>
                      <a:pt x="789" y="615"/>
                      <a:pt x="791" y="614"/>
                      <a:pt x="793" y="613"/>
                    </a:cubicBezTo>
                    <a:cubicBezTo>
                      <a:pt x="795" y="613"/>
                      <a:pt x="799" y="613"/>
                      <a:pt x="800" y="613"/>
                    </a:cubicBezTo>
                    <a:cubicBezTo>
                      <a:pt x="804" y="611"/>
                      <a:pt x="801" y="604"/>
                      <a:pt x="797" y="605"/>
                    </a:cubicBezTo>
                    <a:cubicBezTo>
                      <a:pt x="794" y="602"/>
                      <a:pt x="797" y="598"/>
                      <a:pt x="800" y="597"/>
                    </a:cubicBezTo>
                    <a:cubicBezTo>
                      <a:pt x="804" y="595"/>
                      <a:pt x="809" y="594"/>
                      <a:pt x="809" y="589"/>
                    </a:cubicBezTo>
                    <a:cubicBezTo>
                      <a:pt x="810" y="589"/>
                      <a:pt x="812" y="590"/>
                      <a:pt x="813" y="590"/>
                    </a:cubicBezTo>
                    <a:cubicBezTo>
                      <a:pt x="815" y="584"/>
                      <a:pt x="804" y="587"/>
                      <a:pt x="802" y="586"/>
                    </a:cubicBezTo>
                    <a:cubicBezTo>
                      <a:pt x="799" y="585"/>
                      <a:pt x="799" y="581"/>
                      <a:pt x="795" y="581"/>
                    </a:cubicBezTo>
                    <a:cubicBezTo>
                      <a:pt x="791" y="580"/>
                      <a:pt x="787" y="583"/>
                      <a:pt x="784" y="585"/>
                    </a:cubicBezTo>
                    <a:cubicBezTo>
                      <a:pt x="782" y="585"/>
                      <a:pt x="783" y="586"/>
                      <a:pt x="781" y="586"/>
                    </a:cubicBezTo>
                    <a:cubicBezTo>
                      <a:pt x="780" y="587"/>
                      <a:pt x="778" y="586"/>
                      <a:pt x="776" y="586"/>
                    </a:cubicBezTo>
                    <a:cubicBezTo>
                      <a:pt x="776" y="587"/>
                      <a:pt x="776" y="587"/>
                      <a:pt x="776" y="588"/>
                    </a:cubicBezTo>
                    <a:cubicBezTo>
                      <a:pt x="774" y="588"/>
                      <a:pt x="771" y="587"/>
                      <a:pt x="769" y="586"/>
                    </a:cubicBezTo>
                    <a:cubicBezTo>
                      <a:pt x="767" y="584"/>
                      <a:pt x="767" y="582"/>
                      <a:pt x="764" y="582"/>
                    </a:cubicBezTo>
                    <a:cubicBezTo>
                      <a:pt x="761" y="581"/>
                      <a:pt x="760" y="585"/>
                      <a:pt x="758" y="587"/>
                    </a:cubicBezTo>
                    <a:cubicBezTo>
                      <a:pt x="757" y="588"/>
                      <a:pt x="756" y="588"/>
                      <a:pt x="755" y="589"/>
                    </a:cubicBezTo>
                    <a:cubicBezTo>
                      <a:pt x="754" y="589"/>
                      <a:pt x="753" y="589"/>
                      <a:pt x="753" y="590"/>
                    </a:cubicBezTo>
                    <a:cubicBezTo>
                      <a:pt x="753" y="590"/>
                      <a:pt x="752" y="591"/>
                      <a:pt x="752" y="591"/>
                    </a:cubicBezTo>
                    <a:cubicBezTo>
                      <a:pt x="751" y="592"/>
                      <a:pt x="750" y="592"/>
                      <a:pt x="749" y="593"/>
                    </a:cubicBezTo>
                    <a:cubicBezTo>
                      <a:pt x="746" y="594"/>
                      <a:pt x="747" y="593"/>
                      <a:pt x="745" y="595"/>
                    </a:cubicBezTo>
                    <a:cubicBezTo>
                      <a:pt x="743" y="597"/>
                      <a:pt x="743" y="598"/>
                      <a:pt x="740" y="599"/>
                    </a:cubicBezTo>
                    <a:cubicBezTo>
                      <a:pt x="734" y="600"/>
                      <a:pt x="730" y="596"/>
                      <a:pt x="726" y="592"/>
                    </a:cubicBezTo>
                    <a:cubicBezTo>
                      <a:pt x="721" y="588"/>
                      <a:pt x="716" y="584"/>
                      <a:pt x="709" y="583"/>
                    </a:cubicBezTo>
                    <a:cubicBezTo>
                      <a:pt x="710" y="582"/>
                      <a:pt x="714" y="582"/>
                      <a:pt x="716" y="579"/>
                    </a:cubicBezTo>
                    <a:cubicBezTo>
                      <a:pt x="719" y="574"/>
                      <a:pt x="713" y="573"/>
                      <a:pt x="709" y="573"/>
                    </a:cubicBezTo>
                    <a:cubicBezTo>
                      <a:pt x="709" y="571"/>
                      <a:pt x="710" y="567"/>
                      <a:pt x="709" y="565"/>
                    </a:cubicBezTo>
                    <a:cubicBezTo>
                      <a:pt x="706" y="562"/>
                      <a:pt x="699" y="563"/>
                      <a:pt x="695" y="563"/>
                    </a:cubicBezTo>
                    <a:cubicBezTo>
                      <a:pt x="695" y="560"/>
                      <a:pt x="695" y="556"/>
                      <a:pt x="694" y="554"/>
                    </a:cubicBezTo>
                    <a:cubicBezTo>
                      <a:pt x="694" y="551"/>
                      <a:pt x="694" y="551"/>
                      <a:pt x="690" y="551"/>
                    </a:cubicBezTo>
                    <a:cubicBezTo>
                      <a:pt x="687" y="551"/>
                      <a:pt x="686" y="552"/>
                      <a:pt x="684" y="554"/>
                    </a:cubicBezTo>
                    <a:cubicBezTo>
                      <a:pt x="683" y="552"/>
                      <a:pt x="680" y="548"/>
                      <a:pt x="678" y="546"/>
                    </a:cubicBezTo>
                    <a:cubicBezTo>
                      <a:pt x="677" y="544"/>
                      <a:pt x="678" y="543"/>
                      <a:pt x="676" y="542"/>
                    </a:cubicBezTo>
                    <a:cubicBezTo>
                      <a:pt x="673" y="540"/>
                      <a:pt x="670" y="542"/>
                      <a:pt x="668" y="542"/>
                    </a:cubicBezTo>
                    <a:cubicBezTo>
                      <a:pt x="665" y="542"/>
                      <a:pt x="662" y="541"/>
                      <a:pt x="660" y="539"/>
                    </a:cubicBezTo>
                    <a:cubicBezTo>
                      <a:pt x="658" y="539"/>
                      <a:pt x="655" y="536"/>
                      <a:pt x="654" y="535"/>
                    </a:cubicBezTo>
                    <a:cubicBezTo>
                      <a:pt x="651" y="535"/>
                      <a:pt x="650" y="537"/>
                      <a:pt x="648" y="538"/>
                    </a:cubicBezTo>
                    <a:cubicBezTo>
                      <a:pt x="646" y="538"/>
                      <a:pt x="644" y="537"/>
                      <a:pt x="641" y="535"/>
                    </a:cubicBezTo>
                    <a:moveTo>
                      <a:pt x="638" y="532"/>
                    </a:moveTo>
                    <a:cubicBezTo>
                      <a:pt x="638" y="532"/>
                      <a:pt x="637" y="532"/>
                      <a:pt x="637" y="532"/>
                    </a:cubicBezTo>
                    <a:cubicBezTo>
                      <a:pt x="637" y="532"/>
                      <a:pt x="638" y="533"/>
                      <a:pt x="638" y="533"/>
                    </a:cubicBezTo>
                    <a:cubicBezTo>
                      <a:pt x="638" y="532"/>
                      <a:pt x="638" y="532"/>
                      <a:pt x="638" y="532"/>
                    </a:cubicBezTo>
                    <a:moveTo>
                      <a:pt x="931" y="441"/>
                    </a:moveTo>
                    <a:cubicBezTo>
                      <a:pt x="929" y="441"/>
                      <a:pt x="928" y="441"/>
                      <a:pt x="927" y="442"/>
                    </a:cubicBezTo>
                    <a:cubicBezTo>
                      <a:pt x="928" y="443"/>
                      <a:pt x="930" y="443"/>
                      <a:pt x="931" y="443"/>
                    </a:cubicBezTo>
                    <a:cubicBezTo>
                      <a:pt x="937" y="443"/>
                      <a:pt x="942" y="442"/>
                      <a:pt x="948" y="438"/>
                    </a:cubicBezTo>
                    <a:cubicBezTo>
                      <a:pt x="944" y="439"/>
                      <a:pt x="942" y="442"/>
                      <a:pt x="939" y="442"/>
                    </a:cubicBezTo>
                    <a:cubicBezTo>
                      <a:pt x="936" y="442"/>
                      <a:pt x="934" y="441"/>
                      <a:pt x="931" y="441"/>
                    </a:cubicBezTo>
                    <a:moveTo>
                      <a:pt x="1024" y="264"/>
                    </a:moveTo>
                    <a:cubicBezTo>
                      <a:pt x="1021" y="260"/>
                      <a:pt x="1014" y="262"/>
                      <a:pt x="1010" y="261"/>
                    </a:cubicBezTo>
                    <a:cubicBezTo>
                      <a:pt x="1010" y="260"/>
                      <a:pt x="1010" y="258"/>
                      <a:pt x="1009" y="257"/>
                    </a:cubicBezTo>
                    <a:cubicBezTo>
                      <a:pt x="1009" y="255"/>
                      <a:pt x="1007" y="255"/>
                      <a:pt x="1008" y="252"/>
                    </a:cubicBezTo>
                    <a:cubicBezTo>
                      <a:pt x="1008" y="250"/>
                      <a:pt x="1009" y="248"/>
                      <a:pt x="1009" y="247"/>
                    </a:cubicBezTo>
                    <a:cubicBezTo>
                      <a:pt x="1010" y="245"/>
                      <a:pt x="1012" y="245"/>
                      <a:pt x="1013" y="244"/>
                    </a:cubicBezTo>
                    <a:cubicBezTo>
                      <a:pt x="1013" y="243"/>
                      <a:pt x="1014" y="240"/>
                      <a:pt x="1013" y="239"/>
                    </a:cubicBezTo>
                    <a:cubicBezTo>
                      <a:pt x="1012" y="238"/>
                      <a:pt x="1008" y="239"/>
                      <a:pt x="1007" y="239"/>
                    </a:cubicBezTo>
                    <a:cubicBezTo>
                      <a:pt x="1004" y="240"/>
                      <a:pt x="1003" y="243"/>
                      <a:pt x="1001" y="244"/>
                    </a:cubicBezTo>
                    <a:cubicBezTo>
                      <a:pt x="997" y="245"/>
                      <a:pt x="991" y="244"/>
                      <a:pt x="988" y="242"/>
                    </a:cubicBezTo>
                    <a:cubicBezTo>
                      <a:pt x="986" y="241"/>
                      <a:pt x="985" y="238"/>
                      <a:pt x="984" y="236"/>
                    </a:cubicBezTo>
                    <a:cubicBezTo>
                      <a:pt x="983" y="235"/>
                      <a:pt x="983" y="232"/>
                      <a:pt x="982" y="231"/>
                    </a:cubicBezTo>
                    <a:cubicBezTo>
                      <a:pt x="980" y="229"/>
                      <a:pt x="975" y="229"/>
                      <a:pt x="972" y="229"/>
                    </a:cubicBezTo>
                    <a:cubicBezTo>
                      <a:pt x="970" y="229"/>
                      <a:pt x="968" y="230"/>
                      <a:pt x="966" y="229"/>
                    </a:cubicBezTo>
                    <a:cubicBezTo>
                      <a:pt x="964" y="229"/>
                      <a:pt x="962" y="226"/>
                      <a:pt x="960" y="225"/>
                    </a:cubicBezTo>
                    <a:cubicBezTo>
                      <a:pt x="957" y="224"/>
                      <a:pt x="953" y="220"/>
                      <a:pt x="950" y="221"/>
                    </a:cubicBezTo>
                    <a:cubicBezTo>
                      <a:pt x="950" y="227"/>
                      <a:pt x="943" y="223"/>
                      <a:pt x="941" y="221"/>
                    </a:cubicBezTo>
                    <a:cubicBezTo>
                      <a:pt x="939" y="219"/>
                      <a:pt x="937" y="219"/>
                      <a:pt x="934" y="217"/>
                    </a:cubicBezTo>
                    <a:cubicBezTo>
                      <a:pt x="929" y="215"/>
                      <a:pt x="931" y="215"/>
                      <a:pt x="930" y="211"/>
                    </a:cubicBezTo>
                    <a:cubicBezTo>
                      <a:pt x="929" y="208"/>
                      <a:pt x="928" y="207"/>
                      <a:pt x="925" y="208"/>
                    </a:cubicBezTo>
                    <a:cubicBezTo>
                      <a:pt x="923" y="209"/>
                      <a:pt x="923" y="212"/>
                      <a:pt x="921" y="213"/>
                    </a:cubicBezTo>
                    <a:cubicBezTo>
                      <a:pt x="917" y="215"/>
                      <a:pt x="916" y="211"/>
                      <a:pt x="913" y="209"/>
                    </a:cubicBezTo>
                    <a:cubicBezTo>
                      <a:pt x="911" y="208"/>
                      <a:pt x="909" y="209"/>
                      <a:pt x="907" y="208"/>
                    </a:cubicBezTo>
                    <a:cubicBezTo>
                      <a:pt x="906" y="206"/>
                      <a:pt x="907" y="204"/>
                      <a:pt x="907" y="202"/>
                    </a:cubicBezTo>
                    <a:cubicBezTo>
                      <a:pt x="898" y="201"/>
                      <a:pt x="904" y="206"/>
                      <a:pt x="901" y="210"/>
                    </a:cubicBezTo>
                    <a:cubicBezTo>
                      <a:pt x="899" y="212"/>
                      <a:pt x="894" y="213"/>
                      <a:pt x="891" y="212"/>
                    </a:cubicBezTo>
                    <a:cubicBezTo>
                      <a:pt x="890" y="212"/>
                      <a:pt x="889" y="209"/>
                      <a:pt x="887" y="208"/>
                    </a:cubicBezTo>
                    <a:cubicBezTo>
                      <a:pt x="885" y="207"/>
                      <a:pt x="882" y="206"/>
                      <a:pt x="879" y="204"/>
                    </a:cubicBezTo>
                    <a:cubicBezTo>
                      <a:pt x="874" y="202"/>
                      <a:pt x="873" y="201"/>
                      <a:pt x="872" y="195"/>
                    </a:cubicBezTo>
                    <a:cubicBezTo>
                      <a:pt x="871" y="190"/>
                      <a:pt x="871" y="177"/>
                      <a:pt x="862" y="182"/>
                    </a:cubicBezTo>
                    <a:cubicBezTo>
                      <a:pt x="863" y="177"/>
                      <a:pt x="859" y="172"/>
                      <a:pt x="855" y="172"/>
                    </a:cubicBezTo>
                    <a:cubicBezTo>
                      <a:pt x="853" y="173"/>
                      <a:pt x="853" y="174"/>
                      <a:pt x="851" y="175"/>
                    </a:cubicBezTo>
                    <a:cubicBezTo>
                      <a:pt x="849" y="176"/>
                      <a:pt x="850" y="177"/>
                      <a:pt x="847" y="177"/>
                    </a:cubicBezTo>
                    <a:cubicBezTo>
                      <a:pt x="843" y="178"/>
                      <a:pt x="840" y="179"/>
                      <a:pt x="836" y="180"/>
                    </a:cubicBezTo>
                    <a:cubicBezTo>
                      <a:pt x="834" y="180"/>
                      <a:pt x="832" y="181"/>
                      <a:pt x="829" y="181"/>
                    </a:cubicBezTo>
                    <a:cubicBezTo>
                      <a:pt x="825" y="182"/>
                      <a:pt x="821" y="184"/>
                      <a:pt x="817" y="187"/>
                    </a:cubicBezTo>
                    <a:cubicBezTo>
                      <a:pt x="815" y="188"/>
                      <a:pt x="815" y="188"/>
                      <a:pt x="814" y="191"/>
                    </a:cubicBezTo>
                    <a:cubicBezTo>
                      <a:pt x="813" y="195"/>
                      <a:pt x="812" y="197"/>
                      <a:pt x="808" y="194"/>
                    </a:cubicBezTo>
                    <a:cubicBezTo>
                      <a:pt x="804" y="192"/>
                      <a:pt x="806" y="182"/>
                      <a:pt x="799" y="185"/>
                    </a:cubicBezTo>
                    <a:cubicBezTo>
                      <a:pt x="796" y="186"/>
                      <a:pt x="797" y="187"/>
                      <a:pt x="794" y="186"/>
                    </a:cubicBezTo>
                    <a:cubicBezTo>
                      <a:pt x="792" y="185"/>
                      <a:pt x="791" y="182"/>
                      <a:pt x="790" y="180"/>
                    </a:cubicBezTo>
                    <a:cubicBezTo>
                      <a:pt x="788" y="179"/>
                      <a:pt x="786" y="178"/>
                      <a:pt x="784" y="178"/>
                    </a:cubicBezTo>
                    <a:cubicBezTo>
                      <a:pt x="780" y="177"/>
                      <a:pt x="777" y="175"/>
                      <a:pt x="773" y="175"/>
                    </a:cubicBezTo>
                    <a:cubicBezTo>
                      <a:pt x="767" y="175"/>
                      <a:pt x="762" y="176"/>
                      <a:pt x="762" y="183"/>
                    </a:cubicBezTo>
                    <a:cubicBezTo>
                      <a:pt x="758" y="184"/>
                      <a:pt x="753" y="175"/>
                      <a:pt x="751" y="173"/>
                    </a:cubicBezTo>
                    <a:cubicBezTo>
                      <a:pt x="747" y="170"/>
                      <a:pt x="741" y="167"/>
                      <a:pt x="742" y="162"/>
                    </a:cubicBezTo>
                    <a:cubicBezTo>
                      <a:pt x="743" y="157"/>
                      <a:pt x="749" y="156"/>
                      <a:pt x="749" y="152"/>
                    </a:cubicBezTo>
                    <a:cubicBezTo>
                      <a:pt x="749" y="151"/>
                      <a:pt x="747" y="148"/>
                      <a:pt x="747" y="147"/>
                    </a:cubicBezTo>
                    <a:cubicBezTo>
                      <a:pt x="746" y="143"/>
                      <a:pt x="745" y="139"/>
                      <a:pt x="744" y="135"/>
                    </a:cubicBezTo>
                    <a:cubicBezTo>
                      <a:pt x="744" y="132"/>
                      <a:pt x="742" y="130"/>
                      <a:pt x="742" y="127"/>
                    </a:cubicBezTo>
                    <a:cubicBezTo>
                      <a:pt x="742" y="125"/>
                      <a:pt x="742" y="124"/>
                      <a:pt x="744" y="123"/>
                    </a:cubicBezTo>
                    <a:cubicBezTo>
                      <a:pt x="740" y="122"/>
                      <a:pt x="736" y="122"/>
                      <a:pt x="733" y="121"/>
                    </a:cubicBezTo>
                    <a:cubicBezTo>
                      <a:pt x="730" y="120"/>
                      <a:pt x="730" y="116"/>
                      <a:pt x="729" y="113"/>
                    </a:cubicBezTo>
                    <a:cubicBezTo>
                      <a:pt x="728" y="110"/>
                      <a:pt x="726" y="108"/>
                      <a:pt x="726" y="106"/>
                    </a:cubicBezTo>
                    <a:cubicBezTo>
                      <a:pt x="721" y="104"/>
                      <a:pt x="720" y="111"/>
                      <a:pt x="716" y="111"/>
                    </a:cubicBezTo>
                    <a:cubicBezTo>
                      <a:pt x="712" y="111"/>
                      <a:pt x="707" y="110"/>
                      <a:pt x="703" y="108"/>
                    </a:cubicBezTo>
                    <a:cubicBezTo>
                      <a:pt x="699" y="106"/>
                      <a:pt x="695" y="103"/>
                      <a:pt x="690" y="104"/>
                    </a:cubicBezTo>
                    <a:cubicBezTo>
                      <a:pt x="689" y="104"/>
                      <a:pt x="688" y="105"/>
                      <a:pt x="686" y="105"/>
                    </a:cubicBezTo>
                    <a:cubicBezTo>
                      <a:pt x="683" y="105"/>
                      <a:pt x="680" y="106"/>
                      <a:pt x="677" y="105"/>
                    </a:cubicBezTo>
                    <a:cubicBezTo>
                      <a:pt x="677" y="103"/>
                      <a:pt x="677" y="99"/>
                      <a:pt x="680" y="99"/>
                    </a:cubicBezTo>
                    <a:cubicBezTo>
                      <a:pt x="680" y="96"/>
                      <a:pt x="671" y="94"/>
                      <a:pt x="672" y="89"/>
                    </a:cubicBezTo>
                    <a:cubicBezTo>
                      <a:pt x="673" y="86"/>
                      <a:pt x="678" y="88"/>
                      <a:pt x="680" y="85"/>
                    </a:cubicBezTo>
                    <a:cubicBezTo>
                      <a:pt x="682" y="83"/>
                      <a:pt x="681" y="77"/>
                      <a:pt x="681" y="74"/>
                    </a:cubicBezTo>
                    <a:cubicBezTo>
                      <a:pt x="678" y="74"/>
                      <a:pt x="672" y="72"/>
                      <a:pt x="670" y="70"/>
                    </a:cubicBezTo>
                    <a:cubicBezTo>
                      <a:pt x="667" y="67"/>
                      <a:pt x="669" y="65"/>
                      <a:pt x="673" y="65"/>
                    </a:cubicBezTo>
                    <a:cubicBezTo>
                      <a:pt x="677" y="64"/>
                      <a:pt x="680" y="65"/>
                      <a:pt x="684" y="65"/>
                    </a:cubicBezTo>
                    <a:cubicBezTo>
                      <a:pt x="687" y="65"/>
                      <a:pt x="687" y="65"/>
                      <a:pt x="690" y="62"/>
                    </a:cubicBezTo>
                    <a:cubicBezTo>
                      <a:pt x="692" y="60"/>
                      <a:pt x="691" y="45"/>
                      <a:pt x="686" y="45"/>
                    </a:cubicBezTo>
                    <a:cubicBezTo>
                      <a:pt x="684" y="45"/>
                      <a:pt x="682" y="45"/>
                      <a:pt x="680" y="45"/>
                    </a:cubicBezTo>
                    <a:cubicBezTo>
                      <a:pt x="678" y="44"/>
                      <a:pt x="678" y="45"/>
                      <a:pt x="677" y="43"/>
                    </a:cubicBezTo>
                    <a:cubicBezTo>
                      <a:pt x="676" y="41"/>
                      <a:pt x="676" y="37"/>
                      <a:pt x="673" y="37"/>
                    </a:cubicBezTo>
                    <a:cubicBezTo>
                      <a:pt x="676" y="44"/>
                      <a:pt x="676" y="44"/>
                      <a:pt x="676" y="44"/>
                    </a:cubicBezTo>
                    <a:cubicBezTo>
                      <a:pt x="676" y="44"/>
                      <a:pt x="676" y="45"/>
                      <a:pt x="676" y="45"/>
                    </a:cubicBezTo>
                    <a:cubicBezTo>
                      <a:pt x="676" y="44"/>
                      <a:pt x="676" y="44"/>
                      <a:pt x="676" y="44"/>
                    </a:cubicBezTo>
                    <a:cubicBezTo>
                      <a:pt x="675" y="42"/>
                      <a:pt x="673" y="41"/>
                      <a:pt x="672" y="40"/>
                    </a:cubicBezTo>
                    <a:cubicBezTo>
                      <a:pt x="672" y="39"/>
                      <a:pt x="668" y="36"/>
                      <a:pt x="668" y="35"/>
                    </a:cubicBezTo>
                    <a:cubicBezTo>
                      <a:pt x="666" y="32"/>
                      <a:pt x="668" y="31"/>
                      <a:pt x="669" y="29"/>
                    </a:cubicBezTo>
                    <a:cubicBezTo>
                      <a:pt x="670" y="27"/>
                      <a:pt x="671" y="26"/>
                      <a:pt x="671" y="23"/>
                    </a:cubicBezTo>
                    <a:cubicBezTo>
                      <a:pt x="670" y="19"/>
                      <a:pt x="668" y="21"/>
                      <a:pt x="666" y="19"/>
                    </a:cubicBezTo>
                    <a:cubicBezTo>
                      <a:pt x="665" y="18"/>
                      <a:pt x="664" y="18"/>
                      <a:pt x="664" y="17"/>
                    </a:cubicBezTo>
                    <a:cubicBezTo>
                      <a:pt x="662" y="13"/>
                      <a:pt x="662" y="10"/>
                      <a:pt x="658" y="7"/>
                    </a:cubicBezTo>
                    <a:cubicBezTo>
                      <a:pt x="655" y="4"/>
                      <a:pt x="652" y="0"/>
                      <a:pt x="649" y="6"/>
                    </a:cubicBezTo>
                    <a:cubicBezTo>
                      <a:pt x="646" y="12"/>
                      <a:pt x="647" y="15"/>
                      <a:pt x="639" y="14"/>
                    </a:cubicBezTo>
                    <a:cubicBezTo>
                      <a:pt x="639" y="10"/>
                      <a:pt x="639" y="10"/>
                      <a:pt x="636" y="9"/>
                    </a:cubicBezTo>
                    <a:cubicBezTo>
                      <a:pt x="634" y="8"/>
                      <a:pt x="632" y="8"/>
                      <a:pt x="630" y="8"/>
                    </a:cubicBezTo>
                    <a:cubicBezTo>
                      <a:pt x="629" y="9"/>
                      <a:pt x="629" y="10"/>
                      <a:pt x="628" y="11"/>
                    </a:cubicBezTo>
                    <a:cubicBezTo>
                      <a:pt x="627" y="11"/>
                      <a:pt x="625" y="11"/>
                      <a:pt x="624" y="11"/>
                    </a:cubicBezTo>
                    <a:cubicBezTo>
                      <a:pt x="621" y="11"/>
                      <a:pt x="618" y="10"/>
                      <a:pt x="615" y="11"/>
                    </a:cubicBezTo>
                    <a:cubicBezTo>
                      <a:pt x="615" y="11"/>
                      <a:pt x="612" y="14"/>
                      <a:pt x="612" y="14"/>
                    </a:cubicBezTo>
                    <a:cubicBezTo>
                      <a:pt x="612" y="14"/>
                      <a:pt x="610" y="16"/>
                      <a:pt x="609" y="17"/>
                    </a:cubicBezTo>
                    <a:cubicBezTo>
                      <a:pt x="608" y="18"/>
                      <a:pt x="606" y="18"/>
                      <a:pt x="603" y="17"/>
                    </a:cubicBezTo>
                    <a:cubicBezTo>
                      <a:pt x="601" y="17"/>
                      <a:pt x="600" y="16"/>
                      <a:pt x="598" y="16"/>
                    </a:cubicBezTo>
                    <a:cubicBezTo>
                      <a:pt x="596" y="15"/>
                      <a:pt x="595" y="15"/>
                      <a:pt x="594" y="15"/>
                    </a:cubicBezTo>
                    <a:cubicBezTo>
                      <a:pt x="593" y="15"/>
                      <a:pt x="592" y="15"/>
                      <a:pt x="592" y="15"/>
                    </a:cubicBezTo>
                    <a:cubicBezTo>
                      <a:pt x="591" y="15"/>
                      <a:pt x="590" y="14"/>
                      <a:pt x="590" y="13"/>
                    </a:cubicBezTo>
                    <a:cubicBezTo>
                      <a:pt x="589" y="12"/>
                      <a:pt x="589" y="11"/>
                      <a:pt x="587" y="10"/>
                    </a:cubicBezTo>
                    <a:cubicBezTo>
                      <a:pt x="586" y="9"/>
                      <a:pt x="585" y="9"/>
                      <a:pt x="584" y="9"/>
                    </a:cubicBezTo>
                    <a:cubicBezTo>
                      <a:pt x="582" y="8"/>
                      <a:pt x="584" y="7"/>
                      <a:pt x="582" y="7"/>
                    </a:cubicBezTo>
                    <a:cubicBezTo>
                      <a:pt x="582" y="7"/>
                      <a:pt x="579" y="10"/>
                      <a:pt x="579" y="9"/>
                    </a:cubicBezTo>
                    <a:cubicBezTo>
                      <a:pt x="575" y="14"/>
                      <a:pt x="577" y="17"/>
                      <a:pt x="576" y="23"/>
                    </a:cubicBezTo>
                    <a:cubicBezTo>
                      <a:pt x="576" y="24"/>
                      <a:pt x="575" y="28"/>
                      <a:pt x="574" y="29"/>
                    </a:cubicBezTo>
                    <a:cubicBezTo>
                      <a:pt x="573" y="30"/>
                      <a:pt x="570" y="30"/>
                      <a:pt x="569" y="31"/>
                    </a:cubicBezTo>
                    <a:cubicBezTo>
                      <a:pt x="567" y="33"/>
                      <a:pt x="566" y="35"/>
                      <a:pt x="564" y="36"/>
                    </a:cubicBezTo>
                    <a:cubicBezTo>
                      <a:pt x="561" y="36"/>
                      <a:pt x="554" y="36"/>
                      <a:pt x="552" y="34"/>
                    </a:cubicBezTo>
                    <a:cubicBezTo>
                      <a:pt x="550" y="31"/>
                      <a:pt x="552" y="30"/>
                      <a:pt x="549" y="29"/>
                    </a:cubicBezTo>
                    <a:cubicBezTo>
                      <a:pt x="549" y="30"/>
                      <a:pt x="549" y="30"/>
                      <a:pt x="549" y="31"/>
                    </a:cubicBezTo>
                    <a:cubicBezTo>
                      <a:pt x="548" y="33"/>
                      <a:pt x="545" y="31"/>
                      <a:pt x="543" y="30"/>
                    </a:cubicBezTo>
                    <a:cubicBezTo>
                      <a:pt x="537" y="29"/>
                      <a:pt x="530" y="27"/>
                      <a:pt x="523" y="27"/>
                    </a:cubicBezTo>
                    <a:cubicBezTo>
                      <a:pt x="521" y="27"/>
                      <a:pt x="521" y="27"/>
                      <a:pt x="520" y="29"/>
                    </a:cubicBezTo>
                    <a:cubicBezTo>
                      <a:pt x="519" y="31"/>
                      <a:pt x="517" y="34"/>
                      <a:pt x="516" y="35"/>
                    </a:cubicBezTo>
                    <a:cubicBezTo>
                      <a:pt x="514" y="35"/>
                      <a:pt x="510" y="36"/>
                      <a:pt x="508" y="35"/>
                    </a:cubicBezTo>
                    <a:cubicBezTo>
                      <a:pt x="506" y="34"/>
                      <a:pt x="507" y="34"/>
                      <a:pt x="506" y="33"/>
                    </a:cubicBezTo>
                    <a:cubicBezTo>
                      <a:pt x="505" y="32"/>
                      <a:pt x="504" y="29"/>
                      <a:pt x="502" y="31"/>
                    </a:cubicBezTo>
                    <a:cubicBezTo>
                      <a:pt x="501" y="32"/>
                      <a:pt x="502" y="35"/>
                      <a:pt x="502" y="36"/>
                    </a:cubicBezTo>
                    <a:cubicBezTo>
                      <a:pt x="502" y="38"/>
                      <a:pt x="501" y="40"/>
                      <a:pt x="500" y="42"/>
                    </a:cubicBezTo>
                    <a:cubicBezTo>
                      <a:pt x="499" y="42"/>
                      <a:pt x="499" y="42"/>
                      <a:pt x="498" y="43"/>
                    </a:cubicBezTo>
                    <a:cubicBezTo>
                      <a:pt x="497" y="44"/>
                      <a:pt x="497" y="45"/>
                      <a:pt x="496" y="46"/>
                    </a:cubicBezTo>
                    <a:cubicBezTo>
                      <a:pt x="495" y="48"/>
                      <a:pt x="493" y="51"/>
                      <a:pt x="492" y="52"/>
                    </a:cubicBezTo>
                    <a:cubicBezTo>
                      <a:pt x="491" y="53"/>
                      <a:pt x="490" y="53"/>
                      <a:pt x="490" y="54"/>
                    </a:cubicBezTo>
                    <a:cubicBezTo>
                      <a:pt x="488" y="55"/>
                      <a:pt x="488" y="56"/>
                      <a:pt x="487" y="58"/>
                    </a:cubicBezTo>
                    <a:cubicBezTo>
                      <a:pt x="485" y="61"/>
                      <a:pt x="483" y="64"/>
                      <a:pt x="481" y="67"/>
                    </a:cubicBezTo>
                    <a:cubicBezTo>
                      <a:pt x="476" y="75"/>
                      <a:pt x="478" y="84"/>
                      <a:pt x="480" y="92"/>
                    </a:cubicBezTo>
                    <a:cubicBezTo>
                      <a:pt x="481" y="95"/>
                      <a:pt x="483" y="98"/>
                      <a:pt x="482" y="101"/>
                    </a:cubicBezTo>
                    <a:cubicBezTo>
                      <a:pt x="481" y="103"/>
                      <a:pt x="479" y="106"/>
                      <a:pt x="476" y="105"/>
                    </a:cubicBezTo>
                    <a:cubicBezTo>
                      <a:pt x="474" y="105"/>
                      <a:pt x="473" y="104"/>
                      <a:pt x="472" y="103"/>
                    </a:cubicBezTo>
                    <a:cubicBezTo>
                      <a:pt x="470" y="101"/>
                      <a:pt x="468" y="99"/>
                      <a:pt x="466" y="97"/>
                    </a:cubicBezTo>
                    <a:cubicBezTo>
                      <a:pt x="464" y="94"/>
                      <a:pt x="461" y="94"/>
                      <a:pt x="459" y="92"/>
                    </a:cubicBezTo>
                    <a:cubicBezTo>
                      <a:pt x="457" y="91"/>
                      <a:pt x="456" y="86"/>
                      <a:pt x="453" y="85"/>
                    </a:cubicBezTo>
                    <a:cubicBezTo>
                      <a:pt x="450" y="83"/>
                      <a:pt x="446" y="87"/>
                      <a:pt x="442" y="88"/>
                    </a:cubicBezTo>
                    <a:cubicBezTo>
                      <a:pt x="439" y="88"/>
                      <a:pt x="435" y="88"/>
                      <a:pt x="432" y="88"/>
                    </a:cubicBezTo>
                    <a:cubicBezTo>
                      <a:pt x="432" y="85"/>
                      <a:pt x="431" y="82"/>
                      <a:pt x="428" y="81"/>
                    </a:cubicBezTo>
                    <a:cubicBezTo>
                      <a:pt x="424" y="79"/>
                      <a:pt x="419" y="82"/>
                      <a:pt x="418" y="87"/>
                    </a:cubicBezTo>
                    <a:cubicBezTo>
                      <a:pt x="418" y="89"/>
                      <a:pt x="418" y="90"/>
                      <a:pt x="417" y="92"/>
                    </a:cubicBezTo>
                    <a:cubicBezTo>
                      <a:pt x="416" y="93"/>
                      <a:pt x="416" y="94"/>
                      <a:pt x="414" y="95"/>
                    </a:cubicBezTo>
                    <a:cubicBezTo>
                      <a:pt x="412" y="95"/>
                      <a:pt x="409" y="94"/>
                      <a:pt x="408" y="93"/>
                    </a:cubicBezTo>
                    <a:cubicBezTo>
                      <a:pt x="405" y="90"/>
                      <a:pt x="403" y="83"/>
                      <a:pt x="403" y="79"/>
                    </a:cubicBezTo>
                    <a:cubicBezTo>
                      <a:pt x="402" y="76"/>
                      <a:pt x="400" y="71"/>
                      <a:pt x="395" y="73"/>
                    </a:cubicBezTo>
                    <a:cubicBezTo>
                      <a:pt x="393" y="74"/>
                      <a:pt x="393" y="76"/>
                      <a:pt x="392" y="77"/>
                    </a:cubicBezTo>
                    <a:cubicBezTo>
                      <a:pt x="391" y="79"/>
                      <a:pt x="389" y="80"/>
                      <a:pt x="387" y="80"/>
                    </a:cubicBezTo>
                    <a:cubicBezTo>
                      <a:pt x="385" y="81"/>
                      <a:pt x="384" y="81"/>
                      <a:pt x="382" y="82"/>
                    </a:cubicBezTo>
                    <a:cubicBezTo>
                      <a:pt x="379" y="83"/>
                      <a:pt x="379" y="82"/>
                      <a:pt x="378" y="84"/>
                    </a:cubicBezTo>
                    <a:cubicBezTo>
                      <a:pt x="378" y="86"/>
                      <a:pt x="380" y="91"/>
                      <a:pt x="378" y="92"/>
                    </a:cubicBezTo>
                    <a:cubicBezTo>
                      <a:pt x="377" y="93"/>
                      <a:pt x="374" y="93"/>
                      <a:pt x="372" y="93"/>
                    </a:cubicBezTo>
                    <a:cubicBezTo>
                      <a:pt x="372" y="88"/>
                      <a:pt x="374" y="79"/>
                      <a:pt x="368" y="77"/>
                    </a:cubicBezTo>
                    <a:cubicBezTo>
                      <a:pt x="367" y="77"/>
                      <a:pt x="364" y="77"/>
                      <a:pt x="363" y="77"/>
                    </a:cubicBezTo>
                    <a:cubicBezTo>
                      <a:pt x="361" y="78"/>
                      <a:pt x="360" y="80"/>
                      <a:pt x="359" y="81"/>
                    </a:cubicBezTo>
                    <a:cubicBezTo>
                      <a:pt x="357" y="82"/>
                      <a:pt x="356" y="81"/>
                      <a:pt x="354" y="78"/>
                    </a:cubicBezTo>
                    <a:cubicBezTo>
                      <a:pt x="353" y="75"/>
                      <a:pt x="351" y="66"/>
                      <a:pt x="347" y="66"/>
                    </a:cubicBezTo>
                    <a:cubicBezTo>
                      <a:pt x="344" y="65"/>
                      <a:pt x="343" y="70"/>
                      <a:pt x="343" y="72"/>
                    </a:cubicBezTo>
                    <a:cubicBezTo>
                      <a:pt x="342" y="74"/>
                      <a:pt x="341" y="75"/>
                      <a:pt x="338" y="75"/>
                    </a:cubicBezTo>
                    <a:cubicBezTo>
                      <a:pt x="336" y="75"/>
                      <a:pt x="333" y="72"/>
                      <a:pt x="332" y="73"/>
                    </a:cubicBezTo>
                    <a:cubicBezTo>
                      <a:pt x="330" y="74"/>
                      <a:pt x="331" y="77"/>
                      <a:pt x="331" y="79"/>
                    </a:cubicBezTo>
                    <a:cubicBezTo>
                      <a:pt x="330" y="81"/>
                      <a:pt x="329" y="82"/>
                      <a:pt x="327" y="84"/>
                    </a:cubicBezTo>
                    <a:cubicBezTo>
                      <a:pt x="324" y="86"/>
                      <a:pt x="323" y="86"/>
                      <a:pt x="321" y="83"/>
                    </a:cubicBezTo>
                    <a:cubicBezTo>
                      <a:pt x="320" y="81"/>
                      <a:pt x="319" y="78"/>
                      <a:pt x="318" y="75"/>
                    </a:cubicBezTo>
                    <a:cubicBezTo>
                      <a:pt x="317" y="72"/>
                      <a:pt x="314" y="72"/>
                      <a:pt x="311" y="72"/>
                    </a:cubicBezTo>
                    <a:cubicBezTo>
                      <a:pt x="308" y="72"/>
                      <a:pt x="305" y="75"/>
                      <a:pt x="303" y="74"/>
                    </a:cubicBezTo>
                    <a:cubicBezTo>
                      <a:pt x="302" y="73"/>
                      <a:pt x="302" y="72"/>
                      <a:pt x="302" y="71"/>
                    </a:cubicBezTo>
                    <a:cubicBezTo>
                      <a:pt x="301" y="70"/>
                      <a:pt x="301" y="70"/>
                      <a:pt x="300" y="68"/>
                    </a:cubicBezTo>
                    <a:cubicBezTo>
                      <a:pt x="300" y="67"/>
                      <a:pt x="300" y="67"/>
                      <a:pt x="299" y="66"/>
                    </a:cubicBezTo>
                    <a:cubicBezTo>
                      <a:pt x="299" y="65"/>
                      <a:pt x="298" y="64"/>
                      <a:pt x="298" y="64"/>
                    </a:cubicBezTo>
                    <a:cubicBezTo>
                      <a:pt x="297" y="62"/>
                      <a:pt x="297" y="60"/>
                      <a:pt x="296" y="59"/>
                    </a:cubicBezTo>
                    <a:cubicBezTo>
                      <a:pt x="291" y="53"/>
                      <a:pt x="284" y="62"/>
                      <a:pt x="279" y="61"/>
                    </a:cubicBezTo>
                    <a:cubicBezTo>
                      <a:pt x="276" y="60"/>
                      <a:pt x="274" y="58"/>
                      <a:pt x="272" y="57"/>
                    </a:cubicBezTo>
                    <a:cubicBezTo>
                      <a:pt x="270" y="56"/>
                      <a:pt x="267" y="55"/>
                      <a:pt x="265" y="54"/>
                    </a:cubicBezTo>
                    <a:cubicBezTo>
                      <a:pt x="262" y="54"/>
                      <a:pt x="259" y="54"/>
                      <a:pt x="255" y="54"/>
                    </a:cubicBezTo>
                    <a:cubicBezTo>
                      <a:pt x="253" y="55"/>
                      <a:pt x="250" y="56"/>
                      <a:pt x="248" y="55"/>
                    </a:cubicBezTo>
                    <a:cubicBezTo>
                      <a:pt x="246" y="54"/>
                      <a:pt x="247" y="51"/>
                      <a:pt x="244" y="50"/>
                    </a:cubicBezTo>
                    <a:cubicBezTo>
                      <a:pt x="243" y="49"/>
                      <a:pt x="240" y="50"/>
                      <a:pt x="239" y="50"/>
                    </a:cubicBezTo>
                    <a:cubicBezTo>
                      <a:pt x="237" y="50"/>
                      <a:pt x="235" y="49"/>
                      <a:pt x="234" y="49"/>
                    </a:cubicBezTo>
                    <a:cubicBezTo>
                      <a:pt x="231" y="48"/>
                      <a:pt x="229" y="48"/>
                      <a:pt x="227" y="48"/>
                    </a:cubicBezTo>
                    <a:cubicBezTo>
                      <a:pt x="226" y="48"/>
                      <a:pt x="224" y="48"/>
                      <a:pt x="223" y="47"/>
                    </a:cubicBezTo>
                    <a:cubicBezTo>
                      <a:pt x="222" y="47"/>
                      <a:pt x="221" y="46"/>
                      <a:pt x="220" y="46"/>
                    </a:cubicBezTo>
                    <a:cubicBezTo>
                      <a:pt x="219" y="45"/>
                      <a:pt x="216" y="46"/>
                      <a:pt x="214" y="46"/>
                    </a:cubicBezTo>
                    <a:cubicBezTo>
                      <a:pt x="210" y="46"/>
                      <a:pt x="206" y="45"/>
                      <a:pt x="202" y="45"/>
                    </a:cubicBezTo>
                    <a:cubicBezTo>
                      <a:pt x="198" y="45"/>
                      <a:pt x="194" y="44"/>
                      <a:pt x="190" y="44"/>
                    </a:cubicBezTo>
                    <a:cubicBezTo>
                      <a:pt x="188" y="44"/>
                      <a:pt x="187" y="44"/>
                      <a:pt x="185" y="44"/>
                    </a:cubicBezTo>
                    <a:cubicBezTo>
                      <a:pt x="182" y="43"/>
                      <a:pt x="179" y="46"/>
                      <a:pt x="176" y="46"/>
                    </a:cubicBezTo>
                    <a:cubicBezTo>
                      <a:pt x="174" y="47"/>
                      <a:pt x="172" y="47"/>
                      <a:pt x="171" y="47"/>
                    </a:cubicBezTo>
                    <a:cubicBezTo>
                      <a:pt x="169" y="47"/>
                      <a:pt x="167" y="45"/>
                      <a:pt x="165" y="45"/>
                    </a:cubicBezTo>
                    <a:cubicBezTo>
                      <a:pt x="163" y="44"/>
                      <a:pt x="161" y="44"/>
                      <a:pt x="159" y="44"/>
                    </a:cubicBezTo>
                    <a:cubicBezTo>
                      <a:pt x="156" y="43"/>
                      <a:pt x="153" y="44"/>
                      <a:pt x="151" y="46"/>
                    </a:cubicBezTo>
                    <a:cubicBezTo>
                      <a:pt x="151" y="46"/>
                      <a:pt x="149" y="48"/>
                      <a:pt x="149" y="48"/>
                    </a:cubicBezTo>
                    <a:cubicBezTo>
                      <a:pt x="148" y="48"/>
                      <a:pt x="147" y="48"/>
                      <a:pt x="146" y="48"/>
                    </a:cubicBezTo>
                    <a:cubicBezTo>
                      <a:pt x="145" y="48"/>
                      <a:pt x="143" y="49"/>
                      <a:pt x="142" y="51"/>
                    </a:cubicBezTo>
                    <a:cubicBezTo>
                      <a:pt x="139" y="54"/>
                      <a:pt x="141" y="57"/>
                      <a:pt x="139" y="60"/>
                    </a:cubicBezTo>
                    <a:cubicBezTo>
                      <a:pt x="138" y="64"/>
                      <a:pt x="133" y="64"/>
                      <a:pt x="131" y="66"/>
                    </a:cubicBezTo>
                    <a:cubicBezTo>
                      <a:pt x="128" y="68"/>
                      <a:pt x="127" y="68"/>
                      <a:pt x="124" y="68"/>
                    </a:cubicBezTo>
                    <a:cubicBezTo>
                      <a:pt x="121" y="69"/>
                      <a:pt x="118" y="70"/>
                      <a:pt x="115" y="70"/>
                    </a:cubicBezTo>
                    <a:cubicBezTo>
                      <a:pt x="115" y="70"/>
                      <a:pt x="115" y="70"/>
                      <a:pt x="115" y="70"/>
                    </a:cubicBezTo>
                    <a:cubicBezTo>
                      <a:pt x="116" y="71"/>
                      <a:pt x="116" y="74"/>
                      <a:pt x="117" y="76"/>
                    </a:cubicBezTo>
                    <a:cubicBezTo>
                      <a:pt x="117" y="78"/>
                      <a:pt x="117" y="79"/>
                      <a:pt x="117" y="81"/>
                    </a:cubicBezTo>
                    <a:cubicBezTo>
                      <a:pt x="117" y="84"/>
                      <a:pt x="118" y="87"/>
                      <a:pt x="119" y="90"/>
                    </a:cubicBezTo>
                    <a:cubicBezTo>
                      <a:pt x="120" y="94"/>
                      <a:pt x="122" y="97"/>
                      <a:pt x="124" y="101"/>
                    </a:cubicBezTo>
                    <a:cubicBezTo>
                      <a:pt x="124" y="103"/>
                      <a:pt x="125" y="104"/>
                      <a:pt x="126" y="106"/>
                    </a:cubicBezTo>
                    <a:cubicBezTo>
                      <a:pt x="126" y="107"/>
                      <a:pt x="126" y="107"/>
                      <a:pt x="127" y="108"/>
                    </a:cubicBezTo>
                    <a:cubicBezTo>
                      <a:pt x="127" y="108"/>
                      <a:pt x="127" y="109"/>
                      <a:pt x="127" y="109"/>
                    </a:cubicBezTo>
                    <a:cubicBezTo>
                      <a:pt x="127" y="110"/>
                      <a:pt x="127" y="111"/>
                      <a:pt x="128" y="111"/>
                    </a:cubicBezTo>
                    <a:cubicBezTo>
                      <a:pt x="129" y="111"/>
                      <a:pt x="130" y="111"/>
                      <a:pt x="130" y="111"/>
                    </a:cubicBezTo>
                    <a:cubicBezTo>
                      <a:pt x="131" y="112"/>
                      <a:pt x="132" y="115"/>
                      <a:pt x="132" y="116"/>
                    </a:cubicBezTo>
                    <a:cubicBezTo>
                      <a:pt x="134" y="119"/>
                      <a:pt x="136" y="122"/>
                      <a:pt x="138" y="124"/>
                    </a:cubicBezTo>
                    <a:cubicBezTo>
                      <a:pt x="138" y="126"/>
                      <a:pt x="138" y="128"/>
                      <a:pt x="139" y="130"/>
                    </a:cubicBezTo>
                    <a:cubicBezTo>
                      <a:pt x="140" y="131"/>
                      <a:pt x="140" y="130"/>
                      <a:pt x="141" y="132"/>
                    </a:cubicBezTo>
                    <a:cubicBezTo>
                      <a:pt x="141" y="133"/>
                      <a:pt x="141" y="134"/>
                      <a:pt x="140" y="135"/>
                    </a:cubicBezTo>
                    <a:cubicBezTo>
                      <a:pt x="140" y="135"/>
                      <a:pt x="125" y="134"/>
                      <a:pt x="129" y="139"/>
                    </a:cubicBezTo>
                    <a:cubicBezTo>
                      <a:pt x="129" y="139"/>
                      <a:pt x="131" y="140"/>
                      <a:pt x="132" y="140"/>
                    </a:cubicBezTo>
                    <a:cubicBezTo>
                      <a:pt x="132" y="140"/>
                      <a:pt x="134" y="141"/>
                      <a:pt x="135" y="142"/>
                    </a:cubicBezTo>
                    <a:cubicBezTo>
                      <a:pt x="136" y="144"/>
                      <a:pt x="136" y="145"/>
                      <a:pt x="136" y="147"/>
                    </a:cubicBezTo>
                    <a:cubicBezTo>
                      <a:pt x="136" y="152"/>
                      <a:pt x="136" y="157"/>
                      <a:pt x="136" y="162"/>
                    </a:cubicBezTo>
                    <a:cubicBezTo>
                      <a:pt x="136" y="162"/>
                      <a:pt x="135" y="163"/>
                      <a:pt x="135" y="164"/>
                    </a:cubicBezTo>
                    <a:cubicBezTo>
                      <a:pt x="136" y="163"/>
                      <a:pt x="136" y="163"/>
                      <a:pt x="136" y="162"/>
                    </a:cubicBezTo>
                    <a:cubicBezTo>
                      <a:pt x="136" y="162"/>
                      <a:pt x="136" y="161"/>
                      <a:pt x="136" y="161"/>
                    </a:cubicBezTo>
                    <a:cubicBezTo>
                      <a:pt x="136" y="161"/>
                      <a:pt x="136" y="162"/>
                      <a:pt x="136" y="162"/>
                    </a:cubicBezTo>
                    <a:cubicBezTo>
                      <a:pt x="136" y="165"/>
                      <a:pt x="137" y="169"/>
                      <a:pt x="135" y="170"/>
                    </a:cubicBezTo>
                    <a:cubicBezTo>
                      <a:pt x="134" y="171"/>
                      <a:pt x="128" y="170"/>
                      <a:pt x="126" y="170"/>
                    </a:cubicBezTo>
                    <a:cubicBezTo>
                      <a:pt x="120" y="170"/>
                      <a:pt x="114" y="172"/>
                      <a:pt x="109" y="176"/>
                    </a:cubicBezTo>
                    <a:cubicBezTo>
                      <a:pt x="105" y="178"/>
                      <a:pt x="101" y="183"/>
                      <a:pt x="98" y="186"/>
                    </a:cubicBezTo>
                    <a:cubicBezTo>
                      <a:pt x="96" y="190"/>
                      <a:pt x="92" y="192"/>
                      <a:pt x="90" y="196"/>
                    </a:cubicBezTo>
                    <a:cubicBezTo>
                      <a:pt x="89" y="197"/>
                      <a:pt x="87" y="197"/>
                      <a:pt x="86" y="199"/>
                    </a:cubicBezTo>
                    <a:cubicBezTo>
                      <a:pt x="85" y="199"/>
                      <a:pt x="85" y="201"/>
                      <a:pt x="85" y="203"/>
                    </a:cubicBezTo>
                    <a:cubicBezTo>
                      <a:pt x="84" y="203"/>
                      <a:pt x="84" y="204"/>
                      <a:pt x="84" y="204"/>
                    </a:cubicBezTo>
                    <a:cubicBezTo>
                      <a:pt x="84" y="205"/>
                      <a:pt x="84" y="206"/>
                      <a:pt x="84" y="206"/>
                    </a:cubicBezTo>
                    <a:cubicBezTo>
                      <a:pt x="83" y="207"/>
                      <a:pt x="82" y="209"/>
                      <a:pt x="81" y="211"/>
                    </a:cubicBezTo>
                    <a:cubicBezTo>
                      <a:pt x="78" y="216"/>
                      <a:pt x="75" y="220"/>
                      <a:pt x="72" y="225"/>
                    </a:cubicBezTo>
                    <a:cubicBezTo>
                      <a:pt x="71" y="228"/>
                      <a:pt x="69" y="231"/>
                      <a:pt x="68" y="233"/>
                    </a:cubicBezTo>
                    <a:cubicBezTo>
                      <a:pt x="68" y="234"/>
                      <a:pt x="67" y="235"/>
                      <a:pt x="66" y="235"/>
                    </a:cubicBezTo>
                    <a:cubicBezTo>
                      <a:pt x="65" y="237"/>
                      <a:pt x="64" y="237"/>
                      <a:pt x="62" y="238"/>
                    </a:cubicBezTo>
                    <a:cubicBezTo>
                      <a:pt x="61" y="239"/>
                      <a:pt x="60" y="241"/>
                      <a:pt x="58" y="242"/>
                    </a:cubicBezTo>
                    <a:cubicBezTo>
                      <a:pt x="57" y="244"/>
                      <a:pt x="57" y="242"/>
                      <a:pt x="57" y="244"/>
                    </a:cubicBezTo>
                    <a:cubicBezTo>
                      <a:pt x="57" y="244"/>
                      <a:pt x="57" y="245"/>
                      <a:pt x="57" y="246"/>
                    </a:cubicBezTo>
                    <a:cubicBezTo>
                      <a:pt x="57" y="247"/>
                      <a:pt x="57" y="247"/>
                      <a:pt x="57" y="248"/>
                    </a:cubicBezTo>
                    <a:cubicBezTo>
                      <a:pt x="58" y="251"/>
                      <a:pt x="59" y="252"/>
                      <a:pt x="59" y="254"/>
                    </a:cubicBezTo>
                    <a:cubicBezTo>
                      <a:pt x="59" y="255"/>
                      <a:pt x="59" y="257"/>
                      <a:pt x="59" y="258"/>
                    </a:cubicBezTo>
                    <a:cubicBezTo>
                      <a:pt x="60" y="258"/>
                      <a:pt x="60" y="259"/>
                      <a:pt x="61" y="259"/>
                    </a:cubicBezTo>
                    <a:cubicBezTo>
                      <a:pt x="62" y="261"/>
                      <a:pt x="61" y="264"/>
                      <a:pt x="61" y="266"/>
                    </a:cubicBezTo>
                    <a:cubicBezTo>
                      <a:pt x="61" y="269"/>
                      <a:pt x="60" y="274"/>
                      <a:pt x="64" y="275"/>
                    </a:cubicBezTo>
                    <a:cubicBezTo>
                      <a:pt x="65" y="275"/>
                      <a:pt x="66" y="275"/>
                      <a:pt x="66" y="275"/>
                    </a:cubicBezTo>
                    <a:cubicBezTo>
                      <a:pt x="67" y="275"/>
                      <a:pt x="67" y="276"/>
                      <a:pt x="67" y="276"/>
                    </a:cubicBezTo>
                    <a:cubicBezTo>
                      <a:pt x="68" y="277"/>
                      <a:pt x="68" y="277"/>
                      <a:pt x="69" y="277"/>
                    </a:cubicBezTo>
                    <a:cubicBezTo>
                      <a:pt x="69" y="280"/>
                      <a:pt x="72" y="282"/>
                      <a:pt x="71" y="285"/>
                    </a:cubicBezTo>
                    <a:cubicBezTo>
                      <a:pt x="69" y="285"/>
                      <a:pt x="65" y="285"/>
                      <a:pt x="63" y="285"/>
                    </a:cubicBezTo>
                    <a:cubicBezTo>
                      <a:pt x="62" y="284"/>
                      <a:pt x="62" y="283"/>
                      <a:pt x="61" y="283"/>
                    </a:cubicBezTo>
                    <a:cubicBezTo>
                      <a:pt x="60" y="283"/>
                      <a:pt x="59" y="283"/>
                      <a:pt x="58" y="283"/>
                    </a:cubicBezTo>
                    <a:cubicBezTo>
                      <a:pt x="55" y="283"/>
                      <a:pt x="54" y="282"/>
                      <a:pt x="52" y="280"/>
                    </a:cubicBezTo>
                    <a:cubicBezTo>
                      <a:pt x="52" y="281"/>
                      <a:pt x="52" y="281"/>
                      <a:pt x="51" y="281"/>
                    </a:cubicBezTo>
                    <a:cubicBezTo>
                      <a:pt x="51" y="283"/>
                      <a:pt x="50" y="284"/>
                      <a:pt x="50" y="285"/>
                    </a:cubicBezTo>
                    <a:cubicBezTo>
                      <a:pt x="47" y="289"/>
                      <a:pt x="44" y="290"/>
                      <a:pt x="40" y="291"/>
                    </a:cubicBezTo>
                    <a:cubicBezTo>
                      <a:pt x="39" y="291"/>
                      <a:pt x="37" y="291"/>
                      <a:pt x="35" y="291"/>
                    </a:cubicBezTo>
                    <a:cubicBezTo>
                      <a:pt x="33" y="291"/>
                      <a:pt x="31" y="290"/>
                      <a:pt x="29" y="290"/>
                    </a:cubicBezTo>
                    <a:cubicBezTo>
                      <a:pt x="28" y="290"/>
                      <a:pt x="27" y="291"/>
                      <a:pt x="25" y="291"/>
                    </a:cubicBezTo>
                    <a:cubicBezTo>
                      <a:pt x="24" y="292"/>
                      <a:pt x="21" y="291"/>
                      <a:pt x="20" y="292"/>
                    </a:cubicBezTo>
                    <a:cubicBezTo>
                      <a:pt x="19" y="292"/>
                      <a:pt x="18" y="293"/>
                      <a:pt x="18" y="293"/>
                    </a:cubicBezTo>
                    <a:cubicBezTo>
                      <a:pt x="17" y="294"/>
                      <a:pt x="18" y="294"/>
                      <a:pt x="17" y="295"/>
                    </a:cubicBezTo>
                    <a:cubicBezTo>
                      <a:pt x="17" y="297"/>
                      <a:pt x="15" y="299"/>
                      <a:pt x="14" y="300"/>
                    </a:cubicBezTo>
                    <a:cubicBezTo>
                      <a:pt x="13" y="302"/>
                      <a:pt x="12" y="303"/>
                      <a:pt x="12" y="305"/>
                    </a:cubicBezTo>
                    <a:cubicBezTo>
                      <a:pt x="11" y="307"/>
                      <a:pt x="11" y="308"/>
                      <a:pt x="11" y="310"/>
                    </a:cubicBezTo>
                    <a:cubicBezTo>
                      <a:pt x="11" y="311"/>
                      <a:pt x="9" y="313"/>
                      <a:pt x="9" y="314"/>
                    </a:cubicBezTo>
                    <a:cubicBezTo>
                      <a:pt x="8" y="315"/>
                      <a:pt x="7" y="317"/>
                      <a:pt x="7" y="318"/>
                    </a:cubicBezTo>
                    <a:cubicBezTo>
                      <a:pt x="6" y="320"/>
                      <a:pt x="6" y="321"/>
                      <a:pt x="5" y="322"/>
                    </a:cubicBezTo>
                    <a:cubicBezTo>
                      <a:pt x="5" y="324"/>
                      <a:pt x="4" y="324"/>
                      <a:pt x="4" y="326"/>
                    </a:cubicBezTo>
                    <a:cubicBezTo>
                      <a:pt x="4" y="328"/>
                      <a:pt x="4" y="327"/>
                      <a:pt x="3" y="328"/>
                    </a:cubicBezTo>
                    <a:cubicBezTo>
                      <a:pt x="2" y="329"/>
                      <a:pt x="1" y="330"/>
                      <a:pt x="0" y="331"/>
                    </a:cubicBezTo>
                    <a:cubicBezTo>
                      <a:pt x="20" y="353"/>
                      <a:pt x="20" y="353"/>
                      <a:pt x="20" y="353"/>
                    </a:cubicBezTo>
                    <a:cubicBezTo>
                      <a:pt x="22" y="353"/>
                      <a:pt x="22" y="353"/>
                      <a:pt x="23" y="354"/>
                    </a:cubicBezTo>
                    <a:cubicBezTo>
                      <a:pt x="23" y="355"/>
                      <a:pt x="23" y="356"/>
                      <a:pt x="23" y="357"/>
                    </a:cubicBezTo>
                    <a:cubicBezTo>
                      <a:pt x="23" y="359"/>
                      <a:pt x="22" y="362"/>
                      <a:pt x="24" y="362"/>
                    </a:cubicBezTo>
                    <a:cubicBezTo>
                      <a:pt x="25" y="360"/>
                      <a:pt x="28" y="362"/>
                      <a:pt x="31" y="362"/>
                    </a:cubicBezTo>
                    <a:cubicBezTo>
                      <a:pt x="32" y="362"/>
                      <a:pt x="33" y="362"/>
                      <a:pt x="34" y="362"/>
                    </a:cubicBezTo>
                    <a:cubicBezTo>
                      <a:pt x="35" y="363"/>
                      <a:pt x="36" y="363"/>
                      <a:pt x="37" y="363"/>
                    </a:cubicBezTo>
                    <a:cubicBezTo>
                      <a:pt x="37" y="364"/>
                      <a:pt x="38" y="364"/>
                      <a:pt x="39" y="365"/>
                    </a:cubicBezTo>
                    <a:cubicBezTo>
                      <a:pt x="39" y="366"/>
                      <a:pt x="39" y="368"/>
                      <a:pt x="39" y="369"/>
                    </a:cubicBezTo>
                    <a:cubicBezTo>
                      <a:pt x="39" y="370"/>
                      <a:pt x="39" y="371"/>
                      <a:pt x="39" y="372"/>
                    </a:cubicBezTo>
                    <a:cubicBezTo>
                      <a:pt x="42" y="371"/>
                      <a:pt x="46" y="373"/>
                      <a:pt x="49" y="372"/>
                    </a:cubicBezTo>
                    <a:cubicBezTo>
                      <a:pt x="50" y="371"/>
                      <a:pt x="51" y="370"/>
                      <a:pt x="52" y="369"/>
                    </a:cubicBezTo>
                    <a:cubicBezTo>
                      <a:pt x="53" y="368"/>
                      <a:pt x="54" y="367"/>
                      <a:pt x="56" y="366"/>
                    </a:cubicBezTo>
                    <a:cubicBezTo>
                      <a:pt x="59" y="364"/>
                      <a:pt x="62" y="365"/>
                      <a:pt x="64" y="367"/>
                    </a:cubicBezTo>
                    <a:cubicBezTo>
                      <a:pt x="66" y="370"/>
                      <a:pt x="65" y="372"/>
                      <a:pt x="69" y="373"/>
                    </a:cubicBezTo>
                    <a:cubicBezTo>
                      <a:pt x="73" y="373"/>
                      <a:pt x="76" y="372"/>
                      <a:pt x="80" y="372"/>
                    </a:cubicBezTo>
                    <a:cubicBezTo>
                      <a:pt x="81" y="372"/>
                      <a:pt x="83" y="371"/>
                      <a:pt x="85" y="373"/>
                    </a:cubicBezTo>
                    <a:cubicBezTo>
                      <a:pt x="86" y="373"/>
                      <a:pt x="88" y="377"/>
                      <a:pt x="88" y="378"/>
                    </a:cubicBezTo>
                    <a:cubicBezTo>
                      <a:pt x="89" y="376"/>
                      <a:pt x="89" y="375"/>
                      <a:pt x="91" y="375"/>
                    </a:cubicBezTo>
                    <a:cubicBezTo>
                      <a:pt x="93" y="375"/>
                      <a:pt x="95" y="375"/>
                      <a:pt x="97" y="375"/>
                    </a:cubicBezTo>
                    <a:cubicBezTo>
                      <a:pt x="99" y="375"/>
                      <a:pt x="104" y="375"/>
                      <a:pt x="106" y="376"/>
                    </a:cubicBezTo>
                    <a:cubicBezTo>
                      <a:pt x="107" y="377"/>
                      <a:pt x="107" y="378"/>
                      <a:pt x="108" y="378"/>
                    </a:cubicBezTo>
                    <a:cubicBezTo>
                      <a:pt x="108" y="378"/>
                      <a:pt x="109" y="378"/>
                      <a:pt x="110" y="378"/>
                    </a:cubicBezTo>
                    <a:cubicBezTo>
                      <a:pt x="114" y="380"/>
                      <a:pt x="117" y="380"/>
                      <a:pt x="122" y="378"/>
                    </a:cubicBezTo>
                    <a:cubicBezTo>
                      <a:pt x="123" y="378"/>
                      <a:pt x="133" y="374"/>
                      <a:pt x="132" y="378"/>
                    </a:cubicBezTo>
                    <a:cubicBezTo>
                      <a:pt x="135" y="378"/>
                      <a:pt x="134" y="379"/>
                      <a:pt x="135" y="380"/>
                    </a:cubicBezTo>
                    <a:cubicBezTo>
                      <a:pt x="136" y="381"/>
                      <a:pt x="138" y="382"/>
                      <a:pt x="139" y="383"/>
                    </a:cubicBezTo>
                    <a:cubicBezTo>
                      <a:pt x="140" y="384"/>
                      <a:pt x="141" y="386"/>
                      <a:pt x="143" y="388"/>
                    </a:cubicBezTo>
                    <a:cubicBezTo>
                      <a:pt x="147" y="391"/>
                      <a:pt x="153" y="393"/>
                      <a:pt x="158" y="391"/>
                    </a:cubicBezTo>
                    <a:cubicBezTo>
                      <a:pt x="161" y="390"/>
                      <a:pt x="162" y="386"/>
                      <a:pt x="163" y="384"/>
                    </a:cubicBezTo>
                    <a:cubicBezTo>
                      <a:pt x="165" y="381"/>
                      <a:pt x="166" y="379"/>
                      <a:pt x="170" y="379"/>
                    </a:cubicBezTo>
                    <a:cubicBezTo>
                      <a:pt x="175" y="379"/>
                      <a:pt x="181" y="379"/>
                      <a:pt x="187" y="379"/>
                    </a:cubicBezTo>
                    <a:cubicBezTo>
                      <a:pt x="187" y="379"/>
                      <a:pt x="189" y="379"/>
                      <a:pt x="189" y="379"/>
                    </a:cubicBezTo>
                    <a:cubicBezTo>
                      <a:pt x="190" y="379"/>
                      <a:pt x="190" y="378"/>
                      <a:pt x="190" y="378"/>
                    </a:cubicBezTo>
                    <a:cubicBezTo>
                      <a:pt x="192" y="377"/>
                      <a:pt x="195" y="376"/>
                      <a:pt x="197" y="376"/>
                    </a:cubicBezTo>
                    <a:cubicBezTo>
                      <a:pt x="202" y="376"/>
                      <a:pt x="207" y="374"/>
                      <a:pt x="211" y="374"/>
                    </a:cubicBezTo>
                    <a:cubicBezTo>
                      <a:pt x="215" y="374"/>
                      <a:pt x="216" y="375"/>
                      <a:pt x="218" y="372"/>
                    </a:cubicBezTo>
                    <a:cubicBezTo>
                      <a:pt x="220" y="370"/>
                      <a:pt x="220" y="367"/>
                      <a:pt x="222" y="365"/>
                    </a:cubicBezTo>
                    <a:cubicBezTo>
                      <a:pt x="223" y="362"/>
                      <a:pt x="227" y="360"/>
                      <a:pt x="230" y="359"/>
                    </a:cubicBezTo>
                    <a:cubicBezTo>
                      <a:pt x="233" y="357"/>
                      <a:pt x="235" y="356"/>
                      <a:pt x="238" y="355"/>
                    </a:cubicBezTo>
                    <a:cubicBezTo>
                      <a:pt x="238" y="355"/>
                      <a:pt x="238" y="355"/>
                      <a:pt x="238" y="355"/>
                    </a:cubicBezTo>
                    <a:cubicBezTo>
                      <a:pt x="241" y="354"/>
                      <a:pt x="244" y="351"/>
                      <a:pt x="248" y="351"/>
                    </a:cubicBezTo>
                    <a:cubicBezTo>
                      <a:pt x="248" y="350"/>
                      <a:pt x="248" y="350"/>
                      <a:pt x="248" y="350"/>
                    </a:cubicBezTo>
                    <a:cubicBezTo>
                      <a:pt x="249" y="349"/>
                      <a:pt x="249" y="349"/>
                      <a:pt x="250" y="348"/>
                    </a:cubicBezTo>
                    <a:cubicBezTo>
                      <a:pt x="250" y="347"/>
                      <a:pt x="250" y="346"/>
                      <a:pt x="250" y="345"/>
                    </a:cubicBezTo>
                    <a:cubicBezTo>
                      <a:pt x="250" y="344"/>
                      <a:pt x="249" y="344"/>
                      <a:pt x="249" y="343"/>
                    </a:cubicBezTo>
                    <a:cubicBezTo>
                      <a:pt x="249" y="342"/>
                      <a:pt x="249" y="341"/>
                      <a:pt x="249" y="340"/>
                    </a:cubicBezTo>
                    <a:cubicBezTo>
                      <a:pt x="249" y="338"/>
                      <a:pt x="250" y="338"/>
                      <a:pt x="252" y="337"/>
                    </a:cubicBezTo>
                    <a:cubicBezTo>
                      <a:pt x="252" y="337"/>
                      <a:pt x="253" y="337"/>
                      <a:pt x="254" y="337"/>
                    </a:cubicBezTo>
                    <a:cubicBezTo>
                      <a:pt x="255" y="337"/>
                      <a:pt x="254" y="340"/>
                      <a:pt x="256" y="340"/>
                    </a:cubicBezTo>
                    <a:cubicBezTo>
                      <a:pt x="257" y="341"/>
                      <a:pt x="258" y="340"/>
                      <a:pt x="259" y="341"/>
                    </a:cubicBezTo>
                    <a:cubicBezTo>
                      <a:pt x="260" y="341"/>
                      <a:pt x="260" y="342"/>
                      <a:pt x="260" y="343"/>
                    </a:cubicBezTo>
                    <a:cubicBezTo>
                      <a:pt x="261" y="344"/>
                      <a:pt x="262" y="344"/>
                      <a:pt x="263" y="343"/>
                    </a:cubicBezTo>
                    <a:cubicBezTo>
                      <a:pt x="266" y="342"/>
                      <a:pt x="266" y="341"/>
                      <a:pt x="267" y="339"/>
                    </a:cubicBezTo>
                    <a:cubicBezTo>
                      <a:pt x="267" y="337"/>
                      <a:pt x="267" y="337"/>
                      <a:pt x="269" y="338"/>
                    </a:cubicBezTo>
                    <a:cubicBezTo>
                      <a:pt x="271" y="338"/>
                      <a:pt x="272" y="339"/>
                      <a:pt x="273" y="341"/>
                    </a:cubicBezTo>
                    <a:cubicBezTo>
                      <a:pt x="273" y="342"/>
                      <a:pt x="273" y="342"/>
                      <a:pt x="274" y="342"/>
                    </a:cubicBezTo>
                    <a:cubicBezTo>
                      <a:pt x="276" y="342"/>
                      <a:pt x="279" y="341"/>
                      <a:pt x="280" y="340"/>
                    </a:cubicBezTo>
                    <a:cubicBezTo>
                      <a:pt x="281" y="339"/>
                      <a:pt x="282" y="339"/>
                      <a:pt x="283" y="338"/>
                    </a:cubicBezTo>
                    <a:cubicBezTo>
                      <a:pt x="283" y="337"/>
                      <a:pt x="283" y="336"/>
                      <a:pt x="284" y="336"/>
                    </a:cubicBezTo>
                    <a:cubicBezTo>
                      <a:pt x="284" y="335"/>
                      <a:pt x="285" y="336"/>
                      <a:pt x="285" y="337"/>
                    </a:cubicBezTo>
                    <a:cubicBezTo>
                      <a:pt x="286" y="337"/>
                      <a:pt x="286" y="338"/>
                      <a:pt x="287" y="339"/>
                    </a:cubicBezTo>
                    <a:cubicBezTo>
                      <a:pt x="288" y="340"/>
                      <a:pt x="289" y="340"/>
                      <a:pt x="290" y="340"/>
                    </a:cubicBezTo>
                    <a:cubicBezTo>
                      <a:pt x="293" y="339"/>
                      <a:pt x="296" y="337"/>
                      <a:pt x="296" y="334"/>
                    </a:cubicBezTo>
                    <a:cubicBezTo>
                      <a:pt x="296" y="334"/>
                      <a:pt x="296" y="332"/>
                      <a:pt x="297" y="332"/>
                    </a:cubicBezTo>
                    <a:cubicBezTo>
                      <a:pt x="299" y="330"/>
                      <a:pt x="301" y="335"/>
                      <a:pt x="302" y="335"/>
                    </a:cubicBezTo>
                    <a:cubicBezTo>
                      <a:pt x="302" y="336"/>
                      <a:pt x="304" y="336"/>
                      <a:pt x="305" y="336"/>
                    </a:cubicBezTo>
                    <a:cubicBezTo>
                      <a:pt x="307" y="336"/>
                      <a:pt x="306" y="336"/>
                      <a:pt x="308" y="337"/>
                    </a:cubicBezTo>
                    <a:cubicBezTo>
                      <a:pt x="308" y="338"/>
                      <a:pt x="309" y="338"/>
                      <a:pt x="309" y="338"/>
                    </a:cubicBezTo>
                    <a:cubicBezTo>
                      <a:pt x="310" y="339"/>
                      <a:pt x="311" y="340"/>
                      <a:pt x="312" y="341"/>
                    </a:cubicBezTo>
                    <a:cubicBezTo>
                      <a:pt x="314" y="342"/>
                      <a:pt x="316" y="342"/>
                      <a:pt x="317" y="343"/>
                    </a:cubicBezTo>
                    <a:cubicBezTo>
                      <a:pt x="319" y="344"/>
                      <a:pt x="321" y="347"/>
                      <a:pt x="323" y="348"/>
                    </a:cubicBezTo>
                    <a:cubicBezTo>
                      <a:pt x="324" y="348"/>
                      <a:pt x="325" y="348"/>
                      <a:pt x="325" y="349"/>
                    </a:cubicBezTo>
                    <a:cubicBezTo>
                      <a:pt x="325" y="349"/>
                      <a:pt x="325" y="350"/>
                      <a:pt x="325" y="350"/>
                    </a:cubicBezTo>
                    <a:cubicBezTo>
                      <a:pt x="325" y="352"/>
                      <a:pt x="325" y="351"/>
                      <a:pt x="327" y="351"/>
                    </a:cubicBezTo>
                    <a:cubicBezTo>
                      <a:pt x="328" y="352"/>
                      <a:pt x="327" y="352"/>
                      <a:pt x="328" y="353"/>
                    </a:cubicBezTo>
                    <a:cubicBezTo>
                      <a:pt x="328" y="354"/>
                      <a:pt x="330" y="355"/>
                      <a:pt x="331" y="355"/>
                    </a:cubicBezTo>
                    <a:cubicBezTo>
                      <a:pt x="331" y="354"/>
                      <a:pt x="332" y="354"/>
                      <a:pt x="332" y="353"/>
                    </a:cubicBezTo>
                    <a:cubicBezTo>
                      <a:pt x="334" y="353"/>
                      <a:pt x="335" y="354"/>
                      <a:pt x="336" y="353"/>
                    </a:cubicBezTo>
                    <a:cubicBezTo>
                      <a:pt x="338" y="353"/>
                      <a:pt x="339" y="352"/>
                      <a:pt x="340" y="354"/>
                    </a:cubicBezTo>
                    <a:cubicBezTo>
                      <a:pt x="341" y="356"/>
                      <a:pt x="340" y="358"/>
                      <a:pt x="339" y="359"/>
                    </a:cubicBezTo>
                    <a:cubicBezTo>
                      <a:pt x="338" y="360"/>
                      <a:pt x="337" y="360"/>
                      <a:pt x="337" y="361"/>
                    </a:cubicBezTo>
                    <a:cubicBezTo>
                      <a:pt x="338" y="362"/>
                      <a:pt x="339" y="361"/>
                      <a:pt x="340" y="361"/>
                    </a:cubicBezTo>
                    <a:cubicBezTo>
                      <a:pt x="341" y="361"/>
                      <a:pt x="342" y="359"/>
                      <a:pt x="343" y="359"/>
                    </a:cubicBezTo>
                    <a:cubicBezTo>
                      <a:pt x="343" y="360"/>
                      <a:pt x="343" y="362"/>
                      <a:pt x="343" y="362"/>
                    </a:cubicBezTo>
                    <a:cubicBezTo>
                      <a:pt x="343" y="363"/>
                      <a:pt x="343" y="365"/>
                      <a:pt x="343" y="365"/>
                    </a:cubicBezTo>
                    <a:cubicBezTo>
                      <a:pt x="344" y="365"/>
                      <a:pt x="344" y="365"/>
                      <a:pt x="345" y="365"/>
                    </a:cubicBezTo>
                    <a:cubicBezTo>
                      <a:pt x="345" y="366"/>
                      <a:pt x="345" y="367"/>
                      <a:pt x="345" y="367"/>
                    </a:cubicBezTo>
                    <a:cubicBezTo>
                      <a:pt x="346" y="367"/>
                      <a:pt x="347" y="365"/>
                      <a:pt x="347" y="364"/>
                    </a:cubicBezTo>
                    <a:cubicBezTo>
                      <a:pt x="347" y="364"/>
                      <a:pt x="347" y="361"/>
                      <a:pt x="347" y="360"/>
                    </a:cubicBezTo>
                    <a:cubicBezTo>
                      <a:pt x="348" y="359"/>
                      <a:pt x="351" y="360"/>
                      <a:pt x="352" y="360"/>
                    </a:cubicBezTo>
                    <a:cubicBezTo>
                      <a:pt x="353" y="360"/>
                      <a:pt x="354" y="360"/>
                      <a:pt x="355" y="361"/>
                    </a:cubicBezTo>
                    <a:cubicBezTo>
                      <a:pt x="356" y="361"/>
                      <a:pt x="357" y="362"/>
                      <a:pt x="357" y="362"/>
                    </a:cubicBezTo>
                    <a:cubicBezTo>
                      <a:pt x="358" y="362"/>
                      <a:pt x="359" y="362"/>
                      <a:pt x="359" y="362"/>
                    </a:cubicBezTo>
                    <a:cubicBezTo>
                      <a:pt x="361" y="362"/>
                      <a:pt x="360" y="362"/>
                      <a:pt x="361" y="363"/>
                    </a:cubicBezTo>
                    <a:cubicBezTo>
                      <a:pt x="362" y="363"/>
                      <a:pt x="362" y="364"/>
                      <a:pt x="363" y="365"/>
                    </a:cubicBezTo>
                    <a:cubicBezTo>
                      <a:pt x="364" y="365"/>
                      <a:pt x="364" y="364"/>
                      <a:pt x="365" y="365"/>
                    </a:cubicBezTo>
                    <a:cubicBezTo>
                      <a:pt x="366" y="365"/>
                      <a:pt x="365" y="367"/>
                      <a:pt x="365" y="368"/>
                    </a:cubicBezTo>
                    <a:cubicBezTo>
                      <a:pt x="365" y="370"/>
                      <a:pt x="365" y="370"/>
                      <a:pt x="367" y="372"/>
                    </a:cubicBezTo>
                    <a:cubicBezTo>
                      <a:pt x="368" y="373"/>
                      <a:pt x="368" y="375"/>
                      <a:pt x="369" y="375"/>
                    </a:cubicBezTo>
                    <a:cubicBezTo>
                      <a:pt x="371" y="375"/>
                      <a:pt x="371" y="375"/>
                      <a:pt x="372" y="376"/>
                    </a:cubicBezTo>
                    <a:cubicBezTo>
                      <a:pt x="373" y="377"/>
                      <a:pt x="372" y="377"/>
                      <a:pt x="373" y="378"/>
                    </a:cubicBezTo>
                    <a:cubicBezTo>
                      <a:pt x="374" y="378"/>
                      <a:pt x="376" y="378"/>
                      <a:pt x="377" y="378"/>
                    </a:cubicBezTo>
                    <a:cubicBezTo>
                      <a:pt x="377" y="378"/>
                      <a:pt x="378" y="378"/>
                      <a:pt x="378" y="378"/>
                    </a:cubicBezTo>
                    <a:cubicBezTo>
                      <a:pt x="379" y="378"/>
                      <a:pt x="379" y="377"/>
                      <a:pt x="380" y="376"/>
                    </a:cubicBezTo>
                    <a:cubicBezTo>
                      <a:pt x="381" y="375"/>
                      <a:pt x="383" y="376"/>
                      <a:pt x="384" y="376"/>
                    </a:cubicBezTo>
                    <a:cubicBezTo>
                      <a:pt x="385" y="377"/>
                      <a:pt x="386" y="377"/>
                      <a:pt x="387" y="378"/>
                    </a:cubicBezTo>
                    <a:cubicBezTo>
                      <a:pt x="388" y="378"/>
                      <a:pt x="389" y="378"/>
                      <a:pt x="389" y="378"/>
                    </a:cubicBezTo>
                    <a:cubicBezTo>
                      <a:pt x="391" y="379"/>
                      <a:pt x="391" y="381"/>
                      <a:pt x="390" y="382"/>
                    </a:cubicBezTo>
                    <a:cubicBezTo>
                      <a:pt x="390" y="383"/>
                      <a:pt x="390" y="383"/>
                      <a:pt x="390" y="383"/>
                    </a:cubicBezTo>
                    <a:cubicBezTo>
                      <a:pt x="389" y="384"/>
                      <a:pt x="389" y="384"/>
                      <a:pt x="389" y="385"/>
                    </a:cubicBezTo>
                    <a:cubicBezTo>
                      <a:pt x="389" y="385"/>
                      <a:pt x="389" y="386"/>
                      <a:pt x="389" y="386"/>
                    </a:cubicBezTo>
                    <a:cubicBezTo>
                      <a:pt x="389" y="388"/>
                      <a:pt x="389" y="388"/>
                      <a:pt x="388" y="389"/>
                    </a:cubicBezTo>
                    <a:cubicBezTo>
                      <a:pt x="388" y="389"/>
                      <a:pt x="388" y="390"/>
                      <a:pt x="388" y="390"/>
                    </a:cubicBezTo>
                    <a:cubicBezTo>
                      <a:pt x="388" y="391"/>
                      <a:pt x="389" y="391"/>
                      <a:pt x="390" y="392"/>
                    </a:cubicBezTo>
                    <a:cubicBezTo>
                      <a:pt x="391" y="393"/>
                      <a:pt x="390" y="393"/>
                      <a:pt x="389" y="393"/>
                    </a:cubicBezTo>
                    <a:cubicBezTo>
                      <a:pt x="389" y="394"/>
                      <a:pt x="388" y="395"/>
                      <a:pt x="388" y="396"/>
                    </a:cubicBezTo>
                    <a:cubicBezTo>
                      <a:pt x="388" y="397"/>
                      <a:pt x="388" y="398"/>
                      <a:pt x="387" y="400"/>
                    </a:cubicBezTo>
                    <a:cubicBezTo>
                      <a:pt x="387" y="400"/>
                      <a:pt x="387" y="401"/>
                      <a:pt x="387" y="402"/>
                    </a:cubicBezTo>
                    <a:cubicBezTo>
                      <a:pt x="387" y="403"/>
                      <a:pt x="387" y="404"/>
                      <a:pt x="387" y="404"/>
                    </a:cubicBezTo>
                    <a:cubicBezTo>
                      <a:pt x="387" y="406"/>
                      <a:pt x="384" y="406"/>
                      <a:pt x="383" y="408"/>
                    </a:cubicBezTo>
                    <a:cubicBezTo>
                      <a:pt x="382" y="409"/>
                      <a:pt x="382" y="410"/>
                      <a:pt x="383" y="411"/>
                    </a:cubicBezTo>
                    <a:cubicBezTo>
                      <a:pt x="383" y="412"/>
                      <a:pt x="383" y="413"/>
                      <a:pt x="383" y="414"/>
                    </a:cubicBezTo>
                    <a:cubicBezTo>
                      <a:pt x="383" y="414"/>
                      <a:pt x="383" y="414"/>
                      <a:pt x="384" y="415"/>
                    </a:cubicBezTo>
                    <a:cubicBezTo>
                      <a:pt x="385" y="416"/>
                      <a:pt x="385" y="418"/>
                      <a:pt x="386" y="419"/>
                    </a:cubicBezTo>
                    <a:cubicBezTo>
                      <a:pt x="387" y="419"/>
                      <a:pt x="387" y="420"/>
                      <a:pt x="388" y="421"/>
                    </a:cubicBezTo>
                    <a:cubicBezTo>
                      <a:pt x="389" y="422"/>
                      <a:pt x="389" y="423"/>
                      <a:pt x="389" y="424"/>
                    </a:cubicBezTo>
                    <a:cubicBezTo>
                      <a:pt x="389" y="425"/>
                      <a:pt x="391" y="426"/>
                      <a:pt x="392" y="426"/>
                    </a:cubicBezTo>
                    <a:cubicBezTo>
                      <a:pt x="392" y="426"/>
                      <a:pt x="393" y="425"/>
                      <a:pt x="393" y="424"/>
                    </a:cubicBezTo>
                    <a:cubicBezTo>
                      <a:pt x="393" y="425"/>
                      <a:pt x="394" y="426"/>
                      <a:pt x="394" y="426"/>
                    </a:cubicBezTo>
                    <a:cubicBezTo>
                      <a:pt x="394" y="427"/>
                      <a:pt x="394" y="429"/>
                      <a:pt x="395" y="430"/>
                    </a:cubicBezTo>
                    <a:cubicBezTo>
                      <a:pt x="396" y="430"/>
                      <a:pt x="397" y="431"/>
                      <a:pt x="398" y="431"/>
                    </a:cubicBezTo>
                    <a:cubicBezTo>
                      <a:pt x="401" y="433"/>
                      <a:pt x="402" y="430"/>
                      <a:pt x="404" y="428"/>
                    </a:cubicBezTo>
                    <a:cubicBezTo>
                      <a:pt x="404" y="428"/>
                      <a:pt x="405" y="428"/>
                      <a:pt x="405" y="428"/>
                    </a:cubicBezTo>
                    <a:cubicBezTo>
                      <a:pt x="406" y="427"/>
                      <a:pt x="407" y="427"/>
                      <a:pt x="408" y="427"/>
                    </a:cubicBezTo>
                    <a:cubicBezTo>
                      <a:pt x="408" y="428"/>
                      <a:pt x="408" y="430"/>
                      <a:pt x="408" y="431"/>
                    </a:cubicBezTo>
                    <a:cubicBezTo>
                      <a:pt x="408" y="433"/>
                      <a:pt x="410" y="435"/>
                      <a:pt x="409" y="437"/>
                    </a:cubicBezTo>
                    <a:cubicBezTo>
                      <a:pt x="408" y="439"/>
                      <a:pt x="406" y="439"/>
                      <a:pt x="407" y="442"/>
                    </a:cubicBezTo>
                    <a:cubicBezTo>
                      <a:pt x="407" y="442"/>
                      <a:pt x="407" y="443"/>
                      <a:pt x="407" y="443"/>
                    </a:cubicBezTo>
                    <a:cubicBezTo>
                      <a:pt x="407" y="444"/>
                      <a:pt x="407" y="444"/>
                      <a:pt x="407" y="445"/>
                    </a:cubicBezTo>
                    <a:cubicBezTo>
                      <a:pt x="406" y="446"/>
                      <a:pt x="406" y="445"/>
                      <a:pt x="405" y="447"/>
                    </a:cubicBezTo>
                    <a:cubicBezTo>
                      <a:pt x="405" y="448"/>
                      <a:pt x="405" y="449"/>
                      <a:pt x="406" y="450"/>
                    </a:cubicBezTo>
                    <a:cubicBezTo>
                      <a:pt x="404" y="449"/>
                      <a:pt x="403" y="448"/>
                      <a:pt x="402" y="450"/>
                    </a:cubicBezTo>
                    <a:cubicBezTo>
                      <a:pt x="400" y="452"/>
                      <a:pt x="404" y="453"/>
                      <a:pt x="406" y="453"/>
                    </a:cubicBezTo>
                    <a:cubicBezTo>
                      <a:pt x="407" y="453"/>
                      <a:pt x="410" y="453"/>
                      <a:pt x="411" y="453"/>
                    </a:cubicBezTo>
                    <a:cubicBezTo>
                      <a:pt x="412" y="454"/>
                      <a:pt x="412" y="456"/>
                      <a:pt x="412" y="456"/>
                    </a:cubicBezTo>
                    <a:cubicBezTo>
                      <a:pt x="412" y="457"/>
                      <a:pt x="412" y="458"/>
                      <a:pt x="412" y="458"/>
                    </a:cubicBezTo>
                    <a:cubicBezTo>
                      <a:pt x="411" y="460"/>
                      <a:pt x="411" y="462"/>
                      <a:pt x="411" y="463"/>
                    </a:cubicBezTo>
                    <a:cubicBezTo>
                      <a:pt x="411" y="463"/>
                      <a:pt x="412" y="464"/>
                      <a:pt x="412" y="464"/>
                    </a:cubicBezTo>
                    <a:cubicBezTo>
                      <a:pt x="413" y="465"/>
                      <a:pt x="413" y="465"/>
                      <a:pt x="413" y="466"/>
                    </a:cubicBezTo>
                    <a:cubicBezTo>
                      <a:pt x="413" y="468"/>
                      <a:pt x="415" y="471"/>
                      <a:pt x="415" y="473"/>
                    </a:cubicBezTo>
                    <a:cubicBezTo>
                      <a:pt x="416" y="474"/>
                      <a:pt x="416" y="474"/>
                      <a:pt x="417" y="474"/>
                    </a:cubicBezTo>
                    <a:cubicBezTo>
                      <a:pt x="418" y="473"/>
                      <a:pt x="419" y="473"/>
                      <a:pt x="421" y="472"/>
                    </a:cubicBezTo>
                    <a:cubicBezTo>
                      <a:pt x="422" y="471"/>
                      <a:pt x="423" y="472"/>
                      <a:pt x="424" y="473"/>
                    </a:cubicBezTo>
                    <a:cubicBezTo>
                      <a:pt x="426" y="474"/>
                      <a:pt x="428" y="474"/>
                      <a:pt x="428" y="477"/>
                    </a:cubicBezTo>
                    <a:cubicBezTo>
                      <a:pt x="428" y="481"/>
                      <a:pt x="428" y="486"/>
                      <a:pt x="427" y="490"/>
                    </a:cubicBezTo>
                    <a:cubicBezTo>
                      <a:pt x="427" y="491"/>
                      <a:pt x="426" y="493"/>
                      <a:pt x="426" y="495"/>
                    </a:cubicBezTo>
                    <a:cubicBezTo>
                      <a:pt x="426" y="496"/>
                      <a:pt x="427" y="497"/>
                      <a:pt x="426" y="498"/>
                    </a:cubicBezTo>
                    <a:cubicBezTo>
                      <a:pt x="424" y="499"/>
                      <a:pt x="423" y="497"/>
                      <a:pt x="421" y="498"/>
                    </a:cubicBezTo>
                    <a:cubicBezTo>
                      <a:pt x="421" y="499"/>
                      <a:pt x="421" y="500"/>
                      <a:pt x="421" y="500"/>
                    </a:cubicBezTo>
                    <a:cubicBezTo>
                      <a:pt x="420" y="501"/>
                      <a:pt x="420" y="501"/>
                      <a:pt x="419" y="502"/>
                    </a:cubicBezTo>
                    <a:cubicBezTo>
                      <a:pt x="418" y="503"/>
                      <a:pt x="419" y="504"/>
                      <a:pt x="418" y="505"/>
                    </a:cubicBezTo>
                    <a:cubicBezTo>
                      <a:pt x="418" y="506"/>
                      <a:pt x="417" y="507"/>
                      <a:pt x="416" y="508"/>
                    </a:cubicBezTo>
                    <a:cubicBezTo>
                      <a:pt x="414" y="510"/>
                      <a:pt x="414" y="512"/>
                      <a:pt x="414" y="515"/>
                    </a:cubicBezTo>
                    <a:cubicBezTo>
                      <a:pt x="413" y="515"/>
                      <a:pt x="411" y="515"/>
                      <a:pt x="411" y="515"/>
                    </a:cubicBezTo>
                    <a:cubicBezTo>
                      <a:pt x="410" y="514"/>
                      <a:pt x="409" y="513"/>
                      <a:pt x="408" y="512"/>
                    </a:cubicBezTo>
                    <a:cubicBezTo>
                      <a:pt x="408" y="511"/>
                      <a:pt x="407" y="510"/>
                      <a:pt x="407" y="510"/>
                    </a:cubicBezTo>
                    <a:cubicBezTo>
                      <a:pt x="407" y="509"/>
                      <a:pt x="406" y="508"/>
                      <a:pt x="406" y="507"/>
                    </a:cubicBezTo>
                    <a:cubicBezTo>
                      <a:pt x="405" y="507"/>
                      <a:pt x="404" y="506"/>
                      <a:pt x="403" y="506"/>
                    </a:cubicBezTo>
                    <a:cubicBezTo>
                      <a:pt x="403" y="505"/>
                      <a:pt x="403" y="505"/>
                      <a:pt x="403" y="504"/>
                    </a:cubicBezTo>
                    <a:cubicBezTo>
                      <a:pt x="403" y="503"/>
                      <a:pt x="403" y="502"/>
                      <a:pt x="402" y="502"/>
                    </a:cubicBezTo>
                    <a:cubicBezTo>
                      <a:pt x="399" y="501"/>
                      <a:pt x="397" y="506"/>
                      <a:pt x="396" y="507"/>
                    </a:cubicBezTo>
                    <a:cubicBezTo>
                      <a:pt x="395" y="506"/>
                      <a:pt x="394" y="502"/>
                      <a:pt x="394" y="501"/>
                    </a:cubicBezTo>
                    <a:cubicBezTo>
                      <a:pt x="394" y="500"/>
                      <a:pt x="395" y="499"/>
                      <a:pt x="394" y="498"/>
                    </a:cubicBezTo>
                    <a:cubicBezTo>
                      <a:pt x="393" y="499"/>
                      <a:pt x="392" y="502"/>
                      <a:pt x="392" y="505"/>
                    </a:cubicBezTo>
                    <a:cubicBezTo>
                      <a:pt x="392" y="506"/>
                      <a:pt x="392" y="507"/>
                      <a:pt x="391" y="508"/>
                    </a:cubicBezTo>
                    <a:cubicBezTo>
                      <a:pt x="391" y="509"/>
                      <a:pt x="390" y="509"/>
                      <a:pt x="390" y="510"/>
                    </a:cubicBezTo>
                    <a:cubicBezTo>
                      <a:pt x="390" y="510"/>
                      <a:pt x="390" y="511"/>
                      <a:pt x="389" y="512"/>
                    </a:cubicBezTo>
                    <a:cubicBezTo>
                      <a:pt x="388" y="513"/>
                      <a:pt x="388" y="510"/>
                      <a:pt x="387" y="509"/>
                    </a:cubicBezTo>
                    <a:cubicBezTo>
                      <a:pt x="387" y="507"/>
                      <a:pt x="387" y="506"/>
                      <a:pt x="389" y="504"/>
                    </a:cubicBezTo>
                    <a:cubicBezTo>
                      <a:pt x="390" y="502"/>
                      <a:pt x="391" y="501"/>
                      <a:pt x="391" y="499"/>
                    </a:cubicBezTo>
                    <a:cubicBezTo>
                      <a:pt x="391" y="494"/>
                      <a:pt x="385" y="496"/>
                      <a:pt x="383" y="498"/>
                    </a:cubicBezTo>
                    <a:cubicBezTo>
                      <a:pt x="382" y="499"/>
                      <a:pt x="383" y="499"/>
                      <a:pt x="382" y="499"/>
                    </a:cubicBezTo>
                    <a:cubicBezTo>
                      <a:pt x="381" y="500"/>
                      <a:pt x="380" y="500"/>
                      <a:pt x="379" y="500"/>
                    </a:cubicBezTo>
                    <a:cubicBezTo>
                      <a:pt x="378" y="500"/>
                      <a:pt x="377" y="501"/>
                      <a:pt x="375" y="502"/>
                    </a:cubicBezTo>
                    <a:cubicBezTo>
                      <a:pt x="374" y="502"/>
                      <a:pt x="374" y="502"/>
                      <a:pt x="373" y="504"/>
                    </a:cubicBezTo>
                    <a:cubicBezTo>
                      <a:pt x="373" y="504"/>
                      <a:pt x="372" y="506"/>
                      <a:pt x="372" y="507"/>
                    </a:cubicBezTo>
                    <a:cubicBezTo>
                      <a:pt x="373" y="508"/>
                      <a:pt x="374" y="507"/>
                      <a:pt x="375" y="509"/>
                    </a:cubicBezTo>
                    <a:cubicBezTo>
                      <a:pt x="375" y="510"/>
                      <a:pt x="374" y="511"/>
                      <a:pt x="374" y="512"/>
                    </a:cubicBezTo>
                    <a:cubicBezTo>
                      <a:pt x="374" y="514"/>
                      <a:pt x="374" y="516"/>
                      <a:pt x="373" y="518"/>
                    </a:cubicBezTo>
                    <a:cubicBezTo>
                      <a:pt x="373" y="519"/>
                      <a:pt x="371" y="522"/>
                      <a:pt x="372" y="523"/>
                    </a:cubicBezTo>
                    <a:cubicBezTo>
                      <a:pt x="372" y="524"/>
                      <a:pt x="374" y="523"/>
                      <a:pt x="375" y="523"/>
                    </a:cubicBezTo>
                    <a:cubicBezTo>
                      <a:pt x="376" y="524"/>
                      <a:pt x="376" y="524"/>
                      <a:pt x="376" y="525"/>
                    </a:cubicBezTo>
                    <a:cubicBezTo>
                      <a:pt x="377" y="527"/>
                      <a:pt x="377" y="528"/>
                      <a:pt x="376" y="530"/>
                    </a:cubicBezTo>
                    <a:cubicBezTo>
                      <a:pt x="375" y="532"/>
                      <a:pt x="373" y="534"/>
                      <a:pt x="374" y="536"/>
                    </a:cubicBezTo>
                    <a:cubicBezTo>
                      <a:pt x="375" y="537"/>
                      <a:pt x="376" y="538"/>
                      <a:pt x="376" y="539"/>
                    </a:cubicBezTo>
                    <a:cubicBezTo>
                      <a:pt x="376" y="540"/>
                      <a:pt x="375" y="540"/>
                      <a:pt x="374" y="541"/>
                    </a:cubicBezTo>
                    <a:cubicBezTo>
                      <a:pt x="370" y="543"/>
                      <a:pt x="366" y="544"/>
                      <a:pt x="363" y="546"/>
                    </a:cubicBezTo>
                    <a:cubicBezTo>
                      <a:pt x="361" y="547"/>
                      <a:pt x="358" y="549"/>
                      <a:pt x="359" y="551"/>
                    </a:cubicBezTo>
                    <a:cubicBezTo>
                      <a:pt x="360" y="553"/>
                      <a:pt x="361" y="555"/>
                      <a:pt x="359" y="557"/>
                    </a:cubicBezTo>
                    <a:cubicBezTo>
                      <a:pt x="358" y="557"/>
                      <a:pt x="357" y="558"/>
                      <a:pt x="356" y="558"/>
                    </a:cubicBezTo>
                    <a:cubicBezTo>
                      <a:pt x="355" y="558"/>
                      <a:pt x="355" y="558"/>
                      <a:pt x="354" y="558"/>
                    </a:cubicBezTo>
                    <a:cubicBezTo>
                      <a:pt x="353" y="559"/>
                      <a:pt x="352" y="559"/>
                      <a:pt x="352" y="560"/>
                    </a:cubicBezTo>
                    <a:cubicBezTo>
                      <a:pt x="351" y="560"/>
                      <a:pt x="350" y="561"/>
                      <a:pt x="350" y="562"/>
                    </a:cubicBezTo>
                    <a:cubicBezTo>
                      <a:pt x="350" y="563"/>
                      <a:pt x="350" y="563"/>
                      <a:pt x="349" y="564"/>
                    </a:cubicBezTo>
                    <a:cubicBezTo>
                      <a:pt x="348" y="564"/>
                      <a:pt x="347" y="564"/>
                      <a:pt x="347" y="565"/>
                    </a:cubicBezTo>
                    <a:cubicBezTo>
                      <a:pt x="347" y="566"/>
                      <a:pt x="347" y="567"/>
                      <a:pt x="347" y="568"/>
                    </a:cubicBezTo>
                    <a:cubicBezTo>
                      <a:pt x="347" y="570"/>
                      <a:pt x="349" y="571"/>
                      <a:pt x="348" y="573"/>
                    </a:cubicBezTo>
                    <a:cubicBezTo>
                      <a:pt x="348" y="573"/>
                      <a:pt x="347" y="574"/>
                      <a:pt x="347" y="574"/>
                    </a:cubicBezTo>
                    <a:cubicBezTo>
                      <a:pt x="347" y="574"/>
                      <a:pt x="347" y="575"/>
                      <a:pt x="347" y="575"/>
                    </a:cubicBezTo>
                    <a:cubicBezTo>
                      <a:pt x="347" y="576"/>
                      <a:pt x="347" y="577"/>
                      <a:pt x="347" y="578"/>
                    </a:cubicBezTo>
                    <a:cubicBezTo>
                      <a:pt x="346" y="579"/>
                      <a:pt x="346" y="580"/>
                      <a:pt x="346" y="580"/>
                    </a:cubicBezTo>
                    <a:cubicBezTo>
                      <a:pt x="346" y="581"/>
                      <a:pt x="346" y="582"/>
                      <a:pt x="346" y="583"/>
                    </a:cubicBezTo>
                    <a:cubicBezTo>
                      <a:pt x="346" y="583"/>
                      <a:pt x="345" y="583"/>
                      <a:pt x="345" y="584"/>
                    </a:cubicBezTo>
                    <a:cubicBezTo>
                      <a:pt x="344" y="584"/>
                      <a:pt x="344" y="585"/>
                      <a:pt x="344" y="585"/>
                    </a:cubicBezTo>
                    <a:cubicBezTo>
                      <a:pt x="343" y="586"/>
                      <a:pt x="343" y="586"/>
                      <a:pt x="342" y="586"/>
                    </a:cubicBezTo>
                    <a:cubicBezTo>
                      <a:pt x="339" y="586"/>
                      <a:pt x="339" y="579"/>
                      <a:pt x="336" y="582"/>
                    </a:cubicBezTo>
                    <a:cubicBezTo>
                      <a:pt x="335" y="582"/>
                      <a:pt x="334" y="583"/>
                      <a:pt x="333" y="584"/>
                    </a:cubicBezTo>
                    <a:cubicBezTo>
                      <a:pt x="332" y="585"/>
                      <a:pt x="331" y="586"/>
                      <a:pt x="330" y="586"/>
                    </a:cubicBezTo>
                    <a:cubicBezTo>
                      <a:pt x="330" y="587"/>
                      <a:pt x="331" y="587"/>
                      <a:pt x="331" y="588"/>
                    </a:cubicBezTo>
                    <a:cubicBezTo>
                      <a:pt x="332" y="588"/>
                      <a:pt x="337" y="596"/>
                      <a:pt x="337" y="597"/>
                    </a:cubicBezTo>
                    <a:cubicBezTo>
                      <a:pt x="339" y="598"/>
                      <a:pt x="345" y="601"/>
                      <a:pt x="347" y="601"/>
                    </a:cubicBezTo>
                    <a:cubicBezTo>
                      <a:pt x="349" y="602"/>
                      <a:pt x="351" y="603"/>
                      <a:pt x="353" y="605"/>
                    </a:cubicBezTo>
                    <a:cubicBezTo>
                      <a:pt x="356" y="606"/>
                      <a:pt x="357" y="608"/>
                      <a:pt x="360" y="605"/>
                    </a:cubicBezTo>
                    <a:cubicBezTo>
                      <a:pt x="361" y="604"/>
                      <a:pt x="361" y="601"/>
                      <a:pt x="362" y="601"/>
                    </a:cubicBezTo>
                    <a:cubicBezTo>
                      <a:pt x="364" y="600"/>
                      <a:pt x="366" y="601"/>
                      <a:pt x="368" y="601"/>
                    </a:cubicBezTo>
                    <a:cubicBezTo>
                      <a:pt x="370" y="601"/>
                      <a:pt x="372" y="601"/>
                      <a:pt x="377" y="599"/>
                    </a:cubicBezTo>
                    <a:cubicBezTo>
                      <a:pt x="381" y="598"/>
                      <a:pt x="384" y="596"/>
                      <a:pt x="385" y="595"/>
                    </a:cubicBezTo>
                    <a:cubicBezTo>
                      <a:pt x="387" y="593"/>
                      <a:pt x="387" y="592"/>
                      <a:pt x="390" y="592"/>
                    </a:cubicBezTo>
                    <a:cubicBezTo>
                      <a:pt x="397" y="590"/>
                      <a:pt x="401" y="593"/>
                      <a:pt x="406" y="596"/>
                    </a:cubicBezTo>
                    <a:cubicBezTo>
                      <a:pt x="408" y="597"/>
                      <a:pt x="413" y="599"/>
                      <a:pt x="416" y="600"/>
                    </a:cubicBezTo>
                    <a:cubicBezTo>
                      <a:pt x="417" y="597"/>
                      <a:pt x="414" y="596"/>
                      <a:pt x="412" y="592"/>
                    </a:cubicBezTo>
                    <a:cubicBezTo>
                      <a:pt x="409" y="588"/>
                      <a:pt x="406" y="582"/>
                      <a:pt x="406" y="578"/>
                    </a:cubicBezTo>
                    <a:cubicBezTo>
                      <a:pt x="405" y="574"/>
                      <a:pt x="410" y="572"/>
                      <a:pt x="409" y="569"/>
                    </a:cubicBezTo>
                    <a:cubicBezTo>
                      <a:pt x="409" y="573"/>
                      <a:pt x="414" y="575"/>
                      <a:pt x="415" y="580"/>
                    </a:cubicBezTo>
                    <a:cubicBezTo>
                      <a:pt x="417" y="580"/>
                      <a:pt x="423" y="578"/>
                      <a:pt x="424" y="576"/>
                    </a:cubicBezTo>
                    <a:cubicBezTo>
                      <a:pt x="425" y="573"/>
                      <a:pt x="422" y="570"/>
                      <a:pt x="423" y="568"/>
                    </a:cubicBezTo>
                    <a:cubicBezTo>
                      <a:pt x="428" y="567"/>
                      <a:pt x="435" y="568"/>
                      <a:pt x="434" y="561"/>
                    </a:cubicBezTo>
                    <a:cubicBezTo>
                      <a:pt x="439" y="560"/>
                      <a:pt x="438" y="564"/>
                      <a:pt x="442" y="561"/>
                    </a:cubicBezTo>
                    <a:cubicBezTo>
                      <a:pt x="443" y="560"/>
                      <a:pt x="444" y="558"/>
                      <a:pt x="445" y="557"/>
                    </a:cubicBezTo>
                    <a:cubicBezTo>
                      <a:pt x="447" y="556"/>
                      <a:pt x="450" y="556"/>
                      <a:pt x="452" y="553"/>
                    </a:cubicBezTo>
                    <a:cubicBezTo>
                      <a:pt x="453" y="550"/>
                      <a:pt x="452" y="546"/>
                      <a:pt x="452" y="543"/>
                    </a:cubicBezTo>
                    <a:cubicBezTo>
                      <a:pt x="453" y="542"/>
                      <a:pt x="454" y="541"/>
                      <a:pt x="453" y="539"/>
                    </a:cubicBezTo>
                    <a:cubicBezTo>
                      <a:pt x="452" y="538"/>
                      <a:pt x="447" y="537"/>
                      <a:pt x="446" y="536"/>
                    </a:cubicBezTo>
                    <a:cubicBezTo>
                      <a:pt x="444" y="535"/>
                      <a:pt x="432" y="528"/>
                      <a:pt x="434" y="523"/>
                    </a:cubicBezTo>
                    <a:cubicBezTo>
                      <a:pt x="436" y="519"/>
                      <a:pt x="446" y="521"/>
                      <a:pt x="448" y="523"/>
                    </a:cubicBezTo>
                    <a:cubicBezTo>
                      <a:pt x="450" y="526"/>
                      <a:pt x="452" y="529"/>
                      <a:pt x="454" y="532"/>
                    </a:cubicBezTo>
                    <a:cubicBezTo>
                      <a:pt x="455" y="534"/>
                      <a:pt x="459" y="535"/>
                      <a:pt x="460" y="538"/>
                    </a:cubicBezTo>
                    <a:cubicBezTo>
                      <a:pt x="459" y="532"/>
                      <a:pt x="464" y="532"/>
                      <a:pt x="467" y="528"/>
                    </a:cubicBezTo>
                    <a:cubicBezTo>
                      <a:pt x="469" y="527"/>
                      <a:pt x="469" y="525"/>
                      <a:pt x="470" y="523"/>
                    </a:cubicBezTo>
                    <a:cubicBezTo>
                      <a:pt x="472" y="522"/>
                      <a:pt x="474" y="520"/>
                      <a:pt x="474" y="517"/>
                    </a:cubicBezTo>
                    <a:cubicBezTo>
                      <a:pt x="473" y="513"/>
                      <a:pt x="466" y="511"/>
                      <a:pt x="474" y="508"/>
                    </a:cubicBezTo>
                    <a:cubicBezTo>
                      <a:pt x="476" y="507"/>
                      <a:pt x="479" y="507"/>
                      <a:pt x="482" y="507"/>
                    </a:cubicBezTo>
                    <a:cubicBezTo>
                      <a:pt x="484" y="507"/>
                      <a:pt x="487" y="508"/>
                      <a:pt x="489" y="507"/>
                    </a:cubicBezTo>
                    <a:cubicBezTo>
                      <a:pt x="491" y="506"/>
                      <a:pt x="491" y="505"/>
                      <a:pt x="492" y="503"/>
                    </a:cubicBezTo>
                    <a:cubicBezTo>
                      <a:pt x="495" y="499"/>
                      <a:pt x="501" y="496"/>
                      <a:pt x="506" y="496"/>
                    </a:cubicBezTo>
                    <a:cubicBezTo>
                      <a:pt x="508" y="495"/>
                      <a:pt x="510" y="496"/>
                      <a:pt x="513" y="495"/>
                    </a:cubicBezTo>
                    <a:cubicBezTo>
                      <a:pt x="515" y="495"/>
                      <a:pt x="517" y="493"/>
                      <a:pt x="519" y="493"/>
                    </a:cubicBezTo>
                    <a:cubicBezTo>
                      <a:pt x="520" y="493"/>
                      <a:pt x="522" y="494"/>
                      <a:pt x="523" y="495"/>
                    </a:cubicBezTo>
                    <a:cubicBezTo>
                      <a:pt x="524" y="495"/>
                      <a:pt x="528" y="495"/>
                      <a:pt x="529" y="495"/>
                    </a:cubicBezTo>
                    <a:cubicBezTo>
                      <a:pt x="533" y="496"/>
                      <a:pt x="533" y="495"/>
                      <a:pt x="535" y="492"/>
                    </a:cubicBezTo>
                    <a:cubicBezTo>
                      <a:pt x="537" y="489"/>
                      <a:pt x="538" y="489"/>
                      <a:pt x="538" y="486"/>
                    </a:cubicBezTo>
                    <a:cubicBezTo>
                      <a:pt x="538" y="485"/>
                      <a:pt x="537" y="483"/>
                      <a:pt x="539" y="481"/>
                    </a:cubicBezTo>
                    <a:cubicBezTo>
                      <a:pt x="543" y="484"/>
                      <a:pt x="541" y="491"/>
                      <a:pt x="542" y="495"/>
                    </a:cubicBezTo>
                    <a:cubicBezTo>
                      <a:pt x="545" y="495"/>
                      <a:pt x="548" y="494"/>
                      <a:pt x="550" y="496"/>
                    </a:cubicBezTo>
                    <a:cubicBezTo>
                      <a:pt x="553" y="497"/>
                      <a:pt x="558" y="502"/>
                      <a:pt x="557" y="505"/>
                    </a:cubicBezTo>
                    <a:cubicBezTo>
                      <a:pt x="552" y="506"/>
                      <a:pt x="547" y="503"/>
                      <a:pt x="543" y="502"/>
                    </a:cubicBezTo>
                    <a:cubicBezTo>
                      <a:pt x="540" y="502"/>
                      <a:pt x="537" y="501"/>
                      <a:pt x="534" y="501"/>
                    </a:cubicBezTo>
                    <a:cubicBezTo>
                      <a:pt x="532" y="501"/>
                      <a:pt x="521" y="502"/>
                      <a:pt x="521" y="506"/>
                    </a:cubicBezTo>
                    <a:cubicBezTo>
                      <a:pt x="526" y="507"/>
                      <a:pt x="529" y="510"/>
                      <a:pt x="533" y="512"/>
                    </a:cubicBezTo>
                    <a:cubicBezTo>
                      <a:pt x="535" y="514"/>
                      <a:pt x="539" y="516"/>
                      <a:pt x="537" y="519"/>
                    </a:cubicBezTo>
                    <a:cubicBezTo>
                      <a:pt x="536" y="521"/>
                      <a:pt x="532" y="519"/>
                      <a:pt x="531" y="521"/>
                    </a:cubicBezTo>
                    <a:cubicBezTo>
                      <a:pt x="528" y="525"/>
                      <a:pt x="533" y="524"/>
                      <a:pt x="534" y="525"/>
                    </a:cubicBezTo>
                    <a:cubicBezTo>
                      <a:pt x="537" y="526"/>
                      <a:pt x="538" y="528"/>
                      <a:pt x="540" y="530"/>
                    </a:cubicBezTo>
                    <a:cubicBezTo>
                      <a:pt x="542" y="532"/>
                      <a:pt x="545" y="533"/>
                      <a:pt x="548" y="534"/>
                    </a:cubicBezTo>
                    <a:cubicBezTo>
                      <a:pt x="550" y="535"/>
                      <a:pt x="552" y="536"/>
                      <a:pt x="555" y="536"/>
                    </a:cubicBezTo>
                    <a:cubicBezTo>
                      <a:pt x="557" y="537"/>
                      <a:pt x="558" y="536"/>
                      <a:pt x="560" y="536"/>
                    </a:cubicBezTo>
                    <a:cubicBezTo>
                      <a:pt x="563" y="537"/>
                      <a:pt x="563" y="540"/>
                      <a:pt x="566" y="542"/>
                    </a:cubicBezTo>
                    <a:cubicBezTo>
                      <a:pt x="569" y="543"/>
                      <a:pt x="569" y="540"/>
                      <a:pt x="571" y="538"/>
                    </a:cubicBezTo>
                    <a:cubicBezTo>
                      <a:pt x="574" y="537"/>
                      <a:pt x="578" y="539"/>
                      <a:pt x="581" y="539"/>
                    </a:cubicBezTo>
                    <a:cubicBezTo>
                      <a:pt x="584" y="539"/>
                      <a:pt x="586" y="540"/>
                      <a:pt x="589" y="540"/>
                    </a:cubicBezTo>
                    <a:cubicBezTo>
                      <a:pt x="591" y="540"/>
                      <a:pt x="595" y="540"/>
                      <a:pt x="597" y="540"/>
                    </a:cubicBezTo>
                    <a:cubicBezTo>
                      <a:pt x="599" y="540"/>
                      <a:pt x="603" y="540"/>
                      <a:pt x="604" y="539"/>
                    </a:cubicBezTo>
                    <a:cubicBezTo>
                      <a:pt x="606" y="538"/>
                      <a:pt x="608" y="535"/>
                      <a:pt x="610" y="535"/>
                    </a:cubicBezTo>
                    <a:cubicBezTo>
                      <a:pt x="612" y="534"/>
                      <a:pt x="616" y="534"/>
                      <a:pt x="618" y="534"/>
                    </a:cubicBezTo>
                    <a:cubicBezTo>
                      <a:pt x="618" y="537"/>
                      <a:pt x="621" y="537"/>
                      <a:pt x="622" y="538"/>
                    </a:cubicBezTo>
                    <a:cubicBezTo>
                      <a:pt x="624" y="540"/>
                      <a:pt x="623" y="542"/>
                      <a:pt x="627" y="542"/>
                    </a:cubicBezTo>
                    <a:cubicBezTo>
                      <a:pt x="632" y="541"/>
                      <a:pt x="633" y="533"/>
                      <a:pt x="637" y="532"/>
                    </a:cubicBezTo>
                    <a:cubicBezTo>
                      <a:pt x="637" y="532"/>
                      <a:pt x="637" y="532"/>
                      <a:pt x="637" y="531"/>
                    </a:cubicBezTo>
                    <a:cubicBezTo>
                      <a:pt x="634" y="526"/>
                      <a:pt x="640" y="526"/>
                      <a:pt x="642" y="526"/>
                    </a:cubicBezTo>
                    <a:cubicBezTo>
                      <a:pt x="646" y="526"/>
                      <a:pt x="647" y="524"/>
                      <a:pt x="650" y="526"/>
                    </a:cubicBezTo>
                    <a:cubicBezTo>
                      <a:pt x="653" y="528"/>
                      <a:pt x="654" y="534"/>
                      <a:pt x="658" y="536"/>
                    </a:cubicBezTo>
                    <a:cubicBezTo>
                      <a:pt x="661" y="537"/>
                      <a:pt x="663" y="535"/>
                      <a:pt x="666" y="535"/>
                    </a:cubicBezTo>
                    <a:cubicBezTo>
                      <a:pt x="668" y="535"/>
                      <a:pt x="669" y="536"/>
                      <a:pt x="671" y="536"/>
                    </a:cubicBezTo>
                    <a:cubicBezTo>
                      <a:pt x="676" y="536"/>
                      <a:pt x="678" y="531"/>
                      <a:pt x="675" y="527"/>
                    </a:cubicBezTo>
                    <a:cubicBezTo>
                      <a:pt x="678" y="527"/>
                      <a:pt x="681" y="528"/>
                      <a:pt x="683" y="529"/>
                    </a:cubicBezTo>
                    <a:cubicBezTo>
                      <a:pt x="686" y="530"/>
                      <a:pt x="690" y="533"/>
                      <a:pt x="692" y="533"/>
                    </a:cubicBezTo>
                    <a:cubicBezTo>
                      <a:pt x="693" y="533"/>
                      <a:pt x="694" y="533"/>
                      <a:pt x="695" y="533"/>
                    </a:cubicBezTo>
                    <a:cubicBezTo>
                      <a:pt x="695" y="533"/>
                      <a:pt x="695" y="532"/>
                      <a:pt x="696" y="532"/>
                    </a:cubicBezTo>
                    <a:cubicBezTo>
                      <a:pt x="696" y="533"/>
                      <a:pt x="695" y="533"/>
                      <a:pt x="695" y="533"/>
                    </a:cubicBezTo>
                    <a:cubicBezTo>
                      <a:pt x="693" y="535"/>
                      <a:pt x="691" y="537"/>
                      <a:pt x="690" y="539"/>
                    </a:cubicBezTo>
                    <a:cubicBezTo>
                      <a:pt x="688" y="541"/>
                      <a:pt x="687" y="542"/>
                      <a:pt x="688" y="545"/>
                    </a:cubicBezTo>
                    <a:cubicBezTo>
                      <a:pt x="692" y="545"/>
                      <a:pt x="696" y="544"/>
                      <a:pt x="698" y="540"/>
                    </a:cubicBezTo>
                    <a:cubicBezTo>
                      <a:pt x="698" y="538"/>
                      <a:pt x="698" y="535"/>
                      <a:pt x="698" y="533"/>
                    </a:cubicBezTo>
                    <a:cubicBezTo>
                      <a:pt x="700" y="533"/>
                      <a:pt x="701" y="532"/>
                      <a:pt x="702" y="532"/>
                    </a:cubicBezTo>
                    <a:cubicBezTo>
                      <a:pt x="705" y="531"/>
                      <a:pt x="707" y="530"/>
                      <a:pt x="709" y="530"/>
                    </a:cubicBezTo>
                    <a:cubicBezTo>
                      <a:pt x="712" y="529"/>
                      <a:pt x="719" y="527"/>
                      <a:pt x="721" y="525"/>
                    </a:cubicBezTo>
                    <a:cubicBezTo>
                      <a:pt x="723" y="522"/>
                      <a:pt x="722" y="518"/>
                      <a:pt x="722" y="515"/>
                    </a:cubicBezTo>
                    <a:cubicBezTo>
                      <a:pt x="723" y="513"/>
                      <a:pt x="723" y="510"/>
                      <a:pt x="724" y="509"/>
                    </a:cubicBezTo>
                    <a:cubicBezTo>
                      <a:pt x="725" y="508"/>
                      <a:pt x="728" y="505"/>
                      <a:pt x="730" y="506"/>
                    </a:cubicBezTo>
                    <a:cubicBezTo>
                      <a:pt x="734" y="508"/>
                      <a:pt x="729" y="514"/>
                      <a:pt x="736" y="512"/>
                    </a:cubicBezTo>
                    <a:cubicBezTo>
                      <a:pt x="737" y="510"/>
                      <a:pt x="737" y="507"/>
                      <a:pt x="737" y="506"/>
                    </a:cubicBezTo>
                    <a:cubicBezTo>
                      <a:pt x="736" y="504"/>
                      <a:pt x="734" y="503"/>
                      <a:pt x="734" y="501"/>
                    </a:cubicBezTo>
                    <a:cubicBezTo>
                      <a:pt x="733" y="499"/>
                      <a:pt x="733" y="493"/>
                      <a:pt x="734" y="490"/>
                    </a:cubicBezTo>
                    <a:cubicBezTo>
                      <a:pt x="737" y="489"/>
                      <a:pt x="740" y="501"/>
                      <a:pt x="742" y="502"/>
                    </a:cubicBezTo>
                    <a:cubicBezTo>
                      <a:pt x="746" y="506"/>
                      <a:pt x="752" y="500"/>
                      <a:pt x="754" y="497"/>
                    </a:cubicBezTo>
                    <a:cubicBezTo>
                      <a:pt x="758" y="491"/>
                      <a:pt x="761" y="484"/>
                      <a:pt x="769" y="482"/>
                    </a:cubicBezTo>
                    <a:cubicBezTo>
                      <a:pt x="772" y="482"/>
                      <a:pt x="775" y="482"/>
                      <a:pt x="778" y="482"/>
                    </a:cubicBezTo>
                    <a:cubicBezTo>
                      <a:pt x="781" y="482"/>
                      <a:pt x="784" y="483"/>
                      <a:pt x="786" y="483"/>
                    </a:cubicBezTo>
                    <a:cubicBezTo>
                      <a:pt x="792" y="485"/>
                      <a:pt x="791" y="482"/>
                      <a:pt x="796" y="479"/>
                    </a:cubicBezTo>
                    <a:cubicBezTo>
                      <a:pt x="797" y="478"/>
                      <a:pt x="800" y="478"/>
                      <a:pt x="801" y="478"/>
                    </a:cubicBezTo>
                    <a:cubicBezTo>
                      <a:pt x="805" y="477"/>
                      <a:pt x="809" y="477"/>
                      <a:pt x="813" y="477"/>
                    </a:cubicBezTo>
                    <a:cubicBezTo>
                      <a:pt x="816" y="476"/>
                      <a:pt x="821" y="475"/>
                      <a:pt x="823" y="477"/>
                    </a:cubicBezTo>
                    <a:cubicBezTo>
                      <a:pt x="824" y="473"/>
                      <a:pt x="832" y="470"/>
                      <a:pt x="836" y="469"/>
                    </a:cubicBezTo>
                    <a:cubicBezTo>
                      <a:pt x="839" y="468"/>
                      <a:pt x="846" y="470"/>
                      <a:pt x="848" y="467"/>
                    </a:cubicBezTo>
                    <a:cubicBezTo>
                      <a:pt x="851" y="470"/>
                      <a:pt x="856" y="461"/>
                      <a:pt x="857" y="459"/>
                    </a:cubicBezTo>
                    <a:cubicBezTo>
                      <a:pt x="860" y="456"/>
                      <a:pt x="861" y="454"/>
                      <a:pt x="865" y="453"/>
                    </a:cubicBezTo>
                    <a:cubicBezTo>
                      <a:pt x="867" y="453"/>
                      <a:pt x="870" y="453"/>
                      <a:pt x="872" y="453"/>
                    </a:cubicBezTo>
                    <a:cubicBezTo>
                      <a:pt x="876" y="452"/>
                      <a:pt x="879" y="449"/>
                      <a:pt x="883" y="448"/>
                    </a:cubicBezTo>
                    <a:cubicBezTo>
                      <a:pt x="886" y="448"/>
                      <a:pt x="889" y="449"/>
                      <a:pt x="892" y="448"/>
                    </a:cubicBezTo>
                    <a:cubicBezTo>
                      <a:pt x="895" y="448"/>
                      <a:pt x="898" y="448"/>
                      <a:pt x="901" y="447"/>
                    </a:cubicBezTo>
                    <a:cubicBezTo>
                      <a:pt x="905" y="447"/>
                      <a:pt x="907" y="446"/>
                      <a:pt x="910" y="443"/>
                    </a:cubicBezTo>
                    <a:cubicBezTo>
                      <a:pt x="912" y="442"/>
                      <a:pt x="914" y="441"/>
                      <a:pt x="916" y="441"/>
                    </a:cubicBezTo>
                    <a:cubicBezTo>
                      <a:pt x="919" y="440"/>
                      <a:pt x="920" y="444"/>
                      <a:pt x="923" y="444"/>
                    </a:cubicBezTo>
                    <a:cubicBezTo>
                      <a:pt x="924" y="444"/>
                      <a:pt x="926" y="443"/>
                      <a:pt x="927" y="442"/>
                    </a:cubicBezTo>
                    <a:cubicBezTo>
                      <a:pt x="922" y="441"/>
                      <a:pt x="918" y="438"/>
                      <a:pt x="912" y="437"/>
                    </a:cubicBezTo>
                    <a:cubicBezTo>
                      <a:pt x="907" y="437"/>
                      <a:pt x="906" y="438"/>
                      <a:pt x="906" y="432"/>
                    </a:cubicBezTo>
                    <a:cubicBezTo>
                      <a:pt x="905" y="427"/>
                      <a:pt x="904" y="422"/>
                      <a:pt x="905" y="417"/>
                    </a:cubicBezTo>
                    <a:cubicBezTo>
                      <a:pt x="906" y="414"/>
                      <a:pt x="908" y="410"/>
                      <a:pt x="911" y="408"/>
                    </a:cubicBezTo>
                    <a:cubicBezTo>
                      <a:pt x="914" y="407"/>
                      <a:pt x="915" y="407"/>
                      <a:pt x="917" y="405"/>
                    </a:cubicBezTo>
                    <a:cubicBezTo>
                      <a:pt x="919" y="403"/>
                      <a:pt x="920" y="402"/>
                      <a:pt x="923" y="401"/>
                    </a:cubicBezTo>
                    <a:cubicBezTo>
                      <a:pt x="926" y="400"/>
                      <a:pt x="931" y="403"/>
                      <a:pt x="934" y="401"/>
                    </a:cubicBezTo>
                    <a:cubicBezTo>
                      <a:pt x="938" y="399"/>
                      <a:pt x="935" y="394"/>
                      <a:pt x="937" y="391"/>
                    </a:cubicBezTo>
                    <a:cubicBezTo>
                      <a:pt x="939" y="389"/>
                      <a:pt x="943" y="390"/>
                      <a:pt x="946" y="390"/>
                    </a:cubicBezTo>
                    <a:cubicBezTo>
                      <a:pt x="947" y="390"/>
                      <a:pt x="949" y="389"/>
                      <a:pt x="949" y="389"/>
                    </a:cubicBezTo>
                    <a:cubicBezTo>
                      <a:pt x="951" y="389"/>
                      <a:pt x="952" y="391"/>
                      <a:pt x="954" y="391"/>
                    </a:cubicBezTo>
                    <a:cubicBezTo>
                      <a:pt x="955" y="391"/>
                      <a:pt x="957" y="389"/>
                      <a:pt x="958" y="389"/>
                    </a:cubicBezTo>
                    <a:cubicBezTo>
                      <a:pt x="961" y="387"/>
                      <a:pt x="964" y="387"/>
                      <a:pt x="967" y="387"/>
                    </a:cubicBezTo>
                    <a:cubicBezTo>
                      <a:pt x="972" y="387"/>
                      <a:pt x="976" y="387"/>
                      <a:pt x="979" y="388"/>
                    </a:cubicBezTo>
                    <a:cubicBezTo>
                      <a:pt x="984" y="390"/>
                      <a:pt x="987" y="391"/>
                      <a:pt x="992" y="387"/>
                    </a:cubicBezTo>
                    <a:cubicBezTo>
                      <a:pt x="993" y="386"/>
                      <a:pt x="994" y="384"/>
                      <a:pt x="995" y="383"/>
                    </a:cubicBezTo>
                    <a:cubicBezTo>
                      <a:pt x="997" y="382"/>
                      <a:pt x="998" y="382"/>
                      <a:pt x="999" y="381"/>
                    </a:cubicBezTo>
                    <a:cubicBezTo>
                      <a:pt x="1001" y="379"/>
                      <a:pt x="1000" y="379"/>
                      <a:pt x="1001" y="377"/>
                    </a:cubicBezTo>
                    <a:cubicBezTo>
                      <a:pt x="1002" y="371"/>
                      <a:pt x="1000" y="365"/>
                      <a:pt x="1002" y="359"/>
                    </a:cubicBezTo>
                    <a:cubicBezTo>
                      <a:pt x="1003" y="357"/>
                      <a:pt x="1005" y="355"/>
                      <a:pt x="1006" y="353"/>
                    </a:cubicBezTo>
                    <a:cubicBezTo>
                      <a:pt x="1007" y="352"/>
                      <a:pt x="1010" y="352"/>
                      <a:pt x="1009" y="349"/>
                    </a:cubicBezTo>
                    <a:cubicBezTo>
                      <a:pt x="1005" y="349"/>
                      <a:pt x="1004" y="349"/>
                      <a:pt x="1002" y="346"/>
                    </a:cubicBezTo>
                    <a:cubicBezTo>
                      <a:pt x="1002" y="347"/>
                      <a:pt x="1001" y="347"/>
                      <a:pt x="1001" y="347"/>
                    </a:cubicBezTo>
                    <a:cubicBezTo>
                      <a:pt x="998" y="342"/>
                      <a:pt x="998" y="336"/>
                      <a:pt x="997" y="331"/>
                    </a:cubicBezTo>
                    <a:cubicBezTo>
                      <a:pt x="995" y="331"/>
                      <a:pt x="994" y="331"/>
                      <a:pt x="992" y="331"/>
                    </a:cubicBezTo>
                    <a:cubicBezTo>
                      <a:pt x="991" y="326"/>
                      <a:pt x="992" y="319"/>
                      <a:pt x="992" y="314"/>
                    </a:cubicBezTo>
                    <a:cubicBezTo>
                      <a:pt x="992" y="313"/>
                      <a:pt x="991" y="308"/>
                      <a:pt x="992" y="306"/>
                    </a:cubicBezTo>
                    <a:cubicBezTo>
                      <a:pt x="994" y="302"/>
                      <a:pt x="1014" y="306"/>
                      <a:pt x="1011" y="300"/>
                    </a:cubicBezTo>
                    <a:cubicBezTo>
                      <a:pt x="1010" y="297"/>
                      <a:pt x="1003" y="298"/>
                      <a:pt x="1001" y="298"/>
                    </a:cubicBezTo>
                    <a:cubicBezTo>
                      <a:pt x="995" y="298"/>
                      <a:pt x="993" y="295"/>
                      <a:pt x="988" y="291"/>
                    </a:cubicBezTo>
                    <a:cubicBezTo>
                      <a:pt x="983" y="287"/>
                      <a:pt x="982" y="283"/>
                      <a:pt x="990" y="282"/>
                    </a:cubicBezTo>
                    <a:cubicBezTo>
                      <a:pt x="996" y="282"/>
                      <a:pt x="1002" y="283"/>
                      <a:pt x="1008" y="282"/>
                    </a:cubicBezTo>
                    <a:cubicBezTo>
                      <a:pt x="1008" y="280"/>
                      <a:pt x="1008" y="278"/>
                      <a:pt x="1009" y="276"/>
                    </a:cubicBezTo>
                    <a:cubicBezTo>
                      <a:pt x="1012" y="269"/>
                      <a:pt x="1018" y="273"/>
                      <a:pt x="1024" y="269"/>
                    </a:cubicBezTo>
                    <a:cubicBezTo>
                      <a:pt x="1026" y="267"/>
                      <a:pt x="1026" y="266"/>
                      <a:pt x="1024" y="264"/>
                    </a:cubicBezTo>
                    <a:moveTo>
                      <a:pt x="134" y="165"/>
                    </a:moveTo>
                    <a:cubicBezTo>
                      <a:pt x="134" y="165"/>
                      <a:pt x="134" y="165"/>
                      <a:pt x="134" y="165"/>
                    </a:cubicBezTo>
                    <a:cubicBezTo>
                      <a:pt x="134" y="165"/>
                      <a:pt x="134" y="165"/>
                      <a:pt x="133" y="165"/>
                    </a:cubicBezTo>
                    <a:lnTo>
                      <a:pt x="134" y="16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491" name="Freeform 6">
                <a:extLst>
                  <a:ext uri="{FF2B5EF4-FFF2-40B4-BE49-F238E27FC236}">
                    <a16:creationId xmlns:a16="http://schemas.microsoft.com/office/drawing/2014/main" id="{4750407C-B095-4812-ADBF-8B6AA4A64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5363" y="5638800"/>
                <a:ext cx="84138" cy="50800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15" y="1"/>
                  </a:cxn>
                  <a:cxn ang="0">
                    <a:pos x="13" y="0"/>
                  </a:cxn>
                  <a:cxn ang="0">
                    <a:pos x="10" y="4"/>
                  </a:cxn>
                  <a:cxn ang="0">
                    <a:pos x="9" y="5"/>
                  </a:cxn>
                  <a:cxn ang="0">
                    <a:pos x="8" y="6"/>
                  </a:cxn>
                  <a:cxn ang="0">
                    <a:pos x="7" y="6"/>
                  </a:cxn>
                  <a:cxn ang="0">
                    <a:pos x="7" y="7"/>
                  </a:cxn>
                  <a:cxn ang="0">
                    <a:pos x="1" y="10"/>
                  </a:cxn>
                  <a:cxn ang="0">
                    <a:pos x="1" y="14"/>
                  </a:cxn>
                  <a:cxn ang="0">
                    <a:pos x="5" y="19"/>
                  </a:cxn>
                  <a:cxn ang="0">
                    <a:pos x="9" y="22"/>
                  </a:cxn>
                  <a:cxn ang="0">
                    <a:pos x="15" y="22"/>
                  </a:cxn>
                  <a:cxn ang="0">
                    <a:pos x="18" y="22"/>
                  </a:cxn>
                  <a:cxn ang="0">
                    <a:pos x="20" y="21"/>
                  </a:cxn>
                  <a:cxn ang="0">
                    <a:pos x="22" y="21"/>
                  </a:cxn>
                  <a:cxn ang="0">
                    <a:pos x="25" y="21"/>
                  </a:cxn>
                  <a:cxn ang="0">
                    <a:pos x="29" y="22"/>
                  </a:cxn>
                  <a:cxn ang="0">
                    <a:pos x="32" y="24"/>
                  </a:cxn>
                  <a:cxn ang="0">
                    <a:pos x="39" y="26"/>
                  </a:cxn>
                  <a:cxn ang="0">
                    <a:pos x="44" y="25"/>
                  </a:cxn>
                  <a:cxn ang="0">
                    <a:pos x="44" y="19"/>
                  </a:cxn>
                  <a:cxn ang="0">
                    <a:pos x="43" y="16"/>
                  </a:cxn>
                  <a:cxn ang="0">
                    <a:pos x="42" y="13"/>
                  </a:cxn>
                  <a:cxn ang="0">
                    <a:pos x="38" y="10"/>
                  </a:cxn>
                  <a:cxn ang="0">
                    <a:pos x="35" y="9"/>
                  </a:cxn>
                  <a:cxn ang="0">
                    <a:pos x="33" y="9"/>
                  </a:cxn>
                  <a:cxn ang="0">
                    <a:pos x="27" y="5"/>
                  </a:cxn>
                  <a:cxn ang="0">
                    <a:pos x="23" y="4"/>
                  </a:cxn>
                  <a:cxn ang="0">
                    <a:pos x="20" y="3"/>
                  </a:cxn>
                  <a:cxn ang="0">
                    <a:pos x="17" y="3"/>
                  </a:cxn>
                </a:cxnLst>
                <a:rect l="0" t="0" r="r" b="b"/>
                <a:pathLst>
                  <a:path w="45" h="27">
                    <a:moveTo>
                      <a:pt x="17" y="3"/>
                    </a:moveTo>
                    <a:cubicBezTo>
                      <a:pt x="17" y="2"/>
                      <a:pt x="16" y="2"/>
                      <a:pt x="15" y="1"/>
                    </a:cubicBezTo>
                    <a:cubicBezTo>
                      <a:pt x="14" y="1"/>
                      <a:pt x="13" y="0"/>
                      <a:pt x="13" y="0"/>
                    </a:cubicBezTo>
                    <a:cubicBezTo>
                      <a:pt x="11" y="1"/>
                      <a:pt x="11" y="2"/>
                      <a:pt x="10" y="4"/>
                    </a:cubicBezTo>
                    <a:cubicBezTo>
                      <a:pt x="10" y="4"/>
                      <a:pt x="10" y="5"/>
                      <a:pt x="9" y="5"/>
                    </a:cubicBezTo>
                    <a:cubicBezTo>
                      <a:pt x="9" y="5"/>
                      <a:pt x="9" y="6"/>
                      <a:pt x="8" y="6"/>
                    </a:cubicBezTo>
                    <a:cubicBezTo>
                      <a:pt x="8" y="6"/>
                      <a:pt x="8" y="6"/>
                      <a:pt x="7" y="6"/>
                    </a:cubicBezTo>
                    <a:cubicBezTo>
                      <a:pt x="7" y="6"/>
                      <a:pt x="7" y="6"/>
                      <a:pt x="7" y="7"/>
                    </a:cubicBezTo>
                    <a:cubicBezTo>
                      <a:pt x="5" y="8"/>
                      <a:pt x="2" y="8"/>
                      <a:pt x="1" y="10"/>
                    </a:cubicBezTo>
                    <a:cubicBezTo>
                      <a:pt x="0" y="11"/>
                      <a:pt x="0" y="13"/>
                      <a:pt x="1" y="14"/>
                    </a:cubicBezTo>
                    <a:cubicBezTo>
                      <a:pt x="1" y="16"/>
                      <a:pt x="3" y="17"/>
                      <a:pt x="5" y="19"/>
                    </a:cubicBezTo>
                    <a:cubicBezTo>
                      <a:pt x="6" y="20"/>
                      <a:pt x="7" y="21"/>
                      <a:pt x="9" y="22"/>
                    </a:cubicBezTo>
                    <a:cubicBezTo>
                      <a:pt x="11" y="22"/>
                      <a:pt x="13" y="22"/>
                      <a:pt x="15" y="22"/>
                    </a:cubicBezTo>
                    <a:cubicBezTo>
                      <a:pt x="16" y="23"/>
                      <a:pt x="17" y="23"/>
                      <a:pt x="18" y="22"/>
                    </a:cubicBezTo>
                    <a:cubicBezTo>
                      <a:pt x="19" y="22"/>
                      <a:pt x="19" y="22"/>
                      <a:pt x="20" y="21"/>
                    </a:cubicBezTo>
                    <a:cubicBezTo>
                      <a:pt x="20" y="21"/>
                      <a:pt x="21" y="21"/>
                      <a:pt x="22" y="21"/>
                    </a:cubicBezTo>
                    <a:cubicBezTo>
                      <a:pt x="23" y="21"/>
                      <a:pt x="24" y="21"/>
                      <a:pt x="25" y="21"/>
                    </a:cubicBezTo>
                    <a:cubicBezTo>
                      <a:pt x="27" y="21"/>
                      <a:pt x="28" y="22"/>
                      <a:pt x="29" y="22"/>
                    </a:cubicBezTo>
                    <a:cubicBezTo>
                      <a:pt x="30" y="22"/>
                      <a:pt x="31" y="23"/>
                      <a:pt x="32" y="24"/>
                    </a:cubicBezTo>
                    <a:cubicBezTo>
                      <a:pt x="34" y="25"/>
                      <a:pt x="36" y="26"/>
                      <a:pt x="39" y="26"/>
                    </a:cubicBezTo>
                    <a:cubicBezTo>
                      <a:pt x="40" y="27"/>
                      <a:pt x="43" y="27"/>
                      <a:pt x="44" y="25"/>
                    </a:cubicBezTo>
                    <a:cubicBezTo>
                      <a:pt x="45" y="23"/>
                      <a:pt x="44" y="21"/>
                      <a:pt x="44" y="19"/>
                    </a:cubicBezTo>
                    <a:cubicBezTo>
                      <a:pt x="43" y="18"/>
                      <a:pt x="43" y="17"/>
                      <a:pt x="43" y="16"/>
                    </a:cubicBezTo>
                    <a:cubicBezTo>
                      <a:pt x="43" y="15"/>
                      <a:pt x="43" y="14"/>
                      <a:pt x="42" y="13"/>
                    </a:cubicBezTo>
                    <a:cubicBezTo>
                      <a:pt x="41" y="11"/>
                      <a:pt x="39" y="11"/>
                      <a:pt x="38" y="10"/>
                    </a:cubicBezTo>
                    <a:cubicBezTo>
                      <a:pt x="37" y="10"/>
                      <a:pt x="36" y="9"/>
                      <a:pt x="35" y="9"/>
                    </a:cubicBezTo>
                    <a:cubicBezTo>
                      <a:pt x="34" y="9"/>
                      <a:pt x="34" y="9"/>
                      <a:pt x="33" y="9"/>
                    </a:cubicBezTo>
                    <a:cubicBezTo>
                      <a:pt x="31" y="8"/>
                      <a:pt x="29" y="6"/>
                      <a:pt x="27" y="5"/>
                    </a:cubicBezTo>
                    <a:cubicBezTo>
                      <a:pt x="26" y="5"/>
                      <a:pt x="24" y="5"/>
                      <a:pt x="23" y="4"/>
                    </a:cubicBezTo>
                    <a:cubicBezTo>
                      <a:pt x="22" y="4"/>
                      <a:pt x="21" y="4"/>
                      <a:pt x="20" y="3"/>
                    </a:cubicBezTo>
                    <a:cubicBezTo>
                      <a:pt x="20" y="3"/>
                      <a:pt x="19" y="4"/>
                      <a:pt x="17" y="3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492" name="Freeform 7">
                <a:extLst>
                  <a:ext uri="{FF2B5EF4-FFF2-40B4-BE49-F238E27FC236}">
                    <a16:creationId xmlns:a16="http://schemas.microsoft.com/office/drawing/2014/main" id="{E7812EBA-DC6F-486C-BB9D-BE122303F3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55850" y="3716338"/>
                <a:ext cx="463550" cy="674688"/>
              </a:xfrm>
              <a:custGeom>
                <a:avLst/>
                <a:gdLst/>
                <a:ahLst/>
                <a:cxnLst>
                  <a:cxn ang="0">
                    <a:pos x="182" y="8"/>
                  </a:cxn>
                  <a:cxn ang="0">
                    <a:pos x="163" y="8"/>
                  </a:cxn>
                  <a:cxn ang="0">
                    <a:pos x="124" y="24"/>
                  </a:cxn>
                  <a:cxn ang="0">
                    <a:pos x="114" y="53"/>
                  </a:cxn>
                  <a:cxn ang="0">
                    <a:pos x="94" y="68"/>
                  </a:cxn>
                  <a:cxn ang="0">
                    <a:pos x="127" y="72"/>
                  </a:cxn>
                  <a:cxn ang="0">
                    <a:pos x="110" y="90"/>
                  </a:cxn>
                  <a:cxn ang="0">
                    <a:pos x="100" y="105"/>
                  </a:cxn>
                  <a:cxn ang="0">
                    <a:pos x="75" y="113"/>
                  </a:cxn>
                  <a:cxn ang="0">
                    <a:pos x="33" y="106"/>
                  </a:cxn>
                  <a:cxn ang="0">
                    <a:pos x="31" y="131"/>
                  </a:cxn>
                  <a:cxn ang="0">
                    <a:pos x="14" y="139"/>
                  </a:cxn>
                  <a:cxn ang="0">
                    <a:pos x="40" y="142"/>
                  </a:cxn>
                  <a:cxn ang="0">
                    <a:pos x="35" y="153"/>
                  </a:cxn>
                  <a:cxn ang="0">
                    <a:pos x="24" y="179"/>
                  </a:cxn>
                  <a:cxn ang="0">
                    <a:pos x="37" y="189"/>
                  </a:cxn>
                  <a:cxn ang="0">
                    <a:pos x="45" y="197"/>
                  </a:cxn>
                  <a:cxn ang="0">
                    <a:pos x="74" y="214"/>
                  </a:cxn>
                  <a:cxn ang="0">
                    <a:pos x="55" y="240"/>
                  </a:cxn>
                  <a:cxn ang="0">
                    <a:pos x="39" y="257"/>
                  </a:cxn>
                  <a:cxn ang="0">
                    <a:pos x="70" y="260"/>
                  </a:cxn>
                  <a:cxn ang="0">
                    <a:pos x="40" y="289"/>
                  </a:cxn>
                  <a:cxn ang="0">
                    <a:pos x="4" y="292"/>
                  </a:cxn>
                  <a:cxn ang="0">
                    <a:pos x="24" y="304"/>
                  </a:cxn>
                  <a:cxn ang="0">
                    <a:pos x="23" y="310"/>
                  </a:cxn>
                  <a:cxn ang="0">
                    <a:pos x="10" y="331"/>
                  </a:cxn>
                  <a:cxn ang="0">
                    <a:pos x="51" y="325"/>
                  </a:cxn>
                  <a:cxn ang="0">
                    <a:pos x="19" y="346"/>
                  </a:cxn>
                  <a:cxn ang="0">
                    <a:pos x="56" y="341"/>
                  </a:cxn>
                  <a:cxn ang="0">
                    <a:pos x="60" y="357"/>
                  </a:cxn>
                  <a:cxn ang="0">
                    <a:pos x="104" y="344"/>
                  </a:cxn>
                  <a:cxn ang="0">
                    <a:pos x="134" y="322"/>
                  </a:cxn>
                  <a:cxn ang="0">
                    <a:pos x="173" y="302"/>
                  </a:cxn>
                  <a:cxn ang="0">
                    <a:pos x="208" y="294"/>
                  </a:cxn>
                  <a:cxn ang="0">
                    <a:pos x="219" y="277"/>
                  </a:cxn>
                  <a:cxn ang="0">
                    <a:pos x="238" y="240"/>
                  </a:cxn>
                  <a:cxn ang="0">
                    <a:pos x="230" y="195"/>
                  </a:cxn>
                  <a:cxn ang="0">
                    <a:pos x="245" y="187"/>
                  </a:cxn>
                  <a:cxn ang="0">
                    <a:pos x="225" y="161"/>
                  </a:cxn>
                  <a:cxn ang="0">
                    <a:pos x="231" y="134"/>
                  </a:cxn>
                  <a:cxn ang="0">
                    <a:pos x="234" y="126"/>
                  </a:cxn>
                  <a:cxn ang="0">
                    <a:pos x="218" y="123"/>
                  </a:cxn>
                  <a:cxn ang="0">
                    <a:pos x="201" y="112"/>
                  </a:cxn>
                  <a:cxn ang="0">
                    <a:pos x="184" y="95"/>
                  </a:cxn>
                  <a:cxn ang="0">
                    <a:pos x="172" y="114"/>
                  </a:cxn>
                  <a:cxn ang="0">
                    <a:pos x="153" y="114"/>
                  </a:cxn>
                  <a:cxn ang="0">
                    <a:pos x="137" y="104"/>
                  </a:cxn>
                  <a:cxn ang="0">
                    <a:pos x="130" y="90"/>
                  </a:cxn>
                  <a:cxn ang="0">
                    <a:pos x="149" y="73"/>
                  </a:cxn>
                  <a:cxn ang="0">
                    <a:pos x="147" y="63"/>
                  </a:cxn>
                  <a:cxn ang="0">
                    <a:pos x="165" y="46"/>
                  </a:cxn>
                  <a:cxn ang="0">
                    <a:pos x="184" y="28"/>
                  </a:cxn>
                  <a:cxn ang="0">
                    <a:pos x="191" y="16"/>
                  </a:cxn>
                  <a:cxn ang="0">
                    <a:pos x="240" y="128"/>
                  </a:cxn>
                  <a:cxn ang="0">
                    <a:pos x="216" y="17"/>
                  </a:cxn>
                  <a:cxn ang="0">
                    <a:pos x="214" y="18"/>
                  </a:cxn>
                </a:cxnLst>
                <a:rect l="0" t="0" r="r" b="b"/>
                <a:pathLst>
                  <a:path w="248" h="361">
                    <a:moveTo>
                      <a:pt x="203" y="10"/>
                    </a:moveTo>
                    <a:cubicBezTo>
                      <a:pt x="201" y="10"/>
                      <a:pt x="199" y="10"/>
                      <a:pt x="198" y="10"/>
                    </a:cubicBezTo>
                    <a:cubicBezTo>
                      <a:pt x="197" y="10"/>
                      <a:pt x="195" y="11"/>
                      <a:pt x="194" y="10"/>
                    </a:cubicBezTo>
                    <a:cubicBezTo>
                      <a:pt x="191" y="10"/>
                      <a:pt x="189" y="8"/>
                      <a:pt x="187" y="8"/>
                    </a:cubicBezTo>
                    <a:cubicBezTo>
                      <a:pt x="185" y="8"/>
                      <a:pt x="183" y="9"/>
                      <a:pt x="182" y="8"/>
                    </a:cubicBezTo>
                    <a:cubicBezTo>
                      <a:pt x="180" y="7"/>
                      <a:pt x="181" y="6"/>
                      <a:pt x="179" y="5"/>
                    </a:cubicBezTo>
                    <a:cubicBezTo>
                      <a:pt x="178" y="4"/>
                      <a:pt x="176" y="4"/>
                      <a:pt x="175" y="4"/>
                    </a:cubicBezTo>
                    <a:cubicBezTo>
                      <a:pt x="172" y="4"/>
                      <a:pt x="172" y="4"/>
                      <a:pt x="170" y="3"/>
                    </a:cubicBezTo>
                    <a:cubicBezTo>
                      <a:pt x="168" y="2"/>
                      <a:pt x="167" y="0"/>
                      <a:pt x="165" y="3"/>
                    </a:cubicBezTo>
                    <a:cubicBezTo>
                      <a:pt x="163" y="4"/>
                      <a:pt x="165" y="7"/>
                      <a:pt x="163" y="8"/>
                    </a:cubicBezTo>
                    <a:cubicBezTo>
                      <a:pt x="162" y="9"/>
                      <a:pt x="160" y="8"/>
                      <a:pt x="159" y="8"/>
                    </a:cubicBezTo>
                    <a:cubicBezTo>
                      <a:pt x="154" y="8"/>
                      <a:pt x="137" y="8"/>
                      <a:pt x="138" y="16"/>
                    </a:cubicBezTo>
                    <a:cubicBezTo>
                      <a:pt x="135" y="17"/>
                      <a:pt x="133" y="13"/>
                      <a:pt x="131" y="11"/>
                    </a:cubicBezTo>
                    <a:cubicBezTo>
                      <a:pt x="128" y="14"/>
                      <a:pt x="133" y="21"/>
                      <a:pt x="128" y="24"/>
                    </a:cubicBezTo>
                    <a:cubicBezTo>
                      <a:pt x="127" y="24"/>
                      <a:pt x="125" y="24"/>
                      <a:pt x="124" y="24"/>
                    </a:cubicBezTo>
                    <a:cubicBezTo>
                      <a:pt x="123" y="24"/>
                      <a:pt x="122" y="25"/>
                      <a:pt x="121" y="26"/>
                    </a:cubicBezTo>
                    <a:cubicBezTo>
                      <a:pt x="120" y="26"/>
                      <a:pt x="117" y="25"/>
                      <a:pt x="116" y="26"/>
                    </a:cubicBezTo>
                    <a:cubicBezTo>
                      <a:pt x="112" y="29"/>
                      <a:pt x="116" y="34"/>
                      <a:pt x="112" y="37"/>
                    </a:cubicBezTo>
                    <a:cubicBezTo>
                      <a:pt x="110" y="39"/>
                      <a:pt x="104" y="40"/>
                      <a:pt x="105" y="46"/>
                    </a:cubicBezTo>
                    <a:cubicBezTo>
                      <a:pt x="109" y="46"/>
                      <a:pt x="115" y="48"/>
                      <a:pt x="114" y="53"/>
                    </a:cubicBezTo>
                    <a:cubicBezTo>
                      <a:pt x="112" y="58"/>
                      <a:pt x="109" y="54"/>
                      <a:pt x="106" y="55"/>
                    </a:cubicBezTo>
                    <a:cubicBezTo>
                      <a:pt x="103" y="55"/>
                      <a:pt x="104" y="55"/>
                      <a:pt x="103" y="57"/>
                    </a:cubicBezTo>
                    <a:cubicBezTo>
                      <a:pt x="103" y="58"/>
                      <a:pt x="103" y="58"/>
                      <a:pt x="103" y="59"/>
                    </a:cubicBezTo>
                    <a:cubicBezTo>
                      <a:pt x="102" y="60"/>
                      <a:pt x="102" y="59"/>
                      <a:pt x="101" y="60"/>
                    </a:cubicBezTo>
                    <a:cubicBezTo>
                      <a:pt x="98" y="62"/>
                      <a:pt x="96" y="65"/>
                      <a:pt x="94" y="68"/>
                    </a:cubicBezTo>
                    <a:cubicBezTo>
                      <a:pt x="91" y="71"/>
                      <a:pt x="88" y="75"/>
                      <a:pt x="94" y="76"/>
                    </a:cubicBezTo>
                    <a:cubicBezTo>
                      <a:pt x="96" y="77"/>
                      <a:pt x="98" y="76"/>
                      <a:pt x="100" y="76"/>
                    </a:cubicBezTo>
                    <a:cubicBezTo>
                      <a:pt x="102" y="76"/>
                      <a:pt x="103" y="78"/>
                      <a:pt x="105" y="78"/>
                    </a:cubicBezTo>
                    <a:cubicBezTo>
                      <a:pt x="110" y="80"/>
                      <a:pt x="112" y="77"/>
                      <a:pt x="117" y="76"/>
                    </a:cubicBezTo>
                    <a:cubicBezTo>
                      <a:pt x="120" y="75"/>
                      <a:pt x="123" y="74"/>
                      <a:pt x="127" y="72"/>
                    </a:cubicBezTo>
                    <a:cubicBezTo>
                      <a:pt x="127" y="75"/>
                      <a:pt x="127" y="76"/>
                      <a:pt x="126" y="77"/>
                    </a:cubicBezTo>
                    <a:cubicBezTo>
                      <a:pt x="124" y="80"/>
                      <a:pt x="123" y="80"/>
                      <a:pt x="122" y="83"/>
                    </a:cubicBezTo>
                    <a:cubicBezTo>
                      <a:pt x="121" y="85"/>
                      <a:pt x="122" y="85"/>
                      <a:pt x="120" y="86"/>
                    </a:cubicBezTo>
                    <a:cubicBezTo>
                      <a:pt x="119" y="87"/>
                      <a:pt x="117" y="87"/>
                      <a:pt x="115" y="88"/>
                    </a:cubicBezTo>
                    <a:cubicBezTo>
                      <a:pt x="113" y="88"/>
                      <a:pt x="112" y="90"/>
                      <a:pt x="110" y="90"/>
                    </a:cubicBezTo>
                    <a:cubicBezTo>
                      <a:pt x="109" y="91"/>
                      <a:pt x="108" y="90"/>
                      <a:pt x="107" y="90"/>
                    </a:cubicBezTo>
                    <a:cubicBezTo>
                      <a:pt x="106" y="91"/>
                      <a:pt x="106" y="92"/>
                      <a:pt x="105" y="93"/>
                    </a:cubicBezTo>
                    <a:cubicBezTo>
                      <a:pt x="103" y="95"/>
                      <a:pt x="98" y="97"/>
                      <a:pt x="99" y="100"/>
                    </a:cubicBezTo>
                    <a:cubicBezTo>
                      <a:pt x="100" y="100"/>
                      <a:pt x="101" y="100"/>
                      <a:pt x="102" y="100"/>
                    </a:cubicBezTo>
                    <a:cubicBezTo>
                      <a:pt x="103" y="103"/>
                      <a:pt x="103" y="104"/>
                      <a:pt x="100" y="105"/>
                    </a:cubicBezTo>
                    <a:cubicBezTo>
                      <a:pt x="99" y="106"/>
                      <a:pt x="97" y="105"/>
                      <a:pt x="96" y="105"/>
                    </a:cubicBezTo>
                    <a:cubicBezTo>
                      <a:pt x="94" y="106"/>
                      <a:pt x="94" y="106"/>
                      <a:pt x="93" y="106"/>
                    </a:cubicBezTo>
                    <a:cubicBezTo>
                      <a:pt x="90" y="107"/>
                      <a:pt x="90" y="105"/>
                      <a:pt x="87" y="104"/>
                    </a:cubicBezTo>
                    <a:cubicBezTo>
                      <a:pt x="85" y="104"/>
                      <a:pt x="82" y="104"/>
                      <a:pt x="80" y="105"/>
                    </a:cubicBezTo>
                    <a:cubicBezTo>
                      <a:pt x="79" y="108"/>
                      <a:pt x="80" y="114"/>
                      <a:pt x="75" y="113"/>
                    </a:cubicBezTo>
                    <a:cubicBezTo>
                      <a:pt x="69" y="112"/>
                      <a:pt x="72" y="105"/>
                      <a:pt x="66" y="103"/>
                    </a:cubicBezTo>
                    <a:cubicBezTo>
                      <a:pt x="61" y="103"/>
                      <a:pt x="57" y="103"/>
                      <a:pt x="52" y="102"/>
                    </a:cubicBezTo>
                    <a:cubicBezTo>
                      <a:pt x="49" y="102"/>
                      <a:pt x="46" y="101"/>
                      <a:pt x="43" y="101"/>
                    </a:cubicBezTo>
                    <a:cubicBezTo>
                      <a:pt x="40" y="101"/>
                      <a:pt x="37" y="102"/>
                      <a:pt x="33" y="102"/>
                    </a:cubicBezTo>
                    <a:cubicBezTo>
                      <a:pt x="33" y="103"/>
                      <a:pt x="33" y="105"/>
                      <a:pt x="33" y="106"/>
                    </a:cubicBezTo>
                    <a:cubicBezTo>
                      <a:pt x="29" y="107"/>
                      <a:pt x="25" y="107"/>
                      <a:pt x="22" y="111"/>
                    </a:cubicBezTo>
                    <a:cubicBezTo>
                      <a:pt x="20" y="115"/>
                      <a:pt x="17" y="123"/>
                      <a:pt x="20" y="126"/>
                    </a:cubicBezTo>
                    <a:cubicBezTo>
                      <a:pt x="21" y="125"/>
                      <a:pt x="22" y="123"/>
                      <a:pt x="23" y="122"/>
                    </a:cubicBezTo>
                    <a:cubicBezTo>
                      <a:pt x="24" y="120"/>
                      <a:pt x="27" y="117"/>
                      <a:pt x="29" y="117"/>
                    </a:cubicBezTo>
                    <a:cubicBezTo>
                      <a:pt x="33" y="117"/>
                      <a:pt x="32" y="128"/>
                      <a:pt x="31" y="131"/>
                    </a:cubicBezTo>
                    <a:cubicBezTo>
                      <a:pt x="35" y="133"/>
                      <a:pt x="39" y="132"/>
                      <a:pt x="42" y="134"/>
                    </a:cubicBezTo>
                    <a:cubicBezTo>
                      <a:pt x="40" y="137"/>
                      <a:pt x="32" y="136"/>
                      <a:pt x="30" y="134"/>
                    </a:cubicBezTo>
                    <a:cubicBezTo>
                      <a:pt x="27" y="133"/>
                      <a:pt x="28" y="132"/>
                      <a:pt x="24" y="131"/>
                    </a:cubicBezTo>
                    <a:cubicBezTo>
                      <a:pt x="21" y="131"/>
                      <a:pt x="18" y="131"/>
                      <a:pt x="16" y="132"/>
                    </a:cubicBezTo>
                    <a:cubicBezTo>
                      <a:pt x="14" y="133"/>
                      <a:pt x="12" y="136"/>
                      <a:pt x="14" y="139"/>
                    </a:cubicBezTo>
                    <a:cubicBezTo>
                      <a:pt x="16" y="141"/>
                      <a:pt x="19" y="138"/>
                      <a:pt x="21" y="139"/>
                    </a:cubicBezTo>
                    <a:cubicBezTo>
                      <a:pt x="22" y="140"/>
                      <a:pt x="23" y="141"/>
                      <a:pt x="24" y="142"/>
                    </a:cubicBezTo>
                    <a:cubicBezTo>
                      <a:pt x="25" y="144"/>
                      <a:pt x="25" y="143"/>
                      <a:pt x="27" y="144"/>
                    </a:cubicBezTo>
                    <a:cubicBezTo>
                      <a:pt x="31" y="146"/>
                      <a:pt x="34" y="147"/>
                      <a:pt x="38" y="146"/>
                    </a:cubicBezTo>
                    <a:cubicBezTo>
                      <a:pt x="38" y="145"/>
                      <a:pt x="39" y="143"/>
                      <a:pt x="40" y="142"/>
                    </a:cubicBezTo>
                    <a:cubicBezTo>
                      <a:pt x="42" y="141"/>
                      <a:pt x="45" y="142"/>
                      <a:pt x="45" y="145"/>
                    </a:cubicBezTo>
                    <a:cubicBezTo>
                      <a:pt x="45" y="145"/>
                      <a:pt x="46" y="145"/>
                      <a:pt x="47" y="145"/>
                    </a:cubicBezTo>
                    <a:cubicBezTo>
                      <a:pt x="47" y="147"/>
                      <a:pt x="46" y="150"/>
                      <a:pt x="44" y="151"/>
                    </a:cubicBezTo>
                    <a:cubicBezTo>
                      <a:pt x="42" y="151"/>
                      <a:pt x="41" y="150"/>
                      <a:pt x="39" y="151"/>
                    </a:cubicBezTo>
                    <a:cubicBezTo>
                      <a:pt x="38" y="151"/>
                      <a:pt x="36" y="153"/>
                      <a:pt x="35" y="153"/>
                    </a:cubicBezTo>
                    <a:cubicBezTo>
                      <a:pt x="32" y="155"/>
                      <a:pt x="32" y="155"/>
                      <a:pt x="32" y="159"/>
                    </a:cubicBezTo>
                    <a:cubicBezTo>
                      <a:pt x="31" y="162"/>
                      <a:pt x="32" y="165"/>
                      <a:pt x="31" y="169"/>
                    </a:cubicBezTo>
                    <a:cubicBezTo>
                      <a:pt x="29" y="169"/>
                      <a:pt x="26" y="168"/>
                      <a:pt x="24" y="169"/>
                    </a:cubicBezTo>
                    <a:cubicBezTo>
                      <a:pt x="21" y="169"/>
                      <a:pt x="18" y="173"/>
                      <a:pt x="19" y="176"/>
                    </a:cubicBezTo>
                    <a:cubicBezTo>
                      <a:pt x="21" y="176"/>
                      <a:pt x="25" y="176"/>
                      <a:pt x="24" y="179"/>
                    </a:cubicBezTo>
                    <a:cubicBezTo>
                      <a:pt x="21" y="179"/>
                      <a:pt x="21" y="182"/>
                      <a:pt x="18" y="182"/>
                    </a:cubicBezTo>
                    <a:cubicBezTo>
                      <a:pt x="17" y="185"/>
                      <a:pt x="18" y="185"/>
                      <a:pt x="20" y="187"/>
                    </a:cubicBezTo>
                    <a:cubicBezTo>
                      <a:pt x="21" y="188"/>
                      <a:pt x="25" y="190"/>
                      <a:pt x="26" y="190"/>
                    </a:cubicBezTo>
                    <a:cubicBezTo>
                      <a:pt x="28" y="191"/>
                      <a:pt x="30" y="191"/>
                      <a:pt x="31" y="191"/>
                    </a:cubicBezTo>
                    <a:cubicBezTo>
                      <a:pt x="33" y="190"/>
                      <a:pt x="34" y="188"/>
                      <a:pt x="37" y="189"/>
                    </a:cubicBezTo>
                    <a:cubicBezTo>
                      <a:pt x="37" y="190"/>
                      <a:pt x="37" y="191"/>
                      <a:pt x="37" y="192"/>
                    </a:cubicBezTo>
                    <a:cubicBezTo>
                      <a:pt x="36" y="191"/>
                      <a:pt x="35" y="192"/>
                      <a:pt x="34" y="192"/>
                    </a:cubicBezTo>
                    <a:cubicBezTo>
                      <a:pt x="34" y="194"/>
                      <a:pt x="35" y="197"/>
                      <a:pt x="38" y="196"/>
                    </a:cubicBezTo>
                    <a:cubicBezTo>
                      <a:pt x="39" y="195"/>
                      <a:pt x="41" y="191"/>
                      <a:pt x="43" y="191"/>
                    </a:cubicBezTo>
                    <a:cubicBezTo>
                      <a:pt x="45" y="191"/>
                      <a:pt x="44" y="196"/>
                      <a:pt x="45" y="197"/>
                    </a:cubicBezTo>
                    <a:cubicBezTo>
                      <a:pt x="46" y="199"/>
                      <a:pt x="51" y="201"/>
                      <a:pt x="53" y="202"/>
                    </a:cubicBezTo>
                    <a:cubicBezTo>
                      <a:pt x="60" y="203"/>
                      <a:pt x="67" y="200"/>
                      <a:pt x="74" y="200"/>
                    </a:cubicBezTo>
                    <a:cubicBezTo>
                      <a:pt x="78" y="200"/>
                      <a:pt x="82" y="202"/>
                      <a:pt x="81" y="207"/>
                    </a:cubicBezTo>
                    <a:cubicBezTo>
                      <a:pt x="78" y="207"/>
                      <a:pt x="77" y="206"/>
                      <a:pt x="75" y="210"/>
                    </a:cubicBezTo>
                    <a:cubicBezTo>
                      <a:pt x="75" y="212"/>
                      <a:pt x="76" y="213"/>
                      <a:pt x="74" y="214"/>
                    </a:cubicBezTo>
                    <a:cubicBezTo>
                      <a:pt x="72" y="215"/>
                      <a:pt x="69" y="213"/>
                      <a:pt x="69" y="210"/>
                    </a:cubicBezTo>
                    <a:cubicBezTo>
                      <a:pt x="65" y="209"/>
                      <a:pt x="63" y="215"/>
                      <a:pt x="61" y="218"/>
                    </a:cubicBezTo>
                    <a:cubicBezTo>
                      <a:pt x="60" y="221"/>
                      <a:pt x="51" y="228"/>
                      <a:pt x="52" y="232"/>
                    </a:cubicBezTo>
                    <a:cubicBezTo>
                      <a:pt x="55" y="232"/>
                      <a:pt x="57" y="233"/>
                      <a:pt x="59" y="230"/>
                    </a:cubicBezTo>
                    <a:cubicBezTo>
                      <a:pt x="59" y="235"/>
                      <a:pt x="56" y="235"/>
                      <a:pt x="55" y="240"/>
                    </a:cubicBezTo>
                    <a:cubicBezTo>
                      <a:pt x="54" y="243"/>
                      <a:pt x="54" y="243"/>
                      <a:pt x="51" y="245"/>
                    </a:cubicBezTo>
                    <a:cubicBezTo>
                      <a:pt x="50" y="247"/>
                      <a:pt x="49" y="248"/>
                      <a:pt x="48" y="249"/>
                    </a:cubicBezTo>
                    <a:cubicBezTo>
                      <a:pt x="47" y="250"/>
                      <a:pt x="46" y="250"/>
                      <a:pt x="45" y="251"/>
                    </a:cubicBezTo>
                    <a:cubicBezTo>
                      <a:pt x="45" y="251"/>
                      <a:pt x="45" y="252"/>
                      <a:pt x="45" y="253"/>
                    </a:cubicBezTo>
                    <a:cubicBezTo>
                      <a:pt x="44" y="255"/>
                      <a:pt x="41" y="256"/>
                      <a:pt x="39" y="257"/>
                    </a:cubicBezTo>
                    <a:cubicBezTo>
                      <a:pt x="36" y="258"/>
                      <a:pt x="31" y="260"/>
                      <a:pt x="32" y="264"/>
                    </a:cubicBezTo>
                    <a:cubicBezTo>
                      <a:pt x="37" y="265"/>
                      <a:pt x="43" y="264"/>
                      <a:pt x="48" y="261"/>
                    </a:cubicBezTo>
                    <a:cubicBezTo>
                      <a:pt x="51" y="258"/>
                      <a:pt x="51" y="258"/>
                      <a:pt x="55" y="258"/>
                    </a:cubicBezTo>
                    <a:cubicBezTo>
                      <a:pt x="57" y="258"/>
                      <a:pt x="59" y="259"/>
                      <a:pt x="62" y="259"/>
                    </a:cubicBezTo>
                    <a:cubicBezTo>
                      <a:pt x="64" y="260"/>
                      <a:pt x="67" y="259"/>
                      <a:pt x="70" y="260"/>
                    </a:cubicBezTo>
                    <a:cubicBezTo>
                      <a:pt x="72" y="267"/>
                      <a:pt x="52" y="263"/>
                      <a:pt x="48" y="264"/>
                    </a:cubicBezTo>
                    <a:cubicBezTo>
                      <a:pt x="46" y="270"/>
                      <a:pt x="39" y="271"/>
                      <a:pt x="35" y="273"/>
                    </a:cubicBezTo>
                    <a:cubicBezTo>
                      <a:pt x="31" y="275"/>
                      <a:pt x="32" y="275"/>
                      <a:pt x="33" y="279"/>
                    </a:cubicBezTo>
                    <a:cubicBezTo>
                      <a:pt x="33" y="282"/>
                      <a:pt x="33" y="284"/>
                      <a:pt x="33" y="287"/>
                    </a:cubicBezTo>
                    <a:cubicBezTo>
                      <a:pt x="35" y="287"/>
                      <a:pt x="39" y="288"/>
                      <a:pt x="40" y="289"/>
                    </a:cubicBezTo>
                    <a:cubicBezTo>
                      <a:pt x="39" y="292"/>
                      <a:pt x="33" y="291"/>
                      <a:pt x="30" y="290"/>
                    </a:cubicBezTo>
                    <a:cubicBezTo>
                      <a:pt x="30" y="284"/>
                      <a:pt x="26" y="283"/>
                      <a:pt x="21" y="286"/>
                    </a:cubicBezTo>
                    <a:cubicBezTo>
                      <a:pt x="20" y="286"/>
                      <a:pt x="19" y="287"/>
                      <a:pt x="18" y="288"/>
                    </a:cubicBezTo>
                    <a:cubicBezTo>
                      <a:pt x="17" y="288"/>
                      <a:pt x="15" y="288"/>
                      <a:pt x="14" y="288"/>
                    </a:cubicBezTo>
                    <a:cubicBezTo>
                      <a:pt x="11" y="289"/>
                      <a:pt x="7" y="291"/>
                      <a:pt x="4" y="292"/>
                    </a:cubicBezTo>
                    <a:cubicBezTo>
                      <a:pt x="4" y="293"/>
                      <a:pt x="4" y="295"/>
                      <a:pt x="4" y="296"/>
                    </a:cubicBezTo>
                    <a:cubicBezTo>
                      <a:pt x="3" y="296"/>
                      <a:pt x="3" y="297"/>
                      <a:pt x="2" y="297"/>
                    </a:cubicBezTo>
                    <a:cubicBezTo>
                      <a:pt x="2" y="298"/>
                      <a:pt x="2" y="299"/>
                      <a:pt x="2" y="300"/>
                    </a:cubicBezTo>
                    <a:cubicBezTo>
                      <a:pt x="0" y="308"/>
                      <a:pt x="8" y="306"/>
                      <a:pt x="15" y="306"/>
                    </a:cubicBezTo>
                    <a:cubicBezTo>
                      <a:pt x="18" y="305"/>
                      <a:pt x="21" y="304"/>
                      <a:pt x="24" y="304"/>
                    </a:cubicBezTo>
                    <a:cubicBezTo>
                      <a:pt x="26" y="304"/>
                      <a:pt x="29" y="304"/>
                      <a:pt x="31" y="304"/>
                    </a:cubicBezTo>
                    <a:cubicBezTo>
                      <a:pt x="32" y="303"/>
                      <a:pt x="35" y="303"/>
                      <a:pt x="36" y="303"/>
                    </a:cubicBezTo>
                    <a:cubicBezTo>
                      <a:pt x="37" y="302"/>
                      <a:pt x="37" y="300"/>
                      <a:pt x="40" y="301"/>
                    </a:cubicBezTo>
                    <a:cubicBezTo>
                      <a:pt x="41" y="309"/>
                      <a:pt x="35" y="305"/>
                      <a:pt x="30" y="307"/>
                    </a:cubicBezTo>
                    <a:cubicBezTo>
                      <a:pt x="28" y="307"/>
                      <a:pt x="26" y="309"/>
                      <a:pt x="23" y="310"/>
                    </a:cubicBezTo>
                    <a:cubicBezTo>
                      <a:pt x="20" y="311"/>
                      <a:pt x="16" y="312"/>
                      <a:pt x="14" y="313"/>
                    </a:cubicBezTo>
                    <a:cubicBezTo>
                      <a:pt x="12" y="314"/>
                      <a:pt x="12" y="315"/>
                      <a:pt x="11" y="316"/>
                    </a:cubicBezTo>
                    <a:cubicBezTo>
                      <a:pt x="10" y="316"/>
                      <a:pt x="9" y="318"/>
                      <a:pt x="8" y="319"/>
                    </a:cubicBezTo>
                    <a:cubicBezTo>
                      <a:pt x="7" y="321"/>
                      <a:pt x="8" y="322"/>
                      <a:pt x="9" y="325"/>
                    </a:cubicBezTo>
                    <a:cubicBezTo>
                      <a:pt x="9" y="328"/>
                      <a:pt x="8" y="329"/>
                      <a:pt x="10" y="331"/>
                    </a:cubicBezTo>
                    <a:cubicBezTo>
                      <a:pt x="13" y="333"/>
                      <a:pt x="15" y="330"/>
                      <a:pt x="18" y="330"/>
                    </a:cubicBezTo>
                    <a:cubicBezTo>
                      <a:pt x="20" y="334"/>
                      <a:pt x="24" y="337"/>
                      <a:pt x="29" y="337"/>
                    </a:cubicBezTo>
                    <a:cubicBezTo>
                      <a:pt x="34" y="336"/>
                      <a:pt x="31" y="333"/>
                      <a:pt x="34" y="330"/>
                    </a:cubicBezTo>
                    <a:cubicBezTo>
                      <a:pt x="36" y="328"/>
                      <a:pt x="39" y="328"/>
                      <a:pt x="41" y="327"/>
                    </a:cubicBezTo>
                    <a:cubicBezTo>
                      <a:pt x="45" y="326"/>
                      <a:pt x="48" y="324"/>
                      <a:pt x="51" y="325"/>
                    </a:cubicBezTo>
                    <a:cubicBezTo>
                      <a:pt x="52" y="328"/>
                      <a:pt x="48" y="330"/>
                      <a:pt x="46" y="332"/>
                    </a:cubicBezTo>
                    <a:cubicBezTo>
                      <a:pt x="43" y="333"/>
                      <a:pt x="41" y="335"/>
                      <a:pt x="38" y="337"/>
                    </a:cubicBezTo>
                    <a:cubicBezTo>
                      <a:pt x="37" y="338"/>
                      <a:pt x="35" y="339"/>
                      <a:pt x="33" y="340"/>
                    </a:cubicBezTo>
                    <a:cubicBezTo>
                      <a:pt x="31" y="340"/>
                      <a:pt x="30" y="339"/>
                      <a:pt x="28" y="340"/>
                    </a:cubicBezTo>
                    <a:cubicBezTo>
                      <a:pt x="26" y="341"/>
                      <a:pt x="19" y="344"/>
                      <a:pt x="19" y="346"/>
                    </a:cubicBezTo>
                    <a:cubicBezTo>
                      <a:pt x="17" y="350"/>
                      <a:pt x="25" y="351"/>
                      <a:pt x="27" y="350"/>
                    </a:cubicBezTo>
                    <a:cubicBezTo>
                      <a:pt x="30" y="350"/>
                      <a:pt x="30" y="349"/>
                      <a:pt x="31" y="348"/>
                    </a:cubicBezTo>
                    <a:cubicBezTo>
                      <a:pt x="34" y="347"/>
                      <a:pt x="37" y="348"/>
                      <a:pt x="40" y="347"/>
                    </a:cubicBezTo>
                    <a:cubicBezTo>
                      <a:pt x="42" y="346"/>
                      <a:pt x="45" y="345"/>
                      <a:pt x="47" y="343"/>
                    </a:cubicBezTo>
                    <a:cubicBezTo>
                      <a:pt x="50" y="342"/>
                      <a:pt x="53" y="340"/>
                      <a:pt x="56" y="341"/>
                    </a:cubicBezTo>
                    <a:cubicBezTo>
                      <a:pt x="58" y="347"/>
                      <a:pt x="40" y="352"/>
                      <a:pt x="36" y="356"/>
                    </a:cubicBezTo>
                    <a:cubicBezTo>
                      <a:pt x="32" y="361"/>
                      <a:pt x="43" y="361"/>
                      <a:pt x="46" y="361"/>
                    </a:cubicBezTo>
                    <a:cubicBezTo>
                      <a:pt x="49" y="360"/>
                      <a:pt x="52" y="360"/>
                      <a:pt x="56" y="358"/>
                    </a:cubicBezTo>
                    <a:cubicBezTo>
                      <a:pt x="57" y="358"/>
                      <a:pt x="56" y="357"/>
                      <a:pt x="58" y="357"/>
                    </a:cubicBezTo>
                    <a:cubicBezTo>
                      <a:pt x="58" y="356"/>
                      <a:pt x="60" y="357"/>
                      <a:pt x="60" y="357"/>
                    </a:cubicBezTo>
                    <a:cubicBezTo>
                      <a:pt x="65" y="357"/>
                      <a:pt x="69" y="357"/>
                      <a:pt x="74" y="355"/>
                    </a:cubicBezTo>
                    <a:cubicBezTo>
                      <a:pt x="77" y="354"/>
                      <a:pt x="81" y="354"/>
                      <a:pt x="84" y="353"/>
                    </a:cubicBezTo>
                    <a:cubicBezTo>
                      <a:pt x="86" y="353"/>
                      <a:pt x="88" y="352"/>
                      <a:pt x="89" y="351"/>
                    </a:cubicBezTo>
                    <a:cubicBezTo>
                      <a:pt x="94" y="350"/>
                      <a:pt x="96" y="351"/>
                      <a:pt x="100" y="348"/>
                    </a:cubicBezTo>
                    <a:cubicBezTo>
                      <a:pt x="101" y="347"/>
                      <a:pt x="103" y="345"/>
                      <a:pt x="104" y="344"/>
                    </a:cubicBezTo>
                    <a:cubicBezTo>
                      <a:pt x="107" y="342"/>
                      <a:pt x="107" y="343"/>
                      <a:pt x="109" y="341"/>
                    </a:cubicBezTo>
                    <a:cubicBezTo>
                      <a:pt x="112" y="338"/>
                      <a:pt x="115" y="338"/>
                      <a:pt x="117" y="335"/>
                    </a:cubicBezTo>
                    <a:cubicBezTo>
                      <a:pt x="119" y="331"/>
                      <a:pt x="120" y="330"/>
                      <a:pt x="124" y="329"/>
                    </a:cubicBezTo>
                    <a:cubicBezTo>
                      <a:pt x="126" y="328"/>
                      <a:pt x="128" y="328"/>
                      <a:pt x="130" y="327"/>
                    </a:cubicBezTo>
                    <a:cubicBezTo>
                      <a:pt x="131" y="325"/>
                      <a:pt x="132" y="324"/>
                      <a:pt x="134" y="322"/>
                    </a:cubicBezTo>
                    <a:cubicBezTo>
                      <a:pt x="136" y="322"/>
                      <a:pt x="138" y="320"/>
                      <a:pt x="140" y="319"/>
                    </a:cubicBezTo>
                    <a:cubicBezTo>
                      <a:pt x="142" y="318"/>
                      <a:pt x="143" y="319"/>
                      <a:pt x="145" y="317"/>
                    </a:cubicBezTo>
                    <a:cubicBezTo>
                      <a:pt x="148" y="315"/>
                      <a:pt x="152" y="312"/>
                      <a:pt x="154" y="310"/>
                    </a:cubicBezTo>
                    <a:cubicBezTo>
                      <a:pt x="157" y="308"/>
                      <a:pt x="158" y="305"/>
                      <a:pt x="161" y="304"/>
                    </a:cubicBezTo>
                    <a:cubicBezTo>
                      <a:pt x="164" y="302"/>
                      <a:pt x="169" y="303"/>
                      <a:pt x="173" y="302"/>
                    </a:cubicBezTo>
                    <a:cubicBezTo>
                      <a:pt x="176" y="301"/>
                      <a:pt x="175" y="301"/>
                      <a:pt x="177" y="299"/>
                    </a:cubicBezTo>
                    <a:cubicBezTo>
                      <a:pt x="181" y="296"/>
                      <a:pt x="189" y="300"/>
                      <a:pt x="192" y="295"/>
                    </a:cubicBezTo>
                    <a:cubicBezTo>
                      <a:pt x="193" y="297"/>
                      <a:pt x="192" y="299"/>
                      <a:pt x="193" y="301"/>
                    </a:cubicBezTo>
                    <a:cubicBezTo>
                      <a:pt x="195" y="301"/>
                      <a:pt x="197" y="301"/>
                      <a:pt x="199" y="300"/>
                    </a:cubicBezTo>
                    <a:cubicBezTo>
                      <a:pt x="202" y="298"/>
                      <a:pt x="206" y="295"/>
                      <a:pt x="208" y="294"/>
                    </a:cubicBezTo>
                    <a:cubicBezTo>
                      <a:pt x="211" y="294"/>
                      <a:pt x="214" y="294"/>
                      <a:pt x="217" y="294"/>
                    </a:cubicBezTo>
                    <a:cubicBezTo>
                      <a:pt x="218" y="294"/>
                      <a:pt x="218" y="295"/>
                      <a:pt x="220" y="295"/>
                    </a:cubicBezTo>
                    <a:cubicBezTo>
                      <a:pt x="221" y="294"/>
                      <a:pt x="222" y="293"/>
                      <a:pt x="223" y="292"/>
                    </a:cubicBezTo>
                    <a:cubicBezTo>
                      <a:pt x="225" y="292"/>
                      <a:pt x="228" y="293"/>
                      <a:pt x="227" y="289"/>
                    </a:cubicBezTo>
                    <a:cubicBezTo>
                      <a:pt x="223" y="288"/>
                      <a:pt x="217" y="281"/>
                      <a:pt x="219" y="277"/>
                    </a:cubicBezTo>
                    <a:cubicBezTo>
                      <a:pt x="223" y="277"/>
                      <a:pt x="223" y="273"/>
                      <a:pt x="225" y="270"/>
                    </a:cubicBezTo>
                    <a:cubicBezTo>
                      <a:pt x="226" y="267"/>
                      <a:pt x="229" y="266"/>
                      <a:pt x="230" y="264"/>
                    </a:cubicBezTo>
                    <a:cubicBezTo>
                      <a:pt x="230" y="262"/>
                      <a:pt x="230" y="259"/>
                      <a:pt x="230" y="257"/>
                    </a:cubicBezTo>
                    <a:cubicBezTo>
                      <a:pt x="230" y="253"/>
                      <a:pt x="230" y="249"/>
                      <a:pt x="233" y="245"/>
                    </a:cubicBezTo>
                    <a:cubicBezTo>
                      <a:pt x="235" y="243"/>
                      <a:pt x="237" y="243"/>
                      <a:pt x="238" y="240"/>
                    </a:cubicBezTo>
                    <a:cubicBezTo>
                      <a:pt x="239" y="238"/>
                      <a:pt x="238" y="238"/>
                      <a:pt x="238" y="236"/>
                    </a:cubicBezTo>
                    <a:cubicBezTo>
                      <a:pt x="238" y="231"/>
                      <a:pt x="238" y="226"/>
                      <a:pt x="238" y="221"/>
                    </a:cubicBezTo>
                    <a:cubicBezTo>
                      <a:pt x="238" y="217"/>
                      <a:pt x="239" y="212"/>
                      <a:pt x="237" y="209"/>
                    </a:cubicBezTo>
                    <a:cubicBezTo>
                      <a:pt x="235" y="206"/>
                      <a:pt x="233" y="204"/>
                      <a:pt x="233" y="200"/>
                    </a:cubicBezTo>
                    <a:cubicBezTo>
                      <a:pt x="232" y="197"/>
                      <a:pt x="232" y="197"/>
                      <a:pt x="230" y="195"/>
                    </a:cubicBezTo>
                    <a:cubicBezTo>
                      <a:pt x="229" y="194"/>
                      <a:pt x="229" y="193"/>
                      <a:pt x="228" y="192"/>
                    </a:cubicBezTo>
                    <a:cubicBezTo>
                      <a:pt x="227" y="192"/>
                      <a:pt x="225" y="193"/>
                      <a:pt x="224" y="192"/>
                    </a:cubicBezTo>
                    <a:cubicBezTo>
                      <a:pt x="226" y="191"/>
                      <a:pt x="229" y="190"/>
                      <a:pt x="232" y="189"/>
                    </a:cubicBezTo>
                    <a:cubicBezTo>
                      <a:pt x="235" y="189"/>
                      <a:pt x="239" y="192"/>
                      <a:pt x="242" y="191"/>
                    </a:cubicBezTo>
                    <a:cubicBezTo>
                      <a:pt x="242" y="189"/>
                      <a:pt x="244" y="188"/>
                      <a:pt x="245" y="187"/>
                    </a:cubicBezTo>
                    <a:cubicBezTo>
                      <a:pt x="247" y="184"/>
                      <a:pt x="248" y="179"/>
                      <a:pt x="248" y="175"/>
                    </a:cubicBezTo>
                    <a:cubicBezTo>
                      <a:pt x="244" y="175"/>
                      <a:pt x="242" y="175"/>
                      <a:pt x="239" y="173"/>
                    </a:cubicBezTo>
                    <a:cubicBezTo>
                      <a:pt x="236" y="172"/>
                      <a:pt x="235" y="170"/>
                      <a:pt x="232" y="168"/>
                    </a:cubicBezTo>
                    <a:cubicBezTo>
                      <a:pt x="231" y="168"/>
                      <a:pt x="226" y="166"/>
                      <a:pt x="225" y="165"/>
                    </a:cubicBezTo>
                    <a:cubicBezTo>
                      <a:pt x="225" y="164"/>
                      <a:pt x="225" y="162"/>
                      <a:pt x="225" y="161"/>
                    </a:cubicBezTo>
                    <a:cubicBezTo>
                      <a:pt x="226" y="159"/>
                      <a:pt x="228" y="159"/>
                      <a:pt x="228" y="156"/>
                    </a:cubicBezTo>
                    <a:cubicBezTo>
                      <a:pt x="228" y="154"/>
                      <a:pt x="228" y="150"/>
                      <a:pt x="228" y="148"/>
                    </a:cubicBezTo>
                    <a:cubicBezTo>
                      <a:pt x="227" y="146"/>
                      <a:pt x="225" y="144"/>
                      <a:pt x="224" y="142"/>
                    </a:cubicBezTo>
                    <a:cubicBezTo>
                      <a:pt x="223" y="139"/>
                      <a:pt x="224" y="137"/>
                      <a:pt x="226" y="135"/>
                    </a:cubicBezTo>
                    <a:cubicBezTo>
                      <a:pt x="228" y="134"/>
                      <a:pt x="229" y="134"/>
                      <a:pt x="231" y="134"/>
                    </a:cubicBezTo>
                    <a:cubicBezTo>
                      <a:pt x="231" y="134"/>
                      <a:pt x="232" y="134"/>
                      <a:pt x="233" y="134"/>
                    </a:cubicBezTo>
                    <a:cubicBezTo>
                      <a:pt x="234" y="133"/>
                      <a:pt x="233" y="132"/>
                      <a:pt x="234" y="131"/>
                    </a:cubicBezTo>
                    <a:cubicBezTo>
                      <a:pt x="235" y="131"/>
                      <a:pt x="237" y="131"/>
                      <a:pt x="238" y="131"/>
                    </a:cubicBezTo>
                    <a:cubicBezTo>
                      <a:pt x="238" y="130"/>
                      <a:pt x="239" y="129"/>
                      <a:pt x="239" y="129"/>
                    </a:cubicBezTo>
                    <a:cubicBezTo>
                      <a:pt x="238" y="128"/>
                      <a:pt x="236" y="127"/>
                      <a:pt x="234" y="126"/>
                    </a:cubicBezTo>
                    <a:cubicBezTo>
                      <a:pt x="232" y="125"/>
                      <a:pt x="232" y="125"/>
                      <a:pt x="230" y="125"/>
                    </a:cubicBezTo>
                    <a:cubicBezTo>
                      <a:pt x="228" y="125"/>
                      <a:pt x="227" y="123"/>
                      <a:pt x="225" y="122"/>
                    </a:cubicBezTo>
                    <a:cubicBezTo>
                      <a:pt x="223" y="121"/>
                      <a:pt x="222" y="121"/>
                      <a:pt x="220" y="120"/>
                    </a:cubicBezTo>
                    <a:cubicBezTo>
                      <a:pt x="219" y="121"/>
                      <a:pt x="219" y="122"/>
                      <a:pt x="219" y="123"/>
                    </a:cubicBezTo>
                    <a:cubicBezTo>
                      <a:pt x="218" y="123"/>
                      <a:pt x="218" y="123"/>
                      <a:pt x="218" y="123"/>
                    </a:cubicBezTo>
                    <a:cubicBezTo>
                      <a:pt x="217" y="125"/>
                      <a:pt x="216" y="125"/>
                      <a:pt x="215" y="126"/>
                    </a:cubicBezTo>
                    <a:cubicBezTo>
                      <a:pt x="213" y="127"/>
                      <a:pt x="211" y="127"/>
                      <a:pt x="209" y="127"/>
                    </a:cubicBezTo>
                    <a:cubicBezTo>
                      <a:pt x="206" y="127"/>
                      <a:pt x="206" y="125"/>
                      <a:pt x="206" y="123"/>
                    </a:cubicBezTo>
                    <a:cubicBezTo>
                      <a:pt x="206" y="120"/>
                      <a:pt x="205" y="118"/>
                      <a:pt x="204" y="115"/>
                    </a:cubicBezTo>
                    <a:cubicBezTo>
                      <a:pt x="204" y="114"/>
                      <a:pt x="203" y="113"/>
                      <a:pt x="201" y="112"/>
                    </a:cubicBezTo>
                    <a:cubicBezTo>
                      <a:pt x="199" y="112"/>
                      <a:pt x="196" y="112"/>
                      <a:pt x="196" y="110"/>
                    </a:cubicBezTo>
                    <a:cubicBezTo>
                      <a:pt x="196" y="108"/>
                      <a:pt x="197" y="107"/>
                      <a:pt x="196" y="105"/>
                    </a:cubicBezTo>
                    <a:cubicBezTo>
                      <a:pt x="195" y="103"/>
                      <a:pt x="194" y="102"/>
                      <a:pt x="192" y="100"/>
                    </a:cubicBezTo>
                    <a:cubicBezTo>
                      <a:pt x="191" y="98"/>
                      <a:pt x="190" y="96"/>
                      <a:pt x="188" y="94"/>
                    </a:cubicBezTo>
                    <a:cubicBezTo>
                      <a:pt x="187" y="95"/>
                      <a:pt x="185" y="94"/>
                      <a:pt x="184" y="95"/>
                    </a:cubicBezTo>
                    <a:cubicBezTo>
                      <a:pt x="182" y="95"/>
                      <a:pt x="181" y="98"/>
                      <a:pt x="180" y="99"/>
                    </a:cubicBezTo>
                    <a:cubicBezTo>
                      <a:pt x="179" y="101"/>
                      <a:pt x="178" y="102"/>
                      <a:pt x="178" y="104"/>
                    </a:cubicBezTo>
                    <a:cubicBezTo>
                      <a:pt x="178" y="105"/>
                      <a:pt x="178" y="106"/>
                      <a:pt x="179" y="107"/>
                    </a:cubicBezTo>
                    <a:cubicBezTo>
                      <a:pt x="180" y="109"/>
                      <a:pt x="180" y="112"/>
                      <a:pt x="178" y="113"/>
                    </a:cubicBezTo>
                    <a:cubicBezTo>
                      <a:pt x="177" y="114"/>
                      <a:pt x="173" y="112"/>
                      <a:pt x="172" y="114"/>
                    </a:cubicBezTo>
                    <a:cubicBezTo>
                      <a:pt x="171" y="116"/>
                      <a:pt x="173" y="119"/>
                      <a:pt x="171" y="120"/>
                    </a:cubicBezTo>
                    <a:cubicBezTo>
                      <a:pt x="169" y="120"/>
                      <a:pt x="166" y="119"/>
                      <a:pt x="165" y="119"/>
                    </a:cubicBezTo>
                    <a:cubicBezTo>
                      <a:pt x="163" y="118"/>
                      <a:pt x="160" y="119"/>
                      <a:pt x="158" y="118"/>
                    </a:cubicBezTo>
                    <a:cubicBezTo>
                      <a:pt x="157" y="117"/>
                      <a:pt x="156" y="116"/>
                      <a:pt x="155" y="116"/>
                    </a:cubicBezTo>
                    <a:cubicBezTo>
                      <a:pt x="154" y="115"/>
                      <a:pt x="154" y="115"/>
                      <a:pt x="153" y="114"/>
                    </a:cubicBezTo>
                    <a:cubicBezTo>
                      <a:pt x="152" y="114"/>
                      <a:pt x="153" y="114"/>
                      <a:pt x="152" y="113"/>
                    </a:cubicBezTo>
                    <a:cubicBezTo>
                      <a:pt x="151" y="112"/>
                      <a:pt x="148" y="112"/>
                      <a:pt x="147" y="112"/>
                    </a:cubicBezTo>
                    <a:cubicBezTo>
                      <a:pt x="145" y="112"/>
                      <a:pt x="142" y="111"/>
                      <a:pt x="141" y="110"/>
                    </a:cubicBezTo>
                    <a:cubicBezTo>
                      <a:pt x="140" y="109"/>
                      <a:pt x="140" y="108"/>
                      <a:pt x="140" y="107"/>
                    </a:cubicBezTo>
                    <a:cubicBezTo>
                      <a:pt x="139" y="105"/>
                      <a:pt x="138" y="105"/>
                      <a:pt x="137" y="104"/>
                    </a:cubicBezTo>
                    <a:cubicBezTo>
                      <a:pt x="137" y="103"/>
                      <a:pt x="137" y="102"/>
                      <a:pt x="136" y="102"/>
                    </a:cubicBezTo>
                    <a:cubicBezTo>
                      <a:pt x="136" y="101"/>
                      <a:pt x="137" y="101"/>
                      <a:pt x="136" y="100"/>
                    </a:cubicBezTo>
                    <a:cubicBezTo>
                      <a:pt x="136" y="100"/>
                      <a:pt x="135" y="99"/>
                      <a:pt x="135" y="99"/>
                    </a:cubicBezTo>
                    <a:cubicBezTo>
                      <a:pt x="133" y="98"/>
                      <a:pt x="132" y="97"/>
                      <a:pt x="131" y="96"/>
                    </a:cubicBezTo>
                    <a:cubicBezTo>
                      <a:pt x="130" y="94"/>
                      <a:pt x="130" y="92"/>
                      <a:pt x="130" y="90"/>
                    </a:cubicBezTo>
                    <a:cubicBezTo>
                      <a:pt x="130" y="88"/>
                      <a:pt x="132" y="88"/>
                      <a:pt x="133" y="86"/>
                    </a:cubicBezTo>
                    <a:cubicBezTo>
                      <a:pt x="135" y="84"/>
                      <a:pt x="136" y="83"/>
                      <a:pt x="138" y="82"/>
                    </a:cubicBezTo>
                    <a:cubicBezTo>
                      <a:pt x="140" y="81"/>
                      <a:pt x="143" y="79"/>
                      <a:pt x="144" y="78"/>
                    </a:cubicBezTo>
                    <a:cubicBezTo>
                      <a:pt x="145" y="77"/>
                      <a:pt x="146" y="76"/>
                      <a:pt x="146" y="75"/>
                    </a:cubicBezTo>
                    <a:cubicBezTo>
                      <a:pt x="147" y="74"/>
                      <a:pt x="148" y="73"/>
                      <a:pt x="149" y="73"/>
                    </a:cubicBezTo>
                    <a:cubicBezTo>
                      <a:pt x="148" y="73"/>
                      <a:pt x="147" y="72"/>
                      <a:pt x="146" y="72"/>
                    </a:cubicBezTo>
                    <a:cubicBezTo>
                      <a:pt x="144" y="72"/>
                      <a:pt x="143" y="72"/>
                      <a:pt x="141" y="71"/>
                    </a:cubicBezTo>
                    <a:cubicBezTo>
                      <a:pt x="140" y="70"/>
                      <a:pt x="140" y="70"/>
                      <a:pt x="140" y="69"/>
                    </a:cubicBezTo>
                    <a:cubicBezTo>
                      <a:pt x="140" y="68"/>
                      <a:pt x="141" y="66"/>
                      <a:pt x="141" y="65"/>
                    </a:cubicBezTo>
                    <a:cubicBezTo>
                      <a:pt x="142" y="63"/>
                      <a:pt x="145" y="63"/>
                      <a:pt x="147" y="63"/>
                    </a:cubicBezTo>
                    <a:cubicBezTo>
                      <a:pt x="150" y="63"/>
                      <a:pt x="152" y="63"/>
                      <a:pt x="154" y="63"/>
                    </a:cubicBezTo>
                    <a:cubicBezTo>
                      <a:pt x="157" y="63"/>
                      <a:pt x="157" y="63"/>
                      <a:pt x="158" y="61"/>
                    </a:cubicBezTo>
                    <a:cubicBezTo>
                      <a:pt x="158" y="59"/>
                      <a:pt x="159" y="56"/>
                      <a:pt x="161" y="54"/>
                    </a:cubicBezTo>
                    <a:cubicBezTo>
                      <a:pt x="162" y="53"/>
                      <a:pt x="163" y="53"/>
                      <a:pt x="163" y="51"/>
                    </a:cubicBezTo>
                    <a:cubicBezTo>
                      <a:pt x="164" y="50"/>
                      <a:pt x="164" y="48"/>
                      <a:pt x="165" y="46"/>
                    </a:cubicBezTo>
                    <a:cubicBezTo>
                      <a:pt x="166" y="44"/>
                      <a:pt x="167" y="43"/>
                      <a:pt x="168" y="41"/>
                    </a:cubicBezTo>
                    <a:cubicBezTo>
                      <a:pt x="170" y="39"/>
                      <a:pt x="171" y="39"/>
                      <a:pt x="171" y="36"/>
                    </a:cubicBezTo>
                    <a:cubicBezTo>
                      <a:pt x="172" y="32"/>
                      <a:pt x="173" y="34"/>
                      <a:pt x="176" y="33"/>
                    </a:cubicBezTo>
                    <a:cubicBezTo>
                      <a:pt x="178" y="33"/>
                      <a:pt x="178" y="32"/>
                      <a:pt x="180" y="31"/>
                    </a:cubicBezTo>
                    <a:cubicBezTo>
                      <a:pt x="181" y="30"/>
                      <a:pt x="183" y="29"/>
                      <a:pt x="184" y="28"/>
                    </a:cubicBezTo>
                    <a:cubicBezTo>
                      <a:pt x="184" y="28"/>
                      <a:pt x="185" y="26"/>
                      <a:pt x="185" y="26"/>
                    </a:cubicBezTo>
                    <a:cubicBezTo>
                      <a:pt x="186" y="25"/>
                      <a:pt x="186" y="24"/>
                      <a:pt x="186" y="23"/>
                    </a:cubicBezTo>
                    <a:cubicBezTo>
                      <a:pt x="187" y="23"/>
                      <a:pt x="187" y="23"/>
                      <a:pt x="188" y="23"/>
                    </a:cubicBezTo>
                    <a:cubicBezTo>
                      <a:pt x="188" y="22"/>
                      <a:pt x="188" y="21"/>
                      <a:pt x="188" y="20"/>
                    </a:cubicBezTo>
                    <a:cubicBezTo>
                      <a:pt x="188" y="19"/>
                      <a:pt x="190" y="17"/>
                      <a:pt x="191" y="16"/>
                    </a:cubicBezTo>
                    <a:cubicBezTo>
                      <a:pt x="193" y="15"/>
                      <a:pt x="194" y="13"/>
                      <a:pt x="196" y="13"/>
                    </a:cubicBezTo>
                    <a:cubicBezTo>
                      <a:pt x="198" y="12"/>
                      <a:pt x="201" y="12"/>
                      <a:pt x="203" y="10"/>
                    </a:cubicBezTo>
                    <a:cubicBezTo>
                      <a:pt x="203" y="10"/>
                      <a:pt x="203" y="10"/>
                      <a:pt x="203" y="10"/>
                    </a:cubicBezTo>
                    <a:moveTo>
                      <a:pt x="240" y="128"/>
                    </a:moveTo>
                    <a:cubicBezTo>
                      <a:pt x="240" y="128"/>
                      <a:pt x="240" y="128"/>
                      <a:pt x="240" y="128"/>
                    </a:cubicBezTo>
                    <a:cubicBezTo>
                      <a:pt x="240" y="128"/>
                      <a:pt x="240" y="128"/>
                      <a:pt x="240" y="128"/>
                    </a:cubicBezTo>
                    <a:moveTo>
                      <a:pt x="203" y="10"/>
                    </a:moveTo>
                    <a:cubicBezTo>
                      <a:pt x="204" y="10"/>
                      <a:pt x="205" y="10"/>
                      <a:pt x="205" y="10"/>
                    </a:cubicBezTo>
                    <a:cubicBezTo>
                      <a:pt x="205" y="10"/>
                      <a:pt x="204" y="10"/>
                      <a:pt x="203" y="10"/>
                    </a:cubicBezTo>
                    <a:moveTo>
                      <a:pt x="216" y="17"/>
                    </a:moveTo>
                    <a:cubicBezTo>
                      <a:pt x="216" y="17"/>
                      <a:pt x="217" y="16"/>
                      <a:pt x="218" y="16"/>
                    </a:cubicBezTo>
                    <a:cubicBezTo>
                      <a:pt x="217" y="16"/>
                      <a:pt x="216" y="17"/>
                      <a:pt x="216" y="17"/>
                    </a:cubicBezTo>
                    <a:moveTo>
                      <a:pt x="214" y="18"/>
                    </a:moveTo>
                    <a:cubicBezTo>
                      <a:pt x="215" y="18"/>
                      <a:pt x="215" y="17"/>
                      <a:pt x="216" y="17"/>
                    </a:cubicBezTo>
                    <a:cubicBezTo>
                      <a:pt x="215" y="17"/>
                      <a:pt x="215" y="18"/>
                      <a:pt x="214" y="18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493" name="Freeform 9">
                <a:extLst>
                  <a:ext uri="{FF2B5EF4-FFF2-40B4-BE49-F238E27FC236}">
                    <a16:creationId xmlns:a16="http://schemas.microsoft.com/office/drawing/2014/main" id="{737ED9F6-CE1A-431F-80DD-ADDB4AB743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22688" y="4314825"/>
                <a:ext cx="388938" cy="311150"/>
              </a:xfrm>
              <a:custGeom>
                <a:avLst/>
                <a:gdLst/>
                <a:ahLst/>
                <a:cxnLst>
                  <a:cxn ang="0">
                    <a:pos x="207" y="85"/>
                  </a:cxn>
                  <a:cxn ang="0">
                    <a:pos x="198" y="80"/>
                  </a:cxn>
                  <a:cxn ang="0">
                    <a:pos x="191" y="69"/>
                  </a:cxn>
                  <a:cxn ang="0">
                    <a:pos x="189" y="63"/>
                  </a:cxn>
                  <a:cxn ang="0">
                    <a:pos x="188" y="61"/>
                  </a:cxn>
                  <a:cxn ang="0">
                    <a:pos x="169" y="57"/>
                  </a:cxn>
                  <a:cxn ang="0">
                    <a:pos x="170" y="46"/>
                  </a:cxn>
                  <a:cxn ang="0">
                    <a:pos x="175" y="34"/>
                  </a:cxn>
                  <a:cxn ang="0">
                    <a:pos x="178" y="28"/>
                  </a:cxn>
                  <a:cxn ang="0">
                    <a:pos x="175" y="22"/>
                  </a:cxn>
                  <a:cxn ang="0">
                    <a:pos x="168" y="18"/>
                  </a:cxn>
                  <a:cxn ang="0">
                    <a:pos x="156" y="17"/>
                  </a:cxn>
                  <a:cxn ang="0">
                    <a:pos x="150" y="15"/>
                  </a:cxn>
                  <a:cxn ang="0">
                    <a:pos x="140" y="10"/>
                  </a:cxn>
                  <a:cxn ang="0">
                    <a:pos x="143" y="0"/>
                  </a:cxn>
                  <a:cxn ang="0">
                    <a:pos x="135" y="2"/>
                  </a:cxn>
                  <a:cxn ang="0">
                    <a:pos x="119" y="0"/>
                  </a:cxn>
                  <a:cxn ang="0">
                    <a:pos x="104" y="1"/>
                  </a:cxn>
                  <a:cxn ang="0">
                    <a:pos x="97" y="6"/>
                  </a:cxn>
                  <a:cxn ang="0">
                    <a:pos x="92" y="11"/>
                  </a:cxn>
                  <a:cxn ang="0">
                    <a:pos x="87" y="14"/>
                  </a:cxn>
                  <a:cxn ang="0">
                    <a:pos x="81" y="21"/>
                  </a:cxn>
                  <a:cxn ang="0">
                    <a:pos x="61" y="12"/>
                  </a:cxn>
                  <a:cxn ang="0">
                    <a:pos x="49" y="15"/>
                  </a:cxn>
                  <a:cxn ang="0">
                    <a:pos x="43" y="8"/>
                  </a:cxn>
                  <a:cxn ang="0">
                    <a:pos x="31" y="8"/>
                  </a:cxn>
                  <a:cxn ang="0">
                    <a:pos x="24" y="15"/>
                  </a:cxn>
                  <a:cxn ang="0">
                    <a:pos x="16" y="19"/>
                  </a:cxn>
                  <a:cxn ang="0">
                    <a:pos x="5" y="23"/>
                  </a:cxn>
                  <a:cxn ang="0">
                    <a:pos x="3" y="32"/>
                  </a:cxn>
                  <a:cxn ang="0">
                    <a:pos x="3" y="45"/>
                  </a:cxn>
                  <a:cxn ang="0">
                    <a:pos x="31" y="56"/>
                  </a:cxn>
                  <a:cxn ang="0">
                    <a:pos x="39" y="71"/>
                  </a:cxn>
                  <a:cxn ang="0">
                    <a:pos x="61" y="89"/>
                  </a:cxn>
                  <a:cxn ang="0">
                    <a:pos x="79" y="95"/>
                  </a:cxn>
                  <a:cxn ang="0">
                    <a:pos x="83" y="110"/>
                  </a:cxn>
                  <a:cxn ang="0">
                    <a:pos x="95" y="127"/>
                  </a:cxn>
                  <a:cxn ang="0">
                    <a:pos x="114" y="123"/>
                  </a:cxn>
                  <a:cxn ang="0">
                    <a:pos x="124" y="114"/>
                  </a:cxn>
                  <a:cxn ang="0">
                    <a:pos x="125" y="141"/>
                  </a:cxn>
                  <a:cxn ang="0">
                    <a:pos x="153" y="157"/>
                  </a:cxn>
                  <a:cxn ang="0">
                    <a:pos x="171" y="161"/>
                  </a:cxn>
                  <a:cxn ang="0">
                    <a:pos x="179" y="152"/>
                  </a:cxn>
                  <a:cxn ang="0">
                    <a:pos x="171" y="141"/>
                  </a:cxn>
                  <a:cxn ang="0">
                    <a:pos x="171" y="133"/>
                  </a:cxn>
                  <a:cxn ang="0">
                    <a:pos x="177" y="127"/>
                  </a:cxn>
                  <a:cxn ang="0">
                    <a:pos x="185" y="114"/>
                  </a:cxn>
                  <a:cxn ang="0">
                    <a:pos x="193" y="111"/>
                  </a:cxn>
                  <a:cxn ang="0">
                    <a:pos x="198" y="106"/>
                  </a:cxn>
                  <a:cxn ang="0">
                    <a:pos x="201" y="100"/>
                  </a:cxn>
                  <a:cxn ang="0">
                    <a:pos x="207" y="91"/>
                  </a:cxn>
                </a:cxnLst>
                <a:rect l="0" t="0" r="r" b="b"/>
                <a:pathLst>
                  <a:path w="208" h="167">
                    <a:moveTo>
                      <a:pt x="196" y="13"/>
                    </a:moveTo>
                    <a:cubicBezTo>
                      <a:pt x="196" y="13"/>
                      <a:pt x="196" y="13"/>
                      <a:pt x="196" y="13"/>
                    </a:cubicBezTo>
                    <a:moveTo>
                      <a:pt x="207" y="85"/>
                    </a:moveTo>
                    <a:cubicBezTo>
                      <a:pt x="206" y="83"/>
                      <a:pt x="205" y="83"/>
                      <a:pt x="203" y="83"/>
                    </a:cubicBezTo>
                    <a:cubicBezTo>
                      <a:pt x="203" y="83"/>
                      <a:pt x="202" y="82"/>
                      <a:pt x="202" y="82"/>
                    </a:cubicBezTo>
                    <a:cubicBezTo>
                      <a:pt x="200" y="81"/>
                      <a:pt x="199" y="81"/>
                      <a:pt x="198" y="80"/>
                    </a:cubicBezTo>
                    <a:cubicBezTo>
                      <a:pt x="197" y="79"/>
                      <a:pt x="197" y="79"/>
                      <a:pt x="196" y="79"/>
                    </a:cubicBezTo>
                    <a:cubicBezTo>
                      <a:pt x="194" y="78"/>
                      <a:pt x="193" y="77"/>
                      <a:pt x="191" y="76"/>
                    </a:cubicBezTo>
                    <a:cubicBezTo>
                      <a:pt x="190" y="74"/>
                      <a:pt x="190" y="71"/>
                      <a:pt x="191" y="69"/>
                    </a:cubicBezTo>
                    <a:cubicBezTo>
                      <a:pt x="191" y="68"/>
                      <a:pt x="191" y="67"/>
                      <a:pt x="191" y="66"/>
                    </a:cubicBezTo>
                    <a:cubicBezTo>
                      <a:pt x="191" y="66"/>
                      <a:pt x="191" y="65"/>
                      <a:pt x="191" y="65"/>
                    </a:cubicBezTo>
                    <a:cubicBezTo>
                      <a:pt x="191" y="64"/>
                      <a:pt x="190" y="63"/>
                      <a:pt x="189" y="63"/>
                    </a:cubicBezTo>
                    <a:cubicBezTo>
                      <a:pt x="189" y="63"/>
                      <a:pt x="188" y="62"/>
                      <a:pt x="188" y="62"/>
                    </a:cubicBezTo>
                    <a:cubicBezTo>
                      <a:pt x="188" y="61"/>
                      <a:pt x="188" y="61"/>
                      <a:pt x="188" y="61"/>
                    </a:cubicBezTo>
                    <a:cubicBezTo>
                      <a:pt x="188" y="61"/>
                      <a:pt x="188" y="61"/>
                      <a:pt x="188" y="61"/>
                    </a:cubicBezTo>
                    <a:cubicBezTo>
                      <a:pt x="185" y="61"/>
                      <a:pt x="182" y="61"/>
                      <a:pt x="180" y="59"/>
                    </a:cubicBezTo>
                    <a:cubicBezTo>
                      <a:pt x="178" y="59"/>
                      <a:pt x="177" y="58"/>
                      <a:pt x="176" y="58"/>
                    </a:cubicBezTo>
                    <a:cubicBezTo>
                      <a:pt x="174" y="58"/>
                      <a:pt x="170" y="59"/>
                      <a:pt x="169" y="57"/>
                    </a:cubicBezTo>
                    <a:cubicBezTo>
                      <a:pt x="168" y="56"/>
                      <a:pt x="169" y="52"/>
                      <a:pt x="169" y="51"/>
                    </a:cubicBezTo>
                    <a:cubicBezTo>
                      <a:pt x="169" y="50"/>
                      <a:pt x="169" y="49"/>
                      <a:pt x="169" y="49"/>
                    </a:cubicBezTo>
                    <a:cubicBezTo>
                      <a:pt x="169" y="47"/>
                      <a:pt x="169" y="47"/>
                      <a:pt x="170" y="46"/>
                    </a:cubicBezTo>
                    <a:cubicBezTo>
                      <a:pt x="171" y="45"/>
                      <a:pt x="171" y="44"/>
                      <a:pt x="171" y="42"/>
                    </a:cubicBezTo>
                    <a:cubicBezTo>
                      <a:pt x="172" y="41"/>
                      <a:pt x="172" y="40"/>
                      <a:pt x="172" y="39"/>
                    </a:cubicBezTo>
                    <a:cubicBezTo>
                      <a:pt x="173" y="37"/>
                      <a:pt x="174" y="36"/>
                      <a:pt x="175" y="34"/>
                    </a:cubicBezTo>
                    <a:cubicBezTo>
                      <a:pt x="175" y="33"/>
                      <a:pt x="175" y="33"/>
                      <a:pt x="175" y="32"/>
                    </a:cubicBezTo>
                    <a:cubicBezTo>
                      <a:pt x="176" y="32"/>
                      <a:pt x="176" y="32"/>
                      <a:pt x="177" y="31"/>
                    </a:cubicBezTo>
                    <a:cubicBezTo>
                      <a:pt x="177" y="30"/>
                      <a:pt x="178" y="29"/>
                      <a:pt x="178" y="28"/>
                    </a:cubicBezTo>
                    <a:cubicBezTo>
                      <a:pt x="179" y="27"/>
                      <a:pt x="179" y="27"/>
                      <a:pt x="180" y="26"/>
                    </a:cubicBezTo>
                    <a:cubicBezTo>
                      <a:pt x="180" y="25"/>
                      <a:pt x="179" y="24"/>
                      <a:pt x="179" y="23"/>
                    </a:cubicBezTo>
                    <a:cubicBezTo>
                      <a:pt x="178" y="23"/>
                      <a:pt x="176" y="23"/>
                      <a:pt x="175" y="22"/>
                    </a:cubicBezTo>
                    <a:cubicBezTo>
                      <a:pt x="174" y="22"/>
                      <a:pt x="173" y="22"/>
                      <a:pt x="172" y="21"/>
                    </a:cubicBezTo>
                    <a:cubicBezTo>
                      <a:pt x="171" y="21"/>
                      <a:pt x="170" y="20"/>
                      <a:pt x="170" y="20"/>
                    </a:cubicBezTo>
                    <a:cubicBezTo>
                      <a:pt x="169" y="19"/>
                      <a:pt x="169" y="19"/>
                      <a:pt x="168" y="18"/>
                    </a:cubicBezTo>
                    <a:cubicBezTo>
                      <a:pt x="168" y="18"/>
                      <a:pt x="167" y="17"/>
                      <a:pt x="167" y="17"/>
                    </a:cubicBezTo>
                    <a:cubicBezTo>
                      <a:pt x="166" y="15"/>
                      <a:pt x="166" y="15"/>
                      <a:pt x="164" y="15"/>
                    </a:cubicBezTo>
                    <a:cubicBezTo>
                      <a:pt x="161" y="15"/>
                      <a:pt x="159" y="16"/>
                      <a:pt x="156" y="17"/>
                    </a:cubicBezTo>
                    <a:cubicBezTo>
                      <a:pt x="155" y="18"/>
                      <a:pt x="154" y="18"/>
                      <a:pt x="152" y="17"/>
                    </a:cubicBezTo>
                    <a:cubicBezTo>
                      <a:pt x="152" y="17"/>
                      <a:pt x="152" y="16"/>
                      <a:pt x="151" y="16"/>
                    </a:cubicBezTo>
                    <a:cubicBezTo>
                      <a:pt x="151" y="16"/>
                      <a:pt x="150" y="15"/>
                      <a:pt x="150" y="15"/>
                    </a:cubicBezTo>
                    <a:cubicBezTo>
                      <a:pt x="149" y="14"/>
                      <a:pt x="149" y="14"/>
                      <a:pt x="147" y="13"/>
                    </a:cubicBezTo>
                    <a:cubicBezTo>
                      <a:pt x="145" y="12"/>
                      <a:pt x="144" y="12"/>
                      <a:pt x="142" y="11"/>
                    </a:cubicBezTo>
                    <a:cubicBezTo>
                      <a:pt x="141" y="11"/>
                      <a:pt x="140" y="11"/>
                      <a:pt x="140" y="10"/>
                    </a:cubicBezTo>
                    <a:cubicBezTo>
                      <a:pt x="140" y="9"/>
                      <a:pt x="141" y="9"/>
                      <a:pt x="141" y="9"/>
                    </a:cubicBezTo>
                    <a:cubicBezTo>
                      <a:pt x="143" y="8"/>
                      <a:pt x="146" y="6"/>
                      <a:pt x="146" y="5"/>
                    </a:cubicBezTo>
                    <a:cubicBezTo>
                      <a:pt x="147" y="3"/>
                      <a:pt x="146" y="0"/>
                      <a:pt x="143" y="0"/>
                    </a:cubicBezTo>
                    <a:cubicBezTo>
                      <a:pt x="143" y="0"/>
                      <a:pt x="142" y="0"/>
                      <a:pt x="141" y="0"/>
                    </a:cubicBezTo>
                    <a:cubicBezTo>
                      <a:pt x="140" y="0"/>
                      <a:pt x="139" y="0"/>
                      <a:pt x="139" y="0"/>
                    </a:cubicBezTo>
                    <a:cubicBezTo>
                      <a:pt x="137" y="1"/>
                      <a:pt x="136" y="2"/>
                      <a:pt x="135" y="2"/>
                    </a:cubicBezTo>
                    <a:cubicBezTo>
                      <a:pt x="134" y="2"/>
                      <a:pt x="132" y="2"/>
                      <a:pt x="131" y="2"/>
                    </a:cubicBezTo>
                    <a:cubicBezTo>
                      <a:pt x="129" y="2"/>
                      <a:pt x="127" y="3"/>
                      <a:pt x="125" y="2"/>
                    </a:cubicBezTo>
                    <a:cubicBezTo>
                      <a:pt x="123" y="2"/>
                      <a:pt x="122" y="0"/>
                      <a:pt x="119" y="0"/>
                    </a:cubicBezTo>
                    <a:cubicBezTo>
                      <a:pt x="116" y="0"/>
                      <a:pt x="113" y="0"/>
                      <a:pt x="110" y="0"/>
                    </a:cubicBezTo>
                    <a:cubicBezTo>
                      <a:pt x="109" y="0"/>
                      <a:pt x="108" y="1"/>
                      <a:pt x="107" y="1"/>
                    </a:cubicBezTo>
                    <a:cubicBezTo>
                      <a:pt x="106" y="1"/>
                      <a:pt x="105" y="1"/>
                      <a:pt x="104" y="1"/>
                    </a:cubicBezTo>
                    <a:cubicBezTo>
                      <a:pt x="103" y="2"/>
                      <a:pt x="103" y="3"/>
                      <a:pt x="102" y="3"/>
                    </a:cubicBezTo>
                    <a:cubicBezTo>
                      <a:pt x="101" y="4"/>
                      <a:pt x="100" y="4"/>
                      <a:pt x="99" y="5"/>
                    </a:cubicBezTo>
                    <a:cubicBezTo>
                      <a:pt x="98" y="5"/>
                      <a:pt x="98" y="5"/>
                      <a:pt x="97" y="6"/>
                    </a:cubicBezTo>
                    <a:cubicBezTo>
                      <a:pt x="96" y="6"/>
                      <a:pt x="95" y="7"/>
                      <a:pt x="94" y="8"/>
                    </a:cubicBezTo>
                    <a:cubicBezTo>
                      <a:pt x="94" y="9"/>
                      <a:pt x="94" y="9"/>
                      <a:pt x="93" y="10"/>
                    </a:cubicBezTo>
                    <a:cubicBezTo>
                      <a:pt x="92" y="10"/>
                      <a:pt x="92" y="10"/>
                      <a:pt x="92" y="11"/>
                    </a:cubicBezTo>
                    <a:cubicBezTo>
                      <a:pt x="92" y="11"/>
                      <a:pt x="92" y="11"/>
                      <a:pt x="92" y="11"/>
                    </a:cubicBezTo>
                    <a:cubicBezTo>
                      <a:pt x="91" y="12"/>
                      <a:pt x="90" y="12"/>
                      <a:pt x="89" y="12"/>
                    </a:cubicBezTo>
                    <a:cubicBezTo>
                      <a:pt x="87" y="13"/>
                      <a:pt x="87" y="13"/>
                      <a:pt x="87" y="14"/>
                    </a:cubicBezTo>
                    <a:cubicBezTo>
                      <a:pt x="86" y="15"/>
                      <a:pt x="85" y="16"/>
                      <a:pt x="85" y="17"/>
                    </a:cubicBezTo>
                    <a:cubicBezTo>
                      <a:pt x="85" y="17"/>
                      <a:pt x="84" y="18"/>
                      <a:pt x="84" y="19"/>
                    </a:cubicBezTo>
                    <a:cubicBezTo>
                      <a:pt x="83" y="20"/>
                      <a:pt x="82" y="21"/>
                      <a:pt x="81" y="21"/>
                    </a:cubicBezTo>
                    <a:cubicBezTo>
                      <a:pt x="79" y="22"/>
                      <a:pt x="78" y="21"/>
                      <a:pt x="76" y="20"/>
                    </a:cubicBezTo>
                    <a:cubicBezTo>
                      <a:pt x="73" y="19"/>
                      <a:pt x="68" y="18"/>
                      <a:pt x="66" y="16"/>
                    </a:cubicBezTo>
                    <a:cubicBezTo>
                      <a:pt x="65" y="14"/>
                      <a:pt x="64" y="12"/>
                      <a:pt x="61" y="12"/>
                    </a:cubicBezTo>
                    <a:cubicBezTo>
                      <a:pt x="60" y="12"/>
                      <a:pt x="56" y="13"/>
                      <a:pt x="55" y="14"/>
                    </a:cubicBezTo>
                    <a:cubicBezTo>
                      <a:pt x="55" y="14"/>
                      <a:pt x="55" y="15"/>
                      <a:pt x="54" y="16"/>
                    </a:cubicBezTo>
                    <a:cubicBezTo>
                      <a:pt x="52" y="17"/>
                      <a:pt x="50" y="16"/>
                      <a:pt x="49" y="15"/>
                    </a:cubicBezTo>
                    <a:cubicBezTo>
                      <a:pt x="48" y="15"/>
                      <a:pt x="47" y="15"/>
                      <a:pt x="46" y="14"/>
                    </a:cubicBezTo>
                    <a:cubicBezTo>
                      <a:pt x="45" y="13"/>
                      <a:pt x="45" y="12"/>
                      <a:pt x="44" y="11"/>
                    </a:cubicBezTo>
                    <a:cubicBezTo>
                      <a:pt x="44" y="10"/>
                      <a:pt x="43" y="10"/>
                      <a:pt x="43" y="8"/>
                    </a:cubicBezTo>
                    <a:cubicBezTo>
                      <a:pt x="44" y="7"/>
                      <a:pt x="44" y="6"/>
                      <a:pt x="44" y="5"/>
                    </a:cubicBezTo>
                    <a:cubicBezTo>
                      <a:pt x="42" y="5"/>
                      <a:pt x="40" y="5"/>
                      <a:pt x="38" y="5"/>
                    </a:cubicBezTo>
                    <a:cubicBezTo>
                      <a:pt x="35" y="6"/>
                      <a:pt x="34" y="7"/>
                      <a:pt x="31" y="8"/>
                    </a:cubicBezTo>
                    <a:cubicBezTo>
                      <a:pt x="29" y="9"/>
                      <a:pt x="28" y="10"/>
                      <a:pt x="27" y="13"/>
                    </a:cubicBezTo>
                    <a:cubicBezTo>
                      <a:pt x="27" y="13"/>
                      <a:pt x="26" y="14"/>
                      <a:pt x="26" y="14"/>
                    </a:cubicBezTo>
                    <a:cubicBezTo>
                      <a:pt x="25" y="14"/>
                      <a:pt x="25" y="15"/>
                      <a:pt x="24" y="15"/>
                    </a:cubicBezTo>
                    <a:cubicBezTo>
                      <a:pt x="23" y="16"/>
                      <a:pt x="23" y="16"/>
                      <a:pt x="22" y="16"/>
                    </a:cubicBezTo>
                    <a:cubicBezTo>
                      <a:pt x="21" y="17"/>
                      <a:pt x="20" y="16"/>
                      <a:pt x="19" y="17"/>
                    </a:cubicBezTo>
                    <a:cubicBezTo>
                      <a:pt x="18" y="17"/>
                      <a:pt x="17" y="18"/>
                      <a:pt x="16" y="19"/>
                    </a:cubicBezTo>
                    <a:cubicBezTo>
                      <a:pt x="15" y="20"/>
                      <a:pt x="13" y="21"/>
                      <a:pt x="11" y="22"/>
                    </a:cubicBezTo>
                    <a:cubicBezTo>
                      <a:pt x="10" y="22"/>
                      <a:pt x="8" y="22"/>
                      <a:pt x="7" y="22"/>
                    </a:cubicBezTo>
                    <a:cubicBezTo>
                      <a:pt x="5" y="22"/>
                      <a:pt x="6" y="23"/>
                      <a:pt x="5" y="23"/>
                    </a:cubicBezTo>
                    <a:cubicBezTo>
                      <a:pt x="3" y="25"/>
                      <a:pt x="1" y="26"/>
                      <a:pt x="0" y="28"/>
                    </a:cubicBezTo>
                    <a:cubicBezTo>
                      <a:pt x="1" y="28"/>
                      <a:pt x="1" y="29"/>
                      <a:pt x="2" y="29"/>
                    </a:cubicBezTo>
                    <a:cubicBezTo>
                      <a:pt x="2" y="29"/>
                      <a:pt x="3" y="32"/>
                      <a:pt x="3" y="32"/>
                    </a:cubicBezTo>
                    <a:cubicBezTo>
                      <a:pt x="4" y="33"/>
                      <a:pt x="4" y="32"/>
                      <a:pt x="4" y="33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3" y="38"/>
                      <a:pt x="3" y="42"/>
                      <a:pt x="3" y="45"/>
                    </a:cubicBezTo>
                    <a:cubicBezTo>
                      <a:pt x="4" y="49"/>
                      <a:pt x="5" y="51"/>
                      <a:pt x="8" y="54"/>
                    </a:cubicBezTo>
                    <a:cubicBezTo>
                      <a:pt x="12" y="57"/>
                      <a:pt x="14" y="61"/>
                      <a:pt x="19" y="60"/>
                    </a:cubicBezTo>
                    <a:cubicBezTo>
                      <a:pt x="23" y="60"/>
                      <a:pt x="27" y="56"/>
                      <a:pt x="31" y="56"/>
                    </a:cubicBezTo>
                    <a:cubicBezTo>
                      <a:pt x="36" y="55"/>
                      <a:pt x="40" y="59"/>
                      <a:pt x="42" y="63"/>
                    </a:cubicBezTo>
                    <a:cubicBezTo>
                      <a:pt x="42" y="64"/>
                      <a:pt x="43" y="65"/>
                      <a:pt x="43" y="66"/>
                    </a:cubicBezTo>
                    <a:cubicBezTo>
                      <a:pt x="43" y="68"/>
                      <a:pt x="40" y="69"/>
                      <a:pt x="39" y="71"/>
                    </a:cubicBezTo>
                    <a:cubicBezTo>
                      <a:pt x="39" y="75"/>
                      <a:pt x="46" y="81"/>
                      <a:pt x="50" y="81"/>
                    </a:cubicBezTo>
                    <a:cubicBezTo>
                      <a:pt x="53" y="82"/>
                      <a:pt x="58" y="80"/>
                      <a:pt x="60" y="84"/>
                    </a:cubicBezTo>
                    <a:cubicBezTo>
                      <a:pt x="61" y="85"/>
                      <a:pt x="60" y="87"/>
                      <a:pt x="61" y="89"/>
                    </a:cubicBezTo>
                    <a:cubicBezTo>
                      <a:pt x="61" y="92"/>
                      <a:pt x="64" y="94"/>
                      <a:pt x="68" y="94"/>
                    </a:cubicBezTo>
                    <a:cubicBezTo>
                      <a:pt x="70" y="94"/>
                      <a:pt x="72" y="92"/>
                      <a:pt x="75" y="92"/>
                    </a:cubicBezTo>
                    <a:cubicBezTo>
                      <a:pt x="76" y="93"/>
                      <a:pt x="78" y="94"/>
                      <a:pt x="79" y="95"/>
                    </a:cubicBezTo>
                    <a:cubicBezTo>
                      <a:pt x="82" y="96"/>
                      <a:pt x="88" y="97"/>
                      <a:pt x="87" y="101"/>
                    </a:cubicBezTo>
                    <a:cubicBezTo>
                      <a:pt x="87" y="105"/>
                      <a:pt x="84" y="102"/>
                      <a:pt x="83" y="105"/>
                    </a:cubicBezTo>
                    <a:cubicBezTo>
                      <a:pt x="82" y="105"/>
                      <a:pt x="82" y="110"/>
                      <a:pt x="83" y="110"/>
                    </a:cubicBezTo>
                    <a:cubicBezTo>
                      <a:pt x="84" y="112"/>
                      <a:pt x="86" y="110"/>
                      <a:pt x="88" y="111"/>
                    </a:cubicBezTo>
                    <a:cubicBezTo>
                      <a:pt x="90" y="113"/>
                      <a:pt x="90" y="120"/>
                      <a:pt x="91" y="122"/>
                    </a:cubicBezTo>
                    <a:cubicBezTo>
                      <a:pt x="92" y="126"/>
                      <a:pt x="92" y="125"/>
                      <a:pt x="95" y="127"/>
                    </a:cubicBezTo>
                    <a:cubicBezTo>
                      <a:pt x="97" y="129"/>
                      <a:pt x="96" y="129"/>
                      <a:pt x="99" y="130"/>
                    </a:cubicBezTo>
                    <a:cubicBezTo>
                      <a:pt x="102" y="131"/>
                      <a:pt x="106" y="128"/>
                      <a:pt x="109" y="126"/>
                    </a:cubicBezTo>
                    <a:cubicBezTo>
                      <a:pt x="110" y="125"/>
                      <a:pt x="113" y="124"/>
                      <a:pt x="114" y="123"/>
                    </a:cubicBezTo>
                    <a:cubicBezTo>
                      <a:pt x="115" y="121"/>
                      <a:pt x="114" y="118"/>
                      <a:pt x="114" y="116"/>
                    </a:cubicBezTo>
                    <a:cubicBezTo>
                      <a:pt x="115" y="115"/>
                      <a:pt x="117" y="113"/>
                      <a:pt x="119" y="112"/>
                    </a:cubicBezTo>
                    <a:cubicBezTo>
                      <a:pt x="121" y="112"/>
                      <a:pt x="122" y="113"/>
                      <a:pt x="124" y="114"/>
                    </a:cubicBezTo>
                    <a:cubicBezTo>
                      <a:pt x="127" y="117"/>
                      <a:pt x="124" y="119"/>
                      <a:pt x="123" y="122"/>
                    </a:cubicBezTo>
                    <a:cubicBezTo>
                      <a:pt x="122" y="124"/>
                      <a:pt x="123" y="126"/>
                      <a:pt x="123" y="127"/>
                    </a:cubicBezTo>
                    <a:cubicBezTo>
                      <a:pt x="123" y="132"/>
                      <a:pt x="124" y="136"/>
                      <a:pt x="125" y="141"/>
                    </a:cubicBezTo>
                    <a:cubicBezTo>
                      <a:pt x="134" y="141"/>
                      <a:pt x="139" y="148"/>
                      <a:pt x="147" y="151"/>
                    </a:cubicBezTo>
                    <a:cubicBezTo>
                      <a:pt x="149" y="152"/>
                      <a:pt x="151" y="151"/>
                      <a:pt x="152" y="153"/>
                    </a:cubicBezTo>
                    <a:cubicBezTo>
                      <a:pt x="153" y="154"/>
                      <a:pt x="153" y="156"/>
                      <a:pt x="153" y="157"/>
                    </a:cubicBezTo>
                    <a:cubicBezTo>
                      <a:pt x="154" y="159"/>
                      <a:pt x="159" y="167"/>
                      <a:pt x="163" y="165"/>
                    </a:cubicBezTo>
                    <a:cubicBezTo>
                      <a:pt x="164" y="164"/>
                      <a:pt x="165" y="162"/>
                      <a:pt x="167" y="162"/>
                    </a:cubicBezTo>
                    <a:cubicBezTo>
                      <a:pt x="168" y="161"/>
                      <a:pt x="170" y="161"/>
                      <a:pt x="171" y="161"/>
                    </a:cubicBezTo>
                    <a:cubicBezTo>
                      <a:pt x="174" y="161"/>
                      <a:pt x="176" y="162"/>
                      <a:pt x="177" y="162"/>
                    </a:cubicBezTo>
                    <a:cubicBezTo>
                      <a:pt x="178" y="161"/>
                      <a:pt x="178" y="159"/>
                      <a:pt x="179" y="158"/>
                    </a:cubicBezTo>
                    <a:cubicBezTo>
                      <a:pt x="179" y="156"/>
                      <a:pt x="180" y="154"/>
                      <a:pt x="179" y="152"/>
                    </a:cubicBezTo>
                    <a:cubicBezTo>
                      <a:pt x="178" y="151"/>
                      <a:pt x="178" y="151"/>
                      <a:pt x="176" y="151"/>
                    </a:cubicBezTo>
                    <a:cubicBezTo>
                      <a:pt x="174" y="151"/>
                      <a:pt x="173" y="151"/>
                      <a:pt x="171" y="149"/>
                    </a:cubicBezTo>
                    <a:cubicBezTo>
                      <a:pt x="168" y="146"/>
                      <a:pt x="171" y="144"/>
                      <a:pt x="171" y="141"/>
                    </a:cubicBezTo>
                    <a:cubicBezTo>
                      <a:pt x="172" y="140"/>
                      <a:pt x="171" y="139"/>
                      <a:pt x="171" y="139"/>
                    </a:cubicBezTo>
                    <a:cubicBezTo>
                      <a:pt x="171" y="138"/>
                      <a:pt x="171" y="137"/>
                      <a:pt x="171" y="136"/>
                    </a:cubicBezTo>
                    <a:cubicBezTo>
                      <a:pt x="171" y="135"/>
                      <a:pt x="170" y="134"/>
                      <a:pt x="171" y="133"/>
                    </a:cubicBezTo>
                    <a:cubicBezTo>
                      <a:pt x="171" y="133"/>
                      <a:pt x="172" y="132"/>
                      <a:pt x="172" y="131"/>
                    </a:cubicBezTo>
                    <a:cubicBezTo>
                      <a:pt x="173" y="129"/>
                      <a:pt x="172" y="129"/>
                      <a:pt x="174" y="128"/>
                    </a:cubicBezTo>
                    <a:cubicBezTo>
                      <a:pt x="175" y="128"/>
                      <a:pt x="176" y="128"/>
                      <a:pt x="177" y="127"/>
                    </a:cubicBezTo>
                    <a:cubicBezTo>
                      <a:pt x="180" y="125"/>
                      <a:pt x="178" y="122"/>
                      <a:pt x="179" y="119"/>
                    </a:cubicBezTo>
                    <a:cubicBezTo>
                      <a:pt x="180" y="118"/>
                      <a:pt x="181" y="118"/>
                      <a:pt x="182" y="117"/>
                    </a:cubicBezTo>
                    <a:cubicBezTo>
                      <a:pt x="183" y="116"/>
                      <a:pt x="184" y="115"/>
                      <a:pt x="185" y="114"/>
                    </a:cubicBezTo>
                    <a:cubicBezTo>
                      <a:pt x="185" y="114"/>
                      <a:pt x="186" y="111"/>
                      <a:pt x="187" y="110"/>
                    </a:cubicBezTo>
                    <a:cubicBezTo>
                      <a:pt x="187" y="110"/>
                      <a:pt x="189" y="110"/>
                      <a:pt x="189" y="110"/>
                    </a:cubicBezTo>
                    <a:cubicBezTo>
                      <a:pt x="191" y="110"/>
                      <a:pt x="192" y="111"/>
                      <a:pt x="193" y="111"/>
                    </a:cubicBezTo>
                    <a:cubicBezTo>
                      <a:pt x="194" y="111"/>
                      <a:pt x="195" y="111"/>
                      <a:pt x="196" y="111"/>
                    </a:cubicBezTo>
                    <a:cubicBezTo>
                      <a:pt x="196" y="111"/>
                      <a:pt x="196" y="110"/>
                      <a:pt x="196" y="110"/>
                    </a:cubicBezTo>
                    <a:cubicBezTo>
                      <a:pt x="197" y="109"/>
                      <a:pt x="198" y="108"/>
                      <a:pt x="198" y="106"/>
                    </a:cubicBezTo>
                    <a:cubicBezTo>
                      <a:pt x="198" y="106"/>
                      <a:pt x="198" y="106"/>
                      <a:pt x="198" y="105"/>
                    </a:cubicBezTo>
                    <a:cubicBezTo>
                      <a:pt x="198" y="103"/>
                      <a:pt x="200" y="102"/>
                      <a:pt x="201" y="100"/>
                    </a:cubicBezTo>
                    <a:cubicBezTo>
                      <a:pt x="201" y="100"/>
                      <a:pt x="201" y="100"/>
                      <a:pt x="201" y="100"/>
                    </a:cubicBezTo>
                    <a:cubicBezTo>
                      <a:pt x="201" y="100"/>
                      <a:pt x="201" y="100"/>
                      <a:pt x="201" y="100"/>
                    </a:cubicBezTo>
                    <a:cubicBezTo>
                      <a:pt x="202" y="98"/>
                      <a:pt x="204" y="97"/>
                      <a:pt x="205" y="95"/>
                    </a:cubicBezTo>
                    <a:cubicBezTo>
                      <a:pt x="206" y="93"/>
                      <a:pt x="206" y="92"/>
                      <a:pt x="207" y="91"/>
                    </a:cubicBezTo>
                    <a:cubicBezTo>
                      <a:pt x="207" y="89"/>
                      <a:pt x="208" y="87"/>
                      <a:pt x="207" y="8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494" name="Freeform 10">
                <a:extLst>
                  <a:ext uri="{FF2B5EF4-FFF2-40B4-BE49-F238E27FC236}">
                    <a16:creationId xmlns:a16="http://schemas.microsoft.com/office/drawing/2014/main" id="{77048458-3CF9-4410-8797-1E80D777D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7013" y="4519613"/>
                <a:ext cx="95250" cy="112713"/>
              </a:xfrm>
              <a:custGeom>
                <a:avLst/>
                <a:gdLst/>
                <a:ahLst/>
                <a:cxnLst>
                  <a:cxn ang="0">
                    <a:pos x="29" y="15"/>
                  </a:cxn>
                  <a:cxn ang="0">
                    <a:pos x="28" y="11"/>
                  </a:cxn>
                  <a:cxn ang="0">
                    <a:pos x="27" y="6"/>
                  </a:cxn>
                  <a:cxn ang="0">
                    <a:pos x="28" y="0"/>
                  </a:cxn>
                  <a:cxn ang="0">
                    <a:pos x="28" y="1"/>
                  </a:cxn>
                  <a:cxn ang="0">
                    <a:pos x="25" y="1"/>
                  </a:cxn>
                  <a:cxn ang="0">
                    <a:pos x="21" y="0"/>
                  </a:cxn>
                  <a:cxn ang="0">
                    <a:pos x="19" y="0"/>
                  </a:cxn>
                  <a:cxn ang="0">
                    <a:pos x="17" y="4"/>
                  </a:cxn>
                  <a:cxn ang="0">
                    <a:pos x="14" y="7"/>
                  </a:cxn>
                  <a:cxn ang="0">
                    <a:pos x="11" y="9"/>
                  </a:cxn>
                  <a:cxn ang="0">
                    <a:pos x="9" y="17"/>
                  </a:cxn>
                  <a:cxn ang="0">
                    <a:pos x="6" y="18"/>
                  </a:cxn>
                  <a:cxn ang="0">
                    <a:pos x="4" y="21"/>
                  </a:cxn>
                  <a:cxn ang="0">
                    <a:pos x="3" y="23"/>
                  </a:cxn>
                  <a:cxn ang="0">
                    <a:pos x="3" y="26"/>
                  </a:cxn>
                  <a:cxn ang="0">
                    <a:pos x="3" y="29"/>
                  </a:cxn>
                  <a:cxn ang="0">
                    <a:pos x="3" y="31"/>
                  </a:cxn>
                  <a:cxn ang="0">
                    <a:pos x="3" y="39"/>
                  </a:cxn>
                  <a:cxn ang="0">
                    <a:pos x="8" y="41"/>
                  </a:cxn>
                  <a:cxn ang="0">
                    <a:pos x="11" y="42"/>
                  </a:cxn>
                  <a:cxn ang="0">
                    <a:pos x="11" y="48"/>
                  </a:cxn>
                  <a:cxn ang="0">
                    <a:pos x="9" y="52"/>
                  </a:cxn>
                  <a:cxn ang="0">
                    <a:pos x="14" y="54"/>
                  </a:cxn>
                  <a:cxn ang="0">
                    <a:pos x="26" y="57"/>
                  </a:cxn>
                  <a:cxn ang="0">
                    <a:pos x="35" y="58"/>
                  </a:cxn>
                  <a:cxn ang="0">
                    <a:pos x="35" y="58"/>
                  </a:cxn>
                  <a:cxn ang="0">
                    <a:pos x="35" y="58"/>
                  </a:cxn>
                  <a:cxn ang="0">
                    <a:pos x="39" y="46"/>
                  </a:cxn>
                  <a:cxn ang="0">
                    <a:pos x="42" y="42"/>
                  </a:cxn>
                  <a:cxn ang="0">
                    <a:pos x="44" y="38"/>
                  </a:cxn>
                  <a:cxn ang="0">
                    <a:pos x="51" y="35"/>
                  </a:cxn>
                  <a:cxn ang="0">
                    <a:pos x="48" y="33"/>
                  </a:cxn>
                  <a:cxn ang="0">
                    <a:pos x="43" y="32"/>
                  </a:cxn>
                  <a:cxn ang="0">
                    <a:pos x="39" y="28"/>
                  </a:cxn>
                  <a:cxn ang="0">
                    <a:pos x="37" y="25"/>
                  </a:cxn>
                  <a:cxn ang="0">
                    <a:pos x="34" y="24"/>
                  </a:cxn>
                  <a:cxn ang="0">
                    <a:pos x="32" y="20"/>
                  </a:cxn>
                  <a:cxn ang="0">
                    <a:pos x="29" y="15"/>
                  </a:cxn>
                </a:cxnLst>
                <a:rect l="0" t="0" r="r" b="b"/>
                <a:pathLst>
                  <a:path w="51" h="60">
                    <a:moveTo>
                      <a:pt x="29" y="15"/>
                    </a:moveTo>
                    <a:cubicBezTo>
                      <a:pt x="28" y="14"/>
                      <a:pt x="29" y="12"/>
                      <a:pt x="28" y="11"/>
                    </a:cubicBezTo>
                    <a:cubicBezTo>
                      <a:pt x="28" y="9"/>
                      <a:pt x="27" y="8"/>
                      <a:pt x="27" y="6"/>
                    </a:cubicBezTo>
                    <a:cubicBezTo>
                      <a:pt x="27" y="4"/>
                      <a:pt x="27" y="2"/>
                      <a:pt x="28" y="0"/>
                    </a:cubicBezTo>
                    <a:cubicBezTo>
                      <a:pt x="28" y="0"/>
                      <a:pt x="28" y="1"/>
                      <a:pt x="28" y="1"/>
                    </a:cubicBezTo>
                    <a:cubicBezTo>
                      <a:pt x="27" y="1"/>
                      <a:pt x="26" y="1"/>
                      <a:pt x="25" y="1"/>
                    </a:cubicBezTo>
                    <a:cubicBezTo>
                      <a:pt x="24" y="1"/>
                      <a:pt x="23" y="0"/>
                      <a:pt x="21" y="0"/>
                    </a:cubicBezTo>
                    <a:cubicBezTo>
                      <a:pt x="21" y="0"/>
                      <a:pt x="19" y="0"/>
                      <a:pt x="19" y="0"/>
                    </a:cubicBezTo>
                    <a:cubicBezTo>
                      <a:pt x="18" y="1"/>
                      <a:pt x="17" y="4"/>
                      <a:pt x="17" y="4"/>
                    </a:cubicBezTo>
                    <a:cubicBezTo>
                      <a:pt x="16" y="5"/>
                      <a:pt x="15" y="6"/>
                      <a:pt x="14" y="7"/>
                    </a:cubicBezTo>
                    <a:cubicBezTo>
                      <a:pt x="13" y="8"/>
                      <a:pt x="12" y="8"/>
                      <a:pt x="11" y="9"/>
                    </a:cubicBezTo>
                    <a:cubicBezTo>
                      <a:pt x="10" y="12"/>
                      <a:pt x="12" y="15"/>
                      <a:pt x="9" y="17"/>
                    </a:cubicBezTo>
                    <a:cubicBezTo>
                      <a:pt x="8" y="18"/>
                      <a:pt x="7" y="18"/>
                      <a:pt x="6" y="18"/>
                    </a:cubicBezTo>
                    <a:cubicBezTo>
                      <a:pt x="4" y="19"/>
                      <a:pt x="5" y="19"/>
                      <a:pt x="4" y="21"/>
                    </a:cubicBezTo>
                    <a:cubicBezTo>
                      <a:pt x="4" y="22"/>
                      <a:pt x="3" y="23"/>
                      <a:pt x="3" y="23"/>
                    </a:cubicBezTo>
                    <a:cubicBezTo>
                      <a:pt x="2" y="24"/>
                      <a:pt x="3" y="25"/>
                      <a:pt x="3" y="26"/>
                    </a:cubicBezTo>
                    <a:cubicBezTo>
                      <a:pt x="3" y="27"/>
                      <a:pt x="3" y="28"/>
                      <a:pt x="3" y="29"/>
                    </a:cubicBezTo>
                    <a:cubicBezTo>
                      <a:pt x="3" y="29"/>
                      <a:pt x="4" y="30"/>
                      <a:pt x="3" y="31"/>
                    </a:cubicBezTo>
                    <a:cubicBezTo>
                      <a:pt x="3" y="34"/>
                      <a:pt x="0" y="36"/>
                      <a:pt x="3" y="39"/>
                    </a:cubicBezTo>
                    <a:cubicBezTo>
                      <a:pt x="5" y="41"/>
                      <a:pt x="6" y="41"/>
                      <a:pt x="8" y="41"/>
                    </a:cubicBezTo>
                    <a:cubicBezTo>
                      <a:pt x="10" y="41"/>
                      <a:pt x="10" y="41"/>
                      <a:pt x="11" y="42"/>
                    </a:cubicBezTo>
                    <a:cubicBezTo>
                      <a:pt x="12" y="44"/>
                      <a:pt x="11" y="46"/>
                      <a:pt x="11" y="48"/>
                    </a:cubicBezTo>
                    <a:cubicBezTo>
                      <a:pt x="10" y="49"/>
                      <a:pt x="10" y="51"/>
                      <a:pt x="9" y="52"/>
                    </a:cubicBezTo>
                    <a:cubicBezTo>
                      <a:pt x="11" y="52"/>
                      <a:pt x="12" y="53"/>
                      <a:pt x="14" y="54"/>
                    </a:cubicBezTo>
                    <a:cubicBezTo>
                      <a:pt x="19" y="57"/>
                      <a:pt x="20" y="60"/>
                      <a:pt x="26" y="57"/>
                    </a:cubicBezTo>
                    <a:cubicBezTo>
                      <a:pt x="30" y="54"/>
                      <a:pt x="31" y="56"/>
                      <a:pt x="35" y="58"/>
                    </a:cubicBezTo>
                    <a:cubicBezTo>
                      <a:pt x="35" y="58"/>
                      <a:pt x="35" y="58"/>
                      <a:pt x="35" y="58"/>
                    </a:cubicBezTo>
                    <a:cubicBezTo>
                      <a:pt x="35" y="58"/>
                      <a:pt x="35" y="58"/>
                      <a:pt x="35" y="58"/>
                    </a:cubicBezTo>
                    <a:cubicBezTo>
                      <a:pt x="36" y="53"/>
                      <a:pt x="37" y="49"/>
                      <a:pt x="39" y="46"/>
                    </a:cubicBezTo>
                    <a:cubicBezTo>
                      <a:pt x="40" y="44"/>
                      <a:pt x="41" y="43"/>
                      <a:pt x="42" y="42"/>
                    </a:cubicBezTo>
                    <a:cubicBezTo>
                      <a:pt x="42" y="40"/>
                      <a:pt x="43" y="39"/>
                      <a:pt x="44" y="38"/>
                    </a:cubicBezTo>
                    <a:cubicBezTo>
                      <a:pt x="46" y="37"/>
                      <a:pt x="49" y="35"/>
                      <a:pt x="51" y="35"/>
                    </a:cubicBezTo>
                    <a:cubicBezTo>
                      <a:pt x="51" y="33"/>
                      <a:pt x="49" y="33"/>
                      <a:pt x="48" y="33"/>
                    </a:cubicBezTo>
                    <a:cubicBezTo>
                      <a:pt x="46" y="33"/>
                      <a:pt x="45" y="33"/>
                      <a:pt x="43" y="32"/>
                    </a:cubicBezTo>
                    <a:cubicBezTo>
                      <a:pt x="42" y="31"/>
                      <a:pt x="40" y="30"/>
                      <a:pt x="39" y="28"/>
                    </a:cubicBezTo>
                    <a:cubicBezTo>
                      <a:pt x="38" y="27"/>
                      <a:pt x="37" y="26"/>
                      <a:pt x="37" y="25"/>
                    </a:cubicBezTo>
                    <a:cubicBezTo>
                      <a:pt x="36" y="24"/>
                      <a:pt x="35" y="24"/>
                      <a:pt x="34" y="24"/>
                    </a:cubicBezTo>
                    <a:cubicBezTo>
                      <a:pt x="32" y="23"/>
                      <a:pt x="32" y="21"/>
                      <a:pt x="32" y="20"/>
                    </a:cubicBezTo>
                    <a:cubicBezTo>
                      <a:pt x="31" y="18"/>
                      <a:pt x="30" y="17"/>
                      <a:pt x="29" y="1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495" name="Freeform 11">
                <a:extLst>
                  <a:ext uri="{FF2B5EF4-FFF2-40B4-BE49-F238E27FC236}">
                    <a16:creationId xmlns:a16="http://schemas.microsoft.com/office/drawing/2014/main" id="{3A1442DA-E0AF-4434-8D74-2408E7D68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000" y="4889500"/>
                <a:ext cx="452438" cy="293688"/>
              </a:xfrm>
              <a:custGeom>
                <a:avLst/>
                <a:gdLst/>
                <a:ahLst/>
                <a:cxnLst>
                  <a:cxn ang="0">
                    <a:pos x="231" y="65"/>
                  </a:cxn>
                  <a:cxn ang="0">
                    <a:pos x="214" y="71"/>
                  </a:cxn>
                  <a:cxn ang="0">
                    <a:pos x="204" y="60"/>
                  </a:cxn>
                  <a:cxn ang="0">
                    <a:pos x="194" y="60"/>
                  </a:cxn>
                  <a:cxn ang="0">
                    <a:pos x="186" y="51"/>
                  </a:cxn>
                  <a:cxn ang="0">
                    <a:pos x="183" y="47"/>
                  </a:cxn>
                  <a:cxn ang="0">
                    <a:pos x="186" y="39"/>
                  </a:cxn>
                  <a:cxn ang="0">
                    <a:pos x="192" y="36"/>
                  </a:cxn>
                  <a:cxn ang="0">
                    <a:pos x="195" y="30"/>
                  </a:cxn>
                  <a:cxn ang="0">
                    <a:pos x="197" y="18"/>
                  </a:cxn>
                  <a:cxn ang="0">
                    <a:pos x="188" y="17"/>
                  </a:cxn>
                  <a:cxn ang="0">
                    <a:pos x="174" y="10"/>
                  </a:cxn>
                  <a:cxn ang="0">
                    <a:pos x="161" y="9"/>
                  </a:cxn>
                  <a:cxn ang="0">
                    <a:pos x="145" y="1"/>
                  </a:cxn>
                  <a:cxn ang="0">
                    <a:pos x="133" y="1"/>
                  </a:cxn>
                  <a:cxn ang="0">
                    <a:pos x="121" y="8"/>
                  </a:cxn>
                  <a:cxn ang="0">
                    <a:pos x="110" y="18"/>
                  </a:cxn>
                  <a:cxn ang="0">
                    <a:pos x="94" y="17"/>
                  </a:cxn>
                  <a:cxn ang="0">
                    <a:pos x="90" y="21"/>
                  </a:cxn>
                  <a:cxn ang="0">
                    <a:pos x="51" y="27"/>
                  </a:cxn>
                  <a:cxn ang="0">
                    <a:pos x="39" y="56"/>
                  </a:cxn>
                  <a:cxn ang="0">
                    <a:pos x="8" y="90"/>
                  </a:cxn>
                  <a:cxn ang="0">
                    <a:pos x="5" y="118"/>
                  </a:cxn>
                  <a:cxn ang="0">
                    <a:pos x="41" y="118"/>
                  </a:cxn>
                  <a:cxn ang="0">
                    <a:pos x="46" y="130"/>
                  </a:cxn>
                  <a:cxn ang="0">
                    <a:pos x="52" y="144"/>
                  </a:cxn>
                  <a:cxn ang="0">
                    <a:pos x="57" y="153"/>
                  </a:cxn>
                  <a:cxn ang="0">
                    <a:pos x="68" y="151"/>
                  </a:cxn>
                  <a:cxn ang="0">
                    <a:pos x="88" y="145"/>
                  </a:cxn>
                  <a:cxn ang="0">
                    <a:pos x="108" y="135"/>
                  </a:cxn>
                  <a:cxn ang="0">
                    <a:pos x="113" y="129"/>
                  </a:cxn>
                  <a:cxn ang="0">
                    <a:pos x="119" y="114"/>
                  </a:cxn>
                  <a:cxn ang="0">
                    <a:pos x="127" y="120"/>
                  </a:cxn>
                  <a:cxn ang="0">
                    <a:pos x="138" y="133"/>
                  </a:cxn>
                  <a:cxn ang="0">
                    <a:pos x="148" y="137"/>
                  </a:cxn>
                  <a:cxn ang="0">
                    <a:pos x="147" y="143"/>
                  </a:cxn>
                  <a:cxn ang="0">
                    <a:pos x="158" y="156"/>
                  </a:cxn>
                  <a:cxn ang="0">
                    <a:pos x="157" y="147"/>
                  </a:cxn>
                  <a:cxn ang="0">
                    <a:pos x="163" y="134"/>
                  </a:cxn>
                  <a:cxn ang="0">
                    <a:pos x="174" y="121"/>
                  </a:cxn>
                  <a:cxn ang="0">
                    <a:pos x="173" y="106"/>
                  </a:cxn>
                  <a:cxn ang="0">
                    <a:pos x="185" y="111"/>
                  </a:cxn>
                  <a:cxn ang="0">
                    <a:pos x="196" y="118"/>
                  </a:cxn>
                  <a:cxn ang="0">
                    <a:pos x="209" y="115"/>
                  </a:cxn>
                  <a:cxn ang="0">
                    <a:pos x="223" y="123"/>
                  </a:cxn>
                  <a:cxn ang="0">
                    <a:pos x="222" y="109"/>
                  </a:cxn>
                  <a:cxn ang="0">
                    <a:pos x="220" y="97"/>
                  </a:cxn>
                  <a:cxn ang="0">
                    <a:pos x="236" y="98"/>
                  </a:cxn>
                  <a:cxn ang="0">
                    <a:pos x="238" y="91"/>
                  </a:cxn>
                  <a:cxn ang="0">
                    <a:pos x="240" y="71"/>
                  </a:cxn>
                </a:cxnLst>
                <a:rect l="0" t="0" r="r" b="b"/>
                <a:pathLst>
                  <a:path w="242" h="157">
                    <a:moveTo>
                      <a:pt x="240" y="71"/>
                    </a:moveTo>
                    <a:cubicBezTo>
                      <a:pt x="240" y="69"/>
                      <a:pt x="240" y="67"/>
                      <a:pt x="238" y="65"/>
                    </a:cubicBezTo>
                    <a:cubicBezTo>
                      <a:pt x="237" y="64"/>
                      <a:pt x="234" y="62"/>
                      <a:pt x="233" y="62"/>
                    </a:cubicBezTo>
                    <a:cubicBezTo>
                      <a:pt x="232" y="63"/>
                      <a:pt x="232" y="64"/>
                      <a:pt x="231" y="65"/>
                    </a:cubicBezTo>
                    <a:cubicBezTo>
                      <a:pt x="230" y="65"/>
                      <a:pt x="229" y="65"/>
                      <a:pt x="228" y="66"/>
                    </a:cubicBezTo>
                    <a:cubicBezTo>
                      <a:pt x="226" y="67"/>
                      <a:pt x="227" y="69"/>
                      <a:pt x="226" y="70"/>
                    </a:cubicBezTo>
                    <a:cubicBezTo>
                      <a:pt x="225" y="72"/>
                      <a:pt x="225" y="73"/>
                      <a:pt x="222" y="73"/>
                    </a:cubicBezTo>
                    <a:cubicBezTo>
                      <a:pt x="219" y="73"/>
                      <a:pt x="217" y="72"/>
                      <a:pt x="214" y="71"/>
                    </a:cubicBezTo>
                    <a:cubicBezTo>
                      <a:pt x="213" y="71"/>
                      <a:pt x="212" y="70"/>
                      <a:pt x="212" y="69"/>
                    </a:cubicBezTo>
                    <a:cubicBezTo>
                      <a:pt x="211" y="69"/>
                      <a:pt x="210" y="69"/>
                      <a:pt x="210" y="68"/>
                    </a:cubicBezTo>
                    <a:cubicBezTo>
                      <a:pt x="208" y="67"/>
                      <a:pt x="208" y="66"/>
                      <a:pt x="208" y="64"/>
                    </a:cubicBezTo>
                    <a:cubicBezTo>
                      <a:pt x="208" y="61"/>
                      <a:pt x="206" y="61"/>
                      <a:pt x="204" y="60"/>
                    </a:cubicBezTo>
                    <a:cubicBezTo>
                      <a:pt x="204" y="60"/>
                      <a:pt x="204" y="60"/>
                      <a:pt x="203" y="59"/>
                    </a:cubicBezTo>
                    <a:cubicBezTo>
                      <a:pt x="203" y="59"/>
                      <a:pt x="202" y="59"/>
                      <a:pt x="201" y="59"/>
                    </a:cubicBezTo>
                    <a:cubicBezTo>
                      <a:pt x="200" y="60"/>
                      <a:pt x="200" y="60"/>
                      <a:pt x="198" y="60"/>
                    </a:cubicBezTo>
                    <a:cubicBezTo>
                      <a:pt x="197" y="60"/>
                      <a:pt x="195" y="60"/>
                      <a:pt x="194" y="60"/>
                    </a:cubicBezTo>
                    <a:cubicBezTo>
                      <a:pt x="193" y="60"/>
                      <a:pt x="192" y="60"/>
                      <a:pt x="191" y="60"/>
                    </a:cubicBezTo>
                    <a:cubicBezTo>
                      <a:pt x="190" y="60"/>
                      <a:pt x="189" y="60"/>
                      <a:pt x="188" y="60"/>
                    </a:cubicBezTo>
                    <a:cubicBezTo>
                      <a:pt x="185" y="59"/>
                      <a:pt x="183" y="60"/>
                      <a:pt x="183" y="57"/>
                    </a:cubicBezTo>
                    <a:cubicBezTo>
                      <a:pt x="182" y="53"/>
                      <a:pt x="184" y="53"/>
                      <a:pt x="186" y="51"/>
                    </a:cubicBezTo>
                    <a:cubicBezTo>
                      <a:pt x="186" y="51"/>
                      <a:pt x="187" y="51"/>
                      <a:pt x="187" y="50"/>
                    </a:cubicBezTo>
                    <a:cubicBezTo>
                      <a:pt x="187" y="50"/>
                      <a:pt x="186" y="50"/>
                      <a:pt x="186" y="50"/>
                    </a:cubicBezTo>
                    <a:cubicBezTo>
                      <a:pt x="185" y="50"/>
                      <a:pt x="185" y="50"/>
                      <a:pt x="184" y="49"/>
                    </a:cubicBezTo>
                    <a:cubicBezTo>
                      <a:pt x="183" y="49"/>
                      <a:pt x="183" y="48"/>
                      <a:pt x="183" y="47"/>
                    </a:cubicBezTo>
                    <a:cubicBezTo>
                      <a:pt x="183" y="47"/>
                      <a:pt x="183" y="46"/>
                      <a:pt x="183" y="45"/>
                    </a:cubicBezTo>
                    <a:cubicBezTo>
                      <a:pt x="183" y="44"/>
                      <a:pt x="184" y="44"/>
                      <a:pt x="184" y="43"/>
                    </a:cubicBezTo>
                    <a:cubicBezTo>
                      <a:pt x="184" y="42"/>
                      <a:pt x="185" y="42"/>
                      <a:pt x="185" y="41"/>
                    </a:cubicBezTo>
                    <a:cubicBezTo>
                      <a:pt x="186" y="40"/>
                      <a:pt x="186" y="40"/>
                      <a:pt x="186" y="39"/>
                    </a:cubicBezTo>
                    <a:cubicBezTo>
                      <a:pt x="187" y="38"/>
                      <a:pt x="187" y="38"/>
                      <a:pt x="188" y="38"/>
                    </a:cubicBezTo>
                    <a:cubicBezTo>
                      <a:pt x="188" y="37"/>
                      <a:pt x="189" y="37"/>
                      <a:pt x="189" y="36"/>
                    </a:cubicBezTo>
                    <a:cubicBezTo>
                      <a:pt x="189" y="36"/>
                      <a:pt x="192" y="35"/>
                      <a:pt x="192" y="35"/>
                    </a:cubicBezTo>
                    <a:cubicBezTo>
                      <a:pt x="192" y="36"/>
                      <a:pt x="192" y="36"/>
                      <a:pt x="192" y="36"/>
                    </a:cubicBezTo>
                    <a:cubicBezTo>
                      <a:pt x="192" y="37"/>
                      <a:pt x="192" y="37"/>
                      <a:pt x="192" y="37"/>
                    </a:cubicBezTo>
                    <a:cubicBezTo>
                      <a:pt x="194" y="36"/>
                      <a:pt x="196" y="36"/>
                      <a:pt x="196" y="35"/>
                    </a:cubicBezTo>
                    <a:cubicBezTo>
                      <a:pt x="197" y="34"/>
                      <a:pt x="196" y="33"/>
                      <a:pt x="196" y="33"/>
                    </a:cubicBezTo>
                    <a:cubicBezTo>
                      <a:pt x="195" y="32"/>
                      <a:pt x="195" y="31"/>
                      <a:pt x="195" y="30"/>
                    </a:cubicBezTo>
                    <a:cubicBezTo>
                      <a:pt x="195" y="28"/>
                      <a:pt x="195" y="26"/>
                      <a:pt x="195" y="24"/>
                    </a:cubicBezTo>
                    <a:cubicBezTo>
                      <a:pt x="195" y="23"/>
                      <a:pt x="196" y="22"/>
                      <a:pt x="196" y="20"/>
                    </a:cubicBezTo>
                    <a:cubicBezTo>
                      <a:pt x="197" y="19"/>
                      <a:pt x="198" y="19"/>
                      <a:pt x="198" y="18"/>
                    </a:cubicBezTo>
                    <a:cubicBezTo>
                      <a:pt x="198" y="18"/>
                      <a:pt x="197" y="18"/>
                      <a:pt x="197" y="18"/>
                    </a:cubicBezTo>
                    <a:cubicBezTo>
                      <a:pt x="196" y="18"/>
                      <a:pt x="195" y="18"/>
                      <a:pt x="195" y="18"/>
                    </a:cubicBezTo>
                    <a:cubicBezTo>
                      <a:pt x="195" y="18"/>
                      <a:pt x="195" y="17"/>
                      <a:pt x="194" y="17"/>
                    </a:cubicBezTo>
                    <a:cubicBezTo>
                      <a:pt x="193" y="17"/>
                      <a:pt x="191" y="17"/>
                      <a:pt x="190" y="17"/>
                    </a:cubicBezTo>
                    <a:cubicBezTo>
                      <a:pt x="189" y="17"/>
                      <a:pt x="189" y="17"/>
                      <a:pt x="188" y="17"/>
                    </a:cubicBezTo>
                    <a:cubicBezTo>
                      <a:pt x="186" y="16"/>
                      <a:pt x="184" y="16"/>
                      <a:pt x="182" y="15"/>
                    </a:cubicBezTo>
                    <a:cubicBezTo>
                      <a:pt x="181" y="15"/>
                      <a:pt x="180" y="15"/>
                      <a:pt x="179" y="13"/>
                    </a:cubicBezTo>
                    <a:cubicBezTo>
                      <a:pt x="178" y="13"/>
                      <a:pt x="178" y="13"/>
                      <a:pt x="178" y="12"/>
                    </a:cubicBezTo>
                    <a:cubicBezTo>
                      <a:pt x="177" y="12"/>
                      <a:pt x="175" y="11"/>
                      <a:pt x="174" y="10"/>
                    </a:cubicBezTo>
                    <a:cubicBezTo>
                      <a:pt x="173" y="10"/>
                      <a:pt x="172" y="9"/>
                      <a:pt x="171" y="8"/>
                    </a:cubicBezTo>
                    <a:cubicBezTo>
                      <a:pt x="170" y="7"/>
                      <a:pt x="171" y="7"/>
                      <a:pt x="169" y="7"/>
                    </a:cubicBezTo>
                    <a:cubicBezTo>
                      <a:pt x="168" y="7"/>
                      <a:pt x="167" y="7"/>
                      <a:pt x="166" y="8"/>
                    </a:cubicBezTo>
                    <a:cubicBezTo>
                      <a:pt x="164" y="8"/>
                      <a:pt x="163" y="9"/>
                      <a:pt x="161" y="9"/>
                    </a:cubicBezTo>
                    <a:cubicBezTo>
                      <a:pt x="159" y="9"/>
                      <a:pt x="157" y="8"/>
                      <a:pt x="155" y="7"/>
                    </a:cubicBezTo>
                    <a:cubicBezTo>
                      <a:pt x="154" y="6"/>
                      <a:pt x="154" y="5"/>
                      <a:pt x="153" y="5"/>
                    </a:cubicBezTo>
                    <a:cubicBezTo>
                      <a:pt x="152" y="4"/>
                      <a:pt x="149" y="3"/>
                      <a:pt x="147" y="2"/>
                    </a:cubicBezTo>
                    <a:cubicBezTo>
                      <a:pt x="147" y="1"/>
                      <a:pt x="146" y="1"/>
                      <a:pt x="145" y="1"/>
                    </a:cubicBezTo>
                    <a:cubicBezTo>
                      <a:pt x="145" y="1"/>
                      <a:pt x="144" y="1"/>
                      <a:pt x="143" y="1"/>
                    </a:cubicBezTo>
                    <a:cubicBezTo>
                      <a:pt x="143" y="1"/>
                      <a:pt x="142" y="0"/>
                      <a:pt x="141" y="0"/>
                    </a:cubicBezTo>
                    <a:cubicBezTo>
                      <a:pt x="141" y="0"/>
                      <a:pt x="140" y="0"/>
                      <a:pt x="139" y="0"/>
                    </a:cubicBezTo>
                    <a:cubicBezTo>
                      <a:pt x="137" y="0"/>
                      <a:pt x="134" y="0"/>
                      <a:pt x="133" y="1"/>
                    </a:cubicBezTo>
                    <a:cubicBezTo>
                      <a:pt x="131" y="3"/>
                      <a:pt x="129" y="6"/>
                      <a:pt x="129" y="8"/>
                    </a:cubicBezTo>
                    <a:cubicBezTo>
                      <a:pt x="129" y="11"/>
                      <a:pt x="129" y="14"/>
                      <a:pt x="126" y="14"/>
                    </a:cubicBezTo>
                    <a:cubicBezTo>
                      <a:pt x="124" y="14"/>
                      <a:pt x="124" y="13"/>
                      <a:pt x="123" y="12"/>
                    </a:cubicBezTo>
                    <a:cubicBezTo>
                      <a:pt x="122" y="11"/>
                      <a:pt x="123" y="9"/>
                      <a:pt x="121" y="8"/>
                    </a:cubicBezTo>
                    <a:cubicBezTo>
                      <a:pt x="120" y="8"/>
                      <a:pt x="119" y="10"/>
                      <a:pt x="118" y="11"/>
                    </a:cubicBezTo>
                    <a:cubicBezTo>
                      <a:pt x="118" y="12"/>
                      <a:pt x="118" y="12"/>
                      <a:pt x="118" y="13"/>
                    </a:cubicBezTo>
                    <a:cubicBezTo>
                      <a:pt x="118" y="15"/>
                      <a:pt x="117" y="15"/>
                      <a:pt x="116" y="15"/>
                    </a:cubicBezTo>
                    <a:cubicBezTo>
                      <a:pt x="114" y="16"/>
                      <a:pt x="113" y="18"/>
                      <a:pt x="110" y="18"/>
                    </a:cubicBezTo>
                    <a:cubicBezTo>
                      <a:pt x="110" y="18"/>
                      <a:pt x="109" y="17"/>
                      <a:pt x="108" y="17"/>
                    </a:cubicBezTo>
                    <a:cubicBezTo>
                      <a:pt x="107" y="17"/>
                      <a:pt x="105" y="17"/>
                      <a:pt x="104" y="18"/>
                    </a:cubicBezTo>
                    <a:cubicBezTo>
                      <a:pt x="102" y="19"/>
                      <a:pt x="100" y="19"/>
                      <a:pt x="97" y="18"/>
                    </a:cubicBezTo>
                    <a:cubicBezTo>
                      <a:pt x="96" y="18"/>
                      <a:pt x="95" y="18"/>
                      <a:pt x="94" y="17"/>
                    </a:cubicBezTo>
                    <a:cubicBezTo>
                      <a:pt x="94" y="17"/>
                      <a:pt x="94" y="17"/>
                      <a:pt x="93" y="17"/>
                    </a:cubicBezTo>
                    <a:cubicBezTo>
                      <a:pt x="93" y="16"/>
                      <a:pt x="93" y="16"/>
                      <a:pt x="92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2" y="17"/>
                      <a:pt x="93" y="19"/>
                      <a:pt x="90" y="21"/>
                    </a:cubicBezTo>
                    <a:cubicBezTo>
                      <a:pt x="87" y="23"/>
                      <a:pt x="83" y="25"/>
                      <a:pt x="80" y="26"/>
                    </a:cubicBezTo>
                    <a:cubicBezTo>
                      <a:pt x="78" y="27"/>
                      <a:pt x="77" y="27"/>
                      <a:pt x="75" y="27"/>
                    </a:cubicBezTo>
                    <a:cubicBezTo>
                      <a:pt x="69" y="27"/>
                      <a:pt x="64" y="30"/>
                      <a:pt x="58" y="29"/>
                    </a:cubicBezTo>
                    <a:cubicBezTo>
                      <a:pt x="56" y="28"/>
                      <a:pt x="54" y="27"/>
                      <a:pt x="51" y="27"/>
                    </a:cubicBezTo>
                    <a:cubicBezTo>
                      <a:pt x="40" y="28"/>
                      <a:pt x="58" y="37"/>
                      <a:pt x="52" y="42"/>
                    </a:cubicBezTo>
                    <a:cubicBezTo>
                      <a:pt x="50" y="44"/>
                      <a:pt x="49" y="43"/>
                      <a:pt x="47" y="44"/>
                    </a:cubicBezTo>
                    <a:cubicBezTo>
                      <a:pt x="47" y="45"/>
                      <a:pt x="46" y="47"/>
                      <a:pt x="46" y="47"/>
                    </a:cubicBezTo>
                    <a:cubicBezTo>
                      <a:pt x="44" y="51"/>
                      <a:pt x="42" y="53"/>
                      <a:pt x="39" y="56"/>
                    </a:cubicBezTo>
                    <a:cubicBezTo>
                      <a:pt x="34" y="62"/>
                      <a:pt x="30" y="69"/>
                      <a:pt x="23" y="74"/>
                    </a:cubicBezTo>
                    <a:cubicBezTo>
                      <a:pt x="22" y="75"/>
                      <a:pt x="20" y="76"/>
                      <a:pt x="19" y="78"/>
                    </a:cubicBezTo>
                    <a:cubicBezTo>
                      <a:pt x="17" y="80"/>
                      <a:pt x="17" y="82"/>
                      <a:pt x="15" y="83"/>
                    </a:cubicBezTo>
                    <a:cubicBezTo>
                      <a:pt x="13" y="86"/>
                      <a:pt x="11" y="88"/>
                      <a:pt x="8" y="90"/>
                    </a:cubicBezTo>
                    <a:cubicBezTo>
                      <a:pt x="6" y="93"/>
                      <a:pt x="6" y="95"/>
                      <a:pt x="6" y="98"/>
                    </a:cubicBezTo>
                    <a:cubicBezTo>
                      <a:pt x="6" y="100"/>
                      <a:pt x="7" y="104"/>
                      <a:pt x="6" y="105"/>
                    </a:cubicBezTo>
                    <a:cubicBezTo>
                      <a:pt x="5" y="107"/>
                      <a:pt x="3" y="106"/>
                      <a:pt x="2" y="108"/>
                    </a:cubicBezTo>
                    <a:cubicBezTo>
                      <a:pt x="0" y="111"/>
                      <a:pt x="3" y="117"/>
                      <a:pt x="5" y="118"/>
                    </a:cubicBezTo>
                    <a:cubicBezTo>
                      <a:pt x="8" y="119"/>
                      <a:pt x="11" y="118"/>
                      <a:pt x="13" y="117"/>
                    </a:cubicBezTo>
                    <a:cubicBezTo>
                      <a:pt x="18" y="115"/>
                      <a:pt x="22" y="112"/>
                      <a:pt x="27" y="112"/>
                    </a:cubicBezTo>
                    <a:cubicBezTo>
                      <a:pt x="31" y="112"/>
                      <a:pt x="35" y="115"/>
                      <a:pt x="38" y="117"/>
                    </a:cubicBezTo>
                    <a:cubicBezTo>
                      <a:pt x="38" y="117"/>
                      <a:pt x="40" y="118"/>
                      <a:pt x="41" y="118"/>
                    </a:cubicBezTo>
                    <a:cubicBezTo>
                      <a:pt x="42" y="118"/>
                      <a:pt x="43" y="119"/>
                      <a:pt x="44" y="119"/>
                    </a:cubicBezTo>
                    <a:cubicBezTo>
                      <a:pt x="45" y="121"/>
                      <a:pt x="44" y="123"/>
                      <a:pt x="45" y="125"/>
                    </a:cubicBezTo>
                    <a:cubicBezTo>
                      <a:pt x="45" y="125"/>
                      <a:pt x="46" y="126"/>
                      <a:pt x="46" y="126"/>
                    </a:cubicBezTo>
                    <a:cubicBezTo>
                      <a:pt x="46" y="127"/>
                      <a:pt x="46" y="129"/>
                      <a:pt x="46" y="130"/>
                    </a:cubicBezTo>
                    <a:cubicBezTo>
                      <a:pt x="46" y="132"/>
                      <a:pt x="46" y="134"/>
                      <a:pt x="47" y="136"/>
                    </a:cubicBezTo>
                    <a:cubicBezTo>
                      <a:pt x="47" y="137"/>
                      <a:pt x="48" y="138"/>
                      <a:pt x="49" y="139"/>
                    </a:cubicBezTo>
                    <a:cubicBezTo>
                      <a:pt x="49" y="140"/>
                      <a:pt x="50" y="141"/>
                      <a:pt x="50" y="141"/>
                    </a:cubicBezTo>
                    <a:cubicBezTo>
                      <a:pt x="51" y="143"/>
                      <a:pt x="51" y="143"/>
                      <a:pt x="52" y="144"/>
                    </a:cubicBezTo>
                    <a:cubicBezTo>
                      <a:pt x="52" y="145"/>
                      <a:pt x="53" y="145"/>
                      <a:pt x="53" y="147"/>
                    </a:cubicBezTo>
                    <a:cubicBezTo>
                      <a:pt x="53" y="147"/>
                      <a:pt x="53" y="149"/>
                      <a:pt x="53" y="150"/>
                    </a:cubicBezTo>
                    <a:cubicBezTo>
                      <a:pt x="53" y="151"/>
                      <a:pt x="51" y="152"/>
                      <a:pt x="51" y="153"/>
                    </a:cubicBezTo>
                    <a:cubicBezTo>
                      <a:pt x="53" y="154"/>
                      <a:pt x="55" y="153"/>
                      <a:pt x="57" y="153"/>
                    </a:cubicBezTo>
                    <a:cubicBezTo>
                      <a:pt x="58" y="153"/>
                      <a:pt x="59" y="154"/>
                      <a:pt x="60" y="154"/>
                    </a:cubicBezTo>
                    <a:cubicBezTo>
                      <a:pt x="61" y="154"/>
                      <a:pt x="62" y="154"/>
                      <a:pt x="63" y="153"/>
                    </a:cubicBezTo>
                    <a:cubicBezTo>
                      <a:pt x="63" y="153"/>
                      <a:pt x="65" y="153"/>
                      <a:pt x="66" y="153"/>
                    </a:cubicBezTo>
                    <a:cubicBezTo>
                      <a:pt x="67" y="152"/>
                      <a:pt x="67" y="151"/>
                      <a:pt x="68" y="151"/>
                    </a:cubicBezTo>
                    <a:cubicBezTo>
                      <a:pt x="71" y="150"/>
                      <a:pt x="74" y="150"/>
                      <a:pt x="77" y="149"/>
                    </a:cubicBezTo>
                    <a:cubicBezTo>
                      <a:pt x="79" y="149"/>
                      <a:pt x="80" y="148"/>
                      <a:pt x="81" y="147"/>
                    </a:cubicBezTo>
                    <a:cubicBezTo>
                      <a:pt x="82" y="145"/>
                      <a:pt x="82" y="144"/>
                      <a:pt x="84" y="143"/>
                    </a:cubicBezTo>
                    <a:cubicBezTo>
                      <a:pt x="85" y="143"/>
                      <a:pt x="86" y="144"/>
                      <a:pt x="88" y="145"/>
                    </a:cubicBezTo>
                    <a:cubicBezTo>
                      <a:pt x="91" y="146"/>
                      <a:pt x="95" y="149"/>
                      <a:pt x="99" y="147"/>
                    </a:cubicBezTo>
                    <a:cubicBezTo>
                      <a:pt x="100" y="146"/>
                      <a:pt x="100" y="145"/>
                      <a:pt x="102" y="144"/>
                    </a:cubicBezTo>
                    <a:cubicBezTo>
                      <a:pt x="103" y="143"/>
                      <a:pt x="105" y="142"/>
                      <a:pt x="105" y="140"/>
                    </a:cubicBezTo>
                    <a:cubicBezTo>
                      <a:pt x="106" y="139"/>
                      <a:pt x="106" y="136"/>
                      <a:pt x="108" y="135"/>
                    </a:cubicBezTo>
                    <a:cubicBezTo>
                      <a:pt x="109" y="135"/>
                      <a:pt x="110" y="135"/>
                      <a:pt x="110" y="135"/>
                    </a:cubicBezTo>
                    <a:cubicBezTo>
                      <a:pt x="110" y="135"/>
                      <a:pt x="111" y="134"/>
                      <a:pt x="111" y="134"/>
                    </a:cubicBezTo>
                    <a:cubicBezTo>
                      <a:pt x="113" y="133"/>
                      <a:pt x="113" y="133"/>
                      <a:pt x="113" y="132"/>
                    </a:cubicBezTo>
                    <a:cubicBezTo>
                      <a:pt x="113" y="131"/>
                      <a:pt x="113" y="130"/>
                      <a:pt x="113" y="129"/>
                    </a:cubicBezTo>
                    <a:cubicBezTo>
                      <a:pt x="112" y="127"/>
                      <a:pt x="111" y="128"/>
                      <a:pt x="110" y="127"/>
                    </a:cubicBezTo>
                    <a:cubicBezTo>
                      <a:pt x="109" y="125"/>
                      <a:pt x="109" y="123"/>
                      <a:pt x="111" y="122"/>
                    </a:cubicBezTo>
                    <a:cubicBezTo>
                      <a:pt x="113" y="120"/>
                      <a:pt x="115" y="120"/>
                      <a:pt x="117" y="119"/>
                    </a:cubicBezTo>
                    <a:cubicBezTo>
                      <a:pt x="118" y="118"/>
                      <a:pt x="119" y="116"/>
                      <a:pt x="119" y="114"/>
                    </a:cubicBezTo>
                    <a:cubicBezTo>
                      <a:pt x="120" y="112"/>
                      <a:pt x="120" y="109"/>
                      <a:pt x="123" y="110"/>
                    </a:cubicBezTo>
                    <a:cubicBezTo>
                      <a:pt x="125" y="111"/>
                      <a:pt x="127" y="113"/>
                      <a:pt x="127" y="115"/>
                    </a:cubicBezTo>
                    <a:cubicBezTo>
                      <a:pt x="127" y="116"/>
                      <a:pt x="127" y="117"/>
                      <a:pt x="127" y="118"/>
                    </a:cubicBezTo>
                    <a:cubicBezTo>
                      <a:pt x="127" y="118"/>
                      <a:pt x="127" y="120"/>
                      <a:pt x="127" y="120"/>
                    </a:cubicBezTo>
                    <a:cubicBezTo>
                      <a:pt x="127" y="121"/>
                      <a:pt x="128" y="121"/>
                      <a:pt x="128" y="122"/>
                    </a:cubicBezTo>
                    <a:cubicBezTo>
                      <a:pt x="129" y="123"/>
                      <a:pt x="130" y="124"/>
                      <a:pt x="131" y="125"/>
                    </a:cubicBezTo>
                    <a:cubicBezTo>
                      <a:pt x="132" y="126"/>
                      <a:pt x="133" y="128"/>
                      <a:pt x="134" y="130"/>
                    </a:cubicBezTo>
                    <a:cubicBezTo>
                      <a:pt x="135" y="132"/>
                      <a:pt x="136" y="133"/>
                      <a:pt x="138" y="133"/>
                    </a:cubicBezTo>
                    <a:cubicBezTo>
                      <a:pt x="139" y="134"/>
                      <a:pt x="140" y="134"/>
                      <a:pt x="141" y="134"/>
                    </a:cubicBezTo>
                    <a:cubicBezTo>
                      <a:pt x="142" y="134"/>
                      <a:pt x="142" y="135"/>
                      <a:pt x="142" y="135"/>
                    </a:cubicBezTo>
                    <a:cubicBezTo>
                      <a:pt x="143" y="135"/>
                      <a:pt x="144" y="135"/>
                      <a:pt x="144" y="135"/>
                    </a:cubicBezTo>
                    <a:cubicBezTo>
                      <a:pt x="146" y="135"/>
                      <a:pt x="147" y="136"/>
                      <a:pt x="148" y="137"/>
                    </a:cubicBezTo>
                    <a:cubicBezTo>
                      <a:pt x="149" y="137"/>
                      <a:pt x="149" y="137"/>
                      <a:pt x="150" y="138"/>
                    </a:cubicBezTo>
                    <a:cubicBezTo>
                      <a:pt x="150" y="139"/>
                      <a:pt x="148" y="140"/>
                      <a:pt x="148" y="141"/>
                    </a:cubicBezTo>
                    <a:cubicBezTo>
                      <a:pt x="148" y="141"/>
                      <a:pt x="148" y="142"/>
                      <a:pt x="148" y="142"/>
                    </a:cubicBezTo>
                    <a:cubicBezTo>
                      <a:pt x="148" y="142"/>
                      <a:pt x="147" y="143"/>
                      <a:pt x="147" y="143"/>
                    </a:cubicBezTo>
                    <a:cubicBezTo>
                      <a:pt x="147" y="143"/>
                      <a:pt x="147" y="144"/>
                      <a:pt x="147" y="145"/>
                    </a:cubicBezTo>
                    <a:cubicBezTo>
                      <a:pt x="149" y="145"/>
                      <a:pt x="151" y="145"/>
                      <a:pt x="152" y="147"/>
                    </a:cubicBezTo>
                    <a:cubicBezTo>
                      <a:pt x="153" y="149"/>
                      <a:pt x="153" y="152"/>
                      <a:pt x="153" y="154"/>
                    </a:cubicBezTo>
                    <a:cubicBezTo>
                      <a:pt x="154" y="156"/>
                      <a:pt x="157" y="156"/>
                      <a:pt x="158" y="156"/>
                    </a:cubicBezTo>
                    <a:cubicBezTo>
                      <a:pt x="161" y="157"/>
                      <a:pt x="162" y="156"/>
                      <a:pt x="163" y="153"/>
                    </a:cubicBezTo>
                    <a:cubicBezTo>
                      <a:pt x="163" y="152"/>
                      <a:pt x="164" y="151"/>
                      <a:pt x="162" y="150"/>
                    </a:cubicBezTo>
                    <a:cubicBezTo>
                      <a:pt x="162" y="149"/>
                      <a:pt x="161" y="149"/>
                      <a:pt x="160" y="148"/>
                    </a:cubicBezTo>
                    <a:cubicBezTo>
                      <a:pt x="160" y="148"/>
                      <a:pt x="158" y="148"/>
                      <a:pt x="157" y="147"/>
                    </a:cubicBezTo>
                    <a:cubicBezTo>
                      <a:pt x="157" y="147"/>
                      <a:pt x="157" y="144"/>
                      <a:pt x="157" y="143"/>
                    </a:cubicBezTo>
                    <a:cubicBezTo>
                      <a:pt x="158" y="143"/>
                      <a:pt x="159" y="142"/>
                      <a:pt x="159" y="141"/>
                    </a:cubicBezTo>
                    <a:cubicBezTo>
                      <a:pt x="160" y="140"/>
                      <a:pt x="160" y="140"/>
                      <a:pt x="160" y="139"/>
                    </a:cubicBezTo>
                    <a:cubicBezTo>
                      <a:pt x="161" y="137"/>
                      <a:pt x="163" y="136"/>
                      <a:pt x="163" y="134"/>
                    </a:cubicBezTo>
                    <a:cubicBezTo>
                      <a:pt x="164" y="132"/>
                      <a:pt x="164" y="130"/>
                      <a:pt x="166" y="129"/>
                    </a:cubicBezTo>
                    <a:cubicBezTo>
                      <a:pt x="168" y="128"/>
                      <a:pt x="169" y="127"/>
                      <a:pt x="171" y="126"/>
                    </a:cubicBezTo>
                    <a:cubicBezTo>
                      <a:pt x="171" y="125"/>
                      <a:pt x="171" y="125"/>
                      <a:pt x="172" y="124"/>
                    </a:cubicBezTo>
                    <a:cubicBezTo>
                      <a:pt x="173" y="123"/>
                      <a:pt x="174" y="122"/>
                      <a:pt x="174" y="121"/>
                    </a:cubicBezTo>
                    <a:cubicBezTo>
                      <a:pt x="175" y="120"/>
                      <a:pt x="175" y="118"/>
                      <a:pt x="175" y="117"/>
                    </a:cubicBezTo>
                    <a:cubicBezTo>
                      <a:pt x="174" y="116"/>
                      <a:pt x="174" y="115"/>
                      <a:pt x="173" y="114"/>
                    </a:cubicBezTo>
                    <a:cubicBezTo>
                      <a:pt x="172" y="113"/>
                      <a:pt x="171" y="110"/>
                      <a:pt x="172" y="108"/>
                    </a:cubicBezTo>
                    <a:cubicBezTo>
                      <a:pt x="172" y="108"/>
                      <a:pt x="173" y="107"/>
                      <a:pt x="173" y="106"/>
                    </a:cubicBezTo>
                    <a:cubicBezTo>
                      <a:pt x="174" y="106"/>
                      <a:pt x="175" y="105"/>
                      <a:pt x="175" y="105"/>
                    </a:cubicBezTo>
                    <a:cubicBezTo>
                      <a:pt x="176" y="104"/>
                      <a:pt x="180" y="104"/>
                      <a:pt x="181" y="105"/>
                    </a:cubicBezTo>
                    <a:cubicBezTo>
                      <a:pt x="181" y="105"/>
                      <a:pt x="183" y="107"/>
                      <a:pt x="183" y="107"/>
                    </a:cubicBezTo>
                    <a:cubicBezTo>
                      <a:pt x="184" y="109"/>
                      <a:pt x="184" y="110"/>
                      <a:pt x="185" y="111"/>
                    </a:cubicBezTo>
                    <a:cubicBezTo>
                      <a:pt x="185" y="112"/>
                      <a:pt x="185" y="114"/>
                      <a:pt x="185" y="115"/>
                    </a:cubicBezTo>
                    <a:cubicBezTo>
                      <a:pt x="186" y="117"/>
                      <a:pt x="187" y="117"/>
                      <a:pt x="189" y="117"/>
                    </a:cubicBezTo>
                    <a:cubicBezTo>
                      <a:pt x="190" y="118"/>
                      <a:pt x="192" y="119"/>
                      <a:pt x="194" y="119"/>
                    </a:cubicBezTo>
                    <a:cubicBezTo>
                      <a:pt x="195" y="118"/>
                      <a:pt x="195" y="118"/>
                      <a:pt x="196" y="118"/>
                    </a:cubicBezTo>
                    <a:cubicBezTo>
                      <a:pt x="197" y="118"/>
                      <a:pt x="198" y="118"/>
                      <a:pt x="198" y="118"/>
                    </a:cubicBezTo>
                    <a:cubicBezTo>
                      <a:pt x="199" y="117"/>
                      <a:pt x="199" y="116"/>
                      <a:pt x="200" y="116"/>
                    </a:cubicBezTo>
                    <a:cubicBezTo>
                      <a:pt x="201" y="115"/>
                      <a:pt x="202" y="115"/>
                      <a:pt x="203" y="115"/>
                    </a:cubicBezTo>
                    <a:cubicBezTo>
                      <a:pt x="205" y="115"/>
                      <a:pt x="207" y="115"/>
                      <a:pt x="209" y="115"/>
                    </a:cubicBezTo>
                    <a:cubicBezTo>
                      <a:pt x="210" y="115"/>
                      <a:pt x="212" y="114"/>
                      <a:pt x="213" y="115"/>
                    </a:cubicBezTo>
                    <a:cubicBezTo>
                      <a:pt x="214" y="115"/>
                      <a:pt x="214" y="118"/>
                      <a:pt x="214" y="118"/>
                    </a:cubicBezTo>
                    <a:cubicBezTo>
                      <a:pt x="215" y="119"/>
                      <a:pt x="215" y="120"/>
                      <a:pt x="216" y="121"/>
                    </a:cubicBezTo>
                    <a:cubicBezTo>
                      <a:pt x="218" y="122"/>
                      <a:pt x="220" y="123"/>
                      <a:pt x="223" y="123"/>
                    </a:cubicBezTo>
                    <a:cubicBezTo>
                      <a:pt x="223" y="121"/>
                      <a:pt x="222" y="120"/>
                      <a:pt x="221" y="118"/>
                    </a:cubicBezTo>
                    <a:cubicBezTo>
                      <a:pt x="221" y="117"/>
                      <a:pt x="220" y="117"/>
                      <a:pt x="220" y="116"/>
                    </a:cubicBezTo>
                    <a:cubicBezTo>
                      <a:pt x="221" y="115"/>
                      <a:pt x="221" y="115"/>
                      <a:pt x="222" y="114"/>
                    </a:cubicBezTo>
                    <a:cubicBezTo>
                      <a:pt x="222" y="113"/>
                      <a:pt x="224" y="110"/>
                      <a:pt x="222" y="109"/>
                    </a:cubicBezTo>
                    <a:cubicBezTo>
                      <a:pt x="221" y="108"/>
                      <a:pt x="219" y="109"/>
                      <a:pt x="217" y="109"/>
                    </a:cubicBezTo>
                    <a:cubicBezTo>
                      <a:pt x="217" y="107"/>
                      <a:pt x="217" y="105"/>
                      <a:pt x="217" y="104"/>
                    </a:cubicBezTo>
                    <a:cubicBezTo>
                      <a:pt x="217" y="102"/>
                      <a:pt x="217" y="101"/>
                      <a:pt x="218" y="99"/>
                    </a:cubicBezTo>
                    <a:cubicBezTo>
                      <a:pt x="218" y="98"/>
                      <a:pt x="219" y="97"/>
                      <a:pt x="220" y="97"/>
                    </a:cubicBezTo>
                    <a:cubicBezTo>
                      <a:pt x="222" y="96"/>
                      <a:pt x="223" y="96"/>
                      <a:pt x="224" y="95"/>
                    </a:cubicBezTo>
                    <a:cubicBezTo>
                      <a:pt x="225" y="95"/>
                      <a:pt x="225" y="94"/>
                      <a:pt x="226" y="94"/>
                    </a:cubicBezTo>
                    <a:cubicBezTo>
                      <a:pt x="229" y="94"/>
                      <a:pt x="229" y="97"/>
                      <a:pt x="231" y="98"/>
                    </a:cubicBezTo>
                    <a:cubicBezTo>
                      <a:pt x="232" y="99"/>
                      <a:pt x="234" y="99"/>
                      <a:pt x="236" y="98"/>
                    </a:cubicBezTo>
                    <a:cubicBezTo>
                      <a:pt x="237" y="98"/>
                      <a:pt x="239" y="97"/>
                      <a:pt x="240" y="97"/>
                    </a:cubicBezTo>
                    <a:cubicBezTo>
                      <a:pt x="240" y="96"/>
                      <a:pt x="241" y="93"/>
                      <a:pt x="241" y="93"/>
                    </a:cubicBezTo>
                    <a:cubicBezTo>
                      <a:pt x="240" y="92"/>
                      <a:pt x="239" y="92"/>
                      <a:pt x="239" y="92"/>
                    </a:cubicBezTo>
                    <a:cubicBezTo>
                      <a:pt x="238" y="92"/>
                      <a:pt x="238" y="91"/>
                      <a:pt x="238" y="91"/>
                    </a:cubicBezTo>
                    <a:cubicBezTo>
                      <a:pt x="237" y="90"/>
                      <a:pt x="236" y="90"/>
                      <a:pt x="236" y="89"/>
                    </a:cubicBezTo>
                    <a:cubicBezTo>
                      <a:pt x="235" y="85"/>
                      <a:pt x="237" y="84"/>
                      <a:pt x="239" y="82"/>
                    </a:cubicBezTo>
                    <a:cubicBezTo>
                      <a:pt x="240" y="80"/>
                      <a:pt x="240" y="78"/>
                      <a:pt x="241" y="77"/>
                    </a:cubicBezTo>
                    <a:cubicBezTo>
                      <a:pt x="242" y="74"/>
                      <a:pt x="241" y="73"/>
                      <a:pt x="240" y="7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496" name="Line 12">
                <a:extLst>
                  <a:ext uri="{FF2B5EF4-FFF2-40B4-BE49-F238E27FC236}">
                    <a16:creationId xmlns:a16="http://schemas.microsoft.com/office/drawing/2014/main" id="{099266D1-5BFF-4332-A007-E62EDF843D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22738" y="4822825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497" name="Line 13">
                <a:extLst>
                  <a:ext uri="{FF2B5EF4-FFF2-40B4-BE49-F238E27FC236}">
                    <a16:creationId xmlns:a16="http://schemas.microsoft.com/office/drawing/2014/main" id="{2DFDDC32-98E1-4E6A-9F04-5C5EA4AF84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22738" y="4822825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498" name="Freeform 14">
                <a:extLst>
                  <a:ext uri="{FF2B5EF4-FFF2-40B4-BE49-F238E27FC236}">
                    <a16:creationId xmlns:a16="http://schemas.microsoft.com/office/drawing/2014/main" id="{6C416D23-083E-4932-AC0F-ACDDDE1508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3725" y="4695825"/>
                <a:ext cx="779463" cy="398463"/>
              </a:xfrm>
              <a:custGeom>
                <a:avLst/>
                <a:gdLst/>
                <a:ahLst/>
                <a:cxnLst>
                  <a:cxn ang="0">
                    <a:pos x="412" y="70"/>
                  </a:cxn>
                  <a:cxn ang="0">
                    <a:pos x="405" y="46"/>
                  </a:cxn>
                  <a:cxn ang="0">
                    <a:pos x="411" y="26"/>
                  </a:cxn>
                  <a:cxn ang="0">
                    <a:pos x="395" y="20"/>
                  </a:cxn>
                  <a:cxn ang="0">
                    <a:pos x="370" y="21"/>
                  </a:cxn>
                  <a:cxn ang="0">
                    <a:pos x="347" y="12"/>
                  </a:cxn>
                  <a:cxn ang="0">
                    <a:pos x="321" y="1"/>
                  </a:cxn>
                  <a:cxn ang="0">
                    <a:pos x="305" y="8"/>
                  </a:cxn>
                  <a:cxn ang="0">
                    <a:pos x="294" y="24"/>
                  </a:cxn>
                  <a:cxn ang="0">
                    <a:pos x="282" y="33"/>
                  </a:cxn>
                  <a:cxn ang="0">
                    <a:pos x="266" y="35"/>
                  </a:cxn>
                  <a:cxn ang="0">
                    <a:pos x="254" y="26"/>
                  </a:cxn>
                  <a:cxn ang="0">
                    <a:pos x="245" y="21"/>
                  </a:cxn>
                  <a:cxn ang="0">
                    <a:pos x="241" y="37"/>
                  </a:cxn>
                  <a:cxn ang="0">
                    <a:pos x="224" y="43"/>
                  </a:cxn>
                  <a:cxn ang="0">
                    <a:pos x="222" y="53"/>
                  </a:cxn>
                  <a:cxn ang="0">
                    <a:pos x="191" y="65"/>
                  </a:cxn>
                  <a:cxn ang="0">
                    <a:pos x="187" y="83"/>
                  </a:cxn>
                  <a:cxn ang="0">
                    <a:pos x="196" y="93"/>
                  </a:cxn>
                  <a:cxn ang="0">
                    <a:pos x="193" y="108"/>
                  </a:cxn>
                  <a:cxn ang="0">
                    <a:pos x="192" y="124"/>
                  </a:cxn>
                  <a:cxn ang="0">
                    <a:pos x="179" y="112"/>
                  </a:cxn>
                  <a:cxn ang="0">
                    <a:pos x="151" y="111"/>
                  </a:cxn>
                  <a:cxn ang="0">
                    <a:pos x="129" y="118"/>
                  </a:cxn>
                  <a:cxn ang="0">
                    <a:pos x="108" y="132"/>
                  </a:cxn>
                  <a:cxn ang="0">
                    <a:pos x="79" y="128"/>
                  </a:cxn>
                  <a:cxn ang="0">
                    <a:pos x="56" y="138"/>
                  </a:cxn>
                  <a:cxn ang="0">
                    <a:pos x="38" y="130"/>
                  </a:cxn>
                  <a:cxn ang="0">
                    <a:pos x="14" y="124"/>
                  </a:cxn>
                  <a:cxn ang="0">
                    <a:pos x="12" y="141"/>
                  </a:cxn>
                  <a:cxn ang="0">
                    <a:pos x="5" y="154"/>
                  </a:cxn>
                  <a:cxn ang="0">
                    <a:pos x="16" y="164"/>
                  </a:cxn>
                  <a:cxn ang="0">
                    <a:pos x="30" y="173"/>
                  </a:cxn>
                  <a:cxn ang="0">
                    <a:pos x="51" y="166"/>
                  </a:cxn>
                  <a:cxn ang="0">
                    <a:pos x="70" y="178"/>
                  </a:cxn>
                  <a:cxn ang="0">
                    <a:pos x="82" y="185"/>
                  </a:cxn>
                  <a:cxn ang="0">
                    <a:pos x="95" y="168"/>
                  </a:cxn>
                  <a:cxn ang="0">
                    <a:pos x="127" y="167"/>
                  </a:cxn>
                  <a:cxn ang="0">
                    <a:pos x="147" y="165"/>
                  </a:cxn>
                  <a:cxn ang="0">
                    <a:pos x="160" y="186"/>
                  </a:cxn>
                  <a:cxn ang="0">
                    <a:pos x="197" y="198"/>
                  </a:cxn>
                  <a:cxn ang="0">
                    <a:pos x="236" y="203"/>
                  </a:cxn>
                  <a:cxn ang="0">
                    <a:pos x="254" y="208"/>
                  </a:cxn>
                  <a:cxn ang="0">
                    <a:pos x="276" y="213"/>
                  </a:cxn>
                  <a:cxn ang="0">
                    <a:pos x="289" y="200"/>
                  </a:cxn>
                  <a:cxn ang="0">
                    <a:pos x="312" y="193"/>
                  </a:cxn>
                  <a:cxn ang="0">
                    <a:pos x="330" y="187"/>
                  </a:cxn>
                  <a:cxn ang="0">
                    <a:pos x="352" y="187"/>
                  </a:cxn>
                  <a:cxn ang="0">
                    <a:pos x="368" y="166"/>
                  </a:cxn>
                  <a:cxn ang="0">
                    <a:pos x="380" y="154"/>
                  </a:cxn>
                  <a:cxn ang="0">
                    <a:pos x="381" y="141"/>
                  </a:cxn>
                  <a:cxn ang="0">
                    <a:pos x="388" y="124"/>
                  </a:cxn>
                  <a:cxn ang="0">
                    <a:pos x="383" y="112"/>
                  </a:cxn>
                  <a:cxn ang="0">
                    <a:pos x="395" y="108"/>
                  </a:cxn>
                  <a:cxn ang="0">
                    <a:pos x="410" y="96"/>
                  </a:cxn>
                </a:cxnLst>
                <a:rect l="0" t="0" r="r" b="b"/>
                <a:pathLst>
                  <a:path w="417" h="213">
                    <a:moveTo>
                      <a:pt x="416" y="79"/>
                    </a:moveTo>
                    <a:cubicBezTo>
                      <a:pt x="415" y="77"/>
                      <a:pt x="415" y="76"/>
                      <a:pt x="415" y="75"/>
                    </a:cubicBezTo>
                    <a:cubicBezTo>
                      <a:pt x="415" y="75"/>
                      <a:pt x="414" y="75"/>
                      <a:pt x="414" y="74"/>
                    </a:cubicBezTo>
                    <a:cubicBezTo>
                      <a:pt x="414" y="74"/>
                      <a:pt x="414" y="74"/>
                      <a:pt x="414" y="73"/>
                    </a:cubicBezTo>
                    <a:cubicBezTo>
                      <a:pt x="414" y="73"/>
                      <a:pt x="414" y="72"/>
                      <a:pt x="413" y="71"/>
                    </a:cubicBezTo>
                    <a:cubicBezTo>
                      <a:pt x="413" y="71"/>
                      <a:pt x="412" y="71"/>
                      <a:pt x="412" y="70"/>
                    </a:cubicBezTo>
                    <a:cubicBezTo>
                      <a:pt x="411" y="69"/>
                      <a:pt x="410" y="67"/>
                      <a:pt x="410" y="66"/>
                    </a:cubicBezTo>
                    <a:cubicBezTo>
                      <a:pt x="409" y="63"/>
                      <a:pt x="410" y="60"/>
                      <a:pt x="409" y="57"/>
                    </a:cubicBezTo>
                    <a:cubicBezTo>
                      <a:pt x="409" y="56"/>
                      <a:pt x="409" y="55"/>
                      <a:pt x="408" y="54"/>
                    </a:cubicBezTo>
                    <a:cubicBezTo>
                      <a:pt x="408" y="54"/>
                      <a:pt x="407" y="53"/>
                      <a:pt x="406" y="53"/>
                    </a:cubicBezTo>
                    <a:cubicBezTo>
                      <a:pt x="406" y="52"/>
                      <a:pt x="405" y="50"/>
                      <a:pt x="405" y="49"/>
                    </a:cubicBezTo>
                    <a:cubicBezTo>
                      <a:pt x="404" y="48"/>
                      <a:pt x="405" y="47"/>
                      <a:pt x="405" y="46"/>
                    </a:cubicBezTo>
                    <a:cubicBezTo>
                      <a:pt x="406" y="44"/>
                      <a:pt x="407" y="42"/>
                      <a:pt x="408" y="41"/>
                    </a:cubicBezTo>
                    <a:cubicBezTo>
                      <a:pt x="409" y="40"/>
                      <a:pt x="410" y="39"/>
                      <a:pt x="410" y="38"/>
                    </a:cubicBezTo>
                    <a:cubicBezTo>
                      <a:pt x="411" y="37"/>
                      <a:pt x="412" y="35"/>
                      <a:pt x="412" y="33"/>
                    </a:cubicBezTo>
                    <a:cubicBezTo>
                      <a:pt x="412" y="32"/>
                      <a:pt x="412" y="30"/>
                      <a:pt x="412" y="29"/>
                    </a:cubicBezTo>
                    <a:cubicBezTo>
                      <a:pt x="412" y="28"/>
                      <a:pt x="411" y="27"/>
                      <a:pt x="411" y="26"/>
                    </a:cubicBezTo>
                    <a:cubicBezTo>
                      <a:pt x="411" y="26"/>
                      <a:pt x="411" y="26"/>
                      <a:pt x="411" y="26"/>
                    </a:cubicBezTo>
                    <a:cubicBezTo>
                      <a:pt x="411" y="26"/>
                      <a:pt x="411" y="26"/>
                      <a:pt x="410" y="26"/>
                    </a:cubicBezTo>
                    <a:cubicBezTo>
                      <a:pt x="410" y="26"/>
                      <a:pt x="410" y="25"/>
                      <a:pt x="409" y="25"/>
                    </a:cubicBezTo>
                    <a:cubicBezTo>
                      <a:pt x="409" y="25"/>
                      <a:pt x="409" y="24"/>
                      <a:pt x="408" y="24"/>
                    </a:cubicBezTo>
                    <a:cubicBezTo>
                      <a:pt x="407" y="23"/>
                      <a:pt x="405" y="23"/>
                      <a:pt x="404" y="23"/>
                    </a:cubicBezTo>
                    <a:cubicBezTo>
                      <a:pt x="402" y="23"/>
                      <a:pt x="396" y="25"/>
                      <a:pt x="395" y="22"/>
                    </a:cubicBezTo>
                    <a:cubicBezTo>
                      <a:pt x="395" y="22"/>
                      <a:pt x="395" y="21"/>
                      <a:pt x="395" y="20"/>
                    </a:cubicBezTo>
                    <a:cubicBezTo>
                      <a:pt x="394" y="19"/>
                      <a:pt x="394" y="19"/>
                      <a:pt x="393" y="18"/>
                    </a:cubicBezTo>
                    <a:cubicBezTo>
                      <a:pt x="392" y="17"/>
                      <a:pt x="390" y="18"/>
                      <a:pt x="389" y="16"/>
                    </a:cubicBezTo>
                    <a:cubicBezTo>
                      <a:pt x="388" y="15"/>
                      <a:pt x="387" y="14"/>
                      <a:pt x="385" y="15"/>
                    </a:cubicBezTo>
                    <a:cubicBezTo>
                      <a:pt x="383" y="15"/>
                      <a:pt x="384" y="17"/>
                      <a:pt x="383" y="19"/>
                    </a:cubicBezTo>
                    <a:cubicBezTo>
                      <a:pt x="382" y="20"/>
                      <a:pt x="380" y="21"/>
                      <a:pt x="379" y="21"/>
                    </a:cubicBezTo>
                    <a:cubicBezTo>
                      <a:pt x="376" y="22"/>
                      <a:pt x="373" y="21"/>
                      <a:pt x="370" y="21"/>
                    </a:cubicBezTo>
                    <a:cubicBezTo>
                      <a:pt x="368" y="21"/>
                      <a:pt x="367" y="21"/>
                      <a:pt x="365" y="20"/>
                    </a:cubicBezTo>
                    <a:cubicBezTo>
                      <a:pt x="362" y="19"/>
                      <a:pt x="359" y="18"/>
                      <a:pt x="357" y="17"/>
                    </a:cubicBezTo>
                    <a:cubicBezTo>
                      <a:pt x="355" y="16"/>
                      <a:pt x="356" y="14"/>
                      <a:pt x="355" y="13"/>
                    </a:cubicBezTo>
                    <a:cubicBezTo>
                      <a:pt x="354" y="11"/>
                      <a:pt x="353" y="10"/>
                      <a:pt x="351" y="11"/>
                    </a:cubicBezTo>
                    <a:cubicBezTo>
                      <a:pt x="350" y="11"/>
                      <a:pt x="350" y="11"/>
                      <a:pt x="349" y="12"/>
                    </a:cubicBezTo>
                    <a:cubicBezTo>
                      <a:pt x="348" y="12"/>
                      <a:pt x="347" y="12"/>
                      <a:pt x="347" y="12"/>
                    </a:cubicBezTo>
                    <a:cubicBezTo>
                      <a:pt x="345" y="12"/>
                      <a:pt x="343" y="12"/>
                      <a:pt x="342" y="12"/>
                    </a:cubicBezTo>
                    <a:cubicBezTo>
                      <a:pt x="341" y="11"/>
                      <a:pt x="341" y="10"/>
                      <a:pt x="340" y="9"/>
                    </a:cubicBezTo>
                    <a:cubicBezTo>
                      <a:pt x="338" y="7"/>
                      <a:pt x="334" y="6"/>
                      <a:pt x="332" y="5"/>
                    </a:cubicBezTo>
                    <a:cubicBezTo>
                      <a:pt x="330" y="4"/>
                      <a:pt x="329" y="4"/>
                      <a:pt x="327" y="3"/>
                    </a:cubicBezTo>
                    <a:cubicBezTo>
                      <a:pt x="327" y="3"/>
                      <a:pt x="326" y="2"/>
                      <a:pt x="326" y="2"/>
                    </a:cubicBezTo>
                    <a:cubicBezTo>
                      <a:pt x="326" y="0"/>
                      <a:pt x="322" y="0"/>
                      <a:pt x="321" y="1"/>
                    </a:cubicBezTo>
                    <a:cubicBezTo>
                      <a:pt x="321" y="2"/>
                      <a:pt x="322" y="4"/>
                      <a:pt x="320" y="4"/>
                    </a:cubicBezTo>
                    <a:cubicBezTo>
                      <a:pt x="318" y="5"/>
                      <a:pt x="316" y="5"/>
                      <a:pt x="314" y="3"/>
                    </a:cubicBezTo>
                    <a:cubicBezTo>
                      <a:pt x="313" y="2"/>
                      <a:pt x="314" y="0"/>
                      <a:pt x="312" y="0"/>
                    </a:cubicBezTo>
                    <a:cubicBezTo>
                      <a:pt x="311" y="0"/>
                      <a:pt x="310" y="0"/>
                      <a:pt x="309" y="0"/>
                    </a:cubicBezTo>
                    <a:cubicBezTo>
                      <a:pt x="308" y="0"/>
                      <a:pt x="308" y="0"/>
                      <a:pt x="308" y="1"/>
                    </a:cubicBezTo>
                    <a:cubicBezTo>
                      <a:pt x="307" y="3"/>
                      <a:pt x="305" y="5"/>
                      <a:pt x="305" y="8"/>
                    </a:cubicBezTo>
                    <a:cubicBezTo>
                      <a:pt x="305" y="9"/>
                      <a:pt x="304" y="11"/>
                      <a:pt x="305" y="13"/>
                    </a:cubicBezTo>
                    <a:cubicBezTo>
                      <a:pt x="305" y="15"/>
                      <a:pt x="306" y="16"/>
                      <a:pt x="306" y="17"/>
                    </a:cubicBezTo>
                    <a:cubicBezTo>
                      <a:pt x="305" y="19"/>
                      <a:pt x="303" y="19"/>
                      <a:pt x="302" y="18"/>
                    </a:cubicBezTo>
                    <a:cubicBezTo>
                      <a:pt x="300" y="17"/>
                      <a:pt x="298" y="17"/>
                      <a:pt x="297" y="18"/>
                    </a:cubicBezTo>
                    <a:cubicBezTo>
                      <a:pt x="297" y="18"/>
                      <a:pt x="297" y="20"/>
                      <a:pt x="296" y="20"/>
                    </a:cubicBezTo>
                    <a:cubicBezTo>
                      <a:pt x="296" y="22"/>
                      <a:pt x="294" y="22"/>
                      <a:pt x="294" y="24"/>
                    </a:cubicBezTo>
                    <a:cubicBezTo>
                      <a:pt x="293" y="27"/>
                      <a:pt x="293" y="30"/>
                      <a:pt x="291" y="32"/>
                    </a:cubicBezTo>
                    <a:cubicBezTo>
                      <a:pt x="290" y="33"/>
                      <a:pt x="289" y="34"/>
                      <a:pt x="288" y="34"/>
                    </a:cubicBezTo>
                    <a:cubicBezTo>
                      <a:pt x="287" y="34"/>
                      <a:pt x="286" y="34"/>
                      <a:pt x="286" y="34"/>
                    </a:cubicBezTo>
                    <a:cubicBezTo>
                      <a:pt x="285" y="34"/>
                      <a:pt x="284" y="35"/>
                      <a:pt x="284" y="34"/>
                    </a:cubicBezTo>
                    <a:cubicBezTo>
                      <a:pt x="283" y="34"/>
                      <a:pt x="283" y="34"/>
                      <a:pt x="283" y="34"/>
                    </a:cubicBezTo>
                    <a:cubicBezTo>
                      <a:pt x="283" y="33"/>
                      <a:pt x="282" y="33"/>
                      <a:pt x="282" y="33"/>
                    </a:cubicBezTo>
                    <a:cubicBezTo>
                      <a:pt x="281" y="32"/>
                      <a:pt x="281" y="32"/>
                      <a:pt x="281" y="31"/>
                    </a:cubicBezTo>
                    <a:cubicBezTo>
                      <a:pt x="280" y="30"/>
                      <a:pt x="279" y="29"/>
                      <a:pt x="278" y="29"/>
                    </a:cubicBezTo>
                    <a:cubicBezTo>
                      <a:pt x="275" y="29"/>
                      <a:pt x="275" y="33"/>
                      <a:pt x="274" y="34"/>
                    </a:cubicBezTo>
                    <a:cubicBezTo>
                      <a:pt x="274" y="34"/>
                      <a:pt x="273" y="34"/>
                      <a:pt x="272" y="34"/>
                    </a:cubicBezTo>
                    <a:cubicBezTo>
                      <a:pt x="271" y="34"/>
                      <a:pt x="270" y="35"/>
                      <a:pt x="269" y="35"/>
                    </a:cubicBezTo>
                    <a:cubicBezTo>
                      <a:pt x="268" y="35"/>
                      <a:pt x="267" y="35"/>
                      <a:pt x="266" y="35"/>
                    </a:cubicBezTo>
                    <a:cubicBezTo>
                      <a:pt x="265" y="35"/>
                      <a:pt x="264" y="35"/>
                      <a:pt x="263" y="35"/>
                    </a:cubicBezTo>
                    <a:cubicBezTo>
                      <a:pt x="263" y="35"/>
                      <a:pt x="263" y="35"/>
                      <a:pt x="262" y="35"/>
                    </a:cubicBezTo>
                    <a:cubicBezTo>
                      <a:pt x="261" y="34"/>
                      <a:pt x="260" y="35"/>
                      <a:pt x="259" y="34"/>
                    </a:cubicBezTo>
                    <a:cubicBezTo>
                      <a:pt x="259" y="34"/>
                      <a:pt x="257" y="33"/>
                      <a:pt x="257" y="32"/>
                    </a:cubicBezTo>
                    <a:cubicBezTo>
                      <a:pt x="256" y="31"/>
                      <a:pt x="256" y="30"/>
                      <a:pt x="256" y="29"/>
                    </a:cubicBezTo>
                    <a:cubicBezTo>
                      <a:pt x="256" y="28"/>
                      <a:pt x="256" y="26"/>
                      <a:pt x="254" y="26"/>
                    </a:cubicBezTo>
                    <a:cubicBezTo>
                      <a:pt x="254" y="25"/>
                      <a:pt x="253" y="24"/>
                      <a:pt x="252" y="23"/>
                    </a:cubicBezTo>
                    <a:cubicBezTo>
                      <a:pt x="252" y="23"/>
                      <a:pt x="251" y="22"/>
                      <a:pt x="250" y="21"/>
                    </a:cubicBezTo>
                    <a:cubicBezTo>
                      <a:pt x="249" y="20"/>
                      <a:pt x="247" y="20"/>
                      <a:pt x="246" y="19"/>
                    </a:cubicBezTo>
                    <a:cubicBezTo>
                      <a:pt x="245" y="19"/>
                      <a:pt x="245" y="18"/>
                      <a:pt x="244" y="18"/>
                    </a:cubicBezTo>
                    <a:cubicBezTo>
                      <a:pt x="244" y="19"/>
                      <a:pt x="244" y="19"/>
                      <a:pt x="244" y="19"/>
                    </a:cubicBezTo>
                    <a:cubicBezTo>
                      <a:pt x="244" y="20"/>
                      <a:pt x="245" y="21"/>
                      <a:pt x="245" y="21"/>
                    </a:cubicBezTo>
                    <a:cubicBezTo>
                      <a:pt x="245" y="21"/>
                      <a:pt x="244" y="21"/>
                      <a:pt x="244" y="22"/>
                    </a:cubicBezTo>
                    <a:cubicBezTo>
                      <a:pt x="244" y="22"/>
                      <a:pt x="244" y="23"/>
                      <a:pt x="244" y="24"/>
                    </a:cubicBezTo>
                    <a:cubicBezTo>
                      <a:pt x="244" y="25"/>
                      <a:pt x="243" y="25"/>
                      <a:pt x="243" y="26"/>
                    </a:cubicBezTo>
                    <a:cubicBezTo>
                      <a:pt x="243" y="27"/>
                      <a:pt x="243" y="29"/>
                      <a:pt x="243" y="30"/>
                    </a:cubicBezTo>
                    <a:cubicBezTo>
                      <a:pt x="243" y="32"/>
                      <a:pt x="242" y="33"/>
                      <a:pt x="242" y="34"/>
                    </a:cubicBezTo>
                    <a:cubicBezTo>
                      <a:pt x="242" y="35"/>
                      <a:pt x="242" y="36"/>
                      <a:pt x="241" y="37"/>
                    </a:cubicBezTo>
                    <a:cubicBezTo>
                      <a:pt x="241" y="38"/>
                      <a:pt x="240" y="40"/>
                      <a:pt x="239" y="41"/>
                    </a:cubicBezTo>
                    <a:cubicBezTo>
                      <a:pt x="238" y="42"/>
                      <a:pt x="232" y="41"/>
                      <a:pt x="231" y="40"/>
                    </a:cubicBezTo>
                    <a:cubicBezTo>
                      <a:pt x="230" y="39"/>
                      <a:pt x="230" y="38"/>
                      <a:pt x="229" y="38"/>
                    </a:cubicBezTo>
                    <a:cubicBezTo>
                      <a:pt x="228" y="38"/>
                      <a:pt x="227" y="38"/>
                      <a:pt x="226" y="38"/>
                    </a:cubicBezTo>
                    <a:cubicBezTo>
                      <a:pt x="226" y="38"/>
                      <a:pt x="225" y="40"/>
                      <a:pt x="225" y="41"/>
                    </a:cubicBezTo>
                    <a:cubicBezTo>
                      <a:pt x="224" y="41"/>
                      <a:pt x="224" y="42"/>
                      <a:pt x="224" y="43"/>
                    </a:cubicBezTo>
                    <a:cubicBezTo>
                      <a:pt x="223" y="44"/>
                      <a:pt x="224" y="45"/>
                      <a:pt x="224" y="46"/>
                    </a:cubicBezTo>
                    <a:cubicBezTo>
                      <a:pt x="223" y="46"/>
                      <a:pt x="223" y="47"/>
                      <a:pt x="223" y="48"/>
                    </a:cubicBezTo>
                    <a:cubicBezTo>
                      <a:pt x="223" y="48"/>
                      <a:pt x="223" y="48"/>
                      <a:pt x="223" y="47"/>
                    </a:cubicBezTo>
                    <a:cubicBezTo>
                      <a:pt x="223" y="48"/>
                      <a:pt x="223" y="49"/>
                      <a:pt x="223" y="50"/>
                    </a:cubicBezTo>
                    <a:cubicBezTo>
                      <a:pt x="222" y="50"/>
                      <a:pt x="222" y="51"/>
                      <a:pt x="222" y="52"/>
                    </a:cubicBezTo>
                    <a:cubicBezTo>
                      <a:pt x="222" y="52"/>
                      <a:pt x="222" y="53"/>
                      <a:pt x="222" y="53"/>
                    </a:cubicBezTo>
                    <a:cubicBezTo>
                      <a:pt x="222" y="54"/>
                      <a:pt x="222" y="54"/>
                      <a:pt x="221" y="55"/>
                    </a:cubicBezTo>
                    <a:cubicBezTo>
                      <a:pt x="221" y="56"/>
                      <a:pt x="220" y="56"/>
                      <a:pt x="219" y="57"/>
                    </a:cubicBezTo>
                    <a:cubicBezTo>
                      <a:pt x="216" y="59"/>
                      <a:pt x="212" y="59"/>
                      <a:pt x="208" y="59"/>
                    </a:cubicBezTo>
                    <a:cubicBezTo>
                      <a:pt x="206" y="59"/>
                      <a:pt x="204" y="60"/>
                      <a:pt x="202" y="61"/>
                    </a:cubicBezTo>
                    <a:cubicBezTo>
                      <a:pt x="200" y="62"/>
                      <a:pt x="198" y="63"/>
                      <a:pt x="196" y="63"/>
                    </a:cubicBezTo>
                    <a:cubicBezTo>
                      <a:pt x="194" y="63"/>
                      <a:pt x="192" y="64"/>
                      <a:pt x="191" y="65"/>
                    </a:cubicBezTo>
                    <a:cubicBezTo>
                      <a:pt x="190" y="66"/>
                      <a:pt x="189" y="67"/>
                      <a:pt x="189" y="67"/>
                    </a:cubicBezTo>
                    <a:cubicBezTo>
                      <a:pt x="188" y="68"/>
                      <a:pt x="187" y="68"/>
                      <a:pt x="186" y="68"/>
                    </a:cubicBezTo>
                    <a:cubicBezTo>
                      <a:pt x="185" y="69"/>
                      <a:pt x="186" y="70"/>
                      <a:pt x="186" y="71"/>
                    </a:cubicBezTo>
                    <a:cubicBezTo>
                      <a:pt x="186" y="72"/>
                      <a:pt x="186" y="73"/>
                      <a:pt x="186" y="74"/>
                    </a:cubicBezTo>
                    <a:cubicBezTo>
                      <a:pt x="186" y="74"/>
                      <a:pt x="186" y="74"/>
                      <a:pt x="187" y="75"/>
                    </a:cubicBezTo>
                    <a:cubicBezTo>
                      <a:pt x="187" y="77"/>
                      <a:pt x="187" y="80"/>
                      <a:pt x="187" y="83"/>
                    </a:cubicBezTo>
                    <a:cubicBezTo>
                      <a:pt x="187" y="84"/>
                      <a:pt x="188" y="85"/>
                      <a:pt x="188" y="85"/>
                    </a:cubicBezTo>
                    <a:cubicBezTo>
                      <a:pt x="189" y="86"/>
                      <a:pt x="189" y="86"/>
                      <a:pt x="189" y="86"/>
                    </a:cubicBezTo>
                    <a:cubicBezTo>
                      <a:pt x="190" y="87"/>
                      <a:pt x="190" y="88"/>
                      <a:pt x="190" y="88"/>
                    </a:cubicBezTo>
                    <a:cubicBezTo>
                      <a:pt x="190" y="88"/>
                      <a:pt x="191" y="88"/>
                      <a:pt x="192" y="89"/>
                    </a:cubicBezTo>
                    <a:cubicBezTo>
                      <a:pt x="192" y="89"/>
                      <a:pt x="193" y="90"/>
                      <a:pt x="193" y="90"/>
                    </a:cubicBezTo>
                    <a:cubicBezTo>
                      <a:pt x="194" y="91"/>
                      <a:pt x="195" y="92"/>
                      <a:pt x="196" y="93"/>
                    </a:cubicBezTo>
                    <a:cubicBezTo>
                      <a:pt x="197" y="94"/>
                      <a:pt x="196" y="96"/>
                      <a:pt x="196" y="98"/>
                    </a:cubicBezTo>
                    <a:cubicBezTo>
                      <a:pt x="195" y="99"/>
                      <a:pt x="195" y="100"/>
                      <a:pt x="194" y="100"/>
                    </a:cubicBezTo>
                    <a:cubicBezTo>
                      <a:pt x="193" y="101"/>
                      <a:pt x="192" y="101"/>
                      <a:pt x="192" y="102"/>
                    </a:cubicBezTo>
                    <a:cubicBezTo>
                      <a:pt x="192" y="103"/>
                      <a:pt x="191" y="104"/>
                      <a:pt x="191" y="105"/>
                    </a:cubicBezTo>
                    <a:cubicBezTo>
                      <a:pt x="191" y="105"/>
                      <a:pt x="192" y="105"/>
                      <a:pt x="192" y="106"/>
                    </a:cubicBezTo>
                    <a:cubicBezTo>
                      <a:pt x="192" y="107"/>
                      <a:pt x="192" y="107"/>
                      <a:pt x="193" y="108"/>
                    </a:cubicBezTo>
                    <a:cubicBezTo>
                      <a:pt x="195" y="110"/>
                      <a:pt x="197" y="110"/>
                      <a:pt x="199" y="111"/>
                    </a:cubicBezTo>
                    <a:cubicBezTo>
                      <a:pt x="202" y="112"/>
                      <a:pt x="200" y="115"/>
                      <a:pt x="199" y="116"/>
                    </a:cubicBezTo>
                    <a:cubicBezTo>
                      <a:pt x="199" y="117"/>
                      <a:pt x="199" y="118"/>
                      <a:pt x="199" y="119"/>
                    </a:cubicBezTo>
                    <a:cubicBezTo>
                      <a:pt x="199" y="120"/>
                      <a:pt x="199" y="121"/>
                      <a:pt x="198" y="122"/>
                    </a:cubicBezTo>
                    <a:cubicBezTo>
                      <a:pt x="197" y="123"/>
                      <a:pt x="197" y="123"/>
                      <a:pt x="196" y="124"/>
                    </a:cubicBezTo>
                    <a:cubicBezTo>
                      <a:pt x="195" y="124"/>
                      <a:pt x="193" y="124"/>
                      <a:pt x="192" y="124"/>
                    </a:cubicBezTo>
                    <a:cubicBezTo>
                      <a:pt x="191" y="124"/>
                      <a:pt x="191" y="123"/>
                      <a:pt x="190" y="123"/>
                    </a:cubicBezTo>
                    <a:cubicBezTo>
                      <a:pt x="189" y="123"/>
                      <a:pt x="187" y="124"/>
                      <a:pt x="186" y="122"/>
                    </a:cubicBezTo>
                    <a:cubicBezTo>
                      <a:pt x="186" y="122"/>
                      <a:pt x="186" y="121"/>
                      <a:pt x="186" y="121"/>
                    </a:cubicBezTo>
                    <a:cubicBezTo>
                      <a:pt x="186" y="120"/>
                      <a:pt x="185" y="118"/>
                      <a:pt x="184" y="117"/>
                    </a:cubicBezTo>
                    <a:cubicBezTo>
                      <a:pt x="183" y="116"/>
                      <a:pt x="182" y="114"/>
                      <a:pt x="181" y="113"/>
                    </a:cubicBezTo>
                    <a:cubicBezTo>
                      <a:pt x="180" y="113"/>
                      <a:pt x="181" y="113"/>
                      <a:pt x="179" y="112"/>
                    </a:cubicBezTo>
                    <a:cubicBezTo>
                      <a:pt x="177" y="112"/>
                      <a:pt x="175" y="114"/>
                      <a:pt x="172" y="114"/>
                    </a:cubicBezTo>
                    <a:cubicBezTo>
                      <a:pt x="171" y="114"/>
                      <a:pt x="168" y="115"/>
                      <a:pt x="167" y="114"/>
                    </a:cubicBezTo>
                    <a:cubicBezTo>
                      <a:pt x="166" y="113"/>
                      <a:pt x="166" y="112"/>
                      <a:pt x="165" y="111"/>
                    </a:cubicBezTo>
                    <a:cubicBezTo>
                      <a:pt x="164" y="111"/>
                      <a:pt x="161" y="110"/>
                      <a:pt x="160" y="110"/>
                    </a:cubicBezTo>
                    <a:cubicBezTo>
                      <a:pt x="158" y="110"/>
                      <a:pt x="156" y="110"/>
                      <a:pt x="154" y="110"/>
                    </a:cubicBezTo>
                    <a:cubicBezTo>
                      <a:pt x="153" y="110"/>
                      <a:pt x="151" y="110"/>
                      <a:pt x="151" y="111"/>
                    </a:cubicBezTo>
                    <a:cubicBezTo>
                      <a:pt x="150" y="114"/>
                      <a:pt x="156" y="116"/>
                      <a:pt x="153" y="118"/>
                    </a:cubicBezTo>
                    <a:cubicBezTo>
                      <a:pt x="152" y="118"/>
                      <a:pt x="152" y="118"/>
                      <a:pt x="151" y="118"/>
                    </a:cubicBezTo>
                    <a:cubicBezTo>
                      <a:pt x="150" y="118"/>
                      <a:pt x="149" y="118"/>
                      <a:pt x="149" y="119"/>
                    </a:cubicBezTo>
                    <a:cubicBezTo>
                      <a:pt x="148" y="119"/>
                      <a:pt x="148" y="119"/>
                      <a:pt x="147" y="119"/>
                    </a:cubicBezTo>
                    <a:cubicBezTo>
                      <a:pt x="144" y="119"/>
                      <a:pt x="142" y="119"/>
                      <a:pt x="140" y="119"/>
                    </a:cubicBezTo>
                    <a:cubicBezTo>
                      <a:pt x="136" y="118"/>
                      <a:pt x="132" y="118"/>
                      <a:pt x="129" y="118"/>
                    </a:cubicBezTo>
                    <a:cubicBezTo>
                      <a:pt x="127" y="118"/>
                      <a:pt x="126" y="118"/>
                      <a:pt x="126" y="119"/>
                    </a:cubicBezTo>
                    <a:cubicBezTo>
                      <a:pt x="125" y="121"/>
                      <a:pt x="126" y="122"/>
                      <a:pt x="126" y="123"/>
                    </a:cubicBezTo>
                    <a:cubicBezTo>
                      <a:pt x="125" y="125"/>
                      <a:pt x="123" y="124"/>
                      <a:pt x="122" y="124"/>
                    </a:cubicBezTo>
                    <a:cubicBezTo>
                      <a:pt x="119" y="124"/>
                      <a:pt x="115" y="123"/>
                      <a:pt x="113" y="125"/>
                    </a:cubicBezTo>
                    <a:cubicBezTo>
                      <a:pt x="112" y="126"/>
                      <a:pt x="112" y="127"/>
                      <a:pt x="111" y="128"/>
                    </a:cubicBezTo>
                    <a:cubicBezTo>
                      <a:pt x="110" y="129"/>
                      <a:pt x="109" y="131"/>
                      <a:pt x="108" y="132"/>
                    </a:cubicBezTo>
                    <a:cubicBezTo>
                      <a:pt x="106" y="132"/>
                      <a:pt x="105" y="130"/>
                      <a:pt x="103" y="131"/>
                    </a:cubicBezTo>
                    <a:cubicBezTo>
                      <a:pt x="102" y="131"/>
                      <a:pt x="101" y="132"/>
                      <a:pt x="99" y="133"/>
                    </a:cubicBezTo>
                    <a:cubicBezTo>
                      <a:pt x="97" y="133"/>
                      <a:pt x="94" y="133"/>
                      <a:pt x="91" y="133"/>
                    </a:cubicBezTo>
                    <a:cubicBezTo>
                      <a:pt x="92" y="133"/>
                      <a:pt x="88" y="133"/>
                      <a:pt x="87" y="132"/>
                    </a:cubicBezTo>
                    <a:cubicBezTo>
                      <a:pt x="87" y="130"/>
                      <a:pt x="81" y="128"/>
                      <a:pt x="79" y="128"/>
                    </a:cubicBezTo>
                    <a:cubicBezTo>
                      <a:pt x="79" y="128"/>
                      <a:pt x="79" y="128"/>
                      <a:pt x="79" y="128"/>
                    </a:cubicBezTo>
                    <a:cubicBezTo>
                      <a:pt x="77" y="128"/>
                      <a:pt x="77" y="126"/>
                      <a:pt x="76" y="125"/>
                    </a:cubicBezTo>
                    <a:cubicBezTo>
                      <a:pt x="74" y="122"/>
                      <a:pt x="71" y="123"/>
                      <a:pt x="68" y="123"/>
                    </a:cubicBezTo>
                    <a:cubicBezTo>
                      <a:pt x="64" y="124"/>
                      <a:pt x="60" y="122"/>
                      <a:pt x="56" y="123"/>
                    </a:cubicBezTo>
                    <a:cubicBezTo>
                      <a:pt x="53" y="124"/>
                      <a:pt x="53" y="125"/>
                      <a:pt x="53" y="128"/>
                    </a:cubicBezTo>
                    <a:cubicBezTo>
                      <a:pt x="54" y="131"/>
                      <a:pt x="58" y="133"/>
                      <a:pt x="57" y="137"/>
                    </a:cubicBezTo>
                    <a:cubicBezTo>
                      <a:pt x="57" y="137"/>
                      <a:pt x="57" y="138"/>
                      <a:pt x="56" y="138"/>
                    </a:cubicBezTo>
                    <a:cubicBezTo>
                      <a:pt x="56" y="139"/>
                      <a:pt x="55" y="141"/>
                      <a:pt x="54" y="141"/>
                    </a:cubicBezTo>
                    <a:cubicBezTo>
                      <a:pt x="50" y="143"/>
                      <a:pt x="49" y="141"/>
                      <a:pt x="46" y="139"/>
                    </a:cubicBezTo>
                    <a:cubicBezTo>
                      <a:pt x="44" y="138"/>
                      <a:pt x="41" y="137"/>
                      <a:pt x="40" y="135"/>
                    </a:cubicBezTo>
                    <a:cubicBezTo>
                      <a:pt x="39" y="134"/>
                      <a:pt x="39" y="135"/>
                      <a:pt x="39" y="134"/>
                    </a:cubicBezTo>
                    <a:cubicBezTo>
                      <a:pt x="39" y="133"/>
                      <a:pt x="39" y="132"/>
                      <a:pt x="39" y="131"/>
                    </a:cubicBezTo>
                    <a:cubicBezTo>
                      <a:pt x="38" y="131"/>
                      <a:pt x="38" y="131"/>
                      <a:pt x="38" y="130"/>
                    </a:cubicBezTo>
                    <a:cubicBezTo>
                      <a:pt x="37" y="129"/>
                      <a:pt x="35" y="130"/>
                      <a:pt x="34" y="130"/>
                    </a:cubicBezTo>
                    <a:cubicBezTo>
                      <a:pt x="32" y="129"/>
                      <a:pt x="32" y="129"/>
                      <a:pt x="31" y="128"/>
                    </a:cubicBezTo>
                    <a:cubicBezTo>
                      <a:pt x="30" y="126"/>
                      <a:pt x="30" y="124"/>
                      <a:pt x="28" y="122"/>
                    </a:cubicBezTo>
                    <a:cubicBezTo>
                      <a:pt x="27" y="121"/>
                      <a:pt x="25" y="122"/>
                      <a:pt x="24" y="122"/>
                    </a:cubicBezTo>
                    <a:cubicBezTo>
                      <a:pt x="21" y="122"/>
                      <a:pt x="19" y="122"/>
                      <a:pt x="16" y="122"/>
                    </a:cubicBezTo>
                    <a:cubicBezTo>
                      <a:pt x="16" y="123"/>
                      <a:pt x="15" y="123"/>
                      <a:pt x="14" y="124"/>
                    </a:cubicBezTo>
                    <a:cubicBezTo>
                      <a:pt x="14" y="126"/>
                      <a:pt x="13" y="127"/>
                      <a:pt x="13" y="128"/>
                    </a:cubicBezTo>
                    <a:cubicBezTo>
                      <a:pt x="13" y="130"/>
                      <a:pt x="13" y="132"/>
                      <a:pt x="13" y="134"/>
                    </a:cubicBezTo>
                    <a:cubicBezTo>
                      <a:pt x="13" y="135"/>
                      <a:pt x="13" y="136"/>
                      <a:pt x="14" y="137"/>
                    </a:cubicBezTo>
                    <a:cubicBezTo>
                      <a:pt x="14" y="137"/>
                      <a:pt x="15" y="138"/>
                      <a:pt x="14" y="139"/>
                    </a:cubicBezTo>
                    <a:cubicBezTo>
                      <a:pt x="14" y="140"/>
                      <a:pt x="12" y="140"/>
                      <a:pt x="10" y="141"/>
                    </a:cubicBezTo>
                    <a:cubicBezTo>
                      <a:pt x="12" y="141"/>
                      <a:pt x="12" y="141"/>
                      <a:pt x="12" y="141"/>
                    </a:cubicBezTo>
                    <a:cubicBezTo>
                      <a:pt x="12" y="142"/>
                      <a:pt x="12" y="143"/>
                      <a:pt x="13" y="143"/>
                    </a:cubicBezTo>
                    <a:cubicBezTo>
                      <a:pt x="13" y="144"/>
                      <a:pt x="13" y="144"/>
                      <a:pt x="13" y="145"/>
                    </a:cubicBezTo>
                    <a:cubicBezTo>
                      <a:pt x="14" y="146"/>
                      <a:pt x="13" y="148"/>
                      <a:pt x="13" y="150"/>
                    </a:cubicBezTo>
                    <a:cubicBezTo>
                      <a:pt x="12" y="151"/>
                      <a:pt x="12" y="153"/>
                      <a:pt x="10" y="154"/>
                    </a:cubicBezTo>
                    <a:cubicBezTo>
                      <a:pt x="10" y="155"/>
                      <a:pt x="9" y="155"/>
                      <a:pt x="8" y="155"/>
                    </a:cubicBezTo>
                    <a:cubicBezTo>
                      <a:pt x="7" y="155"/>
                      <a:pt x="6" y="155"/>
                      <a:pt x="5" y="154"/>
                    </a:cubicBezTo>
                    <a:cubicBezTo>
                      <a:pt x="5" y="155"/>
                      <a:pt x="4" y="155"/>
                      <a:pt x="4" y="155"/>
                    </a:cubicBezTo>
                    <a:cubicBezTo>
                      <a:pt x="2" y="157"/>
                      <a:pt x="0" y="157"/>
                      <a:pt x="1" y="161"/>
                    </a:cubicBezTo>
                    <a:cubicBezTo>
                      <a:pt x="1" y="164"/>
                      <a:pt x="3" y="163"/>
                      <a:pt x="6" y="164"/>
                    </a:cubicBezTo>
                    <a:cubicBezTo>
                      <a:pt x="7" y="164"/>
                      <a:pt x="8" y="164"/>
                      <a:pt x="9" y="164"/>
                    </a:cubicBezTo>
                    <a:cubicBezTo>
                      <a:pt x="10" y="164"/>
                      <a:pt x="11" y="164"/>
                      <a:pt x="12" y="164"/>
                    </a:cubicBezTo>
                    <a:cubicBezTo>
                      <a:pt x="13" y="164"/>
                      <a:pt x="15" y="164"/>
                      <a:pt x="16" y="164"/>
                    </a:cubicBezTo>
                    <a:cubicBezTo>
                      <a:pt x="18" y="164"/>
                      <a:pt x="18" y="164"/>
                      <a:pt x="19" y="163"/>
                    </a:cubicBezTo>
                    <a:cubicBezTo>
                      <a:pt x="20" y="163"/>
                      <a:pt x="21" y="163"/>
                      <a:pt x="21" y="163"/>
                    </a:cubicBezTo>
                    <a:cubicBezTo>
                      <a:pt x="22" y="164"/>
                      <a:pt x="22" y="164"/>
                      <a:pt x="22" y="164"/>
                    </a:cubicBezTo>
                    <a:cubicBezTo>
                      <a:pt x="24" y="165"/>
                      <a:pt x="26" y="165"/>
                      <a:pt x="26" y="168"/>
                    </a:cubicBezTo>
                    <a:cubicBezTo>
                      <a:pt x="26" y="170"/>
                      <a:pt x="26" y="171"/>
                      <a:pt x="28" y="172"/>
                    </a:cubicBezTo>
                    <a:cubicBezTo>
                      <a:pt x="28" y="173"/>
                      <a:pt x="29" y="173"/>
                      <a:pt x="30" y="173"/>
                    </a:cubicBezTo>
                    <a:cubicBezTo>
                      <a:pt x="30" y="174"/>
                      <a:pt x="31" y="175"/>
                      <a:pt x="32" y="175"/>
                    </a:cubicBezTo>
                    <a:cubicBezTo>
                      <a:pt x="35" y="176"/>
                      <a:pt x="37" y="177"/>
                      <a:pt x="40" y="177"/>
                    </a:cubicBezTo>
                    <a:cubicBezTo>
                      <a:pt x="43" y="177"/>
                      <a:pt x="43" y="176"/>
                      <a:pt x="44" y="174"/>
                    </a:cubicBezTo>
                    <a:cubicBezTo>
                      <a:pt x="45" y="173"/>
                      <a:pt x="44" y="171"/>
                      <a:pt x="46" y="170"/>
                    </a:cubicBezTo>
                    <a:cubicBezTo>
                      <a:pt x="47" y="169"/>
                      <a:pt x="48" y="169"/>
                      <a:pt x="49" y="169"/>
                    </a:cubicBezTo>
                    <a:cubicBezTo>
                      <a:pt x="50" y="168"/>
                      <a:pt x="50" y="167"/>
                      <a:pt x="51" y="166"/>
                    </a:cubicBezTo>
                    <a:cubicBezTo>
                      <a:pt x="52" y="166"/>
                      <a:pt x="55" y="168"/>
                      <a:pt x="56" y="169"/>
                    </a:cubicBezTo>
                    <a:cubicBezTo>
                      <a:pt x="58" y="171"/>
                      <a:pt x="58" y="173"/>
                      <a:pt x="58" y="175"/>
                    </a:cubicBezTo>
                    <a:cubicBezTo>
                      <a:pt x="59" y="176"/>
                      <a:pt x="59" y="176"/>
                      <a:pt x="59" y="177"/>
                    </a:cubicBezTo>
                    <a:cubicBezTo>
                      <a:pt x="61" y="177"/>
                      <a:pt x="62" y="177"/>
                      <a:pt x="63" y="177"/>
                    </a:cubicBezTo>
                    <a:cubicBezTo>
                      <a:pt x="64" y="177"/>
                      <a:pt x="65" y="177"/>
                      <a:pt x="66" y="177"/>
                    </a:cubicBezTo>
                    <a:cubicBezTo>
                      <a:pt x="67" y="177"/>
                      <a:pt x="69" y="178"/>
                      <a:pt x="70" y="178"/>
                    </a:cubicBezTo>
                    <a:cubicBezTo>
                      <a:pt x="71" y="178"/>
                      <a:pt x="72" y="178"/>
                      <a:pt x="72" y="179"/>
                    </a:cubicBezTo>
                    <a:cubicBezTo>
                      <a:pt x="73" y="180"/>
                      <a:pt x="72" y="181"/>
                      <a:pt x="73" y="182"/>
                    </a:cubicBezTo>
                    <a:cubicBezTo>
                      <a:pt x="73" y="183"/>
                      <a:pt x="75" y="183"/>
                      <a:pt x="76" y="183"/>
                    </a:cubicBezTo>
                    <a:cubicBezTo>
                      <a:pt x="76" y="183"/>
                      <a:pt x="78" y="183"/>
                      <a:pt x="78" y="183"/>
                    </a:cubicBezTo>
                    <a:cubicBezTo>
                      <a:pt x="79" y="184"/>
                      <a:pt x="79" y="184"/>
                      <a:pt x="80" y="184"/>
                    </a:cubicBezTo>
                    <a:cubicBezTo>
                      <a:pt x="80" y="185"/>
                      <a:pt x="81" y="185"/>
                      <a:pt x="82" y="185"/>
                    </a:cubicBezTo>
                    <a:cubicBezTo>
                      <a:pt x="83" y="185"/>
                      <a:pt x="85" y="185"/>
                      <a:pt x="87" y="185"/>
                    </a:cubicBezTo>
                    <a:cubicBezTo>
                      <a:pt x="89" y="184"/>
                      <a:pt x="89" y="182"/>
                      <a:pt x="89" y="180"/>
                    </a:cubicBezTo>
                    <a:cubicBezTo>
                      <a:pt x="90" y="179"/>
                      <a:pt x="91" y="178"/>
                      <a:pt x="92" y="176"/>
                    </a:cubicBezTo>
                    <a:cubicBezTo>
                      <a:pt x="92" y="175"/>
                      <a:pt x="92" y="174"/>
                      <a:pt x="92" y="173"/>
                    </a:cubicBezTo>
                    <a:cubicBezTo>
                      <a:pt x="92" y="171"/>
                      <a:pt x="92" y="171"/>
                      <a:pt x="93" y="170"/>
                    </a:cubicBezTo>
                    <a:cubicBezTo>
                      <a:pt x="93" y="169"/>
                      <a:pt x="93" y="169"/>
                      <a:pt x="95" y="168"/>
                    </a:cubicBezTo>
                    <a:cubicBezTo>
                      <a:pt x="96" y="168"/>
                      <a:pt x="97" y="167"/>
                      <a:pt x="99" y="167"/>
                    </a:cubicBezTo>
                    <a:cubicBezTo>
                      <a:pt x="100" y="167"/>
                      <a:pt x="101" y="167"/>
                      <a:pt x="102" y="167"/>
                    </a:cubicBezTo>
                    <a:cubicBezTo>
                      <a:pt x="107" y="167"/>
                      <a:pt x="112" y="168"/>
                      <a:pt x="117" y="168"/>
                    </a:cubicBezTo>
                    <a:cubicBezTo>
                      <a:pt x="118" y="168"/>
                      <a:pt x="119" y="168"/>
                      <a:pt x="120" y="168"/>
                    </a:cubicBezTo>
                    <a:cubicBezTo>
                      <a:pt x="121" y="167"/>
                      <a:pt x="122" y="166"/>
                      <a:pt x="123" y="166"/>
                    </a:cubicBezTo>
                    <a:cubicBezTo>
                      <a:pt x="125" y="165"/>
                      <a:pt x="126" y="166"/>
                      <a:pt x="127" y="167"/>
                    </a:cubicBezTo>
                    <a:cubicBezTo>
                      <a:pt x="129" y="169"/>
                      <a:pt x="132" y="166"/>
                      <a:pt x="134" y="165"/>
                    </a:cubicBezTo>
                    <a:cubicBezTo>
                      <a:pt x="136" y="163"/>
                      <a:pt x="139" y="162"/>
                      <a:pt x="142" y="161"/>
                    </a:cubicBezTo>
                    <a:cubicBezTo>
                      <a:pt x="143" y="160"/>
                      <a:pt x="145" y="159"/>
                      <a:pt x="147" y="159"/>
                    </a:cubicBezTo>
                    <a:cubicBezTo>
                      <a:pt x="149" y="159"/>
                      <a:pt x="152" y="159"/>
                      <a:pt x="152" y="162"/>
                    </a:cubicBezTo>
                    <a:cubicBezTo>
                      <a:pt x="152" y="163"/>
                      <a:pt x="150" y="164"/>
                      <a:pt x="149" y="165"/>
                    </a:cubicBezTo>
                    <a:cubicBezTo>
                      <a:pt x="149" y="165"/>
                      <a:pt x="147" y="165"/>
                      <a:pt x="147" y="165"/>
                    </a:cubicBezTo>
                    <a:cubicBezTo>
                      <a:pt x="146" y="166"/>
                      <a:pt x="146" y="167"/>
                      <a:pt x="146" y="168"/>
                    </a:cubicBezTo>
                    <a:cubicBezTo>
                      <a:pt x="146" y="169"/>
                      <a:pt x="145" y="169"/>
                      <a:pt x="147" y="171"/>
                    </a:cubicBezTo>
                    <a:cubicBezTo>
                      <a:pt x="147" y="171"/>
                      <a:pt x="148" y="172"/>
                      <a:pt x="149" y="173"/>
                    </a:cubicBezTo>
                    <a:cubicBezTo>
                      <a:pt x="150" y="174"/>
                      <a:pt x="151" y="175"/>
                      <a:pt x="152" y="176"/>
                    </a:cubicBezTo>
                    <a:cubicBezTo>
                      <a:pt x="154" y="177"/>
                      <a:pt x="154" y="179"/>
                      <a:pt x="155" y="181"/>
                    </a:cubicBezTo>
                    <a:cubicBezTo>
                      <a:pt x="156" y="183"/>
                      <a:pt x="158" y="185"/>
                      <a:pt x="160" y="186"/>
                    </a:cubicBezTo>
                    <a:cubicBezTo>
                      <a:pt x="163" y="189"/>
                      <a:pt x="168" y="192"/>
                      <a:pt x="172" y="194"/>
                    </a:cubicBezTo>
                    <a:cubicBezTo>
                      <a:pt x="173" y="194"/>
                      <a:pt x="174" y="194"/>
                      <a:pt x="175" y="194"/>
                    </a:cubicBezTo>
                    <a:cubicBezTo>
                      <a:pt x="178" y="194"/>
                      <a:pt x="180" y="194"/>
                      <a:pt x="183" y="195"/>
                    </a:cubicBezTo>
                    <a:cubicBezTo>
                      <a:pt x="185" y="195"/>
                      <a:pt x="187" y="195"/>
                      <a:pt x="189" y="196"/>
                    </a:cubicBezTo>
                    <a:cubicBezTo>
                      <a:pt x="190" y="196"/>
                      <a:pt x="192" y="196"/>
                      <a:pt x="193" y="196"/>
                    </a:cubicBezTo>
                    <a:cubicBezTo>
                      <a:pt x="195" y="197"/>
                      <a:pt x="196" y="198"/>
                      <a:pt x="197" y="198"/>
                    </a:cubicBezTo>
                    <a:cubicBezTo>
                      <a:pt x="201" y="200"/>
                      <a:pt x="205" y="200"/>
                      <a:pt x="209" y="201"/>
                    </a:cubicBezTo>
                    <a:cubicBezTo>
                      <a:pt x="212" y="201"/>
                      <a:pt x="214" y="201"/>
                      <a:pt x="217" y="201"/>
                    </a:cubicBezTo>
                    <a:cubicBezTo>
                      <a:pt x="220" y="201"/>
                      <a:pt x="224" y="201"/>
                      <a:pt x="227" y="201"/>
                    </a:cubicBezTo>
                    <a:cubicBezTo>
                      <a:pt x="229" y="201"/>
                      <a:pt x="230" y="202"/>
                      <a:pt x="232" y="202"/>
                    </a:cubicBezTo>
                    <a:cubicBezTo>
                      <a:pt x="233" y="202"/>
                      <a:pt x="234" y="202"/>
                      <a:pt x="235" y="203"/>
                    </a:cubicBezTo>
                    <a:cubicBezTo>
                      <a:pt x="235" y="203"/>
                      <a:pt x="236" y="202"/>
                      <a:pt x="236" y="203"/>
                    </a:cubicBezTo>
                    <a:cubicBezTo>
                      <a:pt x="238" y="203"/>
                      <a:pt x="239" y="204"/>
                      <a:pt x="240" y="204"/>
                    </a:cubicBezTo>
                    <a:cubicBezTo>
                      <a:pt x="245" y="206"/>
                      <a:pt x="250" y="205"/>
                      <a:pt x="255" y="206"/>
                    </a:cubicBezTo>
                    <a:cubicBezTo>
                      <a:pt x="255" y="206"/>
                      <a:pt x="255" y="206"/>
                      <a:pt x="255" y="206"/>
                    </a:cubicBezTo>
                    <a:cubicBezTo>
                      <a:pt x="256" y="207"/>
                      <a:pt x="256" y="207"/>
                      <a:pt x="256" y="207"/>
                    </a:cubicBezTo>
                    <a:cubicBezTo>
                      <a:pt x="256" y="207"/>
                      <a:pt x="256" y="207"/>
                      <a:pt x="256" y="207"/>
                    </a:cubicBezTo>
                    <a:cubicBezTo>
                      <a:pt x="255" y="207"/>
                      <a:pt x="255" y="208"/>
                      <a:pt x="254" y="208"/>
                    </a:cubicBezTo>
                    <a:cubicBezTo>
                      <a:pt x="255" y="208"/>
                      <a:pt x="256" y="208"/>
                      <a:pt x="257" y="208"/>
                    </a:cubicBezTo>
                    <a:cubicBezTo>
                      <a:pt x="259" y="209"/>
                      <a:pt x="262" y="209"/>
                      <a:pt x="264" y="209"/>
                    </a:cubicBezTo>
                    <a:cubicBezTo>
                      <a:pt x="264" y="210"/>
                      <a:pt x="266" y="209"/>
                      <a:pt x="267" y="210"/>
                    </a:cubicBezTo>
                    <a:cubicBezTo>
                      <a:pt x="267" y="210"/>
                      <a:pt x="267" y="210"/>
                      <a:pt x="267" y="210"/>
                    </a:cubicBezTo>
                    <a:cubicBezTo>
                      <a:pt x="268" y="211"/>
                      <a:pt x="269" y="211"/>
                      <a:pt x="270" y="211"/>
                    </a:cubicBezTo>
                    <a:cubicBezTo>
                      <a:pt x="272" y="212"/>
                      <a:pt x="274" y="213"/>
                      <a:pt x="276" y="213"/>
                    </a:cubicBezTo>
                    <a:cubicBezTo>
                      <a:pt x="279" y="212"/>
                      <a:pt x="278" y="209"/>
                      <a:pt x="279" y="207"/>
                    </a:cubicBezTo>
                    <a:cubicBezTo>
                      <a:pt x="280" y="207"/>
                      <a:pt x="280" y="206"/>
                      <a:pt x="281" y="205"/>
                    </a:cubicBezTo>
                    <a:cubicBezTo>
                      <a:pt x="281" y="205"/>
                      <a:pt x="282" y="204"/>
                      <a:pt x="283" y="204"/>
                    </a:cubicBezTo>
                    <a:cubicBezTo>
                      <a:pt x="283" y="203"/>
                      <a:pt x="284" y="204"/>
                      <a:pt x="285" y="204"/>
                    </a:cubicBezTo>
                    <a:cubicBezTo>
                      <a:pt x="286" y="204"/>
                      <a:pt x="287" y="203"/>
                      <a:pt x="288" y="202"/>
                    </a:cubicBezTo>
                    <a:cubicBezTo>
                      <a:pt x="288" y="201"/>
                      <a:pt x="288" y="201"/>
                      <a:pt x="289" y="200"/>
                    </a:cubicBezTo>
                    <a:cubicBezTo>
                      <a:pt x="289" y="200"/>
                      <a:pt x="290" y="200"/>
                      <a:pt x="290" y="199"/>
                    </a:cubicBezTo>
                    <a:cubicBezTo>
                      <a:pt x="290" y="199"/>
                      <a:pt x="291" y="198"/>
                      <a:pt x="291" y="197"/>
                    </a:cubicBezTo>
                    <a:cubicBezTo>
                      <a:pt x="292" y="195"/>
                      <a:pt x="295" y="195"/>
                      <a:pt x="297" y="195"/>
                    </a:cubicBezTo>
                    <a:cubicBezTo>
                      <a:pt x="300" y="194"/>
                      <a:pt x="302" y="194"/>
                      <a:pt x="304" y="193"/>
                    </a:cubicBezTo>
                    <a:cubicBezTo>
                      <a:pt x="306" y="192"/>
                      <a:pt x="307" y="191"/>
                      <a:pt x="309" y="192"/>
                    </a:cubicBezTo>
                    <a:cubicBezTo>
                      <a:pt x="310" y="192"/>
                      <a:pt x="311" y="193"/>
                      <a:pt x="312" y="193"/>
                    </a:cubicBezTo>
                    <a:cubicBezTo>
                      <a:pt x="314" y="193"/>
                      <a:pt x="316" y="193"/>
                      <a:pt x="318" y="193"/>
                    </a:cubicBezTo>
                    <a:cubicBezTo>
                      <a:pt x="318" y="194"/>
                      <a:pt x="318" y="194"/>
                      <a:pt x="319" y="194"/>
                    </a:cubicBezTo>
                    <a:cubicBezTo>
                      <a:pt x="320" y="194"/>
                      <a:pt x="322" y="193"/>
                      <a:pt x="323" y="194"/>
                    </a:cubicBezTo>
                    <a:cubicBezTo>
                      <a:pt x="325" y="194"/>
                      <a:pt x="325" y="195"/>
                      <a:pt x="326" y="195"/>
                    </a:cubicBezTo>
                    <a:cubicBezTo>
                      <a:pt x="326" y="192"/>
                      <a:pt x="328" y="190"/>
                      <a:pt x="329" y="188"/>
                    </a:cubicBezTo>
                    <a:cubicBezTo>
                      <a:pt x="329" y="187"/>
                      <a:pt x="329" y="187"/>
                      <a:pt x="330" y="187"/>
                    </a:cubicBezTo>
                    <a:cubicBezTo>
                      <a:pt x="330" y="187"/>
                      <a:pt x="331" y="187"/>
                      <a:pt x="331" y="187"/>
                    </a:cubicBezTo>
                    <a:cubicBezTo>
                      <a:pt x="332" y="186"/>
                      <a:pt x="331" y="187"/>
                      <a:pt x="332" y="186"/>
                    </a:cubicBezTo>
                    <a:cubicBezTo>
                      <a:pt x="333" y="185"/>
                      <a:pt x="335" y="182"/>
                      <a:pt x="336" y="183"/>
                    </a:cubicBezTo>
                    <a:cubicBezTo>
                      <a:pt x="338" y="184"/>
                      <a:pt x="336" y="187"/>
                      <a:pt x="338" y="189"/>
                    </a:cubicBezTo>
                    <a:cubicBezTo>
                      <a:pt x="340" y="190"/>
                      <a:pt x="343" y="189"/>
                      <a:pt x="345" y="190"/>
                    </a:cubicBezTo>
                    <a:cubicBezTo>
                      <a:pt x="348" y="190"/>
                      <a:pt x="351" y="190"/>
                      <a:pt x="352" y="187"/>
                    </a:cubicBezTo>
                    <a:cubicBezTo>
                      <a:pt x="353" y="185"/>
                      <a:pt x="353" y="183"/>
                      <a:pt x="353" y="181"/>
                    </a:cubicBezTo>
                    <a:cubicBezTo>
                      <a:pt x="353" y="178"/>
                      <a:pt x="354" y="176"/>
                      <a:pt x="356" y="175"/>
                    </a:cubicBezTo>
                    <a:cubicBezTo>
                      <a:pt x="357" y="174"/>
                      <a:pt x="359" y="175"/>
                      <a:pt x="360" y="173"/>
                    </a:cubicBezTo>
                    <a:cubicBezTo>
                      <a:pt x="361" y="173"/>
                      <a:pt x="361" y="172"/>
                      <a:pt x="362" y="172"/>
                    </a:cubicBezTo>
                    <a:cubicBezTo>
                      <a:pt x="363" y="171"/>
                      <a:pt x="363" y="171"/>
                      <a:pt x="364" y="170"/>
                    </a:cubicBezTo>
                    <a:cubicBezTo>
                      <a:pt x="365" y="167"/>
                      <a:pt x="366" y="167"/>
                      <a:pt x="368" y="166"/>
                    </a:cubicBezTo>
                    <a:cubicBezTo>
                      <a:pt x="370" y="165"/>
                      <a:pt x="370" y="164"/>
                      <a:pt x="372" y="164"/>
                    </a:cubicBezTo>
                    <a:cubicBezTo>
                      <a:pt x="374" y="164"/>
                      <a:pt x="375" y="163"/>
                      <a:pt x="376" y="163"/>
                    </a:cubicBezTo>
                    <a:cubicBezTo>
                      <a:pt x="378" y="163"/>
                      <a:pt x="379" y="163"/>
                      <a:pt x="379" y="161"/>
                    </a:cubicBezTo>
                    <a:cubicBezTo>
                      <a:pt x="379" y="160"/>
                      <a:pt x="379" y="160"/>
                      <a:pt x="379" y="159"/>
                    </a:cubicBezTo>
                    <a:cubicBezTo>
                      <a:pt x="379" y="158"/>
                      <a:pt x="380" y="157"/>
                      <a:pt x="380" y="156"/>
                    </a:cubicBezTo>
                    <a:cubicBezTo>
                      <a:pt x="380" y="156"/>
                      <a:pt x="380" y="155"/>
                      <a:pt x="380" y="154"/>
                    </a:cubicBezTo>
                    <a:cubicBezTo>
                      <a:pt x="380" y="152"/>
                      <a:pt x="380" y="152"/>
                      <a:pt x="379" y="152"/>
                    </a:cubicBezTo>
                    <a:cubicBezTo>
                      <a:pt x="377" y="151"/>
                      <a:pt x="377" y="151"/>
                      <a:pt x="376" y="149"/>
                    </a:cubicBezTo>
                    <a:cubicBezTo>
                      <a:pt x="376" y="149"/>
                      <a:pt x="376" y="148"/>
                      <a:pt x="376" y="147"/>
                    </a:cubicBezTo>
                    <a:cubicBezTo>
                      <a:pt x="376" y="147"/>
                      <a:pt x="375" y="146"/>
                      <a:pt x="376" y="145"/>
                    </a:cubicBezTo>
                    <a:cubicBezTo>
                      <a:pt x="376" y="144"/>
                      <a:pt x="378" y="142"/>
                      <a:pt x="379" y="142"/>
                    </a:cubicBezTo>
                    <a:cubicBezTo>
                      <a:pt x="379" y="142"/>
                      <a:pt x="381" y="141"/>
                      <a:pt x="381" y="141"/>
                    </a:cubicBezTo>
                    <a:cubicBezTo>
                      <a:pt x="382" y="138"/>
                      <a:pt x="378" y="139"/>
                      <a:pt x="378" y="138"/>
                    </a:cubicBezTo>
                    <a:cubicBezTo>
                      <a:pt x="376" y="136"/>
                      <a:pt x="377" y="131"/>
                      <a:pt x="379" y="130"/>
                    </a:cubicBezTo>
                    <a:cubicBezTo>
                      <a:pt x="379" y="130"/>
                      <a:pt x="380" y="129"/>
                      <a:pt x="381" y="129"/>
                    </a:cubicBezTo>
                    <a:cubicBezTo>
                      <a:pt x="382" y="129"/>
                      <a:pt x="383" y="130"/>
                      <a:pt x="384" y="130"/>
                    </a:cubicBezTo>
                    <a:cubicBezTo>
                      <a:pt x="385" y="129"/>
                      <a:pt x="385" y="129"/>
                      <a:pt x="386" y="128"/>
                    </a:cubicBezTo>
                    <a:cubicBezTo>
                      <a:pt x="386" y="127"/>
                      <a:pt x="387" y="125"/>
                      <a:pt x="388" y="124"/>
                    </a:cubicBezTo>
                    <a:cubicBezTo>
                      <a:pt x="389" y="123"/>
                      <a:pt x="390" y="122"/>
                      <a:pt x="390" y="121"/>
                    </a:cubicBezTo>
                    <a:cubicBezTo>
                      <a:pt x="390" y="121"/>
                      <a:pt x="390" y="119"/>
                      <a:pt x="390" y="118"/>
                    </a:cubicBezTo>
                    <a:cubicBezTo>
                      <a:pt x="390" y="117"/>
                      <a:pt x="390" y="117"/>
                      <a:pt x="389" y="116"/>
                    </a:cubicBezTo>
                    <a:cubicBezTo>
                      <a:pt x="389" y="115"/>
                      <a:pt x="389" y="115"/>
                      <a:pt x="389" y="114"/>
                    </a:cubicBezTo>
                    <a:cubicBezTo>
                      <a:pt x="388" y="114"/>
                      <a:pt x="388" y="113"/>
                      <a:pt x="388" y="113"/>
                    </a:cubicBezTo>
                    <a:cubicBezTo>
                      <a:pt x="386" y="112"/>
                      <a:pt x="384" y="113"/>
                      <a:pt x="383" y="112"/>
                    </a:cubicBezTo>
                    <a:cubicBezTo>
                      <a:pt x="381" y="111"/>
                      <a:pt x="380" y="110"/>
                      <a:pt x="379" y="109"/>
                    </a:cubicBezTo>
                    <a:cubicBezTo>
                      <a:pt x="379" y="109"/>
                      <a:pt x="378" y="108"/>
                      <a:pt x="379" y="107"/>
                    </a:cubicBezTo>
                    <a:cubicBezTo>
                      <a:pt x="379" y="106"/>
                      <a:pt x="382" y="107"/>
                      <a:pt x="383" y="107"/>
                    </a:cubicBezTo>
                    <a:cubicBezTo>
                      <a:pt x="386" y="107"/>
                      <a:pt x="385" y="105"/>
                      <a:pt x="387" y="103"/>
                    </a:cubicBezTo>
                    <a:cubicBezTo>
                      <a:pt x="388" y="102"/>
                      <a:pt x="392" y="103"/>
                      <a:pt x="393" y="105"/>
                    </a:cubicBezTo>
                    <a:cubicBezTo>
                      <a:pt x="394" y="106"/>
                      <a:pt x="394" y="108"/>
                      <a:pt x="395" y="108"/>
                    </a:cubicBezTo>
                    <a:cubicBezTo>
                      <a:pt x="396" y="109"/>
                      <a:pt x="397" y="108"/>
                      <a:pt x="398" y="108"/>
                    </a:cubicBezTo>
                    <a:cubicBezTo>
                      <a:pt x="400" y="108"/>
                      <a:pt x="401" y="106"/>
                      <a:pt x="404" y="106"/>
                    </a:cubicBezTo>
                    <a:cubicBezTo>
                      <a:pt x="405" y="106"/>
                      <a:pt x="405" y="106"/>
                      <a:pt x="406" y="105"/>
                    </a:cubicBezTo>
                    <a:cubicBezTo>
                      <a:pt x="407" y="105"/>
                      <a:pt x="408" y="105"/>
                      <a:pt x="409" y="104"/>
                    </a:cubicBezTo>
                    <a:cubicBezTo>
                      <a:pt x="410" y="103"/>
                      <a:pt x="413" y="102"/>
                      <a:pt x="414" y="100"/>
                    </a:cubicBezTo>
                    <a:cubicBezTo>
                      <a:pt x="415" y="97"/>
                      <a:pt x="412" y="98"/>
                      <a:pt x="410" y="96"/>
                    </a:cubicBezTo>
                    <a:cubicBezTo>
                      <a:pt x="408" y="94"/>
                      <a:pt x="411" y="91"/>
                      <a:pt x="413" y="88"/>
                    </a:cubicBezTo>
                    <a:cubicBezTo>
                      <a:pt x="414" y="87"/>
                      <a:pt x="415" y="86"/>
                      <a:pt x="416" y="85"/>
                    </a:cubicBezTo>
                    <a:cubicBezTo>
                      <a:pt x="416" y="85"/>
                      <a:pt x="416" y="85"/>
                      <a:pt x="416" y="84"/>
                    </a:cubicBezTo>
                    <a:cubicBezTo>
                      <a:pt x="416" y="84"/>
                      <a:pt x="417" y="83"/>
                      <a:pt x="417" y="83"/>
                    </a:cubicBezTo>
                    <a:cubicBezTo>
                      <a:pt x="417" y="82"/>
                      <a:pt x="417" y="80"/>
                      <a:pt x="416" y="79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499" name="Freeform 15">
                <a:extLst>
                  <a:ext uri="{FF2B5EF4-FFF2-40B4-BE49-F238E27FC236}">
                    <a16:creationId xmlns:a16="http://schemas.microsoft.com/office/drawing/2014/main" id="{D6193104-976A-4990-8088-BEEAFA657C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5313" y="4954588"/>
                <a:ext cx="25400" cy="30163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9" y="1"/>
                  </a:cxn>
                  <a:cxn ang="0">
                    <a:pos x="9" y="0"/>
                  </a:cxn>
                  <a:cxn ang="0">
                    <a:pos x="6" y="1"/>
                  </a:cxn>
                  <a:cxn ang="0">
                    <a:pos x="5" y="3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1" y="8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1" y="14"/>
                  </a:cxn>
                  <a:cxn ang="0">
                    <a:pos x="3" y="15"/>
                  </a:cxn>
                  <a:cxn ang="0">
                    <a:pos x="7" y="16"/>
                  </a:cxn>
                  <a:cxn ang="0">
                    <a:pos x="9" y="15"/>
                  </a:cxn>
                  <a:cxn ang="0">
                    <a:pos x="12" y="11"/>
                  </a:cxn>
                  <a:cxn ang="0">
                    <a:pos x="12" y="6"/>
                  </a:cxn>
                  <a:cxn ang="0">
                    <a:pos x="12" y="4"/>
                  </a:cxn>
                  <a:cxn ang="0">
                    <a:pos x="11" y="2"/>
                  </a:cxn>
                </a:cxnLst>
                <a:rect l="0" t="0" r="r" b="b"/>
                <a:pathLst>
                  <a:path w="13" h="16">
                    <a:moveTo>
                      <a:pt x="11" y="2"/>
                    </a:move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0"/>
                    </a:cubicBezTo>
                    <a:cubicBezTo>
                      <a:pt x="9" y="0"/>
                      <a:pt x="6" y="1"/>
                      <a:pt x="6" y="1"/>
                    </a:cubicBezTo>
                    <a:cubicBezTo>
                      <a:pt x="6" y="2"/>
                      <a:pt x="5" y="2"/>
                      <a:pt x="5" y="3"/>
                    </a:cubicBezTo>
                    <a:cubicBezTo>
                      <a:pt x="4" y="3"/>
                      <a:pt x="4" y="3"/>
                      <a:pt x="3" y="4"/>
                    </a:cubicBezTo>
                    <a:cubicBezTo>
                      <a:pt x="3" y="5"/>
                      <a:pt x="3" y="5"/>
                      <a:pt x="2" y="6"/>
                    </a:cubicBezTo>
                    <a:cubicBezTo>
                      <a:pt x="2" y="7"/>
                      <a:pt x="1" y="7"/>
                      <a:pt x="1" y="8"/>
                    </a:cubicBezTo>
                    <a:cubicBezTo>
                      <a:pt x="1" y="9"/>
                      <a:pt x="0" y="9"/>
                      <a:pt x="0" y="10"/>
                    </a:cubicBezTo>
                    <a:cubicBezTo>
                      <a:pt x="0" y="11"/>
                      <a:pt x="0" y="12"/>
                      <a:pt x="0" y="12"/>
                    </a:cubicBezTo>
                    <a:cubicBezTo>
                      <a:pt x="0" y="13"/>
                      <a:pt x="0" y="14"/>
                      <a:pt x="1" y="14"/>
                    </a:cubicBezTo>
                    <a:cubicBezTo>
                      <a:pt x="2" y="15"/>
                      <a:pt x="2" y="15"/>
                      <a:pt x="3" y="15"/>
                    </a:cubicBezTo>
                    <a:cubicBezTo>
                      <a:pt x="5" y="15"/>
                      <a:pt x="6" y="16"/>
                      <a:pt x="7" y="16"/>
                    </a:cubicBezTo>
                    <a:cubicBezTo>
                      <a:pt x="8" y="16"/>
                      <a:pt x="9" y="16"/>
                      <a:pt x="9" y="15"/>
                    </a:cubicBezTo>
                    <a:cubicBezTo>
                      <a:pt x="11" y="14"/>
                      <a:pt x="11" y="12"/>
                      <a:pt x="12" y="11"/>
                    </a:cubicBezTo>
                    <a:cubicBezTo>
                      <a:pt x="12" y="9"/>
                      <a:pt x="13" y="7"/>
                      <a:pt x="12" y="6"/>
                    </a:cubicBezTo>
                    <a:cubicBezTo>
                      <a:pt x="12" y="5"/>
                      <a:pt x="12" y="5"/>
                      <a:pt x="12" y="4"/>
                    </a:cubicBezTo>
                    <a:cubicBezTo>
                      <a:pt x="11" y="4"/>
                      <a:pt x="11" y="3"/>
                      <a:pt x="11" y="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00" name="Freeform 16">
                <a:extLst>
                  <a:ext uri="{FF2B5EF4-FFF2-40B4-BE49-F238E27FC236}">
                    <a16:creationId xmlns:a16="http://schemas.microsoft.com/office/drawing/2014/main" id="{7BDEF457-5935-4BAF-A7E4-73FCFB6835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19413" y="4360863"/>
                <a:ext cx="1379538" cy="1341438"/>
              </a:xfrm>
              <a:custGeom>
                <a:avLst/>
                <a:gdLst/>
                <a:ahLst/>
                <a:cxnLst>
                  <a:cxn ang="0">
                    <a:pos x="737" y="191"/>
                  </a:cxn>
                  <a:cxn ang="0">
                    <a:pos x="702" y="174"/>
                  </a:cxn>
                  <a:cxn ang="0">
                    <a:pos x="633" y="143"/>
                  </a:cxn>
                  <a:cxn ang="0">
                    <a:pos x="577" y="126"/>
                  </a:cxn>
                  <a:cxn ang="0">
                    <a:pos x="539" y="101"/>
                  </a:cxn>
                  <a:cxn ang="0">
                    <a:pos x="509" y="70"/>
                  </a:cxn>
                  <a:cxn ang="0">
                    <a:pos x="472" y="38"/>
                  </a:cxn>
                  <a:cxn ang="0">
                    <a:pos x="432" y="4"/>
                  </a:cxn>
                  <a:cxn ang="0">
                    <a:pos x="374" y="39"/>
                  </a:cxn>
                  <a:cxn ang="0">
                    <a:pos x="323" y="113"/>
                  </a:cxn>
                  <a:cxn ang="0">
                    <a:pos x="290" y="145"/>
                  </a:cxn>
                  <a:cxn ang="0">
                    <a:pos x="210" y="138"/>
                  </a:cxn>
                  <a:cxn ang="0">
                    <a:pos x="190" y="179"/>
                  </a:cxn>
                  <a:cxn ang="0">
                    <a:pos x="171" y="211"/>
                  </a:cxn>
                  <a:cxn ang="0">
                    <a:pos x="129" y="219"/>
                  </a:cxn>
                  <a:cxn ang="0">
                    <a:pos x="81" y="208"/>
                  </a:cxn>
                  <a:cxn ang="0">
                    <a:pos x="38" y="213"/>
                  </a:cxn>
                  <a:cxn ang="0">
                    <a:pos x="10" y="238"/>
                  </a:cxn>
                  <a:cxn ang="0">
                    <a:pos x="32" y="250"/>
                  </a:cxn>
                  <a:cxn ang="0">
                    <a:pos x="17" y="266"/>
                  </a:cxn>
                  <a:cxn ang="0">
                    <a:pos x="52" y="283"/>
                  </a:cxn>
                  <a:cxn ang="0">
                    <a:pos x="90" y="299"/>
                  </a:cxn>
                  <a:cxn ang="0">
                    <a:pos x="133" y="320"/>
                  </a:cxn>
                  <a:cxn ang="0">
                    <a:pos x="153" y="355"/>
                  </a:cxn>
                  <a:cxn ang="0">
                    <a:pos x="172" y="389"/>
                  </a:cxn>
                  <a:cxn ang="0">
                    <a:pos x="214" y="405"/>
                  </a:cxn>
                  <a:cxn ang="0">
                    <a:pos x="211" y="434"/>
                  </a:cxn>
                  <a:cxn ang="0">
                    <a:pos x="198" y="438"/>
                  </a:cxn>
                  <a:cxn ang="0">
                    <a:pos x="233" y="507"/>
                  </a:cxn>
                  <a:cxn ang="0">
                    <a:pos x="203" y="491"/>
                  </a:cxn>
                  <a:cxn ang="0">
                    <a:pos x="189" y="565"/>
                  </a:cxn>
                  <a:cxn ang="0">
                    <a:pos x="166" y="637"/>
                  </a:cxn>
                  <a:cxn ang="0">
                    <a:pos x="197" y="661"/>
                  </a:cxn>
                  <a:cxn ang="0">
                    <a:pos x="265" y="684"/>
                  </a:cxn>
                  <a:cxn ang="0">
                    <a:pos x="324" y="681"/>
                  </a:cxn>
                  <a:cxn ang="0">
                    <a:pos x="346" y="687"/>
                  </a:cxn>
                  <a:cxn ang="0">
                    <a:pos x="372" y="700"/>
                  </a:cxn>
                  <a:cxn ang="0">
                    <a:pos x="382" y="707"/>
                  </a:cxn>
                  <a:cxn ang="0">
                    <a:pos x="431" y="685"/>
                  </a:cxn>
                  <a:cxn ang="0">
                    <a:pos x="464" y="634"/>
                  </a:cxn>
                  <a:cxn ang="0">
                    <a:pos x="511" y="626"/>
                  </a:cxn>
                  <a:cxn ang="0">
                    <a:pos x="536" y="632"/>
                  </a:cxn>
                  <a:cxn ang="0">
                    <a:pos x="566" y="642"/>
                  </a:cxn>
                  <a:cxn ang="0">
                    <a:pos x="621" y="658"/>
                  </a:cxn>
                  <a:cxn ang="0">
                    <a:pos x="650" y="627"/>
                  </a:cxn>
                  <a:cxn ang="0">
                    <a:pos x="687" y="597"/>
                  </a:cxn>
                  <a:cxn ang="0">
                    <a:pos x="660" y="562"/>
                  </a:cxn>
                  <a:cxn ang="0">
                    <a:pos x="652" y="515"/>
                  </a:cxn>
                  <a:cxn ang="0">
                    <a:pos x="667" y="480"/>
                  </a:cxn>
                  <a:cxn ang="0">
                    <a:pos x="663" y="436"/>
                  </a:cxn>
                  <a:cxn ang="0">
                    <a:pos x="658" y="409"/>
                  </a:cxn>
                  <a:cxn ang="0">
                    <a:pos x="614" y="391"/>
                  </a:cxn>
                  <a:cxn ang="0">
                    <a:pos x="658" y="330"/>
                  </a:cxn>
                  <a:cxn ang="0">
                    <a:pos x="703" y="303"/>
                  </a:cxn>
                  <a:cxn ang="0">
                    <a:pos x="704" y="300"/>
                  </a:cxn>
                  <a:cxn ang="0">
                    <a:pos x="716" y="221"/>
                  </a:cxn>
                </a:cxnLst>
                <a:rect l="0" t="0" r="r" b="b"/>
                <a:pathLst>
                  <a:path w="738" h="718">
                    <a:moveTo>
                      <a:pt x="437" y="718"/>
                    </a:moveTo>
                    <a:cubicBezTo>
                      <a:pt x="439" y="716"/>
                      <a:pt x="441" y="714"/>
                      <a:pt x="442" y="710"/>
                    </a:cubicBezTo>
                    <a:cubicBezTo>
                      <a:pt x="442" y="710"/>
                      <a:pt x="442" y="710"/>
                      <a:pt x="442" y="710"/>
                    </a:cubicBezTo>
                    <a:cubicBezTo>
                      <a:pt x="440" y="711"/>
                      <a:pt x="438" y="715"/>
                      <a:pt x="437" y="718"/>
                    </a:cubicBezTo>
                    <a:moveTo>
                      <a:pt x="350" y="705"/>
                    </a:moveTo>
                    <a:cubicBezTo>
                      <a:pt x="350" y="705"/>
                      <a:pt x="349" y="705"/>
                      <a:pt x="349" y="705"/>
                    </a:cubicBezTo>
                    <a:cubicBezTo>
                      <a:pt x="349" y="705"/>
                      <a:pt x="350" y="705"/>
                      <a:pt x="350" y="705"/>
                    </a:cubicBezTo>
                    <a:moveTo>
                      <a:pt x="737" y="191"/>
                    </a:moveTo>
                    <a:cubicBezTo>
                      <a:pt x="738" y="189"/>
                      <a:pt x="738" y="186"/>
                      <a:pt x="737" y="184"/>
                    </a:cubicBezTo>
                    <a:cubicBezTo>
                      <a:pt x="735" y="181"/>
                      <a:pt x="733" y="182"/>
                      <a:pt x="731" y="181"/>
                    </a:cubicBezTo>
                    <a:cubicBezTo>
                      <a:pt x="730" y="181"/>
                      <a:pt x="729" y="180"/>
                      <a:pt x="728" y="179"/>
                    </a:cubicBezTo>
                    <a:cubicBezTo>
                      <a:pt x="729" y="179"/>
                      <a:pt x="725" y="177"/>
                      <a:pt x="726" y="177"/>
                    </a:cubicBezTo>
                    <a:cubicBezTo>
                      <a:pt x="723" y="176"/>
                      <a:pt x="720" y="176"/>
                      <a:pt x="717" y="176"/>
                    </a:cubicBezTo>
                    <a:cubicBezTo>
                      <a:pt x="714" y="176"/>
                      <a:pt x="708" y="177"/>
                      <a:pt x="705" y="176"/>
                    </a:cubicBezTo>
                    <a:cubicBezTo>
                      <a:pt x="704" y="176"/>
                      <a:pt x="705" y="175"/>
                      <a:pt x="704" y="175"/>
                    </a:cubicBezTo>
                    <a:cubicBezTo>
                      <a:pt x="703" y="174"/>
                      <a:pt x="702" y="174"/>
                      <a:pt x="702" y="174"/>
                    </a:cubicBezTo>
                    <a:cubicBezTo>
                      <a:pt x="699" y="171"/>
                      <a:pt x="699" y="168"/>
                      <a:pt x="697" y="166"/>
                    </a:cubicBezTo>
                    <a:cubicBezTo>
                      <a:pt x="691" y="162"/>
                      <a:pt x="685" y="162"/>
                      <a:pt x="678" y="162"/>
                    </a:cubicBezTo>
                    <a:cubicBezTo>
                      <a:pt x="674" y="162"/>
                      <a:pt x="671" y="162"/>
                      <a:pt x="668" y="163"/>
                    </a:cubicBezTo>
                    <a:cubicBezTo>
                      <a:pt x="664" y="164"/>
                      <a:pt x="662" y="167"/>
                      <a:pt x="658" y="167"/>
                    </a:cubicBezTo>
                    <a:cubicBezTo>
                      <a:pt x="654" y="166"/>
                      <a:pt x="654" y="164"/>
                      <a:pt x="652" y="161"/>
                    </a:cubicBezTo>
                    <a:cubicBezTo>
                      <a:pt x="652" y="159"/>
                      <a:pt x="652" y="159"/>
                      <a:pt x="651" y="157"/>
                    </a:cubicBezTo>
                    <a:cubicBezTo>
                      <a:pt x="651" y="156"/>
                      <a:pt x="649" y="155"/>
                      <a:pt x="648" y="154"/>
                    </a:cubicBezTo>
                    <a:cubicBezTo>
                      <a:pt x="643" y="148"/>
                      <a:pt x="639" y="146"/>
                      <a:pt x="633" y="143"/>
                    </a:cubicBezTo>
                    <a:cubicBezTo>
                      <a:pt x="629" y="141"/>
                      <a:pt x="628" y="139"/>
                      <a:pt x="624" y="142"/>
                    </a:cubicBezTo>
                    <a:cubicBezTo>
                      <a:pt x="618" y="145"/>
                      <a:pt x="617" y="142"/>
                      <a:pt x="612" y="139"/>
                    </a:cubicBezTo>
                    <a:cubicBezTo>
                      <a:pt x="609" y="137"/>
                      <a:pt x="606" y="136"/>
                      <a:pt x="601" y="136"/>
                    </a:cubicBezTo>
                    <a:cubicBezTo>
                      <a:pt x="600" y="136"/>
                      <a:pt x="598" y="136"/>
                      <a:pt x="597" y="137"/>
                    </a:cubicBezTo>
                    <a:cubicBezTo>
                      <a:pt x="595" y="137"/>
                      <a:pt x="594" y="139"/>
                      <a:pt x="593" y="140"/>
                    </a:cubicBezTo>
                    <a:cubicBezTo>
                      <a:pt x="589" y="142"/>
                      <a:pt x="584" y="134"/>
                      <a:pt x="583" y="132"/>
                    </a:cubicBezTo>
                    <a:cubicBezTo>
                      <a:pt x="583" y="131"/>
                      <a:pt x="583" y="129"/>
                      <a:pt x="582" y="128"/>
                    </a:cubicBezTo>
                    <a:cubicBezTo>
                      <a:pt x="581" y="126"/>
                      <a:pt x="579" y="127"/>
                      <a:pt x="577" y="126"/>
                    </a:cubicBezTo>
                    <a:cubicBezTo>
                      <a:pt x="569" y="123"/>
                      <a:pt x="564" y="116"/>
                      <a:pt x="555" y="116"/>
                    </a:cubicBezTo>
                    <a:cubicBezTo>
                      <a:pt x="554" y="111"/>
                      <a:pt x="553" y="107"/>
                      <a:pt x="553" y="102"/>
                    </a:cubicBezTo>
                    <a:cubicBezTo>
                      <a:pt x="553" y="101"/>
                      <a:pt x="552" y="99"/>
                      <a:pt x="553" y="97"/>
                    </a:cubicBezTo>
                    <a:cubicBezTo>
                      <a:pt x="554" y="94"/>
                      <a:pt x="557" y="92"/>
                      <a:pt x="554" y="89"/>
                    </a:cubicBezTo>
                    <a:cubicBezTo>
                      <a:pt x="552" y="88"/>
                      <a:pt x="551" y="87"/>
                      <a:pt x="549" y="87"/>
                    </a:cubicBezTo>
                    <a:cubicBezTo>
                      <a:pt x="547" y="88"/>
                      <a:pt x="545" y="90"/>
                      <a:pt x="544" y="91"/>
                    </a:cubicBezTo>
                    <a:cubicBezTo>
                      <a:pt x="544" y="93"/>
                      <a:pt x="545" y="96"/>
                      <a:pt x="544" y="98"/>
                    </a:cubicBezTo>
                    <a:cubicBezTo>
                      <a:pt x="543" y="99"/>
                      <a:pt x="540" y="100"/>
                      <a:pt x="539" y="101"/>
                    </a:cubicBezTo>
                    <a:cubicBezTo>
                      <a:pt x="536" y="103"/>
                      <a:pt x="532" y="106"/>
                      <a:pt x="529" y="105"/>
                    </a:cubicBezTo>
                    <a:cubicBezTo>
                      <a:pt x="526" y="104"/>
                      <a:pt x="527" y="104"/>
                      <a:pt x="525" y="102"/>
                    </a:cubicBezTo>
                    <a:cubicBezTo>
                      <a:pt x="522" y="100"/>
                      <a:pt x="522" y="101"/>
                      <a:pt x="521" y="97"/>
                    </a:cubicBezTo>
                    <a:cubicBezTo>
                      <a:pt x="520" y="95"/>
                      <a:pt x="520" y="88"/>
                      <a:pt x="518" y="86"/>
                    </a:cubicBezTo>
                    <a:cubicBezTo>
                      <a:pt x="516" y="85"/>
                      <a:pt x="514" y="87"/>
                      <a:pt x="513" y="85"/>
                    </a:cubicBezTo>
                    <a:cubicBezTo>
                      <a:pt x="512" y="85"/>
                      <a:pt x="512" y="80"/>
                      <a:pt x="513" y="80"/>
                    </a:cubicBezTo>
                    <a:cubicBezTo>
                      <a:pt x="514" y="77"/>
                      <a:pt x="517" y="80"/>
                      <a:pt x="517" y="76"/>
                    </a:cubicBezTo>
                    <a:cubicBezTo>
                      <a:pt x="518" y="72"/>
                      <a:pt x="512" y="71"/>
                      <a:pt x="509" y="70"/>
                    </a:cubicBezTo>
                    <a:cubicBezTo>
                      <a:pt x="508" y="69"/>
                      <a:pt x="506" y="68"/>
                      <a:pt x="505" y="67"/>
                    </a:cubicBezTo>
                    <a:cubicBezTo>
                      <a:pt x="502" y="67"/>
                      <a:pt x="500" y="69"/>
                      <a:pt x="498" y="69"/>
                    </a:cubicBezTo>
                    <a:cubicBezTo>
                      <a:pt x="494" y="69"/>
                      <a:pt x="491" y="67"/>
                      <a:pt x="491" y="64"/>
                    </a:cubicBezTo>
                    <a:cubicBezTo>
                      <a:pt x="490" y="62"/>
                      <a:pt x="491" y="60"/>
                      <a:pt x="490" y="59"/>
                    </a:cubicBezTo>
                    <a:cubicBezTo>
                      <a:pt x="488" y="55"/>
                      <a:pt x="483" y="57"/>
                      <a:pt x="480" y="56"/>
                    </a:cubicBezTo>
                    <a:cubicBezTo>
                      <a:pt x="476" y="56"/>
                      <a:pt x="469" y="50"/>
                      <a:pt x="469" y="46"/>
                    </a:cubicBezTo>
                    <a:cubicBezTo>
                      <a:pt x="470" y="44"/>
                      <a:pt x="473" y="43"/>
                      <a:pt x="473" y="41"/>
                    </a:cubicBezTo>
                    <a:cubicBezTo>
                      <a:pt x="473" y="40"/>
                      <a:pt x="472" y="39"/>
                      <a:pt x="472" y="38"/>
                    </a:cubicBezTo>
                    <a:cubicBezTo>
                      <a:pt x="470" y="34"/>
                      <a:pt x="466" y="30"/>
                      <a:pt x="461" y="31"/>
                    </a:cubicBezTo>
                    <a:cubicBezTo>
                      <a:pt x="457" y="31"/>
                      <a:pt x="453" y="35"/>
                      <a:pt x="449" y="35"/>
                    </a:cubicBezTo>
                    <a:cubicBezTo>
                      <a:pt x="444" y="36"/>
                      <a:pt x="442" y="32"/>
                      <a:pt x="438" y="29"/>
                    </a:cubicBezTo>
                    <a:cubicBezTo>
                      <a:pt x="435" y="26"/>
                      <a:pt x="434" y="24"/>
                      <a:pt x="433" y="20"/>
                    </a:cubicBezTo>
                    <a:cubicBezTo>
                      <a:pt x="433" y="17"/>
                      <a:pt x="433" y="13"/>
                      <a:pt x="433" y="10"/>
                    </a:cubicBezTo>
                    <a:cubicBezTo>
                      <a:pt x="434" y="8"/>
                      <a:pt x="434" y="8"/>
                      <a:pt x="434" y="8"/>
                    </a:cubicBezTo>
                    <a:cubicBezTo>
                      <a:pt x="434" y="7"/>
                      <a:pt x="434" y="8"/>
                      <a:pt x="433" y="7"/>
                    </a:cubicBezTo>
                    <a:cubicBezTo>
                      <a:pt x="433" y="7"/>
                      <a:pt x="432" y="4"/>
                      <a:pt x="432" y="4"/>
                    </a:cubicBezTo>
                    <a:cubicBezTo>
                      <a:pt x="431" y="3"/>
                      <a:pt x="429" y="2"/>
                      <a:pt x="427" y="1"/>
                    </a:cubicBezTo>
                    <a:cubicBezTo>
                      <a:pt x="422" y="0"/>
                      <a:pt x="418" y="1"/>
                      <a:pt x="416" y="5"/>
                    </a:cubicBezTo>
                    <a:cubicBezTo>
                      <a:pt x="415" y="6"/>
                      <a:pt x="415" y="7"/>
                      <a:pt x="415" y="8"/>
                    </a:cubicBezTo>
                    <a:cubicBezTo>
                      <a:pt x="414" y="8"/>
                      <a:pt x="412" y="9"/>
                      <a:pt x="411" y="10"/>
                    </a:cubicBezTo>
                    <a:cubicBezTo>
                      <a:pt x="410" y="11"/>
                      <a:pt x="410" y="14"/>
                      <a:pt x="408" y="15"/>
                    </a:cubicBezTo>
                    <a:cubicBezTo>
                      <a:pt x="406" y="18"/>
                      <a:pt x="403" y="20"/>
                      <a:pt x="401" y="23"/>
                    </a:cubicBezTo>
                    <a:cubicBezTo>
                      <a:pt x="396" y="31"/>
                      <a:pt x="387" y="29"/>
                      <a:pt x="380" y="33"/>
                    </a:cubicBezTo>
                    <a:cubicBezTo>
                      <a:pt x="378" y="35"/>
                      <a:pt x="375" y="37"/>
                      <a:pt x="374" y="39"/>
                    </a:cubicBezTo>
                    <a:cubicBezTo>
                      <a:pt x="372" y="41"/>
                      <a:pt x="373" y="43"/>
                      <a:pt x="373" y="45"/>
                    </a:cubicBezTo>
                    <a:cubicBezTo>
                      <a:pt x="372" y="51"/>
                      <a:pt x="370" y="55"/>
                      <a:pt x="368" y="61"/>
                    </a:cubicBezTo>
                    <a:cubicBezTo>
                      <a:pt x="367" y="65"/>
                      <a:pt x="369" y="70"/>
                      <a:pt x="368" y="74"/>
                    </a:cubicBezTo>
                    <a:cubicBezTo>
                      <a:pt x="367" y="79"/>
                      <a:pt x="365" y="86"/>
                      <a:pt x="361" y="90"/>
                    </a:cubicBezTo>
                    <a:cubicBezTo>
                      <a:pt x="358" y="94"/>
                      <a:pt x="352" y="95"/>
                      <a:pt x="348" y="97"/>
                    </a:cubicBezTo>
                    <a:cubicBezTo>
                      <a:pt x="345" y="99"/>
                      <a:pt x="341" y="102"/>
                      <a:pt x="338" y="105"/>
                    </a:cubicBezTo>
                    <a:cubicBezTo>
                      <a:pt x="335" y="106"/>
                      <a:pt x="334" y="107"/>
                      <a:pt x="331" y="108"/>
                    </a:cubicBezTo>
                    <a:cubicBezTo>
                      <a:pt x="328" y="109"/>
                      <a:pt x="326" y="112"/>
                      <a:pt x="323" y="113"/>
                    </a:cubicBezTo>
                    <a:cubicBezTo>
                      <a:pt x="321" y="115"/>
                      <a:pt x="317" y="114"/>
                      <a:pt x="314" y="115"/>
                    </a:cubicBezTo>
                    <a:cubicBezTo>
                      <a:pt x="311" y="116"/>
                      <a:pt x="310" y="118"/>
                      <a:pt x="307" y="119"/>
                    </a:cubicBezTo>
                    <a:cubicBezTo>
                      <a:pt x="304" y="122"/>
                      <a:pt x="298" y="120"/>
                      <a:pt x="295" y="122"/>
                    </a:cubicBezTo>
                    <a:cubicBezTo>
                      <a:pt x="293" y="123"/>
                      <a:pt x="293" y="125"/>
                      <a:pt x="292" y="126"/>
                    </a:cubicBezTo>
                    <a:cubicBezTo>
                      <a:pt x="290" y="128"/>
                      <a:pt x="287" y="128"/>
                      <a:pt x="284" y="128"/>
                    </a:cubicBezTo>
                    <a:cubicBezTo>
                      <a:pt x="282" y="128"/>
                      <a:pt x="280" y="127"/>
                      <a:pt x="279" y="129"/>
                    </a:cubicBezTo>
                    <a:cubicBezTo>
                      <a:pt x="278" y="131"/>
                      <a:pt x="280" y="134"/>
                      <a:pt x="280" y="136"/>
                    </a:cubicBezTo>
                    <a:cubicBezTo>
                      <a:pt x="282" y="141"/>
                      <a:pt x="285" y="144"/>
                      <a:pt x="290" y="145"/>
                    </a:cubicBezTo>
                    <a:cubicBezTo>
                      <a:pt x="292" y="151"/>
                      <a:pt x="286" y="152"/>
                      <a:pt x="282" y="154"/>
                    </a:cubicBezTo>
                    <a:cubicBezTo>
                      <a:pt x="278" y="156"/>
                      <a:pt x="275" y="158"/>
                      <a:pt x="271" y="157"/>
                    </a:cubicBezTo>
                    <a:cubicBezTo>
                      <a:pt x="269" y="156"/>
                      <a:pt x="268" y="155"/>
                      <a:pt x="266" y="155"/>
                    </a:cubicBezTo>
                    <a:cubicBezTo>
                      <a:pt x="263" y="155"/>
                      <a:pt x="262" y="156"/>
                      <a:pt x="259" y="157"/>
                    </a:cubicBezTo>
                    <a:cubicBezTo>
                      <a:pt x="255" y="159"/>
                      <a:pt x="249" y="159"/>
                      <a:pt x="245" y="157"/>
                    </a:cubicBezTo>
                    <a:cubicBezTo>
                      <a:pt x="237" y="152"/>
                      <a:pt x="224" y="155"/>
                      <a:pt x="219" y="148"/>
                    </a:cubicBezTo>
                    <a:cubicBezTo>
                      <a:pt x="218" y="147"/>
                      <a:pt x="217" y="145"/>
                      <a:pt x="216" y="143"/>
                    </a:cubicBezTo>
                    <a:cubicBezTo>
                      <a:pt x="214" y="142"/>
                      <a:pt x="211" y="141"/>
                      <a:pt x="210" y="138"/>
                    </a:cubicBezTo>
                    <a:cubicBezTo>
                      <a:pt x="210" y="136"/>
                      <a:pt x="210" y="133"/>
                      <a:pt x="210" y="131"/>
                    </a:cubicBezTo>
                    <a:cubicBezTo>
                      <a:pt x="210" y="129"/>
                      <a:pt x="209" y="127"/>
                      <a:pt x="209" y="124"/>
                    </a:cubicBezTo>
                    <a:cubicBezTo>
                      <a:pt x="205" y="122"/>
                      <a:pt x="192" y="122"/>
                      <a:pt x="188" y="126"/>
                    </a:cubicBezTo>
                    <a:cubicBezTo>
                      <a:pt x="185" y="128"/>
                      <a:pt x="182" y="130"/>
                      <a:pt x="179" y="132"/>
                    </a:cubicBezTo>
                    <a:cubicBezTo>
                      <a:pt x="177" y="136"/>
                      <a:pt x="177" y="142"/>
                      <a:pt x="179" y="146"/>
                    </a:cubicBezTo>
                    <a:cubicBezTo>
                      <a:pt x="181" y="150"/>
                      <a:pt x="180" y="154"/>
                      <a:pt x="182" y="158"/>
                    </a:cubicBezTo>
                    <a:cubicBezTo>
                      <a:pt x="183" y="160"/>
                      <a:pt x="184" y="161"/>
                      <a:pt x="185" y="163"/>
                    </a:cubicBezTo>
                    <a:cubicBezTo>
                      <a:pt x="188" y="168"/>
                      <a:pt x="190" y="174"/>
                      <a:pt x="190" y="179"/>
                    </a:cubicBezTo>
                    <a:cubicBezTo>
                      <a:pt x="191" y="186"/>
                      <a:pt x="192" y="194"/>
                      <a:pt x="193" y="202"/>
                    </a:cubicBezTo>
                    <a:cubicBezTo>
                      <a:pt x="193" y="205"/>
                      <a:pt x="193" y="207"/>
                      <a:pt x="192" y="208"/>
                    </a:cubicBezTo>
                    <a:cubicBezTo>
                      <a:pt x="192" y="207"/>
                      <a:pt x="188" y="210"/>
                      <a:pt x="189" y="210"/>
                    </a:cubicBezTo>
                    <a:cubicBezTo>
                      <a:pt x="188" y="210"/>
                      <a:pt x="187" y="211"/>
                      <a:pt x="186" y="211"/>
                    </a:cubicBezTo>
                    <a:cubicBezTo>
                      <a:pt x="184" y="211"/>
                      <a:pt x="183" y="211"/>
                      <a:pt x="182" y="211"/>
                    </a:cubicBezTo>
                    <a:cubicBezTo>
                      <a:pt x="182" y="211"/>
                      <a:pt x="179" y="213"/>
                      <a:pt x="180" y="213"/>
                    </a:cubicBezTo>
                    <a:cubicBezTo>
                      <a:pt x="177" y="213"/>
                      <a:pt x="179" y="212"/>
                      <a:pt x="176" y="211"/>
                    </a:cubicBezTo>
                    <a:cubicBezTo>
                      <a:pt x="175" y="211"/>
                      <a:pt x="171" y="211"/>
                      <a:pt x="171" y="211"/>
                    </a:cubicBezTo>
                    <a:cubicBezTo>
                      <a:pt x="169" y="211"/>
                      <a:pt x="169" y="213"/>
                      <a:pt x="168" y="213"/>
                    </a:cubicBezTo>
                    <a:cubicBezTo>
                      <a:pt x="167" y="214"/>
                      <a:pt x="166" y="213"/>
                      <a:pt x="165" y="214"/>
                    </a:cubicBezTo>
                    <a:cubicBezTo>
                      <a:pt x="164" y="214"/>
                      <a:pt x="164" y="215"/>
                      <a:pt x="164" y="215"/>
                    </a:cubicBezTo>
                    <a:cubicBezTo>
                      <a:pt x="162" y="216"/>
                      <a:pt x="161" y="216"/>
                      <a:pt x="160" y="216"/>
                    </a:cubicBezTo>
                    <a:cubicBezTo>
                      <a:pt x="158" y="216"/>
                      <a:pt x="155" y="216"/>
                      <a:pt x="153" y="216"/>
                    </a:cubicBezTo>
                    <a:cubicBezTo>
                      <a:pt x="149" y="215"/>
                      <a:pt x="144" y="210"/>
                      <a:pt x="141" y="214"/>
                    </a:cubicBezTo>
                    <a:cubicBezTo>
                      <a:pt x="138" y="217"/>
                      <a:pt x="140" y="218"/>
                      <a:pt x="137" y="219"/>
                    </a:cubicBezTo>
                    <a:cubicBezTo>
                      <a:pt x="135" y="220"/>
                      <a:pt x="131" y="219"/>
                      <a:pt x="129" y="219"/>
                    </a:cubicBezTo>
                    <a:cubicBezTo>
                      <a:pt x="122" y="219"/>
                      <a:pt x="120" y="217"/>
                      <a:pt x="118" y="210"/>
                    </a:cubicBezTo>
                    <a:cubicBezTo>
                      <a:pt x="117" y="205"/>
                      <a:pt x="115" y="203"/>
                      <a:pt x="110" y="201"/>
                    </a:cubicBezTo>
                    <a:cubicBezTo>
                      <a:pt x="107" y="199"/>
                      <a:pt x="101" y="201"/>
                      <a:pt x="100" y="198"/>
                    </a:cubicBezTo>
                    <a:cubicBezTo>
                      <a:pt x="98" y="200"/>
                      <a:pt x="98" y="202"/>
                      <a:pt x="95" y="203"/>
                    </a:cubicBezTo>
                    <a:cubicBezTo>
                      <a:pt x="94" y="203"/>
                      <a:pt x="92" y="202"/>
                      <a:pt x="91" y="203"/>
                    </a:cubicBezTo>
                    <a:cubicBezTo>
                      <a:pt x="89" y="203"/>
                      <a:pt x="88" y="205"/>
                      <a:pt x="86" y="206"/>
                    </a:cubicBezTo>
                    <a:cubicBezTo>
                      <a:pt x="85" y="206"/>
                      <a:pt x="84" y="206"/>
                      <a:pt x="83" y="206"/>
                    </a:cubicBezTo>
                    <a:cubicBezTo>
                      <a:pt x="82" y="206"/>
                      <a:pt x="82" y="207"/>
                      <a:pt x="81" y="208"/>
                    </a:cubicBezTo>
                    <a:cubicBezTo>
                      <a:pt x="80" y="209"/>
                      <a:pt x="80" y="210"/>
                      <a:pt x="78" y="210"/>
                    </a:cubicBezTo>
                    <a:cubicBezTo>
                      <a:pt x="76" y="212"/>
                      <a:pt x="74" y="211"/>
                      <a:pt x="71" y="210"/>
                    </a:cubicBezTo>
                    <a:cubicBezTo>
                      <a:pt x="69" y="210"/>
                      <a:pt x="64" y="209"/>
                      <a:pt x="62" y="210"/>
                    </a:cubicBezTo>
                    <a:cubicBezTo>
                      <a:pt x="59" y="211"/>
                      <a:pt x="60" y="215"/>
                      <a:pt x="56" y="213"/>
                    </a:cubicBezTo>
                    <a:cubicBezTo>
                      <a:pt x="53" y="212"/>
                      <a:pt x="54" y="209"/>
                      <a:pt x="50" y="208"/>
                    </a:cubicBezTo>
                    <a:cubicBezTo>
                      <a:pt x="46" y="208"/>
                      <a:pt x="44" y="209"/>
                      <a:pt x="41" y="211"/>
                    </a:cubicBezTo>
                    <a:cubicBezTo>
                      <a:pt x="41" y="211"/>
                      <a:pt x="40" y="211"/>
                      <a:pt x="39" y="211"/>
                    </a:cubicBezTo>
                    <a:cubicBezTo>
                      <a:pt x="39" y="211"/>
                      <a:pt x="38" y="212"/>
                      <a:pt x="38" y="213"/>
                    </a:cubicBezTo>
                    <a:cubicBezTo>
                      <a:pt x="36" y="213"/>
                      <a:pt x="35" y="213"/>
                      <a:pt x="33" y="213"/>
                    </a:cubicBezTo>
                    <a:cubicBezTo>
                      <a:pt x="31" y="213"/>
                      <a:pt x="27" y="213"/>
                      <a:pt x="26" y="214"/>
                    </a:cubicBezTo>
                    <a:cubicBezTo>
                      <a:pt x="23" y="215"/>
                      <a:pt x="21" y="218"/>
                      <a:pt x="20" y="220"/>
                    </a:cubicBezTo>
                    <a:cubicBezTo>
                      <a:pt x="20" y="221"/>
                      <a:pt x="19" y="221"/>
                      <a:pt x="18" y="222"/>
                    </a:cubicBezTo>
                    <a:cubicBezTo>
                      <a:pt x="18" y="222"/>
                      <a:pt x="17" y="222"/>
                      <a:pt x="17" y="222"/>
                    </a:cubicBezTo>
                    <a:cubicBezTo>
                      <a:pt x="16" y="223"/>
                      <a:pt x="14" y="224"/>
                      <a:pt x="13" y="224"/>
                    </a:cubicBezTo>
                    <a:cubicBezTo>
                      <a:pt x="11" y="225"/>
                      <a:pt x="9" y="232"/>
                      <a:pt x="8" y="234"/>
                    </a:cubicBezTo>
                    <a:cubicBezTo>
                      <a:pt x="8" y="237"/>
                      <a:pt x="8" y="237"/>
                      <a:pt x="10" y="238"/>
                    </a:cubicBezTo>
                    <a:cubicBezTo>
                      <a:pt x="10" y="238"/>
                      <a:pt x="11" y="237"/>
                      <a:pt x="12" y="237"/>
                    </a:cubicBezTo>
                    <a:cubicBezTo>
                      <a:pt x="14" y="238"/>
                      <a:pt x="14" y="240"/>
                      <a:pt x="16" y="240"/>
                    </a:cubicBezTo>
                    <a:cubicBezTo>
                      <a:pt x="17" y="240"/>
                      <a:pt x="18" y="240"/>
                      <a:pt x="19" y="240"/>
                    </a:cubicBezTo>
                    <a:cubicBezTo>
                      <a:pt x="21" y="241"/>
                      <a:pt x="23" y="241"/>
                      <a:pt x="24" y="242"/>
                    </a:cubicBezTo>
                    <a:cubicBezTo>
                      <a:pt x="28" y="243"/>
                      <a:pt x="27" y="241"/>
                      <a:pt x="31" y="240"/>
                    </a:cubicBezTo>
                    <a:cubicBezTo>
                      <a:pt x="34" y="239"/>
                      <a:pt x="38" y="242"/>
                      <a:pt x="36" y="246"/>
                    </a:cubicBezTo>
                    <a:cubicBezTo>
                      <a:pt x="32" y="247"/>
                      <a:pt x="28" y="244"/>
                      <a:pt x="23" y="245"/>
                    </a:cubicBezTo>
                    <a:cubicBezTo>
                      <a:pt x="21" y="249"/>
                      <a:pt x="30" y="249"/>
                      <a:pt x="32" y="250"/>
                    </a:cubicBezTo>
                    <a:cubicBezTo>
                      <a:pt x="34" y="251"/>
                      <a:pt x="35" y="252"/>
                      <a:pt x="35" y="254"/>
                    </a:cubicBezTo>
                    <a:cubicBezTo>
                      <a:pt x="34" y="256"/>
                      <a:pt x="33" y="255"/>
                      <a:pt x="31" y="255"/>
                    </a:cubicBezTo>
                    <a:cubicBezTo>
                      <a:pt x="28" y="256"/>
                      <a:pt x="26" y="255"/>
                      <a:pt x="23" y="255"/>
                    </a:cubicBezTo>
                    <a:cubicBezTo>
                      <a:pt x="19" y="256"/>
                      <a:pt x="16" y="254"/>
                      <a:pt x="11" y="254"/>
                    </a:cubicBezTo>
                    <a:cubicBezTo>
                      <a:pt x="9" y="254"/>
                      <a:pt x="4" y="253"/>
                      <a:pt x="2" y="254"/>
                    </a:cubicBezTo>
                    <a:cubicBezTo>
                      <a:pt x="1" y="254"/>
                      <a:pt x="0" y="254"/>
                      <a:pt x="0" y="257"/>
                    </a:cubicBezTo>
                    <a:cubicBezTo>
                      <a:pt x="1" y="260"/>
                      <a:pt x="7" y="260"/>
                      <a:pt x="10" y="262"/>
                    </a:cubicBezTo>
                    <a:cubicBezTo>
                      <a:pt x="12" y="264"/>
                      <a:pt x="14" y="266"/>
                      <a:pt x="17" y="266"/>
                    </a:cubicBezTo>
                    <a:cubicBezTo>
                      <a:pt x="22" y="268"/>
                      <a:pt x="27" y="271"/>
                      <a:pt x="33" y="272"/>
                    </a:cubicBezTo>
                    <a:cubicBezTo>
                      <a:pt x="33" y="273"/>
                      <a:pt x="33" y="276"/>
                      <a:pt x="33" y="277"/>
                    </a:cubicBezTo>
                    <a:cubicBezTo>
                      <a:pt x="32" y="279"/>
                      <a:pt x="31" y="279"/>
                      <a:pt x="30" y="281"/>
                    </a:cubicBezTo>
                    <a:cubicBezTo>
                      <a:pt x="28" y="286"/>
                      <a:pt x="33" y="287"/>
                      <a:pt x="36" y="288"/>
                    </a:cubicBezTo>
                    <a:cubicBezTo>
                      <a:pt x="37" y="288"/>
                      <a:pt x="39" y="288"/>
                      <a:pt x="40" y="288"/>
                    </a:cubicBezTo>
                    <a:cubicBezTo>
                      <a:pt x="43" y="287"/>
                      <a:pt x="41" y="285"/>
                      <a:pt x="43" y="283"/>
                    </a:cubicBezTo>
                    <a:cubicBezTo>
                      <a:pt x="45" y="281"/>
                      <a:pt x="47" y="283"/>
                      <a:pt x="49" y="285"/>
                    </a:cubicBezTo>
                    <a:cubicBezTo>
                      <a:pt x="49" y="284"/>
                      <a:pt x="51" y="283"/>
                      <a:pt x="52" y="283"/>
                    </a:cubicBezTo>
                    <a:cubicBezTo>
                      <a:pt x="52" y="280"/>
                      <a:pt x="57" y="279"/>
                      <a:pt x="58" y="281"/>
                    </a:cubicBezTo>
                    <a:cubicBezTo>
                      <a:pt x="60" y="282"/>
                      <a:pt x="58" y="284"/>
                      <a:pt x="60" y="286"/>
                    </a:cubicBezTo>
                    <a:cubicBezTo>
                      <a:pt x="62" y="286"/>
                      <a:pt x="63" y="286"/>
                      <a:pt x="65" y="286"/>
                    </a:cubicBezTo>
                    <a:cubicBezTo>
                      <a:pt x="67" y="287"/>
                      <a:pt x="68" y="288"/>
                      <a:pt x="71" y="289"/>
                    </a:cubicBezTo>
                    <a:cubicBezTo>
                      <a:pt x="73" y="289"/>
                      <a:pt x="75" y="289"/>
                      <a:pt x="77" y="289"/>
                    </a:cubicBezTo>
                    <a:cubicBezTo>
                      <a:pt x="83" y="288"/>
                      <a:pt x="81" y="290"/>
                      <a:pt x="84" y="294"/>
                    </a:cubicBezTo>
                    <a:cubicBezTo>
                      <a:pt x="85" y="297"/>
                      <a:pt x="84" y="295"/>
                      <a:pt x="87" y="296"/>
                    </a:cubicBezTo>
                    <a:cubicBezTo>
                      <a:pt x="89" y="297"/>
                      <a:pt x="88" y="297"/>
                      <a:pt x="90" y="299"/>
                    </a:cubicBezTo>
                    <a:cubicBezTo>
                      <a:pt x="93" y="301"/>
                      <a:pt x="93" y="301"/>
                      <a:pt x="96" y="302"/>
                    </a:cubicBezTo>
                    <a:cubicBezTo>
                      <a:pt x="100" y="302"/>
                      <a:pt x="98" y="302"/>
                      <a:pt x="101" y="305"/>
                    </a:cubicBezTo>
                    <a:cubicBezTo>
                      <a:pt x="104" y="308"/>
                      <a:pt x="108" y="306"/>
                      <a:pt x="112" y="305"/>
                    </a:cubicBezTo>
                    <a:cubicBezTo>
                      <a:pt x="114" y="303"/>
                      <a:pt x="118" y="303"/>
                      <a:pt x="120" y="304"/>
                    </a:cubicBezTo>
                    <a:cubicBezTo>
                      <a:pt x="123" y="309"/>
                      <a:pt x="113" y="305"/>
                      <a:pt x="114" y="310"/>
                    </a:cubicBezTo>
                    <a:cubicBezTo>
                      <a:pt x="114" y="313"/>
                      <a:pt x="126" y="312"/>
                      <a:pt x="129" y="312"/>
                    </a:cubicBezTo>
                    <a:cubicBezTo>
                      <a:pt x="132" y="312"/>
                      <a:pt x="136" y="311"/>
                      <a:pt x="136" y="315"/>
                    </a:cubicBezTo>
                    <a:cubicBezTo>
                      <a:pt x="136" y="317"/>
                      <a:pt x="134" y="319"/>
                      <a:pt x="133" y="320"/>
                    </a:cubicBezTo>
                    <a:cubicBezTo>
                      <a:pt x="132" y="321"/>
                      <a:pt x="131" y="325"/>
                      <a:pt x="132" y="326"/>
                    </a:cubicBezTo>
                    <a:cubicBezTo>
                      <a:pt x="132" y="331"/>
                      <a:pt x="139" y="327"/>
                      <a:pt x="142" y="328"/>
                    </a:cubicBezTo>
                    <a:cubicBezTo>
                      <a:pt x="145" y="329"/>
                      <a:pt x="147" y="333"/>
                      <a:pt x="148" y="335"/>
                    </a:cubicBezTo>
                    <a:cubicBezTo>
                      <a:pt x="148" y="337"/>
                      <a:pt x="147" y="340"/>
                      <a:pt x="147" y="341"/>
                    </a:cubicBezTo>
                    <a:cubicBezTo>
                      <a:pt x="148" y="343"/>
                      <a:pt x="151" y="343"/>
                      <a:pt x="153" y="344"/>
                    </a:cubicBezTo>
                    <a:cubicBezTo>
                      <a:pt x="155" y="346"/>
                      <a:pt x="155" y="346"/>
                      <a:pt x="156" y="349"/>
                    </a:cubicBezTo>
                    <a:cubicBezTo>
                      <a:pt x="157" y="350"/>
                      <a:pt x="158" y="354"/>
                      <a:pt x="157" y="355"/>
                    </a:cubicBezTo>
                    <a:cubicBezTo>
                      <a:pt x="156" y="355"/>
                      <a:pt x="154" y="356"/>
                      <a:pt x="153" y="355"/>
                    </a:cubicBezTo>
                    <a:cubicBezTo>
                      <a:pt x="152" y="355"/>
                      <a:pt x="150" y="351"/>
                      <a:pt x="149" y="350"/>
                    </a:cubicBezTo>
                    <a:cubicBezTo>
                      <a:pt x="148" y="349"/>
                      <a:pt x="148" y="347"/>
                      <a:pt x="145" y="347"/>
                    </a:cubicBezTo>
                    <a:cubicBezTo>
                      <a:pt x="142" y="347"/>
                      <a:pt x="141" y="351"/>
                      <a:pt x="142" y="353"/>
                    </a:cubicBezTo>
                    <a:cubicBezTo>
                      <a:pt x="143" y="355"/>
                      <a:pt x="146" y="356"/>
                      <a:pt x="147" y="358"/>
                    </a:cubicBezTo>
                    <a:cubicBezTo>
                      <a:pt x="149" y="360"/>
                      <a:pt x="150" y="362"/>
                      <a:pt x="152" y="364"/>
                    </a:cubicBezTo>
                    <a:cubicBezTo>
                      <a:pt x="156" y="368"/>
                      <a:pt x="161" y="373"/>
                      <a:pt x="161" y="379"/>
                    </a:cubicBezTo>
                    <a:cubicBezTo>
                      <a:pt x="165" y="379"/>
                      <a:pt x="165" y="385"/>
                      <a:pt x="167" y="387"/>
                    </a:cubicBezTo>
                    <a:cubicBezTo>
                      <a:pt x="169" y="388"/>
                      <a:pt x="171" y="388"/>
                      <a:pt x="172" y="389"/>
                    </a:cubicBezTo>
                    <a:cubicBezTo>
                      <a:pt x="174" y="390"/>
                      <a:pt x="174" y="393"/>
                      <a:pt x="175" y="395"/>
                    </a:cubicBezTo>
                    <a:cubicBezTo>
                      <a:pt x="176" y="396"/>
                      <a:pt x="179" y="400"/>
                      <a:pt x="180" y="400"/>
                    </a:cubicBezTo>
                    <a:cubicBezTo>
                      <a:pt x="182" y="401"/>
                      <a:pt x="184" y="401"/>
                      <a:pt x="187" y="401"/>
                    </a:cubicBezTo>
                    <a:cubicBezTo>
                      <a:pt x="191" y="401"/>
                      <a:pt x="192" y="403"/>
                      <a:pt x="196" y="403"/>
                    </a:cubicBezTo>
                    <a:cubicBezTo>
                      <a:pt x="199" y="403"/>
                      <a:pt x="199" y="403"/>
                      <a:pt x="201" y="404"/>
                    </a:cubicBezTo>
                    <a:cubicBezTo>
                      <a:pt x="202" y="405"/>
                      <a:pt x="203" y="407"/>
                      <a:pt x="205" y="408"/>
                    </a:cubicBezTo>
                    <a:cubicBezTo>
                      <a:pt x="207" y="408"/>
                      <a:pt x="207" y="407"/>
                      <a:pt x="208" y="406"/>
                    </a:cubicBezTo>
                    <a:cubicBezTo>
                      <a:pt x="210" y="406"/>
                      <a:pt x="212" y="405"/>
                      <a:pt x="214" y="405"/>
                    </a:cubicBezTo>
                    <a:cubicBezTo>
                      <a:pt x="218" y="405"/>
                      <a:pt x="222" y="405"/>
                      <a:pt x="226" y="405"/>
                    </a:cubicBezTo>
                    <a:cubicBezTo>
                      <a:pt x="228" y="405"/>
                      <a:pt x="231" y="404"/>
                      <a:pt x="231" y="406"/>
                    </a:cubicBezTo>
                    <a:cubicBezTo>
                      <a:pt x="232" y="409"/>
                      <a:pt x="226" y="409"/>
                      <a:pt x="224" y="409"/>
                    </a:cubicBezTo>
                    <a:cubicBezTo>
                      <a:pt x="221" y="409"/>
                      <a:pt x="218" y="409"/>
                      <a:pt x="215" y="409"/>
                    </a:cubicBezTo>
                    <a:cubicBezTo>
                      <a:pt x="211" y="409"/>
                      <a:pt x="208" y="407"/>
                      <a:pt x="208" y="412"/>
                    </a:cubicBezTo>
                    <a:cubicBezTo>
                      <a:pt x="208" y="414"/>
                      <a:pt x="208" y="417"/>
                      <a:pt x="209" y="419"/>
                    </a:cubicBezTo>
                    <a:cubicBezTo>
                      <a:pt x="210" y="420"/>
                      <a:pt x="211" y="421"/>
                      <a:pt x="212" y="422"/>
                    </a:cubicBezTo>
                    <a:cubicBezTo>
                      <a:pt x="214" y="426"/>
                      <a:pt x="212" y="431"/>
                      <a:pt x="211" y="434"/>
                    </a:cubicBezTo>
                    <a:cubicBezTo>
                      <a:pt x="211" y="436"/>
                      <a:pt x="211" y="443"/>
                      <a:pt x="208" y="443"/>
                    </a:cubicBezTo>
                    <a:cubicBezTo>
                      <a:pt x="208" y="442"/>
                      <a:pt x="204" y="438"/>
                      <a:pt x="204" y="438"/>
                    </a:cubicBezTo>
                    <a:cubicBezTo>
                      <a:pt x="203" y="437"/>
                      <a:pt x="202" y="436"/>
                      <a:pt x="202" y="434"/>
                    </a:cubicBezTo>
                    <a:cubicBezTo>
                      <a:pt x="199" y="430"/>
                      <a:pt x="198" y="432"/>
                      <a:pt x="194" y="430"/>
                    </a:cubicBezTo>
                    <a:cubicBezTo>
                      <a:pt x="189" y="428"/>
                      <a:pt x="193" y="424"/>
                      <a:pt x="189" y="422"/>
                    </a:cubicBezTo>
                    <a:cubicBezTo>
                      <a:pt x="186" y="424"/>
                      <a:pt x="190" y="429"/>
                      <a:pt x="192" y="431"/>
                    </a:cubicBezTo>
                    <a:cubicBezTo>
                      <a:pt x="193" y="433"/>
                      <a:pt x="193" y="434"/>
                      <a:pt x="194" y="435"/>
                    </a:cubicBezTo>
                    <a:cubicBezTo>
                      <a:pt x="196" y="437"/>
                      <a:pt x="196" y="437"/>
                      <a:pt x="198" y="438"/>
                    </a:cubicBezTo>
                    <a:cubicBezTo>
                      <a:pt x="202" y="441"/>
                      <a:pt x="201" y="446"/>
                      <a:pt x="203" y="450"/>
                    </a:cubicBezTo>
                    <a:cubicBezTo>
                      <a:pt x="205" y="454"/>
                      <a:pt x="206" y="458"/>
                      <a:pt x="210" y="460"/>
                    </a:cubicBezTo>
                    <a:cubicBezTo>
                      <a:pt x="212" y="461"/>
                      <a:pt x="214" y="463"/>
                      <a:pt x="216" y="464"/>
                    </a:cubicBezTo>
                    <a:cubicBezTo>
                      <a:pt x="217" y="465"/>
                      <a:pt x="220" y="467"/>
                      <a:pt x="221" y="468"/>
                    </a:cubicBezTo>
                    <a:cubicBezTo>
                      <a:pt x="223" y="470"/>
                      <a:pt x="222" y="473"/>
                      <a:pt x="223" y="475"/>
                    </a:cubicBezTo>
                    <a:cubicBezTo>
                      <a:pt x="225" y="480"/>
                      <a:pt x="227" y="485"/>
                      <a:pt x="229" y="490"/>
                    </a:cubicBezTo>
                    <a:cubicBezTo>
                      <a:pt x="231" y="494"/>
                      <a:pt x="230" y="499"/>
                      <a:pt x="231" y="503"/>
                    </a:cubicBezTo>
                    <a:cubicBezTo>
                      <a:pt x="232" y="505"/>
                      <a:pt x="233" y="506"/>
                      <a:pt x="233" y="507"/>
                    </a:cubicBezTo>
                    <a:cubicBezTo>
                      <a:pt x="234" y="509"/>
                      <a:pt x="234" y="511"/>
                      <a:pt x="234" y="514"/>
                    </a:cubicBezTo>
                    <a:cubicBezTo>
                      <a:pt x="234" y="510"/>
                      <a:pt x="232" y="505"/>
                      <a:pt x="229" y="502"/>
                    </a:cubicBezTo>
                    <a:cubicBezTo>
                      <a:pt x="227" y="498"/>
                      <a:pt x="225" y="494"/>
                      <a:pt x="223" y="491"/>
                    </a:cubicBezTo>
                    <a:cubicBezTo>
                      <a:pt x="221" y="487"/>
                      <a:pt x="221" y="482"/>
                      <a:pt x="219" y="479"/>
                    </a:cubicBezTo>
                    <a:cubicBezTo>
                      <a:pt x="216" y="476"/>
                      <a:pt x="213" y="472"/>
                      <a:pt x="210" y="470"/>
                    </a:cubicBezTo>
                    <a:cubicBezTo>
                      <a:pt x="210" y="470"/>
                      <a:pt x="206" y="467"/>
                      <a:pt x="206" y="467"/>
                    </a:cubicBezTo>
                    <a:cubicBezTo>
                      <a:pt x="204" y="467"/>
                      <a:pt x="203" y="472"/>
                      <a:pt x="203" y="474"/>
                    </a:cubicBezTo>
                    <a:cubicBezTo>
                      <a:pt x="202" y="479"/>
                      <a:pt x="203" y="485"/>
                      <a:pt x="203" y="491"/>
                    </a:cubicBezTo>
                    <a:cubicBezTo>
                      <a:pt x="203" y="494"/>
                      <a:pt x="203" y="497"/>
                      <a:pt x="203" y="500"/>
                    </a:cubicBezTo>
                    <a:cubicBezTo>
                      <a:pt x="202" y="502"/>
                      <a:pt x="201" y="503"/>
                      <a:pt x="200" y="505"/>
                    </a:cubicBezTo>
                    <a:cubicBezTo>
                      <a:pt x="199" y="508"/>
                      <a:pt x="200" y="512"/>
                      <a:pt x="199" y="516"/>
                    </a:cubicBezTo>
                    <a:cubicBezTo>
                      <a:pt x="198" y="519"/>
                      <a:pt x="197" y="521"/>
                      <a:pt x="196" y="524"/>
                    </a:cubicBezTo>
                    <a:cubicBezTo>
                      <a:pt x="196" y="528"/>
                      <a:pt x="195" y="532"/>
                      <a:pt x="194" y="535"/>
                    </a:cubicBezTo>
                    <a:cubicBezTo>
                      <a:pt x="194" y="538"/>
                      <a:pt x="194" y="541"/>
                      <a:pt x="194" y="543"/>
                    </a:cubicBezTo>
                    <a:cubicBezTo>
                      <a:pt x="193" y="546"/>
                      <a:pt x="192" y="548"/>
                      <a:pt x="191" y="551"/>
                    </a:cubicBezTo>
                    <a:cubicBezTo>
                      <a:pt x="191" y="556"/>
                      <a:pt x="190" y="560"/>
                      <a:pt x="189" y="565"/>
                    </a:cubicBezTo>
                    <a:cubicBezTo>
                      <a:pt x="189" y="567"/>
                      <a:pt x="188" y="570"/>
                      <a:pt x="188" y="573"/>
                    </a:cubicBezTo>
                    <a:cubicBezTo>
                      <a:pt x="187" y="577"/>
                      <a:pt x="186" y="576"/>
                      <a:pt x="184" y="579"/>
                    </a:cubicBezTo>
                    <a:cubicBezTo>
                      <a:pt x="181" y="583"/>
                      <a:pt x="182" y="589"/>
                      <a:pt x="182" y="594"/>
                    </a:cubicBezTo>
                    <a:cubicBezTo>
                      <a:pt x="182" y="600"/>
                      <a:pt x="182" y="606"/>
                      <a:pt x="181" y="610"/>
                    </a:cubicBezTo>
                    <a:cubicBezTo>
                      <a:pt x="179" y="617"/>
                      <a:pt x="176" y="619"/>
                      <a:pt x="170" y="623"/>
                    </a:cubicBezTo>
                    <a:cubicBezTo>
                      <a:pt x="168" y="624"/>
                      <a:pt x="166" y="626"/>
                      <a:pt x="165" y="627"/>
                    </a:cubicBezTo>
                    <a:cubicBezTo>
                      <a:pt x="164" y="629"/>
                      <a:pt x="164" y="633"/>
                      <a:pt x="164" y="635"/>
                    </a:cubicBezTo>
                    <a:cubicBezTo>
                      <a:pt x="165" y="636"/>
                      <a:pt x="166" y="637"/>
                      <a:pt x="166" y="637"/>
                    </a:cubicBezTo>
                    <a:cubicBezTo>
                      <a:pt x="168" y="637"/>
                      <a:pt x="169" y="638"/>
                      <a:pt x="169" y="638"/>
                    </a:cubicBezTo>
                    <a:cubicBezTo>
                      <a:pt x="170" y="639"/>
                      <a:pt x="171" y="639"/>
                      <a:pt x="172" y="640"/>
                    </a:cubicBezTo>
                    <a:cubicBezTo>
                      <a:pt x="173" y="640"/>
                      <a:pt x="174" y="640"/>
                      <a:pt x="175" y="640"/>
                    </a:cubicBezTo>
                    <a:cubicBezTo>
                      <a:pt x="176" y="641"/>
                      <a:pt x="178" y="640"/>
                      <a:pt x="179" y="642"/>
                    </a:cubicBezTo>
                    <a:cubicBezTo>
                      <a:pt x="182" y="646"/>
                      <a:pt x="176" y="649"/>
                      <a:pt x="177" y="653"/>
                    </a:cubicBezTo>
                    <a:cubicBezTo>
                      <a:pt x="178" y="657"/>
                      <a:pt x="180" y="658"/>
                      <a:pt x="182" y="656"/>
                    </a:cubicBezTo>
                    <a:cubicBezTo>
                      <a:pt x="184" y="655"/>
                      <a:pt x="185" y="652"/>
                      <a:pt x="188" y="653"/>
                    </a:cubicBezTo>
                    <a:cubicBezTo>
                      <a:pt x="188" y="657"/>
                      <a:pt x="194" y="659"/>
                      <a:pt x="197" y="661"/>
                    </a:cubicBezTo>
                    <a:cubicBezTo>
                      <a:pt x="199" y="663"/>
                      <a:pt x="201" y="664"/>
                      <a:pt x="203" y="665"/>
                    </a:cubicBezTo>
                    <a:cubicBezTo>
                      <a:pt x="210" y="668"/>
                      <a:pt x="217" y="665"/>
                      <a:pt x="219" y="674"/>
                    </a:cubicBezTo>
                    <a:cubicBezTo>
                      <a:pt x="225" y="675"/>
                      <a:pt x="230" y="677"/>
                      <a:pt x="235" y="677"/>
                    </a:cubicBezTo>
                    <a:cubicBezTo>
                      <a:pt x="238" y="678"/>
                      <a:pt x="242" y="676"/>
                      <a:pt x="244" y="677"/>
                    </a:cubicBezTo>
                    <a:cubicBezTo>
                      <a:pt x="245" y="677"/>
                      <a:pt x="247" y="679"/>
                      <a:pt x="247" y="680"/>
                    </a:cubicBezTo>
                    <a:cubicBezTo>
                      <a:pt x="249" y="681"/>
                      <a:pt x="251" y="682"/>
                      <a:pt x="253" y="683"/>
                    </a:cubicBezTo>
                    <a:cubicBezTo>
                      <a:pt x="254" y="684"/>
                      <a:pt x="256" y="685"/>
                      <a:pt x="258" y="685"/>
                    </a:cubicBezTo>
                    <a:cubicBezTo>
                      <a:pt x="260" y="685"/>
                      <a:pt x="262" y="684"/>
                      <a:pt x="265" y="684"/>
                    </a:cubicBezTo>
                    <a:cubicBezTo>
                      <a:pt x="273" y="684"/>
                      <a:pt x="282" y="685"/>
                      <a:pt x="290" y="684"/>
                    </a:cubicBezTo>
                    <a:cubicBezTo>
                      <a:pt x="292" y="684"/>
                      <a:pt x="293" y="685"/>
                      <a:pt x="294" y="683"/>
                    </a:cubicBezTo>
                    <a:cubicBezTo>
                      <a:pt x="295" y="682"/>
                      <a:pt x="294" y="681"/>
                      <a:pt x="295" y="680"/>
                    </a:cubicBezTo>
                    <a:cubicBezTo>
                      <a:pt x="295" y="678"/>
                      <a:pt x="296" y="678"/>
                      <a:pt x="296" y="677"/>
                    </a:cubicBezTo>
                    <a:cubicBezTo>
                      <a:pt x="297" y="676"/>
                      <a:pt x="297" y="674"/>
                      <a:pt x="297" y="672"/>
                    </a:cubicBezTo>
                    <a:cubicBezTo>
                      <a:pt x="300" y="673"/>
                      <a:pt x="302" y="675"/>
                      <a:pt x="305" y="675"/>
                    </a:cubicBezTo>
                    <a:cubicBezTo>
                      <a:pt x="309" y="676"/>
                      <a:pt x="313" y="679"/>
                      <a:pt x="318" y="680"/>
                    </a:cubicBezTo>
                    <a:cubicBezTo>
                      <a:pt x="320" y="680"/>
                      <a:pt x="322" y="680"/>
                      <a:pt x="324" y="681"/>
                    </a:cubicBezTo>
                    <a:cubicBezTo>
                      <a:pt x="327" y="682"/>
                      <a:pt x="328" y="683"/>
                      <a:pt x="330" y="684"/>
                    </a:cubicBezTo>
                    <a:cubicBezTo>
                      <a:pt x="333" y="685"/>
                      <a:pt x="336" y="687"/>
                      <a:pt x="337" y="690"/>
                    </a:cubicBezTo>
                    <a:cubicBezTo>
                      <a:pt x="337" y="690"/>
                      <a:pt x="337" y="690"/>
                      <a:pt x="337" y="690"/>
                    </a:cubicBezTo>
                    <a:cubicBezTo>
                      <a:pt x="338" y="690"/>
                      <a:pt x="338" y="689"/>
                      <a:pt x="338" y="689"/>
                    </a:cubicBezTo>
                    <a:cubicBezTo>
                      <a:pt x="339" y="689"/>
                      <a:pt x="339" y="688"/>
                      <a:pt x="339" y="688"/>
                    </a:cubicBezTo>
                    <a:cubicBezTo>
                      <a:pt x="340" y="686"/>
                      <a:pt x="340" y="685"/>
                      <a:pt x="342" y="684"/>
                    </a:cubicBezTo>
                    <a:cubicBezTo>
                      <a:pt x="342" y="684"/>
                      <a:pt x="343" y="685"/>
                      <a:pt x="344" y="685"/>
                    </a:cubicBezTo>
                    <a:cubicBezTo>
                      <a:pt x="345" y="686"/>
                      <a:pt x="346" y="686"/>
                      <a:pt x="346" y="687"/>
                    </a:cubicBezTo>
                    <a:cubicBezTo>
                      <a:pt x="348" y="688"/>
                      <a:pt x="349" y="687"/>
                      <a:pt x="349" y="687"/>
                    </a:cubicBezTo>
                    <a:cubicBezTo>
                      <a:pt x="350" y="688"/>
                      <a:pt x="351" y="688"/>
                      <a:pt x="352" y="688"/>
                    </a:cubicBezTo>
                    <a:cubicBezTo>
                      <a:pt x="353" y="689"/>
                      <a:pt x="355" y="689"/>
                      <a:pt x="356" y="689"/>
                    </a:cubicBezTo>
                    <a:cubicBezTo>
                      <a:pt x="358" y="690"/>
                      <a:pt x="360" y="692"/>
                      <a:pt x="362" y="693"/>
                    </a:cubicBezTo>
                    <a:cubicBezTo>
                      <a:pt x="363" y="693"/>
                      <a:pt x="363" y="693"/>
                      <a:pt x="364" y="693"/>
                    </a:cubicBezTo>
                    <a:cubicBezTo>
                      <a:pt x="365" y="693"/>
                      <a:pt x="366" y="694"/>
                      <a:pt x="367" y="694"/>
                    </a:cubicBezTo>
                    <a:cubicBezTo>
                      <a:pt x="368" y="695"/>
                      <a:pt x="370" y="695"/>
                      <a:pt x="371" y="697"/>
                    </a:cubicBezTo>
                    <a:cubicBezTo>
                      <a:pt x="372" y="698"/>
                      <a:pt x="372" y="699"/>
                      <a:pt x="372" y="700"/>
                    </a:cubicBezTo>
                    <a:cubicBezTo>
                      <a:pt x="372" y="701"/>
                      <a:pt x="372" y="702"/>
                      <a:pt x="373" y="703"/>
                    </a:cubicBezTo>
                    <a:cubicBezTo>
                      <a:pt x="373" y="705"/>
                      <a:pt x="374" y="707"/>
                      <a:pt x="373" y="709"/>
                    </a:cubicBezTo>
                    <a:cubicBezTo>
                      <a:pt x="373" y="710"/>
                      <a:pt x="373" y="710"/>
                      <a:pt x="372" y="710"/>
                    </a:cubicBezTo>
                    <a:cubicBezTo>
                      <a:pt x="372" y="710"/>
                      <a:pt x="372" y="710"/>
                      <a:pt x="372" y="710"/>
                    </a:cubicBezTo>
                    <a:cubicBezTo>
                      <a:pt x="374" y="711"/>
                      <a:pt x="374" y="712"/>
                      <a:pt x="376" y="711"/>
                    </a:cubicBezTo>
                    <a:cubicBezTo>
                      <a:pt x="378" y="711"/>
                      <a:pt x="378" y="710"/>
                      <a:pt x="380" y="709"/>
                    </a:cubicBezTo>
                    <a:cubicBezTo>
                      <a:pt x="380" y="709"/>
                      <a:pt x="381" y="709"/>
                      <a:pt x="381" y="709"/>
                    </a:cubicBezTo>
                    <a:cubicBezTo>
                      <a:pt x="382" y="708"/>
                      <a:pt x="382" y="708"/>
                      <a:pt x="382" y="707"/>
                    </a:cubicBezTo>
                    <a:cubicBezTo>
                      <a:pt x="383" y="707"/>
                      <a:pt x="384" y="706"/>
                      <a:pt x="385" y="706"/>
                    </a:cubicBezTo>
                    <a:cubicBezTo>
                      <a:pt x="390" y="705"/>
                      <a:pt x="397" y="708"/>
                      <a:pt x="402" y="709"/>
                    </a:cubicBezTo>
                    <a:cubicBezTo>
                      <a:pt x="407" y="710"/>
                      <a:pt x="408" y="707"/>
                      <a:pt x="412" y="705"/>
                    </a:cubicBezTo>
                    <a:cubicBezTo>
                      <a:pt x="416" y="704"/>
                      <a:pt x="418" y="703"/>
                      <a:pt x="422" y="703"/>
                    </a:cubicBezTo>
                    <a:cubicBezTo>
                      <a:pt x="427" y="703"/>
                      <a:pt x="432" y="703"/>
                      <a:pt x="437" y="704"/>
                    </a:cubicBezTo>
                    <a:cubicBezTo>
                      <a:pt x="439" y="704"/>
                      <a:pt x="440" y="705"/>
                      <a:pt x="442" y="706"/>
                    </a:cubicBezTo>
                    <a:cubicBezTo>
                      <a:pt x="441" y="703"/>
                      <a:pt x="439" y="702"/>
                      <a:pt x="436" y="699"/>
                    </a:cubicBezTo>
                    <a:cubicBezTo>
                      <a:pt x="431" y="695"/>
                      <a:pt x="431" y="690"/>
                      <a:pt x="431" y="685"/>
                    </a:cubicBezTo>
                    <a:cubicBezTo>
                      <a:pt x="431" y="682"/>
                      <a:pt x="431" y="679"/>
                      <a:pt x="432" y="677"/>
                    </a:cubicBezTo>
                    <a:cubicBezTo>
                      <a:pt x="432" y="675"/>
                      <a:pt x="432" y="675"/>
                      <a:pt x="433" y="674"/>
                    </a:cubicBezTo>
                    <a:cubicBezTo>
                      <a:pt x="434" y="672"/>
                      <a:pt x="434" y="672"/>
                      <a:pt x="435" y="671"/>
                    </a:cubicBezTo>
                    <a:cubicBezTo>
                      <a:pt x="438" y="667"/>
                      <a:pt x="438" y="664"/>
                      <a:pt x="440" y="659"/>
                    </a:cubicBezTo>
                    <a:cubicBezTo>
                      <a:pt x="442" y="655"/>
                      <a:pt x="445" y="654"/>
                      <a:pt x="448" y="651"/>
                    </a:cubicBezTo>
                    <a:cubicBezTo>
                      <a:pt x="450" y="649"/>
                      <a:pt x="451" y="648"/>
                      <a:pt x="452" y="646"/>
                    </a:cubicBezTo>
                    <a:cubicBezTo>
                      <a:pt x="453" y="644"/>
                      <a:pt x="453" y="641"/>
                      <a:pt x="455" y="639"/>
                    </a:cubicBezTo>
                    <a:cubicBezTo>
                      <a:pt x="458" y="636"/>
                      <a:pt x="460" y="635"/>
                      <a:pt x="464" y="634"/>
                    </a:cubicBezTo>
                    <a:cubicBezTo>
                      <a:pt x="469" y="634"/>
                      <a:pt x="471" y="630"/>
                      <a:pt x="474" y="627"/>
                    </a:cubicBezTo>
                    <a:cubicBezTo>
                      <a:pt x="478" y="623"/>
                      <a:pt x="481" y="621"/>
                      <a:pt x="487" y="621"/>
                    </a:cubicBezTo>
                    <a:cubicBezTo>
                      <a:pt x="489" y="621"/>
                      <a:pt x="489" y="622"/>
                      <a:pt x="491" y="622"/>
                    </a:cubicBezTo>
                    <a:cubicBezTo>
                      <a:pt x="492" y="623"/>
                      <a:pt x="493" y="624"/>
                      <a:pt x="494" y="624"/>
                    </a:cubicBezTo>
                    <a:cubicBezTo>
                      <a:pt x="495" y="624"/>
                      <a:pt x="496" y="624"/>
                      <a:pt x="497" y="624"/>
                    </a:cubicBezTo>
                    <a:cubicBezTo>
                      <a:pt x="500" y="624"/>
                      <a:pt x="503" y="624"/>
                      <a:pt x="505" y="624"/>
                    </a:cubicBezTo>
                    <a:cubicBezTo>
                      <a:pt x="506" y="625"/>
                      <a:pt x="506" y="626"/>
                      <a:pt x="507" y="626"/>
                    </a:cubicBezTo>
                    <a:cubicBezTo>
                      <a:pt x="508" y="626"/>
                      <a:pt x="510" y="626"/>
                      <a:pt x="511" y="626"/>
                    </a:cubicBezTo>
                    <a:cubicBezTo>
                      <a:pt x="513" y="626"/>
                      <a:pt x="515" y="626"/>
                      <a:pt x="517" y="626"/>
                    </a:cubicBezTo>
                    <a:cubicBezTo>
                      <a:pt x="518" y="626"/>
                      <a:pt x="519" y="626"/>
                      <a:pt x="520" y="626"/>
                    </a:cubicBezTo>
                    <a:cubicBezTo>
                      <a:pt x="521" y="626"/>
                      <a:pt x="522" y="625"/>
                      <a:pt x="523" y="625"/>
                    </a:cubicBezTo>
                    <a:cubicBezTo>
                      <a:pt x="524" y="625"/>
                      <a:pt x="524" y="624"/>
                      <a:pt x="526" y="624"/>
                    </a:cubicBezTo>
                    <a:cubicBezTo>
                      <a:pt x="526" y="626"/>
                      <a:pt x="525" y="631"/>
                      <a:pt x="526" y="633"/>
                    </a:cubicBezTo>
                    <a:cubicBezTo>
                      <a:pt x="527" y="635"/>
                      <a:pt x="529" y="634"/>
                      <a:pt x="532" y="634"/>
                    </a:cubicBezTo>
                    <a:cubicBezTo>
                      <a:pt x="532" y="634"/>
                      <a:pt x="534" y="635"/>
                      <a:pt x="534" y="634"/>
                    </a:cubicBezTo>
                    <a:cubicBezTo>
                      <a:pt x="536" y="634"/>
                      <a:pt x="535" y="634"/>
                      <a:pt x="536" y="632"/>
                    </a:cubicBezTo>
                    <a:cubicBezTo>
                      <a:pt x="537" y="631"/>
                      <a:pt x="537" y="630"/>
                      <a:pt x="538" y="629"/>
                    </a:cubicBezTo>
                    <a:cubicBezTo>
                      <a:pt x="539" y="628"/>
                      <a:pt x="541" y="630"/>
                      <a:pt x="541" y="627"/>
                    </a:cubicBezTo>
                    <a:cubicBezTo>
                      <a:pt x="546" y="630"/>
                      <a:pt x="542" y="632"/>
                      <a:pt x="543" y="635"/>
                    </a:cubicBezTo>
                    <a:cubicBezTo>
                      <a:pt x="545" y="635"/>
                      <a:pt x="545" y="637"/>
                      <a:pt x="547" y="637"/>
                    </a:cubicBezTo>
                    <a:cubicBezTo>
                      <a:pt x="549" y="638"/>
                      <a:pt x="549" y="636"/>
                      <a:pt x="551" y="635"/>
                    </a:cubicBezTo>
                    <a:cubicBezTo>
                      <a:pt x="552" y="635"/>
                      <a:pt x="557" y="635"/>
                      <a:pt x="558" y="635"/>
                    </a:cubicBezTo>
                    <a:cubicBezTo>
                      <a:pt x="560" y="636"/>
                      <a:pt x="560" y="636"/>
                      <a:pt x="560" y="639"/>
                    </a:cubicBezTo>
                    <a:cubicBezTo>
                      <a:pt x="562" y="640"/>
                      <a:pt x="565" y="640"/>
                      <a:pt x="566" y="642"/>
                    </a:cubicBezTo>
                    <a:cubicBezTo>
                      <a:pt x="567" y="644"/>
                      <a:pt x="566" y="647"/>
                      <a:pt x="568" y="648"/>
                    </a:cubicBezTo>
                    <a:cubicBezTo>
                      <a:pt x="569" y="650"/>
                      <a:pt x="572" y="651"/>
                      <a:pt x="574" y="652"/>
                    </a:cubicBezTo>
                    <a:cubicBezTo>
                      <a:pt x="576" y="653"/>
                      <a:pt x="577" y="653"/>
                      <a:pt x="580" y="653"/>
                    </a:cubicBezTo>
                    <a:cubicBezTo>
                      <a:pt x="582" y="653"/>
                      <a:pt x="584" y="654"/>
                      <a:pt x="585" y="654"/>
                    </a:cubicBezTo>
                    <a:cubicBezTo>
                      <a:pt x="588" y="654"/>
                      <a:pt x="592" y="653"/>
                      <a:pt x="594" y="654"/>
                    </a:cubicBezTo>
                    <a:cubicBezTo>
                      <a:pt x="596" y="656"/>
                      <a:pt x="596" y="657"/>
                      <a:pt x="599" y="658"/>
                    </a:cubicBezTo>
                    <a:cubicBezTo>
                      <a:pt x="602" y="659"/>
                      <a:pt x="605" y="658"/>
                      <a:pt x="608" y="658"/>
                    </a:cubicBezTo>
                    <a:cubicBezTo>
                      <a:pt x="612" y="658"/>
                      <a:pt x="616" y="658"/>
                      <a:pt x="621" y="658"/>
                    </a:cubicBezTo>
                    <a:cubicBezTo>
                      <a:pt x="628" y="658"/>
                      <a:pt x="634" y="656"/>
                      <a:pt x="639" y="650"/>
                    </a:cubicBezTo>
                    <a:cubicBezTo>
                      <a:pt x="640" y="651"/>
                      <a:pt x="641" y="651"/>
                      <a:pt x="641" y="650"/>
                    </a:cubicBezTo>
                    <a:cubicBezTo>
                      <a:pt x="642" y="649"/>
                      <a:pt x="641" y="646"/>
                      <a:pt x="641" y="645"/>
                    </a:cubicBezTo>
                    <a:cubicBezTo>
                      <a:pt x="640" y="643"/>
                      <a:pt x="636" y="641"/>
                      <a:pt x="638" y="638"/>
                    </a:cubicBezTo>
                    <a:cubicBezTo>
                      <a:pt x="639" y="638"/>
                      <a:pt x="643" y="637"/>
                      <a:pt x="644" y="637"/>
                    </a:cubicBezTo>
                    <a:cubicBezTo>
                      <a:pt x="645" y="637"/>
                      <a:pt x="646" y="637"/>
                      <a:pt x="647" y="637"/>
                    </a:cubicBezTo>
                    <a:cubicBezTo>
                      <a:pt x="648" y="636"/>
                      <a:pt x="648" y="635"/>
                      <a:pt x="650" y="635"/>
                    </a:cubicBezTo>
                    <a:cubicBezTo>
                      <a:pt x="650" y="633"/>
                      <a:pt x="649" y="630"/>
                      <a:pt x="650" y="627"/>
                    </a:cubicBezTo>
                    <a:cubicBezTo>
                      <a:pt x="651" y="624"/>
                      <a:pt x="654" y="624"/>
                      <a:pt x="657" y="622"/>
                    </a:cubicBezTo>
                    <a:cubicBezTo>
                      <a:pt x="658" y="620"/>
                      <a:pt x="659" y="618"/>
                      <a:pt x="659" y="616"/>
                    </a:cubicBezTo>
                    <a:cubicBezTo>
                      <a:pt x="661" y="612"/>
                      <a:pt x="659" y="613"/>
                      <a:pt x="664" y="612"/>
                    </a:cubicBezTo>
                    <a:cubicBezTo>
                      <a:pt x="667" y="612"/>
                      <a:pt x="670" y="611"/>
                      <a:pt x="673" y="610"/>
                    </a:cubicBezTo>
                    <a:cubicBezTo>
                      <a:pt x="676" y="610"/>
                      <a:pt x="678" y="610"/>
                      <a:pt x="681" y="608"/>
                    </a:cubicBezTo>
                    <a:cubicBezTo>
                      <a:pt x="683" y="606"/>
                      <a:pt x="684" y="605"/>
                      <a:pt x="685" y="602"/>
                    </a:cubicBezTo>
                    <a:cubicBezTo>
                      <a:pt x="685" y="602"/>
                      <a:pt x="686" y="602"/>
                      <a:pt x="687" y="601"/>
                    </a:cubicBezTo>
                    <a:cubicBezTo>
                      <a:pt x="687" y="600"/>
                      <a:pt x="687" y="598"/>
                      <a:pt x="687" y="597"/>
                    </a:cubicBezTo>
                    <a:cubicBezTo>
                      <a:pt x="687" y="595"/>
                      <a:pt x="687" y="592"/>
                      <a:pt x="688" y="589"/>
                    </a:cubicBezTo>
                    <a:cubicBezTo>
                      <a:pt x="690" y="589"/>
                      <a:pt x="691" y="585"/>
                      <a:pt x="693" y="583"/>
                    </a:cubicBezTo>
                    <a:cubicBezTo>
                      <a:pt x="694" y="582"/>
                      <a:pt x="697" y="581"/>
                      <a:pt x="698" y="578"/>
                    </a:cubicBezTo>
                    <a:cubicBezTo>
                      <a:pt x="699" y="577"/>
                      <a:pt x="699" y="568"/>
                      <a:pt x="697" y="567"/>
                    </a:cubicBezTo>
                    <a:cubicBezTo>
                      <a:pt x="695" y="566"/>
                      <a:pt x="690" y="568"/>
                      <a:pt x="688" y="569"/>
                    </a:cubicBezTo>
                    <a:cubicBezTo>
                      <a:pt x="685" y="570"/>
                      <a:pt x="679" y="573"/>
                      <a:pt x="675" y="571"/>
                    </a:cubicBezTo>
                    <a:cubicBezTo>
                      <a:pt x="673" y="570"/>
                      <a:pt x="673" y="567"/>
                      <a:pt x="671" y="566"/>
                    </a:cubicBezTo>
                    <a:cubicBezTo>
                      <a:pt x="668" y="563"/>
                      <a:pt x="663" y="564"/>
                      <a:pt x="660" y="562"/>
                    </a:cubicBezTo>
                    <a:cubicBezTo>
                      <a:pt x="658" y="561"/>
                      <a:pt x="651" y="554"/>
                      <a:pt x="652" y="552"/>
                    </a:cubicBezTo>
                    <a:cubicBezTo>
                      <a:pt x="653" y="550"/>
                      <a:pt x="655" y="553"/>
                      <a:pt x="656" y="550"/>
                    </a:cubicBezTo>
                    <a:cubicBezTo>
                      <a:pt x="657" y="548"/>
                      <a:pt x="653" y="545"/>
                      <a:pt x="652" y="543"/>
                    </a:cubicBezTo>
                    <a:cubicBezTo>
                      <a:pt x="649" y="538"/>
                      <a:pt x="653" y="536"/>
                      <a:pt x="658" y="534"/>
                    </a:cubicBezTo>
                    <a:cubicBezTo>
                      <a:pt x="663" y="532"/>
                      <a:pt x="663" y="527"/>
                      <a:pt x="662" y="522"/>
                    </a:cubicBezTo>
                    <a:cubicBezTo>
                      <a:pt x="659" y="522"/>
                      <a:pt x="659" y="519"/>
                      <a:pt x="658" y="517"/>
                    </a:cubicBezTo>
                    <a:cubicBezTo>
                      <a:pt x="658" y="517"/>
                      <a:pt x="655" y="516"/>
                      <a:pt x="655" y="516"/>
                    </a:cubicBezTo>
                    <a:cubicBezTo>
                      <a:pt x="654" y="515"/>
                      <a:pt x="652" y="515"/>
                      <a:pt x="652" y="515"/>
                    </a:cubicBezTo>
                    <a:cubicBezTo>
                      <a:pt x="647" y="511"/>
                      <a:pt x="648" y="504"/>
                      <a:pt x="641" y="502"/>
                    </a:cubicBezTo>
                    <a:cubicBezTo>
                      <a:pt x="640" y="499"/>
                      <a:pt x="642" y="500"/>
                      <a:pt x="644" y="499"/>
                    </a:cubicBezTo>
                    <a:cubicBezTo>
                      <a:pt x="645" y="499"/>
                      <a:pt x="647" y="500"/>
                      <a:pt x="649" y="499"/>
                    </a:cubicBezTo>
                    <a:cubicBezTo>
                      <a:pt x="651" y="498"/>
                      <a:pt x="649" y="499"/>
                      <a:pt x="651" y="497"/>
                    </a:cubicBezTo>
                    <a:cubicBezTo>
                      <a:pt x="654" y="495"/>
                      <a:pt x="657" y="494"/>
                      <a:pt x="660" y="491"/>
                    </a:cubicBezTo>
                    <a:cubicBezTo>
                      <a:pt x="660" y="491"/>
                      <a:pt x="661" y="490"/>
                      <a:pt x="662" y="490"/>
                    </a:cubicBezTo>
                    <a:cubicBezTo>
                      <a:pt x="663" y="489"/>
                      <a:pt x="665" y="489"/>
                      <a:pt x="666" y="488"/>
                    </a:cubicBezTo>
                    <a:cubicBezTo>
                      <a:pt x="668" y="486"/>
                      <a:pt x="666" y="482"/>
                      <a:pt x="667" y="480"/>
                    </a:cubicBezTo>
                    <a:cubicBezTo>
                      <a:pt x="668" y="477"/>
                      <a:pt x="671" y="476"/>
                      <a:pt x="669" y="473"/>
                    </a:cubicBezTo>
                    <a:cubicBezTo>
                      <a:pt x="668" y="471"/>
                      <a:pt x="666" y="471"/>
                      <a:pt x="665" y="470"/>
                    </a:cubicBezTo>
                    <a:cubicBezTo>
                      <a:pt x="663" y="468"/>
                      <a:pt x="662" y="465"/>
                      <a:pt x="662" y="463"/>
                    </a:cubicBezTo>
                    <a:cubicBezTo>
                      <a:pt x="661" y="461"/>
                      <a:pt x="661" y="459"/>
                      <a:pt x="661" y="457"/>
                    </a:cubicBezTo>
                    <a:cubicBezTo>
                      <a:pt x="660" y="455"/>
                      <a:pt x="657" y="454"/>
                      <a:pt x="656" y="453"/>
                    </a:cubicBezTo>
                    <a:cubicBezTo>
                      <a:pt x="653" y="450"/>
                      <a:pt x="657" y="450"/>
                      <a:pt x="655" y="446"/>
                    </a:cubicBezTo>
                    <a:cubicBezTo>
                      <a:pt x="654" y="444"/>
                      <a:pt x="657" y="443"/>
                      <a:pt x="659" y="438"/>
                    </a:cubicBezTo>
                    <a:cubicBezTo>
                      <a:pt x="661" y="437"/>
                      <a:pt x="662" y="436"/>
                      <a:pt x="663" y="436"/>
                    </a:cubicBezTo>
                    <a:cubicBezTo>
                      <a:pt x="663" y="435"/>
                      <a:pt x="665" y="434"/>
                      <a:pt x="665" y="433"/>
                    </a:cubicBezTo>
                    <a:cubicBezTo>
                      <a:pt x="665" y="432"/>
                      <a:pt x="665" y="430"/>
                      <a:pt x="665" y="430"/>
                    </a:cubicBezTo>
                    <a:cubicBezTo>
                      <a:pt x="665" y="428"/>
                      <a:pt x="664" y="428"/>
                      <a:pt x="664" y="427"/>
                    </a:cubicBezTo>
                    <a:cubicBezTo>
                      <a:pt x="663" y="426"/>
                      <a:pt x="663" y="426"/>
                      <a:pt x="662" y="424"/>
                    </a:cubicBezTo>
                    <a:cubicBezTo>
                      <a:pt x="662" y="424"/>
                      <a:pt x="661" y="423"/>
                      <a:pt x="661" y="422"/>
                    </a:cubicBezTo>
                    <a:cubicBezTo>
                      <a:pt x="660" y="421"/>
                      <a:pt x="659" y="420"/>
                      <a:pt x="659" y="419"/>
                    </a:cubicBezTo>
                    <a:cubicBezTo>
                      <a:pt x="658" y="417"/>
                      <a:pt x="658" y="415"/>
                      <a:pt x="658" y="413"/>
                    </a:cubicBezTo>
                    <a:cubicBezTo>
                      <a:pt x="658" y="412"/>
                      <a:pt x="658" y="410"/>
                      <a:pt x="658" y="409"/>
                    </a:cubicBezTo>
                    <a:cubicBezTo>
                      <a:pt x="658" y="409"/>
                      <a:pt x="657" y="408"/>
                      <a:pt x="657" y="408"/>
                    </a:cubicBezTo>
                    <a:cubicBezTo>
                      <a:pt x="656" y="406"/>
                      <a:pt x="657" y="404"/>
                      <a:pt x="656" y="402"/>
                    </a:cubicBezTo>
                    <a:cubicBezTo>
                      <a:pt x="655" y="402"/>
                      <a:pt x="654" y="401"/>
                      <a:pt x="653" y="401"/>
                    </a:cubicBezTo>
                    <a:cubicBezTo>
                      <a:pt x="652" y="401"/>
                      <a:pt x="650" y="400"/>
                      <a:pt x="650" y="400"/>
                    </a:cubicBezTo>
                    <a:cubicBezTo>
                      <a:pt x="647" y="398"/>
                      <a:pt x="643" y="395"/>
                      <a:pt x="639" y="395"/>
                    </a:cubicBezTo>
                    <a:cubicBezTo>
                      <a:pt x="634" y="395"/>
                      <a:pt x="630" y="398"/>
                      <a:pt x="625" y="400"/>
                    </a:cubicBezTo>
                    <a:cubicBezTo>
                      <a:pt x="623" y="401"/>
                      <a:pt x="620" y="402"/>
                      <a:pt x="617" y="401"/>
                    </a:cubicBezTo>
                    <a:cubicBezTo>
                      <a:pt x="615" y="400"/>
                      <a:pt x="612" y="394"/>
                      <a:pt x="614" y="391"/>
                    </a:cubicBezTo>
                    <a:cubicBezTo>
                      <a:pt x="615" y="389"/>
                      <a:pt x="617" y="390"/>
                      <a:pt x="618" y="388"/>
                    </a:cubicBezTo>
                    <a:cubicBezTo>
                      <a:pt x="619" y="387"/>
                      <a:pt x="618" y="383"/>
                      <a:pt x="618" y="381"/>
                    </a:cubicBezTo>
                    <a:cubicBezTo>
                      <a:pt x="618" y="378"/>
                      <a:pt x="618" y="376"/>
                      <a:pt x="620" y="373"/>
                    </a:cubicBezTo>
                    <a:cubicBezTo>
                      <a:pt x="623" y="371"/>
                      <a:pt x="625" y="369"/>
                      <a:pt x="627" y="366"/>
                    </a:cubicBezTo>
                    <a:cubicBezTo>
                      <a:pt x="629" y="365"/>
                      <a:pt x="629" y="363"/>
                      <a:pt x="631" y="361"/>
                    </a:cubicBezTo>
                    <a:cubicBezTo>
                      <a:pt x="632" y="359"/>
                      <a:pt x="634" y="358"/>
                      <a:pt x="635" y="357"/>
                    </a:cubicBezTo>
                    <a:cubicBezTo>
                      <a:pt x="642" y="352"/>
                      <a:pt x="646" y="345"/>
                      <a:pt x="651" y="339"/>
                    </a:cubicBezTo>
                    <a:cubicBezTo>
                      <a:pt x="654" y="336"/>
                      <a:pt x="656" y="334"/>
                      <a:pt x="658" y="330"/>
                    </a:cubicBezTo>
                    <a:cubicBezTo>
                      <a:pt x="658" y="330"/>
                      <a:pt x="659" y="328"/>
                      <a:pt x="659" y="327"/>
                    </a:cubicBezTo>
                    <a:cubicBezTo>
                      <a:pt x="661" y="326"/>
                      <a:pt x="662" y="327"/>
                      <a:pt x="664" y="325"/>
                    </a:cubicBezTo>
                    <a:cubicBezTo>
                      <a:pt x="670" y="320"/>
                      <a:pt x="652" y="311"/>
                      <a:pt x="663" y="310"/>
                    </a:cubicBezTo>
                    <a:cubicBezTo>
                      <a:pt x="666" y="310"/>
                      <a:pt x="668" y="311"/>
                      <a:pt x="670" y="312"/>
                    </a:cubicBezTo>
                    <a:cubicBezTo>
                      <a:pt x="676" y="313"/>
                      <a:pt x="681" y="310"/>
                      <a:pt x="687" y="310"/>
                    </a:cubicBezTo>
                    <a:cubicBezTo>
                      <a:pt x="689" y="310"/>
                      <a:pt x="690" y="310"/>
                      <a:pt x="692" y="309"/>
                    </a:cubicBezTo>
                    <a:cubicBezTo>
                      <a:pt x="695" y="308"/>
                      <a:pt x="699" y="306"/>
                      <a:pt x="702" y="304"/>
                    </a:cubicBezTo>
                    <a:cubicBezTo>
                      <a:pt x="702" y="304"/>
                      <a:pt x="703" y="303"/>
                      <a:pt x="703" y="303"/>
                    </a:cubicBezTo>
                    <a:cubicBezTo>
                      <a:pt x="703" y="303"/>
                      <a:pt x="703" y="303"/>
                      <a:pt x="703" y="303"/>
                    </a:cubicBezTo>
                    <a:cubicBezTo>
                      <a:pt x="703" y="303"/>
                      <a:pt x="703" y="303"/>
                      <a:pt x="703" y="303"/>
                    </a:cubicBezTo>
                    <a:cubicBezTo>
                      <a:pt x="703" y="302"/>
                      <a:pt x="704" y="302"/>
                      <a:pt x="704" y="302"/>
                    </a:cubicBezTo>
                    <a:cubicBezTo>
                      <a:pt x="704" y="302"/>
                      <a:pt x="704" y="302"/>
                      <a:pt x="704" y="302"/>
                    </a:cubicBezTo>
                    <a:cubicBezTo>
                      <a:pt x="704" y="302"/>
                      <a:pt x="704" y="302"/>
                      <a:pt x="704" y="302"/>
                    </a:cubicBezTo>
                    <a:cubicBezTo>
                      <a:pt x="704" y="301"/>
                      <a:pt x="704" y="301"/>
                      <a:pt x="704" y="301"/>
                    </a:cubicBezTo>
                    <a:cubicBezTo>
                      <a:pt x="704" y="301"/>
                      <a:pt x="704" y="301"/>
                      <a:pt x="704" y="301"/>
                    </a:cubicBezTo>
                    <a:cubicBezTo>
                      <a:pt x="704" y="301"/>
                      <a:pt x="704" y="301"/>
                      <a:pt x="704" y="300"/>
                    </a:cubicBezTo>
                    <a:cubicBezTo>
                      <a:pt x="704" y="300"/>
                      <a:pt x="704" y="300"/>
                      <a:pt x="704" y="300"/>
                    </a:cubicBezTo>
                    <a:cubicBezTo>
                      <a:pt x="704" y="300"/>
                      <a:pt x="704" y="299"/>
                      <a:pt x="704" y="298"/>
                    </a:cubicBezTo>
                    <a:cubicBezTo>
                      <a:pt x="703" y="297"/>
                      <a:pt x="702" y="295"/>
                      <a:pt x="702" y="293"/>
                    </a:cubicBezTo>
                    <a:cubicBezTo>
                      <a:pt x="702" y="285"/>
                      <a:pt x="702" y="278"/>
                      <a:pt x="702" y="270"/>
                    </a:cubicBezTo>
                    <a:cubicBezTo>
                      <a:pt x="702" y="264"/>
                      <a:pt x="701" y="259"/>
                      <a:pt x="705" y="254"/>
                    </a:cubicBezTo>
                    <a:cubicBezTo>
                      <a:pt x="710" y="249"/>
                      <a:pt x="708" y="244"/>
                      <a:pt x="710" y="238"/>
                    </a:cubicBezTo>
                    <a:cubicBezTo>
                      <a:pt x="711" y="233"/>
                      <a:pt x="710" y="228"/>
                      <a:pt x="713" y="224"/>
                    </a:cubicBezTo>
                    <a:cubicBezTo>
                      <a:pt x="714" y="222"/>
                      <a:pt x="715" y="222"/>
                      <a:pt x="716" y="221"/>
                    </a:cubicBezTo>
                    <a:cubicBezTo>
                      <a:pt x="719" y="219"/>
                      <a:pt x="719" y="218"/>
                      <a:pt x="720" y="216"/>
                    </a:cubicBezTo>
                    <a:cubicBezTo>
                      <a:pt x="722" y="210"/>
                      <a:pt x="724" y="207"/>
                      <a:pt x="729" y="203"/>
                    </a:cubicBezTo>
                    <a:cubicBezTo>
                      <a:pt x="733" y="200"/>
                      <a:pt x="736" y="196"/>
                      <a:pt x="737" y="19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01" name="Freeform 17">
                <a:extLst>
                  <a:ext uri="{FF2B5EF4-FFF2-40B4-BE49-F238E27FC236}">
                    <a16:creationId xmlns:a16="http://schemas.microsoft.com/office/drawing/2014/main" id="{06D060F2-523C-4E4C-AD8B-68062E96B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75" y="5575300"/>
                <a:ext cx="120650" cy="241300"/>
              </a:xfrm>
              <a:custGeom>
                <a:avLst/>
                <a:gdLst/>
                <a:ahLst/>
                <a:cxnLst>
                  <a:cxn ang="0">
                    <a:pos x="61" y="5"/>
                  </a:cxn>
                  <a:cxn ang="0">
                    <a:pos x="60" y="2"/>
                  </a:cxn>
                  <a:cxn ang="0">
                    <a:pos x="53" y="3"/>
                  </a:cxn>
                  <a:cxn ang="0">
                    <a:pos x="51" y="18"/>
                  </a:cxn>
                  <a:cxn ang="0">
                    <a:pos x="51" y="23"/>
                  </a:cxn>
                  <a:cxn ang="0">
                    <a:pos x="49" y="27"/>
                  </a:cxn>
                  <a:cxn ang="0">
                    <a:pos x="41" y="25"/>
                  </a:cxn>
                  <a:cxn ang="0">
                    <a:pos x="35" y="30"/>
                  </a:cxn>
                  <a:cxn ang="0">
                    <a:pos x="29" y="32"/>
                  </a:cxn>
                  <a:cxn ang="0">
                    <a:pos x="22" y="34"/>
                  </a:cxn>
                  <a:cxn ang="0">
                    <a:pos x="15" y="39"/>
                  </a:cxn>
                  <a:cxn ang="0">
                    <a:pos x="13" y="47"/>
                  </a:cxn>
                  <a:cxn ang="0">
                    <a:pos x="12" y="51"/>
                  </a:cxn>
                  <a:cxn ang="0">
                    <a:pos x="17" y="58"/>
                  </a:cxn>
                  <a:cxn ang="0">
                    <a:pos x="10" y="62"/>
                  </a:cxn>
                  <a:cxn ang="0">
                    <a:pos x="5" y="64"/>
                  </a:cxn>
                  <a:cxn ang="0">
                    <a:pos x="0" y="74"/>
                  </a:cxn>
                  <a:cxn ang="0">
                    <a:pos x="4" y="77"/>
                  </a:cxn>
                  <a:cxn ang="0">
                    <a:pos x="8" y="80"/>
                  </a:cxn>
                  <a:cxn ang="0">
                    <a:pos x="13" y="82"/>
                  </a:cxn>
                  <a:cxn ang="0">
                    <a:pos x="17" y="83"/>
                  </a:cxn>
                  <a:cxn ang="0">
                    <a:pos x="16" y="95"/>
                  </a:cxn>
                  <a:cxn ang="0">
                    <a:pos x="14" y="100"/>
                  </a:cxn>
                  <a:cxn ang="0">
                    <a:pos x="18" y="101"/>
                  </a:cxn>
                  <a:cxn ang="0">
                    <a:pos x="21" y="102"/>
                  </a:cxn>
                  <a:cxn ang="0">
                    <a:pos x="22" y="106"/>
                  </a:cxn>
                  <a:cxn ang="0">
                    <a:pos x="19" y="108"/>
                  </a:cxn>
                  <a:cxn ang="0">
                    <a:pos x="21" y="115"/>
                  </a:cxn>
                  <a:cxn ang="0">
                    <a:pos x="29" y="122"/>
                  </a:cxn>
                  <a:cxn ang="0">
                    <a:pos x="33" y="126"/>
                  </a:cxn>
                  <a:cxn ang="0">
                    <a:pos x="39" y="129"/>
                  </a:cxn>
                  <a:cxn ang="0">
                    <a:pos x="41" y="121"/>
                  </a:cxn>
                  <a:cxn ang="0">
                    <a:pos x="44" y="116"/>
                  </a:cxn>
                  <a:cxn ang="0">
                    <a:pos x="45" y="113"/>
                  </a:cxn>
                  <a:cxn ang="0">
                    <a:pos x="49" y="109"/>
                  </a:cxn>
                  <a:cxn ang="0">
                    <a:pos x="52" y="99"/>
                  </a:cxn>
                  <a:cxn ang="0">
                    <a:pos x="53" y="87"/>
                  </a:cxn>
                  <a:cxn ang="0">
                    <a:pos x="54" y="82"/>
                  </a:cxn>
                  <a:cxn ang="0">
                    <a:pos x="59" y="76"/>
                  </a:cxn>
                  <a:cxn ang="0">
                    <a:pos x="60" y="74"/>
                  </a:cxn>
                  <a:cxn ang="0">
                    <a:pos x="63" y="52"/>
                  </a:cxn>
                  <a:cxn ang="0">
                    <a:pos x="63" y="40"/>
                  </a:cxn>
                  <a:cxn ang="0">
                    <a:pos x="60" y="32"/>
                  </a:cxn>
                  <a:cxn ang="0">
                    <a:pos x="59" y="23"/>
                  </a:cxn>
                  <a:cxn ang="0">
                    <a:pos x="60" y="22"/>
                  </a:cxn>
                  <a:cxn ang="0">
                    <a:pos x="63" y="18"/>
                  </a:cxn>
                  <a:cxn ang="0">
                    <a:pos x="63" y="13"/>
                  </a:cxn>
                  <a:cxn ang="0">
                    <a:pos x="61" y="20"/>
                  </a:cxn>
                </a:cxnLst>
                <a:rect l="0" t="0" r="r" b="b"/>
                <a:pathLst>
                  <a:path w="64" h="129">
                    <a:moveTo>
                      <a:pt x="61" y="20"/>
                    </a:moveTo>
                    <a:cubicBezTo>
                      <a:pt x="61" y="15"/>
                      <a:pt x="61" y="10"/>
                      <a:pt x="61" y="5"/>
                    </a:cubicBezTo>
                    <a:cubicBezTo>
                      <a:pt x="61" y="4"/>
                      <a:pt x="62" y="3"/>
                      <a:pt x="61" y="2"/>
                    </a:cubicBezTo>
                    <a:cubicBezTo>
                      <a:pt x="61" y="2"/>
                      <a:pt x="60" y="2"/>
                      <a:pt x="60" y="2"/>
                    </a:cubicBezTo>
                    <a:cubicBezTo>
                      <a:pt x="60" y="2"/>
                      <a:pt x="59" y="1"/>
                      <a:pt x="59" y="1"/>
                    </a:cubicBezTo>
                    <a:cubicBezTo>
                      <a:pt x="57" y="0"/>
                      <a:pt x="54" y="1"/>
                      <a:pt x="53" y="3"/>
                    </a:cubicBezTo>
                    <a:cubicBezTo>
                      <a:pt x="51" y="6"/>
                      <a:pt x="52" y="10"/>
                      <a:pt x="51" y="13"/>
                    </a:cubicBezTo>
                    <a:cubicBezTo>
                      <a:pt x="51" y="15"/>
                      <a:pt x="51" y="16"/>
                      <a:pt x="51" y="18"/>
                    </a:cubicBezTo>
                    <a:cubicBezTo>
                      <a:pt x="51" y="19"/>
                      <a:pt x="51" y="20"/>
                      <a:pt x="51" y="20"/>
                    </a:cubicBezTo>
                    <a:cubicBezTo>
                      <a:pt x="51" y="21"/>
                      <a:pt x="51" y="22"/>
                      <a:pt x="51" y="23"/>
                    </a:cubicBezTo>
                    <a:cubicBezTo>
                      <a:pt x="52" y="25"/>
                      <a:pt x="52" y="26"/>
                      <a:pt x="51" y="27"/>
                    </a:cubicBezTo>
                    <a:cubicBezTo>
                      <a:pt x="50" y="28"/>
                      <a:pt x="50" y="28"/>
                      <a:pt x="49" y="27"/>
                    </a:cubicBezTo>
                    <a:cubicBezTo>
                      <a:pt x="47" y="26"/>
                      <a:pt x="47" y="25"/>
                      <a:pt x="46" y="25"/>
                    </a:cubicBezTo>
                    <a:cubicBezTo>
                      <a:pt x="45" y="24"/>
                      <a:pt x="42" y="24"/>
                      <a:pt x="41" y="25"/>
                    </a:cubicBezTo>
                    <a:cubicBezTo>
                      <a:pt x="40" y="25"/>
                      <a:pt x="39" y="27"/>
                      <a:pt x="38" y="28"/>
                    </a:cubicBezTo>
                    <a:cubicBezTo>
                      <a:pt x="37" y="29"/>
                      <a:pt x="36" y="30"/>
                      <a:pt x="35" y="30"/>
                    </a:cubicBezTo>
                    <a:cubicBezTo>
                      <a:pt x="34" y="31"/>
                      <a:pt x="32" y="30"/>
                      <a:pt x="31" y="30"/>
                    </a:cubicBezTo>
                    <a:cubicBezTo>
                      <a:pt x="30" y="31"/>
                      <a:pt x="30" y="31"/>
                      <a:pt x="29" y="32"/>
                    </a:cubicBezTo>
                    <a:cubicBezTo>
                      <a:pt x="28" y="32"/>
                      <a:pt x="27" y="33"/>
                      <a:pt x="26" y="33"/>
                    </a:cubicBezTo>
                    <a:cubicBezTo>
                      <a:pt x="24" y="34"/>
                      <a:pt x="23" y="33"/>
                      <a:pt x="22" y="34"/>
                    </a:cubicBezTo>
                    <a:cubicBezTo>
                      <a:pt x="20" y="35"/>
                      <a:pt x="20" y="36"/>
                      <a:pt x="19" y="37"/>
                    </a:cubicBezTo>
                    <a:cubicBezTo>
                      <a:pt x="18" y="38"/>
                      <a:pt x="17" y="39"/>
                      <a:pt x="15" y="39"/>
                    </a:cubicBezTo>
                    <a:cubicBezTo>
                      <a:pt x="12" y="41"/>
                      <a:pt x="16" y="41"/>
                      <a:pt x="16" y="43"/>
                    </a:cubicBezTo>
                    <a:cubicBezTo>
                      <a:pt x="13" y="43"/>
                      <a:pt x="13" y="45"/>
                      <a:pt x="13" y="47"/>
                    </a:cubicBezTo>
                    <a:cubicBezTo>
                      <a:pt x="13" y="47"/>
                      <a:pt x="13" y="48"/>
                      <a:pt x="13" y="49"/>
                    </a:cubicBezTo>
                    <a:cubicBezTo>
                      <a:pt x="13" y="49"/>
                      <a:pt x="12" y="49"/>
                      <a:pt x="12" y="51"/>
                    </a:cubicBezTo>
                    <a:cubicBezTo>
                      <a:pt x="12" y="52"/>
                      <a:pt x="13" y="54"/>
                      <a:pt x="14" y="54"/>
                    </a:cubicBezTo>
                    <a:cubicBezTo>
                      <a:pt x="15" y="55"/>
                      <a:pt x="17" y="57"/>
                      <a:pt x="17" y="58"/>
                    </a:cubicBezTo>
                    <a:cubicBezTo>
                      <a:pt x="15" y="59"/>
                      <a:pt x="13" y="58"/>
                      <a:pt x="11" y="58"/>
                    </a:cubicBezTo>
                    <a:cubicBezTo>
                      <a:pt x="10" y="59"/>
                      <a:pt x="10" y="61"/>
                      <a:pt x="10" y="62"/>
                    </a:cubicBezTo>
                    <a:cubicBezTo>
                      <a:pt x="10" y="64"/>
                      <a:pt x="10" y="64"/>
                      <a:pt x="8" y="65"/>
                    </a:cubicBezTo>
                    <a:cubicBezTo>
                      <a:pt x="7" y="65"/>
                      <a:pt x="6" y="64"/>
                      <a:pt x="5" y="64"/>
                    </a:cubicBezTo>
                    <a:cubicBezTo>
                      <a:pt x="4" y="65"/>
                      <a:pt x="4" y="67"/>
                      <a:pt x="3" y="68"/>
                    </a:cubicBezTo>
                    <a:cubicBezTo>
                      <a:pt x="3" y="69"/>
                      <a:pt x="0" y="73"/>
                      <a:pt x="0" y="74"/>
                    </a:cubicBezTo>
                    <a:cubicBezTo>
                      <a:pt x="1" y="75"/>
                      <a:pt x="2" y="74"/>
                      <a:pt x="3" y="75"/>
                    </a:cubicBezTo>
                    <a:cubicBezTo>
                      <a:pt x="3" y="76"/>
                      <a:pt x="3" y="76"/>
                      <a:pt x="4" y="77"/>
                    </a:cubicBezTo>
                    <a:cubicBezTo>
                      <a:pt x="4" y="77"/>
                      <a:pt x="5" y="76"/>
                      <a:pt x="6" y="77"/>
                    </a:cubicBezTo>
                    <a:cubicBezTo>
                      <a:pt x="7" y="77"/>
                      <a:pt x="7" y="79"/>
                      <a:pt x="8" y="80"/>
                    </a:cubicBezTo>
                    <a:cubicBezTo>
                      <a:pt x="9" y="80"/>
                      <a:pt x="10" y="81"/>
                      <a:pt x="10" y="81"/>
                    </a:cubicBezTo>
                    <a:cubicBezTo>
                      <a:pt x="11" y="81"/>
                      <a:pt x="12" y="82"/>
                      <a:pt x="13" y="82"/>
                    </a:cubicBezTo>
                    <a:cubicBezTo>
                      <a:pt x="13" y="82"/>
                      <a:pt x="13" y="82"/>
                      <a:pt x="13" y="83"/>
                    </a:cubicBezTo>
                    <a:cubicBezTo>
                      <a:pt x="14" y="83"/>
                      <a:pt x="16" y="83"/>
                      <a:pt x="17" y="83"/>
                    </a:cubicBezTo>
                    <a:cubicBezTo>
                      <a:pt x="18" y="84"/>
                      <a:pt x="17" y="87"/>
                      <a:pt x="17" y="88"/>
                    </a:cubicBezTo>
                    <a:cubicBezTo>
                      <a:pt x="17" y="90"/>
                      <a:pt x="18" y="93"/>
                      <a:pt x="16" y="95"/>
                    </a:cubicBezTo>
                    <a:cubicBezTo>
                      <a:pt x="15" y="95"/>
                      <a:pt x="15" y="95"/>
                      <a:pt x="14" y="97"/>
                    </a:cubicBezTo>
                    <a:cubicBezTo>
                      <a:pt x="14" y="98"/>
                      <a:pt x="14" y="99"/>
                      <a:pt x="14" y="100"/>
                    </a:cubicBezTo>
                    <a:cubicBezTo>
                      <a:pt x="14" y="100"/>
                      <a:pt x="15" y="101"/>
                      <a:pt x="15" y="101"/>
                    </a:cubicBezTo>
                    <a:cubicBezTo>
                      <a:pt x="16" y="101"/>
                      <a:pt x="17" y="101"/>
                      <a:pt x="18" y="101"/>
                    </a:cubicBezTo>
                    <a:cubicBezTo>
                      <a:pt x="18" y="101"/>
                      <a:pt x="18" y="102"/>
                      <a:pt x="19" y="102"/>
                    </a:cubicBezTo>
                    <a:cubicBezTo>
                      <a:pt x="20" y="102"/>
                      <a:pt x="21" y="102"/>
                      <a:pt x="21" y="102"/>
                    </a:cubicBezTo>
                    <a:cubicBezTo>
                      <a:pt x="22" y="102"/>
                      <a:pt x="23" y="102"/>
                      <a:pt x="24" y="102"/>
                    </a:cubicBezTo>
                    <a:cubicBezTo>
                      <a:pt x="25" y="104"/>
                      <a:pt x="23" y="105"/>
                      <a:pt x="22" y="106"/>
                    </a:cubicBezTo>
                    <a:cubicBezTo>
                      <a:pt x="22" y="107"/>
                      <a:pt x="21" y="107"/>
                      <a:pt x="21" y="107"/>
                    </a:cubicBezTo>
                    <a:cubicBezTo>
                      <a:pt x="20" y="107"/>
                      <a:pt x="20" y="107"/>
                      <a:pt x="19" y="108"/>
                    </a:cubicBezTo>
                    <a:cubicBezTo>
                      <a:pt x="19" y="108"/>
                      <a:pt x="19" y="109"/>
                      <a:pt x="19" y="110"/>
                    </a:cubicBezTo>
                    <a:cubicBezTo>
                      <a:pt x="18" y="113"/>
                      <a:pt x="19" y="113"/>
                      <a:pt x="21" y="115"/>
                    </a:cubicBezTo>
                    <a:cubicBezTo>
                      <a:pt x="22" y="116"/>
                      <a:pt x="22" y="118"/>
                      <a:pt x="24" y="120"/>
                    </a:cubicBezTo>
                    <a:cubicBezTo>
                      <a:pt x="25" y="121"/>
                      <a:pt x="27" y="122"/>
                      <a:pt x="29" y="122"/>
                    </a:cubicBezTo>
                    <a:cubicBezTo>
                      <a:pt x="30" y="122"/>
                      <a:pt x="34" y="121"/>
                      <a:pt x="34" y="123"/>
                    </a:cubicBezTo>
                    <a:cubicBezTo>
                      <a:pt x="34" y="124"/>
                      <a:pt x="33" y="125"/>
                      <a:pt x="33" y="126"/>
                    </a:cubicBezTo>
                    <a:cubicBezTo>
                      <a:pt x="33" y="127"/>
                      <a:pt x="35" y="128"/>
                      <a:pt x="36" y="128"/>
                    </a:cubicBezTo>
                    <a:cubicBezTo>
                      <a:pt x="37" y="129"/>
                      <a:pt x="38" y="129"/>
                      <a:pt x="39" y="129"/>
                    </a:cubicBezTo>
                    <a:cubicBezTo>
                      <a:pt x="40" y="129"/>
                      <a:pt x="41" y="129"/>
                      <a:pt x="41" y="127"/>
                    </a:cubicBezTo>
                    <a:cubicBezTo>
                      <a:pt x="41" y="125"/>
                      <a:pt x="40" y="122"/>
                      <a:pt x="41" y="121"/>
                    </a:cubicBezTo>
                    <a:cubicBezTo>
                      <a:pt x="42" y="120"/>
                      <a:pt x="42" y="120"/>
                      <a:pt x="43" y="119"/>
                    </a:cubicBezTo>
                    <a:cubicBezTo>
                      <a:pt x="43" y="118"/>
                      <a:pt x="43" y="117"/>
                      <a:pt x="44" y="116"/>
                    </a:cubicBezTo>
                    <a:cubicBezTo>
                      <a:pt x="44" y="115"/>
                      <a:pt x="44" y="114"/>
                      <a:pt x="45" y="114"/>
                    </a:cubicBezTo>
                    <a:cubicBezTo>
                      <a:pt x="45" y="113"/>
                      <a:pt x="45" y="113"/>
                      <a:pt x="45" y="113"/>
                    </a:cubicBezTo>
                    <a:cubicBezTo>
                      <a:pt x="45" y="112"/>
                      <a:pt x="46" y="112"/>
                      <a:pt x="47" y="112"/>
                    </a:cubicBezTo>
                    <a:cubicBezTo>
                      <a:pt x="49" y="111"/>
                      <a:pt x="48" y="110"/>
                      <a:pt x="49" y="109"/>
                    </a:cubicBezTo>
                    <a:cubicBezTo>
                      <a:pt x="49" y="107"/>
                      <a:pt x="50" y="106"/>
                      <a:pt x="51" y="104"/>
                    </a:cubicBezTo>
                    <a:cubicBezTo>
                      <a:pt x="51" y="102"/>
                      <a:pt x="52" y="101"/>
                      <a:pt x="52" y="99"/>
                    </a:cubicBezTo>
                    <a:cubicBezTo>
                      <a:pt x="52" y="98"/>
                      <a:pt x="52" y="97"/>
                      <a:pt x="52" y="96"/>
                    </a:cubicBezTo>
                    <a:cubicBezTo>
                      <a:pt x="52" y="93"/>
                      <a:pt x="53" y="90"/>
                      <a:pt x="53" y="87"/>
                    </a:cubicBezTo>
                    <a:cubicBezTo>
                      <a:pt x="53" y="86"/>
                      <a:pt x="52" y="85"/>
                      <a:pt x="53" y="84"/>
                    </a:cubicBezTo>
                    <a:cubicBezTo>
                      <a:pt x="53" y="83"/>
                      <a:pt x="54" y="83"/>
                      <a:pt x="54" y="82"/>
                    </a:cubicBezTo>
                    <a:cubicBezTo>
                      <a:pt x="54" y="82"/>
                      <a:pt x="54" y="81"/>
                      <a:pt x="54" y="81"/>
                    </a:cubicBezTo>
                    <a:cubicBezTo>
                      <a:pt x="54" y="78"/>
                      <a:pt x="58" y="78"/>
                      <a:pt x="59" y="76"/>
                    </a:cubicBezTo>
                    <a:cubicBezTo>
                      <a:pt x="59" y="76"/>
                      <a:pt x="59" y="75"/>
                      <a:pt x="59" y="75"/>
                    </a:cubicBezTo>
                    <a:cubicBezTo>
                      <a:pt x="60" y="74"/>
                      <a:pt x="60" y="74"/>
                      <a:pt x="60" y="74"/>
                    </a:cubicBezTo>
                    <a:cubicBezTo>
                      <a:pt x="61" y="73"/>
                      <a:pt x="61" y="72"/>
                      <a:pt x="61" y="71"/>
                    </a:cubicBezTo>
                    <a:cubicBezTo>
                      <a:pt x="61" y="64"/>
                      <a:pt x="63" y="58"/>
                      <a:pt x="63" y="52"/>
                    </a:cubicBezTo>
                    <a:cubicBezTo>
                      <a:pt x="63" y="49"/>
                      <a:pt x="63" y="47"/>
                      <a:pt x="63" y="44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3" y="39"/>
                      <a:pt x="64" y="37"/>
                      <a:pt x="63" y="36"/>
                    </a:cubicBezTo>
                    <a:cubicBezTo>
                      <a:pt x="62" y="34"/>
                      <a:pt x="60" y="34"/>
                      <a:pt x="60" y="32"/>
                    </a:cubicBezTo>
                    <a:cubicBezTo>
                      <a:pt x="59" y="30"/>
                      <a:pt x="59" y="29"/>
                      <a:pt x="59" y="27"/>
                    </a:cubicBezTo>
                    <a:cubicBezTo>
                      <a:pt x="59" y="26"/>
                      <a:pt x="59" y="24"/>
                      <a:pt x="59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22"/>
                      <a:pt x="60" y="22"/>
                      <a:pt x="60" y="22"/>
                    </a:cubicBezTo>
                    <a:cubicBezTo>
                      <a:pt x="60" y="21"/>
                      <a:pt x="61" y="20"/>
                      <a:pt x="61" y="20"/>
                    </a:cubicBezTo>
                    <a:cubicBezTo>
                      <a:pt x="62" y="19"/>
                      <a:pt x="63" y="19"/>
                      <a:pt x="63" y="18"/>
                    </a:cubicBezTo>
                    <a:cubicBezTo>
                      <a:pt x="63" y="17"/>
                      <a:pt x="63" y="16"/>
                      <a:pt x="63" y="15"/>
                    </a:cubicBezTo>
                    <a:cubicBezTo>
                      <a:pt x="63" y="14"/>
                      <a:pt x="62" y="14"/>
                      <a:pt x="63" y="13"/>
                    </a:cubicBezTo>
                    <a:cubicBezTo>
                      <a:pt x="61" y="12"/>
                      <a:pt x="61" y="11"/>
                      <a:pt x="61" y="9"/>
                    </a:cubicBezTo>
                    <a:lnTo>
                      <a:pt x="61" y="2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02" name="Freeform 18">
                <a:extLst>
                  <a:ext uri="{FF2B5EF4-FFF2-40B4-BE49-F238E27FC236}">
                    <a16:creationId xmlns:a16="http://schemas.microsoft.com/office/drawing/2014/main" id="{991C452E-C8D9-4D47-88C1-7F29E81BE3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6388" y="4992688"/>
                <a:ext cx="1143000" cy="1347788"/>
              </a:xfrm>
              <a:custGeom>
                <a:avLst/>
                <a:gdLst/>
                <a:ahLst/>
                <a:cxnLst>
                  <a:cxn ang="0">
                    <a:pos x="600" y="532"/>
                  </a:cxn>
                  <a:cxn ang="0">
                    <a:pos x="571" y="505"/>
                  </a:cxn>
                  <a:cxn ang="0">
                    <a:pos x="530" y="474"/>
                  </a:cxn>
                  <a:cxn ang="0">
                    <a:pos x="479" y="433"/>
                  </a:cxn>
                  <a:cxn ang="0">
                    <a:pos x="489" y="411"/>
                  </a:cxn>
                  <a:cxn ang="0">
                    <a:pos x="432" y="405"/>
                  </a:cxn>
                  <a:cxn ang="0">
                    <a:pos x="398" y="374"/>
                  </a:cxn>
                  <a:cxn ang="0">
                    <a:pos x="378" y="341"/>
                  </a:cxn>
                  <a:cxn ang="0">
                    <a:pos x="358" y="280"/>
                  </a:cxn>
                  <a:cxn ang="0">
                    <a:pos x="319" y="243"/>
                  </a:cxn>
                  <a:cxn ang="0">
                    <a:pos x="296" y="196"/>
                  </a:cxn>
                  <a:cxn ang="0">
                    <a:pos x="314" y="171"/>
                  </a:cxn>
                  <a:cxn ang="0">
                    <a:pos x="320" y="143"/>
                  </a:cxn>
                  <a:cxn ang="0">
                    <a:pos x="329" y="129"/>
                  </a:cxn>
                  <a:cxn ang="0">
                    <a:pos x="354" y="109"/>
                  </a:cxn>
                  <a:cxn ang="0">
                    <a:pos x="375" y="120"/>
                  </a:cxn>
                  <a:cxn ang="0">
                    <a:pos x="373" y="95"/>
                  </a:cxn>
                  <a:cxn ang="0">
                    <a:pos x="361" y="68"/>
                  </a:cxn>
                  <a:cxn ang="0">
                    <a:pos x="347" y="37"/>
                  </a:cxn>
                  <a:cxn ang="0">
                    <a:pos x="303" y="6"/>
                  </a:cxn>
                  <a:cxn ang="0">
                    <a:pos x="247" y="11"/>
                  </a:cxn>
                  <a:cxn ang="0">
                    <a:pos x="220" y="18"/>
                  </a:cxn>
                  <a:cxn ang="0">
                    <a:pos x="198" y="39"/>
                  </a:cxn>
                  <a:cxn ang="0">
                    <a:pos x="186" y="63"/>
                  </a:cxn>
                  <a:cxn ang="0">
                    <a:pos x="153" y="50"/>
                  </a:cxn>
                  <a:cxn ang="0">
                    <a:pos x="131" y="86"/>
                  </a:cxn>
                  <a:cxn ang="0">
                    <a:pos x="120" y="86"/>
                  </a:cxn>
                  <a:cxn ang="0">
                    <a:pos x="99" y="60"/>
                  </a:cxn>
                  <a:cxn ang="0">
                    <a:pos x="74" y="89"/>
                  </a:cxn>
                  <a:cxn ang="0">
                    <a:pos x="23" y="98"/>
                  </a:cxn>
                  <a:cxn ang="0">
                    <a:pos x="11" y="159"/>
                  </a:cxn>
                  <a:cxn ang="0">
                    <a:pos x="20" y="224"/>
                  </a:cxn>
                  <a:cxn ang="0">
                    <a:pos x="55" y="262"/>
                  </a:cxn>
                  <a:cxn ang="0">
                    <a:pos x="85" y="238"/>
                  </a:cxn>
                  <a:cxn ang="0">
                    <a:pos x="140" y="218"/>
                  </a:cxn>
                  <a:cxn ang="0">
                    <a:pos x="168" y="236"/>
                  </a:cxn>
                  <a:cxn ang="0">
                    <a:pos x="190" y="257"/>
                  </a:cxn>
                  <a:cxn ang="0">
                    <a:pos x="199" y="303"/>
                  </a:cxn>
                  <a:cxn ang="0">
                    <a:pos x="213" y="336"/>
                  </a:cxn>
                  <a:cxn ang="0">
                    <a:pos x="237" y="363"/>
                  </a:cxn>
                  <a:cxn ang="0">
                    <a:pos x="264" y="398"/>
                  </a:cxn>
                  <a:cxn ang="0">
                    <a:pos x="292" y="428"/>
                  </a:cxn>
                  <a:cxn ang="0">
                    <a:pos x="319" y="461"/>
                  </a:cxn>
                  <a:cxn ang="0">
                    <a:pos x="365" y="477"/>
                  </a:cxn>
                  <a:cxn ang="0">
                    <a:pos x="391" y="505"/>
                  </a:cxn>
                  <a:cxn ang="0">
                    <a:pos x="408" y="513"/>
                  </a:cxn>
                  <a:cxn ang="0">
                    <a:pos x="427" y="547"/>
                  </a:cxn>
                  <a:cxn ang="0">
                    <a:pos x="462" y="570"/>
                  </a:cxn>
                  <a:cxn ang="0">
                    <a:pos x="475" y="628"/>
                  </a:cxn>
                  <a:cxn ang="0">
                    <a:pos x="458" y="691"/>
                  </a:cxn>
                  <a:cxn ang="0">
                    <a:pos x="445" y="719"/>
                  </a:cxn>
                  <a:cxn ang="0">
                    <a:pos x="478" y="708"/>
                  </a:cxn>
                  <a:cxn ang="0">
                    <a:pos x="510" y="649"/>
                  </a:cxn>
                  <a:cxn ang="0">
                    <a:pos x="533" y="631"/>
                  </a:cxn>
                  <a:cxn ang="0">
                    <a:pos x="511" y="590"/>
                  </a:cxn>
                  <a:cxn ang="0">
                    <a:pos x="518" y="543"/>
                  </a:cxn>
                  <a:cxn ang="0">
                    <a:pos x="548" y="534"/>
                  </a:cxn>
                  <a:cxn ang="0">
                    <a:pos x="581" y="549"/>
                  </a:cxn>
                  <a:cxn ang="0">
                    <a:pos x="612" y="557"/>
                  </a:cxn>
                </a:cxnLst>
                <a:rect l="0" t="0" r="r" b="b"/>
                <a:pathLst>
                  <a:path w="612" h="721">
                    <a:moveTo>
                      <a:pt x="532" y="476"/>
                    </a:moveTo>
                    <a:cubicBezTo>
                      <a:pt x="533" y="475"/>
                      <a:pt x="533" y="475"/>
                      <a:pt x="533" y="475"/>
                    </a:cubicBezTo>
                    <a:cubicBezTo>
                      <a:pt x="533" y="475"/>
                      <a:pt x="532" y="475"/>
                      <a:pt x="532" y="476"/>
                    </a:cubicBezTo>
                    <a:moveTo>
                      <a:pt x="612" y="551"/>
                    </a:moveTo>
                    <a:cubicBezTo>
                      <a:pt x="612" y="550"/>
                      <a:pt x="611" y="550"/>
                      <a:pt x="611" y="550"/>
                    </a:cubicBezTo>
                    <a:cubicBezTo>
                      <a:pt x="611" y="549"/>
                      <a:pt x="611" y="548"/>
                      <a:pt x="611" y="548"/>
                    </a:cubicBezTo>
                    <a:cubicBezTo>
                      <a:pt x="610" y="547"/>
                      <a:pt x="610" y="547"/>
                      <a:pt x="609" y="546"/>
                    </a:cubicBezTo>
                    <a:cubicBezTo>
                      <a:pt x="609" y="545"/>
                      <a:pt x="609" y="544"/>
                      <a:pt x="609" y="543"/>
                    </a:cubicBezTo>
                    <a:cubicBezTo>
                      <a:pt x="608" y="542"/>
                      <a:pt x="608" y="542"/>
                      <a:pt x="607" y="541"/>
                    </a:cubicBezTo>
                    <a:cubicBezTo>
                      <a:pt x="606" y="540"/>
                      <a:pt x="606" y="538"/>
                      <a:pt x="605" y="537"/>
                    </a:cubicBezTo>
                    <a:cubicBezTo>
                      <a:pt x="604" y="536"/>
                      <a:pt x="603" y="535"/>
                      <a:pt x="602" y="534"/>
                    </a:cubicBezTo>
                    <a:cubicBezTo>
                      <a:pt x="601" y="533"/>
                      <a:pt x="601" y="533"/>
                      <a:pt x="600" y="532"/>
                    </a:cubicBezTo>
                    <a:cubicBezTo>
                      <a:pt x="600" y="532"/>
                      <a:pt x="599" y="531"/>
                      <a:pt x="599" y="531"/>
                    </a:cubicBezTo>
                    <a:cubicBezTo>
                      <a:pt x="598" y="530"/>
                      <a:pt x="598" y="529"/>
                      <a:pt x="597" y="528"/>
                    </a:cubicBezTo>
                    <a:cubicBezTo>
                      <a:pt x="596" y="527"/>
                      <a:pt x="596" y="527"/>
                      <a:pt x="595" y="526"/>
                    </a:cubicBezTo>
                    <a:cubicBezTo>
                      <a:pt x="594" y="525"/>
                      <a:pt x="594" y="524"/>
                      <a:pt x="593" y="523"/>
                    </a:cubicBezTo>
                    <a:cubicBezTo>
                      <a:pt x="592" y="522"/>
                      <a:pt x="591" y="522"/>
                      <a:pt x="591" y="522"/>
                    </a:cubicBezTo>
                    <a:cubicBezTo>
                      <a:pt x="589" y="520"/>
                      <a:pt x="588" y="518"/>
                      <a:pt x="587" y="517"/>
                    </a:cubicBezTo>
                    <a:cubicBezTo>
                      <a:pt x="587" y="516"/>
                      <a:pt x="585" y="515"/>
                      <a:pt x="584" y="514"/>
                    </a:cubicBezTo>
                    <a:cubicBezTo>
                      <a:pt x="582" y="512"/>
                      <a:pt x="580" y="510"/>
                      <a:pt x="578" y="509"/>
                    </a:cubicBezTo>
                    <a:cubicBezTo>
                      <a:pt x="577" y="509"/>
                      <a:pt x="576" y="508"/>
                      <a:pt x="575" y="507"/>
                    </a:cubicBezTo>
                    <a:cubicBezTo>
                      <a:pt x="575" y="507"/>
                      <a:pt x="575" y="507"/>
                      <a:pt x="575" y="507"/>
                    </a:cubicBezTo>
                    <a:cubicBezTo>
                      <a:pt x="575" y="507"/>
                      <a:pt x="574" y="507"/>
                      <a:pt x="574" y="507"/>
                    </a:cubicBezTo>
                    <a:cubicBezTo>
                      <a:pt x="573" y="506"/>
                      <a:pt x="572" y="505"/>
                      <a:pt x="571" y="505"/>
                    </a:cubicBezTo>
                    <a:cubicBezTo>
                      <a:pt x="570" y="504"/>
                      <a:pt x="569" y="504"/>
                      <a:pt x="568" y="503"/>
                    </a:cubicBezTo>
                    <a:cubicBezTo>
                      <a:pt x="566" y="502"/>
                      <a:pt x="565" y="501"/>
                      <a:pt x="563" y="500"/>
                    </a:cubicBezTo>
                    <a:cubicBezTo>
                      <a:pt x="562" y="499"/>
                      <a:pt x="560" y="499"/>
                      <a:pt x="559" y="498"/>
                    </a:cubicBezTo>
                    <a:cubicBezTo>
                      <a:pt x="558" y="497"/>
                      <a:pt x="557" y="497"/>
                      <a:pt x="556" y="496"/>
                    </a:cubicBezTo>
                    <a:cubicBezTo>
                      <a:pt x="555" y="495"/>
                      <a:pt x="554" y="494"/>
                      <a:pt x="552" y="494"/>
                    </a:cubicBezTo>
                    <a:cubicBezTo>
                      <a:pt x="552" y="493"/>
                      <a:pt x="551" y="493"/>
                      <a:pt x="550" y="492"/>
                    </a:cubicBezTo>
                    <a:cubicBezTo>
                      <a:pt x="549" y="491"/>
                      <a:pt x="548" y="490"/>
                      <a:pt x="547" y="489"/>
                    </a:cubicBezTo>
                    <a:cubicBezTo>
                      <a:pt x="546" y="488"/>
                      <a:pt x="545" y="487"/>
                      <a:pt x="544" y="486"/>
                    </a:cubicBezTo>
                    <a:cubicBezTo>
                      <a:pt x="544" y="485"/>
                      <a:pt x="543" y="484"/>
                      <a:pt x="543" y="483"/>
                    </a:cubicBezTo>
                    <a:cubicBezTo>
                      <a:pt x="542" y="481"/>
                      <a:pt x="540" y="481"/>
                      <a:pt x="538" y="479"/>
                    </a:cubicBezTo>
                    <a:cubicBezTo>
                      <a:pt x="537" y="479"/>
                      <a:pt x="532" y="477"/>
                      <a:pt x="532" y="476"/>
                    </a:cubicBezTo>
                    <a:cubicBezTo>
                      <a:pt x="532" y="476"/>
                      <a:pt x="530" y="475"/>
                      <a:pt x="530" y="474"/>
                    </a:cubicBezTo>
                    <a:cubicBezTo>
                      <a:pt x="528" y="473"/>
                      <a:pt x="526" y="471"/>
                      <a:pt x="523" y="471"/>
                    </a:cubicBezTo>
                    <a:cubicBezTo>
                      <a:pt x="521" y="470"/>
                      <a:pt x="519" y="470"/>
                      <a:pt x="517" y="469"/>
                    </a:cubicBezTo>
                    <a:cubicBezTo>
                      <a:pt x="512" y="469"/>
                      <a:pt x="509" y="466"/>
                      <a:pt x="506" y="463"/>
                    </a:cubicBezTo>
                    <a:cubicBezTo>
                      <a:pt x="504" y="462"/>
                      <a:pt x="503" y="460"/>
                      <a:pt x="501" y="460"/>
                    </a:cubicBezTo>
                    <a:cubicBezTo>
                      <a:pt x="499" y="459"/>
                      <a:pt x="497" y="459"/>
                      <a:pt x="495" y="459"/>
                    </a:cubicBezTo>
                    <a:cubicBezTo>
                      <a:pt x="493" y="458"/>
                      <a:pt x="491" y="457"/>
                      <a:pt x="490" y="457"/>
                    </a:cubicBezTo>
                    <a:cubicBezTo>
                      <a:pt x="489" y="455"/>
                      <a:pt x="488" y="454"/>
                      <a:pt x="487" y="452"/>
                    </a:cubicBezTo>
                    <a:cubicBezTo>
                      <a:pt x="486" y="450"/>
                      <a:pt x="485" y="449"/>
                      <a:pt x="483" y="448"/>
                    </a:cubicBezTo>
                    <a:cubicBezTo>
                      <a:pt x="482" y="447"/>
                      <a:pt x="481" y="447"/>
                      <a:pt x="480" y="446"/>
                    </a:cubicBezTo>
                    <a:cubicBezTo>
                      <a:pt x="478" y="445"/>
                      <a:pt x="477" y="444"/>
                      <a:pt x="477" y="443"/>
                    </a:cubicBezTo>
                    <a:cubicBezTo>
                      <a:pt x="476" y="442"/>
                      <a:pt x="477" y="440"/>
                      <a:pt x="477" y="439"/>
                    </a:cubicBezTo>
                    <a:cubicBezTo>
                      <a:pt x="477" y="437"/>
                      <a:pt x="478" y="435"/>
                      <a:pt x="479" y="433"/>
                    </a:cubicBezTo>
                    <a:cubicBezTo>
                      <a:pt x="480" y="432"/>
                      <a:pt x="481" y="431"/>
                      <a:pt x="482" y="430"/>
                    </a:cubicBezTo>
                    <a:cubicBezTo>
                      <a:pt x="482" y="429"/>
                      <a:pt x="483" y="428"/>
                      <a:pt x="484" y="427"/>
                    </a:cubicBezTo>
                    <a:cubicBezTo>
                      <a:pt x="485" y="427"/>
                      <a:pt x="486" y="426"/>
                      <a:pt x="486" y="426"/>
                    </a:cubicBezTo>
                    <a:cubicBezTo>
                      <a:pt x="487" y="426"/>
                      <a:pt x="487" y="426"/>
                      <a:pt x="488" y="426"/>
                    </a:cubicBezTo>
                    <a:cubicBezTo>
                      <a:pt x="488" y="426"/>
                      <a:pt x="488" y="425"/>
                      <a:pt x="489" y="425"/>
                    </a:cubicBezTo>
                    <a:cubicBezTo>
                      <a:pt x="489" y="424"/>
                      <a:pt x="490" y="425"/>
                      <a:pt x="490" y="424"/>
                    </a:cubicBezTo>
                    <a:cubicBezTo>
                      <a:pt x="491" y="424"/>
                      <a:pt x="491" y="424"/>
                      <a:pt x="491" y="423"/>
                    </a:cubicBezTo>
                    <a:cubicBezTo>
                      <a:pt x="492" y="422"/>
                      <a:pt x="493" y="422"/>
                      <a:pt x="494" y="421"/>
                    </a:cubicBezTo>
                    <a:cubicBezTo>
                      <a:pt x="495" y="420"/>
                      <a:pt x="495" y="418"/>
                      <a:pt x="495" y="417"/>
                    </a:cubicBezTo>
                    <a:cubicBezTo>
                      <a:pt x="495" y="417"/>
                      <a:pt x="494" y="416"/>
                      <a:pt x="494" y="416"/>
                    </a:cubicBezTo>
                    <a:cubicBezTo>
                      <a:pt x="494" y="415"/>
                      <a:pt x="493" y="415"/>
                      <a:pt x="493" y="414"/>
                    </a:cubicBezTo>
                    <a:cubicBezTo>
                      <a:pt x="492" y="412"/>
                      <a:pt x="490" y="412"/>
                      <a:pt x="489" y="411"/>
                    </a:cubicBezTo>
                    <a:cubicBezTo>
                      <a:pt x="487" y="409"/>
                      <a:pt x="486" y="408"/>
                      <a:pt x="483" y="408"/>
                    </a:cubicBezTo>
                    <a:cubicBezTo>
                      <a:pt x="482" y="408"/>
                      <a:pt x="481" y="409"/>
                      <a:pt x="479" y="409"/>
                    </a:cubicBezTo>
                    <a:cubicBezTo>
                      <a:pt x="477" y="410"/>
                      <a:pt x="474" y="410"/>
                      <a:pt x="473" y="409"/>
                    </a:cubicBezTo>
                    <a:cubicBezTo>
                      <a:pt x="471" y="408"/>
                      <a:pt x="470" y="408"/>
                      <a:pt x="467" y="409"/>
                    </a:cubicBezTo>
                    <a:cubicBezTo>
                      <a:pt x="466" y="409"/>
                      <a:pt x="464" y="409"/>
                      <a:pt x="463" y="409"/>
                    </a:cubicBezTo>
                    <a:cubicBezTo>
                      <a:pt x="462" y="409"/>
                      <a:pt x="461" y="410"/>
                      <a:pt x="460" y="410"/>
                    </a:cubicBezTo>
                    <a:cubicBezTo>
                      <a:pt x="459" y="410"/>
                      <a:pt x="458" y="410"/>
                      <a:pt x="458" y="410"/>
                    </a:cubicBezTo>
                    <a:cubicBezTo>
                      <a:pt x="456" y="410"/>
                      <a:pt x="454" y="411"/>
                      <a:pt x="452" y="411"/>
                    </a:cubicBezTo>
                    <a:cubicBezTo>
                      <a:pt x="451" y="411"/>
                      <a:pt x="449" y="411"/>
                      <a:pt x="448" y="411"/>
                    </a:cubicBezTo>
                    <a:cubicBezTo>
                      <a:pt x="444" y="411"/>
                      <a:pt x="439" y="411"/>
                      <a:pt x="436" y="408"/>
                    </a:cubicBezTo>
                    <a:cubicBezTo>
                      <a:pt x="435" y="407"/>
                      <a:pt x="435" y="406"/>
                      <a:pt x="434" y="406"/>
                    </a:cubicBezTo>
                    <a:cubicBezTo>
                      <a:pt x="433" y="405"/>
                      <a:pt x="433" y="405"/>
                      <a:pt x="432" y="405"/>
                    </a:cubicBezTo>
                    <a:cubicBezTo>
                      <a:pt x="431" y="403"/>
                      <a:pt x="430" y="403"/>
                      <a:pt x="428" y="402"/>
                    </a:cubicBezTo>
                    <a:cubicBezTo>
                      <a:pt x="427" y="401"/>
                      <a:pt x="426" y="401"/>
                      <a:pt x="425" y="400"/>
                    </a:cubicBezTo>
                    <a:cubicBezTo>
                      <a:pt x="424" y="399"/>
                      <a:pt x="424" y="398"/>
                      <a:pt x="423" y="398"/>
                    </a:cubicBezTo>
                    <a:cubicBezTo>
                      <a:pt x="422" y="397"/>
                      <a:pt x="420" y="398"/>
                      <a:pt x="419" y="398"/>
                    </a:cubicBezTo>
                    <a:cubicBezTo>
                      <a:pt x="418" y="397"/>
                      <a:pt x="418" y="396"/>
                      <a:pt x="416" y="396"/>
                    </a:cubicBezTo>
                    <a:cubicBezTo>
                      <a:pt x="416" y="395"/>
                      <a:pt x="415" y="393"/>
                      <a:pt x="414" y="391"/>
                    </a:cubicBezTo>
                    <a:cubicBezTo>
                      <a:pt x="414" y="390"/>
                      <a:pt x="414" y="388"/>
                      <a:pt x="413" y="387"/>
                    </a:cubicBezTo>
                    <a:cubicBezTo>
                      <a:pt x="413" y="386"/>
                      <a:pt x="412" y="386"/>
                      <a:pt x="411" y="385"/>
                    </a:cubicBezTo>
                    <a:cubicBezTo>
                      <a:pt x="410" y="385"/>
                      <a:pt x="411" y="385"/>
                      <a:pt x="410" y="384"/>
                    </a:cubicBezTo>
                    <a:cubicBezTo>
                      <a:pt x="408" y="383"/>
                      <a:pt x="407" y="382"/>
                      <a:pt x="405" y="381"/>
                    </a:cubicBezTo>
                    <a:cubicBezTo>
                      <a:pt x="403" y="379"/>
                      <a:pt x="401" y="378"/>
                      <a:pt x="399" y="375"/>
                    </a:cubicBezTo>
                    <a:cubicBezTo>
                      <a:pt x="399" y="375"/>
                      <a:pt x="398" y="374"/>
                      <a:pt x="398" y="374"/>
                    </a:cubicBezTo>
                    <a:cubicBezTo>
                      <a:pt x="397" y="372"/>
                      <a:pt x="397" y="371"/>
                      <a:pt x="395" y="370"/>
                    </a:cubicBezTo>
                    <a:cubicBezTo>
                      <a:pt x="395" y="370"/>
                      <a:pt x="391" y="367"/>
                      <a:pt x="391" y="366"/>
                    </a:cubicBezTo>
                    <a:cubicBezTo>
                      <a:pt x="391" y="366"/>
                      <a:pt x="391" y="366"/>
                      <a:pt x="391" y="366"/>
                    </a:cubicBezTo>
                    <a:cubicBezTo>
                      <a:pt x="391" y="366"/>
                      <a:pt x="390" y="366"/>
                      <a:pt x="390" y="366"/>
                    </a:cubicBezTo>
                    <a:cubicBezTo>
                      <a:pt x="390" y="366"/>
                      <a:pt x="390" y="365"/>
                      <a:pt x="390" y="365"/>
                    </a:cubicBezTo>
                    <a:cubicBezTo>
                      <a:pt x="389" y="365"/>
                      <a:pt x="389" y="364"/>
                      <a:pt x="389" y="364"/>
                    </a:cubicBezTo>
                    <a:cubicBezTo>
                      <a:pt x="388" y="363"/>
                      <a:pt x="388" y="363"/>
                      <a:pt x="387" y="363"/>
                    </a:cubicBezTo>
                    <a:cubicBezTo>
                      <a:pt x="387" y="362"/>
                      <a:pt x="387" y="361"/>
                      <a:pt x="386" y="361"/>
                    </a:cubicBezTo>
                    <a:cubicBezTo>
                      <a:pt x="386" y="360"/>
                      <a:pt x="385" y="359"/>
                      <a:pt x="385" y="358"/>
                    </a:cubicBezTo>
                    <a:cubicBezTo>
                      <a:pt x="384" y="357"/>
                      <a:pt x="383" y="356"/>
                      <a:pt x="383" y="355"/>
                    </a:cubicBezTo>
                    <a:cubicBezTo>
                      <a:pt x="382" y="354"/>
                      <a:pt x="382" y="352"/>
                      <a:pt x="381" y="352"/>
                    </a:cubicBezTo>
                    <a:cubicBezTo>
                      <a:pt x="381" y="348"/>
                      <a:pt x="379" y="345"/>
                      <a:pt x="378" y="341"/>
                    </a:cubicBezTo>
                    <a:cubicBezTo>
                      <a:pt x="377" y="338"/>
                      <a:pt x="376" y="335"/>
                      <a:pt x="376" y="332"/>
                    </a:cubicBezTo>
                    <a:cubicBezTo>
                      <a:pt x="375" y="329"/>
                      <a:pt x="375" y="325"/>
                      <a:pt x="374" y="323"/>
                    </a:cubicBezTo>
                    <a:cubicBezTo>
                      <a:pt x="373" y="321"/>
                      <a:pt x="373" y="320"/>
                      <a:pt x="372" y="319"/>
                    </a:cubicBezTo>
                    <a:cubicBezTo>
                      <a:pt x="372" y="318"/>
                      <a:pt x="372" y="317"/>
                      <a:pt x="372" y="316"/>
                    </a:cubicBezTo>
                    <a:cubicBezTo>
                      <a:pt x="372" y="316"/>
                      <a:pt x="371" y="315"/>
                      <a:pt x="371" y="315"/>
                    </a:cubicBezTo>
                    <a:cubicBezTo>
                      <a:pt x="370" y="311"/>
                      <a:pt x="370" y="307"/>
                      <a:pt x="369" y="303"/>
                    </a:cubicBezTo>
                    <a:cubicBezTo>
                      <a:pt x="368" y="301"/>
                      <a:pt x="366" y="299"/>
                      <a:pt x="365" y="297"/>
                    </a:cubicBezTo>
                    <a:cubicBezTo>
                      <a:pt x="364" y="296"/>
                      <a:pt x="364" y="295"/>
                      <a:pt x="364" y="294"/>
                    </a:cubicBezTo>
                    <a:cubicBezTo>
                      <a:pt x="364" y="293"/>
                      <a:pt x="363" y="291"/>
                      <a:pt x="362" y="290"/>
                    </a:cubicBezTo>
                    <a:cubicBezTo>
                      <a:pt x="361" y="288"/>
                      <a:pt x="360" y="287"/>
                      <a:pt x="360" y="285"/>
                    </a:cubicBezTo>
                    <a:cubicBezTo>
                      <a:pt x="360" y="285"/>
                      <a:pt x="359" y="284"/>
                      <a:pt x="359" y="283"/>
                    </a:cubicBezTo>
                    <a:cubicBezTo>
                      <a:pt x="358" y="282"/>
                      <a:pt x="358" y="282"/>
                      <a:pt x="358" y="280"/>
                    </a:cubicBezTo>
                    <a:cubicBezTo>
                      <a:pt x="358" y="279"/>
                      <a:pt x="358" y="279"/>
                      <a:pt x="357" y="279"/>
                    </a:cubicBezTo>
                    <a:cubicBezTo>
                      <a:pt x="355" y="278"/>
                      <a:pt x="354" y="280"/>
                      <a:pt x="352" y="277"/>
                    </a:cubicBezTo>
                    <a:cubicBezTo>
                      <a:pt x="350" y="275"/>
                      <a:pt x="351" y="271"/>
                      <a:pt x="349" y="269"/>
                    </a:cubicBezTo>
                    <a:cubicBezTo>
                      <a:pt x="347" y="268"/>
                      <a:pt x="346" y="267"/>
                      <a:pt x="345" y="266"/>
                    </a:cubicBezTo>
                    <a:cubicBezTo>
                      <a:pt x="344" y="265"/>
                      <a:pt x="343" y="265"/>
                      <a:pt x="342" y="265"/>
                    </a:cubicBezTo>
                    <a:cubicBezTo>
                      <a:pt x="342" y="264"/>
                      <a:pt x="342" y="264"/>
                      <a:pt x="341" y="264"/>
                    </a:cubicBezTo>
                    <a:cubicBezTo>
                      <a:pt x="341" y="264"/>
                      <a:pt x="340" y="263"/>
                      <a:pt x="340" y="263"/>
                    </a:cubicBezTo>
                    <a:cubicBezTo>
                      <a:pt x="338" y="262"/>
                      <a:pt x="337" y="260"/>
                      <a:pt x="336" y="259"/>
                    </a:cubicBezTo>
                    <a:cubicBezTo>
                      <a:pt x="335" y="257"/>
                      <a:pt x="333" y="256"/>
                      <a:pt x="331" y="254"/>
                    </a:cubicBezTo>
                    <a:cubicBezTo>
                      <a:pt x="330" y="253"/>
                      <a:pt x="328" y="251"/>
                      <a:pt x="327" y="250"/>
                    </a:cubicBezTo>
                    <a:cubicBezTo>
                      <a:pt x="326" y="248"/>
                      <a:pt x="324" y="248"/>
                      <a:pt x="323" y="247"/>
                    </a:cubicBezTo>
                    <a:cubicBezTo>
                      <a:pt x="321" y="246"/>
                      <a:pt x="320" y="244"/>
                      <a:pt x="319" y="243"/>
                    </a:cubicBezTo>
                    <a:cubicBezTo>
                      <a:pt x="318" y="242"/>
                      <a:pt x="317" y="241"/>
                      <a:pt x="316" y="241"/>
                    </a:cubicBezTo>
                    <a:cubicBezTo>
                      <a:pt x="315" y="241"/>
                      <a:pt x="315" y="241"/>
                      <a:pt x="314" y="241"/>
                    </a:cubicBezTo>
                    <a:cubicBezTo>
                      <a:pt x="314" y="240"/>
                      <a:pt x="314" y="240"/>
                      <a:pt x="313" y="240"/>
                    </a:cubicBezTo>
                    <a:cubicBezTo>
                      <a:pt x="313" y="239"/>
                      <a:pt x="312" y="239"/>
                      <a:pt x="311" y="238"/>
                    </a:cubicBezTo>
                    <a:cubicBezTo>
                      <a:pt x="309" y="237"/>
                      <a:pt x="308" y="236"/>
                      <a:pt x="307" y="234"/>
                    </a:cubicBezTo>
                    <a:cubicBezTo>
                      <a:pt x="305" y="231"/>
                      <a:pt x="304" y="228"/>
                      <a:pt x="302" y="225"/>
                    </a:cubicBezTo>
                    <a:cubicBezTo>
                      <a:pt x="302" y="224"/>
                      <a:pt x="302" y="224"/>
                      <a:pt x="302" y="224"/>
                    </a:cubicBezTo>
                    <a:cubicBezTo>
                      <a:pt x="302" y="223"/>
                      <a:pt x="301" y="223"/>
                      <a:pt x="301" y="223"/>
                    </a:cubicBezTo>
                    <a:cubicBezTo>
                      <a:pt x="300" y="221"/>
                      <a:pt x="299" y="219"/>
                      <a:pt x="299" y="218"/>
                    </a:cubicBezTo>
                    <a:cubicBezTo>
                      <a:pt x="299" y="214"/>
                      <a:pt x="300" y="210"/>
                      <a:pt x="299" y="206"/>
                    </a:cubicBezTo>
                    <a:cubicBezTo>
                      <a:pt x="298" y="203"/>
                      <a:pt x="296" y="201"/>
                      <a:pt x="296" y="198"/>
                    </a:cubicBezTo>
                    <a:cubicBezTo>
                      <a:pt x="296" y="198"/>
                      <a:pt x="296" y="197"/>
                      <a:pt x="296" y="196"/>
                    </a:cubicBezTo>
                    <a:cubicBezTo>
                      <a:pt x="296" y="196"/>
                      <a:pt x="297" y="196"/>
                      <a:pt x="297" y="195"/>
                    </a:cubicBezTo>
                    <a:cubicBezTo>
                      <a:pt x="297" y="194"/>
                      <a:pt x="297" y="192"/>
                      <a:pt x="297" y="191"/>
                    </a:cubicBezTo>
                    <a:cubicBezTo>
                      <a:pt x="297" y="190"/>
                      <a:pt x="296" y="190"/>
                      <a:pt x="296" y="189"/>
                    </a:cubicBezTo>
                    <a:cubicBezTo>
                      <a:pt x="296" y="189"/>
                      <a:pt x="296" y="188"/>
                      <a:pt x="296" y="187"/>
                    </a:cubicBezTo>
                    <a:cubicBezTo>
                      <a:pt x="296" y="186"/>
                      <a:pt x="296" y="186"/>
                      <a:pt x="297" y="185"/>
                    </a:cubicBezTo>
                    <a:cubicBezTo>
                      <a:pt x="297" y="184"/>
                      <a:pt x="297" y="183"/>
                      <a:pt x="298" y="182"/>
                    </a:cubicBezTo>
                    <a:cubicBezTo>
                      <a:pt x="298" y="181"/>
                      <a:pt x="298" y="181"/>
                      <a:pt x="299" y="181"/>
                    </a:cubicBezTo>
                    <a:cubicBezTo>
                      <a:pt x="299" y="181"/>
                      <a:pt x="299" y="181"/>
                      <a:pt x="300" y="181"/>
                    </a:cubicBezTo>
                    <a:cubicBezTo>
                      <a:pt x="300" y="180"/>
                      <a:pt x="301" y="180"/>
                      <a:pt x="302" y="180"/>
                    </a:cubicBezTo>
                    <a:cubicBezTo>
                      <a:pt x="305" y="179"/>
                      <a:pt x="305" y="176"/>
                      <a:pt x="306" y="173"/>
                    </a:cubicBezTo>
                    <a:cubicBezTo>
                      <a:pt x="307" y="172"/>
                      <a:pt x="307" y="172"/>
                      <a:pt x="308" y="171"/>
                    </a:cubicBezTo>
                    <a:cubicBezTo>
                      <a:pt x="310" y="171"/>
                      <a:pt x="312" y="171"/>
                      <a:pt x="314" y="171"/>
                    </a:cubicBezTo>
                    <a:cubicBezTo>
                      <a:pt x="316" y="171"/>
                      <a:pt x="318" y="170"/>
                      <a:pt x="321" y="171"/>
                    </a:cubicBezTo>
                    <a:cubicBezTo>
                      <a:pt x="321" y="171"/>
                      <a:pt x="322" y="171"/>
                      <a:pt x="323" y="170"/>
                    </a:cubicBezTo>
                    <a:cubicBezTo>
                      <a:pt x="324" y="170"/>
                      <a:pt x="324" y="169"/>
                      <a:pt x="324" y="168"/>
                    </a:cubicBezTo>
                    <a:cubicBezTo>
                      <a:pt x="324" y="166"/>
                      <a:pt x="322" y="165"/>
                      <a:pt x="320" y="164"/>
                    </a:cubicBezTo>
                    <a:cubicBezTo>
                      <a:pt x="318" y="163"/>
                      <a:pt x="317" y="163"/>
                      <a:pt x="316" y="161"/>
                    </a:cubicBezTo>
                    <a:cubicBezTo>
                      <a:pt x="316" y="159"/>
                      <a:pt x="315" y="158"/>
                      <a:pt x="315" y="156"/>
                    </a:cubicBezTo>
                    <a:cubicBezTo>
                      <a:pt x="315" y="154"/>
                      <a:pt x="315" y="155"/>
                      <a:pt x="317" y="154"/>
                    </a:cubicBezTo>
                    <a:cubicBezTo>
                      <a:pt x="318" y="154"/>
                      <a:pt x="319" y="153"/>
                      <a:pt x="319" y="152"/>
                    </a:cubicBezTo>
                    <a:cubicBezTo>
                      <a:pt x="321" y="151"/>
                      <a:pt x="322" y="149"/>
                      <a:pt x="323" y="148"/>
                    </a:cubicBezTo>
                    <a:cubicBezTo>
                      <a:pt x="324" y="147"/>
                      <a:pt x="326" y="147"/>
                      <a:pt x="327" y="146"/>
                    </a:cubicBezTo>
                    <a:cubicBezTo>
                      <a:pt x="328" y="145"/>
                      <a:pt x="328" y="145"/>
                      <a:pt x="328" y="144"/>
                    </a:cubicBezTo>
                    <a:cubicBezTo>
                      <a:pt x="325" y="143"/>
                      <a:pt x="323" y="144"/>
                      <a:pt x="320" y="143"/>
                    </a:cubicBezTo>
                    <a:cubicBezTo>
                      <a:pt x="317" y="141"/>
                      <a:pt x="312" y="142"/>
                      <a:pt x="308" y="142"/>
                    </a:cubicBezTo>
                    <a:cubicBezTo>
                      <a:pt x="308" y="140"/>
                      <a:pt x="310" y="138"/>
                      <a:pt x="310" y="137"/>
                    </a:cubicBezTo>
                    <a:cubicBezTo>
                      <a:pt x="311" y="136"/>
                      <a:pt x="311" y="136"/>
                      <a:pt x="311" y="135"/>
                    </a:cubicBezTo>
                    <a:cubicBezTo>
                      <a:pt x="312" y="135"/>
                      <a:pt x="312" y="135"/>
                      <a:pt x="313" y="134"/>
                    </a:cubicBezTo>
                    <a:cubicBezTo>
                      <a:pt x="315" y="133"/>
                      <a:pt x="314" y="132"/>
                      <a:pt x="314" y="130"/>
                    </a:cubicBezTo>
                    <a:cubicBezTo>
                      <a:pt x="315" y="128"/>
                      <a:pt x="316" y="128"/>
                      <a:pt x="317" y="130"/>
                    </a:cubicBezTo>
                    <a:cubicBezTo>
                      <a:pt x="318" y="131"/>
                      <a:pt x="316" y="133"/>
                      <a:pt x="318" y="134"/>
                    </a:cubicBezTo>
                    <a:cubicBezTo>
                      <a:pt x="319" y="134"/>
                      <a:pt x="320" y="134"/>
                      <a:pt x="321" y="134"/>
                    </a:cubicBezTo>
                    <a:cubicBezTo>
                      <a:pt x="321" y="134"/>
                      <a:pt x="321" y="134"/>
                      <a:pt x="322" y="134"/>
                    </a:cubicBezTo>
                    <a:cubicBezTo>
                      <a:pt x="322" y="134"/>
                      <a:pt x="322" y="134"/>
                      <a:pt x="322" y="133"/>
                    </a:cubicBezTo>
                    <a:cubicBezTo>
                      <a:pt x="324" y="133"/>
                      <a:pt x="325" y="132"/>
                      <a:pt x="326" y="131"/>
                    </a:cubicBezTo>
                    <a:cubicBezTo>
                      <a:pt x="327" y="130"/>
                      <a:pt x="329" y="130"/>
                      <a:pt x="329" y="129"/>
                    </a:cubicBezTo>
                    <a:cubicBezTo>
                      <a:pt x="330" y="128"/>
                      <a:pt x="330" y="128"/>
                      <a:pt x="331" y="127"/>
                    </a:cubicBezTo>
                    <a:cubicBezTo>
                      <a:pt x="331" y="127"/>
                      <a:pt x="332" y="127"/>
                      <a:pt x="333" y="127"/>
                    </a:cubicBezTo>
                    <a:cubicBezTo>
                      <a:pt x="334" y="126"/>
                      <a:pt x="336" y="127"/>
                      <a:pt x="338" y="126"/>
                    </a:cubicBezTo>
                    <a:cubicBezTo>
                      <a:pt x="339" y="126"/>
                      <a:pt x="340" y="124"/>
                      <a:pt x="341" y="124"/>
                    </a:cubicBezTo>
                    <a:cubicBezTo>
                      <a:pt x="342" y="123"/>
                      <a:pt x="343" y="123"/>
                      <a:pt x="345" y="123"/>
                    </a:cubicBezTo>
                    <a:cubicBezTo>
                      <a:pt x="346" y="122"/>
                      <a:pt x="347" y="121"/>
                      <a:pt x="347" y="120"/>
                    </a:cubicBezTo>
                    <a:cubicBezTo>
                      <a:pt x="348" y="119"/>
                      <a:pt x="348" y="118"/>
                      <a:pt x="349" y="118"/>
                    </a:cubicBezTo>
                    <a:cubicBezTo>
                      <a:pt x="350" y="118"/>
                      <a:pt x="351" y="118"/>
                      <a:pt x="351" y="118"/>
                    </a:cubicBezTo>
                    <a:cubicBezTo>
                      <a:pt x="352" y="118"/>
                      <a:pt x="355" y="118"/>
                      <a:pt x="355" y="117"/>
                    </a:cubicBezTo>
                    <a:cubicBezTo>
                      <a:pt x="357" y="115"/>
                      <a:pt x="354" y="114"/>
                      <a:pt x="354" y="112"/>
                    </a:cubicBezTo>
                    <a:cubicBezTo>
                      <a:pt x="353" y="112"/>
                      <a:pt x="353" y="112"/>
                      <a:pt x="353" y="112"/>
                    </a:cubicBezTo>
                    <a:cubicBezTo>
                      <a:pt x="352" y="110"/>
                      <a:pt x="353" y="111"/>
                      <a:pt x="354" y="109"/>
                    </a:cubicBezTo>
                    <a:cubicBezTo>
                      <a:pt x="354" y="108"/>
                      <a:pt x="354" y="107"/>
                      <a:pt x="355" y="106"/>
                    </a:cubicBezTo>
                    <a:cubicBezTo>
                      <a:pt x="355" y="105"/>
                      <a:pt x="356" y="104"/>
                      <a:pt x="358" y="104"/>
                    </a:cubicBezTo>
                    <a:cubicBezTo>
                      <a:pt x="359" y="105"/>
                      <a:pt x="359" y="106"/>
                      <a:pt x="359" y="107"/>
                    </a:cubicBezTo>
                    <a:cubicBezTo>
                      <a:pt x="360" y="108"/>
                      <a:pt x="361" y="108"/>
                      <a:pt x="362" y="109"/>
                    </a:cubicBezTo>
                    <a:cubicBezTo>
                      <a:pt x="363" y="109"/>
                      <a:pt x="364" y="109"/>
                      <a:pt x="365" y="109"/>
                    </a:cubicBezTo>
                    <a:cubicBezTo>
                      <a:pt x="366" y="108"/>
                      <a:pt x="366" y="108"/>
                      <a:pt x="367" y="108"/>
                    </a:cubicBezTo>
                    <a:cubicBezTo>
                      <a:pt x="368" y="107"/>
                      <a:pt x="370" y="104"/>
                      <a:pt x="371" y="105"/>
                    </a:cubicBezTo>
                    <a:cubicBezTo>
                      <a:pt x="372" y="105"/>
                      <a:pt x="372" y="107"/>
                      <a:pt x="372" y="108"/>
                    </a:cubicBezTo>
                    <a:cubicBezTo>
                      <a:pt x="373" y="108"/>
                      <a:pt x="373" y="110"/>
                      <a:pt x="373" y="110"/>
                    </a:cubicBezTo>
                    <a:cubicBezTo>
                      <a:pt x="375" y="111"/>
                      <a:pt x="378" y="111"/>
                      <a:pt x="377" y="114"/>
                    </a:cubicBezTo>
                    <a:cubicBezTo>
                      <a:pt x="376" y="115"/>
                      <a:pt x="375" y="115"/>
                      <a:pt x="375" y="116"/>
                    </a:cubicBezTo>
                    <a:cubicBezTo>
                      <a:pt x="374" y="117"/>
                      <a:pt x="374" y="119"/>
                      <a:pt x="375" y="120"/>
                    </a:cubicBezTo>
                    <a:cubicBezTo>
                      <a:pt x="375" y="120"/>
                      <a:pt x="380" y="120"/>
                      <a:pt x="381" y="120"/>
                    </a:cubicBezTo>
                    <a:cubicBezTo>
                      <a:pt x="383" y="119"/>
                      <a:pt x="384" y="118"/>
                      <a:pt x="385" y="117"/>
                    </a:cubicBezTo>
                    <a:cubicBezTo>
                      <a:pt x="386" y="116"/>
                      <a:pt x="386" y="116"/>
                      <a:pt x="387" y="115"/>
                    </a:cubicBezTo>
                    <a:cubicBezTo>
                      <a:pt x="387" y="115"/>
                      <a:pt x="387" y="115"/>
                      <a:pt x="388" y="114"/>
                    </a:cubicBezTo>
                    <a:cubicBezTo>
                      <a:pt x="389" y="112"/>
                      <a:pt x="389" y="111"/>
                      <a:pt x="389" y="108"/>
                    </a:cubicBezTo>
                    <a:cubicBezTo>
                      <a:pt x="389" y="107"/>
                      <a:pt x="389" y="107"/>
                      <a:pt x="389" y="105"/>
                    </a:cubicBezTo>
                    <a:cubicBezTo>
                      <a:pt x="388" y="105"/>
                      <a:pt x="389" y="105"/>
                      <a:pt x="388" y="104"/>
                    </a:cubicBezTo>
                    <a:cubicBezTo>
                      <a:pt x="388" y="103"/>
                      <a:pt x="386" y="103"/>
                      <a:pt x="385" y="102"/>
                    </a:cubicBezTo>
                    <a:cubicBezTo>
                      <a:pt x="384" y="101"/>
                      <a:pt x="384" y="100"/>
                      <a:pt x="383" y="100"/>
                    </a:cubicBezTo>
                    <a:cubicBezTo>
                      <a:pt x="382" y="100"/>
                      <a:pt x="381" y="100"/>
                      <a:pt x="380" y="100"/>
                    </a:cubicBezTo>
                    <a:cubicBezTo>
                      <a:pt x="379" y="100"/>
                      <a:pt x="377" y="100"/>
                      <a:pt x="376" y="99"/>
                    </a:cubicBezTo>
                    <a:cubicBezTo>
                      <a:pt x="374" y="98"/>
                      <a:pt x="374" y="97"/>
                      <a:pt x="373" y="95"/>
                    </a:cubicBezTo>
                    <a:cubicBezTo>
                      <a:pt x="372" y="94"/>
                      <a:pt x="371" y="92"/>
                      <a:pt x="370" y="91"/>
                    </a:cubicBezTo>
                    <a:cubicBezTo>
                      <a:pt x="370" y="91"/>
                      <a:pt x="370" y="91"/>
                      <a:pt x="370" y="90"/>
                    </a:cubicBezTo>
                    <a:cubicBezTo>
                      <a:pt x="370" y="89"/>
                      <a:pt x="371" y="89"/>
                      <a:pt x="371" y="89"/>
                    </a:cubicBezTo>
                    <a:cubicBezTo>
                      <a:pt x="372" y="88"/>
                      <a:pt x="372" y="89"/>
                      <a:pt x="372" y="87"/>
                    </a:cubicBezTo>
                    <a:cubicBezTo>
                      <a:pt x="372" y="87"/>
                      <a:pt x="372" y="86"/>
                      <a:pt x="372" y="86"/>
                    </a:cubicBezTo>
                    <a:cubicBezTo>
                      <a:pt x="369" y="85"/>
                      <a:pt x="364" y="86"/>
                      <a:pt x="367" y="82"/>
                    </a:cubicBezTo>
                    <a:cubicBezTo>
                      <a:pt x="368" y="81"/>
                      <a:pt x="368" y="80"/>
                      <a:pt x="370" y="79"/>
                    </a:cubicBezTo>
                    <a:cubicBezTo>
                      <a:pt x="371" y="78"/>
                      <a:pt x="372" y="76"/>
                      <a:pt x="374" y="75"/>
                    </a:cubicBezTo>
                    <a:cubicBezTo>
                      <a:pt x="375" y="75"/>
                      <a:pt x="378" y="75"/>
                      <a:pt x="377" y="73"/>
                    </a:cubicBezTo>
                    <a:cubicBezTo>
                      <a:pt x="376" y="72"/>
                      <a:pt x="373" y="71"/>
                      <a:pt x="372" y="70"/>
                    </a:cubicBezTo>
                    <a:cubicBezTo>
                      <a:pt x="370" y="70"/>
                      <a:pt x="369" y="69"/>
                      <a:pt x="368" y="69"/>
                    </a:cubicBezTo>
                    <a:cubicBezTo>
                      <a:pt x="365" y="69"/>
                      <a:pt x="363" y="68"/>
                      <a:pt x="361" y="68"/>
                    </a:cubicBezTo>
                    <a:cubicBezTo>
                      <a:pt x="361" y="67"/>
                      <a:pt x="361" y="66"/>
                      <a:pt x="362" y="65"/>
                    </a:cubicBezTo>
                    <a:cubicBezTo>
                      <a:pt x="362" y="64"/>
                      <a:pt x="363" y="64"/>
                      <a:pt x="364" y="63"/>
                    </a:cubicBezTo>
                    <a:cubicBezTo>
                      <a:pt x="366" y="62"/>
                      <a:pt x="366" y="62"/>
                      <a:pt x="366" y="61"/>
                    </a:cubicBezTo>
                    <a:cubicBezTo>
                      <a:pt x="366" y="59"/>
                      <a:pt x="366" y="58"/>
                      <a:pt x="367" y="57"/>
                    </a:cubicBezTo>
                    <a:cubicBezTo>
                      <a:pt x="369" y="55"/>
                      <a:pt x="371" y="54"/>
                      <a:pt x="374" y="54"/>
                    </a:cubicBezTo>
                    <a:cubicBezTo>
                      <a:pt x="376" y="54"/>
                      <a:pt x="378" y="54"/>
                      <a:pt x="380" y="53"/>
                    </a:cubicBezTo>
                    <a:cubicBezTo>
                      <a:pt x="382" y="42"/>
                      <a:pt x="382" y="42"/>
                      <a:pt x="382" y="42"/>
                    </a:cubicBezTo>
                    <a:cubicBezTo>
                      <a:pt x="382" y="42"/>
                      <a:pt x="382" y="42"/>
                      <a:pt x="381" y="42"/>
                    </a:cubicBezTo>
                    <a:cubicBezTo>
                      <a:pt x="378" y="42"/>
                      <a:pt x="374" y="42"/>
                      <a:pt x="371" y="42"/>
                    </a:cubicBezTo>
                    <a:cubicBezTo>
                      <a:pt x="368" y="42"/>
                      <a:pt x="366" y="42"/>
                      <a:pt x="363" y="42"/>
                    </a:cubicBezTo>
                    <a:cubicBezTo>
                      <a:pt x="359" y="41"/>
                      <a:pt x="355" y="41"/>
                      <a:pt x="351" y="39"/>
                    </a:cubicBezTo>
                    <a:cubicBezTo>
                      <a:pt x="350" y="39"/>
                      <a:pt x="349" y="38"/>
                      <a:pt x="347" y="37"/>
                    </a:cubicBezTo>
                    <a:cubicBezTo>
                      <a:pt x="346" y="37"/>
                      <a:pt x="344" y="37"/>
                      <a:pt x="343" y="37"/>
                    </a:cubicBezTo>
                    <a:cubicBezTo>
                      <a:pt x="341" y="36"/>
                      <a:pt x="339" y="36"/>
                      <a:pt x="337" y="36"/>
                    </a:cubicBezTo>
                    <a:cubicBezTo>
                      <a:pt x="334" y="35"/>
                      <a:pt x="332" y="35"/>
                      <a:pt x="329" y="35"/>
                    </a:cubicBezTo>
                    <a:cubicBezTo>
                      <a:pt x="328" y="35"/>
                      <a:pt x="327" y="35"/>
                      <a:pt x="326" y="35"/>
                    </a:cubicBezTo>
                    <a:cubicBezTo>
                      <a:pt x="322" y="33"/>
                      <a:pt x="317" y="30"/>
                      <a:pt x="314" y="27"/>
                    </a:cubicBezTo>
                    <a:cubicBezTo>
                      <a:pt x="312" y="26"/>
                      <a:pt x="310" y="24"/>
                      <a:pt x="309" y="22"/>
                    </a:cubicBezTo>
                    <a:cubicBezTo>
                      <a:pt x="308" y="20"/>
                      <a:pt x="308" y="18"/>
                      <a:pt x="306" y="17"/>
                    </a:cubicBezTo>
                    <a:cubicBezTo>
                      <a:pt x="305" y="16"/>
                      <a:pt x="304" y="15"/>
                      <a:pt x="303" y="14"/>
                    </a:cubicBezTo>
                    <a:cubicBezTo>
                      <a:pt x="302" y="13"/>
                      <a:pt x="301" y="12"/>
                      <a:pt x="301" y="12"/>
                    </a:cubicBezTo>
                    <a:cubicBezTo>
                      <a:pt x="299" y="10"/>
                      <a:pt x="300" y="10"/>
                      <a:pt x="300" y="9"/>
                    </a:cubicBezTo>
                    <a:cubicBezTo>
                      <a:pt x="300" y="8"/>
                      <a:pt x="300" y="7"/>
                      <a:pt x="301" y="6"/>
                    </a:cubicBezTo>
                    <a:cubicBezTo>
                      <a:pt x="301" y="6"/>
                      <a:pt x="303" y="6"/>
                      <a:pt x="303" y="6"/>
                    </a:cubicBezTo>
                    <a:cubicBezTo>
                      <a:pt x="304" y="5"/>
                      <a:pt x="306" y="4"/>
                      <a:pt x="306" y="3"/>
                    </a:cubicBezTo>
                    <a:cubicBezTo>
                      <a:pt x="306" y="0"/>
                      <a:pt x="303" y="0"/>
                      <a:pt x="301" y="0"/>
                    </a:cubicBezTo>
                    <a:cubicBezTo>
                      <a:pt x="299" y="0"/>
                      <a:pt x="297" y="1"/>
                      <a:pt x="296" y="2"/>
                    </a:cubicBezTo>
                    <a:cubicBezTo>
                      <a:pt x="293" y="3"/>
                      <a:pt x="290" y="4"/>
                      <a:pt x="288" y="6"/>
                    </a:cubicBezTo>
                    <a:cubicBezTo>
                      <a:pt x="286" y="7"/>
                      <a:pt x="283" y="10"/>
                      <a:pt x="281" y="8"/>
                    </a:cubicBezTo>
                    <a:cubicBezTo>
                      <a:pt x="280" y="7"/>
                      <a:pt x="279" y="6"/>
                      <a:pt x="277" y="7"/>
                    </a:cubicBezTo>
                    <a:cubicBezTo>
                      <a:pt x="276" y="7"/>
                      <a:pt x="275" y="8"/>
                      <a:pt x="274" y="9"/>
                    </a:cubicBezTo>
                    <a:cubicBezTo>
                      <a:pt x="273" y="9"/>
                      <a:pt x="272" y="9"/>
                      <a:pt x="271" y="9"/>
                    </a:cubicBezTo>
                    <a:cubicBezTo>
                      <a:pt x="266" y="9"/>
                      <a:pt x="261" y="8"/>
                      <a:pt x="256" y="8"/>
                    </a:cubicBezTo>
                    <a:cubicBezTo>
                      <a:pt x="255" y="8"/>
                      <a:pt x="254" y="8"/>
                      <a:pt x="253" y="8"/>
                    </a:cubicBezTo>
                    <a:cubicBezTo>
                      <a:pt x="251" y="8"/>
                      <a:pt x="250" y="9"/>
                      <a:pt x="249" y="9"/>
                    </a:cubicBezTo>
                    <a:cubicBezTo>
                      <a:pt x="247" y="10"/>
                      <a:pt x="247" y="10"/>
                      <a:pt x="247" y="11"/>
                    </a:cubicBezTo>
                    <a:cubicBezTo>
                      <a:pt x="246" y="12"/>
                      <a:pt x="246" y="12"/>
                      <a:pt x="246" y="14"/>
                    </a:cubicBezTo>
                    <a:cubicBezTo>
                      <a:pt x="246" y="15"/>
                      <a:pt x="246" y="16"/>
                      <a:pt x="246" y="17"/>
                    </a:cubicBezTo>
                    <a:cubicBezTo>
                      <a:pt x="245" y="19"/>
                      <a:pt x="244" y="20"/>
                      <a:pt x="243" y="21"/>
                    </a:cubicBezTo>
                    <a:cubicBezTo>
                      <a:pt x="243" y="23"/>
                      <a:pt x="243" y="25"/>
                      <a:pt x="241" y="26"/>
                    </a:cubicBezTo>
                    <a:cubicBezTo>
                      <a:pt x="239" y="26"/>
                      <a:pt x="237" y="26"/>
                      <a:pt x="236" y="26"/>
                    </a:cubicBezTo>
                    <a:cubicBezTo>
                      <a:pt x="235" y="26"/>
                      <a:pt x="234" y="26"/>
                      <a:pt x="234" y="25"/>
                    </a:cubicBezTo>
                    <a:cubicBezTo>
                      <a:pt x="233" y="25"/>
                      <a:pt x="233" y="25"/>
                      <a:pt x="232" y="24"/>
                    </a:cubicBezTo>
                    <a:cubicBezTo>
                      <a:pt x="232" y="24"/>
                      <a:pt x="230" y="24"/>
                      <a:pt x="230" y="24"/>
                    </a:cubicBezTo>
                    <a:cubicBezTo>
                      <a:pt x="229" y="24"/>
                      <a:pt x="227" y="24"/>
                      <a:pt x="227" y="23"/>
                    </a:cubicBezTo>
                    <a:cubicBezTo>
                      <a:pt x="226" y="22"/>
                      <a:pt x="227" y="21"/>
                      <a:pt x="226" y="20"/>
                    </a:cubicBezTo>
                    <a:cubicBezTo>
                      <a:pt x="226" y="19"/>
                      <a:pt x="225" y="19"/>
                      <a:pt x="224" y="19"/>
                    </a:cubicBezTo>
                    <a:cubicBezTo>
                      <a:pt x="223" y="19"/>
                      <a:pt x="221" y="18"/>
                      <a:pt x="220" y="18"/>
                    </a:cubicBezTo>
                    <a:cubicBezTo>
                      <a:pt x="219" y="18"/>
                      <a:pt x="218" y="18"/>
                      <a:pt x="217" y="18"/>
                    </a:cubicBezTo>
                    <a:cubicBezTo>
                      <a:pt x="216" y="18"/>
                      <a:pt x="215" y="18"/>
                      <a:pt x="213" y="18"/>
                    </a:cubicBezTo>
                    <a:cubicBezTo>
                      <a:pt x="213" y="19"/>
                      <a:pt x="213" y="20"/>
                      <a:pt x="213" y="22"/>
                    </a:cubicBezTo>
                    <a:cubicBezTo>
                      <a:pt x="212" y="23"/>
                      <a:pt x="212" y="25"/>
                      <a:pt x="211" y="27"/>
                    </a:cubicBezTo>
                    <a:cubicBezTo>
                      <a:pt x="209" y="29"/>
                      <a:pt x="207" y="30"/>
                      <a:pt x="208" y="34"/>
                    </a:cubicBezTo>
                    <a:cubicBezTo>
                      <a:pt x="208" y="35"/>
                      <a:pt x="209" y="35"/>
                      <a:pt x="210" y="36"/>
                    </a:cubicBezTo>
                    <a:cubicBezTo>
                      <a:pt x="210" y="36"/>
                      <a:pt x="210" y="37"/>
                      <a:pt x="211" y="37"/>
                    </a:cubicBezTo>
                    <a:cubicBezTo>
                      <a:pt x="211" y="37"/>
                      <a:pt x="212" y="37"/>
                      <a:pt x="213" y="38"/>
                    </a:cubicBezTo>
                    <a:cubicBezTo>
                      <a:pt x="213" y="38"/>
                      <a:pt x="212" y="41"/>
                      <a:pt x="212" y="42"/>
                    </a:cubicBezTo>
                    <a:cubicBezTo>
                      <a:pt x="211" y="42"/>
                      <a:pt x="209" y="43"/>
                      <a:pt x="208" y="43"/>
                    </a:cubicBezTo>
                    <a:cubicBezTo>
                      <a:pt x="206" y="44"/>
                      <a:pt x="204" y="44"/>
                      <a:pt x="203" y="43"/>
                    </a:cubicBezTo>
                    <a:cubicBezTo>
                      <a:pt x="201" y="42"/>
                      <a:pt x="201" y="39"/>
                      <a:pt x="198" y="39"/>
                    </a:cubicBezTo>
                    <a:cubicBezTo>
                      <a:pt x="197" y="39"/>
                      <a:pt x="197" y="40"/>
                      <a:pt x="196" y="40"/>
                    </a:cubicBezTo>
                    <a:cubicBezTo>
                      <a:pt x="195" y="41"/>
                      <a:pt x="194" y="41"/>
                      <a:pt x="192" y="42"/>
                    </a:cubicBezTo>
                    <a:cubicBezTo>
                      <a:pt x="191" y="42"/>
                      <a:pt x="190" y="43"/>
                      <a:pt x="190" y="44"/>
                    </a:cubicBezTo>
                    <a:cubicBezTo>
                      <a:pt x="189" y="46"/>
                      <a:pt x="189" y="47"/>
                      <a:pt x="189" y="49"/>
                    </a:cubicBezTo>
                    <a:cubicBezTo>
                      <a:pt x="189" y="50"/>
                      <a:pt x="189" y="52"/>
                      <a:pt x="189" y="54"/>
                    </a:cubicBezTo>
                    <a:cubicBezTo>
                      <a:pt x="191" y="54"/>
                      <a:pt x="193" y="53"/>
                      <a:pt x="194" y="54"/>
                    </a:cubicBezTo>
                    <a:cubicBezTo>
                      <a:pt x="196" y="55"/>
                      <a:pt x="194" y="58"/>
                      <a:pt x="194" y="59"/>
                    </a:cubicBezTo>
                    <a:cubicBezTo>
                      <a:pt x="193" y="60"/>
                      <a:pt x="193" y="60"/>
                      <a:pt x="192" y="61"/>
                    </a:cubicBezTo>
                    <a:cubicBezTo>
                      <a:pt x="192" y="62"/>
                      <a:pt x="193" y="62"/>
                      <a:pt x="193" y="63"/>
                    </a:cubicBezTo>
                    <a:cubicBezTo>
                      <a:pt x="194" y="65"/>
                      <a:pt x="195" y="66"/>
                      <a:pt x="195" y="68"/>
                    </a:cubicBezTo>
                    <a:cubicBezTo>
                      <a:pt x="192" y="68"/>
                      <a:pt x="190" y="67"/>
                      <a:pt x="188" y="66"/>
                    </a:cubicBezTo>
                    <a:cubicBezTo>
                      <a:pt x="187" y="65"/>
                      <a:pt x="187" y="64"/>
                      <a:pt x="186" y="63"/>
                    </a:cubicBezTo>
                    <a:cubicBezTo>
                      <a:pt x="186" y="63"/>
                      <a:pt x="186" y="60"/>
                      <a:pt x="185" y="60"/>
                    </a:cubicBezTo>
                    <a:cubicBezTo>
                      <a:pt x="184" y="59"/>
                      <a:pt x="182" y="60"/>
                      <a:pt x="181" y="60"/>
                    </a:cubicBezTo>
                    <a:cubicBezTo>
                      <a:pt x="179" y="60"/>
                      <a:pt x="177" y="60"/>
                      <a:pt x="175" y="60"/>
                    </a:cubicBezTo>
                    <a:cubicBezTo>
                      <a:pt x="174" y="60"/>
                      <a:pt x="173" y="60"/>
                      <a:pt x="172" y="61"/>
                    </a:cubicBezTo>
                    <a:cubicBezTo>
                      <a:pt x="171" y="61"/>
                      <a:pt x="171" y="62"/>
                      <a:pt x="170" y="63"/>
                    </a:cubicBezTo>
                    <a:cubicBezTo>
                      <a:pt x="170" y="63"/>
                      <a:pt x="169" y="63"/>
                      <a:pt x="168" y="63"/>
                    </a:cubicBezTo>
                    <a:cubicBezTo>
                      <a:pt x="167" y="63"/>
                      <a:pt x="167" y="63"/>
                      <a:pt x="166" y="64"/>
                    </a:cubicBezTo>
                    <a:cubicBezTo>
                      <a:pt x="164" y="64"/>
                      <a:pt x="162" y="63"/>
                      <a:pt x="161" y="62"/>
                    </a:cubicBezTo>
                    <a:cubicBezTo>
                      <a:pt x="159" y="62"/>
                      <a:pt x="158" y="62"/>
                      <a:pt x="157" y="60"/>
                    </a:cubicBezTo>
                    <a:cubicBezTo>
                      <a:pt x="157" y="59"/>
                      <a:pt x="157" y="57"/>
                      <a:pt x="157" y="56"/>
                    </a:cubicBezTo>
                    <a:cubicBezTo>
                      <a:pt x="156" y="55"/>
                      <a:pt x="156" y="54"/>
                      <a:pt x="155" y="52"/>
                    </a:cubicBezTo>
                    <a:cubicBezTo>
                      <a:pt x="155" y="52"/>
                      <a:pt x="153" y="50"/>
                      <a:pt x="153" y="50"/>
                    </a:cubicBezTo>
                    <a:cubicBezTo>
                      <a:pt x="152" y="49"/>
                      <a:pt x="148" y="49"/>
                      <a:pt x="147" y="50"/>
                    </a:cubicBezTo>
                    <a:cubicBezTo>
                      <a:pt x="147" y="50"/>
                      <a:pt x="146" y="51"/>
                      <a:pt x="145" y="51"/>
                    </a:cubicBezTo>
                    <a:cubicBezTo>
                      <a:pt x="145" y="52"/>
                      <a:pt x="144" y="53"/>
                      <a:pt x="144" y="53"/>
                    </a:cubicBezTo>
                    <a:cubicBezTo>
                      <a:pt x="143" y="55"/>
                      <a:pt x="144" y="58"/>
                      <a:pt x="145" y="59"/>
                    </a:cubicBezTo>
                    <a:cubicBezTo>
                      <a:pt x="146" y="60"/>
                      <a:pt x="146" y="61"/>
                      <a:pt x="147" y="62"/>
                    </a:cubicBezTo>
                    <a:cubicBezTo>
                      <a:pt x="147" y="63"/>
                      <a:pt x="147" y="65"/>
                      <a:pt x="146" y="66"/>
                    </a:cubicBezTo>
                    <a:cubicBezTo>
                      <a:pt x="146" y="67"/>
                      <a:pt x="145" y="68"/>
                      <a:pt x="144" y="69"/>
                    </a:cubicBezTo>
                    <a:cubicBezTo>
                      <a:pt x="143" y="70"/>
                      <a:pt x="143" y="70"/>
                      <a:pt x="143" y="71"/>
                    </a:cubicBezTo>
                    <a:cubicBezTo>
                      <a:pt x="141" y="72"/>
                      <a:pt x="140" y="73"/>
                      <a:pt x="138" y="74"/>
                    </a:cubicBezTo>
                    <a:cubicBezTo>
                      <a:pt x="136" y="75"/>
                      <a:pt x="136" y="77"/>
                      <a:pt x="135" y="79"/>
                    </a:cubicBezTo>
                    <a:cubicBezTo>
                      <a:pt x="135" y="81"/>
                      <a:pt x="133" y="82"/>
                      <a:pt x="132" y="84"/>
                    </a:cubicBezTo>
                    <a:cubicBezTo>
                      <a:pt x="132" y="85"/>
                      <a:pt x="132" y="85"/>
                      <a:pt x="131" y="86"/>
                    </a:cubicBezTo>
                    <a:cubicBezTo>
                      <a:pt x="131" y="87"/>
                      <a:pt x="130" y="88"/>
                      <a:pt x="129" y="88"/>
                    </a:cubicBezTo>
                    <a:cubicBezTo>
                      <a:pt x="129" y="89"/>
                      <a:pt x="129" y="92"/>
                      <a:pt x="129" y="92"/>
                    </a:cubicBezTo>
                    <a:cubicBezTo>
                      <a:pt x="130" y="93"/>
                      <a:pt x="132" y="93"/>
                      <a:pt x="132" y="93"/>
                    </a:cubicBezTo>
                    <a:cubicBezTo>
                      <a:pt x="133" y="94"/>
                      <a:pt x="134" y="94"/>
                      <a:pt x="134" y="95"/>
                    </a:cubicBezTo>
                    <a:cubicBezTo>
                      <a:pt x="136" y="96"/>
                      <a:pt x="135" y="97"/>
                      <a:pt x="135" y="98"/>
                    </a:cubicBezTo>
                    <a:cubicBezTo>
                      <a:pt x="134" y="101"/>
                      <a:pt x="133" y="102"/>
                      <a:pt x="130" y="101"/>
                    </a:cubicBezTo>
                    <a:cubicBezTo>
                      <a:pt x="129" y="101"/>
                      <a:pt x="126" y="101"/>
                      <a:pt x="125" y="99"/>
                    </a:cubicBezTo>
                    <a:cubicBezTo>
                      <a:pt x="124" y="97"/>
                      <a:pt x="125" y="94"/>
                      <a:pt x="124" y="92"/>
                    </a:cubicBezTo>
                    <a:cubicBezTo>
                      <a:pt x="123" y="90"/>
                      <a:pt x="121" y="90"/>
                      <a:pt x="119" y="90"/>
                    </a:cubicBezTo>
                    <a:cubicBezTo>
                      <a:pt x="119" y="89"/>
                      <a:pt x="119" y="88"/>
                      <a:pt x="119" y="88"/>
                    </a:cubicBezTo>
                    <a:cubicBezTo>
                      <a:pt x="119" y="88"/>
                      <a:pt x="120" y="87"/>
                      <a:pt x="120" y="87"/>
                    </a:cubicBezTo>
                    <a:cubicBezTo>
                      <a:pt x="120" y="87"/>
                      <a:pt x="120" y="86"/>
                      <a:pt x="120" y="86"/>
                    </a:cubicBezTo>
                    <a:cubicBezTo>
                      <a:pt x="120" y="85"/>
                      <a:pt x="122" y="84"/>
                      <a:pt x="122" y="83"/>
                    </a:cubicBezTo>
                    <a:cubicBezTo>
                      <a:pt x="121" y="82"/>
                      <a:pt x="121" y="82"/>
                      <a:pt x="120" y="82"/>
                    </a:cubicBezTo>
                    <a:cubicBezTo>
                      <a:pt x="119" y="81"/>
                      <a:pt x="118" y="80"/>
                      <a:pt x="116" y="80"/>
                    </a:cubicBezTo>
                    <a:cubicBezTo>
                      <a:pt x="116" y="80"/>
                      <a:pt x="115" y="80"/>
                      <a:pt x="114" y="80"/>
                    </a:cubicBezTo>
                    <a:cubicBezTo>
                      <a:pt x="114" y="80"/>
                      <a:pt x="114" y="79"/>
                      <a:pt x="113" y="79"/>
                    </a:cubicBezTo>
                    <a:cubicBezTo>
                      <a:pt x="112" y="79"/>
                      <a:pt x="111" y="79"/>
                      <a:pt x="110" y="78"/>
                    </a:cubicBezTo>
                    <a:cubicBezTo>
                      <a:pt x="108" y="78"/>
                      <a:pt x="107" y="77"/>
                      <a:pt x="106" y="75"/>
                    </a:cubicBezTo>
                    <a:cubicBezTo>
                      <a:pt x="105" y="73"/>
                      <a:pt x="104" y="71"/>
                      <a:pt x="103" y="70"/>
                    </a:cubicBezTo>
                    <a:cubicBezTo>
                      <a:pt x="102" y="69"/>
                      <a:pt x="101" y="68"/>
                      <a:pt x="100" y="67"/>
                    </a:cubicBezTo>
                    <a:cubicBezTo>
                      <a:pt x="100" y="66"/>
                      <a:pt x="99" y="66"/>
                      <a:pt x="99" y="65"/>
                    </a:cubicBezTo>
                    <a:cubicBezTo>
                      <a:pt x="99" y="65"/>
                      <a:pt x="99" y="63"/>
                      <a:pt x="99" y="63"/>
                    </a:cubicBezTo>
                    <a:cubicBezTo>
                      <a:pt x="99" y="62"/>
                      <a:pt x="99" y="61"/>
                      <a:pt x="99" y="60"/>
                    </a:cubicBezTo>
                    <a:cubicBezTo>
                      <a:pt x="99" y="58"/>
                      <a:pt x="97" y="56"/>
                      <a:pt x="95" y="55"/>
                    </a:cubicBezTo>
                    <a:cubicBezTo>
                      <a:pt x="92" y="54"/>
                      <a:pt x="92" y="57"/>
                      <a:pt x="91" y="59"/>
                    </a:cubicBezTo>
                    <a:cubicBezTo>
                      <a:pt x="91" y="61"/>
                      <a:pt x="90" y="63"/>
                      <a:pt x="89" y="64"/>
                    </a:cubicBezTo>
                    <a:cubicBezTo>
                      <a:pt x="87" y="65"/>
                      <a:pt x="85" y="65"/>
                      <a:pt x="83" y="67"/>
                    </a:cubicBezTo>
                    <a:cubicBezTo>
                      <a:pt x="81" y="68"/>
                      <a:pt x="81" y="70"/>
                      <a:pt x="82" y="72"/>
                    </a:cubicBezTo>
                    <a:cubicBezTo>
                      <a:pt x="83" y="73"/>
                      <a:pt x="84" y="72"/>
                      <a:pt x="85" y="74"/>
                    </a:cubicBezTo>
                    <a:cubicBezTo>
                      <a:pt x="85" y="75"/>
                      <a:pt x="85" y="76"/>
                      <a:pt x="85" y="77"/>
                    </a:cubicBezTo>
                    <a:cubicBezTo>
                      <a:pt x="85" y="78"/>
                      <a:pt x="85" y="78"/>
                      <a:pt x="83" y="79"/>
                    </a:cubicBezTo>
                    <a:cubicBezTo>
                      <a:pt x="83" y="79"/>
                      <a:pt x="82" y="80"/>
                      <a:pt x="82" y="80"/>
                    </a:cubicBezTo>
                    <a:cubicBezTo>
                      <a:pt x="82" y="80"/>
                      <a:pt x="81" y="80"/>
                      <a:pt x="80" y="80"/>
                    </a:cubicBezTo>
                    <a:cubicBezTo>
                      <a:pt x="78" y="81"/>
                      <a:pt x="78" y="84"/>
                      <a:pt x="77" y="85"/>
                    </a:cubicBezTo>
                    <a:cubicBezTo>
                      <a:pt x="77" y="87"/>
                      <a:pt x="75" y="88"/>
                      <a:pt x="74" y="89"/>
                    </a:cubicBezTo>
                    <a:cubicBezTo>
                      <a:pt x="72" y="90"/>
                      <a:pt x="72" y="91"/>
                      <a:pt x="71" y="92"/>
                    </a:cubicBezTo>
                    <a:cubicBezTo>
                      <a:pt x="67" y="94"/>
                      <a:pt x="63" y="91"/>
                      <a:pt x="60" y="90"/>
                    </a:cubicBezTo>
                    <a:cubicBezTo>
                      <a:pt x="58" y="89"/>
                      <a:pt x="57" y="88"/>
                      <a:pt x="56" y="88"/>
                    </a:cubicBezTo>
                    <a:cubicBezTo>
                      <a:pt x="54" y="89"/>
                      <a:pt x="54" y="90"/>
                      <a:pt x="53" y="92"/>
                    </a:cubicBezTo>
                    <a:cubicBezTo>
                      <a:pt x="52" y="93"/>
                      <a:pt x="51" y="94"/>
                      <a:pt x="49" y="94"/>
                    </a:cubicBezTo>
                    <a:cubicBezTo>
                      <a:pt x="46" y="95"/>
                      <a:pt x="43" y="95"/>
                      <a:pt x="40" y="96"/>
                    </a:cubicBezTo>
                    <a:cubicBezTo>
                      <a:pt x="39" y="96"/>
                      <a:pt x="39" y="97"/>
                      <a:pt x="38" y="98"/>
                    </a:cubicBezTo>
                    <a:cubicBezTo>
                      <a:pt x="37" y="98"/>
                      <a:pt x="35" y="98"/>
                      <a:pt x="35" y="98"/>
                    </a:cubicBezTo>
                    <a:cubicBezTo>
                      <a:pt x="34" y="99"/>
                      <a:pt x="33" y="99"/>
                      <a:pt x="32" y="99"/>
                    </a:cubicBezTo>
                    <a:cubicBezTo>
                      <a:pt x="31" y="99"/>
                      <a:pt x="30" y="98"/>
                      <a:pt x="29" y="98"/>
                    </a:cubicBezTo>
                    <a:cubicBezTo>
                      <a:pt x="27" y="98"/>
                      <a:pt x="25" y="99"/>
                      <a:pt x="23" y="98"/>
                    </a:cubicBezTo>
                    <a:cubicBezTo>
                      <a:pt x="23" y="98"/>
                      <a:pt x="23" y="98"/>
                      <a:pt x="23" y="98"/>
                    </a:cubicBezTo>
                    <a:cubicBezTo>
                      <a:pt x="22" y="98"/>
                      <a:pt x="21" y="99"/>
                      <a:pt x="19" y="100"/>
                    </a:cubicBezTo>
                    <a:cubicBezTo>
                      <a:pt x="17" y="105"/>
                      <a:pt x="14" y="106"/>
                      <a:pt x="15" y="108"/>
                    </a:cubicBezTo>
                    <a:cubicBezTo>
                      <a:pt x="17" y="112"/>
                      <a:pt x="13" y="112"/>
                      <a:pt x="16" y="115"/>
                    </a:cubicBezTo>
                    <a:cubicBezTo>
                      <a:pt x="17" y="116"/>
                      <a:pt x="20" y="117"/>
                      <a:pt x="21" y="119"/>
                    </a:cubicBezTo>
                    <a:cubicBezTo>
                      <a:pt x="21" y="121"/>
                      <a:pt x="21" y="123"/>
                      <a:pt x="22" y="125"/>
                    </a:cubicBezTo>
                    <a:cubicBezTo>
                      <a:pt x="22" y="127"/>
                      <a:pt x="23" y="130"/>
                      <a:pt x="25" y="132"/>
                    </a:cubicBezTo>
                    <a:cubicBezTo>
                      <a:pt x="26" y="133"/>
                      <a:pt x="28" y="133"/>
                      <a:pt x="29" y="135"/>
                    </a:cubicBezTo>
                    <a:cubicBezTo>
                      <a:pt x="31" y="138"/>
                      <a:pt x="28" y="139"/>
                      <a:pt x="27" y="142"/>
                    </a:cubicBezTo>
                    <a:cubicBezTo>
                      <a:pt x="26" y="144"/>
                      <a:pt x="28" y="148"/>
                      <a:pt x="26" y="150"/>
                    </a:cubicBezTo>
                    <a:cubicBezTo>
                      <a:pt x="25" y="151"/>
                      <a:pt x="23" y="151"/>
                      <a:pt x="22" y="152"/>
                    </a:cubicBezTo>
                    <a:cubicBezTo>
                      <a:pt x="21" y="152"/>
                      <a:pt x="20" y="153"/>
                      <a:pt x="20" y="153"/>
                    </a:cubicBezTo>
                    <a:cubicBezTo>
                      <a:pt x="17" y="156"/>
                      <a:pt x="14" y="157"/>
                      <a:pt x="11" y="159"/>
                    </a:cubicBezTo>
                    <a:cubicBezTo>
                      <a:pt x="9" y="161"/>
                      <a:pt x="11" y="160"/>
                      <a:pt x="9" y="161"/>
                    </a:cubicBezTo>
                    <a:cubicBezTo>
                      <a:pt x="7" y="162"/>
                      <a:pt x="5" y="161"/>
                      <a:pt x="4" y="161"/>
                    </a:cubicBezTo>
                    <a:cubicBezTo>
                      <a:pt x="2" y="162"/>
                      <a:pt x="0" y="161"/>
                      <a:pt x="1" y="164"/>
                    </a:cubicBezTo>
                    <a:cubicBezTo>
                      <a:pt x="8" y="166"/>
                      <a:pt x="7" y="173"/>
                      <a:pt x="12" y="177"/>
                    </a:cubicBezTo>
                    <a:cubicBezTo>
                      <a:pt x="12" y="177"/>
                      <a:pt x="14" y="177"/>
                      <a:pt x="15" y="178"/>
                    </a:cubicBezTo>
                    <a:cubicBezTo>
                      <a:pt x="15" y="178"/>
                      <a:pt x="18" y="179"/>
                      <a:pt x="18" y="179"/>
                    </a:cubicBezTo>
                    <a:cubicBezTo>
                      <a:pt x="19" y="181"/>
                      <a:pt x="19" y="184"/>
                      <a:pt x="22" y="184"/>
                    </a:cubicBezTo>
                    <a:cubicBezTo>
                      <a:pt x="23" y="189"/>
                      <a:pt x="23" y="194"/>
                      <a:pt x="18" y="196"/>
                    </a:cubicBezTo>
                    <a:cubicBezTo>
                      <a:pt x="13" y="198"/>
                      <a:pt x="9" y="200"/>
                      <a:pt x="12" y="205"/>
                    </a:cubicBezTo>
                    <a:cubicBezTo>
                      <a:pt x="13" y="207"/>
                      <a:pt x="17" y="210"/>
                      <a:pt x="16" y="212"/>
                    </a:cubicBezTo>
                    <a:cubicBezTo>
                      <a:pt x="15" y="215"/>
                      <a:pt x="13" y="212"/>
                      <a:pt x="12" y="214"/>
                    </a:cubicBezTo>
                    <a:cubicBezTo>
                      <a:pt x="11" y="216"/>
                      <a:pt x="18" y="223"/>
                      <a:pt x="20" y="224"/>
                    </a:cubicBezTo>
                    <a:cubicBezTo>
                      <a:pt x="23" y="226"/>
                      <a:pt x="28" y="225"/>
                      <a:pt x="31" y="228"/>
                    </a:cubicBezTo>
                    <a:cubicBezTo>
                      <a:pt x="33" y="229"/>
                      <a:pt x="33" y="232"/>
                      <a:pt x="35" y="233"/>
                    </a:cubicBezTo>
                    <a:cubicBezTo>
                      <a:pt x="39" y="235"/>
                      <a:pt x="45" y="232"/>
                      <a:pt x="48" y="231"/>
                    </a:cubicBezTo>
                    <a:cubicBezTo>
                      <a:pt x="50" y="230"/>
                      <a:pt x="55" y="228"/>
                      <a:pt x="57" y="229"/>
                    </a:cubicBezTo>
                    <a:cubicBezTo>
                      <a:pt x="59" y="230"/>
                      <a:pt x="59" y="239"/>
                      <a:pt x="58" y="240"/>
                    </a:cubicBezTo>
                    <a:cubicBezTo>
                      <a:pt x="57" y="243"/>
                      <a:pt x="54" y="244"/>
                      <a:pt x="53" y="245"/>
                    </a:cubicBezTo>
                    <a:cubicBezTo>
                      <a:pt x="51" y="247"/>
                      <a:pt x="50" y="251"/>
                      <a:pt x="48" y="251"/>
                    </a:cubicBezTo>
                    <a:cubicBezTo>
                      <a:pt x="47" y="254"/>
                      <a:pt x="47" y="257"/>
                      <a:pt x="47" y="259"/>
                    </a:cubicBezTo>
                    <a:cubicBezTo>
                      <a:pt x="47" y="260"/>
                      <a:pt x="47" y="262"/>
                      <a:pt x="47" y="263"/>
                    </a:cubicBezTo>
                    <a:cubicBezTo>
                      <a:pt x="47" y="263"/>
                      <a:pt x="47" y="263"/>
                      <a:pt x="46" y="263"/>
                    </a:cubicBezTo>
                    <a:cubicBezTo>
                      <a:pt x="48" y="263"/>
                      <a:pt x="50" y="263"/>
                      <a:pt x="52" y="263"/>
                    </a:cubicBezTo>
                    <a:cubicBezTo>
                      <a:pt x="54" y="263"/>
                      <a:pt x="54" y="262"/>
                      <a:pt x="55" y="262"/>
                    </a:cubicBezTo>
                    <a:cubicBezTo>
                      <a:pt x="56" y="261"/>
                      <a:pt x="56" y="261"/>
                      <a:pt x="57" y="260"/>
                    </a:cubicBezTo>
                    <a:cubicBezTo>
                      <a:pt x="58" y="259"/>
                      <a:pt x="57" y="259"/>
                      <a:pt x="59" y="259"/>
                    </a:cubicBezTo>
                    <a:cubicBezTo>
                      <a:pt x="62" y="258"/>
                      <a:pt x="65" y="259"/>
                      <a:pt x="68" y="259"/>
                    </a:cubicBezTo>
                    <a:cubicBezTo>
                      <a:pt x="69" y="258"/>
                      <a:pt x="71" y="258"/>
                      <a:pt x="72" y="257"/>
                    </a:cubicBezTo>
                    <a:cubicBezTo>
                      <a:pt x="74" y="257"/>
                      <a:pt x="74" y="256"/>
                      <a:pt x="75" y="255"/>
                    </a:cubicBezTo>
                    <a:cubicBezTo>
                      <a:pt x="76" y="254"/>
                      <a:pt x="78" y="254"/>
                      <a:pt x="79" y="253"/>
                    </a:cubicBezTo>
                    <a:cubicBezTo>
                      <a:pt x="79" y="253"/>
                      <a:pt x="79" y="252"/>
                      <a:pt x="80" y="252"/>
                    </a:cubicBezTo>
                    <a:cubicBezTo>
                      <a:pt x="80" y="251"/>
                      <a:pt x="81" y="251"/>
                      <a:pt x="81" y="251"/>
                    </a:cubicBezTo>
                    <a:cubicBezTo>
                      <a:pt x="82" y="250"/>
                      <a:pt x="83" y="248"/>
                      <a:pt x="84" y="246"/>
                    </a:cubicBezTo>
                    <a:cubicBezTo>
                      <a:pt x="84" y="245"/>
                      <a:pt x="84" y="244"/>
                      <a:pt x="84" y="243"/>
                    </a:cubicBezTo>
                    <a:cubicBezTo>
                      <a:pt x="84" y="243"/>
                      <a:pt x="85" y="242"/>
                      <a:pt x="85" y="242"/>
                    </a:cubicBezTo>
                    <a:cubicBezTo>
                      <a:pt x="85" y="240"/>
                      <a:pt x="85" y="239"/>
                      <a:pt x="85" y="238"/>
                    </a:cubicBezTo>
                    <a:cubicBezTo>
                      <a:pt x="86" y="237"/>
                      <a:pt x="86" y="237"/>
                      <a:pt x="87" y="236"/>
                    </a:cubicBezTo>
                    <a:cubicBezTo>
                      <a:pt x="88" y="235"/>
                      <a:pt x="89" y="233"/>
                      <a:pt x="91" y="232"/>
                    </a:cubicBezTo>
                    <a:cubicBezTo>
                      <a:pt x="92" y="231"/>
                      <a:pt x="94" y="231"/>
                      <a:pt x="95" y="230"/>
                    </a:cubicBezTo>
                    <a:cubicBezTo>
                      <a:pt x="97" y="229"/>
                      <a:pt x="97" y="226"/>
                      <a:pt x="97" y="225"/>
                    </a:cubicBezTo>
                    <a:cubicBezTo>
                      <a:pt x="98" y="223"/>
                      <a:pt x="97" y="222"/>
                      <a:pt x="99" y="221"/>
                    </a:cubicBezTo>
                    <a:cubicBezTo>
                      <a:pt x="100" y="219"/>
                      <a:pt x="103" y="218"/>
                      <a:pt x="105" y="217"/>
                    </a:cubicBezTo>
                    <a:cubicBezTo>
                      <a:pt x="106" y="216"/>
                      <a:pt x="108" y="214"/>
                      <a:pt x="109" y="213"/>
                    </a:cubicBezTo>
                    <a:cubicBezTo>
                      <a:pt x="110" y="212"/>
                      <a:pt x="111" y="212"/>
                      <a:pt x="112" y="212"/>
                    </a:cubicBezTo>
                    <a:cubicBezTo>
                      <a:pt x="113" y="212"/>
                      <a:pt x="113" y="212"/>
                      <a:pt x="114" y="211"/>
                    </a:cubicBezTo>
                    <a:cubicBezTo>
                      <a:pt x="116" y="210"/>
                      <a:pt x="117" y="210"/>
                      <a:pt x="119" y="209"/>
                    </a:cubicBezTo>
                    <a:cubicBezTo>
                      <a:pt x="119" y="206"/>
                      <a:pt x="126" y="209"/>
                      <a:pt x="128" y="210"/>
                    </a:cubicBezTo>
                    <a:cubicBezTo>
                      <a:pt x="132" y="213"/>
                      <a:pt x="136" y="215"/>
                      <a:pt x="140" y="218"/>
                    </a:cubicBezTo>
                    <a:cubicBezTo>
                      <a:pt x="141" y="218"/>
                      <a:pt x="143" y="218"/>
                      <a:pt x="142" y="220"/>
                    </a:cubicBezTo>
                    <a:cubicBezTo>
                      <a:pt x="143" y="220"/>
                      <a:pt x="143" y="221"/>
                      <a:pt x="143" y="221"/>
                    </a:cubicBezTo>
                    <a:cubicBezTo>
                      <a:pt x="145" y="221"/>
                      <a:pt x="146" y="221"/>
                      <a:pt x="148" y="222"/>
                    </a:cubicBezTo>
                    <a:cubicBezTo>
                      <a:pt x="148" y="222"/>
                      <a:pt x="149" y="222"/>
                      <a:pt x="149" y="223"/>
                    </a:cubicBezTo>
                    <a:cubicBezTo>
                      <a:pt x="150" y="223"/>
                      <a:pt x="151" y="222"/>
                      <a:pt x="152" y="223"/>
                    </a:cubicBezTo>
                    <a:cubicBezTo>
                      <a:pt x="152" y="223"/>
                      <a:pt x="153" y="224"/>
                      <a:pt x="154" y="224"/>
                    </a:cubicBezTo>
                    <a:cubicBezTo>
                      <a:pt x="154" y="225"/>
                      <a:pt x="154" y="225"/>
                      <a:pt x="156" y="225"/>
                    </a:cubicBezTo>
                    <a:cubicBezTo>
                      <a:pt x="157" y="226"/>
                      <a:pt x="158" y="226"/>
                      <a:pt x="159" y="227"/>
                    </a:cubicBezTo>
                    <a:cubicBezTo>
                      <a:pt x="160" y="228"/>
                      <a:pt x="160" y="228"/>
                      <a:pt x="161" y="229"/>
                    </a:cubicBezTo>
                    <a:cubicBezTo>
                      <a:pt x="161" y="229"/>
                      <a:pt x="161" y="229"/>
                      <a:pt x="162" y="229"/>
                    </a:cubicBezTo>
                    <a:cubicBezTo>
                      <a:pt x="162" y="229"/>
                      <a:pt x="163" y="230"/>
                      <a:pt x="163" y="230"/>
                    </a:cubicBezTo>
                    <a:cubicBezTo>
                      <a:pt x="165" y="231"/>
                      <a:pt x="166" y="234"/>
                      <a:pt x="168" y="236"/>
                    </a:cubicBezTo>
                    <a:cubicBezTo>
                      <a:pt x="168" y="236"/>
                      <a:pt x="168" y="236"/>
                      <a:pt x="168" y="236"/>
                    </a:cubicBezTo>
                    <a:cubicBezTo>
                      <a:pt x="169" y="237"/>
                      <a:pt x="169" y="237"/>
                      <a:pt x="169" y="237"/>
                    </a:cubicBezTo>
                    <a:cubicBezTo>
                      <a:pt x="170" y="238"/>
                      <a:pt x="171" y="238"/>
                      <a:pt x="171" y="238"/>
                    </a:cubicBezTo>
                    <a:cubicBezTo>
                      <a:pt x="172" y="239"/>
                      <a:pt x="172" y="239"/>
                      <a:pt x="173" y="240"/>
                    </a:cubicBezTo>
                    <a:cubicBezTo>
                      <a:pt x="174" y="240"/>
                      <a:pt x="175" y="240"/>
                      <a:pt x="176" y="240"/>
                    </a:cubicBezTo>
                    <a:cubicBezTo>
                      <a:pt x="177" y="240"/>
                      <a:pt x="178" y="240"/>
                      <a:pt x="179" y="240"/>
                    </a:cubicBezTo>
                    <a:cubicBezTo>
                      <a:pt x="180" y="240"/>
                      <a:pt x="181" y="240"/>
                      <a:pt x="181" y="240"/>
                    </a:cubicBezTo>
                    <a:cubicBezTo>
                      <a:pt x="183" y="241"/>
                      <a:pt x="184" y="242"/>
                      <a:pt x="185" y="243"/>
                    </a:cubicBezTo>
                    <a:cubicBezTo>
                      <a:pt x="186" y="243"/>
                      <a:pt x="187" y="244"/>
                      <a:pt x="188" y="245"/>
                    </a:cubicBezTo>
                    <a:cubicBezTo>
                      <a:pt x="188" y="245"/>
                      <a:pt x="188" y="247"/>
                      <a:pt x="188" y="248"/>
                    </a:cubicBezTo>
                    <a:cubicBezTo>
                      <a:pt x="188" y="250"/>
                      <a:pt x="188" y="251"/>
                      <a:pt x="189" y="253"/>
                    </a:cubicBezTo>
                    <a:cubicBezTo>
                      <a:pt x="189" y="254"/>
                      <a:pt x="189" y="256"/>
                      <a:pt x="190" y="257"/>
                    </a:cubicBezTo>
                    <a:cubicBezTo>
                      <a:pt x="190" y="258"/>
                      <a:pt x="191" y="258"/>
                      <a:pt x="191" y="259"/>
                    </a:cubicBezTo>
                    <a:cubicBezTo>
                      <a:pt x="191" y="260"/>
                      <a:pt x="191" y="262"/>
                      <a:pt x="191" y="263"/>
                    </a:cubicBezTo>
                    <a:cubicBezTo>
                      <a:pt x="191" y="263"/>
                      <a:pt x="191" y="264"/>
                      <a:pt x="191" y="265"/>
                    </a:cubicBezTo>
                    <a:cubicBezTo>
                      <a:pt x="191" y="265"/>
                      <a:pt x="190" y="266"/>
                      <a:pt x="190" y="266"/>
                    </a:cubicBezTo>
                    <a:cubicBezTo>
                      <a:pt x="190" y="268"/>
                      <a:pt x="190" y="270"/>
                      <a:pt x="190" y="272"/>
                    </a:cubicBezTo>
                    <a:cubicBezTo>
                      <a:pt x="190" y="274"/>
                      <a:pt x="190" y="277"/>
                      <a:pt x="191" y="278"/>
                    </a:cubicBezTo>
                    <a:cubicBezTo>
                      <a:pt x="192" y="280"/>
                      <a:pt x="193" y="281"/>
                      <a:pt x="193" y="282"/>
                    </a:cubicBezTo>
                    <a:cubicBezTo>
                      <a:pt x="194" y="283"/>
                      <a:pt x="194" y="284"/>
                      <a:pt x="194" y="285"/>
                    </a:cubicBezTo>
                    <a:cubicBezTo>
                      <a:pt x="195" y="287"/>
                      <a:pt x="195" y="289"/>
                      <a:pt x="197" y="290"/>
                    </a:cubicBezTo>
                    <a:cubicBezTo>
                      <a:pt x="197" y="292"/>
                      <a:pt x="199" y="293"/>
                      <a:pt x="199" y="294"/>
                    </a:cubicBezTo>
                    <a:cubicBezTo>
                      <a:pt x="200" y="295"/>
                      <a:pt x="200" y="296"/>
                      <a:pt x="200" y="298"/>
                    </a:cubicBezTo>
                    <a:cubicBezTo>
                      <a:pt x="200" y="299"/>
                      <a:pt x="199" y="301"/>
                      <a:pt x="199" y="303"/>
                    </a:cubicBezTo>
                    <a:cubicBezTo>
                      <a:pt x="199" y="304"/>
                      <a:pt x="199" y="304"/>
                      <a:pt x="199" y="305"/>
                    </a:cubicBezTo>
                    <a:cubicBezTo>
                      <a:pt x="199" y="308"/>
                      <a:pt x="199" y="312"/>
                      <a:pt x="199" y="314"/>
                    </a:cubicBezTo>
                    <a:cubicBezTo>
                      <a:pt x="198" y="315"/>
                      <a:pt x="198" y="316"/>
                      <a:pt x="197" y="316"/>
                    </a:cubicBezTo>
                    <a:cubicBezTo>
                      <a:pt x="196" y="317"/>
                      <a:pt x="196" y="317"/>
                      <a:pt x="196" y="319"/>
                    </a:cubicBezTo>
                    <a:cubicBezTo>
                      <a:pt x="196" y="320"/>
                      <a:pt x="197" y="322"/>
                      <a:pt x="197" y="323"/>
                    </a:cubicBezTo>
                    <a:cubicBezTo>
                      <a:pt x="198" y="326"/>
                      <a:pt x="199" y="324"/>
                      <a:pt x="200" y="323"/>
                    </a:cubicBezTo>
                    <a:cubicBezTo>
                      <a:pt x="201" y="322"/>
                      <a:pt x="203" y="322"/>
                      <a:pt x="205" y="323"/>
                    </a:cubicBezTo>
                    <a:cubicBezTo>
                      <a:pt x="207" y="323"/>
                      <a:pt x="209" y="322"/>
                      <a:pt x="209" y="324"/>
                    </a:cubicBezTo>
                    <a:cubicBezTo>
                      <a:pt x="210" y="325"/>
                      <a:pt x="209" y="325"/>
                      <a:pt x="210" y="326"/>
                    </a:cubicBezTo>
                    <a:cubicBezTo>
                      <a:pt x="210" y="327"/>
                      <a:pt x="211" y="327"/>
                      <a:pt x="211" y="327"/>
                    </a:cubicBezTo>
                    <a:cubicBezTo>
                      <a:pt x="212" y="328"/>
                      <a:pt x="211" y="330"/>
                      <a:pt x="211" y="331"/>
                    </a:cubicBezTo>
                    <a:cubicBezTo>
                      <a:pt x="211" y="333"/>
                      <a:pt x="211" y="335"/>
                      <a:pt x="213" y="336"/>
                    </a:cubicBezTo>
                    <a:cubicBezTo>
                      <a:pt x="215" y="337"/>
                      <a:pt x="220" y="336"/>
                      <a:pt x="221" y="338"/>
                    </a:cubicBezTo>
                    <a:cubicBezTo>
                      <a:pt x="221" y="338"/>
                      <a:pt x="222" y="340"/>
                      <a:pt x="222" y="341"/>
                    </a:cubicBezTo>
                    <a:cubicBezTo>
                      <a:pt x="222" y="342"/>
                      <a:pt x="221" y="343"/>
                      <a:pt x="221" y="344"/>
                    </a:cubicBezTo>
                    <a:cubicBezTo>
                      <a:pt x="222" y="346"/>
                      <a:pt x="223" y="345"/>
                      <a:pt x="224" y="346"/>
                    </a:cubicBezTo>
                    <a:cubicBezTo>
                      <a:pt x="226" y="346"/>
                      <a:pt x="227" y="346"/>
                      <a:pt x="228" y="347"/>
                    </a:cubicBezTo>
                    <a:cubicBezTo>
                      <a:pt x="228" y="348"/>
                      <a:pt x="229" y="349"/>
                      <a:pt x="229" y="350"/>
                    </a:cubicBezTo>
                    <a:cubicBezTo>
                      <a:pt x="230" y="351"/>
                      <a:pt x="229" y="353"/>
                      <a:pt x="230" y="354"/>
                    </a:cubicBezTo>
                    <a:cubicBezTo>
                      <a:pt x="230" y="354"/>
                      <a:pt x="231" y="354"/>
                      <a:pt x="231" y="355"/>
                    </a:cubicBezTo>
                    <a:cubicBezTo>
                      <a:pt x="231" y="355"/>
                      <a:pt x="231" y="356"/>
                      <a:pt x="232" y="356"/>
                    </a:cubicBezTo>
                    <a:cubicBezTo>
                      <a:pt x="232" y="357"/>
                      <a:pt x="233" y="357"/>
                      <a:pt x="233" y="358"/>
                    </a:cubicBezTo>
                    <a:cubicBezTo>
                      <a:pt x="233" y="360"/>
                      <a:pt x="233" y="360"/>
                      <a:pt x="234" y="361"/>
                    </a:cubicBezTo>
                    <a:cubicBezTo>
                      <a:pt x="235" y="362"/>
                      <a:pt x="236" y="363"/>
                      <a:pt x="237" y="363"/>
                    </a:cubicBezTo>
                    <a:cubicBezTo>
                      <a:pt x="239" y="364"/>
                      <a:pt x="240" y="367"/>
                      <a:pt x="243" y="367"/>
                    </a:cubicBezTo>
                    <a:cubicBezTo>
                      <a:pt x="244" y="367"/>
                      <a:pt x="246" y="367"/>
                      <a:pt x="247" y="368"/>
                    </a:cubicBezTo>
                    <a:cubicBezTo>
                      <a:pt x="247" y="369"/>
                      <a:pt x="247" y="370"/>
                      <a:pt x="248" y="371"/>
                    </a:cubicBezTo>
                    <a:cubicBezTo>
                      <a:pt x="249" y="371"/>
                      <a:pt x="250" y="372"/>
                      <a:pt x="251" y="372"/>
                    </a:cubicBezTo>
                    <a:cubicBezTo>
                      <a:pt x="251" y="373"/>
                      <a:pt x="251" y="373"/>
                      <a:pt x="252" y="373"/>
                    </a:cubicBezTo>
                    <a:cubicBezTo>
                      <a:pt x="252" y="373"/>
                      <a:pt x="252" y="373"/>
                      <a:pt x="252" y="373"/>
                    </a:cubicBezTo>
                    <a:cubicBezTo>
                      <a:pt x="252" y="374"/>
                      <a:pt x="252" y="374"/>
                      <a:pt x="253" y="375"/>
                    </a:cubicBezTo>
                    <a:cubicBezTo>
                      <a:pt x="253" y="375"/>
                      <a:pt x="253" y="375"/>
                      <a:pt x="253" y="376"/>
                    </a:cubicBezTo>
                    <a:cubicBezTo>
                      <a:pt x="254" y="378"/>
                      <a:pt x="255" y="381"/>
                      <a:pt x="255" y="384"/>
                    </a:cubicBezTo>
                    <a:cubicBezTo>
                      <a:pt x="255" y="386"/>
                      <a:pt x="256" y="386"/>
                      <a:pt x="257" y="387"/>
                    </a:cubicBezTo>
                    <a:cubicBezTo>
                      <a:pt x="258" y="389"/>
                      <a:pt x="260" y="392"/>
                      <a:pt x="260" y="394"/>
                    </a:cubicBezTo>
                    <a:cubicBezTo>
                      <a:pt x="262" y="395"/>
                      <a:pt x="263" y="397"/>
                      <a:pt x="264" y="398"/>
                    </a:cubicBezTo>
                    <a:cubicBezTo>
                      <a:pt x="265" y="398"/>
                      <a:pt x="267" y="398"/>
                      <a:pt x="268" y="399"/>
                    </a:cubicBezTo>
                    <a:cubicBezTo>
                      <a:pt x="269" y="400"/>
                      <a:pt x="270" y="401"/>
                      <a:pt x="271" y="402"/>
                    </a:cubicBezTo>
                    <a:cubicBezTo>
                      <a:pt x="272" y="403"/>
                      <a:pt x="274" y="404"/>
                      <a:pt x="276" y="405"/>
                    </a:cubicBezTo>
                    <a:cubicBezTo>
                      <a:pt x="276" y="406"/>
                      <a:pt x="277" y="407"/>
                      <a:pt x="277" y="408"/>
                    </a:cubicBezTo>
                    <a:cubicBezTo>
                      <a:pt x="278" y="408"/>
                      <a:pt x="279" y="409"/>
                      <a:pt x="280" y="410"/>
                    </a:cubicBezTo>
                    <a:cubicBezTo>
                      <a:pt x="281" y="413"/>
                      <a:pt x="280" y="416"/>
                      <a:pt x="281" y="419"/>
                    </a:cubicBezTo>
                    <a:cubicBezTo>
                      <a:pt x="282" y="419"/>
                      <a:pt x="282" y="419"/>
                      <a:pt x="283" y="420"/>
                    </a:cubicBezTo>
                    <a:cubicBezTo>
                      <a:pt x="283" y="420"/>
                      <a:pt x="284" y="420"/>
                      <a:pt x="284" y="420"/>
                    </a:cubicBezTo>
                    <a:cubicBezTo>
                      <a:pt x="285" y="421"/>
                      <a:pt x="286" y="422"/>
                      <a:pt x="287" y="423"/>
                    </a:cubicBezTo>
                    <a:cubicBezTo>
                      <a:pt x="287" y="424"/>
                      <a:pt x="287" y="424"/>
                      <a:pt x="288" y="424"/>
                    </a:cubicBezTo>
                    <a:cubicBezTo>
                      <a:pt x="288" y="425"/>
                      <a:pt x="289" y="426"/>
                      <a:pt x="289" y="426"/>
                    </a:cubicBezTo>
                    <a:cubicBezTo>
                      <a:pt x="290" y="427"/>
                      <a:pt x="291" y="427"/>
                      <a:pt x="292" y="428"/>
                    </a:cubicBezTo>
                    <a:cubicBezTo>
                      <a:pt x="293" y="430"/>
                      <a:pt x="294" y="432"/>
                      <a:pt x="295" y="433"/>
                    </a:cubicBezTo>
                    <a:cubicBezTo>
                      <a:pt x="296" y="434"/>
                      <a:pt x="297" y="434"/>
                      <a:pt x="297" y="435"/>
                    </a:cubicBezTo>
                    <a:cubicBezTo>
                      <a:pt x="297" y="436"/>
                      <a:pt x="297" y="437"/>
                      <a:pt x="297" y="438"/>
                    </a:cubicBezTo>
                    <a:cubicBezTo>
                      <a:pt x="298" y="440"/>
                      <a:pt x="298" y="439"/>
                      <a:pt x="301" y="440"/>
                    </a:cubicBezTo>
                    <a:cubicBezTo>
                      <a:pt x="302" y="440"/>
                      <a:pt x="303" y="441"/>
                      <a:pt x="304" y="442"/>
                    </a:cubicBezTo>
                    <a:cubicBezTo>
                      <a:pt x="304" y="442"/>
                      <a:pt x="305" y="445"/>
                      <a:pt x="306" y="443"/>
                    </a:cubicBezTo>
                    <a:cubicBezTo>
                      <a:pt x="306" y="443"/>
                      <a:pt x="306" y="444"/>
                      <a:pt x="306" y="444"/>
                    </a:cubicBezTo>
                    <a:cubicBezTo>
                      <a:pt x="308" y="444"/>
                      <a:pt x="310" y="444"/>
                      <a:pt x="311" y="444"/>
                    </a:cubicBezTo>
                    <a:cubicBezTo>
                      <a:pt x="313" y="445"/>
                      <a:pt x="312" y="447"/>
                      <a:pt x="313" y="448"/>
                    </a:cubicBezTo>
                    <a:cubicBezTo>
                      <a:pt x="313" y="449"/>
                      <a:pt x="314" y="450"/>
                      <a:pt x="315" y="450"/>
                    </a:cubicBezTo>
                    <a:cubicBezTo>
                      <a:pt x="316" y="451"/>
                      <a:pt x="317" y="451"/>
                      <a:pt x="318" y="452"/>
                    </a:cubicBezTo>
                    <a:cubicBezTo>
                      <a:pt x="319" y="454"/>
                      <a:pt x="317" y="460"/>
                      <a:pt x="319" y="461"/>
                    </a:cubicBezTo>
                    <a:cubicBezTo>
                      <a:pt x="322" y="457"/>
                      <a:pt x="327" y="457"/>
                      <a:pt x="332" y="457"/>
                    </a:cubicBezTo>
                    <a:cubicBezTo>
                      <a:pt x="333" y="457"/>
                      <a:pt x="334" y="456"/>
                      <a:pt x="336" y="456"/>
                    </a:cubicBezTo>
                    <a:cubicBezTo>
                      <a:pt x="337" y="456"/>
                      <a:pt x="338" y="456"/>
                      <a:pt x="339" y="456"/>
                    </a:cubicBezTo>
                    <a:cubicBezTo>
                      <a:pt x="341" y="456"/>
                      <a:pt x="343" y="458"/>
                      <a:pt x="345" y="460"/>
                    </a:cubicBezTo>
                    <a:cubicBezTo>
                      <a:pt x="347" y="462"/>
                      <a:pt x="348" y="463"/>
                      <a:pt x="350" y="462"/>
                    </a:cubicBezTo>
                    <a:cubicBezTo>
                      <a:pt x="351" y="462"/>
                      <a:pt x="352" y="462"/>
                      <a:pt x="353" y="462"/>
                    </a:cubicBezTo>
                    <a:cubicBezTo>
                      <a:pt x="353" y="461"/>
                      <a:pt x="354" y="460"/>
                      <a:pt x="354" y="460"/>
                    </a:cubicBezTo>
                    <a:cubicBezTo>
                      <a:pt x="355" y="460"/>
                      <a:pt x="357" y="460"/>
                      <a:pt x="358" y="460"/>
                    </a:cubicBezTo>
                    <a:cubicBezTo>
                      <a:pt x="359" y="461"/>
                      <a:pt x="359" y="463"/>
                      <a:pt x="360" y="464"/>
                    </a:cubicBezTo>
                    <a:cubicBezTo>
                      <a:pt x="360" y="465"/>
                      <a:pt x="361" y="466"/>
                      <a:pt x="361" y="467"/>
                    </a:cubicBezTo>
                    <a:cubicBezTo>
                      <a:pt x="362" y="469"/>
                      <a:pt x="363" y="470"/>
                      <a:pt x="363" y="473"/>
                    </a:cubicBezTo>
                    <a:cubicBezTo>
                      <a:pt x="364" y="474"/>
                      <a:pt x="364" y="475"/>
                      <a:pt x="365" y="477"/>
                    </a:cubicBezTo>
                    <a:cubicBezTo>
                      <a:pt x="365" y="477"/>
                      <a:pt x="366" y="478"/>
                      <a:pt x="366" y="479"/>
                    </a:cubicBezTo>
                    <a:cubicBezTo>
                      <a:pt x="366" y="480"/>
                      <a:pt x="365" y="481"/>
                      <a:pt x="365" y="482"/>
                    </a:cubicBezTo>
                    <a:cubicBezTo>
                      <a:pt x="365" y="483"/>
                      <a:pt x="365" y="484"/>
                      <a:pt x="365" y="484"/>
                    </a:cubicBezTo>
                    <a:cubicBezTo>
                      <a:pt x="367" y="485"/>
                      <a:pt x="368" y="485"/>
                      <a:pt x="370" y="486"/>
                    </a:cubicBezTo>
                    <a:cubicBezTo>
                      <a:pt x="370" y="486"/>
                      <a:pt x="371" y="486"/>
                      <a:pt x="371" y="487"/>
                    </a:cubicBezTo>
                    <a:cubicBezTo>
                      <a:pt x="373" y="489"/>
                      <a:pt x="372" y="491"/>
                      <a:pt x="373" y="493"/>
                    </a:cubicBezTo>
                    <a:cubicBezTo>
                      <a:pt x="374" y="494"/>
                      <a:pt x="375" y="495"/>
                      <a:pt x="377" y="494"/>
                    </a:cubicBezTo>
                    <a:cubicBezTo>
                      <a:pt x="378" y="494"/>
                      <a:pt x="378" y="493"/>
                      <a:pt x="379" y="492"/>
                    </a:cubicBezTo>
                    <a:cubicBezTo>
                      <a:pt x="380" y="491"/>
                      <a:pt x="382" y="492"/>
                      <a:pt x="384" y="492"/>
                    </a:cubicBezTo>
                    <a:cubicBezTo>
                      <a:pt x="385" y="493"/>
                      <a:pt x="386" y="492"/>
                      <a:pt x="387" y="492"/>
                    </a:cubicBezTo>
                    <a:cubicBezTo>
                      <a:pt x="393" y="490"/>
                      <a:pt x="394" y="495"/>
                      <a:pt x="394" y="499"/>
                    </a:cubicBezTo>
                    <a:cubicBezTo>
                      <a:pt x="394" y="502"/>
                      <a:pt x="394" y="504"/>
                      <a:pt x="391" y="505"/>
                    </a:cubicBezTo>
                    <a:cubicBezTo>
                      <a:pt x="391" y="505"/>
                      <a:pt x="391" y="505"/>
                      <a:pt x="390" y="505"/>
                    </a:cubicBezTo>
                    <a:cubicBezTo>
                      <a:pt x="389" y="505"/>
                      <a:pt x="389" y="506"/>
                      <a:pt x="388" y="507"/>
                    </a:cubicBezTo>
                    <a:cubicBezTo>
                      <a:pt x="388" y="507"/>
                      <a:pt x="386" y="508"/>
                      <a:pt x="386" y="509"/>
                    </a:cubicBezTo>
                    <a:cubicBezTo>
                      <a:pt x="386" y="509"/>
                      <a:pt x="387" y="509"/>
                      <a:pt x="388" y="509"/>
                    </a:cubicBezTo>
                    <a:cubicBezTo>
                      <a:pt x="388" y="510"/>
                      <a:pt x="388" y="510"/>
                      <a:pt x="388" y="510"/>
                    </a:cubicBezTo>
                    <a:cubicBezTo>
                      <a:pt x="389" y="510"/>
                      <a:pt x="389" y="512"/>
                      <a:pt x="389" y="512"/>
                    </a:cubicBezTo>
                    <a:cubicBezTo>
                      <a:pt x="390" y="513"/>
                      <a:pt x="392" y="513"/>
                      <a:pt x="393" y="514"/>
                    </a:cubicBezTo>
                    <a:cubicBezTo>
                      <a:pt x="394" y="514"/>
                      <a:pt x="396" y="515"/>
                      <a:pt x="398" y="515"/>
                    </a:cubicBezTo>
                    <a:cubicBezTo>
                      <a:pt x="399" y="515"/>
                      <a:pt x="400" y="512"/>
                      <a:pt x="401" y="512"/>
                    </a:cubicBezTo>
                    <a:cubicBezTo>
                      <a:pt x="402" y="511"/>
                      <a:pt x="402" y="511"/>
                      <a:pt x="403" y="511"/>
                    </a:cubicBezTo>
                    <a:cubicBezTo>
                      <a:pt x="404" y="511"/>
                      <a:pt x="406" y="511"/>
                      <a:pt x="407" y="512"/>
                    </a:cubicBezTo>
                    <a:cubicBezTo>
                      <a:pt x="408" y="512"/>
                      <a:pt x="408" y="512"/>
                      <a:pt x="408" y="513"/>
                    </a:cubicBezTo>
                    <a:cubicBezTo>
                      <a:pt x="409" y="513"/>
                      <a:pt x="409" y="513"/>
                      <a:pt x="409" y="513"/>
                    </a:cubicBezTo>
                    <a:cubicBezTo>
                      <a:pt x="410" y="513"/>
                      <a:pt x="411" y="514"/>
                      <a:pt x="412" y="514"/>
                    </a:cubicBezTo>
                    <a:cubicBezTo>
                      <a:pt x="414" y="514"/>
                      <a:pt x="415" y="514"/>
                      <a:pt x="417" y="516"/>
                    </a:cubicBezTo>
                    <a:cubicBezTo>
                      <a:pt x="418" y="517"/>
                      <a:pt x="418" y="518"/>
                      <a:pt x="418" y="520"/>
                    </a:cubicBezTo>
                    <a:cubicBezTo>
                      <a:pt x="418" y="521"/>
                      <a:pt x="418" y="522"/>
                      <a:pt x="419" y="522"/>
                    </a:cubicBezTo>
                    <a:cubicBezTo>
                      <a:pt x="419" y="523"/>
                      <a:pt x="419" y="524"/>
                      <a:pt x="420" y="525"/>
                    </a:cubicBezTo>
                    <a:cubicBezTo>
                      <a:pt x="420" y="525"/>
                      <a:pt x="421" y="525"/>
                      <a:pt x="422" y="526"/>
                    </a:cubicBezTo>
                    <a:cubicBezTo>
                      <a:pt x="423" y="526"/>
                      <a:pt x="422" y="528"/>
                      <a:pt x="422" y="529"/>
                    </a:cubicBezTo>
                    <a:cubicBezTo>
                      <a:pt x="422" y="531"/>
                      <a:pt x="422" y="532"/>
                      <a:pt x="422" y="534"/>
                    </a:cubicBezTo>
                    <a:cubicBezTo>
                      <a:pt x="421" y="537"/>
                      <a:pt x="419" y="538"/>
                      <a:pt x="416" y="538"/>
                    </a:cubicBezTo>
                    <a:cubicBezTo>
                      <a:pt x="416" y="540"/>
                      <a:pt x="418" y="541"/>
                      <a:pt x="419" y="542"/>
                    </a:cubicBezTo>
                    <a:cubicBezTo>
                      <a:pt x="422" y="543"/>
                      <a:pt x="425" y="545"/>
                      <a:pt x="427" y="547"/>
                    </a:cubicBezTo>
                    <a:cubicBezTo>
                      <a:pt x="428" y="547"/>
                      <a:pt x="429" y="547"/>
                      <a:pt x="430" y="548"/>
                    </a:cubicBezTo>
                    <a:cubicBezTo>
                      <a:pt x="431" y="548"/>
                      <a:pt x="432" y="549"/>
                      <a:pt x="432" y="550"/>
                    </a:cubicBezTo>
                    <a:cubicBezTo>
                      <a:pt x="433" y="550"/>
                      <a:pt x="434" y="551"/>
                      <a:pt x="435" y="551"/>
                    </a:cubicBezTo>
                    <a:cubicBezTo>
                      <a:pt x="436" y="552"/>
                      <a:pt x="436" y="554"/>
                      <a:pt x="437" y="555"/>
                    </a:cubicBezTo>
                    <a:cubicBezTo>
                      <a:pt x="438" y="556"/>
                      <a:pt x="439" y="557"/>
                      <a:pt x="441" y="557"/>
                    </a:cubicBezTo>
                    <a:cubicBezTo>
                      <a:pt x="441" y="557"/>
                      <a:pt x="444" y="557"/>
                      <a:pt x="444" y="556"/>
                    </a:cubicBezTo>
                    <a:cubicBezTo>
                      <a:pt x="445" y="556"/>
                      <a:pt x="445" y="556"/>
                      <a:pt x="445" y="555"/>
                    </a:cubicBezTo>
                    <a:cubicBezTo>
                      <a:pt x="446" y="555"/>
                      <a:pt x="446" y="554"/>
                      <a:pt x="447" y="553"/>
                    </a:cubicBezTo>
                    <a:cubicBezTo>
                      <a:pt x="447" y="553"/>
                      <a:pt x="447" y="552"/>
                      <a:pt x="447" y="551"/>
                    </a:cubicBezTo>
                    <a:cubicBezTo>
                      <a:pt x="447" y="550"/>
                      <a:pt x="448" y="548"/>
                      <a:pt x="449" y="548"/>
                    </a:cubicBezTo>
                    <a:cubicBezTo>
                      <a:pt x="453" y="553"/>
                      <a:pt x="457" y="558"/>
                      <a:pt x="460" y="564"/>
                    </a:cubicBezTo>
                    <a:cubicBezTo>
                      <a:pt x="461" y="566"/>
                      <a:pt x="462" y="568"/>
                      <a:pt x="462" y="570"/>
                    </a:cubicBezTo>
                    <a:cubicBezTo>
                      <a:pt x="462" y="573"/>
                      <a:pt x="463" y="577"/>
                      <a:pt x="464" y="580"/>
                    </a:cubicBezTo>
                    <a:cubicBezTo>
                      <a:pt x="464" y="583"/>
                      <a:pt x="464" y="587"/>
                      <a:pt x="466" y="589"/>
                    </a:cubicBezTo>
                    <a:cubicBezTo>
                      <a:pt x="467" y="590"/>
                      <a:pt x="468" y="591"/>
                      <a:pt x="469" y="593"/>
                    </a:cubicBezTo>
                    <a:cubicBezTo>
                      <a:pt x="469" y="594"/>
                      <a:pt x="469" y="595"/>
                      <a:pt x="469" y="596"/>
                    </a:cubicBezTo>
                    <a:cubicBezTo>
                      <a:pt x="470" y="597"/>
                      <a:pt x="470" y="599"/>
                      <a:pt x="471" y="600"/>
                    </a:cubicBezTo>
                    <a:cubicBezTo>
                      <a:pt x="471" y="602"/>
                      <a:pt x="471" y="603"/>
                      <a:pt x="472" y="605"/>
                    </a:cubicBezTo>
                    <a:cubicBezTo>
                      <a:pt x="472" y="606"/>
                      <a:pt x="473" y="607"/>
                      <a:pt x="473" y="608"/>
                    </a:cubicBezTo>
                    <a:cubicBezTo>
                      <a:pt x="473" y="611"/>
                      <a:pt x="473" y="614"/>
                      <a:pt x="474" y="616"/>
                    </a:cubicBezTo>
                    <a:cubicBezTo>
                      <a:pt x="474" y="617"/>
                      <a:pt x="474" y="617"/>
                      <a:pt x="474" y="617"/>
                    </a:cubicBezTo>
                    <a:cubicBezTo>
                      <a:pt x="474" y="618"/>
                      <a:pt x="474" y="619"/>
                      <a:pt x="474" y="619"/>
                    </a:cubicBezTo>
                    <a:cubicBezTo>
                      <a:pt x="474" y="620"/>
                      <a:pt x="474" y="621"/>
                      <a:pt x="474" y="622"/>
                    </a:cubicBezTo>
                    <a:cubicBezTo>
                      <a:pt x="475" y="624"/>
                      <a:pt x="475" y="625"/>
                      <a:pt x="475" y="628"/>
                    </a:cubicBezTo>
                    <a:cubicBezTo>
                      <a:pt x="475" y="630"/>
                      <a:pt x="475" y="634"/>
                      <a:pt x="475" y="637"/>
                    </a:cubicBezTo>
                    <a:cubicBezTo>
                      <a:pt x="476" y="641"/>
                      <a:pt x="481" y="643"/>
                      <a:pt x="482" y="647"/>
                    </a:cubicBezTo>
                    <a:cubicBezTo>
                      <a:pt x="482" y="648"/>
                      <a:pt x="482" y="650"/>
                      <a:pt x="481" y="652"/>
                    </a:cubicBezTo>
                    <a:cubicBezTo>
                      <a:pt x="481" y="653"/>
                      <a:pt x="481" y="655"/>
                      <a:pt x="480" y="657"/>
                    </a:cubicBezTo>
                    <a:cubicBezTo>
                      <a:pt x="479" y="658"/>
                      <a:pt x="479" y="659"/>
                      <a:pt x="477" y="659"/>
                    </a:cubicBezTo>
                    <a:cubicBezTo>
                      <a:pt x="474" y="659"/>
                      <a:pt x="472" y="659"/>
                      <a:pt x="470" y="660"/>
                    </a:cubicBezTo>
                    <a:cubicBezTo>
                      <a:pt x="468" y="660"/>
                      <a:pt x="466" y="661"/>
                      <a:pt x="464" y="662"/>
                    </a:cubicBezTo>
                    <a:cubicBezTo>
                      <a:pt x="462" y="662"/>
                      <a:pt x="461" y="663"/>
                      <a:pt x="460" y="663"/>
                    </a:cubicBezTo>
                    <a:cubicBezTo>
                      <a:pt x="459" y="668"/>
                      <a:pt x="464" y="670"/>
                      <a:pt x="464" y="675"/>
                    </a:cubicBezTo>
                    <a:cubicBezTo>
                      <a:pt x="465" y="677"/>
                      <a:pt x="463" y="678"/>
                      <a:pt x="463" y="680"/>
                    </a:cubicBezTo>
                    <a:cubicBezTo>
                      <a:pt x="461" y="682"/>
                      <a:pt x="461" y="685"/>
                      <a:pt x="460" y="688"/>
                    </a:cubicBezTo>
                    <a:cubicBezTo>
                      <a:pt x="459" y="689"/>
                      <a:pt x="459" y="690"/>
                      <a:pt x="458" y="691"/>
                    </a:cubicBezTo>
                    <a:cubicBezTo>
                      <a:pt x="456" y="692"/>
                      <a:pt x="455" y="692"/>
                      <a:pt x="454" y="693"/>
                    </a:cubicBezTo>
                    <a:cubicBezTo>
                      <a:pt x="454" y="693"/>
                      <a:pt x="453" y="693"/>
                      <a:pt x="453" y="694"/>
                    </a:cubicBezTo>
                    <a:cubicBezTo>
                      <a:pt x="452" y="694"/>
                      <a:pt x="452" y="694"/>
                      <a:pt x="452" y="694"/>
                    </a:cubicBezTo>
                    <a:cubicBezTo>
                      <a:pt x="451" y="694"/>
                      <a:pt x="451" y="695"/>
                      <a:pt x="451" y="695"/>
                    </a:cubicBezTo>
                    <a:cubicBezTo>
                      <a:pt x="450" y="696"/>
                      <a:pt x="449" y="697"/>
                      <a:pt x="447" y="698"/>
                    </a:cubicBezTo>
                    <a:cubicBezTo>
                      <a:pt x="446" y="699"/>
                      <a:pt x="446" y="699"/>
                      <a:pt x="445" y="700"/>
                    </a:cubicBezTo>
                    <a:cubicBezTo>
                      <a:pt x="445" y="701"/>
                      <a:pt x="445" y="702"/>
                      <a:pt x="445" y="703"/>
                    </a:cubicBezTo>
                    <a:cubicBezTo>
                      <a:pt x="445" y="704"/>
                      <a:pt x="446" y="707"/>
                      <a:pt x="445" y="708"/>
                    </a:cubicBezTo>
                    <a:cubicBezTo>
                      <a:pt x="444" y="709"/>
                      <a:pt x="443" y="709"/>
                      <a:pt x="443" y="710"/>
                    </a:cubicBezTo>
                    <a:cubicBezTo>
                      <a:pt x="442" y="711"/>
                      <a:pt x="441" y="713"/>
                      <a:pt x="441" y="714"/>
                    </a:cubicBezTo>
                    <a:cubicBezTo>
                      <a:pt x="442" y="716"/>
                      <a:pt x="443" y="717"/>
                      <a:pt x="444" y="718"/>
                    </a:cubicBezTo>
                    <a:cubicBezTo>
                      <a:pt x="445" y="718"/>
                      <a:pt x="444" y="718"/>
                      <a:pt x="445" y="719"/>
                    </a:cubicBezTo>
                    <a:cubicBezTo>
                      <a:pt x="446" y="719"/>
                      <a:pt x="447" y="720"/>
                      <a:pt x="447" y="720"/>
                    </a:cubicBezTo>
                    <a:cubicBezTo>
                      <a:pt x="448" y="720"/>
                      <a:pt x="448" y="721"/>
                      <a:pt x="449" y="721"/>
                    </a:cubicBezTo>
                    <a:cubicBezTo>
                      <a:pt x="451" y="721"/>
                      <a:pt x="453" y="721"/>
                      <a:pt x="455" y="721"/>
                    </a:cubicBezTo>
                    <a:cubicBezTo>
                      <a:pt x="458" y="721"/>
                      <a:pt x="460" y="720"/>
                      <a:pt x="463" y="720"/>
                    </a:cubicBezTo>
                    <a:cubicBezTo>
                      <a:pt x="464" y="720"/>
                      <a:pt x="465" y="720"/>
                      <a:pt x="466" y="720"/>
                    </a:cubicBezTo>
                    <a:cubicBezTo>
                      <a:pt x="468" y="720"/>
                      <a:pt x="469" y="719"/>
                      <a:pt x="470" y="719"/>
                    </a:cubicBezTo>
                    <a:cubicBezTo>
                      <a:pt x="471" y="719"/>
                      <a:pt x="471" y="719"/>
                      <a:pt x="472" y="719"/>
                    </a:cubicBezTo>
                    <a:cubicBezTo>
                      <a:pt x="473" y="718"/>
                      <a:pt x="474" y="717"/>
                      <a:pt x="474" y="717"/>
                    </a:cubicBezTo>
                    <a:cubicBezTo>
                      <a:pt x="475" y="716"/>
                      <a:pt x="475" y="715"/>
                      <a:pt x="475" y="714"/>
                    </a:cubicBezTo>
                    <a:cubicBezTo>
                      <a:pt x="476" y="714"/>
                      <a:pt x="476" y="713"/>
                      <a:pt x="477" y="712"/>
                    </a:cubicBezTo>
                    <a:cubicBezTo>
                      <a:pt x="477" y="712"/>
                      <a:pt x="477" y="711"/>
                      <a:pt x="477" y="710"/>
                    </a:cubicBezTo>
                    <a:cubicBezTo>
                      <a:pt x="478" y="709"/>
                      <a:pt x="478" y="709"/>
                      <a:pt x="478" y="708"/>
                    </a:cubicBezTo>
                    <a:cubicBezTo>
                      <a:pt x="479" y="705"/>
                      <a:pt x="478" y="704"/>
                      <a:pt x="480" y="702"/>
                    </a:cubicBezTo>
                    <a:cubicBezTo>
                      <a:pt x="481" y="700"/>
                      <a:pt x="483" y="698"/>
                      <a:pt x="485" y="697"/>
                    </a:cubicBezTo>
                    <a:cubicBezTo>
                      <a:pt x="485" y="695"/>
                      <a:pt x="489" y="692"/>
                      <a:pt x="491" y="691"/>
                    </a:cubicBezTo>
                    <a:cubicBezTo>
                      <a:pt x="493" y="690"/>
                      <a:pt x="495" y="688"/>
                      <a:pt x="498" y="686"/>
                    </a:cubicBezTo>
                    <a:cubicBezTo>
                      <a:pt x="502" y="683"/>
                      <a:pt x="500" y="678"/>
                      <a:pt x="500" y="674"/>
                    </a:cubicBezTo>
                    <a:cubicBezTo>
                      <a:pt x="501" y="671"/>
                      <a:pt x="500" y="668"/>
                      <a:pt x="500" y="665"/>
                    </a:cubicBezTo>
                    <a:cubicBezTo>
                      <a:pt x="500" y="663"/>
                      <a:pt x="500" y="661"/>
                      <a:pt x="500" y="660"/>
                    </a:cubicBezTo>
                    <a:cubicBezTo>
                      <a:pt x="500" y="659"/>
                      <a:pt x="500" y="657"/>
                      <a:pt x="501" y="656"/>
                    </a:cubicBezTo>
                    <a:cubicBezTo>
                      <a:pt x="501" y="656"/>
                      <a:pt x="502" y="655"/>
                      <a:pt x="503" y="655"/>
                    </a:cubicBezTo>
                    <a:cubicBezTo>
                      <a:pt x="503" y="654"/>
                      <a:pt x="504" y="653"/>
                      <a:pt x="505" y="652"/>
                    </a:cubicBezTo>
                    <a:cubicBezTo>
                      <a:pt x="505" y="651"/>
                      <a:pt x="505" y="651"/>
                      <a:pt x="506" y="651"/>
                    </a:cubicBezTo>
                    <a:cubicBezTo>
                      <a:pt x="507" y="650"/>
                      <a:pt x="508" y="649"/>
                      <a:pt x="510" y="649"/>
                    </a:cubicBezTo>
                    <a:cubicBezTo>
                      <a:pt x="512" y="648"/>
                      <a:pt x="515" y="648"/>
                      <a:pt x="517" y="647"/>
                    </a:cubicBezTo>
                    <a:cubicBezTo>
                      <a:pt x="517" y="647"/>
                      <a:pt x="517" y="646"/>
                      <a:pt x="517" y="646"/>
                    </a:cubicBezTo>
                    <a:cubicBezTo>
                      <a:pt x="517" y="646"/>
                      <a:pt x="519" y="646"/>
                      <a:pt x="518" y="646"/>
                    </a:cubicBezTo>
                    <a:cubicBezTo>
                      <a:pt x="520" y="646"/>
                      <a:pt x="520" y="646"/>
                      <a:pt x="521" y="646"/>
                    </a:cubicBezTo>
                    <a:cubicBezTo>
                      <a:pt x="523" y="646"/>
                      <a:pt x="525" y="646"/>
                      <a:pt x="526" y="645"/>
                    </a:cubicBezTo>
                    <a:cubicBezTo>
                      <a:pt x="527" y="645"/>
                      <a:pt x="528" y="644"/>
                      <a:pt x="529" y="644"/>
                    </a:cubicBezTo>
                    <a:cubicBezTo>
                      <a:pt x="530" y="644"/>
                      <a:pt x="530" y="644"/>
                      <a:pt x="531" y="643"/>
                    </a:cubicBezTo>
                    <a:cubicBezTo>
                      <a:pt x="531" y="643"/>
                      <a:pt x="532" y="643"/>
                      <a:pt x="532" y="642"/>
                    </a:cubicBezTo>
                    <a:cubicBezTo>
                      <a:pt x="532" y="641"/>
                      <a:pt x="532" y="640"/>
                      <a:pt x="532" y="639"/>
                    </a:cubicBezTo>
                    <a:cubicBezTo>
                      <a:pt x="532" y="638"/>
                      <a:pt x="531" y="636"/>
                      <a:pt x="531" y="635"/>
                    </a:cubicBezTo>
                    <a:cubicBezTo>
                      <a:pt x="531" y="634"/>
                      <a:pt x="531" y="633"/>
                      <a:pt x="532" y="632"/>
                    </a:cubicBezTo>
                    <a:cubicBezTo>
                      <a:pt x="532" y="632"/>
                      <a:pt x="533" y="631"/>
                      <a:pt x="533" y="631"/>
                    </a:cubicBezTo>
                    <a:cubicBezTo>
                      <a:pt x="534" y="629"/>
                      <a:pt x="534" y="626"/>
                      <a:pt x="534" y="624"/>
                    </a:cubicBezTo>
                    <a:cubicBezTo>
                      <a:pt x="534" y="622"/>
                      <a:pt x="534" y="620"/>
                      <a:pt x="534" y="617"/>
                    </a:cubicBezTo>
                    <a:cubicBezTo>
                      <a:pt x="534" y="616"/>
                      <a:pt x="534" y="614"/>
                      <a:pt x="534" y="613"/>
                    </a:cubicBezTo>
                    <a:cubicBezTo>
                      <a:pt x="534" y="611"/>
                      <a:pt x="533" y="609"/>
                      <a:pt x="533" y="607"/>
                    </a:cubicBezTo>
                    <a:cubicBezTo>
                      <a:pt x="532" y="605"/>
                      <a:pt x="531" y="604"/>
                      <a:pt x="529" y="604"/>
                    </a:cubicBezTo>
                    <a:cubicBezTo>
                      <a:pt x="529" y="603"/>
                      <a:pt x="528" y="601"/>
                      <a:pt x="527" y="600"/>
                    </a:cubicBezTo>
                    <a:cubicBezTo>
                      <a:pt x="526" y="598"/>
                      <a:pt x="526" y="597"/>
                      <a:pt x="524" y="597"/>
                    </a:cubicBezTo>
                    <a:cubicBezTo>
                      <a:pt x="523" y="597"/>
                      <a:pt x="522" y="597"/>
                      <a:pt x="521" y="597"/>
                    </a:cubicBezTo>
                    <a:cubicBezTo>
                      <a:pt x="520" y="596"/>
                      <a:pt x="520" y="596"/>
                      <a:pt x="520" y="595"/>
                    </a:cubicBezTo>
                    <a:cubicBezTo>
                      <a:pt x="519" y="594"/>
                      <a:pt x="518" y="594"/>
                      <a:pt x="517" y="593"/>
                    </a:cubicBezTo>
                    <a:cubicBezTo>
                      <a:pt x="516" y="592"/>
                      <a:pt x="516" y="591"/>
                      <a:pt x="515" y="590"/>
                    </a:cubicBezTo>
                    <a:cubicBezTo>
                      <a:pt x="514" y="590"/>
                      <a:pt x="512" y="591"/>
                      <a:pt x="511" y="590"/>
                    </a:cubicBezTo>
                    <a:cubicBezTo>
                      <a:pt x="510" y="590"/>
                      <a:pt x="509" y="590"/>
                      <a:pt x="508" y="590"/>
                    </a:cubicBezTo>
                    <a:cubicBezTo>
                      <a:pt x="506" y="590"/>
                      <a:pt x="506" y="589"/>
                      <a:pt x="504" y="589"/>
                    </a:cubicBezTo>
                    <a:cubicBezTo>
                      <a:pt x="503" y="585"/>
                      <a:pt x="503" y="581"/>
                      <a:pt x="503" y="577"/>
                    </a:cubicBezTo>
                    <a:cubicBezTo>
                      <a:pt x="503" y="575"/>
                      <a:pt x="503" y="574"/>
                      <a:pt x="503" y="572"/>
                    </a:cubicBezTo>
                    <a:cubicBezTo>
                      <a:pt x="504" y="571"/>
                      <a:pt x="504" y="568"/>
                      <a:pt x="505" y="567"/>
                    </a:cubicBezTo>
                    <a:cubicBezTo>
                      <a:pt x="506" y="566"/>
                      <a:pt x="507" y="566"/>
                      <a:pt x="508" y="565"/>
                    </a:cubicBezTo>
                    <a:cubicBezTo>
                      <a:pt x="509" y="564"/>
                      <a:pt x="509" y="562"/>
                      <a:pt x="509" y="561"/>
                    </a:cubicBezTo>
                    <a:cubicBezTo>
                      <a:pt x="509" y="558"/>
                      <a:pt x="510" y="555"/>
                      <a:pt x="511" y="553"/>
                    </a:cubicBezTo>
                    <a:cubicBezTo>
                      <a:pt x="512" y="552"/>
                      <a:pt x="513" y="551"/>
                      <a:pt x="514" y="550"/>
                    </a:cubicBezTo>
                    <a:cubicBezTo>
                      <a:pt x="515" y="550"/>
                      <a:pt x="515" y="550"/>
                      <a:pt x="515" y="549"/>
                    </a:cubicBezTo>
                    <a:cubicBezTo>
                      <a:pt x="516" y="549"/>
                      <a:pt x="516" y="548"/>
                      <a:pt x="516" y="548"/>
                    </a:cubicBezTo>
                    <a:cubicBezTo>
                      <a:pt x="517" y="546"/>
                      <a:pt x="518" y="544"/>
                      <a:pt x="518" y="543"/>
                    </a:cubicBezTo>
                    <a:cubicBezTo>
                      <a:pt x="519" y="541"/>
                      <a:pt x="519" y="540"/>
                      <a:pt x="520" y="538"/>
                    </a:cubicBezTo>
                    <a:cubicBezTo>
                      <a:pt x="521" y="537"/>
                      <a:pt x="521" y="536"/>
                      <a:pt x="522" y="535"/>
                    </a:cubicBezTo>
                    <a:cubicBezTo>
                      <a:pt x="523" y="534"/>
                      <a:pt x="523" y="534"/>
                      <a:pt x="523" y="533"/>
                    </a:cubicBezTo>
                    <a:cubicBezTo>
                      <a:pt x="524" y="532"/>
                      <a:pt x="524" y="532"/>
                      <a:pt x="525" y="531"/>
                    </a:cubicBezTo>
                    <a:cubicBezTo>
                      <a:pt x="526" y="530"/>
                      <a:pt x="526" y="529"/>
                      <a:pt x="527" y="528"/>
                    </a:cubicBezTo>
                    <a:cubicBezTo>
                      <a:pt x="528" y="527"/>
                      <a:pt x="530" y="526"/>
                      <a:pt x="531" y="525"/>
                    </a:cubicBezTo>
                    <a:cubicBezTo>
                      <a:pt x="533" y="524"/>
                      <a:pt x="535" y="521"/>
                      <a:pt x="537" y="522"/>
                    </a:cubicBezTo>
                    <a:cubicBezTo>
                      <a:pt x="538" y="523"/>
                      <a:pt x="539" y="524"/>
                      <a:pt x="539" y="525"/>
                    </a:cubicBezTo>
                    <a:cubicBezTo>
                      <a:pt x="540" y="525"/>
                      <a:pt x="540" y="526"/>
                      <a:pt x="541" y="527"/>
                    </a:cubicBezTo>
                    <a:cubicBezTo>
                      <a:pt x="542" y="528"/>
                      <a:pt x="542" y="528"/>
                      <a:pt x="543" y="530"/>
                    </a:cubicBezTo>
                    <a:cubicBezTo>
                      <a:pt x="543" y="531"/>
                      <a:pt x="545" y="533"/>
                      <a:pt x="546" y="534"/>
                    </a:cubicBezTo>
                    <a:cubicBezTo>
                      <a:pt x="547" y="534"/>
                      <a:pt x="547" y="534"/>
                      <a:pt x="548" y="534"/>
                    </a:cubicBezTo>
                    <a:cubicBezTo>
                      <a:pt x="548" y="535"/>
                      <a:pt x="548" y="536"/>
                      <a:pt x="549" y="536"/>
                    </a:cubicBezTo>
                    <a:cubicBezTo>
                      <a:pt x="551" y="537"/>
                      <a:pt x="552" y="538"/>
                      <a:pt x="554" y="539"/>
                    </a:cubicBezTo>
                    <a:cubicBezTo>
                      <a:pt x="555" y="540"/>
                      <a:pt x="557" y="540"/>
                      <a:pt x="558" y="540"/>
                    </a:cubicBezTo>
                    <a:cubicBezTo>
                      <a:pt x="559" y="541"/>
                      <a:pt x="559" y="541"/>
                      <a:pt x="561" y="542"/>
                    </a:cubicBezTo>
                    <a:cubicBezTo>
                      <a:pt x="561" y="542"/>
                      <a:pt x="562" y="542"/>
                      <a:pt x="562" y="542"/>
                    </a:cubicBezTo>
                    <a:cubicBezTo>
                      <a:pt x="563" y="543"/>
                      <a:pt x="564" y="542"/>
                      <a:pt x="565" y="542"/>
                    </a:cubicBezTo>
                    <a:cubicBezTo>
                      <a:pt x="567" y="542"/>
                      <a:pt x="568" y="542"/>
                      <a:pt x="570" y="542"/>
                    </a:cubicBezTo>
                    <a:cubicBezTo>
                      <a:pt x="571" y="542"/>
                      <a:pt x="571" y="542"/>
                      <a:pt x="572" y="542"/>
                    </a:cubicBezTo>
                    <a:cubicBezTo>
                      <a:pt x="572" y="542"/>
                      <a:pt x="572" y="541"/>
                      <a:pt x="573" y="541"/>
                    </a:cubicBezTo>
                    <a:cubicBezTo>
                      <a:pt x="574" y="541"/>
                      <a:pt x="575" y="543"/>
                      <a:pt x="575" y="544"/>
                    </a:cubicBezTo>
                    <a:cubicBezTo>
                      <a:pt x="576" y="545"/>
                      <a:pt x="576" y="546"/>
                      <a:pt x="578" y="547"/>
                    </a:cubicBezTo>
                    <a:cubicBezTo>
                      <a:pt x="579" y="547"/>
                      <a:pt x="580" y="548"/>
                      <a:pt x="581" y="549"/>
                    </a:cubicBezTo>
                    <a:cubicBezTo>
                      <a:pt x="581" y="551"/>
                      <a:pt x="582" y="553"/>
                      <a:pt x="582" y="555"/>
                    </a:cubicBezTo>
                    <a:cubicBezTo>
                      <a:pt x="582" y="559"/>
                      <a:pt x="583" y="562"/>
                      <a:pt x="583" y="566"/>
                    </a:cubicBezTo>
                    <a:cubicBezTo>
                      <a:pt x="583" y="568"/>
                      <a:pt x="582" y="572"/>
                      <a:pt x="584" y="574"/>
                    </a:cubicBezTo>
                    <a:cubicBezTo>
                      <a:pt x="585" y="575"/>
                      <a:pt x="588" y="576"/>
                      <a:pt x="589" y="577"/>
                    </a:cubicBezTo>
                    <a:cubicBezTo>
                      <a:pt x="591" y="578"/>
                      <a:pt x="593" y="579"/>
                      <a:pt x="595" y="580"/>
                    </a:cubicBezTo>
                    <a:cubicBezTo>
                      <a:pt x="597" y="580"/>
                      <a:pt x="598" y="581"/>
                      <a:pt x="600" y="582"/>
                    </a:cubicBezTo>
                    <a:cubicBezTo>
                      <a:pt x="601" y="582"/>
                      <a:pt x="604" y="582"/>
                      <a:pt x="605" y="582"/>
                    </a:cubicBezTo>
                    <a:cubicBezTo>
                      <a:pt x="606" y="581"/>
                      <a:pt x="605" y="579"/>
                      <a:pt x="605" y="578"/>
                    </a:cubicBezTo>
                    <a:cubicBezTo>
                      <a:pt x="605" y="577"/>
                      <a:pt x="606" y="576"/>
                      <a:pt x="606" y="574"/>
                    </a:cubicBezTo>
                    <a:cubicBezTo>
                      <a:pt x="606" y="572"/>
                      <a:pt x="606" y="570"/>
                      <a:pt x="606" y="568"/>
                    </a:cubicBezTo>
                    <a:cubicBezTo>
                      <a:pt x="607" y="565"/>
                      <a:pt x="608" y="562"/>
                      <a:pt x="610" y="560"/>
                    </a:cubicBezTo>
                    <a:cubicBezTo>
                      <a:pt x="611" y="559"/>
                      <a:pt x="612" y="559"/>
                      <a:pt x="612" y="557"/>
                    </a:cubicBezTo>
                    <a:cubicBezTo>
                      <a:pt x="612" y="556"/>
                      <a:pt x="612" y="555"/>
                      <a:pt x="612" y="555"/>
                    </a:cubicBezTo>
                    <a:cubicBezTo>
                      <a:pt x="612" y="554"/>
                      <a:pt x="612" y="552"/>
                      <a:pt x="612" y="55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03" name="Freeform 19">
                <a:extLst>
                  <a:ext uri="{FF2B5EF4-FFF2-40B4-BE49-F238E27FC236}">
                    <a16:creationId xmlns:a16="http://schemas.microsoft.com/office/drawing/2014/main" id="{DA1B1B07-0B67-45DE-9C52-9F8F80E260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7563" y="6280150"/>
                <a:ext cx="320675" cy="239713"/>
              </a:xfrm>
              <a:custGeom>
                <a:avLst/>
                <a:gdLst/>
                <a:ahLst/>
                <a:cxnLst>
                  <a:cxn ang="0">
                    <a:pos x="135" y="7"/>
                  </a:cxn>
                  <a:cxn ang="0">
                    <a:pos x="121" y="12"/>
                  </a:cxn>
                  <a:cxn ang="0">
                    <a:pos x="110" y="16"/>
                  </a:cxn>
                  <a:cxn ang="0">
                    <a:pos x="103" y="19"/>
                  </a:cxn>
                  <a:cxn ang="0">
                    <a:pos x="86" y="19"/>
                  </a:cxn>
                  <a:cxn ang="0">
                    <a:pos x="77" y="17"/>
                  </a:cxn>
                  <a:cxn ang="0">
                    <a:pos x="67" y="19"/>
                  </a:cxn>
                  <a:cxn ang="0">
                    <a:pos x="58" y="14"/>
                  </a:cxn>
                  <a:cxn ang="0">
                    <a:pos x="53" y="6"/>
                  </a:cxn>
                  <a:cxn ang="0">
                    <a:pos x="37" y="1"/>
                  </a:cxn>
                  <a:cxn ang="0">
                    <a:pos x="32" y="14"/>
                  </a:cxn>
                  <a:cxn ang="0">
                    <a:pos x="22" y="9"/>
                  </a:cxn>
                  <a:cxn ang="0">
                    <a:pos x="15" y="3"/>
                  </a:cxn>
                  <a:cxn ang="0">
                    <a:pos x="6" y="14"/>
                  </a:cxn>
                  <a:cxn ang="0">
                    <a:pos x="7" y="28"/>
                  </a:cxn>
                  <a:cxn ang="0">
                    <a:pos x="1" y="34"/>
                  </a:cxn>
                  <a:cxn ang="0">
                    <a:pos x="6" y="47"/>
                  </a:cxn>
                  <a:cxn ang="0">
                    <a:pos x="13" y="51"/>
                  </a:cxn>
                  <a:cxn ang="0">
                    <a:pos x="35" y="57"/>
                  </a:cxn>
                  <a:cxn ang="0">
                    <a:pos x="52" y="69"/>
                  </a:cxn>
                  <a:cxn ang="0">
                    <a:pos x="69" y="88"/>
                  </a:cxn>
                  <a:cxn ang="0">
                    <a:pos x="77" y="88"/>
                  </a:cxn>
                  <a:cxn ang="0">
                    <a:pos x="83" y="90"/>
                  </a:cxn>
                  <a:cxn ang="0">
                    <a:pos x="92" y="94"/>
                  </a:cxn>
                  <a:cxn ang="0">
                    <a:pos x="103" y="109"/>
                  </a:cxn>
                  <a:cxn ang="0">
                    <a:pos x="109" y="125"/>
                  </a:cxn>
                  <a:cxn ang="0">
                    <a:pos x="122" y="126"/>
                  </a:cxn>
                  <a:cxn ang="0">
                    <a:pos x="144" y="121"/>
                  </a:cxn>
                  <a:cxn ang="0">
                    <a:pos x="142" y="106"/>
                  </a:cxn>
                  <a:cxn ang="0">
                    <a:pos x="150" y="98"/>
                  </a:cxn>
                  <a:cxn ang="0">
                    <a:pos x="147" y="87"/>
                  </a:cxn>
                  <a:cxn ang="0">
                    <a:pos x="148" y="79"/>
                  </a:cxn>
                  <a:cxn ang="0">
                    <a:pos x="141" y="61"/>
                  </a:cxn>
                  <a:cxn ang="0">
                    <a:pos x="156" y="52"/>
                  </a:cxn>
                  <a:cxn ang="0">
                    <a:pos x="163" y="45"/>
                  </a:cxn>
                  <a:cxn ang="0">
                    <a:pos x="154" y="42"/>
                  </a:cxn>
                  <a:cxn ang="0">
                    <a:pos x="159" y="31"/>
                  </a:cxn>
                  <a:cxn ang="0">
                    <a:pos x="164" y="19"/>
                  </a:cxn>
                  <a:cxn ang="0">
                    <a:pos x="167" y="10"/>
                  </a:cxn>
                  <a:cxn ang="0">
                    <a:pos x="168" y="1"/>
                  </a:cxn>
                  <a:cxn ang="0">
                    <a:pos x="144" y="12"/>
                  </a:cxn>
                </a:cxnLst>
                <a:rect l="0" t="0" r="r" b="b"/>
                <a:pathLst>
                  <a:path w="171" h="128">
                    <a:moveTo>
                      <a:pt x="144" y="12"/>
                    </a:moveTo>
                    <a:cubicBezTo>
                      <a:pt x="141" y="11"/>
                      <a:pt x="138" y="8"/>
                      <a:pt x="135" y="7"/>
                    </a:cubicBezTo>
                    <a:cubicBezTo>
                      <a:pt x="133" y="7"/>
                      <a:pt x="132" y="8"/>
                      <a:pt x="130" y="8"/>
                    </a:cubicBezTo>
                    <a:cubicBezTo>
                      <a:pt x="126" y="8"/>
                      <a:pt x="123" y="10"/>
                      <a:pt x="121" y="12"/>
                    </a:cubicBezTo>
                    <a:cubicBezTo>
                      <a:pt x="120" y="13"/>
                      <a:pt x="118" y="14"/>
                      <a:pt x="117" y="15"/>
                    </a:cubicBezTo>
                    <a:cubicBezTo>
                      <a:pt x="115" y="16"/>
                      <a:pt x="113" y="15"/>
                      <a:pt x="110" y="16"/>
                    </a:cubicBezTo>
                    <a:cubicBezTo>
                      <a:pt x="109" y="17"/>
                      <a:pt x="108" y="17"/>
                      <a:pt x="106" y="17"/>
                    </a:cubicBezTo>
                    <a:cubicBezTo>
                      <a:pt x="105" y="18"/>
                      <a:pt x="105" y="19"/>
                      <a:pt x="103" y="19"/>
                    </a:cubicBezTo>
                    <a:cubicBezTo>
                      <a:pt x="100" y="21"/>
                      <a:pt x="95" y="19"/>
                      <a:pt x="91" y="19"/>
                    </a:cubicBezTo>
                    <a:cubicBezTo>
                      <a:pt x="90" y="19"/>
                      <a:pt x="87" y="20"/>
                      <a:pt x="86" y="19"/>
                    </a:cubicBezTo>
                    <a:cubicBezTo>
                      <a:pt x="85" y="19"/>
                      <a:pt x="86" y="18"/>
                      <a:pt x="85" y="18"/>
                    </a:cubicBezTo>
                    <a:cubicBezTo>
                      <a:pt x="82" y="17"/>
                      <a:pt x="80" y="17"/>
                      <a:pt x="77" y="17"/>
                    </a:cubicBezTo>
                    <a:cubicBezTo>
                      <a:pt x="74" y="17"/>
                      <a:pt x="71" y="17"/>
                      <a:pt x="68" y="18"/>
                    </a:cubicBezTo>
                    <a:cubicBezTo>
                      <a:pt x="67" y="19"/>
                      <a:pt x="68" y="19"/>
                      <a:pt x="67" y="19"/>
                    </a:cubicBezTo>
                    <a:cubicBezTo>
                      <a:pt x="65" y="20"/>
                      <a:pt x="64" y="19"/>
                      <a:pt x="63" y="18"/>
                    </a:cubicBezTo>
                    <a:cubicBezTo>
                      <a:pt x="61" y="17"/>
                      <a:pt x="59" y="15"/>
                      <a:pt x="58" y="14"/>
                    </a:cubicBezTo>
                    <a:cubicBezTo>
                      <a:pt x="57" y="13"/>
                      <a:pt x="57" y="11"/>
                      <a:pt x="56" y="10"/>
                    </a:cubicBezTo>
                    <a:cubicBezTo>
                      <a:pt x="55" y="9"/>
                      <a:pt x="54" y="8"/>
                      <a:pt x="53" y="6"/>
                    </a:cubicBezTo>
                    <a:cubicBezTo>
                      <a:pt x="51" y="3"/>
                      <a:pt x="49" y="1"/>
                      <a:pt x="44" y="0"/>
                    </a:cubicBezTo>
                    <a:cubicBezTo>
                      <a:pt x="42" y="0"/>
                      <a:pt x="39" y="0"/>
                      <a:pt x="37" y="1"/>
                    </a:cubicBezTo>
                    <a:cubicBezTo>
                      <a:pt x="36" y="2"/>
                      <a:pt x="37" y="6"/>
                      <a:pt x="36" y="7"/>
                    </a:cubicBezTo>
                    <a:cubicBezTo>
                      <a:pt x="36" y="11"/>
                      <a:pt x="34" y="12"/>
                      <a:pt x="32" y="14"/>
                    </a:cubicBezTo>
                    <a:cubicBezTo>
                      <a:pt x="31" y="14"/>
                      <a:pt x="28" y="16"/>
                      <a:pt x="27" y="16"/>
                    </a:cubicBezTo>
                    <a:cubicBezTo>
                      <a:pt x="26" y="16"/>
                      <a:pt x="23" y="10"/>
                      <a:pt x="22" y="9"/>
                    </a:cubicBezTo>
                    <a:cubicBezTo>
                      <a:pt x="21" y="7"/>
                      <a:pt x="20" y="3"/>
                      <a:pt x="19" y="2"/>
                    </a:cubicBezTo>
                    <a:cubicBezTo>
                      <a:pt x="18" y="1"/>
                      <a:pt x="16" y="2"/>
                      <a:pt x="15" y="3"/>
                    </a:cubicBezTo>
                    <a:cubicBezTo>
                      <a:pt x="14" y="5"/>
                      <a:pt x="15" y="6"/>
                      <a:pt x="13" y="8"/>
                    </a:cubicBezTo>
                    <a:cubicBezTo>
                      <a:pt x="10" y="10"/>
                      <a:pt x="7" y="11"/>
                      <a:pt x="6" y="14"/>
                    </a:cubicBezTo>
                    <a:cubicBezTo>
                      <a:pt x="5" y="15"/>
                      <a:pt x="4" y="17"/>
                      <a:pt x="4" y="18"/>
                    </a:cubicBezTo>
                    <a:cubicBezTo>
                      <a:pt x="4" y="21"/>
                      <a:pt x="8" y="25"/>
                      <a:pt x="7" y="28"/>
                    </a:cubicBezTo>
                    <a:cubicBezTo>
                      <a:pt x="7" y="30"/>
                      <a:pt x="5" y="30"/>
                      <a:pt x="4" y="31"/>
                    </a:cubicBezTo>
                    <a:cubicBezTo>
                      <a:pt x="3" y="31"/>
                      <a:pt x="2" y="33"/>
                      <a:pt x="1" y="34"/>
                    </a:cubicBezTo>
                    <a:cubicBezTo>
                      <a:pt x="0" y="37"/>
                      <a:pt x="2" y="41"/>
                      <a:pt x="3" y="43"/>
                    </a:cubicBezTo>
                    <a:cubicBezTo>
                      <a:pt x="4" y="46"/>
                      <a:pt x="4" y="46"/>
                      <a:pt x="6" y="47"/>
                    </a:cubicBezTo>
                    <a:cubicBezTo>
                      <a:pt x="8" y="47"/>
                      <a:pt x="9" y="47"/>
                      <a:pt x="11" y="48"/>
                    </a:cubicBezTo>
                    <a:cubicBezTo>
                      <a:pt x="11" y="49"/>
                      <a:pt x="12" y="50"/>
                      <a:pt x="13" y="51"/>
                    </a:cubicBezTo>
                    <a:cubicBezTo>
                      <a:pt x="16" y="54"/>
                      <a:pt x="19" y="52"/>
                      <a:pt x="23" y="52"/>
                    </a:cubicBezTo>
                    <a:cubicBezTo>
                      <a:pt x="28" y="52"/>
                      <a:pt x="32" y="52"/>
                      <a:pt x="35" y="57"/>
                    </a:cubicBezTo>
                    <a:cubicBezTo>
                      <a:pt x="37" y="60"/>
                      <a:pt x="40" y="60"/>
                      <a:pt x="43" y="62"/>
                    </a:cubicBezTo>
                    <a:cubicBezTo>
                      <a:pt x="46" y="63"/>
                      <a:pt x="50" y="66"/>
                      <a:pt x="52" y="69"/>
                    </a:cubicBezTo>
                    <a:cubicBezTo>
                      <a:pt x="54" y="74"/>
                      <a:pt x="58" y="81"/>
                      <a:pt x="62" y="84"/>
                    </a:cubicBezTo>
                    <a:cubicBezTo>
                      <a:pt x="64" y="85"/>
                      <a:pt x="67" y="86"/>
                      <a:pt x="69" y="88"/>
                    </a:cubicBezTo>
                    <a:cubicBezTo>
                      <a:pt x="71" y="88"/>
                      <a:pt x="72" y="89"/>
                      <a:pt x="74" y="89"/>
                    </a:cubicBezTo>
                    <a:cubicBezTo>
                      <a:pt x="75" y="89"/>
                      <a:pt x="75" y="88"/>
                      <a:pt x="77" y="88"/>
                    </a:cubicBezTo>
                    <a:cubicBezTo>
                      <a:pt x="78" y="88"/>
                      <a:pt x="79" y="89"/>
                      <a:pt x="80" y="90"/>
                    </a:cubicBezTo>
                    <a:cubicBezTo>
                      <a:pt x="81" y="90"/>
                      <a:pt x="82" y="90"/>
                      <a:pt x="83" y="90"/>
                    </a:cubicBezTo>
                    <a:cubicBezTo>
                      <a:pt x="85" y="90"/>
                      <a:pt x="86" y="90"/>
                      <a:pt x="88" y="90"/>
                    </a:cubicBezTo>
                    <a:cubicBezTo>
                      <a:pt x="91" y="90"/>
                      <a:pt x="91" y="92"/>
                      <a:pt x="92" y="94"/>
                    </a:cubicBezTo>
                    <a:cubicBezTo>
                      <a:pt x="94" y="97"/>
                      <a:pt x="97" y="98"/>
                      <a:pt x="100" y="101"/>
                    </a:cubicBezTo>
                    <a:cubicBezTo>
                      <a:pt x="103" y="103"/>
                      <a:pt x="103" y="106"/>
                      <a:pt x="103" y="109"/>
                    </a:cubicBezTo>
                    <a:cubicBezTo>
                      <a:pt x="103" y="113"/>
                      <a:pt x="103" y="117"/>
                      <a:pt x="105" y="121"/>
                    </a:cubicBezTo>
                    <a:cubicBezTo>
                      <a:pt x="106" y="124"/>
                      <a:pt x="106" y="125"/>
                      <a:pt x="109" y="125"/>
                    </a:cubicBezTo>
                    <a:cubicBezTo>
                      <a:pt x="111" y="125"/>
                      <a:pt x="114" y="124"/>
                      <a:pt x="116" y="124"/>
                    </a:cubicBezTo>
                    <a:cubicBezTo>
                      <a:pt x="118" y="124"/>
                      <a:pt x="120" y="125"/>
                      <a:pt x="122" y="126"/>
                    </a:cubicBezTo>
                    <a:cubicBezTo>
                      <a:pt x="127" y="128"/>
                      <a:pt x="132" y="127"/>
                      <a:pt x="136" y="128"/>
                    </a:cubicBezTo>
                    <a:cubicBezTo>
                      <a:pt x="140" y="128"/>
                      <a:pt x="146" y="125"/>
                      <a:pt x="144" y="121"/>
                    </a:cubicBezTo>
                    <a:cubicBezTo>
                      <a:pt x="143" y="117"/>
                      <a:pt x="138" y="114"/>
                      <a:pt x="140" y="110"/>
                    </a:cubicBezTo>
                    <a:cubicBezTo>
                      <a:pt x="140" y="108"/>
                      <a:pt x="141" y="107"/>
                      <a:pt x="142" y="106"/>
                    </a:cubicBezTo>
                    <a:cubicBezTo>
                      <a:pt x="144" y="103"/>
                      <a:pt x="146" y="103"/>
                      <a:pt x="148" y="101"/>
                    </a:cubicBezTo>
                    <a:cubicBezTo>
                      <a:pt x="149" y="100"/>
                      <a:pt x="149" y="99"/>
                      <a:pt x="150" y="98"/>
                    </a:cubicBezTo>
                    <a:cubicBezTo>
                      <a:pt x="152" y="97"/>
                      <a:pt x="153" y="97"/>
                      <a:pt x="153" y="94"/>
                    </a:cubicBezTo>
                    <a:cubicBezTo>
                      <a:pt x="153" y="89"/>
                      <a:pt x="149" y="91"/>
                      <a:pt x="147" y="87"/>
                    </a:cubicBezTo>
                    <a:cubicBezTo>
                      <a:pt x="146" y="86"/>
                      <a:pt x="146" y="84"/>
                      <a:pt x="146" y="83"/>
                    </a:cubicBezTo>
                    <a:cubicBezTo>
                      <a:pt x="146" y="81"/>
                      <a:pt x="147" y="81"/>
                      <a:pt x="148" y="79"/>
                    </a:cubicBezTo>
                    <a:cubicBezTo>
                      <a:pt x="149" y="76"/>
                      <a:pt x="143" y="72"/>
                      <a:pt x="142" y="70"/>
                    </a:cubicBezTo>
                    <a:cubicBezTo>
                      <a:pt x="139" y="66"/>
                      <a:pt x="140" y="65"/>
                      <a:pt x="141" y="61"/>
                    </a:cubicBezTo>
                    <a:cubicBezTo>
                      <a:pt x="142" y="57"/>
                      <a:pt x="147" y="52"/>
                      <a:pt x="151" y="52"/>
                    </a:cubicBezTo>
                    <a:cubicBezTo>
                      <a:pt x="153" y="52"/>
                      <a:pt x="154" y="52"/>
                      <a:pt x="156" y="52"/>
                    </a:cubicBezTo>
                    <a:cubicBezTo>
                      <a:pt x="157" y="53"/>
                      <a:pt x="158" y="55"/>
                      <a:pt x="160" y="54"/>
                    </a:cubicBezTo>
                    <a:cubicBezTo>
                      <a:pt x="165" y="53"/>
                      <a:pt x="167" y="48"/>
                      <a:pt x="163" y="45"/>
                    </a:cubicBezTo>
                    <a:cubicBezTo>
                      <a:pt x="162" y="44"/>
                      <a:pt x="160" y="43"/>
                      <a:pt x="158" y="43"/>
                    </a:cubicBezTo>
                    <a:cubicBezTo>
                      <a:pt x="157" y="42"/>
                      <a:pt x="155" y="43"/>
                      <a:pt x="154" y="42"/>
                    </a:cubicBezTo>
                    <a:cubicBezTo>
                      <a:pt x="152" y="41"/>
                      <a:pt x="152" y="37"/>
                      <a:pt x="152" y="35"/>
                    </a:cubicBezTo>
                    <a:cubicBezTo>
                      <a:pt x="153" y="31"/>
                      <a:pt x="156" y="31"/>
                      <a:pt x="159" y="31"/>
                    </a:cubicBezTo>
                    <a:cubicBezTo>
                      <a:pt x="165" y="29"/>
                      <a:pt x="162" y="27"/>
                      <a:pt x="163" y="22"/>
                    </a:cubicBezTo>
                    <a:cubicBezTo>
                      <a:pt x="163" y="21"/>
                      <a:pt x="164" y="20"/>
                      <a:pt x="164" y="19"/>
                    </a:cubicBezTo>
                    <a:cubicBezTo>
                      <a:pt x="164" y="17"/>
                      <a:pt x="163" y="15"/>
                      <a:pt x="164" y="14"/>
                    </a:cubicBezTo>
                    <a:cubicBezTo>
                      <a:pt x="164" y="12"/>
                      <a:pt x="166" y="11"/>
                      <a:pt x="167" y="10"/>
                    </a:cubicBezTo>
                    <a:cubicBezTo>
                      <a:pt x="169" y="9"/>
                      <a:pt x="170" y="6"/>
                      <a:pt x="171" y="5"/>
                    </a:cubicBezTo>
                    <a:cubicBezTo>
                      <a:pt x="171" y="3"/>
                      <a:pt x="170" y="1"/>
                      <a:pt x="168" y="1"/>
                    </a:cubicBezTo>
                    <a:cubicBezTo>
                      <a:pt x="166" y="1"/>
                      <a:pt x="165" y="4"/>
                      <a:pt x="164" y="5"/>
                    </a:cubicBezTo>
                    <a:lnTo>
                      <a:pt x="144" y="1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04" name="Freeform 20">
                <a:extLst>
                  <a:ext uri="{FF2B5EF4-FFF2-40B4-BE49-F238E27FC236}">
                    <a16:creationId xmlns:a16="http://schemas.microsoft.com/office/drawing/2014/main" id="{2195CFF8-BF7A-440F-88E3-B3E48CC938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0688" y="5835650"/>
                <a:ext cx="161925" cy="334963"/>
              </a:xfrm>
              <a:custGeom>
                <a:avLst/>
                <a:gdLst/>
                <a:ahLst/>
                <a:cxnLst>
                  <a:cxn ang="0">
                    <a:pos x="69" y="8"/>
                  </a:cxn>
                  <a:cxn ang="0">
                    <a:pos x="74" y="14"/>
                  </a:cxn>
                  <a:cxn ang="0">
                    <a:pos x="77" y="21"/>
                  </a:cxn>
                  <a:cxn ang="0">
                    <a:pos x="77" y="28"/>
                  </a:cxn>
                  <a:cxn ang="0">
                    <a:pos x="85" y="34"/>
                  </a:cxn>
                  <a:cxn ang="0">
                    <a:pos x="87" y="46"/>
                  </a:cxn>
                  <a:cxn ang="0">
                    <a:pos x="86" y="56"/>
                  </a:cxn>
                  <a:cxn ang="0">
                    <a:pos x="85" y="65"/>
                  </a:cxn>
                  <a:cxn ang="0">
                    <a:pos x="83" y="72"/>
                  </a:cxn>
                  <a:cxn ang="0">
                    <a:pos x="77" y="76"/>
                  </a:cxn>
                  <a:cxn ang="0">
                    <a:pos x="75" y="80"/>
                  </a:cxn>
                  <a:cxn ang="0">
                    <a:pos x="79" y="90"/>
                  </a:cxn>
                  <a:cxn ang="0">
                    <a:pos x="76" y="114"/>
                  </a:cxn>
                  <a:cxn ang="0">
                    <a:pos x="75" y="126"/>
                  </a:cxn>
                  <a:cxn ang="0">
                    <a:pos x="74" y="132"/>
                  </a:cxn>
                  <a:cxn ang="0">
                    <a:pos x="73" y="138"/>
                  </a:cxn>
                  <a:cxn ang="0">
                    <a:pos x="72" y="145"/>
                  </a:cxn>
                  <a:cxn ang="0">
                    <a:pos x="70" y="152"/>
                  </a:cxn>
                  <a:cxn ang="0">
                    <a:pos x="69" y="153"/>
                  </a:cxn>
                  <a:cxn ang="0">
                    <a:pos x="68" y="162"/>
                  </a:cxn>
                  <a:cxn ang="0">
                    <a:pos x="64" y="162"/>
                  </a:cxn>
                  <a:cxn ang="0">
                    <a:pos x="57" y="156"/>
                  </a:cxn>
                  <a:cxn ang="0">
                    <a:pos x="53" y="155"/>
                  </a:cxn>
                  <a:cxn ang="0">
                    <a:pos x="40" y="150"/>
                  </a:cxn>
                  <a:cxn ang="0">
                    <a:pos x="41" y="157"/>
                  </a:cxn>
                  <a:cxn ang="0">
                    <a:pos x="34" y="175"/>
                  </a:cxn>
                  <a:cxn ang="0">
                    <a:pos x="21" y="178"/>
                  </a:cxn>
                  <a:cxn ang="0">
                    <a:pos x="17" y="179"/>
                  </a:cxn>
                  <a:cxn ang="0">
                    <a:pos x="14" y="165"/>
                  </a:cxn>
                  <a:cxn ang="0">
                    <a:pos x="8" y="155"/>
                  </a:cxn>
                  <a:cxn ang="0">
                    <a:pos x="6" y="151"/>
                  </a:cxn>
                  <a:cxn ang="0">
                    <a:pos x="9" y="138"/>
                  </a:cxn>
                  <a:cxn ang="0">
                    <a:pos x="14" y="131"/>
                  </a:cxn>
                  <a:cxn ang="0">
                    <a:pos x="12" y="120"/>
                  </a:cxn>
                  <a:cxn ang="0">
                    <a:pos x="17" y="116"/>
                  </a:cxn>
                  <a:cxn ang="0">
                    <a:pos x="19" y="110"/>
                  </a:cxn>
                  <a:cxn ang="0">
                    <a:pos x="18" y="104"/>
                  </a:cxn>
                  <a:cxn ang="0">
                    <a:pos x="13" y="102"/>
                  </a:cxn>
                  <a:cxn ang="0">
                    <a:pos x="10" y="105"/>
                  </a:cxn>
                  <a:cxn ang="0">
                    <a:pos x="11" y="98"/>
                  </a:cxn>
                  <a:cxn ang="0">
                    <a:pos x="13" y="88"/>
                  </a:cxn>
                  <a:cxn ang="0">
                    <a:pos x="17" y="85"/>
                  </a:cxn>
                  <a:cxn ang="0">
                    <a:pos x="17" y="68"/>
                  </a:cxn>
                  <a:cxn ang="0">
                    <a:pos x="12" y="58"/>
                  </a:cxn>
                  <a:cxn ang="0">
                    <a:pos x="11" y="52"/>
                  </a:cxn>
                  <a:cxn ang="0">
                    <a:pos x="8" y="48"/>
                  </a:cxn>
                  <a:cxn ang="0">
                    <a:pos x="3" y="43"/>
                  </a:cxn>
                  <a:cxn ang="0">
                    <a:pos x="6" y="32"/>
                  </a:cxn>
                  <a:cxn ang="0">
                    <a:pos x="7" y="24"/>
                  </a:cxn>
                  <a:cxn ang="0">
                    <a:pos x="9" y="16"/>
                  </a:cxn>
                  <a:cxn ang="0">
                    <a:pos x="13" y="12"/>
                  </a:cxn>
                  <a:cxn ang="0">
                    <a:pos x="10" y="19"/>
                  </a:cxn>
                  <a:cxn ang="0">
                    <a:pos x="17" y="22"/>
                  </a:cxn>
                  <a:cxn ang="0">
                    <a:pos x="27" y="23"/>
                  </a:cxn>
                  <a:cxn ang="0">
                    <a:pos x="32" y="25"/>
                  </a:cxn>
                  <a:cxn ang="0">
                    <a:pos x="38" y="22"/>
                  </a:cxn>
                  <a:cxn ang="0">
                    <a:pos x="47" y="14"/>
                  </a:cxn>
                  <a:cxn ang="0">
                    <a:pos x="52" y="10"/>
                  </a:cxn>
                  <a:cxn ang="0">
                    <a:pos x="56" y="2"/>
                  </a:cxn>
                </a:cxnLst>
                <a:rect l="0" t="0" r="r" b="b"/>
                <a:pathLst>
                  <a:path w="87" h="179">
                    <a:moveTo>
                      <a:pt x="67" y="5"/>
                    </a:moveTo>
                    <a:cubicBezTo>
                      <a:pt x="67" y="6"/>
                      <a:pt x="68" y="8"/>
                      <a:pt x="69" y="8"/>
                    </a:cubicBezTo>
                    <a:cubicBezTo>
                      <a:pt x="71" y="9"/>
                      <a:pt x="73" y="9"/>
                      <a:pt x="73" y="11"/>
                    </a:cubicBezTo>
                    <a:cubicBezTo>
                      <a:pt x="74" y="12"/>
                      <a:pt x="73" y="13"/>
                      <a:pt x="74" y="14"/>
                    </a:cubicBezTo>
                    <a:cubicBezTo>
                      <a:pt x="74" y="15"/>
                      <a:pt x="75" y="14"/>
                      <a:pt x="76" y="15"/>
                    </a:cubicBezTo>
                    <a:cubicBezTo>
                      <a:pt x="77" y="16"/>
                      <a:pt x="77" y="19"/>
                      <a:pt x="77" y="21"/>
                    </a:cubicBezTo>
                    <a:cubicBezTo>
                      <a:pt x="77" y="22"/>
                      <a:pt x="77" y="23"/>
                      <a:pt x="76" y="25"/>
                    </a:cubicBezTo>
                    <a:cubicBezTo>
                      <a:pt x="76" y="26"/>
                      <a:pt x="76" y="27"/>
                      <a:pt x="77" y="28"/>
                    </a:cubicBezTo>
                    <a:cubicBezTo>
                      <a:pt x="79" y="30"/>
                      <a:pt x="81" y="29"/>
                      <a:pt x="83" y="30"/>
                    </a:cubicBezTo>
                    <a:cubicBezTo>
                      <a:pt x="85" y="31"/>
                      <a:pt x="85" y="32"/>
                      <a:pt x="85" y="34"/>
                    </a:cubicBezTo>
                    <a:cubicBezTo>
                      <a:pt x="85" y="37"/>
                      <a:pt x="87" y="40"/>
                      <a:pt x="87" y="43"/>
                    </a:cubicBezTo>
                    <a:cubicBezTo>
                      <a:pt x="87" y="44"/>
                      <a:pt x="87" y="45"/>
                      <a:pt x="87" y="46"/>
                    </a:cubicBezTo>
                    <a:cubicBezTo>
                      <a:pt x="87" y="48"/>
                      <a:pt x="86" y="49"/>
                      <a:pt x="86" y="50"/>
                    </a:cubicBezTo>
                    <a:cubicBezTo>
                      <a:pt x="86" y="52"/>
                      <a:pt x="86" y="54"/>
                      <a:pt x="86" y="56"/>
                    </a:cubicBezTo>
                    <a:cubicBezTo>
                      <a:pt x="86" y="58"/>
                      <a:pt x="86" y="60"/>
                      <a:pt x="86" y="62"/>
                    </a:cubicBezTo>
                    <a:cubicBezTo>
                      <a:pt x="85" y="63"/>
                      <a:pt x="85" y="64"/>
                      <a:pt x="85" y="65"/>
                    </a:cubicBezTo>
                    <a:cubicBezTo>
                      <a:pt x="85" y="66"/>
                      <a:pt x="85" y="67"/>
                      <a:pt x="85" y="68"/>
                    </a:cubicBezTo>
                    <a:cubicBezTo>
                      <a:pt x="84" y="69"/>
                      <a:pt x="83" y="71"/>
                      <a:pt x="83" y="72"/>
                    </a:cubicBezTo>
                    <a:cubicBezTo>
                      <a:pt x="82" y="73"/>
                      <a:pt x="81" y="74"/>
                      <a:pt x="81" y="74"/>
                    </a:cubicBezTo>
                    <a:cubicBezTo>
                      <a:pt x="79" y="75"/>
                      <a:pt x="77" y="74"/>
                      <a:pt x="77" y="76"/>
                    </a:cubicBezTo>
                    <a:cubicBezTo>
                      <a:pt x="76" y="76"/>
                      <a:pt x="77" y="77"/>
                      <a:pt x="76" y="78"/>
                    </a:cubicBezTo>
                    <a:cubicBezTo>
                      <a:pt x="76" y="79"/>
                      <a:pt x="76" y="79"/>
                      <a:pt x="75" y="80"/>
                    </a:cubicBezTo>
                    <a:cubicBezTo>
                      <a:pt x="75" y="81"/>
                      <a:pt x="75" y="84"/>
                      <a:pt x="76" y="86"/>
                    </a:cubicBezTo>
                    <a:cubicBezTo>
                      <a:pt x="77" y="87"/>
                      <a:pt x="78" y="88"/>
                      <a:pt x="79" y="90"/>
                    </a:cubicBezTo>
                    <a:cubicBezTo>
                      <a:pt x="79" y="91"/>
                      <a:pt x="80" y="92"/>
                      <a:pt x="80" y="94"/>
                    </a:cubicBezTo>
                    <a:cubicBezTo>
                      <a:pt x="79" y="101"/>
                      <a:pt x="77" y="107"/>
                      <a:pt x="76" y="114"/>
                    </a:cubicBezTo>
                    <a:cubicBezTo>
                      <a:pt x="76" y="117"/>
                      <a:pt x="76" y="119"/>
                      <a:pt x="76" y="122"/>
                    </a:cubicBezTo>
                    <a:cubicBezTo>
                      <a:pt x="76" y="123"/>
                      <a:pt x="76" y="125"/>
                      <a:pt x="75" y="126"/>
                    </a:cubicBezTo>
                    <a:cubicBezTo>
                      <a:pt x="75" y="128"/>
                      <a:pt x="75" y="129"/>
                      <a:pt x="75" y="130"/>
                    </a:cubicBezTo>
                    <a:cubicBezTo>
                      <a:pt x="75" y="131"/>
                      <a:pt x="74" y="131"/>
                      <a:pt x="74" y="132"/>
                    </a:cubicBezTo>
                    <a:cubicBezTo>
                      <a:pt x="74" y="133"/>
                      <a:pt x="74" y="134"/>
                      <a:pt x="73" y="135"/>
                    </a:cubicBezTo>
                    <a:cubicBezTo>
                      <a:pt x="73" y="136"/>
                      <a:pt x="73" y="137"/>
                      <a:pt x="73" y="138"/>
                    </a:cubicBezTo>
                    <a:cubicBezTo>
                      <a:pt x="72" y="140"/>
                      <a:pt x="73" y="142"/>
                      <a:pt x="72" y="143"/>
                    </a:cubicBezTo>
                    <a:cubicBezTo>
                      <a:pt x="72" y="144"/>
                      <a:pt x="72" y="145"/>
                      <a:pt x="72" y="145"/>
                    </a:cubicBezTo>
                    <a:cubicBezTo>
                      <a:pt x="71" y="147"/>
                      <a:pt x="71" y="148"/>
                      <a:pt x="71" y="150"/>
                    </a:cubicBezTo>
                    <a:cubicBezTo>
                      <a:pt x="71" y="151"/>
                      <a:pt x="70" y="151"/>
                      <a:pt x="70" y="152"/>
                    </a:cubicBezTo>
                    <a:cubicBezTo>
                      <a:pt x="70" y="152"/>
                      <a:pt x="69" y="152"/>
                      <a:pt x="69" y="153"/>
                    </a:cubicBezTo>
                    <a:cubicBezTo>
                      <a:pt x="69" y="153"/>
                      <a:pt x="69" y="153"/>
                      <a:pt x="69" y="153"/>
                    </a:cubicBezTo>
                    <a:cubicBezTo>
                      <a:pt x="68" y="155"/>
                      <a:pt x="68" y="156"/>
                      <a:pt x="68" y="158"/>
                    </a:cubicBezTo>
                    <a:cubicBezTo>
                      <a:pt x="68" y="158"/>
                      <a:pt x="68" y="161"/>
                      <a:pt x="68" y="162"/>
                    </a:cubicBezTo>
                    <a:cubicBezTo>
                      <a:pt x="67" y="162"/>
                      <a:pt x="67" y="161"/>
                      <a:pt x="66" y="161"/>
                    </a:cubicBezTo>
                    <a:cubicBezTo>
                      <a:pt x="65" y="161"/>
                      <a:pt x="65" y="162"/>
                      <a:pt x="64" y="162"/>
                    </a:cubicBezTo>
                    <a:cubicBezTo>
                      <a:pt x="63" y="163"/>
                      <a:pt x="61" y="163"/>
                      <a:pt x="60" y="161"/>
                    </a:cubicBezTo>
                    <a:cubicBezTo>
                      <a:pt x="59" y="159"/>
                      <a:pt x="59" y="158"/>
                      <a:pt x="57" y="156"/>
                    </a:cubicBezTo>
                    <a:cubicBezTo>
                      <a:pt x="57" y="155"/>
                      <a:pt x="57" y="155"/>
                      <a:pt x="55" y="155"/>
                    </a:cubicBezTo>
                    <a:cubicBezTo>
                      <a:pt x="55" y="154"/>
                      <a:pt x="54" y="155"/>
                      <a:pt x="53" y="155"/>
                    </a:cubicBezTo>
                    <a:cubicBezTo>
                      <a:pt x="49" y="154"/>
                      <a:pt x="47" y="152"/>
                      <a:pt x="44" y="150"/>
                    </a:cubicBezTo>
                    <a:cubicBezTo>
                      <a:pt x="44" y="150"/>
                      <a:pt x="41" y="149"/>
                      <a:pt x="40" y="150"/>
                    </a:cubicBezTo>
                    <a:cubicBezTo>
                      <a:pt x="39" y="152"/>
                      <a:pt x="42" y="153"/>
                      <a:pt x="42" y="154"/>
                    </a:cubicBezTo>
                    <a:cubicBezTo>
                      <a:pt x="43" y="155"/>
                      <a:pt x="42" y="156"/>
                      <a:pt x="41" y="157"/>
                    </a:cubicBezTo>
                    <a:cubicBezTo>
                      <a:pt x="39" y="160"/>
                      <a:pt x="41" y="162"/>
                      <a:pt x="41" y="166"/>
                    </a:cubicBezTo>
                    <a:cubicBezTo>
                      <a:pt x="41" y="170"/>
                      <a:pt x="38" y="173"/>
                      <a:pt x="34" y="175"/>
                    </a:cubicBezTo>
                    <a:cubicBezTo>
                      <a:pt x="31" y="176"/>
                      <a:pt x="28" y="176"/>
                      <a:pt x="25" y="177"/>
                    </a:cubicBezTo>
                    <a:cubicBezTo>
                      <a:pt x="24" y="177"/>
                      <a:pt x="23" y="178"/>
                      <a:pt x="21" y="178"/>
                    </a:cubicBezTo>
                    <a:cubicBezTo>
                      <a:pt x="21" y="178"/>
                      <a:pt x="20" y="177"/>
                      <a:pt x="19" y="178"/>
                    </a:cubicBezTo>
                    <a:cubicBezTo>
                      <a:pt x="18" y="178"/>
                      <a:pt x="18" y="179"/>
                      <a:pt x="17" y="179"/>
                    </a:cubicBezTo>
                    <a:cubicBezTo>
                      <a:pt x="16" y="176"/>
                      <a:pt x="16" y="173"/>
                      <a:pt x="15" y="170"/>
                    </a:cubicBezTo>
                    <a:cubicBezTo>
                      <a:pt x="15" y="168"/>
                      <a:pt x="15" y="167"/>
                      <a:pt x="14" y="165"/>
                    </a:cubicBezTo>
                    <a:cubicBezTo>
                      <a:pt x="13" y="163"/>
                      <a:pt x="11" y="161"/>
                      <a:pt x="10" y="158"/>
                    </a:cubicBezTo>
                    <a:cubicBezTo>
                      <a:pt x="10" y="157"/>
                      <a:pt x="9" y="157"/>
                      <a:pt x="8" y="155"/>
                    </a:cubicBezTo>
                    <a:cubicBezTo>
                      <a:pt x="7" y="154"/>
                      <a:pt x="6" y="154"/>
                      <a:pt x="5" y="153"/>
                    </a:cubicBezTo>
                    <a:cubicBezTo>
                      <a:pt x="4" y="152"/>
                      <a:pt x="5" y="152"/>
                      <a:pt x="6" y="151"/>
                    </a:cubicBezTo>
                    <a:cubicBezTo>
                      <a:pt x="8" y="149"/>
                      <a:pt x="9" y="144"/>
                      <a:pt x="9" y="141"/>
                    </a:cubicBezTo>
                    <a:cubicBezTo>
                      <a:pt x="9" y="140"/>
                      <a:pt x="8" y="139"/>
                      <a:pt x="9" y="138"/>
                    </a:cubicBezTo>
                    <a:cubicBezTo>
                      <a:pt x="9" y="137"/>
                      <a:pt x="9" y="137"/>
                      <a:pt x="10" y="137"/>
                    </a:cubicBezTo>
                    <a:cubicBezTo>
                      <a:pt x="12" y="135"/>
                      <a:pt x="13" y="133"/>
                      <a:pt x="14" y="131"/>
                    </a:cubicBezTo>
                    <a:cubicBezTo>
                      <a:pt x="14" y="129"/>
                      <a:pt x="15" y="126"/>
                      <a:pt x="14" y="124"/>
                    </a:cubicBezTo>
                    <a:cubicBezTo>
                      <a:pt x="14" y="123"/>
                      <a:pt x="13" y="122"/>
                      <a:pt x="12" y="120"/>
                    </a:cubicBezTo>
                    <a:cubicBezTo>
                      <a:pt x="12" y="117"/>
                      <a:pt x="15" y="116"/>
                      <a:pt x="15" y="113"/>
                    </a:cubicBezTo>
                    <a:cubicBezTo>
                      <a:pt x="15" y="114"/>
                      <a:pt x="16" y="116"/>
                      <a:pt x="17" y="116"/>
                    </a:cubicBezTo>
                    <a:cubicBezTo>
                      <a:pt x="17" y="115"/>
                      <a:pt x="17" y="115"/>
                      <a:pt x="18" y="114"/>
                    </a:cubicBezTo>
                    <a:cubicBezTo>
                      <a:pt x="19" y="112"/>
                      <a:pt x="19" y="111"/>
                      <a:pt x="19" y="110"/>
                    </a:cubicBezTo>
                    <a:cubicBezTo>
                      <a:pt x="20" y="108"/>
                      <a:pt x="24" y="106"/>
                      <a:pt x="22" y="104"/>
                    </a:cubicBezTo>
                    <a:cubicBezTo>
                      <a:pt x="21" y="104"/>
                      <a:pt x="19" y="104"/>
                      <a:pt x="18" y="104"/>
                    </a:cubicBezTo>
                    <a:cubicBezTo>
                      <a:pt x="16" y="104"/>
                      <a:pt x="17" y="103"/>
                      <a:pt x="16" y="102"/>
                    </a:cubicBezTo>
                    <a:cubicBezTo>
                      <a:pt x="15" y="100"/>
                      <a:pt x="15" y="101"/>
                      <a:pt x="13" y="102"/>
                    </a:cubicBezTo>
                    <a:cubicBezTo>
                      <a:pt x="13" y="102"/>
                      <a:pt x="12" y="102"/>
                      <a:pt x="12" y="103"/>
                    </a:cubicBezTo>
                    <a:cubicBezTo>
                      <a:pt x="11" y="103"/>
                      <a:pt x="11" y="104"/>
                      <a:pt x="10" y="105"/>
                    </a:cubicBezTo>
                    <a:cubicBezTo>
                      <a:pt x="9" y="105"/>
                      <a:pt x="9" y="104"/>
                      <a:pt x="9" y="103"/>
                    </a:cubicBezTo>
                    <a:cubicBezTo>
                      <a:pt x="10" y="101"/>
                      <a:pt x="11" y="100"/>
                      <a:pt x="11" y="98"/>
                    </a:cubicBezTo>
                    <a:cubicBezTo>
                      <a:pt x="11" y="97"/>
                      <a:pt x="11" y="94"/>
                      <a:pt x="12" y="93"/>
                    </a:cubicBezTo>
                    <a:cubicBezTo>
                      <a:pt x="13" y="91"/>
                      <a:pt x="13" y="90"/>
                      <a:pt x="13" y="88"/>
                    </a:cubicBezTo>
                    <a:cubicBezTo>
                      <a:pt x="15" y="87"/>
                      <a:pt x="20" y="89"/>
                      <a:pt x="21" y="87"/>
                    </a:cubicBezTo>
                    <a:cubicBezTo>
                      <a:pt x="22" y="85"/>
                      <a:pt x="18" y="85"/>
                      <a:pt x="17" y="85"/>
                    </a:cubicBezTo>
                    <a:cubicBezTo>
                      <a:pt x="16" y="82"/>
                      <a:pt x="17" y="78"/>
                      <a:pt x="17" y="74"/>
                    </a:cubicBezTo>
                    <a:cubicBezTo>
                      <a:pt x="17" y="73"/>
                      <a:pt x="17" y="69"/>
                      <a:pt x="17" y="68"/>
                    </a:cubicBezTo>
                    <a:cubicBezTo>
                      <a:pt x="16" y="67"/>
                      <a:pt x="14" y="66"/>
                      <a:pt x="13" y="66"/>
                    </a:cubicBezTo>
                    <a:cubicBezTo>
                      <a:pt x="12" y="63"/>
                      <a:pt x="13" y="61"/>
                      <a:pt x="12" y="58"/>
                    </a:cubicBezTo>
                    <a:cubicBezTo>
                      <a:pt x="12" y="56"/>
                      <a:pt x="12" y="55"/>
                      <a:pt x="11" y="53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0" y="51"/>
                      <a:pt x="9" y="51"/>
                      <a:pt x="9" y="50"/>
                    </a:cubicBezTo>
                    <a:cubicBezTo>
                      <a:pt x="8" y="49"/>
                      <a:pt x="8" y="48"/>
                      <a:pt x="8" y="48"/>
                    </a:cubicBezTo>
                    <a:cubicBezTo>
                      <a:pt x="7" y="46"/>
                      <a:pt x="7" y="47"/>
                      <a:pt x="5" y="47"/>
                    </a:cubicBezTo>
                    <a:cubicBezTo>
                      <a:pt x="3" y="46"/>
                      <a:pt x="0" y="45"/>
                      <a:pt x="3" y="43"/>
                    </a:cubicBezTo>
                    <a:cubicBezTo>
                      <a:pt x="4" y="41"/>
                      <a:pt x="5" y="41"/>
                      <a:pt x="5" y="39"/>
                    </a:cubicBezTo>
                    <a:cubicBezTo>
                      <a:pt x="5" y="36"/>
                      <a:pt x="5" y="34"/>
                      <a:pt x="6" y="32"/>
                    </a:cubicBezTo>
                    <a:cubicBezTo>
                      <a:pt x="6" y="30"/>
                      <a:pt x="5" y="28"/>
                      <a:pt x="6" y="27"/>
                    </a:cubicBezTo>
                    <a:cubicBezTo>
                      <a:pt x="6" y="26"/>
                      <a:pt x="7" y="25"/>
                      <a:pt x="7" y="24"/>
                    </a:cubicBezTo>
                    <a:cubicBezTo>
                      <a:pt x="8" y="23"/>
                      <a:pt x="8" y="21"/>
                      <a:pt x="8" y="20"/>
                    </a:cubicBezTo>
                    <a:cubicBezTo>
                      <a:pt x="9" y="19"/>
                      <a:pt x="9" y="17"/>
                      <a:pt x="9" y="16"/>
                    </a:cubicBezTo>
                    <a:cubicBezTo>
                      <a:pt x="9" y="14"/>
                      <a:pt x="9" y="13"/>
                      <a:pt x="11" y="12"/>
                    </a:cubicBezTo>
                    <a:cubicBezTo>
                      <a:pt x="11" y="12"/>
                      <a:pt x="12" y="11"/>
                      <a:pt x="13" y="12"/>
                    </a:cubicBezTo>
                    <a:cubicBezTo>
                      <a:pt x="13" y="13"/>
                      <a:pt x="11" y="15"/>
                      <a:pt x="11" y="15"/>
                    </a:cubicBezTo>
                    <a:cubicBezTo>
                      <a:pt x="9" y="17"/>
                      <a:pt x="10" y="17"/>
                      <a:pt x="10" y="19"/>
                    </a:cubicBezTo>
                    <a:cubicBezTo>
                      <a:pt x="10" y="21"/>
                      <a:pt x="10" y="20"/>
                      <a:pt x="11" y="21"/>
                    </a:cubicBezTo>
                    <a:cubicBezTo>
                      <a:pt x="13" y="22"/>
                      <a:pt x="15" y="22"/>
                      <a:pt x="17" y="22"/>
                    </a:cubicBezTo>
                    <a:cubicBezTo>
                      <a:pt x="19" y="22"/>
                      <a:pt x="21" y="21"/>
                      <a:pt x="24" y="21"/>
                    </a:cubicBezTo>
                    <a:cubicBezTo>
                      <a:pt x="25" y="22"/>
                      <a:pt x="26" y="23"/>
                      <a:pt x="27" y="23"/>
                    </a:cubicBezTo>
                    <a:cubicBezTo>
                      <a:pt x="27" y="23"/>
                      <a:pt x="28" y="23"/>
                      <a:pt x="29" y="23"/>
                    </a:cubicBezTo>
                    <a:cubicBezTo>
                      <a:pt x="29" y="24"/>
                      <a:pt x="31" y="25"/>
                      <a:pt x="32" y="25"/>
                    </a:cubicBezTo>
                    <a:cubicBezTo>
                      <a:pt x="32" y="25"/>
                      <a:pt x="33" y="24"/>
                      <a:pt x="34" y="23"/>
                    </a:cubicBezTo>
                    <a:cubicBezTo>
                      <a:pt x="35" y="22"/>
                      <a:pt x="36" y="22"/>
                      <a:pt x="38" y="22"/>
                    </a:cubicBezTo>
                    <a:cubicBezTo>
                      <a:pt x="41" y="21"/>
                      <a:pt x="40" y="18"/>
                      <a:pt x="42" y="16"/>
                    </a:cubicBezTo>
                    <a:cubicBezTo>
                      <a:pt x="44" y="14"/>
                      <a:pt x="45" y="14"/>
                      <a:pt x="47" y="14"/>
                    </a:cubicBezTo>
                    <a:cubicBezTo>
                      <a:pt x="48" y="13"/>
                      <a:pt x="49" y="12"/>
                      <a:pt x="50" y="11"/>
                    </a:cubicBezTo>
                    <a:cubicBezTo>
                      <a:pt x="51" y="11"/>
                      <a:pt x="52" y="10"/>
                      <a:pt x="52" y="10"/>
                    </a:cubicBezTo>
                    <a:cubicBezTo>
                      <a:pt x="53" y="9"/>
                      <a:pt x="53" y="8"/>
                      <a:pt x="53" y="7"/>
                    </a:cubicBezTo>
                    <a:cubicBezTo>
                      <a:pt x="53" y="4"/>
                      <a:pt x="54" y="3"/>
                      <a:pt x="56" y="2"/>
                    </a:cubicBezTo>
                    <a:cubicBezTo>
                      <a:pt x="59" y="0"/>
                      <a:pt x="65" y="1"/>
                      <a:pt x="67" y="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05" name="Freeform 21">
                <a:extLst>
                  <a:ext uri="{FF2B5EF4-FFF2-40B4-BE49-F238E27FC236}">
                    <a16:creationId xmlns:a16="http://schemas.microsoft.com/office/drawing/2014/main" id="{FA1D1394-977A-4A8C-BED1-77216F1C3C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9500" y="3751263"/>
                <a:ext cx="1041400" cy="944563"/>
              </a:xfrm>
              <a:custGeom>
                <a:avLst/>
                <a:gdLst/>
                <a:ahLst/>
                <a:cxnLst>
                  <a:cxn ang="0">
                    <a:pos x="549" y="385"/>
                  </a:cxn>
                  <a:cxn ang="0">
                    <a:pos x="543" y="329"/>
                  </a:cxn>
                  <a:cxn ang="0">
                    <a:pos x="531" y="290"/>
                  </a:cxn>
                  <a:cxn ang="0">
                    <a:pos x="533" y="257"/>
                  </a:cxn>
                  <a:cxn ang="0">
                    <a:pos x="522" y="235"/>
                  </a:cxn>
                  <a:cxn ang="0">
                    <a:pos x="532" y="203"/>
                  </a:cxn>
                  <a:cxn ang="0">
                    <a:pos x="552" y="184"/>
                  </a:cxn>
                  <a:cxn ang="0">
                    <a:pos x="546" y="161"/>
                  </a:cxn>
                  <a:cxn ang="0">
                    <a:pos x="524" y="97"/>
                  </a:cxn>
                  <a:cxn ang="0">
                    <a:pos x="518" y="61"/>
                  </a:cxn>
                  <a:cxn ang="0">
                    <a:pos x="473" y="42"/>
                  </a:cxn>
                  <a:cxn ang="0">
                    <a:pos x="315" y="39"/>
                  </a:cxn>
                  <a:cxn ang="0">
                    <a:pos x="293" y="41"/>
                  </a:cxn>
                  <a:cxn ang="0">
                    <a:pos x="243" y="1"/>
                  </a:cxn>
                  <a:cxn ang="0">
                    <a:pos x="187" y="10"/>
                  </a:cxn>
                  <a:cxn ang="0">
                    <a:pos x="156" y="17"/>
                  </a:cxn>
                  <a:cxn ang="0">
                    <a:pos x="114" y="50"/>
                  </a:cxn>
                  <a:cxn ang="0">
                    <a:pos x="77" y="63"/>
                  </a:cxn>
                  <a:cxn ang="0">
                    <a:pos x="36" y="71"/>
                  </a:cxn>
                  <a:cxn ang="0">
                    <a:pos x="14" y="81"/>
                  </a:cxn>
                  <a:cxn ang="0">
                    <a:pos x="16" y="93"/>
                  </a:cxn>
                  <a:cxn ang="0">
                    <a:pos x="33" y="138"/>
                  </a:cxn>
                  <a:cxn ang="0">
                    <a:pos x="16" y="170"/>
                  </a:cxn>
                  <a:cxn ang="0">
                    <a:pos x="31" y="187"/>
                  </a:cxn>
                  <a:cxn ang="0">
                    <a:pos x="37" y="212"/>
                  </a:cxn>
                  <a:cxn ang="0">
                    <a:pos x="43" y="231"/>
                  </a:cxn>
                  <a:cxn ang="0">
                    <a:pos x="38" y="260"/>
                  </a:cxn>
                  <a:cxn ang="0">
                    <a:pos x="44" y="276"/>
                  </a:cxn>
                  <a:cxn ang="0">
                    <a:pos x="47" y="292"/>
                  </a:cxn>
                  <a:cxn ang="0">
                    <a:pos x="60" y="310"/>
                  </a:cxn>
                  <a:cxn ang="0">
                    <a:pos x="61" y="338"/>
                  </a:cxn>
                  <a:cxn ang="0">
                    <a:pos x="88" y="356"/>
                  </a:cxn>
                  <a:cxn ang="0">
                    <a:pos x="118" y="367"/>
                  </a:cxn>
                  <a:cxn ang="0">
                    <a:pos x="138" y="375"/>
                  </a:cxn>
                  <a:cxn ang="0">
                    <a:pos x="140" y="398"/>
                  </a:cxn>
                  <a:cxn ang="0">
                    <a:pos x="157" y="412"/>
                  </a:cxn>
                  <a:cxn ang="0">
                    <a:pos x="167" y="393"/>
                  </a:cxn>
                  <a:cxn ang="0">
                    <a:pos x="191" y="400"/>
                  </a:cxn>
                  <a:cxn ang="0">
                    <a:pos x="208" y="414"/>
                  </a:cxn>
                  <a:cxn ang="0">
                    <a:pos x="231" y="426"/>
                  </a:cxn>
                  <a:cxn ang="0">
                    <a:pos x="269" y="455"/>
                  </a:cxn>
                  <a:cxn ang="0">
                    <a:pos x="286" y="475"/>
                  </a:cxn>
                  <a:cxn ang="0">
                    <a:pos x="308" y="466"/>
                  </a:cxn>
                  <a:cxn ang="0">
                    <a:pos x="321" y="487"/>
                  </a:cxn>
                  <a:cxn ang="0">
                    <a:pos x="338" y="483"/>
                  </a:cxn>
                  <a:cxn ang="0">
                    <a:pos x="376" y="480"/>
                  </a:cxn>
                  <a:cxn ang="0">
                    <a:pos x="393" y="473"/>
                  </a:cxn>
                  <a:cxn ang="0">
                    <a:pos x="427" y="479"/>
                  </a:cxn>
                  <a:cxn ang="0">
                    <a:pos x="445" y="490"/>
                  </a:cxn>
                  <a:cxn ang="0">
                    <a:pos x="477" y="503"/>
                  </a:cxn>
                  <a:cxn ang="0">
                    <a:pos x="477" y="486"/>
                  </a:cxn>
                  <a:cxn ang="0">
                    <a:pos x="474" y="462"/>
                  </a:cxn>
                  <a:cxn ang="0">
                    <a:pos x="500" y="424"/>
                  </a:cxn>
                  <a:cxn ang="0">
                    <a:pos x="551" y="390"/>
                  </a:cxn>
                  <a:cxn ang="0">
                    <a:pos x="545" y="359"/>
                  </a:cxn>
                </a:cxnLst>
                <a:rect l="0" t="0" r="r" b="b"/>
                <a:pathLst>
                  <a:path w="557" h="505">
                    <a:moveTo>
                      <a:pt x="552" y="381"/>
                    </a:moveTo>
                    <a:cubicBezTo>
                      <a:pt x="552" y="381"/>
                      <a:pt x="552" y="382"/>
                      <a:pt x="552" y="382"/>
                    </a:cubicBezTo>
                    <a:cubicBezTo>
                      <a:pt x="552" y="382"/>
                      <a:pt x="552" y="381"/>
                      <a:pt x="552" y="381"/>
                    </a:cubicBezTo>
                    <a:moveTo>
                      <a:pt x="549" y="385"/>
                    </a:moveTo>
                    <a:cubicBezTo>
                      <a:pt x="550" y="385"/>
                      <a:pt x="550" y="385"/>
                      <a:pt x="550" y="385"/>
                    </a:cubicBezTo>
                    <a:cubicBezTo>
                      <a:pt x="550" y="385"/>
                      <a:pt x="550" y="385"/>
                      <a:pt x="550" y="385"/>
                    </a:cubicBezTo>
                    <a:lnTo>
                      <a:pt x="549" y="385"/>
                    </a:lnTo>
                    <a:close/>
                    <a:moveTo>
                      <a:pt x="557" y="352"/>
                    </a:moveTo>
                    <a:cubicBezTo>
                      <a:pt x="556" y="350"/>
                      <a:pt x="556" y="351"/>
                      <a:pt x="555" y="350"/>
                    </a:cubicBezTo>
                    <a:cubicBezTo>
                      <a:pt x="554" y="348"/>
                      <a:pt x="554" y="346"/>
                      <a:pt x="554" y="344"/>
                    </a:cubicBezTo>
                    <a:cubicBezTo>
                      <a:pt x="552" y="342"/>
                      <a:pt x="550" y="339"/>
                      <a:pt x="548" y="336"/>
                    </a:cubicBezTo>
                    <a:cubicBezTo>
                      <a:pt x="548" y="335"/>
                      <a:pt x="547" y="332"/>
                      <a:pt x="546" y="331"/>
                    </a:cubicBezTo>
                    <a:cubicBezTo>
                      <a:pt x="546" y="331"/>
                      <a:pt x="545" y="331"/>
                      <a:pt x="544" y="331"/>
                    </a:cubicBezTo>
                    <a:cubicBezTo>
                      <a:pt x="543" y="331"/>
                      <a:pt x="543" y="330"/>
                      <a:pt x="543" y="329"/>
                    </a:cubicBezTo>
                    <a:cubicBezTo>
                      <a:pt x="543" y="329"/>
                      <a:pt x="543" y="328"/>
                      <a:pt x="543" y="328"/>
                    </a:cubicBezTo>
                    <a:cubicBezTo>
                      <a:pt x="542" y="327"/>
                      <a:pt x="542" y="327"/>
                      <a:pt x="542" y="326"/>
                    </a:cubicBezTo>
                    <a:cubicBezTo>
                      <a:pt x="541" y="324"/>
                      <a:pt x="540" y="323"/>
                      <a:pt x="540" y="321"/>
                    </a:cubicBezTo>
                    <a:cubicBezTo>
                      <a:pt x="538" y="317"/>
                      <a:pt x="536" y="314"/>
                      <a:pt x="535" y="310"/>
                    </a:cubicBezTo>
                    <a:cubicBezTo>
                      <a:pt x="534" y="307"/>
                      <a:pt x="533" y="304"/>
                      <a:pt x="533" y="301"/>
                    </a:cubicBezTo>
                    <a:cubicBezTo>
                      <a:pt x="533" y="299"/>
                      <a:pt x="533" y="298"/>
                      <a:pt x="533" y="296"/>
                    </a:cubicBezTo>
                    <a:cubicBezTo>
                      <a:pt x="532" y="294"/>
                      <a:pt x="532" y="291"/>
                      <a:pt x="531" y="290"/>
                    </a:cubicBezTo>
                    <a:cubicBezTo>
                      <a:pt x="530" y="288"/>
                      <a:pt x="529" y="290"/>
                      <a:pt x="527" y="289"/>
                    </a:cubicBezTo>
                    <a:cubicBezTo>
                      <a:pt x="524" y="288"/>
                      <a:pt x="525" y="285"/>
                      <a:pt x="525" y="282"/>
                    </a:cubicBezTo>
                    <a:cubicBezTo>
                      <a:pt x="525" y="280"/>
                      <a:pt x="525" y="278"/>
                      <a:pt x="525" y="276"/>
                    </a:cubicBezTo>
                    <a:cubicBezTo>
                      <a:pt x="526" y="274"/>
                      <a:pt x="527" y="274"/>
                      <a:pt x="528" y="272"/>
                    </a:cubicBezTo>
                    <a:cubicBezTo>
                      <a:pt x="528" y="271"/>
                      <a:pt x="528" y="269"/>
                      <a:pt x="528" y="268"/>
                    </a:cubicBezTo>
                    <a:cubicBezTo>
                      <a:pt x="529" y="266"/>
                      <a:pt x="529" y="266"/>
                      <a:pt x="530" y="264"/>
                    </a:cubicBezTo>
                    <a:cubicBezTo>
                      <a:pt x="531" y="262"/>
                      <a:pt x="532" y="260"/>
                      <a:pt x="533" y="257"/>
                    </a:cubicBezTo>
                    <a:cubicBezTo>
                      <a:pt x="533" y="255"/>
                      <a:pt x="532" y="254"/>
                      <a:pt x="534" y="253"/>
                    </a:cubicBezTo>
                    <a:cubicBezTo>
                      <a:pt x="534" y="252"/>
                      <a:pt x="535" y="253"/>
                      <a:pt x="535" y="252"/>
                    </a:cubicBezTo>
                    <a:cubicBezTo>
                      <a:pt x="535" y="251"/>
                      <a:pt x="535" y="249"/>
                      <a:pt x="535" y="249"/>
                    </a:cubicBezTo>
                    <a:cubicBezTo>
                      <a:pt x="535" y="247"/>
                      <a:pt x="534" y="247"/>
                      <a:pt x="533" y="245"/>
                    </a:cubicBezTo>
                    <a:cubicBezTo>
                      <a:pt x="532" y="244"/>
                      <a:pt x="531" y="243"/>
                      <a:pt x="530" y="242"/>
                    </a:cubicBezTo>
                    <a:cubicBezTo>
                      <a:pt x="528" y="240"/>
                      <a:pt x="528" y="240"/>
                      <a:pt x="526" y="240"/>
                    </a:cubicBezTo>
                    <a:cubicBezTo>
                      <a:pt x="524" y="239"/>
                      <a:pt x="523" y="237"/>
                      <a:pt x="522" y="235"/>
                    </a:cubicBezTo>
                    <a:cubicBezTo>
                      <a:pt x="520" y="232"/>
                      <a:pt x="520" y="231"/>
                      <a:pt x="516" y="232"/>
                    </a:cubicBezTo>
                    <a:cubicBezTo>
                      <a:pt x="512" y="232"/>
                      <a:pt x="513" y="227"/>
                      <a:pt x="514" y="224"/>
                    </a:cubicBezTo>
                    <a:cubicBezTo>
                      <a:pt x="515" y="223"/>
                      <a:pt x="515" y="221"/>
                      <a:pt x="515" y="219"/>
                    </a:cubicBezTo>
                    <a:cubicBezTo>
                      <a:pt x="516" y="218"/>
                      <a:pt x="518" y="217"/>
                      <a:pt x="520" y="216"/>
                    </a:cubicBezTo>
                    <a:cubicBezTo>
                      <a:pt x="523" y="214"/>
                      <a:pt x="526" y="213"/>
                      <a:pt x="528" y="210"/>
                    </a:cubicBezTo>
                    <a:cubicBezTo>
                      <a:pt x="530" y="209"/>
                      <a:pt x="529" y="210"/>
                      <a:pt x="530" y="208"/>
                    </a:cubicBezTo>
                    <a:cubicBezTo>
                      <a:pt x="531" y="206"/>
                      <a:pt x="531" y="205"/>
                      <a:pt x="532" y="203"/>
                    </a:cubicBezTo>
                    <a:cubicBezTo>
                      <a:pt x="532" y="203"/>
                      <a:pt x="532" y="201"/>
                      <a:pt x="533" y="201"/>
                    </a:cubicBezTo>
                    <a:cubicBezTo>
                      <a:pt x="533" y="200"/>
                      <a:pt x="534" y="200"/>
                      <a:pt x="535" y="199"/>
                    </a:cubicBezTo>
                    <a:cubicBezTo>
                      <a:pt x="536" y="198"/>
                      <a:pt x="537" y="197"/>
                      <a:pt x="539" y="196"/>
                    </a:cubicBezTo>
                    <a:cubicBezTo>
                      <a:pt x="542" y="195"/>
                      <a:pt x="544" y="196"/>
                      <a:pt x="547" y="196"/>
                    </a:cubicBezTo>
                    <a:cubicBezTo>
                      <a:pt x="550" y="195"/>
                      <a:pt x="549" y="195"/>
                      <a:pt x="550" y="193"/>
                    </a:cubicBezTo>
                    <a:cubicBezTo>
                      <a:pt x="551" y="192"/>
                      <a:pt x="552" y="190"/>
                      <a:pt x="552" y="188"/>
                    </a:cubicBezTo>
                    <a:cubicBezTo>
                      <a:pt x="552" y="187"/>
                      <a:pt x="552" y="185"/>
                      <a:pt x="552" y="184"/>
                    </a:cubicBezTo>
                    <a:cubicBezTo>
                      <a:pt x="553" y="183"/>
                      <a:pt x="554" y="182"/>
                      <a:pt x="554" y="181"/>
                    </a:cubicBezTo>
                    <a:cubicBezTo>
                      <a:pt x="555" y="179"/>
                      <a:pt x="555" y="178"/>
                      <a:pt x="555" y="176"/>
                    </a:cubicBezTo>
                    <a:cubicBezTo>
                      <a:pt x="555" y="174"/>
                      <a:pt x="555" y="172"/>
                      <a:pt x="555" y="170"/>
                    </a:cubicBezTo>
                    <a:cubicBezTo>
                      <a:pt x="555" y="168"/>
                      <a:pt x="556" y="164"/>
                      <a:pt x="552" y="165"/>
                    </a:cubicBezTo>
                    <a:cubicBezTo>
                      <a:pt x="551" y="165"/>
                      <a:pt x="551" y="167"/>
                      <a:pt x="550" y="166"/>
                    </a:cubicBezTo>
                    <a:cubicBezTo>
                      <a:pt x="549" y="166"/>
                      <a:pt x="549" y="165"/>
                      <a:pt x="548" y="165"/>
                    </a:cubicBezTo>
                    <a:cubicBezTo>
                      <a:pt x="547" y="163"/>
                      <a:pt x="547" y="163"/>
                      <a:pt x="546" y="161"/>
                    </a:cubicBezTo>
                    <a:cubicBezTo>
                      <a:pt x="546" y="159"/>
                      <a:pt x="547" y="156"/>
                      <a:pt x="547" y="154"/>
                    </a:cubicBezTo>
                    <a:cubicBezTo>
                      <a:pt x="546" y="153"/>
                      <a:pt x="545" y="153"/>
                      <a:pt x="545" y="151"/>
                    </a:cubicBezTo>
                    <a:cubicBezTo>
                      <a:pt x="543" y="149"/>
                      <a:pt x="542" y="145"/>
                      <a:pt x="540" y="142"/>
                    </a:cubicBezTo>
                    <a:cubicBezTo>
                      <a:pt x="538" y="136"/>
                      <a:pt x="537" y="131"/>
                      <a:pt x="534" y="125"/>
                    </a:cubicBezTo>
                    <a:cubicBezTo>
                      <a:pt x="532" y="120"/>
                      <a:pt x="529" y="116"/>
                      <a:pt x="527" y="111"/>
                    </a:cubicBezTo>
                    <a:cubicBezTo>
                      <a:pt x="526" y="108"/>
                      <a:pt x="523" y="106"/>
                      <a:pt x="523" y="102"/>
                    </a:cubicBezTo>
                    <a:cubicBezTo>
                      <a:pt x="523" y="99"/>
                      <a:pt x="523" y="99"/>
                      <a:pt x="524" y="97"/>
                    </a:cubicBezTo>
                    <a:cubicBezTo>
                      <a:pt x="525" y="95"/>
                      <a:pt x="526" y="94"/>
                      <a:pt x="526" y="92"/>
                    </a:cubicBezTo>
                    <a:cubicBezTo>
                      <a:pt x="525" y="88"/>
                      <a:pt x="521" y="85"/>
                      <a:pt x="521" y="81"/>
                    </a:cubicBezTo>
                    <a:cubicBezTo>
                      <a:pt x="520" y="80"/>
                      <a:pt x="521" y="78"/>
                      <a:pt x="521" y="77"/>
                    </a:cubicBezTo>
                    <a:cubicBezTo>
                      <a:pt x="521" y="77"/>
                      <a:pt x="520" y="76"/>
                      <a:pt x="521" y="75"/>
                    </a:cubicBezTo>
                    <a:cubicBezTo>
                      <a:pt x="521" y="74"/>
                      <a:pt x="522" y="75"/>
                      <a:pt x="522" y="74"/>
                    </a:cubicBezTo>
                    <a:cubicBezTo>
                      <a:pt x="523" y="72"/>
                      <a:pt x="523" y="67"/>
                      <a:pt x="522" y="65"/>
                    </a:cubicBezTo>
                    <a:cubicBezTo>
                      <a:pt x="521" y="63"/>
                      <a:pt x="519" y="62"/>
                      <a:pt x="518" y="61"/>
                    </a:cubicBezTo>
                    <a:cubicBezTo>
                      <a:pt x="518" y="60"/>
                      <a:pt x="516" y="59"/>
                      <a:pt x="516" y="57"/>
                    </a:cubicBezTo>
                    <a:cubicBezTo>
                      <a:pt x="516" y="56"/>
                      <a:pt x="516" y="55"/>
                      <a:pt x="516" y="54"/>
                    </a:cubicBezTo>
                    <a:cubicBezTo>
                      <a:pt x="515" y="54"/>
                      <a:pt x="513" y="52"/>
                      <a:pt x="512" y="51"/>
                    </a:cubicBezTo>
                    <a:cubicBezTo>
                      <a:pt x="508" y="49"/>
                      <a:pt x="504" y="50"/>
                      <a:pt x="500" y="49"/>
                    </a:cubicBezTo>
                    <a:cubicBezTo>
                      <a:pt x="495" y="48"/>
                      <a:pt x="491" y="45"/>
                      <a:pt x="486" y="43"/>
                    </a:cubicBezTo>
                    <a:cubicBezTo>
                      <a:pt x="484" y="43"/>
                      <a:pt x="482" y="42"/>
                      <a:pt x="480" y="42"/>
                    </a:cubicBezTo>
                    <a:cubicBezTo>
                      <a:pt x="478" y="42"/>
                      <a:pt x="475" y="42"/>
                      <a:pt x="473" y="42"/>
                    </a:cubicBezTo>
                    <a:cubicBezTo>
                      <a:pt x="466" y="42"/>
                      <a:pt x="460" y="42"/>
                      <a:pt x="453" y="42"/>
                    </a:cubicBezTo>
                    <a:cubicBezTo>
                      <a:pt x="445" y="42"/>
                      <a:pt x="436" y="41"/>
                      <a:pt x="428" y="41"/>
                    </a:cubicBezTo>
                    <a:cubicBezTo>
                      <a:pt x="416" y="41"/>
                      <a:pt x="404" y="42"/>
                      <a:pt x="392" y="41"/>
                    </a:cubicBezTo>
                    <a:cubicBezTo>
                      <a:pt x="375" y="41"/>
                      <a:pt x="359" y="40"/>
                      <a:pt x="343" y="39"/>
                    </a:cubicBezTo>
                    <a:cubicBezTo>
                      <a:pt x="336" y="38"/>
                      <a:pt x="329" y="37"/>
                      <a:pt x="322" y="36"/>
                    </a:cubicBezTo>
                    <a:cubicBezTo>
                      <a:pt x="321" y="35"/>
                      <a:pt x="320" y="35"/>
                      <a:pt x="319" y="35"/>
                    </a:cubicBezTo>
                    <a:cubicBezTo>
                      <a:pt x="319" y="37"/>
                      <a:pt x="317" y="38"/>
                      <a:pt x="315" y="39"/>
                    </a:cubicBezTo>
                    <a:cubicBezTo>
                      <a:pt x="314" y="41"/>
                      <a:pt x="310" y="41"/>
                      <a:pt x="309" y="43"/>
                    </a:cubicBezTo>
                    <a:cubicBezTo>
                      <a:pt x="308" y="45"/>
                      <a:pt x="309" y="46"/>
                      <a:pt x="307" y="48"/>
                    </a:cubicBezTo>
                    <a:cubicBezTo>
                      <a:pt x="306" y="49"/>
                      <a:pt x="303" y="48"/>
                      <a:pt x="301" y="48"/>
                    </a:cubicBezTo>
                    <a:cubicBezTo>
                      <a:pt x="298" y="49"/>
                      <a:pt x="295" y="51"/>
                      <a:pt x="292" y="50"/>
                    </a:cubicBezTo>
                    <a:cubicBezTo>
                      <a:pt x="292" y="49"/>
                      <a:pt x="292" y="48"/>
                      <a:pt x="292" y="47"/>
                    </a:cubicBezTo>
                    <a:cubicBezTo>
                      <a:pt x="293" y="45"/>
                      <a:pt x="296" y="43"/>
                      <a:pt x="296" y="42"/>
                    </a:cubicBezTo>
                    <a:cubicBezTo>
                      <a:pt x="296" y="40"/>
                      <a:pt x="295" y="39"/>
                      <a:pt x="293" y="41"/>
                    </a:cubicBezTo>
                    <a:cubicBezTo>
                      <a:pt x="292" y="41"/>
                      <a:pt x="292" y="44"/>
                      <a:pt x="291" y="44"/>
                    </a:cubicBezTo>
                    <a:cubicBezTo>
                      <a:pt x="290" y="45"/>
                      <a:pt x="289" y="43"/>
                      <a:pt x="287" y="43"/>
                    </a:cubicBezTo>
                    <a:cubicBezTo>
                      <a:pt x="286" y="43"/>
                      <a:pt x="283" y="44"/>
                      <a:pt x="282" y="44"/>
                    </a:cubicBezTo>
                    <a:cubicBezTo>
                      <a:pt x="280" y="44"/>
                      <a:pt x="269" y="46"/>
                      <a:pt x="253" y="35"/>
                    </a:cubicBezTo>
                    <a:cubicBezTo>
                      <a:pt x="252" y="27"/>
                      <a:pt x="252" y="27"/>
                      <a:pt x="252" y="27"/>
                    </a:cubicBezTo>
                    <a:cubicBezTo>
                      <a:pt x="253" y="20"/>
                      <a:pt x="246" y="10"/>
                      <a:pt x="245" y="7"/>
                    </a:cubicBezTo>
                    <a:cubicBezTo>
                      <a:pt x="245" y="5"/>
                      <a:pt x="243" y="3"/>
                      <a:pt x="243" y="1"/>
                    </a:cubicBezTo>
                    <a:cubicBezTo>
                      <a:pt x="237" y="0"/>
                      <a:pt x="230" y="1"/>
                      <a:pt x="225" y="1"/>
                    </a:cubicBezTo>
                    <a:cubicBezTo>
                      <a:pt x="220" y="1"/>
                      <a:pt x="214" y="1"/>
                      <a:pt x="210" y="1"/>
                    </a:cubicBezTo>
                    <a:cubicBezTo>
                      <a:pt x="208" y="1"/>
                      <a:pt x="206" y="1"/>
                      <a:pt x="205" y="2"/>
                    </a:cubicBezTo>
                    <a:cubicBezTo>
                      <a:pt x="202" y="2"/>
                      <a:pt x="201" y="4"/>
                      <a:pt x="199" y="5"/>
                    </a:cubicBezTo>
                    <a:cubicBezTo>
                      <a:pt x="196" y="8"/>
                      <a:pt x="193" y="9"/>
                      <a:pt x="192" y="13"/>
                    </a:cubicBezTo>
                    <a:cubicBezTo>
                      <a:pt x="191" y="13"/>
                      <a:pt x="190" y="13"/>
                      <a:pt x="189" y="13"/>
                    </a:cubicBezTo>
                    <a:cubicBezTo>
                      <a:pt x="188" y="12"/>
                      <a:pt x="187" y="10"/>
                      <a:pt x="187" y="10"/>
                    </a:cubicBezTo>
                    <a:cubicBezTo>
                      <a:pt x="184" y="8"/>
                      <a:pt x="181" y="11"/>
                      <a:pt x="178" y="12"/>
                    </a:cubicBezTo>
                    <a:cubicBezTo>
                      <a:pt x="178" y="12"/>
                      <a:pt x="176" y="12"/>
                      <a:pt x="176" y="12"/>
                    </a:cubicBezTo>
                    <a:cubicBezTo>
                      <a:pt x="174" y="13"/>
                      <a:pt x="174" y="16"/>
                      <a:pt x="172" y="16"/>
                    </a:cubicBezTo>
                    <a:cubicBezTo>
                      <a:pt x="171" y="17"/>
                      <a:pt x="168" y="18"/>
                      <a:pt x="166" y="17"/>
                    </a:cubicBezTo>
                    <a:cubicBezTo>
                      <a:pt x="164" y="17"/>
                      <a:pt x="164" y="16"/>
                      <a:pt x="163" y="15"/>
                    </a:cubicBezTo>
                    <a:cubicBezTo>
                      <a:pt x="162" y="14"/>
                      <a:pt x="157" y="14"/>
                      <a:pt x="156" y="15"/>
                    </a:cubicBezTo>
                    <a:cubicBezTo>
                      <a:pt x="155" y="15"/>
                      <a:pt x="156" y="17"/>
                      <a:pt x="156" y="17"/>
                    </a:cubicBezTo>
                    <a:cubicBezTo>
                      <a:pt x="156" y="18"/>
                      <a:pt x="155" y="18"/>
                      <a:pt x="155" y="19"/>
                    </a:cubicBezTo>
                    <a:cubicBezTo>
                      <a:pt x="152" y="21"/>
                      <a:pt x="148" y="21"/>
                      <a:pt x="145" y="24"/>
                    </a:cubicBezTo>
                    <a:cubicBezTo>
                      <a:pt x="144" y="24"/>
                      <a:pt x="143" y="26"/>
                      <a:pt x="143" y="27"/>
                    </a:cubicBezTo>
                    <a:cubicBezTo>
                      <a:pt x="141" y="28"/>
                      <a:pt x="139" y="30"/>
                      <a:pt x="137" y="32"/>
                    </a:cubicBezTo>
                    <a:cubicBezTo>
                      <a:pt x="135" y="34"/>
                      <a:pt x="135" y="37"/>
                      <a:pt x="133" y="40"/>
                    </a:cubicBezTo>
                    <a:cubicBezTo>
                      <a:pt x="131" y="43"/>
                      <a:pt x="129" y="47"/>
                      <a:pt x="125" y="47"/>
                    </a:cubicBezTo>
                    <a:cubicBezTo>
                      <a:pt x="121" y="47"/>
                      <a:pt x="117" y="47"/>
                      <a:pt x="114" y="50"/>
                    </a:cubicBezTo>
                    <a:cubicBezTo>
                      <a:pt x="113" y="50"/>
                      <a:pt x="113" y="51"/>
                      <a:pt x="112" y="51"/>
                    </a:cubicBezTo>
                    <a:cubicBezTo>
                      <a:pt x="109" y="53"/>
                      <a:pt x="105" y="53"/>
                      <a:pt x="102" y="54"/>
                    </a:cubicBezTo>
                    <a:cubicBezTo>
                      <a:pt x="101" y="54"/>
                      <a:pt x="101" y="54"/>
                      <a:pt x="100" y="55"/>
                    </a:cubicBezTo>
                    <a:cubicBezTo>
                      <a:pt x="100" y="56"/>
                      <a:pt x="100" y="57"/>
                      <a:pt x="100" y="57"/>
                    </a:cubicBezTo>
                    <a:cubicBezTo>
                      <a:pt x="99" y="58"/>
                      <a:pt x="98" y="57"/>
                      <a:pt x="97" y="58"/>
                    </a:cubicBezTo>
                    <a:cubicBezTo>
                      <a:pt x="95" y="58"/>
                      <a:pt x="95" y="59"/>
                      <a:pt x="93" y="59"/>
                    </a:cubicBezTo>
                    <a:cubicBezTo>
                      <a:pt x="88" y="62"/>
                      <a:pt x="83" y="63"/>
                      <a:pt x="77" y="63"/>
                    </a:cubicBezTo>
                    <a:cubicBezTo>
                      <a:pt x="72" y="63"/>
                      <a:pt x="69" y="63"/>
                      <a:pt x="65" y="65"/>
                    </a:cubicBezTo>
                    <a:cubicBezTo>
                      <a:pt x="61" y="67"/>
                      <a:pt x="57" y="69"/>
                      <a:pt x="54" y="71"/>
                    </a:cubicBezTo>
                    <a:cubicBezTo>
                      <a:pt x="50" y="73"/>
                      <a:pt x="46" y="74"/>
                      <a:pt x="43" y="76"/>
                    </a:cubicBezTo>
                    <a:cubicBezTo>
                      <a:pt x="46" y="75"/>
                      <a:pt x="46" y="70"/>
                      <a:pt x="48" y="69"/>
                    </a:cubicBezTo>
                    <a:cubicBezTo>
                      <a:pt x="45" y="68"/>
                      <a:pt x="43" y="68"/>
                      <a:pt x="40" y="70"/>
                    </a:cubicBezTo>
                    <a:cubicBezTo>
                      <a:pt x="39" y="70"/>
                      <a:pt x="38" y="71"/>
                      <a:pt x="38" y="71"/>
                    </a:cubicBezTo>
                    <a:cubicBezTo>
                      <a:pt x="37" y="72"/>
                      <a:pt x="36" y="71"/>
                      <a:pt x="36" y="71"/>
                    </a:cubicBezTo>
                    <a:cubicBezTo>
                      <a:pt x="34" y="72"/>
                      <a:pt x="31" y="72"/>
                      <a:pt x="29" y="73"/>
                    </a:cubicBezTo>
                    <a:cubicBezTo>
                      <a:pt x="29" y="73"/>
                      <a:pt x="28" y="74"/>
                      <a:pt x="27" y="74"/>
                    </a:cubicBezTo>
                    <a:cubicBezTo>
                      <a:pt x="25" y="75"/>
                      <a:pt x="21" y="76"/>
                      <a:pt x="18" y="77"/>
                    </a:cubicBezTo>
                    <a:cubicBezTo>
                      <a:pt x="18" y="77"/>
                      <a:pt x="18" y="78"/>
                      <a:pt x="19" y="78"/>
                    </a:cubicBezTo>
                    <a:cubicBezTo>
                      <a:pt x="19" y="79"/>
                      <a:pt x="20" y="79"/>
                      <a:pt x="20" y="80"/>
                    </a:cubicBezTo>
                    <a:cubicBezTo>
                      <a:pt x="19" y="80"/>
                      <a:pt x="18" y="80"/>
                      <a:pt x="17" y="80"/>
                    </a:cubicBezTo>
                    <a:cubicBezTo>
                      <a:pt x="16" y="80"/>
                      <a:pt x="15" y="80"/>
                      <a:pt x="14" y="81"/>
                    </a:cubicBezTo>
                    <a:cubicBezTo>
                      <a:pt x="12" y="81"/>
                      <a:pt x="11" y="82"/>
                      <a:pt x="9" y="82"/>
                    </a:cubicBezTo>
                    <a:cubicBezTo>
                      <a:pt x="6" y="82"/>
                      <a:pt x="3" y="81"/>
                      <a:pt x="0" y="83"/>
                    </a:cubicBezTo>
                    <a:cubicBezTo>
                      <a:pt x="0" y="84"/>
                      <a:pt x="1" y="85"/>
                      <a:pt x="1" y="85"/>
                    </a:cubicBezTo>
                    <a:cubicBezTo>
                      <a:pt x="1" y="86"/>
                      <a:pt x="1" y="87"/>
                      <a:pt x="1" y="87"/>
                    </a:cubicBezTo>
                    <a:cubicBezTo>
                      <a:pt x="2" y="88"/>
                      <a:pt x="5" y="89"/>
                      <a:pt x="7" y="90"/>
                    </a:cubicBezTo>
                    <a:cubicBezTo>
                      <a:pt x="8" y="91"/>
                      <a:pt x="9" y="92"/>
                      <a:pt x="10" y="93"/>
                    </a:cubicBezTo>
                    <a:cubicBezTo>
                      <a:pt x="11" y="93"/>
                      <a:pt x="14" y="94"/>
                      <a:pt x="16" y="93"/>
                    </a:cubicBezTo>
                    <a:cubicBezTo>
                      <a:pt x="18" y="93"/>
                      <a:pt x="20" y="90"/>
                      <a:pt x="21" y="89"/>
                    </a:cubicBezTo>
                    <a:cubicBezTo>
                      <a:pt x="22" y="88"/>
                      <a:pt x="23" y="93"/>
                      <a:pt x="23" y="94"/>
                    </a:cubicBezTo>
                    <a:cubicBezTo>
                      <a:pt x="23" y="96"/>
                      <a:pt x="22" y="99"/>
                      <a:pt x="23" y="101"/>
                    </a:cubicBezTo>
                    <a:cubicBezTo>
                      <a:pt x="23" y="103"/>
                      <a:pt x="24" y="106"/>
                      <a:pt x="24" y="108"/>
                    </a:cubicBezTo>
                    <a:cubicBezTo>
                      <a:pt x="26" y="113"/>
                      <a:pt x="27" y="117"/>
                      <a:pt x="29" y="122"/>
                    </a:cubicBezTo>
                    <a:cubicBezTo>
                      <a:pt x="30" y="124"/>
                      <a:pt x="32" y="127"/>
                      <a:pt x="33" y="130"/>
                    </a:cubicBezTo>
                    <a:cubicBezTo>
                      <a:pt x="34" y="132"/>
                      <a:pt x="33" y="136"/>
                      <a:pt x="33" y="138"/>
                    </a:cubicBezTo>
                    <a:cubicBezTo>
                      <a:pt x="33" y="141"/>
                      <a:pt x="33" y="143"/>
                      <a:pt x="32" y="145"/>
                    </a:cubicBezTo>
                    <a:cubicBezTo>
                      <a:pt x="31" y="148"/>
                      <a:pt x="30" y="149"/>
                      <a:pt x="28" y="151"/>
                    </a:cubicBezTo>
                    <a:cubicBezTo>
                      <a:pt x="27" y="152"/>
                      <a:pt x="26" y="155"/>
                      <a:pt x="25" y="156"/>
                    </a:cubicBezTo>
                    <a:cubicBezTo>
                      <a:pt x="25" y="156"/>
                      <a:pt x="24" y="156"/>
                      <a:pt x="23" y="157"/>
                    </a:cubicBezTo>
                    <a:cubicBezTo>
                      <a:pt x="23" y="158"/>
                      <a:pt x="22" y="159"/>
                      <a:pt x="22" y="160"/>
                    </a:cubicBezTo>
                    <a:cubicBezTo>
                      <a:pt x="21" y="162"/>
                      <a:pt x="20" y="163"/>
                      <a:pt x="19" y="164"/>
                    </a:cubicBezTo>
                    <a:cubicBezTo>
                      <a:pt x="18" y="166"/>
                      <a:pt x="17" y="168"/>
                      <a:pt x="16" y="170"/>
                    </a:cubicBezTo>
                    <a:cubicBezTo>
                      <a:pt x="16" y="170"/>
                      <a:pt x="16" y="171"/>
                      <a:pt x="16" y="171"/>
                    </a:cubicBezTo>
                    <a:cubicBezTo>
                      <a:pt x="16" y="171"/>
                      <a:pt x="15" y="172"/>
                      <a:pt x="15" y="172"/>
                    </a:cubicBezTo>
                    <a:cubicBezTo>
                      <a:pt x="15" y="174"/>
                      <a:pt x="17" y="174"/>
                      <a:pt x="17" y="175"/>
                    </a:cubicBezTo>
                    <a:cubicBezTo>
                      <a:pt x="19" y="176"/>
                      <a:pt x="20" y="177"/>
                      <a:pt x="21" y="178"/>
                    </a:cubicBezTo>
                    <a:cubicBezTo>
                      <a:pt x="22" y="180"/>
                      <a:pt x="23" y="181"/>
                      <a:pt x="25" y="182"/>
                    </a:cubicBezTo>
                    <a:cubicBezTo>
                      <a:pt x="26" y="183"/>
                      <a:pt x="27" y="183"/>
                      <a:pt x="28" y="184"/>
                    </a:cubicBezTo>
                    <a:cubicBezTo>
                      <a:pt x="29" y="185"/>
                      <a:pt x="30" y="185"/>
                      <a:pt x="31" y="187"/>
                    </a:cubicBezTo>
                    <a:cubicBezTo>
                      <a:pt x="33" y="188"/>
                      <a:pt x="33" y="190"/>
                      <a:pt x="34" y="192"/>
                    </a:cubicBezTo>
                    <a:cubicBezTo>
                      <a:pt x="34" y="192"/>
                      <a:pt x="34" y="193"/>
                      <a:pt x="34" y="193"/>
                    </a:cubicBezTo>
                    <a:cubicBezTo>
                      <a:pt x="36" y="196"/>
                      <a:pt x="40" y="196"/>
                      <a:pt x="41" y="199"/>
                    </a:cubicBezTo>
                    <a:cubicBezTo>
                      <a:pt x="41" y="200"/>
                      <a:pt x="40" y="202"/>
                      <a:pt x="40" y="203"/>
                    </a:cubicBezTo>
                    <a:cubicBezTo>
                      <a:pt x="40" y="204"/>
                      <a:pt x="40" y="205"/>
                      <a:pt x="39" y="206"/>
                    </a:cubicBezTo>
                    <a:cubicBezTo>
                      <a:pt x="39" y="208"/>
                      <a:pt x="38" y="208"/>
                      <a:pt x="37" y="210"/>
                    </a:cubicBezTo>
                    <a:cubicBezTo>
                      <a:pt x="36" y="211"/>
                      <a:pt x="36" y="210"/>
                      <a:pt x="37" y="212"/>
                    </a:cubicBezTo>
                    <a:cubicBezTo>
                      <a:pt x="37" y="214"/>
                      <a:pt x="37" y="215"/>
                      <a:pt x="37" y="217"/>
                    </a:cubicBezTo>
                    <a:cubicBezTo>
                      <a:pt x="37" y="218"/>
                      <a:pt x="38" y="221"/>
                      <a:pt x="38" y="222"/>
                    </a:cubicBezTo>
                    <a:cubicBezTo>
                      <a:pt x="39" y="223"/>
                      <a:pt x="39" y="223"/>
                      <a:pt x="39" y="223"/>
                    </a:cubicBezTo>
                    <a:cubicBezTo>
                      <a:pt x="40" y="223"/>
                      <a:pt x="40" y="224"/>
                      <a:pt x="40" y="224"/>
                    </a:cubicBezTo>
                    <a:cubicBezTo>
                      <a:pt x="40" y="224"/>
                      <a:pt x="41" y="224"/>
                      <a:pt x="42" y="225"/>
                    </a:cubicBezTo>
                    <a:cubicBezTo>
                      <a:pt x="42" y="225"/>
                      <a:pt x="42" y="227"/>
                      <a:pt x="42" y="227"/>
                    </a:cubicBezTo>
                    <a:cubicBezTo>
                      <a:pt x="42" y="229"/>
                      <a:pt x="43" y="230"/>
                      <a:pt x="43" y="231"/>
                    </a:cubicBezTo>
                    <a:cubicBezTo>
                      <a:pt x="43" y="232"/>
                      <a:pt x="42" y="232"/>
                      <a:pt x="43" y="233"/>
                    </a:cubicBezTo>
                    <a:cubicBezTo>
                      <a:pt x="43" y="234"/>
                      <a:pt x="46" y="235"/>
                      <a:pt x="46" y="236"/>
                    </a:cubicBezTo>
                    <a:cubicBezTo>
                      <a:pt x="49" y="238"/>
                      <a:pt x="47" y="241"/>
                      <a:pt x="47" y="244"/>
                    </a:cubicBezTo>
                    <a:cubicBezTo>
                      <a:pt x="46" y="247"/>
                      <a:pt x="46" y="249"/>
                      <a:pt x="46" y="252"/>
                    </a:cubicBezTo>
                    <a:cubicBezTo>
                      <a:pt x="46" y="252"/>
                      <a:pt x="46" y="252"/>
                      <a:pt x="46" y="253"/>
                    </a:cubicBezTo>
                    <a:cubicBezTo>
                      <a:pt x="45" y="255"/>
                      <a:pt x="43" y="255"/>
                      <a:pt x="41" y="255"/>
                    </a:cubicBezTo>
                    <a:cubicBezTo>
                      <a:pt x="37" y="256"/>
                      <a:pt x="38" y="257"/>
                      <a:pt x="38" y="260"/>
                    </a:cubicBezTo>
                    <a:cubicBezTo>
                      <a:pt x="38" y="261"/>
                      <a:pt x="38" y="264"/>
                      <a:pt x="38" y="265"/>
                    </a:cubicBezTo>
                    <a:cubicBezTo>
                      <a:pt x="39" y="266"/>
                      <a:pt x="40" y="265"/>
                      <a:pt x="41" y="265"/>
                    </a:cubicBezTo>
                    <a:cubicBezTo>
                      <a:pt x="40" y="265"/>
                      <a:pt x="39" y="266"/>
                      <a:pt x="38" y="267"/>
                    </a:cubicBezTo>
                    <a:cubicBezTo>
                      <a:pt x="39" y="269"/>
                      <a:pt x="41" y="271"/>
                      <a:pt x="42" y="273"/>
                    </a:cubicBezTo>
                    <a:cubicBezTo>
                      <a:pt x="42" y="273"/>
                      <a:pt x="42" y="274"/>
                      <a:pt x="42" y="274"/>
                    </a:cubicBezTo>
                    <a:cubicBezTo>
                      <a:pt x="42" y="275"/>
                      <a:pt x="43" y="275"/>
                      <a:pt x="43" y="275"/>
                    </a:cubicBezTo>
                    <a:cubicBezTo>
                      <a:pt x="43" y="275"/>
                      <a:pt x="44" y="277"/>
                      <a:pt x="44" y="276"/>
                    </a:cubicBezTo>
                    <a:cubicBezTo>
                      <a:pt x="44" y="278"/>
                      <a:pt x="45" y="280"/>
                      <a:pt x="45" y="282"/>
                    </a:cubicBezTo>
                    <a:cubicBezTo>
                      <a:pt x="45" y="283"/>
                      <a:pt x="44" y="283"/>
                      <a:pt x="44" y="284"/>
                    </a:cubicBezTo>
                    <a:cubicBezTo>
                      <a:pt x="44" y="284"/>
                      <a:pt x="43" y="284"/>
                      <a:pt x="43" y="284"/>
                    </a:cubicBezTo>
                    <a:cubicBezTo>
                      <a:pt x="43" y="285"/>
                      <a:pt x="42" y="285"/>
                      <a:pt x="41" y="285"/>
                    </a:cubicBezTo>
                    <a:cubicBezTo>
                      <a:pt x="40" y="286"/>
                      <a:pt x="41" y="287"/>
                      <a:pt x="42" y="288"/>
                    </a:cubicBezTo>
                    <a:cubicBezTo>
                      <a:pt x="42" y="288"/>
                      <a:pt x="42" y="288"/>
                      <a:pt x="43" y="289"/>
                    </a:cubicBezTo>
                    <a:cubicBezTo>
                      <a:pt x="45" y="290"/>
                      <a:pt x="46" y="291"/>
                      <a:pt x="47" y="292"/>
                    </a:cubicBezTo>
                    <a:cubicBezTo>
                      <a:pt x="48" y="293"/>
                      <a:pt x="50" y="293"/>
                      <a:pt x="51" y="294"/>
                    </a:cubicBezTo>
                    <a:cubicBezTo>
                      <a:pt x="52" y="295"/>
                      <a:pt x="52" y="295"/>
                      <a:pt x="53" y="296"/>
                    </a:cubicBezTo>
                    <a:cubicBezTo>
                      <a:pt x="54" y="298"/>
                      <a:pt x="54" y="299"/>
                      <a:pt x="54" y="301"/>
                    </a:cubicBezTo>
                    <a:cubicBezTo>
                      <a:pt x="55" y="302"/>
                      <a:pt x="55" y="303"/>
                      <a:pt x="55" y="303"/>
                    </a:cubicBezTo>
                    <a:cubicBezTo>
                      <a:pt x="55" y="304"/>
                      <a:pt x="56" y="304"/>
                      <a:pt x="56" y="304"/>
                    </a:cubicBezTo>
                    <a:cubicBezTo>
                      <a:pt x="57" y="305"/>
                      <a:pt x="58" y="306"/>
                      <a:pt x="58" y="307"/>
                    </a:cubicBezTo>
                    <a:cubicBezTo>
                      <a:pt x="59" y="308"/>
                      <a:pt x="59" y="309"/>
                      <a:pt x="60" y="310"/>
                    </a:cubicBezTo>
                    <a:cubicBezTo>
                      <a:pt x="60" y="312"/>
                      <a:pt x="60" y="311"/>
                      <a:pt x="60" y="313"/>
                    </a:cubicBezTo>
                    <a:cubicBezTo>
                      <a:pt x="59" y="315"/>
                      <a:pt x="59" y="317"/>
                      <a:pt x="58" y="319"/>
                    </a:cubicBezTo>
                    <a:cubicBezTo>
                      <a:pt x="57" y="321"/>
                      <a:pt x="57" y="322"/>
                      <a:pt x="57" y="324"/>
                    </a:cubicBezTo>
                    <a:cubicBezTo>
                      <a:pt x="56" y="326"/>
                      <a:pt x="57" y="328"/>
                      <a:pt x="56" y="330"/>
                    </a:cubicBezTo>
                    <a:cubicBezTo>
                      <a:pt x="56" y="332"/>
                      <a:pt x="54" y="333"/>
                      <a:pt x="54" y="336"/>
                    </a:cubicBezTo>
                    <a:cubicBezTo>
                      <a:pt x="54" y="337"/>
                      <a:pt x="54" y="337"/>
                      <a:pt x="54" y="338"/>
                    </a:cubicBezTo>
                    <a:cubicBezTo>
                      <a:pt x="56" y="338"/>
                      <a:pt x="59" y="338"/>
                      <a:pt x="61" y="338"/>
                    </a:cubicBezTo>
                    <a:cubicBezTo>
                      <a:pt x="65" y="338"/>
                      <a:pt x="68" y="338"/>
                      <a:pt x="72" y="338"/>
                    </a:cubicBezTo>
                    <a:cubicBezTo>
                      <a:pt x="75" y="338"/>
                      <a:pt x="75" y="338"/>
                      <a:pt x="76" y="340"/>
                    </a:cubicBezTo>
                    <a:cubicBezTo>
                      <a:pt x="76" y="340"/>
                      <a:pt x="77" y="340"/>
                      <a:pt x="77" y="341"/>
                    </a:cubicBezTo>
                    <a:cubicBezTo>
                      <a:pt x="78" y="341"/>
                      <a:pt x="78" y="341"/>
                      <a:pt x="78" y="342"/>
                    </a:cubicBezTo>
                    <a:cubicBezTo>
                      <a:pt x="78" y="342"/>
                      <a:pt x="79" y="343"/>
                      <a:pt x="79" y="343"/>
                    </a:cubicBezTo>
                    <a:cubicBezTo>
                      <a:pt x="81" y="346"/>
                      <a:pt x="82" y="348"/>
                      <a:pt x="84" y="350"/>
                    </a:cubicBezTo>
                    <a:cubicBezTo>
                      <a:pt x="85" y="352"/>
                      <a:pt x="86" y="355"/>
                      <a:pt x="88" y="356"/>
                    </a:cubicBezTo>
                    <a:cubicBezTo>
                      <a:pt x="89" y="356"/>
                      <a:pt x="90" y="356"/>
                      <a:pt x="91" y="356"/>
                    </a:cubicBezTo>
                    <a:cubicBezTo>
                      <a:pt x="93" y="356"/>
                      <a:pt x="95" y="358"/>
                      <a:pt x="97" y="358"/>
                    </a:cubicBezTo>
                    <a:cubicBezTo>
                      <a:pt x="99" y="359"/>
                      <a:pt x="102" y="361"/>
                      <a:pt x="104" y="362"/>
                    </a:cubicBezTo>
                    <a:cubicBezTo>
                      <a:pt x="106" y="362"/>
                      <a:pt x="107" y="363"/>
                      <a:pt x="108" y="363"/>
                    </a:cubicBezTo>
                    <a:cubicBezTo>
                      <a:pt x="110" y="364"/>
                      <a:pt x="111" y="364"/>
                      <a:pt x="113" y="365"/>
                    </a:cubicBezTo>
                    <a:cubicBezTo>
                      <a:pt x="114" y="365"/>
                      <a:pt x="114" y="366"/>
                      <a:pt x="115" y="366"/>
                    </a:cubicBezTo>
                    <a:cubicBezTo>
                      <a:pt x="116" y="367"/>
                      <a:pt x="117" y="366"/>
                      <a:pt x="118" y="367"/>
                    </a:cubicBezTo>
                    <a:cubicBezTo>
                      <a:pt x="118" y="367"/>
                      <a:pt x="119" y="368"/>
                      <a:pt x="120" y="369"/>
                    </a:cubicBezTo>
                    <a:cubicBezTo>
                      <a:pt x="120" y="369"/>
                      <a:pt x="122" y="369"/>
                      <a:pt x="122" y="369"/>
                    </a:cubicBezTo>
                    <a:cubicBezTo>
                      <a:pt x="124" y="370"/>
                      <a:pt x="125" y="370"/>
                      <a:pt x="127" y="370"/>
                    </a:cubicBezTo>
                    <a:cubicBezTo>
                      <a:pt x="129" y="370"/>
                      <a:pt x="131" y="369"/>
                      <a:pt x="133" y="370"/>
                    </a:cubicBezTo>
                    <a:cubicBezTo>
                      <a:pt x="135" y="370"/>
                      <a:pt x="135" y="370"/>
                      <a:pt x="136" y="371"/>
                    </a:cubicBezTo>
                    <a:cubicBezTo>
                      <a:pt x="138" y="372"/>
                      <a:pt x="137" y="370"/>
                      <a:pt x="138" y="372"/>
                    </a:cubicBezTo>
                    <a:cubicBezTo>
                      <a:pt x="138" y="372"/>
                      <a:pt x="138" y="374"/>
                      <a:pt x="138" y="375"/>
                    </a:cubicBezTo>
                    <a:cubicBezTo>
                      <a:pt x="137" y="376"/>
                      <a:pt x="136" y="377"/>
                      <a:pt x="136" y="378"/>
                    </a:cubicBezTo>
                    <a:cubicBezTo>
                      <a:pt x="135" y="379"/>
                      <a:pt x="134" y="380"/>
                      <a:pt x="133" y="381"/>
                    </a:cubicBezTo>
                    <a:cubicBezTo>
                      <a:pt x="132" y="382"/>
                      <a:pt x="130" y="383"/>
                      <a:pt x="129" y="385"/>
                    </a:cubicBezTo>
                    <a:cubicBezTo>
                      <a:pt x="128" y="386"/>
                      <a:pt x="128" y="388"/>
                      <a:pt x="128" y="389"/>
                    </a:cubicBezTo>
                    <a:cubicBezTo>
                      <a:pt x="129" y="392"/>
                      <a:pt x="131" y="392"/>
                      <a:pt x="133" y="393"/>
                    </a:cubicBezTo>
                    <a:cubicBezTo>
                      <a:pt x="135" y="394"/>
                      <a:pt x="136" y="395"/>
                      <a:pt x="137" y="396"/>
                    </a:cubicBezTo>
                    <a:cubicBezTo>
                      <a:pt x="138" y="397"/>
                      <a:pt x="139" y="397"/>
                      <a:pt x="140" y="398"/>
                    </a:cubicBezTo>
                    <a:cubicBezTo>
                      <a:pt x="140" y="398"/>
                      <a:pt x="141" y="400"/>
                      <a:pt x="141" y="400"/>
                    </a:cubicBezTo>
                    <a:cubicBezTo>
                      <a:pt x="142" y="401"/>
                      <a:pt x="142" y="401"/>
                      <a:pt x="143" y="402"/>
                    </a:cubicBezTo>
                    <a:cubicBezTo>
                      <a:pt x="144" y="404"/>
                      <a:pt x="145" y="405"/>
                      <a:pt x="145" y="407"/>
                    </a:cubicBezTo>
                    <a:cubicBezTo>
                      <a:pt x="145" y="409"/>
                      <a:pt x="146" y="410"/>
                      <a:pt x="147" y="412"/>
                    </a:cubicBezTo>
                    <a:cubicBezTo>
                      <a:pt x="148" y="413"/>
                      <a:pt x="148" y="414"/>
                      <a:pt x="149" y="415"/>
                    </a:cubicBezTo>
                    <a:cubicBezTo>
                      <a:pt x="152" y="417"/>
                      <a:pt x="154" y="415"/>
                      <a:pt x="156" y="413"/>
                    </a:cubicBezTo>
                    <a:cubicBezTo>
                      <a:pt x="156" y="412"/>
                      <a:pt x="157" y="412"/>
                      <a:pt x="157" y="412"/>
                    </a:cubicBezTo>
                    <a:cubicBezTo>
                      <a:pt x="158" y="410"/>
                      <a:pt x="158" y="411"/>
                      <a:pt x="160" y="410"/>
                    </a:cubicBezTo>
                    <a:cubicBezTo>
                      <a:pt x="162" y="408"/>
                      <a:pt x="161" y="407"/>
                      <a:pt x="163" y="406"/>
                    </a:cubicBezTo>
                    <a:cubicBezTo>
                      <a:pt x="164" y="405"/>
                      <a:pt x="165" y="405"/>
                      <a:pt x="166" y="405"/>
                    </a:cubicBezTo>
                    <a:cubicBezTo>
                      <a:pt x="167" y="404"/>
                      <a:pt x="169" y="403"/>
                      <a:pt x="171" y="403"/>
                    </a:cubicBezTo>
                    <a:cubicBezTo>
                      <a:pt x="173" y="402"/>
                      <a:pt x="174" y="402"/>
                      <a:pt x="174" y="400"/>
                    </a:cubicBezTo>
                    <a:cubicBezTo>
                      <a:pt x="173" y="397"/>
                      <a:pt x="171" y="397"/>
                      <a:pt x="169" y="395"/>
                    </a:cubicBezTo>
                    <a:cubicBezTo>
                      <a:pt x="168" y="394"/>
                      <a:pt x="168" y="394"/>
                      <a:pt x="167" y="393"/>
                    </a:cubicBezTo>
                    <a:cubicBezTo>
                      <a:pt x="166" y="391"/>
                      <a:pt x="165" y="390"/>
                      <a:pt x="165" y="388"/>
                    </a:cubicBezTo>
                    <a:cubicBezTo>
                      <a:pt x="169" y="388"/>
                      <a:pt x="174" y="388"/>
                      <a:pt x="177" y="390"/>
                    </a:cubicBezTo>
                    <a:cubicBezTo>
                      <a:pt x="177" y="390"/>
                      <a:pt x="178" y="391"/>
                      <a:pt x="177" y="392"/>
                    </a:cubicBezTo>
                    <a:cubicBezTo>
                      <a:pt x="179" y="393"/>
                      <a:pt x="179" y="392"/>
                      <a:pt x="180" y="393"/>
                    </a:cubicBezTo>
                    <a:cubicBezTo>
                      <a:pt x="181" y="394"/>
                      <a:pt x="183" y="395"/>
                      <a:pt x="184" y="395"/>
                    </a:cubicBezTo>
                    <a:cubicBezTo>
                      <a:pt x="184" y="397"/>
                      <a:pt x="185" y="397"/>
                      <a:pt x="187" y="398"/>
                    </a:cubicBezTo>
                    <a:cubicBezTo>
                      <a:pt x="189" y="398"/>
                      <a:pt x="190" y="400"/>
                      <a:pt x="191" y="400"/>
                    </a:cubicBezTo>
                    <a:cubicBezTo>
                      <a:pt x="192" y="401"/>
                      <a:pt x="192" y="400"/>
                      <a:pt x="193" y="401"/>
                    </a:cubicBezTo>
                    <a:cubicBezTo>
                      <a:pt x="194" y="401"/>
                      <a:pt x="193" y="402"/>
                      <a:pt x="194" y="402"/>
                    </a:cubicBezTo>
                    <a:cubicBezTo>
                      <a:pt x="196" y="403"/>
                      <a:pt x="200" y="402"/>
                      <a:pt x="201" y="402"/>
                    </a:cubicBezTo>
                    <a:cubicBezTo>
                      <a:pt x="204" y="402"/>
                      <a:pt x="208" y="399"/>
                      <a:pt x="210" y="402"/>
                    </a:cubicBezTo>
                    <a:cubicBezTo>
                      <a:pt x="210" y="403"/>
                      <a:pt x="210" y="406"/>
                      <a:pt x="210" y="407"/>
                    </a:cubicBezTo>
                    <a:cubicBezTo>
                      <a:pt x="209" y="409"/>
                      <a:pt x="207" y="409"/>
                      <a:pt x="206" y="411"/>
                    </a:cubicBezTo>
                    <a:cubicBezTo>
                      <a:pt x="206" y="412"/>
                      <a:pt x="207" y="413"/>
                      <a:pt x="208" y="414"/>
                    </a:cubicBezTo>
                    <a:cubicBezTo>
                      <a:pt x="209" y="415"/>
                      <a:pt x="210" y="417"/>
                      <a:pt x="212" y="417"/>
                    </a:cubicBezTo>
                    <a:cubicBezTo>
                      <a:pt x="213" y="418"/>
                      <a:pt x="214" y="420"/>
                      <a:pt x="215" y="421"/>
                    </a:cubicBezTo>
                    <a:cubicBezTo>
                      <a:pt x="217" y="422"/>
                      <a:pt x="219" y="421"/>
                      <a:pt x="220" y="421"/>
                    </a:cubicBezTo>
                    <a:cubicBezTo>
                      <a:pt x="221" y="422"/>
                      <a:pt x="221" y="422"/>
                      <a:pt x="222" y="423"/>
                    </a:cubicBezTo>
                    <a:cubicBezTo>
                      <a:pt x="222" y="423"/>
                      <a:pt x="222" y="423"/>
                      <a:pt x="223" y="423"/>
                    </a:cubicBezTo>
                    <a:cubicBezTo>
                      <a:pt x="225" y="424"/>
                      <a:pt x="226" y="423"/>
                      <a:pt x="227" y="424"/>
                    </a:cubicBezTo>
                    <a:cubicBezTo>
                      <a:pt x="229" y="424"/>
                      <a:pt x="229" y="425"/>
                      <a:pt x="231" y="426"/>
                    </a:cubicBezTo>
                    <a:cubicBezTo>
                      <a:pt x="233" y="426"/>
                      <a:pt x="235" y="426"/>
                      <a:pt x="237" y="427"/>
                    </a:cubicBezTo>
                    <a:cubicBezTo>
                      <a:pt x="239" y="427"/>
                      <a:pt x="240" y="428"/>
                      <a:pt x="243" y="428"/>
                    </a:cubicBezTo>
                    <a:cubicBezTo>
                      <a:pt x="243" y="429"/>
                      <a:pt x="243" y="429"/>
                      <a:pt x="243" y="429"/>
                    </a:cubicBezTo>
                    <a:cubicBezTo>
                      <a:pt x="245" y="429"/>
                      <a:pt x="247" y="430"/>
                      <a:pt x="249" y="431"/>
                    </a:cubicBezTo>
                    <a:cubicBezTo>
                      <a:pt x="253" y="433"/>
                      <a:pt x="256" y="433"/>
                      <a:pt x="260" y="434"/>
                    </a:cubicBezTo>
                    <a:cubicBezTo>
                      <a:pt x="257" y="440"/>
                      <a:pt x="259" y="446"/>
                      <a:pt x="264" y="449"/>
                    </a:cubicBezTo>
                    <a:cubicBezTo>
                      <a:pt x="267" y="451"/>
                      <a:pt x="269" y="452"/>
                      <a:pt x="269" y="455"/>
                    </a:cubicBezTo>
                    <a:cubicBezTo>
                      <a:pt x="269" y="457"/>
                      <a:pt x="269" y="459"/>
                      <a:pt x="269" y="460"/>
                    </a:cubicBezTo>
                    <a:cubicBezTo>
                      <a:pt x="268" y="462"/>
                      <a:pt x="267" y="463"/>
                      <a:pt x="268" y="465"/>
                    </a:cubicBezTo>
                    <a:cubicBezTo>
                      <a:pt x="268" y="465"/>
                      <a:pt x="269" y="465"/>
                      <a:pt x="270" y="465"/>
                    </a:cubicBezTo>
                    <a:cubicBezTo>
                      <a:pt x="271" y="465"/>
                      <a:pt x="271" y="465"/>
                      <a:pt x="271" y="466"/>
                    </a:cubicBezTo>
                    <a:cubicBezTo>
                      <a:pt x="272" y="467"/>
                      <a:pt x="272" y="469"/>
                      <a:pt x="272" y="470"/>
                    </a:cubicBezTo>
                    <a:cubicBezTo>
                      <a:pt x="273" y="473"/>
                      <a:pt x="272" y="475"/>
                      <a:pt x="276" y="475"/>
                    </a:cubicBezTo>
                    <a:cubicBezTo>
                      <a:pt x="279" y="476"/>
                      <a:pt x="283" y="476"/>
                      <a:pt x="286" y="475"/>
                    </a:cubicBezTo>
                    <a:cubicBezTo>
                      <a:pt x="290" y="475"/>
                      <a:pt x="289" y="473"/>
                      <a:pt x="289" y="469"/>
                    </a:cubicBezTo>
                    <a:cubicBezTo>
                      <a:pt x="290" y="466"/>
                      <a:pt x="291" y="465"/>
                      <a:pt x="294" y="464"/>
                    </a:cubicBezTo>
                    <a:cubicBezTo>
                      <a:pt x="296" y="464"/>
                      <a:pt x="296" y="463"/>
                      <a:pt x="298" y="463"/>
                    </a:cubicBezTo>
                    <a:cubicBezTo>
                      <a:pt x="298" y="463"/>
                      <a:pt x="299" y="463"/>
                      <a:pt x="299" y="462"/>
                    </a:cubicBezTo>
                    <a:cubicBezTo>
                      <a:pt x="301" y="462"/>
                      <a:pt x="301" y="461"/>
                      <a:pt x="302" y="460"/>
                    </a:cubicBezTo>
                    <a:cubicBezTo>
                      <a:pt x="304" y="458"/>
                      <a:pt x="307" y="460"/>
                      <a:pt x="307" y="463"/>
                    </a:cubicBezTo>
                    <a:cubicBezTo>
                      <a:pt x="307" y="464"/>
                      <a:pt x="307" y="465"/>
                      <a:pt x="308" y="466"/>
                    </a:cubicBezTo>
                    <a:cubicBezTo>
                      <a:pt x="309" y="467"/>
                      <a:pt x="311" y="466"/>
                      <a:pt x="311" y="468"/>
                    </a:cubicBezTo>
                    <a:cubicBezTo>
                      <a:pt x="312" y="468"/>
                      <a:pt x="315" y="470"/>
                      <a:pt x="315" y="471"/>
                    </a:cubicBezTo>
                    <a:cubicBezTo>
                      <a:pt x="316" y="472"/>
                      <a:pt x="316" y="473"/>
                      <a:pt x="316" y="473"/>
                    </a:cubicBezTo>
                    <a:cubicBezTo>
                      <a:pt x="317" y="474"/>
                      <a:pt x="318" y="475"/>
                      <a:pt x="318" y="476"/>
                    </a:cubicBezTo>
                    <a:cubicBezTo>
                      <a:pt x="319" y="477"/>
                      <a:pt x="319" y="477"/>
                      <a:pt x="319" y="479"/>
                    </a:cubicBezTo>
                    <a:cubicBezTo>
                      <a:pt x="319" y="481"/>
                      <a:pt x="319" y="483"/>
                      <a:pt x="319" y="485"/>
                    </a:cubicBezTo>
                    <a:cubicBezTo>
                      <a:pt x="319" y="487"/>
                      <a:pt x="319" y="486"/>
                      <a:pt x="321" y="487"/>
                    </a:cubicBezTo>
                    <a:cubicBezTo>
                      <a:pt x="321" y="488"/>
                      <a:pt x="322" y="488"/>
                      <a:pt x="323" y="488"/>
                    </a:cubicBezTo>
                    <a:cubicBezTo>
                      <a:pt x="323" y="489"/>
                      <a:pt x="324" y="490"/>
                      <a:pt x="325" y="490"/>
                    </a:cubicBezTo>
                    <a:cubicBezTo>
                      <a:pt x="326" y="491"/>
                      <a:pt x="326" y="491"/>
                      <a:pt x="327" y="491"/>
                    </a:cubicBezTo>
                    <a:cubicBezTo>
                      <a:pt x="328" y="491"/>
                      <a:pt x="329" y="492"/>
                      <a:pt x="329" y="493"/>
                    </a:cubicBezTo>
                    <a:cubicBezTo>
                      <a:pt x="331" y="493"/>
                      <a:pt x="333" y="493"/>
                      <a:pt x="334" y="493"/>
                    </a:cubicBezTo>
                    <a:cubicBezTo>
                      <a:pt x="334" y="491"/>
                      <a:pt x="334" y="490"/>
                      <a:pt x="334" y="488"/>
                    </a:cubicBezTo>
                    <a:cubicBezTo>
                      <a:pt x="334" y="485"/>
                      <a:pt x="335" y="484"/>
                      <a:pt x="338" y="483"/>
                    </a:cubicBezTo>
                    <a:cubicBezTo>
                      <a:pt x="341" y="480"/>
                      <a:pt x="345" y="482"/>
                      <a:pt x="349" y="481"/>
                    </a:cubicBezTo>
                    <a:cubicBezTo>
                      <a:pt x="350" y="479"/>
                      <a:pt x="349" y="478"/>
                      <a:pt x="349" y="476"/>
                    </a:cubicBezTo>
                    <a:cubicBezTo>
                      <a:pt x="351" y="476"/>
                      <a:pt x="354" y="476"/>
                      <a:pt x="356" y="476"/>
                    </a:cubicBezTo>
                    <a:cubicBezTo>
                      <a:pt x="359" y="476"/>
                      <a:pt x="361" y="473"/>
                      <a:pt x="365" y="473"/>
                    </a:cubicBezTo>
                    <a:cubicBezTo>
                      <a:pt x="366" y="474"/>
                      <a:pt x="366" y="475"/>
                      <a:pt x="368" y="475"/>
                    </a:cubicBezTo>
                    <a:cubicBezTo>
                      <a:pt x="369" y="476"/>
                      <a:pt x="370" y="475"/>
                      <a:pt x="371" y="475"/>
                    </a:cubicBezTo>
                    <a:cubicBezTo>
                      <a:pt x="373" y="476"/>
                      <a:pt x="374" y="479"/>
                      <a:pt x="376" y="480"/>
                    </a:cubicBezTo>
                    <a:cubicBezTo>
                      <a:pt x="376" y="480"/>
                      <a:pt x="378" y="480"/>
                      <a:pt x="378" y="480"/>
                    </a:cubicBezTo>
                    <a:cubicBezTo>
                      <a:pt x="379" y="481"/>
                      <a:pt x="380" y="481"/>
                      <a:pt x="381" y="481"/>
                    </a:cubicBezTo>
                    <a:cubicBezTo>
                      <a:pt x="381" y="482"/>
                      <a:pt x="381" y="483"/>
                      <a:pt x="382" y="483"/>
                    </a:cubicBezTo>
                    <a:cubicBezTo>
                      <a:pt x="382" y="483"/>
                      <a:pt x="385" y="483"/>
                      <a:pt x="385" y="483"/>
                    </a:cubicBezTo>
                    <a:cubicBezTo>
                      <a:pt x="386" y="483"/>
                      <a:pt x="389" y="481"/>
                      <a:pt x="389" y="480"/>
                    </a:cubicBezTo>
                    <a:cubicBezTo>
                      <a:pt x="390" y="478"/>
                      <a:pt x="389" y="477"/>
                      <a:pt x="390" y="475"/>
                    </a:cubicBezTo>
                    <a:cubicBezTo>
                      <a:pt x="391" y="474"/>
                      <a:pt x="392" y="473"/>
                      <a:pt x="393" y="473"/>
                    </a:cubicBezTo>
                    <a:cubicBezTo>
                      <a:pt x="395" y="473"/>
                      <a:pt x="398" y="475"/>
                      <a:pt x="399" y="471"/>
                    </a:cubicBezTo>
                    <a:cubicBezTo>
                      <a:pt x="399" y="471"/>
                      <a:pt x="400" y="470"/>
                      <a:pt x="401" y="470"/>
                    </a:cubicBezTo>
                    <a:cubicBezTo>
                      <a:pt x="402" y="470"/>
                      <a:pt x="402" y="471"/>
                      <a:pt x="403" y="471"/>
                    </a:cubicBezTo>
                    <a:cubicBezTo>
                      <a:pt x="405" y="471"/>
                      <a:pt x="408" y="471"/>
                      <a:pt x="410" y="471"/>
                    </a:cubicBezTo>
                    <a:cubicBezTo>
                      <a:pt x="413" y="472"/>
                      <a:pt x="417" y="473"/>
                      <a:pt x="420" y="474"/>
                    </a:cubicBezTo>
                    <a:cubicBezTo>
                      <a:pt x="422" y="475"/>
                      <a:pt x="423" y="476"/>
                      <a:pt x="425" y="477"/>
                    </a:cubicBezTo>
                    <a:cubicBezTo>
                      <a:pt x="426" y="478"/>
                      <a:pt x="425" y="478"/>
                      <a:pt x="427" y="479"/>
                    </a:cubicBezTo>
                    <a:cubicBezTo>
                      <a:pt x="428" y="479"/>
                      <a:pt x="429" y="478"/>
                      <a:pt x="430" y="478"/>
                    </a:cubicBezTo>
                    <a:cubicBezTo>
                      <a:pt x="431" y="479"/>
                      <a:pt x="432" y="480"/>
                      <a:pt x="433" y="481"/>
                    </a:cubicBezTo>
                    <a:cubicBezTo>
                      <a:pt x="433" y="482"/>
                      <a:pt x="433" y="482"/>
                      <a:pt x="434" y="483"/>
                    </a:cubicBezTo>
                    <a:cubicBezTo>
                      <a:pt x="434" y="483"/>
                      <a:pt x="435" y="485"/>
                      <a:pt x="435" y="485"/>
                    </a:cubicBezTo>
                    <a:cubicBezTo>
                      <a:pt x="436" y="485"/>
                      <a:pt x="436" y="485"/>
                      <a:pt x="437" y="485"/>
                    </a:cubicBezTo>
                    <a:cubicBezTo>
                      <a:pt x="439" y="486"/>
                      <a:pt x="441" y="487"/>
                      <a:pt x="442" y="488"/>
                    </a:cubicBezTo>
                    <a:cubicBezTo>
                      <a:pt x="444" y="489"/>
                      <a:pt x="444" y="489"/>
                      <a:pt x="445" y="490"/>
                    </a:cubicBezTo>
                    <a:cubicBezTo>
                      <a:pt x="446" y="492"/>
                      <a:pt x="447" y="492"/>
                      <a:pt x="448" y="493"/>
                    </a:cubicBezTo>
                    <a:cubicBezTo>
                      <a:pt x="452" y="494"/>
                      <a:pt x="455" y="494"/>
                      <a:pt x="459" y="496"/>
                    </a:cubicBezTo>
                    <a:cubicBezTo>
                      <a:pt x="460" y="496"/>
                      <a:pt x="462" y="497"/>
                      <a:pt x="464" y="498"/>
                    </a:cubicBezTo>
                    <a:cubicBezTo>
                      <a:pt x="464" y="498"/>
                      <a:pt x="465" y="499"/>
                      <a:pt x="466" y="499"/>
                    </a:cubicBezTo>
                    <a:cubicBezTo>
                      <a:pt x="466" y="500"/>
                      <a:pt x="467" y="500"/>
                      <a:pt x="468" y="500"/>
                    </a:cubicBezTo>
                    <a:cubicBezTo>
                      <a:pt x="470" y="501"/>
                      <a:pt x="471" y="503"/>
                      <a:pt x="474" y="503"/>
                    </a:cubicBezTo>
                    <a:cubicBezTo>
                      <a:pt x="475" y="503"/>
                      <a:pt x="476" y="503"/>
                      <a:pt x="477" y="503"/>
                    </a:cubicBezTo>
                    <a:cubicBezTo>
                      <a:pt x="478" y="503"/>
                      <a:pt x="478" y="504"/>
                      <a:pt x="479" y="505"/>
                    </a:cubicBezTo>
                    <a:cubicBezTo>
                      <a:pt x="481" y="505"/>
                      <a:pt x="485" y="505"/>
                      <a:pt x="487" y="505"/>
                    </a:cubicBezTo>
                    <a:cubicBezTo>
                      <a:pt x="488" y="502"/>
                      <a:pt x="485" y="500"/>
                      <a:pt x="485" y="497"/>
                    </a:cubicBezTo>
                    <a:cubicBezTo>
                      <a:pt x="484" y="497"/>
                      <a:pt x="484" y="497"/>
                      <a:pt x="483" y="496"/>
                    </a:cubicBezTo>
                    <a:cubicBezTo>
                      <a:pt x="483" y="496"/>
                      <a:pt x="483" y="495"/>
                      <a:pt x="482" y="495"/>
                    </a:cubicBezTo>
                    <a:cubicBezTo>
                      <a:pt x="482" y="495"/>
                      <a:pt x="481" y="495"/>
                      <a:pt x="480" y="495"/>
                    </a:cubicBezTo>
                    <a:cubicBezTo>
                      <a:pt x="476" y="494"/>
                      <a:pt x="477" y="489"/>
                      <a:pt x="477" y="486"/>
                    </a:cubicBezTo>
                    <a:cubicBezTo>
                      <a:pt x="477" y="484"/>
                      <a:pt x="478" y="481"/>
                      <a:pt x="477" y="479"/>
                    </a:cubicBezTo>
                    <a:cubicBezTo>
                      <a:pt x="476" y="479"/>
                      <a:pt x="476" y="478"/>
                      <a:pt x="475" y="478"/>
                    </a:cubicBezTo>
                    <a:cubicBezTo>
                      <a:pt x="475" y="477"/>
                      <a:pt x="475" y="475"/>
                      <a:pt x="475" y="474"/>
                    </a:cubicBezTo>
                    <a:cubicBezTo>
                      <a:pt x="475" y="472"/>
                      <a:pt x="474" y="471"/>
                      <a:pt x="473" y="468"/>
                    </a:cubicBezTo>
                    <a:cubicBezTo>
                      <a:pt x="473" y="467"/>
                      <a:pt x="473" y="467"/>
                      <a:pt x="473" y="466"/>
                    </a:cubicBezTo>
                    <a:cubicBezTo>
                      <a:pt x="473" y="465"/>
                      <a:pt x="473" y="464"/>
                      <a:pt x="473" y="464"/>
                    </a:cubicBezTo>
                    <a:cubicBezTo>
                      <a:pt x="473" y="462"/>
                      <a:pt x="473" y="464"/>
                      <a:pt x="474" y="462"/>
                    </a:cubicBezTo>
                    <a:cubicBezTo>
                      <a:pt x="476" y="461"/>
                      <a:pt x="477" y="459"/>
                      <a:pt x="478" y="458"/>
                    </a:cubicBezTo>
                    <a:cubicBezTo>
                      <a:pt x="480" y="457"/>
                      <a:pt x="481" y="457"/>
                      <a:pt x="482" y="455"/>
                    </a:cubicBezTo>
                    <a:cubicBezTo>
                      <a:pt x="483" y="455"/>
                      <a:pt x="484" y="454"/>
                      <a:pt x="484" y="453"/>
                    </a:cubicBezTo>
                    <a:cubicBezTo>
                      <a:pt x="485" y="451"/>
                      <a:pt x="487" y="448"/>
                      <a:pt x="488" y="445"/>
                    </a:cubicBezTo>
                    <a:cubicBezTo>
                      <a:pt x="491" y="440"/>
                      <a:pt x="494" y="436"/>
                      <a:pt x="497" y="431"/>
                    </a:cubicBezTo>
                    <a:cubicBezTo>
                      <a:pt x="498" y="429"/>
                      <a:pt x="499" y="427"/>
                      <a:pt x="500" y="426"/>
                    </a:cubicBezTo>
                    <a:cubicBezTo>
                      <a:pt x="500" y="426"/>
                      <a:pt x="500" y="425"/>
                      <a:pt x="500" y="424"/>
                    </a:cubicBezTo>
                    <a:cubicBezTo>
                      <a:pt x="500" y="424"/>
                      <a:pt x="500" y="423"/>
                      <a:pt x="501" y="423"/>
                    </a:cubicBezTo>
                    <a:cubicBezTo>
                      <a:pt x="501" y="421"/>
                      <a:pt x="501" y="419"/>
                      <a:pt x="502" y="419"/>
                    </a:cubicBezTo>
                    <a:cubicBezTo>
                      <a:pt x="503" y="417"/>
                      <a:pt x="505" y="417"/>
                      <a:pt x="506" y="416"/>
                    </a:cubicBezTo>
                    <a:cubicBezTo>
                      <a:pt x="508" y="412"/>
                      <a:pt x="512" y="410"/>
                      <a:pt x="514" y="406"/>
                    </a:cubicBezTo>
                    <a:cubicBezTo>
                      <a:pt x="517" y="403"/>
                      <a:pt x="521" y="398"/>
                      <a:pt x="525" y="396"/>
                    </a:cubicBezTo>
                    <a:cubicBezTo>
                      <a:pt x="530" y="392"/>
                      <a:pt x="536" y="390"/>
                      <a:pt x="542" y="390"/>
                    </a:cubicBezTo>
                    <a:cubicBezTo>
                      <a:pt x="544" y="390"/>
                      <a:pt x="550" y="391"/>
                      <a:pt x="551" y="390"/>
                    </a:cubicBezTo>
                    <a:cubicBezTo>
                      <a:pt x="553" y="389"/>
                      <a:pt x="552" y="385"/>
                      <a:pt x="552" y="382"/>
                    </a:cubicBezTo>
                    <a:cubicBezTo>
                      <a:pt x="552" y="383"/>
                      <a:pt x="552" y="383"/>
                      <a:pt x="551" y="384"/>
                    </a:cubicBezTo>
                    <a:cubicBezTo>
                      <a:pt x="551" y="383"/>
                      <a:pt x="552" y="382"/>
                      <a:pt x="552" y="382"/>
                    </a:cubicBezTo>
                    <a:cubicBezTo>
                      <a:pt x="552" y="377"/>
                      <a:pt x="552" y="372"/>
                      <a:pt x="552" y="367"/>
                    </a:cubicBezTo>
                    <a:cubicBezTo>
                      <a:pt x="552" y="365"/>
                      <a:pt x="552" y="364"/>
                      <a:pt x="551" y="362"/>
                    </a:cubicBezTo>
                    <a:cubicBezTo>
                      <a:pt x="550" y="361"/>
                      <a:pt x="548" y="360"/>
                      <a:pt x="548" y="360"/>
                    </a:cubicBezTo>
                    <a:cubicBezTo>
                      <a:pt x="547" y="360"/>
                      <a:pt x="545" y="359"/>
                      <a:pt x="545" y="359"/>
                    </a:cubicBezTo>
                    <a:cubicBezTo>
                      <a:pt x="541" y="354"/>
                      <a:pt x="556" y="355"/>
                      <a:pt x="556" y="355"/>
                    </a:cubicBezTo>
                    <a:cubicBezTo>
                      <a:pt x="557" y="354"/>
                      <a:pt x="557" y="353"/>
                      <a:pt x="557" y="35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06" name="Freeform 22">
                <a:extLst>
                  <a:ext uri="{FF2B5EF4-FFF2-40B4-BE49-F238E27FC236}">
                    <a16:creationId xmlns:a16="http://schemas.microsoft.com/office/drawing/2014/main" id="{9E0CD5BC-083C-4808-919B-AFADF6B8CC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4238" y="4368800"/>
                <a:ext cx="700088" cy="392113"/>
              </a:xfrm>
              <a:custGeom>
                <a:avLst/>
                <a:gdLst/>
                <a:ahLst/>
                <a:cxnLst>
                  <a:cxn ang="0">
                    <a:pos x="261" y="202"/>
                  </a:cxn>
                  <a:cxn ang="0">
                    <a:pos x="275" y="194"/>
                  </a:cxn>
                  <a:cxn ang="0">
                    <a:pos x="288" y="192"/>
                  </a:cxn>
                  <a:cxn ang="0">
                    <a:pos x="306" y="190"/>
                  </a:cxn>
                  <a:cxn ang="0">
                    <a:pos x="322" y="178"/>
                  </a:cxn>
                  <a:cxn ang="0">
                    <a:pos x="334" y="162"/>
                  </a:cxn>
                  <a:cxn ang="0">
                    <a:pos x="344" y="152"/>
                  </a:cxn>
                  <a:cxn ang="0">
                    <a:pos x="354" y="140"/>
                  </a:cxn>
                  <a:cxn ang="0">
                    <a:pos x="368" y="137"/>
                  </a:cxn>
                  <a:cxn ang="0">
                    <a:pos x="373" y="135"/>
                  </a:cxn>
                  <a:cxn ang="0">
                    <a:pos x="354" y="101"/>
                  </a:cxn>
                  <a:cxn ang="0">
                    <a:pos x="332" y="94"/>
                  </a:cxn>
                  <a:cxn ang="0">
                    <a:pos x="317" y="87"/>
                  </a:cxn>
                  <a:cxn ang="0">
                    <a:pos x="306" y="72"/>
                  </a:cxn>
                  <a:cxn ang="0">
                    <a:pos x="289" y="65"/>
                  </a:cxn>
                  <a:cxn ang="0">
                    <a:pos x="272" y="63"/>
                  </a:cxn>
                  <a:cxn ang="0">
                    <a:pos x="268" y="76"/>
                  </a:cxn>
                  <a:cxn ang="0">
                    <a:pos x="252" y="82"/>
                  </a:cxn>
                  <a:cxn ang="0">
                    <a:pos x="242" y="66"/>
                  </a:cxn>
                  <a:cxn ang="0">
                    <a:pos x="241" y="48"/>
                  </a:cxn>
                  <a:cxn ang="0">
                    <a:pos x="232" y="40"/>
                  </a:cxn>
                  <a:cxn ang="0">
                    <a:pos x="218" y="35"/>
                  </a:cxn>
                  <a:cxn ang="0">
                    <a:pos x="193" y="26"/>
                  </a:cxn>
                  <a:cxn ang="0">
                    <a:pos x="181" y="10"/>
                  </a:cxn>
                  <a:cxn ang="0">
                    <a:pos x="157" y="13"/>
                  </a:cxn>
                  <a:cxn ang="0">
                    <a:pos x="145" y="19"/>
                  </a:cxn>
                  <a:cxn ang="0">
                    <a:pos x="137" y="4"/>
                  </a:cxn>
                  <a:cxn ang="0">
                    <a:pos x="126" y="9"/>
                  </a:cxn>
                  <a:cxn ang="0">
                    <a:pos x="115" y="20"/>
                  </a:cxn>
                  <a:cxn ang="0">
                    <a:pos x="102" y="26"/>
                  </a:cxn>
                  <a:cxn ang="0">
                    <a:pos x="86" y="30"/>
                  </a:cxn>
                  <a:cxn ang="0">
                    <a:pos x="78" y="41"/>
                  </a:cxn>
                  <a:cxn ang="0">
                    <a:pos x="71" y="41"/>
                  </a:cxn>
                  <a:cxn ang="0">
                    <a:pos x="61" y="48"/>
                  </a:cxn>
                  <a:cxn ang="0">
                    <a:pos x="51" y="56"/>
                  </a:cxn>
                  <a:cxn ang="0">
                    <a:pos x="39" y="55"/>
                  </a:cxn>
                  <a:cxn ang="0">
                    <a:pos x="28" y="59"/>
                  </a:cxn>
                  <a:cxn ang="0">
                    <a:pos x="15" y="73"/>
                  </a:cxn>
                  <a:cxn ang="0">
                    <a:pos x="11" y="75"/>
                  </a:cxn>
                  <a:cxn ang="0">
                    <a:pos x="2" y="68"/>
                  </a:cxn>
                  <a:cxn ang="0">
                    <a:pos x="11" y="88"/>
                  </a:cxn>
                  <a:cxn ang="0">
                    <a:pos x="23" y="102"/>
                  </a:cxn>
                  <a:cxn ang="0">
                    <a:pos x="18" y="117"/>
                  </a:cxn>
                  <a:cxn ang="0">
                    <a:pos x="29" y="137"/>
                  </a:cxn>
                  <a:cxn ang="0">
                    <a:pos x="40" y="148"/>
                  </a:cxn>
                  <a:cxn ang="0">
                    <a:pos x="54" y="164"/>
                  </a:cxn>
                  <a:cxn ang="0">
                    <a:pos x="66" y="171"/>
                  </a:cxn>
                  <a:cxn ang="0">
                    <a:pos x="83" y="186"/>
                  </a:cxn>
                  <a:cxn ang="0">
                    <a:pos x="91" y="194"/>
                  </a:cxn>
                  <a:cxn ang="0">
                    <a:pos x="102" y="207"/>
                  </a:cxn>
                  <a:cxn ang="0">
                    <a:pos x="114" y="210"/>
                  </a:cxn>
                  <a:cxn ang="0">
                    <a:pos x="127" y="208"/>
                  </a:cxn>
                  <a:cxn ang="0">
                    <a:pos x="136" y="207"/>
                  </a:cxn>
                  <a:cxn ang="0">
                    <a:pos x="151" y="192"/>
                  </a:cxn>
                  <a:cxn ang="0">
                    <a:pos x="157" y="175"/>
                  </a:cxn>
                  <a:cxn ang="0">
                    <a:pos x="172" y="178"/>
                  </a:cxn>
                  <a:cxn ang="0">
                    <a:pos x="194" y="187"/>
                  </a:cxn>
                  <a:cxn ang="0">
                    <a:pos x="215" y="196"/>
                  </a:cxn>
                  <a:cxn ang="0">
                    <a:pos x="238" y="193"/>
                  </a:cxn>
                  <a:cxn ang="0">
                    <a:pos x="254" y="200"/>
                  </a:cxn>
                  <a:cxn ang="0">
                    <a:pos x="261" y="202"/>
                  </a:cxn>
                </a:cxnLst>
                <a:rect l="0" t="0" r="r" b="b"/>
                <a:pathLst>
                  <a:path w="375" h="210">
                    <a:moveTo>
                      <a:pt x="159" y="8"/>
                    </a:moveTo>
                    <a:cubicBezTo>
                      <a:pt x="159" y="8"/>
                      <a:pt x="159" y="8"/>
                      <a:pt x="159" y="8"/>
                    </a:cubicBezTo>
                    <a:cubicBezTo>
                      <a:pt x="159" y="8"/>
                      <a:pt x="159" y="7"/>
                      <a:pt x="159" y="7"/>
                    </a:cubicBezTo>
                    <a:cubicBezTo>
                      <a:pt x="159" y="7"/>
                      <a:pt x="159" y="8"/>
                      <a:pt x="159" y="8"/>
                    </a:cubicBezTo>
                    <a:moveTo>
                      <a:pt x="261" y="202"/>
                    </a:moveTo>
                    <a:cubicBezTo>
                      <a:pt x="262" y="202"/>
                      <a:pt x="263" y="203"/>
                      <a:pt x="264" y="202"/>
                    </a:cubicBezTo>
                    <a:cubicBezTo>
                      <a:pt x="267" y="202"/>
                      <a:pt x="268" y="201"/>
                      <a:pt x="270" y="200"/>
                    </a:cubicBezTo>
                    <a:cubicBezTo>
                      <a:pt x="271" y="199"/>
                      <a:pt x="271" y="198"/>
                      <a:pt x="272" y="197"/>
                    </a:cubicBezTo>
                    <a:cubicBezTo>
                      <a:pt x="272" y="196"/>
                      <a:pt x="273" y="196"/>
                      <a:pt x="273" y="196"/>
                    </a:cubicBezTo>
                    <a:cubicBezTo>
                      <a:pt x="274" y="195"/>
                      <a:pt x="274" y="194"/>
                      <a:pt x="275" y="194"/>
                    </a:cubicBezTo>
                    <a:cubicBezTo>
                      <a:pt x="276" y="193"/>
                      <a:pt x="277" y="192"/>
                      <a:pt x="278" y="191"/>
                    </a:cubicBezTo>
                    <a:cubicBezTo>
                      <a:pt x="279" y="191"/>
                      <a:pt x="279" y="189"/>
                      <a:pt x="280" y="188"/>
                    </a:cubicBezTo>
                    <a:cubicBezTo>
                      <a:pt x="282" y="188"/>
                      <a:pt x="282" y="189"/>
                      <a:pt x="282" y="190"/>
                    </a:cubicBezTo>
                    <a:cubicBezTo>
                      <a:pt x="283" y="190"/>
                      <a:pt x="284" y="190"/>
                      <a:pt x="285" y="191"/>
                    </a:cubicBezTo>
                    <a:cubicBezTo>
                      <a:pt x="286" y="191"/>
                      <a:pt x="287" y="192"/>
                      <a:pt x="288" y="192"/>
                    </a:cubicBezTo>
                    <a:cubicBezTo>
                      <a:pt x="292" y="194"/>
                      <a:pt x="296" y="193"/>
                      <a:pt x="300" y="192"/>
                    </a:cubicBezTo>
                    <a:cubicBezTo>
                      <a:pt x="301" y="192"/>
                      <a:pt x="302" y="193"/>
                      <a:pt x="303" y="192"/>
                    </a:cubicBezTo>
                    <a:cubicBezTo>
                      <a:pt x="303" y="192"/>
                      <a:pt x="303" y="192"/>
                      <a:pt x="303" y="191"/>
                    </a:cubicBezTo>
                    <a:cubicBezTo>
                      <a:pt x="303" y="191"/>
                      <a:pt x="304" y="191"/>
                      <a:pt x="304" y="191"/>
                    </a:cubicBezTo>
                    <a:cubicBezTo>
                      <a:pt x="305" y="190"/>
                      <a:pt x="305" y="190"/>
                      <a:pt x="306" y="190"/>
                    </a:cubicBezTo>
                    <a:cubicBezTo>
                      <a:pt x="308" y="189"/>
                      <a:pt x="310" y="188"/>
                      <a:pt x="311" y="187"/>
                    </a:cubicBezTo>
                    <a:cubicBezTo>
                      <a:pt x="312" y="186"/>
                      <a:pt x="314" y="185"/>
                      <a:pt x="315" y="184"/>
                    </a:cubicBezTo>
                    <a:cubicBezTo>
                      <a:pt x="316" y="184"/>
                      <a:pt x="317" y="183"/>
                      <a:pt x="318" y="182"/>
                    </a:cubicBezTo>
                    <a:cubicBezTo>
                      <a:pt x="319" y="181"/>
                      <a:pt x="319" y="181"/>
                      <a:pt x="319" y="180"/>
                    </a:cubicBezTo>
                    <a:cubicBezTo>
                      <a:pt x="320" y="179"/>
                      <a:pt x="320" y="179"/>
                      <a:pt x="322" y="178"/>
                    </a:cubicBezTo>
                    <a:cubicBezTo>
                      <a:pt x="323" y="178"/>
                      <a:pt x="323" y="178"/>
                      <a:pt x="324" y="178"/>
                    </a:cubicBezTo>
                    <a:cubicBezTo>
                      <a:pt x="325" y="177"/>
                      <a:pt x="326" y="178"/>
                      <a:pt x="326" y="178"/>
                    </a:cubicBezTo>
                    <a:cubicBezTo>
                      <a:pt x="327" y="177"/>
                      <a:pt x="327" y="176"/>
                      <a:pt x="327" y="175"/>
                    </a:cubicBezTo>
                    <a:cubicBezTo>
                      <a:pt x="329" y="173"/>
                      <a:pt x="331" y="171"/>
                      <a:pt x="331" y="168"/>
                    </a:cubicBezTo>
                    <a:cubicBezTo>
                      <a:pt x="331" y="165"/>
                      <a:pt x="333" y="164"/>
                      <a:pt x="334" y="162"/>
                    </a:cubicBezTo>
                    <a:cubicBezTo>
                      <a:pt x="334" y="161"/>
                      <a:pt x="334" y="159"/>
                      <a:pt x="334" y="159"/>
                    </a:cubicBezTo>
                    <a:cubicBezTo>
                      <a:pt x="335" y="158"/>
                      <a:pt x="335" y="157"/>
                      <a:pt x="336" y="156"/>
                    </a:cubicBezTo>
                    <a:cubicBezTo>
                      <a:pt x="336" y="155"/>
                      <a:pt x="336" y="153"/>
                      <a:pt x="337" y="153"/>
                    </a:cubicBezTo>
                    <a:cubicBezTo>
                      <a:pt x="338" y="153"/>
                      <a:pt x="340" y="153"/>
                      <a:pt x="341" y="153"/>
                    </a:cubicBezTo>
                    <a:cubicBezTo>
                      <a:pt x="342" y="153"/>
                      <a:pt x="343" y="152"/>
                      <a:pt x="344" y="152"/>
                    </a:cubicBezTo>
                    <a:cubicBezTo>
                      <a:pt x="344" y="151"/>
                      <a:pt x="345" y="150"/>
                      <a:pt x="345" y="150"/>
                    </a:cubicBezTo>
                    <a:cubicBezTo>
                      <a:pt x="345" y="149"/>
                      <a:pt x="345" y="149"/>
                      <a:pt x="346" y="149"/>
                    </a:cubicBezTo>
                    <a:cubicBezTo>
                      <a:pt x="347" y="147"/>
                      <a:pt x="347" y="145"/>
                      <a:pt x="350" y="143"/>
                    </a:cubicBezTo>
                    <a:cubicBezTo>
                      <a:pt x="351" y="143"/>
                      <a:pt x="352" y="143"/>
                      <a:pt x="352" y="142"/>
                    </a:cubicBezTo>
                    <a:cubicBezTo>
                      <a:pt x="353" y="141"/>
                      <a:pt x="353" y="141"/>
                      <a:pt x="354" y="140"/>
                    </a:cubicBezTo>
                    <a:cubicBezTo>
                      <a:pt x="355" y="140"/>
                      <a:pt x="356" y="139"/>
                      <a:pt x="357" y="138"/>
                    </a:cubicBezTo>
                    <a:cubicBezTo>
                      <a:pt x="358" y="137"/>
                      <a:pt x="357" y="136"/>
                      <a:pt x="359" y="136"/>
                    </a:cubicBezTo>
                    <a:cubicBezTo>
                      <a:pt x="360" y="136"/>
                      <a:pt x="361" y="137"/>
                      <a:pt x="363" y="138"/>
                    </a:cubicBezTo>
                    <a:cubicBezTo>
                      <a:pt x="364" y="138"/>
                      <a:pt x="365" y="138"/>
                      <a:pt x="366" y="137"/>
                    </a:cubicBezTo>
                    <a:cubicBezTo>
                      <a:pt x="368" y="137"/>
                      <a:pt x="367" y="137"/>
                      <a:pt x="368" y="137"/>
                    </a:cubicBezTo>
                    <a:cubicBezTo>
                      <a:pt x="369" y="136"/>
                      <a:pt x="369" y="136"/>
                      <a:pt x="370" y="136"/>
                    </a:cubicBezTo>
                    <a:cubicBezTo>
                      <a:pt x="371" y="135"/>
                      <a:pt x="373" y="135"/>
                      <a:pt x="375" y="135"/>
                    </a:cubicBezTo>
                    <a:cubicBezTo>
                      <a:pt x="375" y="135"/>
                      <a:pt x="375" y="135"/>
                      <a:pt x="375" y="135"/>
                    </a:cubicBezTo>
                    <a:cubicBezTo>
                      <a:pt x="375" y="135"/>
                      <a:pt x="375" y="135"/>
                      <a:pt x="375" y="135"/>
                    </a:cubicBezTo>
                    <a:cubicBezTo>
                      <a:pt x="374" y="135"/>
                      <a:pt x="373" y="135"/>
                      <a:pt x="373" y="135"/>
                    </a:cubicBezTo>
                    <a:cubicBezTo>
                      <a:pt x="372" y="133"/>
                      <a:pt x="373" y="132"/>
                      <a:pt x="374" y="130"/>
                    </a:cubicBezTo>
                    <a:cubicBezTo>
                      <a:pt x="374" y="129"/>
                      <a:pt x="374" y="127"/>
                      <a:pt x="374" y="125"/>
                    </a:cubicBezTo>
                    <a:cubicBezTo>
                      <a:pt x="374" y="122"/>
                      <a:pt x="372" y="121"/>
                      <a:pt x="369" y="119"/>
                    </a:cubicBezTo>
                    <a:cubicBezTo>
                      <a:pt x="364" y="116"/>
                      <a:pt x="362" y="110"/>
                      <a:pt x="365" y="104"/>
                    </a:cubicBezTo>
                    <a:cubicBezTo>
                      <a:pt x="361" y="103"/>
                      <a:pt x="358" y="103"/>
                      <a:pt x="354" y="101"/>
                    </a:cubicBezTo>
                    <a:cubicBezTo>
                      <a:pt x="352" y="100"/>
                      <a:pt x="350" y="99"/>
                      <a:pt x="348" y="99"/>
                    </a:cubicBezTo>
                    <a:cubicBezTo>
                      <a:pt x="348" y="99"/>
                      <a:pt x="348" y="99"/>
                      <a:pt x="348" y="98"/>
                    </a:cubicBezTo>
                    <a:cubicBezTo>
                      <a:pt x="345" y="98"/>
                      <a:pt x="344" y="97"/>
                      <a:pt x="342" y="97"/>
                    </a:cubicBezTo>
                    <a:cubicBezTo>
                      <a:pt x="340" y="96"/>
                      <a:pt x="338" y="96"/>
                      <a:pt x="336" y="96"/>
                    </a:cubicBezTo>
                    <a:cubicBezTo>
                      <a:pt x="334" y="95"/>
                      <a:pt x="334" y="94"/>
                      <a:pt x="332" y="94"/>
                    </a:cubicBezTo>
                    <a:cubicBezTo>
                      <a:pt x="331" y="93"/>
                      <a:pt x="330" y="94"/>
                      <a:pt x="328" y="93"/>
                    </a:cubicBezTo>
                    <a:cubicBezTo>
                      <a:pt x="327" y="93"/>
                      <a:pt x="327" y="93"/>
                      <a:pt x="327" y="93"/>
                    </a:cubicBezTo>
                    <a:cubicBezTo>
                      <a:pt x="326" y="92"/>
                      <a:pt x="326" y="92"/>
                      <a:pt x="325" y="91"/>
                    </a:cubicBezTo>
                    <a:cubicBezTo>
                      <a:pt x="324" y="91"/>
                      <a:pt x="322" y="92"/>
                      <a:pt x="320" y="91"/>
                    </a:cubicBezTo>
                    <a:cubicBezTo>
                      <a:pt x="319" y="90"/>
                      <a:pt x="318" y="88"/>
                      <a:pt x="317" y="87"/>
                    </a:cubicBezTo>
                    <a:cubicBezTo>
                      <a:pt x="315" y="87"/>
                      <a:pt x="314" y="85"/>
                      <a:pt x="313" y="84"/>
                    </a:cubicBezTo>
                    <a:cubicBezTo>
                      <a:pt x="312" y="83"/>
                      <a:pt x="311" y="82"/>
                      <a:pt x="311" y="81"/>
                    </a:cubicBezTo>
                    <a:cubicBezTo>
                      <a:pt x="312" y="79"/>
                      <a:pt x="314" y="79"/>
                      <a:pt x="315" y="77"/>
                    </a:cubicBezTo>
                    <a:cubicBezTo>
                      <a:pt x="315" y="76"/>
                      <a:pt x="315" y="73"/>
                      <a:pt x="315" y="72"/>
                    </a:cubicBezTo>
                    <a:cubicBezTo>
                      <a:pt x="313" y="69"/>
                      <a:pt x="309" y="72"/>
                      <a:pt x="306" y="72"/>
                    </a:cubicBezTo>
                    <a:cubicBezTo>
                      <a:pt x="305" y="72"/>
                      <a:pt x="301" y="73"/>
                      <a:pt x="299" y="72"/>
                    </a:cubicBezTo>
                    <a:cubicBezTo>
                      <a:pt x="298" y="72"/>
                      <a:pt x="299" y="71"/>
                      <a:pt x="298" y="71"/>
                    </a:cubicBezTo>
                    <a:cubicBezTo>
                      <a:pt x="297" y="70"/>
                      <a:pt x="297" y="71"/>
                      <a:pt x="296" y="70"/>
                    </a:cubicBezTo>
                    <a:cubicBezTo>
                      <a:pt x="295" y="70"/>
                      <a:pt x="294" y="68"/>
                      <a:pt x="292" y="68"/>
                    </a:cubicBezTo>
                    <a:cubicBezTo>
                      <a:pt x="290" y="67"/>
                      <a:pt x="289" y="67"/>
                      <a:pt x="289" y="65"/>
                    </a:cubicBezTo>
                    <a:cubicBezTo>
                      <a:pt x="288" y="65"/>
                      <a:pt x="286" y="64"/>
                      <a:pt x="285" y="63"/>
                    </a:cubicBezTo>
                    <a:cubicBezTo>
                      <a:pt x="284" y="62"/>
                      <a:pt x="284" y="63"/>
                      <a:pt x="282" y="62"/>
                    </a:cubicBezTo>
                    <a:cubicBezTo>
                      <a:pt x="283" y="61"/>
                      <a:pt x="282" y="60"/>
                      <a:pt x="282" y="60"/>
                    </a:cubicBezTo>
                    <a:cubicBezTo>
                      <a:pt x="279" y="58"/>
                      <a:pt x="274" y="58"/>
                      <a:pt x="270" y="58"/>
                    </a:cubicBezTo>
                    <a:cubicBezTo>
                      <a:pt x="270" y="60"/>
                      <a:pt x="271" y="61"/>
                      <a:pt x="272" y="63"/>
                    </a:cubicBezTo>
                    <a:cubicBezTo>
                      <a:pt x="273" y="64"/>
                      <a:pt x="273" y="64"/>
                      <a:pt x="274" y="65"/>
                    </a:cubicBezTo>
                    <a:cubicBezTo>
                      <a:pt x="276" y="67"/>
                      <a:pt x="278" y="67"/>
                      <a:pt x="279" y="70"/>
                    </a:cubicBezTo>
                    <a:cubicBezTo>
                      <a:pt x="279" y="72"/>
                      <a:pt x="278" y="72"/>
                      <a:pt x="276" y="73"/>
                    </a:cubicBezTo>
                    <a:cubicBezTo>
                      <a:pt x="274" y="73"/>
                      <a:pt x="272" y="74"/>
                      <a:pt x="271" y="75"/>
                    </a:cubicBezTo>
                    <a:cubicBezTo>
                      <a:pt x="270" y="75"/>
                      <a:pt x="269" y="75"/>
                      <a:pt x="268" y="76"/>
                    </a:cubicBezTo>
                    <a:cubicBezTo>
                      <a:pt x="266" y="77"/>
                      <a:pt x="267" y="78"/>
                      <a:pt x="265" y="80"/>
                    </a:cubicBezTo>
                    <a:cubicBezTo>
                      <a:pt x="263" y="81"/>
                      <a:pt x="263" y="80"/>
                      <a:pt x="262" y="82"/>
                    </a:cubicBezTo>
                    <a:cubicBezTo>
                      <a:pt x="262" y="82"/>
                      <a:pt x="261" y="82"/>
                      <a:pt x="261" y="83"/>
                    </a:cubicBezTo>
                    <a:cubicBezTo>
                      <a:pt x="259" y="85"/>
                      <a:pt x="257" y="87"/>
                      <a:pt x="254" y="85"/>
                    </a:cubicBezTo>
                    <a:cubicBezTo>
                      <a:pt x="253" y="84"/>
                      <a:pt x="253" y="83"/>
                      <a:pt x="252" y="82"/>
                    </a:cubicBezTo>
                    <a:cubicBezTo>
                      <a:pt x="251" y="80"/>
                      <a:pt x="250" y="79"/>
                      <a:pt x="250" y="77"/>
                    </a:cubicBezTo>
                    <a:cubicBezTo>
                      <a:pt x="250" y="75"/>
                      <a:pt x="249" y="74"/>
                      <a:pt x="248" y="72"/>
                    </a:cubicBezTo>
                    <a:cubicBezTo>
                      <a:pt x="247" y="71"/>
                      <a:pt x="247" y="71"/>
                      <a:pt x="246" y="70"/>
                    </a:cubicBezTo>
                    <a:cubicBezTo>
                      <a:pt x="246" y="70"/>
                      <a:pt x="245" y="68"/>
                      <a:pt x="245" y="68"/>
                    </a:cubicBezTo>
                    <a:cubicBezTo>
                      <a:pt x="244" y="67"/>
                      <a:pt x="243" y="67"/>
                      <a:pt x="242" y="66"/>
                    </a:cubicBezTo>
                    <a:cubicBezTo>
                      <a:pt x="241" y="65"/>
                      <a:pt x="240" y="64"/>
                      <a:pt x="238" y="63"/>
                    </a:cubicBezTo>
                    <a:cubicBezTo>
                      <a:pt x="236" y="62"/>
                      <a:pt x="234" y="62"/>
                      <a:pt x="233" y="59"/>
                    </a:cubicBezTo>
                    <a:cubicBezTo>
                      <a:pt x="233" y="58"/>
                      <a:pt x="233" y="56"/>
                      <a:pt x="234" y="55"/>
                    </a:cubicBezTo>
                    <a:cubicBezTo>
                      <a:pt x="235" y="53"/>
                      <a:pt x="237" y="52"/>
                      <a:pt x="238" y="51"/>
                    </a:cubicBezTo>
                    <a:cubicBezTo>
                      <a:pt x="239" y="50"/>
                      <a:pt x="240" y="49"/>
                      <a:pt x="241" y="48"/>
                    </a:cubicBezTo>
                    <a:cubicBezTo>
                      <a:pt x="241" y="47"/>
                      <a:pt x="242" y="46"/>
                      <a:pt x="243" y="45"/>
                    </a:cubicBezTo>
                    <a:cubicBezTo>
                      <a:pt x="243" y="44"/>
                      <a:pt x="243" y="42"/>
                      <a:pt x="243" y="42"/>
                    </a:cubicBezTo>
                    <a:cubicBezTo>
                      <a:pt x="242" y="40"/>
                      <a:pt x="243" y="42"/>
                      <a:pt x="241" y="41"/>
                    </a:cubicBezTo>
                    <a:cubicBezTo>
                      <a:pt x="240" y="40"/>
                      <a:pt x="240" y="40"/>
                      <a:pt x="238" y="40"/>
                    </a:cubicBezTo>
                    <a:cubicBezTo>
                      <a:pt x="236" y="39"/>
                      <a:pt x="234" y="40"/>
                      <a:pt x="232" y="40"/>
                    </a:cubicBezTo>
                    <a:cubicBezTo>
                      <a:pt x="230" y="40"/>
                      <a:pt x="229" y="40"/>
                      <a:pt x="227" y="39"/>
                    </a:cubicBezTo>
                    <a:cubicBezTo>
                      <a:pt x="227" y="39"/>
                      <a:pt x="225" y="39"/>
                      <a:pt x="225" y="39"/>
                    </a:cubicBezTo>
                    <a:cubicBezTo>
                      <a:pt x="224" y="38"/>
                      <a:pt x="223" y="37"/>
                      <a:pt x="223" y="37"/>
                    </a:cubicBezTo>
                    <a:cubicBezTo>
                      <a:pt x="222" y="36"/>
                      <a:pt x="221" y="37"/>
                      <a:pt x="220" y="36"/>
                    </a:cubicBezTo>
                    <a:cubicBezTo>
                      <a:pt x="219" y="36"/>
                      <a:pt x="219" y="35"/>
                      <a:pt x="218" y="35"/>
                    </a:cubicBezTo>
                    <a:cubicBezTo>
                      <a:pt x="216" y="34"/>
                      <a:pt x="215" y="34"/>
                      <a:pt x="213" y="33"/>
                    </a:cubicBezTo>
                    <a:cubicBezTo>
                      <a:pt x="212" y="33"/>
                      <a:pt x="211" y="32"/>
                      <a:pt x="209" y="32"/>
                    </a:cubicBezTo>
                    <a:cubicBezTo>
                      <a:pt x="207" y="31"/>
                      <a:pt x="204" y="29"/>
                      <a:pt x="202" y="28"/>
                    </a:cubicBezTo>
                    <a:cubicBezTo>
                      <a:pt x="200" y="28"/>
                      <a:pt x="198" y="26"/>
                      <a:pt x="196" y="26"/>
                    </a:cubicBezTo>
                    <a:cubicBezTo>
                      <a:pt x="195" y="26"/>
                      <a:pt x="194" y="26"/>
                      <a:pt x="193" y="26"/>
                    </a:cubicBezTo>
                    <a:cubicBezTo>
                      <a:pt x="191" y="25"/>
                      <a:pt x="190" y="22"/>
                      <a:pt x="189" y="20"/>
                    </a:cubicBezTo>
                    <a:cubicBezTo>
                      <a:pt x="187" y="18"/>
                      <a:pt x="186" y="16"/>
                      <a:pt x="184" y="13"/>
                    </a:cubicBezTo>
                    <a:cubicBezTo>
                      <a:pt x="184" y="13"/>
                      <a:pt x="183" y="12"/>
                      <a:pt x="183" y="12"/>
                    </a:cubicBezTo>
                    <a:cubicBezTo>
                      <a:pt x="183" y="11"/>
                      <a:pt x="183" y="11"/>
                      <a:pt x="182" y="11"/>
                    </a:cubicBezTo>
                    <a:cubicBezTo>
                      <a:pt x="182" y="10"/>
                      <a:pt x="181" y="10"/>
                      <a:pt x="181" y="10"/>
                    </a:cubicBezTo>
                    <a:cubicBezTo>
                      <a:pt x="180" y="8"/>
                      <a:pt x="180" y="8"/>
                      <a:pt x="177" y="8"/>
                    </a:cubicBezTo>
                    <a:cubicBezTo>
                      <a:pt x="173" y="8"/>
                      <a:pt x="170" y="8"/>
                      <a:pt x="166" y="8"/>
                    </a:cubicBezTo>
                    <a:cubicBezTo>
                      <a:pt x="164" y="8"/>
                      <a:pt x="161" y="8"/>
                      <a:pt x="159" y="8"/>
                    </a:cubicBezTo>
                    <a:cubicBezTo>
                      <a:pt x="160" y="8"/>
                      <a:pt x="160" y="8"/>
                      <a:pt x="160" y="9"/>
                    </a:cubicBezTo>
                    <a:cubicBezTo>
                      <a:pt x="161" y="11"/>
                      <a:pt x="158" y="12"/>
                      <a:pt x="157" y="13"/>
                    </a:cubicBezTo>
                    <a:cubicBezTo>
                      <a:pt x="157" y="14"/>
                      <a:pt x="157" y="17"/>
                      <a:pt x="158" y="18"/>
                    </a:cubicBezTo>
                    <a:cubicBezTo>
                      <a:pt x="156" y="16"/>
                      <a:pt x="154" y="19"/>
                      <a:pt x="153" y="20"/>
                    </a:cubicBezTo>
                    <a:cubicBezTo>
                      <a:pt x="152" y="21"/>
                      <a:pt x="151" y="22"/>
                      <a:pt x="150" y="22"/>
                    </a:cubicBezTo>
                    <a:cubicBezTo>
                      <a:pt x="149" y="22"/>
                      <a:pt x="146" y="22"/>
                      <a:pt x="146" y="22"/>
                    </a:cubicBezTo>
                    <a:cubicBezTo>
                      <a:pt x="145" y="21"/>
                      <a:pt x="145" y="20"/>
                      <a:pt x="145" y="19"/>
                    </a:cubicBezTo>
                    <a:cubicBezTo>
                      <a:pt x="145" y="18"/>
                      <a:pt x="145" y="18"/>
                      <a:pt x="145" y="18"/>
                    </a:cubicBezTo>
                    <a:cubicBezTo>
                      <a:pt x="144" y="17"/>
                      <a:pt x="142" y="16"/>
                      <a:pt x="141" y="16"/>
                    </a:cubicBezTo>
                    <a:cubicBezTo>
                      <a:pt x="139" y="15"/>
                      <a:pt x="139" y="15"/>
                      <a:pt x="140" y="13"/>
                    </a:cubicBezTo>
                    <a:cubicBezTo>
                      <a:pt x="141" y="12"/>
                      <a:pt x="141" y="11"/>
                      <a:pt x="142" y="10"/>
                    </a:cubicBezTo>
                    <a:cubicBezTo>
                      <a:pt x="142" y="8"/>
                      <a:pt x="139" y="4"/>
                      <a:pt x="137" y="4"/>
                    </a:cubicBezTo>
                    <a:cubicBezTo>
                      <a:pt x="136" y="3"/>
                      <a:pt x="135" y="2"/>
                      <a:pt x="134" y="1"/>
                    </a:cubicBezTo>
                    <a:cubicBezTo>
                      <a:pt x="133" y="0"/>
                      <a:pt x="133" y="0"/>
                      <a:pt x="131" y="1"/>
                    </a:cubicBezTo>
                    <a:cubicBezTo>
                      <a:pt x="130" y="1"/>
                      <a:pt x="129" y="3"/>
                      <a:pt x="128" y="4"/>
                    </a:cubicBezTo>
                    <a:cubicBezTo>
                      <a:pt x="126" y="5"/>
                      <a:pt x="123" y="6"/>
                      <a:pt x="121" y="6"/>
                    </a:cubicBezTo>
                    <a:cubicBezTo>
                      <a:pt x="122" y="7"/>
                      <a:pt x="124" y="8"/>
                      <a:pt x="126" y="9"/>
                    </a:cubicBezTo>
                    <a:cubicBezTo>
                      <a:pt x="126" y="10"/>
                      <a:pt x="130" y="12"/>
                      <a:pt x="129" y="13"/>
                    </a:cubicBezTo>
                    <a:cubicBezTo>
                      <a:pt x="129" y="14"/>
                      <a:pt x="128" y="14"/>
                      <a:pt x="127" y="15"/>
                    </a:cubicBezTo>
                    <a:cubicBezTo>
                      <a:pt x="125" y="16"/>
                      <a:pt x="123" y="17"/>
                      <a:pt x="121" y="17"/>
                    </a:cubicBezTo>
                    <a:cubicBezTo>
                      <a:pt x="120" y="18"/>
                      <a:pt x="118" y="19"/>
                      <a:pt x="117" y="20"/>
                    </a:cubicBezTo>
                    <a:cubicBezTo>
                      <a:pt x="116" y="20"/>
                      <a:pt x="116" y="21"/>
                      <a:pt x="115" y="20"/>
                    </a:cubicBezTo>
                    <a:cubicBezTo>
                      <a:pt x="114" y="19"/>
                      <a:pt x="113" y="21"/>
                      <a:pt x="112" y="21"/>
                    </a:cubicBezTo>
                    <a:cubicBezTo>
                      <a:pt x="111" y="22"/>
                      <a:pt x="110" y="21"/>
                      <a:pt x="109" y="21"/>
                    </a:cubicBezTo>
                    <a:cubicBezTo>
                      <a:pt x="108" y="21"/>
                      <a:pt x="105" y="22"/>
                      <a:pt x="105" y="23"/>
                    </a:cubicBezTo>
                    <a:cubicBezTo>
                      <a:pt x="105" y="23"/>
                      <a:pt x="105" y="24"/>
                      <a:pt x="105" y="24"/>
                    </a:cubicBezTo>
                    <a:cubicBezTo>
                      <a:pt x="104" y="25"/>
                      <a:pt x="103" y="26"/>
                      <a:pt x="102" y="26"/>
                    </a:cubicBezTo>
                    <a:cubicBezTo>
                      <a:pt x="101" y="27"/>
                      <a:pt x="101" y="28"/>
                      <a:pt x="100" y="28"/>
                    </a:cubicBezTo>
                    <a:cubicBezTo>
                      <a:pt x="99" y="28"/>
                      <a:pt x="98" y="28"/>
                      <a:pt x="97" y="28"/>
                    </a:cubicBezTo>
                    <a:cubicBezTo>
                      <a:pt x="96" y="28"/>
                      <a:pt x="94" y="29"/>
                      <a:pt x="93" y="29"/>
                    </a:cubicBezTo>
                    <a:cubicBezTo>
                      <a:pt x="91" y="29"/>
                      <a:pt x="90" y="30"/>
                      <a:pt x="88" y="30"/>
                    </a:cubicBezTo>
                    <a:cubicBezTo>
                      <a:pt x="87" y="30"/>
                      <a:pt x="87" y="30"/>
                      <a:pt x="86" y="30"/>
                    </a:cubicBezTo>
                    <a:cubicBezTo>
                      <a:pt x="85" y="30"/>
                      <a:pt x="84" y="31"/>
                      <a:pt x="83" y="32"/>
                    </a:cubicBezTo>
                    <a:cubicBezTo>
                      <a:pt x="83" y="32"/>
                      <a:pt x="82" y="32"/>
                      <a:pt x="82" y="33"/>
                    </a:cubicBezTo>
                    <a:cubicBezTo>
                      <a:pt x="81" y="34"/>
                      <a:pt x="81" y="36"/>
                      <a:pt x="81" y="37"/>
                    </a:cubicBezTo>
                    <a:cubicBezTo>
                      <a:pt x="81" y="38"/>
                      <a:pt x="82" y="40"/>
                      <a:pt x="81" y="40"/>
                    </a:cubicBezTo>
                    <a:cubicBezTo>
                      <a:pt x="80" y="41"/>
                      <a:pt x="79" y="41"/>
                      <a:pt x="78" y="41"/>
                    </a:cubicBezTo>
                    <a:cubicBezTo>
                      <a:pt x="78" y="41"/>
                      <a:pt x="76" y="41"/>
                      <a:pt x="75" y="41"/>
                    </a:cubicBezTo>
                    <a:cubicBezTo>
                      <a:pt x="75" y="40"/>
                      <a:pt x="75" y="38"/>
                      <a:pt x="74" y="38"/>
                    </a:cubicBezTo>
                    <a:cubicBezTo>
                      <a:pt x="74" y="37"/>
                      <a:pt x="72" y="36"/>
                      <a:pt x="71" y="38"/>
                    </a:cubicBezTo>
                    <a:cubicBezTo>
                      <a:pt x="71" y="38"/>
                      <a:pt x="71" y="39"/>
                      <a:pt x="71" y="40"/>
                    </a:cubicBezTo>
                    <a:cubicBezTo>
                      <a:pt x="71" y="40"/>
                      <a:pt x="71" y="40"/>
                      <a:pt x="71" y="41"/>
                    </a:cubicBezTo>
                    <a:cubicBezTo>
                      <a:pt x="70" y="42"/>
                      <a:pt x="70" y="43"/>
                      <a:pt x="70" y="44"/>
                    </a:cubicBezTo>
                    <a:cubicBezTo>
                      <a:pt x="68" y="44"/>
                      <a:pt x="66" y="41"/>
                      <a:pt x="65" y="43"/>
                    </a:cubicBezTo>
                    <a:cubicBezTo>
                      <a:pt x="64" y="43"/>
                      <a:pt x="64" y="44"/>
                      <a:pt x="64" y="45"/>
                    </a:cubicBezTo>
                    <a:cubicBezTo>
                      <a:pt x="64" y="46"/>
                      <a:pt x="63" y="46"/>
                      <a:pt x="63" y="47"/>
                    </a:cubicBezTo>
                    <a:cubicBezTo>
                      <a:pt x="63" y="47"/>
                      <a:pt x="62" y="48"/>
                      <a:pt x="61" y="48"/>
                    </a:cubicBezTo>
                    <a:cubicBezTo>
                      <a:pt x="61" y="48"/>
                      <a:pt x="61" y="49"/>
                      <a:pt x="61" y="49"/>
                    </a:cubicBezTo>
                    <a:cubicBezTo>
                      <a:pt x="61" y="49"/>
                      <a:pt x="60" y="49"/>
                      <a:pt x="60" y="49"/>
                    </a:cubicBezTo>
                    <a:cubicBezTo>
                      <a:pt x="57" y="49"/>
                      <a:pt x="57" y="49"/>
                      <a:pt x="55" y="51"/>
                    </a:cubicBezTo>
                    <a:cubicBezTo>
                      <a:pt x="55" y="52"/>
                      <a:pt x="54" y="53"/>
                      <a:pt x="53" y="54"/>
                    </a:cubicBezTo>
                    <a:cubicBezTo>
                      <a:pt x="52" y="55"/>
                      <a:pt x="51" y="55"/>
                      <a:pt x="51" y="56"/>
                    </a:cubicBezTo>
                    <a:cubicBezTo>
                      <a:pt x="50" y="57"/>
                      <a:pt x="50" y="58"/>
                      <a:pt x="49" y="57"/>
                    </a:cubicBezTo>
                    <a:cubicBezTo>
                      <a:pt x="49" y="57"/>
                      <a:pt x="48" y="56"/>
                      <a:pt x="48" y="56"/>
                    </a:cubicBezTo>
                    <a:cubicBezTo>
                      <a:pt x="46" y="55"/>
                      <a:pt x="45" y="56"/>
                      <a:pt x="44" y="56"/>
                    </a:cubicBezTo>
                    <a:cubicBezTo>
                      <a:pt x="43" y="56"/>
                      <a:pt x="43" y="55"/>
                      <a:pt x="42" y="55"/>
                    </a:cubicBezTo>
                    <a:cubicBezTo>
                      <a:pt x="42" y="55"/>
                      <a:pt x="40" y="55"/>
                      <a:pt x="39" y="55"/>
                    </a:cubicBezTo>
                    <a:cubicBezTo>
                      <a:pt x="39" y="55"/>
                      <a:pt x="39" y="57"/>
                      <a:pt x="38" y="57"/>
                    </a:cubicBezTo>
                    <a:cubicBezTo>
                      <a:pt x="37" y="59"/>
                      <a:pt x="36" y="59"/>
                      <a:pt x="34" y="59"/>
                    </a:cubicBezTo>
                    <a:cubicBezTo>
                      <a:pt x="33" y="59"/>
                      <a:pt x="33" y="60"/>
                      <a:pt x="32" y="59"/>
                    </a:cubicBezTo>
                    <a:cubicBezTo>
                      <a:pt x="31" y="59"/>
                      <a:pt x="31" y="58"/>
                      <a:pt x="30" y="58"/>
                    </a:cubicBezTo>
                    <a:cubicBezTo>
                      <a:pt x="29" y="57"/>
                      <a:pt x="29" y="59"/>
                      <a:pt x="28" y="59"/>
                    </a:cubicBezTo>
                    <a:cubicBezTo>
                      <a:pt x="27" y="60"/>
                      <a:pt x="26" y="60"/>
                      <a:pt x="26" y="61"/>
                    </a:cubicBezTo>
                    <a:cubicBezTo>
                      <a:pt x="24" y="61"/>
                      <a:pt x="23" y="63"/>
                      <a:pt x="22" y="64"/>
                    </a:cubicBezTo>
                    <a:cubicBezTo>
                      <a:pt x="20" y="65"/>
                      <a:pt x="18" y="66"/>
                      <a:pt x="17" y="68"/>
                    </a:cubicBezTo>
                    <a:cubicBezTo>
                      <a:pt x="16" y="69"/>
                      <a:pt x="15" y="70"/>
                      <a:pt x="15" y="70"/>
                    </a:cubicBezTo>
                    <a:cubicBezTo>
                      <a:pt x="15" y="71"/>
                      <a:pt x="15" y="72"/>
                      <a:pt x="15" y="73"/>
                    </a:cubicBezTo>
                    <a:cubicBezTo>
                      <a:pt x="15" y="74"/>
                      <a:pt x="14" y="74"/>
                      <a:pt x="13" y="76"/>
                    </a:cubicBezTo>
                    <a:cubicBezTo>
                      <a:pt x="13" y="77"/>
                      <a:pt x="13" y="78"/>
                      <a:pt x="12" y="79"/>
                    </a:cubicBezTo>
                    <a:cubicBezTo>
                      <a:pt x="12" y="78"/>
                      <a:pt x="12" y="78"/>
                      <a:pt x="12" y="77"/>
                    </a:cubicBezTo>
                    <a:cubicBezTo>
                      <a:pt x="11" y="76"/>
                      <a:pt x="11" y="77"/>
                      <a:pt x="11" y="76"/>
                    </a:cubicBezTo>
                    <a:cubicBezTo>
                      <a:pt x="11" y="76"/>
                      <a:pt x="11" y="75"/>
                      <a:pt x="11" y="75"/>
                    </a:cubicBezTo>
                    <a:cubicBezTo>
                      <a:pt x="10" y="74"/>
                      <a:pt x="9" y="74"/>
                      <a:pt x="9" y="73"/>
                    </a:cubicBezTo>
                    <a:cubicBezTo>
                      <a:pt x="8" y="72"/>
                      <a:pt x="8" y="71"/>
                      <a:pt x="8" y="70"/>
                    </a:cubicBezTo>
                    <a:cubicBezTo>
                      <a:pt x="8" y="68"/>
                      <a:pt x="7" y="64"/>
                      <a:pt x="5" y="65"/>
                    </a:cubicBezTo>
                    <a:cubicBezTo>
                      <a:pt x="3" y="66"/>
                      <a:pt x="3" y="66"/>
                      <a:pt x="2" y="67"/>
                    </a:cubicBezTo>
                    <a:cubicBezTo>
                      <a:pt x="2" y="68"/>
                      <a:pt x="2" y="68"/>
                      <a:pt x="2" y="68"/>
                    </a:cubicBezTo>
                    <a:cubicBezTo>
                      <a:pt x="2" y="69"/>
                      <a:pt x="2" y="69"/>
                      <a:pt x="1" y="69"/>
                    </a:cubicBezTo>
                    <a:cubicBezTo>
                      <a:pt x="0" y="73"/>
                      <a:pt x="6" y="73"/>
                      <a:pt x="6" y="76"/>
                    </a:cubicBezTo>
                    <a:cubicBezTo>
                      <a:pt x="7" y="78"/>
                      <a:pt x="7" y="80"/>
                      <a:pt x="7" y="81"/>
                    </a:cubicBezTo>
                    <a:cubicBezTo>
                      <a:pt x="7" y="83"/>
                      <a:pt x="7" y="84"/>
                      <a:pt x="8" y="86"/>
                    </a:cubicBezTo>
                    <a:cubicBezTo>
                      <a:pt x="8" y="88"/>
                      <a:pt x="9" y="87"/>
                      <a:pt x="11" y="88"/>
                    </a:cubicBezTo>
                    <a:cubicBezTo>
                      <a:pt x="13" y="89"/>
                      <a:pt x="12" y="91"/>
                      <a:pt x="14" y="92"/>
                    </a:cubicBezTo>
                    <a:cubicBezTo>
                      <a:pt x="14" y="93"/>
                      <a:pt x="16" y="93"/>
                      <a:pt x="17" y="94"/>
                    </a:cubicBezTo>
                    <a:cubicBezTo>
                      <a:pt x="18" y="95"/>
                      <a:pt x="18" y="96"/>
                      <a:pt x="20" y="96"/>
                    </a:cubicBezTo>
                    <a:cubicBezTo>
                      <a:pt x="21" y="97"/>
                      <a:pt x="23" y="97"/>
                      <a:pt x="24" y="99"/>
                    </a:cubicBezTo>
                    <a:cubicBezTo>
                      <a:pt x="24" y="100"/>
                      <a:pt x="23" y="101"/>
                      <a:pt x="23" y="102"/>
                    </a:cubicBezTo>
                    <a:cubicBezTo>
                      <a:pt x="23" y="103"/>
                      <a:pt x="23" y="104"/>
                      <a:pt x="23" y="105"/>
                    </a:cubicBezTo>
                    <a:cubicBezTo>
                      <a:pt x="23" y="106"/>
                      <a:pt x="22" y="107"/>
                      <a:pt x="21" y="108"/>
                    </a:cubicBezTo>
                    <a:cubicBezTo>
                      <a:pt x="21" y="108"/>
                      <a:pt x="20" y="109"/>
                      <a:pt x="20" y="110"/>
                    </a:cubicBezTo>
                    <a:cubicBezTo>
                      <a:pt x="19" y="111"/>
                      <a:pt x="18" y="112"/>
                      <a:pt x="18" y="113"/>
                    </a:cubicBezTo>
                    <a:cubicBezTo>
                      <a:pt x="17" y="114"/>
                      <a:pt x="17" y="116"/>
                      <a:pt x="18" y="117"/>
                    </a:cubicBezTo>
                    <a:cubicBezTo>
                      <a:pt x="20" y="118"/>
                      <a:pt x="21" y="119"/>
                      <a:pt x="22" y="120"/>
                    </a:cubicBezTo>
                    <a:cubicBezTo>
                      <a:pt x="23" y="121"/>
                      <a:pt x="24" y="123"/>
                      <a:pt x="24" y="124"/>
                    </a:cubicBezTo>
                    <a:cubicBezTo>
                      <a:pt x="25" y="126"/>
                      <a:pt x="26" y="128"/>
                      <a:pt x="27" y="130"/>
                    </a:cubicBezTo>
                    <a:cubicBezTo>
                      <a:pt x="27" y="131"/>
                      <a:pt x="27" y="131"/>
                      <a:pt x="28" y="132"/>
                    </a:cubicBezTo>
                    <a:cubicBezTo>
                      <a:pt x="28" y="133"/>
                      <a:pt x="28" y="136"/>
                      <a:pt x="29" y="137"/>
                    </a:cubicBezTo>
                    <a:cubicBezTo>
                      <a:pt x="29" y="139"/>
                      <a:pt x="29" y="139"/>
                      <a:pt x="30" y="140"/>
                    </a:cubicBezTo>
                    <a:cubicBezTo>
                      <a:pt x="31" y="141"/>
                      <a:pt x="32" y="142"/>
                      <a:pt x="33" y="144"/>
                    </a:cubicBezTo>
                    <a:cubicBezTo>
                      <a:pt x="33" y="145"/>
                      <a:pt x="33" y="145"/>
                      <a:pt x="34" y="145"/>
                    </a:cubicBezTo>
                    <a:cubicBezTo>
                      <a:pt x="34" y="146"/>
                      <a:pt x="36" y="146"/>
                      <a:pt x="37" y="147"/>
                    </a:cubicBezTo>
                    <a:cubicBezTo>
                      <a:pt x="38" y="147"/>
                      <a:pt x="38" y="148"/>
                      <a:pt x="40" y="148"/>
                    </a:cubicBezTo>
                    <a:cubicBezTo>
                      <a:pt x="40" y="148"/>
                      <a:pt x="42" y="147"/>
                      <a:pt x="42" y="147"/>
                    </a:cubicBezTo>
                    <a:cubicBezTo>
                      <a:pt x="43" y="148"/>
                      <a:pt x="43" y="148"/>
                      <a:pt x="44" y="148"/>
                    </a:cubicBezTo>
                    <a:cubicBezTo>
                      <a:pt x="45" y="150"/>
                      <a:pt x="47" y="151"/>
                      <a:pt x="48" y="152"/>
                    </a:cubicBezTo>
                    <a:cubicBezTo>
                      <a:pt x="49" y="153"/>
                      <a:pt x="50" y="155"/>
                      <a:pt x="51" y="156"/>
                    </a:cubicBezTo>
                    <a:cubicBezTo>
                      <a:pt x="53" y="159"/>
                      <a:pt x="54" y="161"/>
                      <a:pt x="54" y="164"/>
                    </a:cubicBezTo>
                    <a:cubicBezTo>
                      <a:pt x="54" y="164"/>
                      <a:pt x="54" y="164"/>
                      <a:pt x="54" y="165"/>
                    </a:cubicBezTo>
                    <a:cubicBezTo>
                      <a:pt x="55" y="166"/>
                      <a:pt x="58" y="166"/>
                      <a:pt x="59" y="167"/>
                    </a:cubicBezTo>
                    <a:cubicBezTo>
                      <a:pt x="60" y="167"/>
                      <a:pt x="62" y="168"/>
                      <a:pt x="63" y="169"/>
                    </a:cubicBezTo>
                    <a:cubicBezTo>
                      <a:pt x="63" y="169"/>
                      <a:pt x="63" y="169"/>
                      <a:pt x="63" y="170"/>
                    </a:cubicBezTo>
                    <a:cubicBezTo>
                      <a:pt x="64" y="170"/>
                      <a:pt x="65" y="171"/>
                      <a:pt x="66" y="171"/>
                    </a:cubicBezTo>
                    <a:cubicBezTo>
                      <a:pt x="66" y="172"/>
                      <a:pt x="67" y="173"/>
                      <a:pt x="67" y="174"/>
                    </a:cubicBezTo>
                    <a:cubicBezTo>
                      <a:pt x="68" y="175"/>
                      <a:pt x="69" y="176"/>
                      <a:pt x="69" y="177"/>
                    </a:cubicBezTo>
                    <a:cubicBezTo>
                      <a:pt x="71" y="183"/>
                      <a:pt x="77" y="176"/>
                      <a:pt x="79" y="181"/>
                    </a:cubicBezTo>
                    <a:cubicBezTo>
                      <a:pt x="79" y="182"/>
                      <a:pt x="79" y="183"/>
                      <a:pt x="80" y="184"/>
                    </a:cubicBezTo>
                    <a:cubicBezTo>
                      <a:pt x="81" y="184"/>
                      <a:pt x="82" y="185"/>
                      <a:pt x="83" y="186"/>
                    </a:cubicBezTo>
                    <a:cubicBezTo>
                      <a:pt x="84" y="187"/>
                      <a:pt x="85" y="188"/>
                      <a:pt x="86" y="188"/>
                    </a:cubicBezTo>
                    <a:cubicBezTo>
                      <a:pt x="86" y="189"/>
                      <a:pt x="87" y="189"/>
                      <a:pt x="88" y="190"/>
                    </a:cubicBezTo>
                    <a:cubicBezTo>
                      <a:pt x="88" y="190"/>
                      <a:pt x="89" y="192"/>
                      <a:pt x="89" y="193"/>
                    </a:cubicBezTo>
                    <a:cubicBezTo>
                      <a:pt x="89" y="193"/>
                      <a:pt x="89" y="193"/>
                      <a:pt x="89" y="193"/>
                    </a:cubicBezTo>
                    <a:cubicBezTo>
                      <a:pt x="90" y="193"/>
                      <a:pt x="90" y="194"/>
                      <a:pt x="91" y="194"/>
                    </a:cubicBezTo>
                    <a:cubicBezTo>
                      <a:pt x="92" y="195"/>
                      <a:pt x="94" y="195"/>
                      <a:pt x="95" y="196"/>
                    </a:cubicBezTo>
                    <a:cubicBezTo>
                      <a:pt x="96" y="197"/>
                      <a:pt x="97" y="198"/>
                      <a:pt x="97" y="198"/>
                    </a:cubicBezTo>
                    <a:cubicBezTo>
                      <a:pt x="98" y="199"/>
                      <a:pt x="99" y="200"/>
                      <a:pt x="99" y="201"/>
                    </a:cubicBezTo>
                    <a:cubicBezTo>
                      <a:pt x="101" y="201"/>
                      <a:pt x="101" y="203"/>
                      <a:pt x="101" y="204"/>
                    </a:cubicBezTo>
                    <a:cubicBezTo>
                      <a:pt x="101" y="205"/>
                      <a:pt x="101" y="206"/>
                      <a:pt x="102" y="207"/>
                    </a:cubicBezTo>
                    <a:cubicBezTo>
                      <a:pt x="102" y="208"/>
                      <a:pt x="104" y="209"/>
                      <a:pt x="104" y="209"/>
                    </a:cubicBezTo>
                    <a:cubicBezTo>
                      <a:pt x="105" y="210"/>
                      <a:pt x="106" y="209"/>
                      <a:pt x="107" y="210"/>
                    </a:cubicBezTo>
                    <a:cubicBezTo>
                      <a:pt x="108" y="210"/>
                      <a:pt x="108" y="210"/>
                      <a:pt x="108" y="210"/>
                    </a:cubicBezTo>
                    <a:cubicBezTo>
                      <a:pt x="109" y="210"/>
                      <a:pt x="110" y="210"/>
                      <a:pt x="111" y="210"/>
                    </a:cubicBezTo>
                    <a:cubicBezTo>
                      <a:pt x="112" y="210"/>
                      <a:pt x="113" y="210"/>
                      <a:pt x="114" y="210"/>
                    </a:cubicBezTo>
                    <a:cubicBezTo>
                      <a:pt x="115" y="210"/>
                      <a:pt x="116" y="209"/>
                      <a:pt x="117" y="209"/>
                    </a:cubicBezTo>
                    <a:cubicBezTo>
                      <a:pt x="118" y="209"/>
                      <a:pt x="119" y="209"/>
                      <a:pt x="119" y="209"/>
                    </a:cubicBezTo>
                    <a:cubicBezTo>
                      <a:pt x="120" y="208"/>
                      <a:pt x="120" y="204"/>
                      <a:pt x="123" y="204"/>
                    </a:cubicBezTo>
                    <a:cubicBezTo>
                      <a:pt x="124" y="204"/>
                      <a:pt x="125" y="205"/>
                      <a:pt x="126" y="206"/>
                    </a:cubicBezTo>
                    <a:cubicBezTo>
                      <a:pt x="126" y="207"/>
                      <a:pt x="126" y="207"/>
                      <a:pt x="127" y="208"/>
                    </a:cubicBezTo>
                    <a:cubicBezTo>
                      <a:pt x="127" y="208"/>
                      <a:pt x="128" y="208"/>
                      <a:pt x="128" y="209"/>
                    </a:cubicBezTo>
                    <a:cubicBezTo>
                      <a:pt x="128" y="209"/>
                      <a:pt x="128" y="209"/>
                      <a:pt x="129" y="209"/>
                    </a:cubicBezTo>
                    <a:cubicBezTo>
                      <a:pt x="129" y="210"/>
                      <a:pt x="130" y="209"/>
                      <a:pt x="131" y="209"/>
                    </a:cubicBezTo>
                    <a:cubicBezTo>
                      <a:pt x="131" y="209"/>
                      <a:pt x="132" y="209"/>
                      <a:pt x="133" y="209"/>
                    </a:cubicBezTo>
                    <a:cubicBezTo>
                      <a:pt x="134" y="209"/>
                      <a:pt x="135" y="208"/>
                      <a:pt x="136" y="207"/>
                    </a:cubicBezTo>
                    <a:cubicBezTo>
                      <a:pt x="138" y="205"/>
                      <a:pt x="138" y="202"/>
                      <a:pt x="139" y="199"/>
                    </a:cubicBezTo>
                    <a:cubicBezTo>
                      <a:pt x="139" y="197"/>
                      <a:pt x="141" y="197"/>
                      <a:pt x="141" y="195"/>
                    </a:cubicBezTo>
                    <a:cubicBezTo>
                      <a:pt x="142" y="195"/>
                      <a:pt x="142" y="193"/>
                      <a:pt x="142" y="193"/>
                    </a:cubicBezTo>
                    <a:cubicBezTo>
                      <a:pt x="143" y="192"/>
                      <a:pt x="145" y="192"/>
                      <a:pt x="147" y="193"/>
                    </a:cubicBezTo>
                    <a:cubicBezTo>
                      <a:pt x="148" y="194"/>
                      <a:pt x="150" y="194"/>
                      <a:pt x="151" y="192"/>
                    </a:cubicBezTo>
                    <a:cubicBezTo>
                      <a:pt x="151" y="191"/>
                      <a:pt x="150" y="190"/>
                      <a:pt x="150" y="188"/>
                    </a:cubicBezTo>
                    <a:cubicBezTo>
                      <a:pt x="149" y="186"/>
                      <a:pt x="150" y="184"/>
                      <a:pt x="150" y="183"/>
                    </a:cubicBezTo>
                    <a:cubicBezTo>
                      <a:pt x="150" y="180"/>
                      <a:pt x="152" y="178"/>
                      <a:pt x="153" y="176"/>
                    </a:cubicBezTo>
                    <a:cubicBezTo>
                      <a:pt x="153" y="175"/>
                      <a:pt x="153" y="175"/>
                      <a:pt x="154" y="175"/>
                    </a:cubicBezTo>
                    <a:cubicBezTo>
                      <a:pt x="155" y="175"/>
                      <a:pt x="156" y="175"/>
                      <a:pt x="157" y="175"/>
                    </a:cubicBezTo>
                    <a:cubicBezTo>
                      <a:pt x="159" y="175"/>
                      <a:pt x="158" y="177"/>
                      <a:pt x="159" y="178"/>
                    </a:cubicBezTo>
                    <a:cubicBezTo>
                      <a:pt x="161" y="180"/>
                      <a:pt x="163" y="180"/>
                      <a:pt x="165" y="179"/>
                    </a:cubicBezTo>
                    <a:cubicBezTo>
                      <a:pt x="167" y="179"/>
                      <a:pt x="166" y="177"/>
                      <a:pt x="166" y="176"/>
                    </a:cubicBezTo>
                    <a:cubicBezTo>
                      <a:pt x="167" y="175"/>
                      <a:pt x="171" y="175"/>
                      <a:pt x="171" y="177"/>
                    </a:cubicBezTo>
                    <a:cubicBezTo>
                      <a:pt x="171" y="177"/>
                      <a:pt x="172" y="178"/>
                      <a:pt x="172" y="178"/>
                    </a:cubicBezTo>
                    <a:cubicBezTo>
                      <a:pt x="174" y="179"/>
                      <a:pt x="175" y="179"/>
                      <a:pt x="177" y="180"/>
                    </a:cubicBezTo>
                    <a:cubicBezTo>
                      <a:pt x="179" y="181"/>
                      <a:pt x="183" y="182"/>
                      <a:pt x="185" y="184"/>
                    </a:cubicBezTo>
                    <a:cubicBezTo>
                      <a:pt x="186" y="185"/>
                      <a:pt x="186" y="186"/>
                      <a:pt x="187" y="187"/>
                    </a:cubicBezTo>
                    <a:cubicBezTo>
                      <a:pt x="188" y="187"/>
                      <a:pt x="190" y="187"/>
                      <a:pt x="192" y="187"/>
                    </a:cubicBezTo>
                    <a:cubicBezTo>
                      <a:pt x="192" y="187"/>
                      <a:pt x="193" y="187"/>
                      <a:pt x="194" y="187"/>
                    </a:cubicBezTo>
                    <a:cubicBezTo>
                      <a:pt x="195" y="186"/>
                      <a:pt x="195" y="186"/>
                      <a:pt x="196" y="186"/>
                    </a:cubicBezTo>
                    <a:cubicBezTo>
                      <a:pt x="198" y="185"/>
                      <a:pt x="199" y="186"/>
                      <a:pt x="200" y="188"/>
                    </a:cubicBezTo>
                    <a:cubicBezTo>
                      <a:pt x="201" y="189"/>
                      <a:pt x="200" y="191"/>
                      <a:pt x="202" y="192"/>
                    </a:cubicBezTo>
                    <a:cubicBezTo>
                      <a:pt x="204" y="193"/>
                      <a:pt x="207" y="194"/>
                      <a:pt x="210" y="195"/>
                    </a:cubicBezTo>
                    <a:cubicBezTo>
                      <a:pt x="212" y="196"/>
                      <a:pt x="213" y="196"/>
                      <a:pt x="215" y="196"/>
                    </a:cubicBezTo>
                    <a:cubicBezTo>
                      <a:pt x="218" y="196"/>
                      <a:pt x="221" y="197"/>
                      <a:pt x="224" y="196"/>
                    </a:cubicBezTo>
                    <a:cubicBezTo>
                      <a:pt x="225" y="196"/>
                      <a:pt x="227" y="195"/>
                      <a:pt x="228" y="194"/>
                    </a:cubicBezTo>
                    <a:cubicBezTo>
                      <a:pt x="229" y="192"/>
                      <a:pt x="228" y="190"/>
                      <a:pt x="230" y="190"/>
                    </a:cubicBezTo>
                    <a:cubicBezTo>
                      <a:pt x="232" y="189"/>
                      <a:pt x="233" y="190"/>
                      <a:pt x="234" y="191"/>
                    </a:cubicBezTo>
                    <a:cubicBezTo>
                      <a:pt x="235" y="193"/>
                      <a:pt x="237" y="192"/>
                      <a:pt x="238" y="193"/>
                    </a:cubicBezTo>
                    <a:cubicBezTo>
                      <a:pt x="239" y="194"/>
                      <a:pt x="239" y="194"/>
                      <a:pt x="240" y="195"/>
                    </a:cubicBezTo>
                    <a:cubicBezTo>
                      <a:pt x="240" y="196"/>
                      <a:pt x="240" y="197"/>
                      <a:pt x="240" y="197"/>
                    </a:cubicBezTo>
                    <a:cubicBezTo>
                      <a:pt x="241" y="200"/>
                      <a:pt x="247" y="198"/>
                      <a:pt x="249" y="198"/>
                    </a:cubicBezTo>
                    <a:cubicBezTo>
                      <a:pt x="250" y="198"/>
                      <a:pt x="252" y="198"/>
                      <a:pt x="253" y="199"/>
                    </a:cubicBezTo>
                    <a:cubicBezTo>
                      <a:pt x="254" y="199"/>
                      <a:pt x="254" y="200"/>
                      <a:pt x="254" y="200"/>
                    </a:cubicBezTo>
                    <a:cubicBezTo>
                      <a:pt x="255" y="200"/>
                      <a:pt x="255" y="201"/>
                      <a:pt x="255" y="201"/>
                    </a:cubicBezTo>
                    <a:cubicBezTo>
                      <a:pt x="256" y="201"/>
                      <a:pt x="256" y="201"/>
                      <a:pt x="256" y="201"/>
                    </a:cubicBezTo>
                    <a:cubicBezTo>
                      <a:pt x="256" y="201"/>
                      <a:pt x="256" y="201"/>
                      <a:pt x="256" y="201"/>
                    </a:cubicBezTo>
                    <a:cubicBezTo>
                      <a:pt x="256" y="202"/>
                      <a:pt x="256" y="202"/>
                      <a:pt x="257" y="203"/>
                    </a:cubicBezTo>
                    <a:cubicBezTo>
                      <a:pt x="258" y="203"/>
                      <a:pt x="259" y="202"/>
                      <a:pt x="261" y="20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07" name="Freeform 23">
                <a:extLst>
                  <a:ext uri="{FF2B5EF4-FFF2-40B4-BE49-F238E27FC236}">
                    <a16:creationId xmlns:a16="http://schemas.microsoft.com/office/drawing/2014/main" id="{5E96A5EB-FBFC-4974-86C1-C9BF4F353B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75" y="4606925"/>
                <a:ext cx="604838" cy="287338"/>
              </a:xfrm>
              <a:custGeom>
                <a:avLst/>
                <a:gdLst/>
                <a:ahLst/>
                <a:cxnLst>
                  <a:cxn ang="0">
                    <a:pos x="23" y="143"/>
                  </a:cxn>
                  <a:cxn ang="0">
                    <a:pos x="37" y="152"/>
                  </a:cxn>
                  <a:cxn ang="0">
                    <a:pos x="76" y="151"/>
                  </a:cxn>
                  <a:cxn ang="0">
                    <a:pos x="90" y="147"/>
                  </a:cxn>
                  <a:cxn ang="0">
                    <a:pos x="93" y="130"/>
                  </a:cxn>
                  <a:cxn ang="0">
                    <a:pos x="118" y="125"/>
                  </a:cxn>
                  <a:cxn ang="0">
                    <a:pos x="133" y="115"/>
                  </a:cxn>
                  <a:cxn ang="0">
                    <a:pos x="144" y="116"/>
                  </a:cxn>
                  <a:cxn ang="0">
                    <a:pos x="161" y="116"/>
                  </a:cxn>
                  <a:cxn ang="0">
                    <a:pos x="173" y="111"/>
                  </a:cxn>
                  <a:cxn ang="0">
                    <a:pos x="182" y="94"/>
                  </a:cxn>
                  <a:cxn ang="0">
                    <a:pos x="207" y="89"/>
                  </a:cxn>
                  <a:cxn ang="0">
                    <a:pos x="221" y="91"/>
                  </a:cxn>
                  <a:cxn ang="0">
                    <a:pos x="236" y="88"/>
                  </a:cxn>
                  <a:cxn ang="0">
                    <a:pos x="248" y="102"/>
                  </a:cxn>
                  <a:cxn ang="0">
                    <a:pos x="262" y="102"/>
                  </a:cxn>
                  <a:cxn ang="0">
                    <a:pos x="275" y="90"/>
                  </a:cxn>
                  <a:cxn ang="0">
                    <a:pos x="281" y="76"/>
                  </a:cxn>
                  <a:cxn ang="0">
                    <a:pos x="289" y="57"/>
                  </a:cxn>
                  <a:cxn ang="0">
                    <a:pos x="301" y="52"/>
                  </a:cxn>
                  <a:cxn ang="0">
                    <a:pos x="323" y="43"/>
                  </a:cxn>
                  <a:cxn ang="0">
                    <a:pos x="320" y="40"/>
                  </a:cxn>
                  <a:cxn ang="0">
                    <a:pos x="298" y="30"/>
                  </a:cxn>
                  <a:cxn ang="0">
                    <a:pos x="289" y="23"/>
                  </a:cxn>
                  <a:cxn ang="0">
                    <a:pos x="276" y="16"/>
                  </a:cxn>
                  <a:cxn ang="0">
                    <a:pos x="255" y="13"/>
                  </a:cxn>
                  <a:cxn ang="0">
                    <a:pos x="241" y="25"/>
                  </a:cxn>
                  <a:cxn ang="0">
                    <a:pos x="232" y="22"/>
                  </a:cxn>
                  <a:cxn ang="0">
                    <a:pos x="212" y="18"/>
                  </a:cxn>
                  <a:cxn ang="0">
                    <a:pos x="190" y="30"/>
                  </a:cxn>
                  <a:cxn ang="0">
                    <a:pos x="181" y="32"/>
                  </a:cxn>
                  <a:cxn ang="0">
                    <a:pos x="175" y="21"/>
                  </a:cxn>
                  <a:cxn ang="0">
                    <a:pos x="167" y="10"/>
                  </a:cxn>
                  <a:cxn ang="0">
                    <a:pos x="155" y="4"/>
                  </a:cxn>
                  <a:cxn ang="0">
                    <a:pos x="142" y="17"/>
                  </a:cxn>
                  <a:cxn ang="0">
                    <a:pos x="126" y="7"/>
                  </a:cxn>
                  <a:cxn ang="0">
                    <a:pos x="117" y="9"/>
                  </a:cxn>
                  <a:cxn ang="0">
                    <a:pos x="105" y="12"/>
                  </a:cxn>
                  <a:cxn ang="0">
                    <a:pos x="96" y="22"/>
                  </a:cxn>
                  <a:cxn ang="0">
                    <a:pos x="87" y="28"/>
                  </a:cxn>
                  <a:cxn ang="0">
                    <a:pos x="78" y="47"/>
                  </a:cxn>
                  <a:cxn ang="0">
                    <a:pos x="70" y="52"/>
                  </a:cxn>
                  <a:cxn ang="0">
                    <a:pos x="57" y="62"/>
                  </a:cxn>
                  <a:cxn ang="0">
                    <a:pos x="51" y="64"/>
                  </a:cxn>
                  <a:cxn ang="0">
                    <a:pos x="31" y="60"/>
                  </a:cxn>
                  <a:cxn ang="0">
                    <a:pos x="23" y="69"/>
                  </a:cxn>
                  <a:cxn ang="0">
                    <a:pos x="8" y="75"/>
                  </a:cxn>
                  <a:cxn ang="0">
                    <a:pos x="4" y="88"/>
                  </a:cxn>
                  <a:cxn ang="0">
                    <a:pos x="4" y="101"/>
                  </a:cxn>
                  <a:cxn ang="0">
                    <a:pos x="9" y="118"/>
                  </a:cxn>
                  <a:cxn ang="0">
                    <a:pos x="12" y="126"/>
                  </a:cxn>
                  <a:cxn ang="0">
                    <a:pos x="9" y="135"/>
                  </a:cxn>
                </a:cxnLst>
                <a:rect l="0" t="0" r="r" b="b"/>
                <a:pathLst>
                  <a:path w="324" h="153">
                    <a:moveTo>
                      <a:pt x="9" y="135"/>
                    </a:moveTo>
                    <a:cubicBezTo>
                      <a:pt x="10" y="135"/>
                      <a:pt x="11" y="135"/>
                      <a:pt x="12" y="136"/>
                    </a:cubicBezTo>
                    <a:cubicBezTo>
                      <a:pt x="14" y="136"/>
                      <a:pt x="16" y="137"/>
                      <a:pt x="17" y="138"/>
                    </a:cubicBezTo>
                    <a:cubicBezTo>
                      <a:pt x="19" y="139"/>
                      <a:pt x="20" y="142"/>
                      <a:pt x="23" y="143"/>
                    </a:cubicBezTo>
                    <a:cubicBezTo>
                      <a:pt x="24" y="143"/>
                      <a:pt x="25" y="143"/>
                      <a:pt x="26" y="143"/>
                    </a:cubicBezTo>
                    <a:cubicBezTo>
                      <a:pt x="28" y="144"/>
                      <a:pt x="29" y="146"/>
                      <a:pt x="30" y="147"/>
                    </a:cubicBezTo>
                    <a:cubicBezTo>
                      <a:pt x="30" y="149"/>
                      <a:pt x="31" y="151"/>
                      <a:pt x="32" y="152"/>
                    </a:cubicBezTo>
                    <a:cubicBezTo>
                      <a:pt x="33" y="153"/>
                      <a:pt x="35" y="152"/>
                      <a:pt x="37" y="152"/>
                    </a:cubicBezTo>
                    <a:cubicBezTo>
                      <a:pt x="44" y="152"/>
                      <a:pt x="51" y="152"/>
                      <a:pt x="59" y="152"/>
                    </a:cubicBezTo>
                    <a:cubicBezTo>
                      <a:pt x="63" y="152"/>
                      <a:pt x="69" y="153"/>
                      <a:pt x="73" y="152"/>
                    </a:cubicBezTo>
                    <a:cubicBezTo>
                      <a:pt x="73" y="152"/>
                      <a:pt x="75" y="151"/>
                      <a:pt x="75" y="151"/>
                    </a:cubicBezTo>
                    <a:cubicBezTo>
                      <a:pt x="75" y="152"/>
                      <a:pt x="76" y="151"/>
                      <a:pt x="76" y="151"/>
                    </a:cubicBezTo>
                    <a:cubicBezTo>
                      <a:pt x="76" y="151"/>
                      <a:pt x="76" y="150"/>
                      <a:pt x="76" y="150"/>
                    </a:cubicBezTo>
                    <a:cubicBezTo>
                      <a:pt x="78" y="149"/>
                      <a:pt x="79" y="149"/>
                      <a:pt x="80" y="149"/>
                    </a:cubicBezTo>
                    <a:cubicBezTo>
                      <a:pt x="82" y="148"/>
                      <a:pt x="83" y="148"/>
                      <a:pt x="85" y="148"/>
                    </a:cubicBezTo>
                    <a:cubicBezTo>
                      <a:pt x="86" y="148"/>
                      <a:pt x="89" y="148"/>
                      <a:pt x="90" y="147"/>
                    </a:cubicBezTo>
                    <a:cubicBezTo>
                      <a:pt x="92" y="147"/>
                      <a:pt x="93" y="145"/>
                      <a:pt x="93" y="144"/>
                    </a:cubicBezTo>
                    <a:cubicBezTo>
                      <a:pt x="92" y="141"/>
                      <a:pt x="89" y="142"/>
                      <a:pt x="89" y="139"/>
                    </a:cubicBezTo>
                    <a:cubicBezTo>
                      <a:pt x="90" y="138"/>
                      <a:pt x="91" y="137"/>
                      <a:pt x="92" y="136"/>
                    </a:cubicBezTo>
                    <a:cubicBezTo>
                      <a:pt x="92" y="134"/>
                      <a:pt x="92" y="132"/>
                      <a:pt x="93" y="130"/>
                    </a:cubicBezTo>
                    <a:cubicBezTo>
                      <a:pt x="93" y="130"/>
                      <a:pt x="95" y="128"/>
                      <a:pt x="96" y="128"/>
                    </a:cubicBezTo>
                    <a:cubicBezTo>
                      <a:pt x="97" y="127"/>
                      <a:pt x="100" y="128"/>
                      <a:pt x="101" y="128"/>
                    </a:cubicBezTo>
                    <a:cubicBezTo>
                      <a:pt x="105" y="127"/>
                      <a:pt x="109" y="126"/>
                      <a:pt x="113" y="126"/>
                    </a:cubicBezTo>
                    <a:cubicBezTo>
                      <a:pt x="114" y="125"/>
                      <a:pt x="116" y="126"/>
                      <a:pt x="118" y="125"/>
                    </a:cubicBezTo>
                    <a:cubicBezTo>
                      <a:pt x="119" y="125"/>
                      <a:pt x="121" y="125"/>
                      <a:pt x="122" y="124"/>
                    </a:cubicBezTo>
                    <a:cubicBezTo>
                      <a:pt x="123" y="124"/>
                      <a:pt x="126" y="125"/>
                      <a:pt x="127" y="124"/>
                    </a:cubicBezTo>
                    <a:cubicBezTo>
                      <a:pt x="128" y="124"/>
                      <a:pt x="130" y="122"/>
                      <a:pt x="130" y="121"/>
                    </a:cubicBezTo>
                    <a:cubicBezTo>
                      <a:pt x="131" y="119"/>
                      <a:pt x="132" y="116"/>
                      <a:pt x="133" y="115"/>
                    </a:cubicBezTo>
                    <a:cubicBezTo>
                      <a:pt x="134" y="114"/>
                      <a:pt x="136" y="114"/>
                      <a:pt x="137" y="114"/>
                    </a:cubicBezTo>
                    <a:cubicBezTo>
                      <a:pt x="138" y="114"/>
                      <a:pt x="141" y="114"/>
                      <a:pt x="141" y="115"/>
                    </a:cubicBezTo>
                    <a:cubicBezTo>
                      <a:pt x="142" y="115"/>
                      <a:pt x="141" y="116"/>
                      <a:pt x="142" y="116"/>
                    </a:cubicBezTo>
                    <a:cubicBezTo>
                      <a:pt x="142" y="117"/>
                      <a:pt x="143" y="116"/>
                      <a:pt x="144" y="116"/>
                    </a:cubicBezTo>
                    <a:cubicBezTo>
                      <a:pt x="146" y="116"/>
                      <a:pt x="149" y="116"/>
                      <a:pt x="150" y="117"/>
                    </a:cubicBezTo>
                    <a:cubicBezTo>
                      <a:pt x="152" y="118"/>
                      <a:pt x="152" y="121"/>
                      <a:pt x="153" y="122"/>
                    </a:cubicBezTo>
                    <a:cubicBezTo>
                      <a:pt x="155" y="121"/>
                      <a:pt x="155" y="119"/>
                      <a:pt x="157" y="117"/>
                    </a:cubicBezTo>
                    <a:cubicBezTo>
                      <a:pt x="158" y="117"/>
                      <a:pt x="159" y="117"/>
                      <a:pt x="161" y="116"/>
                    </a:cubicBezTo>
                    <a:cubicBezTo>
                      <a:pt x="161" y="115"/>
                      <a:pt x="162" y="115"/>
                      <a:pt x="163" y="114"/>
                    </a:cubicBezTo>
                    <a:cubicBezTo>
                      <a:pt x="163" y="114"/>
                      <a:pt x="164" y="114"/>
                      <a:pt x="165" y="114"/>
                    </a:cubicBezTo>
                    <a:cubicBezTo>
                      <a:pt x="167" y="114"/>
                      <a:pt x="168" y="112"/>
                      <a:pt x="170" y="111"/>
                    </a:cubicBezTo>
                    <a:cubicBezTo>
                      <a:pt x="171" y="111"/>
                      <a:pt x="172" y="111"/>
                      <a:pt x="173" y="111"/>
                    </a:cubicBezTo>
                    <a:cubicBezTo>
                      <a:pt x="174" y="111"/>
                      <a:pt x="175" y="110"/>
                      <a:pt x="175" y="109"/>
                    </a:cubicBezTo>
                    <a:cubicBezTo>
                      <a:pt x="177" y="108"/>
                      <a:pt x="178" y="106"/>
                      <a:pt x="179" y="104"/>
                    </a:cubicBezTo>
                    <a:cubicBezTo>
                      <a:pt x="180" y="102"/>
                      <a:pt x="180" y="101"/>
                      <a:pt x="180" y="99"/>
                    </a:cubicBezTo>
                    <a:cubicBezTo>
                      <a:pt x="181" y="97"/>
                      <a:pt x="182" y="96"/>
                      <a:pt x="182" y="94"/>
                    </a:cubicBezTo>
                    <a:cubicBezTo>
                      <a:pt x="183" y="92"/>
                      <a:pt x="182" y="90"/>
                      <a:pt x="183" y="89"/>
                    </a:cubicBezTo>
                    <a:cubicBezTo>
                      <a:pt x="184" y="86"/>
                      <a:pt x="190" y="88"/>
                      <a:pt x="192" y="88"/>
                    </a:cubicBezTo>
                    <a:cubicBezTo>
                      <a:pt x="196" y="88"/>
                      <a:pt x="199" y="88"/>
                      <a:pt x="203" y="88"/>
                    </a:cubicBezTo>
                    <a:cubicBezTo>
                      <a:pt x="205" y="88"/>
                      <a:pt x="206" y="88"/>
                      <a:pt x="207" y="89"/>
                    </a:cubicBezTo>
                    <a:cubicBezTo>
                      <a:pt x="208" y="89"/>
                      <a:pt x="208" y="90"/>
                      <a:pt x="209" y="91"/>
                    </a:cubicBezTo>
                    <a:cubicBezTo>
                      <a:pt x="209" y="91"/>
                      <a:pt x="210" y="91"/>
                      <a:pt x="211" y="91"/>
                    </a:cubicBezTo>
                    <a:cubicBezTo>
                      <a:pt x="213" y="91"/>
                      <a:pt x="215" y="91"/>
                      <a:pt x="216" y="91"/>
                    </a:cubicBezTo>
                    <a:cubicBezTo>
                      <a:pt x="218" y="91"/>
                      <a:pt x="219" y="92"/>
                      <a:pt x="221" y="91"/>
                    </a:cubicBezTo>
                    <a:cubicBezTo>
                      <a:pt x="222" y="91"/>
                      <a:pt x="223" y="89"/>
                      <a:pt x="225" y="89"/>
                    </a:cubicBezTo>
                    <a:cubicBezTo>
                      <a:pt x="226" y="89"/>
                      <a:pt x="227" y="89"/>
                      <a:pt x="228" y="88"/>
                    </a:cubicBezTo>
                    <a:cubicBezTo>
                      <a:pt x="229" y="88"/>
                      <a:pt x="230" y="88"/>
                      <a:pt x="232" y="88"/>
                    </a:cubicBezTo>
                    <a:cubicBezTo>
                      <a:pt x="233" y="88"/>
                      <a:pt x="235" y="87"/>
                      <a:pt x="236" y="88"/>
                    </a:cubicBezTo>
                    <a:cubicBezTo>
                      <a:pt x="237" y="88"/>
                      <a:pt x="237" y="89"/>
                      <a:pt x="237" y="89"/>
                    </a:cubicBezTo>
                    <a:cubicBezTo>
                      <a:pt x="238" y="89"/>
                      <a:pt x="239" y="89"/>
                      <a:pt x="240" y="90"/>
                    </a:cubicBezTo>
                    <a:cubicBezTo>
                      <a:pt x="243" y="92"/>
                      <a:pt x="243" y="96"/>
                      <a:pt x="244" y="99"/>
                    </a:cubicBezTo>
                    <a:cubicBezTo>
                      <a:pt x="245" y="100"/>
                      <a:pt x="247" y="101"/>
                      <a:pt x="248" y="102"/>
                    </a:cubicBezTo>
                    <a:cubicBezTo>
                      <a:pt x="250" y="103"/>
                      <a:pt x="250" y="103"/>
                      <a:pt x="252" y="104"/>
                    </a:cubicBezTo>
                    <a:cubicBezTo>
                      <a:pt x="252" y="105"/>
                      <a:pt x="253" y="106"/>
                      <a:pt x="254" y="107"/>
                    </a:cubicBezTo>
                    <a:cubicBezTo>
                      <a:pt x="256" y="107"/>
                      <a:pt x="257" y="105"/>
                      <a:pt x="258" y="103"/>
                    </a:cubicBezTo>
                    <a:cubicBezTo>
                      <a:pt x="260" y="102"/>
                      <a:pt x="260" y="102"/>
                      <a:pt x="262" y="102"/>
                    </a:cubicBezTo>
                    <a:cubicBezTo>
                      <a:pt x="264" y="102"/>
                      <a:pt x="266" y="103"/>
                      <a:pt x="268" y="102"/>
                    </a:cubicBezTo>
                    <a:cubicBezTo>
                      <a:pt x="269" y="101"/>
                      <a:pt x="270" y="99"/>
                      <a:pt x="270" y="98"/>
                    </a:cubicBezTo>
                    <a:cubicBezTo>
                      <a:pt x="271" y="97"/>
                      <a:pt x="271" y="95"/>
                      <a:pt x="272" y="94"/>
                    </a:cubicBezTo>
                    <a:cubicBezTo>
                      <a:pt x="273" y="92"/>
                      <a:pt x="274" y="91"/>
                      <a:pt x="275" y="90"/>
                    </a:cubicBezTo>
                    <a:cubicBezTo>
                      <a:pt x="276" y="89"/>
                      <a:pt x="276" y="90"/>
                      <a:pt x="276" y="88"/>
                    </a:cubicBezTo>
                    <a:cubicBezTo>
                      <a:pt x="276" y="86"/>
                      <a:pt x="277" y="86"/>
                      <a:pt x="277" y="84"/>
                    </a:cubicBezTo>
                    <a:cubicBezTo>
                      <a:pt x="278" y="83"/>
                      <a:pt x="278" y="82"/>
                      <a:pt x="279" y="80"/>
                    </a:cubicBezTo>
                    <a:cubicBezTo>
                      <a:pt x="279" y="79"/>
                      <a:pt x="280" y="77"/>
                      <a:pt x="281" y="76"/>
                    </a:cubicBezTo>
                    <a:cubicBezTo>
                      <a:pt x="281" y="75"/>
                      <a:pt x="283" y="73"/>
                      <a:pt x="283" y="72"/>
                    </a:cubicBezTo>
                    <a:cubicBezTo>
                      <a:pt x="283" y="70"/>
                      <a:pt x="283" y="69"/>
                      <a:pt x="284" y="67"/>
                    </a:cubicBezTo>
                    <a:cubicBezTo>
                      <a:pt x="284" y="65"/>
                      <a:pt x="285" y="64"/>
                      <a:pt x="286" y="62"/>
                    </a:cubicBezTo>
                    <a:cubicBezTo>
                      <a:pt x="287" y="61"/>
                      <a:pt x="289" y="59"/>
                      <a:pt x="289" y="57"/>
                    </a:cubicBezTo>
                    <a:cubicBezTo>
                      <a:pt x="290" y="56"/>
                      <a:pt x="289" y="56"/>
                      <a:pt x="290" y="55"/>
                    </a:cubicBezTo>
                    <a:cubicBezTo>
                      <a:pt x="290" y="55"/>
                      <a:pt x="291" y="54"/>
                      <a:pt x="292" y="54"/>
                    </a:cubicBezTo>
                    <a:cubicBezTo>
                      <a:pt x="293" y="53"/>
                      <a:pt x="296" y="54"/>
                      <a:pt x="297" y="53"/>
                    </a:cubicBezTo>
                    <a:cubicBezTo>
                      <a:pt x="299" y="53"/>
                      <a:pt x="300" y="52"/>
                      <a:pt x="301" y="52"/>
                    </a:cubicBezTo>
                    <a:cubicBezTo>
                      <a:pt x="303" y="52"/>
                      <a:pt x="305" y="53"/>
                      <a:pt x="307" y="53"/>
                    </a:cubicBezTo>
                    <a:cubicBezTo>
                      <a:pt x="309" y="53"/>
                      <a:pt x="311" y="53"/>
                      <a:pt x="312" y="53"/>
                    </a:cubicBezTo>
                    <a:cubicBezTo>
                      <a:pt x="316" y="52"/>
                      <a:pt x="319" y="51"/>
                      <a:pt x="322" y="47"/>
                    </a:cubicBezTo>
                    <a:cubicBezTo>
                      <a:pt x="322" y="46"/>
                      <a:pt x="323" y="45"/>
                      <a:pt x="323" y="43"/>
                    </a:cubicBezTo>
                    <a:cubicBezTo>
                      <a:pt x="324" y="43"/>
                      <a:pt x="324" y="43"/>
                      <a:pt x="324" y="42"/>
                    </a:cubicBezTo>
                    <a:cubicBezTo>
                      <a:pt x="324" y="42"/>
                      <a:pt x="324" y="42"/>
                      <a:pt x="324" y="42"/>
                    </a:cubicBezTo>
                    <a:cubicBezTo>
                      <a:pt x="323" y="42"/>
                      <a:pt x="322" y="42"/>
                      <a:pt x="322" y="41"/>
                    </a:cubicBezTo>
                    <a:cubicBezTo>
                      <a:pt x="321" y="41"/>
                      <a:pt x="320" y="40"/>
                      <a:pt x="320" y="40"/>
                    </a:cubicBezTo>
                    <a:cubicBezTo>
                      <a:pt x="318" y="39"/>
                      <a:pt x="316" y="38"/>
                      <a:pt x="315" y="38"/>
                    </a:cubicBezTo>
                    <a:cubicBezTo>
                      <a:pt x="311" y="36"/>
                      <a:pt x="308" y="36"/>
                      <a:pt x="304" y="35"/>
                    </a:cubicBezTo>
                    <a:cubicBezTo>
                      <a:pt x="303" y="34"/>
                      <a:pt x="302" y="34"/>
                      <a:pt x="301" y="32"/>
                    </a:cubicBezTo>
                    <a:cubicBezTo>
                      <a:pt x="300" y="31"/>
                      <a:pt x="300" y="31"/>
                      <a:pt x="298" y="30"/>
                    </a:cubicBezTo>
                    <a:cubicBezTo>
                      <a:pt x="297" y="29"/>
                      <a:pt x="295" y="28"/>
                      <a:pt x="293" y="27"/>
                    </a:cubicBezTo>
                    <a:cubicBezTo>
                      <a:pt x="292" y="27"/>
                      <a:pt x="292" y="27"/>
                      <a:pt x="291" y="27"/>
                    </a:cubicBezTo>
                    <a:cubicBezTo>
                      <a:pt x="291" y="27"/>
                      <a:pt x="290" y="25"/>
                      <a:pt x="290" y="25"/>
                    </a:cubicBezTo>
                    <a:cubicBezTo>
                      <a:pt x="289" y="24"/>
                      <a:pt x="289" y="24"/>
                      <a:pt x="289" y="23"/>
                    </a:cubicBezTo>
                    <a:cubicBezTo>
                      <a:pt x="288" y="22"/>
                      <a:pt x="287" y="21"/>
                      <a:pt x="286" y="20"/>
                    </a:cubicBezTo>
                    <a:cubicBezTo>
                      <a:pt x="285" y="20"/>
                      <a:pt x="284" y="21"/>
                      <a:pt x="283" y="21"/>
                    </a:cubicBezTo>
                    <a:cubicBezTo>
                      <a:pt x="281" y="20"/>
                      <a:pt x="282" y="20"/>
                      <a:pt x="281" y="19"/>
                    </a:cubicBezTo>
                    <a:cubicBezTo>
                      <a:pt x="279" y="18"/>
                      <a:pt x="278" y="17"/>
                      <a:pt x="276" y="16"/>
                    </a:cubicBezTo>
                    <a:cubicBezTo>
                      <a:pt x="273" y="15"/>
                      <a:pt x="269" y="14"/>
                      <a:pt x="266" y="13"/>
                    </a:cubicBezTo>
                    <a:cubicBezTo>
                      <a:pt x="264" y="13"/>
                      <a:pt x="261" y="13"/>
                      <a:pt x="259" y="13"/>
                    </a:cubicBezTo>
                    <a:cubicBezTo>
                      <a:pt x="258" y="13"/>
                      <a:pt x="258" y="12"/>
                      <a:pt x="257" y="12"/>
                    </a:cubicBezTo>
                    <a:cubicBezTo>
                      <a:pt x="256" y="12"/>
                      <a:pt x="255" y="13"/>
                      <a:pt x="255" y="13"/>
                    </a:cubicBezTo>
                    <a:cubicBezTo>
                      <a:pt x="254" y="17"/>
                      <a:pt x="251" y="15"/>
                      <a:pt x="249" y="15"/>
                    </a:cubicBezTo>
                    <a:cubicBezTo>
                      <a:pt x="248" y="15"/>
                      <a:pt x="247" y="16"/>
                      <a:pt x="246" y="17"/>
                    </a:cubicBezTo>
                    <a:cubicBezTo>
                      <a:pt x="245" y="19"/>
                      <a:pt x="246" y="20"/>
                      <a:pt x="245" y="22"/>
                    </a:cubicBezTo>
                    <a:cubicBezTo>
                      <a:pt x="245" y="23"/>
                      <a:pt x="242" y="25"/>
                      <a:pt x="241" y="25"/>
                    </a:cubicBezTo>
                    <a:cubicBezTo>
                      <a:pt x="241" y="25"/>
                      <a:pt x="238" y="25"/>
                      <a:pt x="238" y="25"/>
                    </a:cubicBezTo>
                    <a:cubicBezTo>
                      <a:pt x="237" y="25"/>
                      <a:pt x="237" y="24"/>
                      <a:pt x="237" y="23"/>
                    </a:cubicBezTo>
                    <a:cubicBezTo>
                      <a:pt x="236" y="23"/>
                      <a:pt x="235" y="23"/>
                      <a:pt x="234" y="22"/>
                    </a:cubicBezTo>
                    <a:cubicBezTo>
                      <a:pt x="234" y="22"/>
                      <a:pt x="232" y="22"/>
                      <a:pt x="232" y="22"/>
                    </a:cubicBezTo>
                    <a:cubicBezTo>
                      <a:pt x="230" y="21"/>
                      <a:pt x="229" y="18"/>
                      <a:pt x="227" y="17"/>
                    </a:cubicBezTo>
                    <a:cubicBezTo>
                      <a:pt x="226" y="17"/>
                      <a:pt x="225" y="18"/>
                      <a:pt x="224" y="17"/>
                    </a:cubicBezTo>
                    <a:cubicBezTo>
                      <a:pt x="222" y="17"/>
                      <a:pt x="222" y="16"/>
                      <a:pt x="221" y="15"/>
                    </a:cubicBezTo>
                    <a:cubicBezTo>
                      <a:pt x="217" y="15"/>
                      <a:pt x="215" y="18"/>
                      <a:pt x="212" y="18"/>
                    </a:cubicBezTo>
                    <a:cubicBezTo>
                      <a:pt x="210" y="18"/>
                      <a:pt x="207" y="18"/>
                      <a:pt x="205" y="18"/>
                    </a:cubicBezTo>
                    <a:cubicBezTo>
                      <a:pt x="205" y="20"/>
                      <a:pt x="206" y="21"/>
                      <a:pt x="205" y="23"/>
                    </a:cubicBezTo>
                    <a:cubicBezTo>
                      <a:pt x="201" y="24"/>
                      <a:pt x="197" y="22"/>
                      <a:pt x="194" y="25"/>
                    </a:cubicBezTo>
                    <a:cubicBezTo>
                      <a:pt x="191" y="26"/>
                      <a:pt x="190" y="27"/>
                      <a:pt x="190" y="30"/>
                    </a:cubicBezTo>
                    <a:cubicBezTo>
                      <a:pt x="190" y="32"/>
                      <a:pt x="190" y="33"/>
                      <a:pt x="190" y="35"/>
                    </a:cubicBezTo>
                    <a:cubicBezTo>
                      <a:pt x="189" y="35"/>
                      <a:pt x="187" y="35"/>
                      <a:pt x="185" y="35"/>
                    </a:cubicBezTo>
                    <a:cubicBezTo>
                      <a:pt x="185" y="34"/>
                      <a:pt x="184" y="33"/>
                      <a:pt x="183" y="33"/>
                    </a:cubicBezTo>
                    <a:cubicBezTo>
                      <a:pt x="182" y="33"/>
                      <a:pt x="182" y="33"/>
                      <a:pt x="181" y="32"/>
                    </a:cubicBezTo>
                    <a:cubicBezTo>
                      <a:pt x="180" y="32"/>
                      <a:pt x="179" y="31"/>
                      <a:pt x="179" y="30"/>
                    </a:cubicBezTo>
                    <a:cubicBezTo>
                      <a:pt x="178" y="30"/>
                      <a:pt x="177" y="30"/>
                      <a:pt x="177" y="29"/>
                    </a:cubicBezTo>
                    <a:cubicBezTo>
                      <a:pt x="175" y="28"/>
                      <a:pt x="175" y="29"/>
                      <a:pt x="175" y="27"/>
                    </a:cubicBezTo>
                    <a:cubicBezTo>
                      <a:pt x="175" y="25"/>
                      <a:pt x="175" y="23"/>
                      <a:pt x="175" y="21"/>
                    </a:cubicBezTo>
                    <a:cubicBezTo>
                      <a:pt x="175" y="19"/>
                      <a:pt x="175" y="19"/>
                      <a:pt x="174" y="18"/>
                    </a:cubicBezTo>
                    <a:cubicBezTo>
                      <a:pt x="174" y="17"/>
                      <a:pt x="173" y="16"/>
                      <a:pt x="172" y="15"/>
                    </a:cubicBezTo>
                    <a:cubicBezTo>
                      <a:pt x="172" y="15"/>
                      <a:pt x="172" y="14"/>
                      <a:pt x="171" y="13"/>
                    </a:cubicBezTo>
                    <a:cubicBezTo>
                      <a:pt x="171" y="12"/>
                      <a:pt x="168" y="10"/>
                      <a:pt x="167" y="10"/>
                    </a:cubicBezTo>
                    <a:cubicBezTo>
                      <a:pt x="167" y="8"/>
                      <a:pt x="165" y="9"/>
                      <a:pt x="164" y="8"/>
                    </a:cubicBezTo>
                    <a:cubicBezTo>
                      <a:pt x="163" y="7"/>
                      <a:pt x="163" y="6"/>
                      <a:pt x="163" y="5"/>
                    </a:cubicBezTo>
                    <a:cubicBezTo>
                      <a:pt x="163" y="2"/>
                      <a:pt x="160" y="0"/>
                      <a:pt x="158" y="2"/>
                    </a:cubicBezTo>
                    <a:cubicBezTo>
                      <a:pt x="157" y="3"/>
                      <a:pt x="157" y="4"/>
                      <a:pt x="155" y="4"/>
                    </a:cubicBezTo>
                    <a:cubicBezTo>
                      <a:pt x="155" y="5"/>
                      <a:pt x="154" y="5"/>
                      <a:pt x="154" y="5"/>
                    </a:cubicBezTo>
                    <a:cubicBezTo>
                      <a:pt x="152" y="5"/>
                      <a:pt x="152" y="6"/>
                      <a:pt x="150" y="6"/>
                    </a:cubicBezTo>
                    <a:cubicBezTo>
                      <a:pt x="147" y="7"/>
                      <a:pt x="146" y="8"/>
                      <a:pt x="145" y="11"/>
                    </a:cubicBezTo>
                    <a:cubicBezTo>
                      <a:pt x="145" y="15"/>
                      <a:pt x="146" y="17"/>
                      <a:pt x="142" y="17"/>
                    </a:cubicBezTo>
                    <a:cubicBezTo>
                      <a:pt x="139" y="18"/>
                      <a:pt x="135" y="18"/>
                      <a:pt x="132" y="17"/>
                    </a:cubicBezTo>
                    <a:cubicBezTo>
                      <a:pt x="128" y="17"/>
                      <a:pt x="129" y="15"/>
                      <a:pt x="128" y="12"/>
                    </a:cubicBezTo>
                    <a:cubicBezTo>
                      <a:pt x="128" y="11"/>
                      <a:pt x="128" y="9"/>
                      <a:pt x="127" y="8"/>
                    </a:cubicBezTo>
                    <a:cubicBezTo>
                      <a:pt x="127" y="7"/>
                      <a:pt x="127" y="7"/>
                      <a:pt x="126" y="7"/>
                    </a:cubicBezTo>
                    <a:cubicBezTo>
                      <a:pt x="126" y="7"/>
                      <a:pt x="126" y="7"/>
                      <a:pt x="126" y="7"/>
                    </a:cubicBezTo>
                    <a:cubicBezTo>
                      <a:pt x="124" y="7"/>
                      <a:pt x="122" y="7"/>
                      <a:pt x="121" y="8"/>
                    </a:cubicBezTo>
                    <a:cubicBezTo>
                      <a:pt x="120" y="8"/>
                      <a:pt x="120" y="8"/>
                      <a:pt x="119" y="9"/>
                    </a:cubicBezTo>
                    <a:cubicBezTo>
                      <a:pt x="118" y="9"/>
                      <a:pt x="119" y="9"/>
                      <a:pt x="117" y="9"/>
                    </a:cubicBezTo>
                    <a:cubicBezTo>
                      <a:pt x="116" y="10"/>
                      <a:pt x="115" y="10"/>
                      <a:pt x="114" y="10"/>
                    </a:cubicBezTo>
                    <a:cubicBezTo>
                      <a:pt x="112" y="9"/>
                      <a:pt x="111" y="8"/>
                      <a:pt x="110" y="8"/>
                    </a:cubicBezTo>
                    <a:cubicBezTo>
                      <a:pt x="108" y="8"/>
                      <a:pt x="109" y="9"/>
                      <a:pt x="108" y="10"/>
                    </a:cubicBezTo>
                    <a:cubicBezTo>
                      <a:pt x="107" y="11"/>
                      <a:pt x="106" y="12"/>
                      <a:pt x="105" y="12"/>
                    </a:cubicBezTo>
                    <a:cubicBezTo>
                      <a:pt x="104" y="13"/>
                      <a:pt x="104" y="13"/>
                      <a:pt x="103" y="14"/>
                    </a:cubicBezTo>
                    <a:cubicBezTo>
                      <a:pt x="103" y="15"/>
                      <a:pt x="102" y="15"/>
                      <a:pt x="101" y="15"/>
                    </a:cubicBezTo>
                    <a:cubicBezTo>
                      <a:pt x="98" y="17"/>
                      <a:pt x="98" y="19"/>
                      <a:pt x="97" y="21"/>
                    </a:cubicBezTo>
                    <a:cubicBezTo>
                      <a:pt x="96" y="21"/>
                      <a:pt x="96" y="21"/>
                      <a:pt x="96" y="22"/>
                    </a:cubicBezTo>
                    <a:cubicBezTo>
                      <a:pt x="96" y="22"/>
                      <a:pt x="95" y="23"/>
                      <a:pt x="95" y="24"/>
                    </a:cubicBezTo>
                    <a:cubicBezTo>
                      <a:pt x="94" y="24"/>
                      <a:pt x="93" y="25"/>
                      <a:pt x="92" y="25"/>
                    </a:cubicBezTo>
                    <a:cubicBezTo>
                      <a:pt x="91" y="25"/>
                      <a:pt x="89" y="25"/>
                      <a:pt x="88" y="25"/>
                    </a:cubicBezTo>
                    <a:cubicBezTo>
                      <a:pt x="87" y="25"/>
                      <a:pt x="87" y="27"/>
                      <a:pt x="87" y="28"/>
                    </a:cubicBezTo>
                    <a:cubicBezTo>
                      <a:pt x="86" y="29"/>
                      <a:pt x="86" y="30"/>
                      <a:pt x="85" y="31"/>
                    </a:cubicBezTo>
                    <a:cubicBezTo>
                      <a:pt x="85" y="31"/>
                      <a:pt x="85" y="33"/>
                      <a:pt x="85" y="34"/>
                    </a:cubicBezTo>
                    <a:cubicBezTo>
                      <a:pt x="84" y="36"/>
                      <a:pt x="82" y="37"/>
                      <a:pt x="82" y="40"/>
                    </a:cubicBezTo>
                    <a:cubicBezTo>
                      <a:pt x="82" y="43"/>
                      <a:pt x="80" y="45"/>
                      <a:pt x="78" y="47"/>
                    </a:cubicBezTo>
                    <a:cubicBezTo>
                      <a:pt x="78" y="48"/>
                      <a:pt x="78" y="49"/>
                      <a:pt x="77" y="50"/>
                    </a:cubicBezTo>
                    <a:cubicBezTo>
                      <a:pt x="77" y="50"/>
                      <a:pt x="76" y="49"/>
                      <a:pt x="75" y="50"/>
                    </a:cubicBezTo>
                    <a:cubicBezTo>
                      <a:pt x="74" y="50"/>
                      <a:pt x="74" y="50"/>
                      <a:pt x="73" y="50"/>
                    </a:cubicBezTo>
                    <a:cubicBezTo>
                      <a:pt x="71" y="51"/>
                      <a:pt x="71" y="51"/>
                      <a:pt x="70" y="52"/>
                    </a:cubicBezTo>
                    <a:cubicBezTo>
                      <a:pt x="70" y="53"/>
                      <a:pt x="70" y="53"/>
                      <a:pt x="69" y="54"/>
                    </a:cubicBezTo>
                    <a:cubicBezTo>
                      <a:pt x="68" y="55"/>
                      <a:pt x="67" y="56"/>
                      <a:pt x="66" y="56"/>
                    </a:cubicBezTo>
                    <a:cubicBezTo>
                      <a:pt x="65" y="57"/>
                      <a:pt x="63" y="58"/>
                      <a:pt x="62" y="59"/>
                    </a:cubicBezTo>
                    <a:cubicBezTo>
                      <a:pt x="61" y="60"/>
                      <a:pt x="59" y="61"/>
                      <a:pt x="57" y="62"/>
                    </a:cubicBezTo>
                    <a:cubicBezTo>
                      <a:pt x="56" y="62"/>
                      <a:pt x="56" y="62"/>
                      <a:pt x="55" y="63"/>
                    </a:cubicBezTo>
                    <a:cubicBezTo>
                      <a:pt x="55" y="63"/>
                      <a:pt x="54" y="63"/>
                      <a:pt x="54" y="63"/>
                    </a:cubicBezTo>
                    <a:cubicBezTo>
                      <a:pt x="54" y="64"/>
                      <a:pt x="54" y="64"/>
                      <a:pt x="54" y="64"/>
                    </a:cubicBezTo>
                    <a:cubicBezTo>
                      <a:pt x="53" y="65"/>
                      <a:pt x="52" y="64"/>
                      <a:pt x="51" y="64"/>
                    </a:cubicBezTo>
                    <a:cubicBezTo>
                      <a:pt x="47" y="65"/>
                      <a:pt x="43" y="66"/>
                      <a:pt x="39" y="64"/>
                    </a:cubicBezTo>
                    <a:cubicBezTo>
                      <a:pt x="38" y="64"/>
                      <a:pt x="37" y="63"/>
                      <a:pt x="36" y="63"/>
                    </a:cubicBezTo>
                    <a:cubicBezTo>
                      <a:pt x="35" y="62"/>
                      <a:pt x="34" y="62"/>
                      <a:pt x="33" y="62"/>
                    </a:cubicBezTo>
                    <a:cubicBezTo>
                      <a:pt x="33" y="61"/>
                      <a:pt x="33" y="60"/>
                      <a:pt x="31" y="60"/>
                    </a:cubicBezTo>
                    <a:cubicBezTo>
                      <a:pt x="30" y="61"/>
                      <a:pt x="30" y="63"/>
                      <a:pt x="29" y="63"/>
                    </a:cubicBezTo>
                    <a:cubicBezTo>
                      <a:pt x="28" y="64"/>
                      <a:pt x="27" y="65"/>
                      <a:pt x="26" y="66"/>
                    </a:cubicBezTo>
                    <a:cubicBezTo>
                      <a:pt x="25" y="66"/>
                      <a:pt x="25" y="67"/>
                      <a:pt x="24" y="68"/>
                    </a:cubicBezTo>
                    <a:cubicBezTo>
                      <a:pt x="24" y="68"/>
                      <a:pt x="23" y="68"/>
                      <a:pt x="23" y="69"/>
                    </a:cubicBezTo>
                    <a:cubicBezTo>
                      <a:pt x="22" y="70"/>
                      <a:pt x="22" y="71"/>
                      <a:pt x="21" y="72"/>
                    </a:cubicBezTo>
                    <a:cubicBezTo>
                      <a:pt x="19" y="73"/>
                      <a:pt x="18" y="74"/>
                      <a:pt x="15" y="74"/>
                    </a:cubicBezTo>
                    <a:cubicBezTo>
                      <a:pt x="14" y="75"/>
                      <a:pt x="13" y="74"/>
                      <a:pt x="12" y="74"/>
                    </a:cubicBezTo>
                    <a:cubicBezTo>
                      <a:pt x="10" y="74"/>
                      <a:pt x="9" y="75"/>
                      <a:pt x="8" y="75"/>
                    </a:cubicBezTo>
                    <a:cubicBezTo>
                      <a:pt x="8" y="75"/>
                      <a:pt x="8" y="75"/>
                      <a:pt x="8" y="76"/>
                    </a:cubicBezTo>
                    <a:cubicBezTo>
                      <a:pt x="8" y="77"/>
                      <a:pt x="8" y="79"/>
                      <a:pt x="8" y="80"/>
                    </a:cubicBezTo>
                    <a:cubicBezTo>
                      <a:pt x="8" y="82"/>
                      <a:pt x="7" y="84"/>
                      <a:pt x="6" y="85"/>
                    </a:cubicBezTo>
                    <a:cubicBezTo>
                      <a:pt x="6" y="86"/>
                      <a:pt x="5" y="87"/>
                      <a:pt x="4" y="88"/>
                    </a:cubicBezTo>
                    <a:cubicBezTo>
                      <a:pt x="3" y="89"/>
                      <a:pt x="2" y="91"/>
                      <a:pt x="1" y="93"/>
                    </a:cubicBezTo>
                    <a:cubicBezTo>
                      <a:pt x="1" y="94"/>
                      <a:pt x="0" y="95"/>
                      <a:pt x="1" y="96"/>
                    </a:cubicBezTo>
                    <a:cubicBezTo>
                      <a:pt x="1" y="97"/>
                      <a:pt x="2" y="99"/>
                      <a:pt x="2" y="100"/>
                    </a:cubicBezTo>
                    <a:cubicBezTo>
                      <a:pt x="3" y="100"/>
                      <a:pt x="4" y="101"/>
                      <a:pt x="4" y="101"/>
                    </a:cubicBezTo>
                    <a:cubicBezTo>
                      <a:pt x="5" y="102"/>
                      <a:pt x="5" y="103"/>
                      <a:pt x="5" y="104"/>
                    </a:cubicBezTo>
                    <a:cubicBezTo>
                      <a:pt x="6" y="107"/>
                      <a:pt x="5" y="110"/>
                      <a:pt x="6" y="113"/>
                    </a:cubicBezTo>
                    <a:cubicBezTo>
                      <a:pt x="6" y="114"/>
                      <a:pt x="7" y="116"/>
                      <a:pt x="8" y="117"/>
                    </a:cubicBezTo>
                    <a:cubicBezTo>
                      <a:pt x="8" y="118"/>
                      <a:pt x="9" y="118"/>
                      <a:pt x="9" y="118"/>
                    </a:cubicBezTo>
                    <a:cubicBezTo>
                      <a:pt x="10" y="119"/>
                      <a:pt x="10" y="120"/>
                      <a:pt x="10" y="120"/>
                    </a:cubicBezTo>
                    <a:cubicBezTo>
                      <a:pt x="10" y="121"/>
                      <a:pt x="10" y="121"/>
                      <a:pt x="10" y="121"/>
                    </a:cubicBezTo>
                    <a:cubicBezTo>
                      <a:pt x="10" y="122"/>
                      <a:pt x="11" y="122"/>
                      <a:pt x="11" y="122"/>
                    </a:cubicBezTo>
                    <a:cubicBezTo>
                      <a:pt x="11" y="123"/>
                      <a:pt x="11" y="124"/>
                      <a:pt x="12" y="126"/>
                    </a:cubicBezTo>
                    <a:cubicBezTo>
                      <a:pt x="13" y="127"/>
                      <a:pt x="13" y="129"/>
                      <a:pt x="13" y="130"/>
                    </a:cubicBezTo>
                    <a:cubicBezTo>
                      <a:pt x="13" y="130"/>
                      <a:pt x="12" y="131"/>
                      <a:pt x="12" y="131"/>
                    </a:cubicBezTo>
                    <a:cubicBezTo>
                      <a:pt x="12" y="132"/>
                      <a:pt x="12" y="132"/>
                      <a:pt x="12" y="132"/>
                    </a:cubicBezTo>
                    <a:cubicBezTo>
                      <a:pt x="11" y="133"/>
                      <a:pt x="10" y="134"/>
                      <a:pt x="9" y="13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08" name="Freeform 24">
                <a:extLst>
                  <a:ext uri="{FF2B5EF4-FFF2-40B4-BE49-F238E27FC236}">
                    <a16:creationId xmlns:a16="http://schemas.microsoft.com/office/drawing/2014/main" id="{D102745C-18FC-4331-8D8C-1A62F4FD38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80000" y="4768850"/>
                <a:ext cx="660400" cy="425450"/>
              </a:xfrm>
              <a:custGeom>
                <a:avLst/>
                <a:gdLst/>
                <a:ahLst/>
                <a:cxnLst>
                  <a:cxn ang="0">
                    <a:pos x="3" y="150"/>
                  </a:cxn>
                  <a:cxn ang="0">
                    <a:pos x="12" y="165"/>
                  </a:cxn>
                  <a:cxn ang="0">
                    <a:pos x="27" y="181"/>
                  </a:cxn>
                  <a:cxn ang="0">
                    <a:pos x="42" y="192"/>
                  </a:cxn>
                  <a:cxn ang="0">
                    <a:pos x="44" y="198"/>
                  </a:cxn>
                  <a:cxn ang="0">
                    <a:pos x="58" y="213"/>
                  </a:cxn>
                  <a:cxn ang="0">
                    <a:pos x="71" y="221"/>
                  </a:cxn>
                  <a:cxn ang="0">
                    <a:pos x="88" y="225"/>
                  </a:cxn>
                  <a:cxn ang="0">
                    <a:pos x="104" y="226"/>
                  </a:cxn>
                  <a:cxn ang="0">
                    <a:pos x="123" y="219"/>
                  </a:cxn>
                  <a:cxn ang="0">
                    <a:pos x="132" y="214"/>
                  </a:cxn>
                  <a:cxn ang="0">
                    <a:pos x="150" y="211"/>
                  </a:cxn>
                  <a:cxn ang="0">
                    <a:pos x="165" y="200"/>
                  </a:cxn>
                  <a:cxn ang="0">
                    <a:pos x="172" y="196"/>
                  </a:cxn>
                  <a:cxn ang="0">
                    <a:pos x="197" y="196"/>
                  </a:cxn>
                  <a:cxn ang="0">
                    <a:pos x="234" y="193"/>
                  </a:cxn>
                  <a:cxn ang="0">
                    <a:pos x="251" y="191"/>
                  </a:cxn>
                  <a:cxn ang="0">
                    <a:pos x="255" y="185"/>
                  </a:cxn>
                  <a:cxn ang="0">
                    <a:pos x="259" y="180"/>
                  </a:cxn>
                  <a:cxn ang="0">
                    <a:pos x="262" y="174"/>
                  </a:cxn>
                  <a:cxn ang="0">
                    <a:pos x="267" y="162"/>
                  </a:cxn>
                  <a:cxn ang="0">
                    <a:pos x="275" y="154"/>
                  </a:cxn>
                  <a:cxn ang="0">
                    <a:pos x="281" y="148"/>
                  </a:cxn>
                  <a:cxn ang="0">
                    <a:pos x="285" y="133"/>
                  </a:cxn>
                  <a:cxn ang="0">
                    <a:pos x="292" y="121"/>
                  </a:cxn>
                  <a:cxn ang="0">
                    <a:pos x="302" y="101"/>
                  </a:cxn>
                  <a:cxn ang="0">
                    <a:pos x="307" y="91"/>
                  </a:cxn>
                  <a:cxn ang="0">
                    <a:pos x="311" y="85"/>
                  </a:cxn>
                  <a:cxn ang="0">
                    <a:pos x="315" y="78"/>
                  </a:cxn>
                  <a:cxn ang="0">
                    <a:pos x="327" y="70"/>
                  </a:cxn>
                  <a:cxn ang="0">
                    <a:pos x="341" y="64"/>
                  </a:cxn>
                  <a:cxn ang="0">
                    <a:pos x="353" y="52"/>
                  </a:cxn>
                  <a:cxn ang="0">
                    <a:pos x="348" y="38"/>
                  </a:cxn>
                  <a:cxn ang="0">
                    <a:pos x="337" y="30"/>
                  </a:cxn>
                  <a:cxn ang="0">
                    <a:pos x="312" y="12"/>
                  </a:cxn>
                  <a:cxn ang="0">
                    <a:pos x="296" y="21"/>
                  </a:cxn>
                  <a:cxn ang="0">
                    <a:pos x="282" y="4"/>
                  </a:cxn>
                  <a:cxn ang="0">
                    <a:pos x="270" y="2"/>
                  </a:cxn>
                  <a:cxn ang="0">
                    <a:pos x="253" y="5"/>
                  </a:cxn>
                  <a:cxn ang="0">
                    <a:pos x="234" y="2"/>
                  </a:cxn>
                  <a:cxn ang="0">
                    <a:pos x="221" y="18"/>
                  </a:cxn>
                  <a:cxn ang="0">
                    <a:pos x="207" y="28"/>
                  </a:cxn>
                  <a:cxn ang="0">
                    <a:pos x="195" y="36"/>
                  </a:cxn>
                  <a:cxn ang="0">
                    <a:pos x="183" y="29"/>
                  </a:cxn>
                  <a:cxn ang="0">
                    <a:pos x="169" y="38"/>
                  </a:cxn>
                  <a:cxn ang="0">
                    <a:pos x="143" y="42"/>
                  </a:cxn>
                  <a:cxn ang="0">
                    <a:pos x="131" y="53"/>
                  </a:cxn>
                  <a:cxn ang="0">
                    <a:pos x="122" y="63"/>
                  </a:cxn>
                  <a:cxn ang="0">
                    <a:pos x="115" y="66"/>
                  </a:cxn>
                  <a:cxn ang="0">
                    <a:pos x="72" y="61"/>
                  </a:cxn>
                  <a:cxn ang="0">
                    <a:pos x="54" y="50"/>
                  </a:cxn>
                  <a:cxn ang="0">
                    <a:pos x="52" y="61"/>
                  </a:cxn>
                  <a:cxn ang="0">
                    <a:pos x="36" y="69"/>
                  </a:cxn>
                  <a:cxn ang="0">
                    <a:pos x="21" y="68"/>
                  </a:cxn>
                  <a:cxn ang="0">
                    <a:pos x="26" y="74"/>
                  </a:cxn>
                  <a:cxn ang="0">
                    <a:pos x="28" y="82"/>
                  </a:cxn>
                  <a:cxn ang="0">
                    <a:pos x="19" y="90"/>
                  </a:cxn>
                  <a:cxn ang="0">
                    <a:pos x="17" y="103"/>
                  </a:cxn>
                  <a:cxn ang="0">
                    <a:pos x="17" y="113"/>
                  </a:cxn>
                  <a:cxn ang="0">
                    <a:pos x="17" y="122"/>
                  </a:cxn>
                  <a:cxn ang="0">
                    <a:pos x="2" y="131"/>
                  </a:cxn>
                  <a:cxn ang="0">
                    <a:pos x="53" y="47"/>
                  </a:cxn>
                </a:cxnLst>
                <a:rect l="0" t="0" r="r" b="b"/>
                <a:pathLst>
                  <a:path w="353" h="228">
                    <a:moveTo>
                      <a:pt x="2" y="136"/>
                    </a:moveTo>
                    <a:cubicBezTo>
                      <a:pt x="4" y="138"/>
                      <a:pt x="5" y="139"/>
                      <a:pt x="5" y="141"/>
                    </a:cubicBezTo>
                    <a:cubicBezTo>
                      <a:pt x="5" y="143"/>
                      <a:pt x="4" y="144"/>
                      <a:pt x="4" y="146"/>
                    </a:cubicBezTo>
                    <a:cubicBezTo>
                      <a:pt x="3" y="147"/>
                      <a:pt x="3" y="148"/>
                      <a:pt x="3" y="150"/>
                    </a:cubicBezTo>
                    <a:cubicBezTo>
                      <a:pt x="3" y="152"/>
                      <a:pt x="3" y="152"/>
                      <a:pt x="5" y="153"/>
                    </a:cubicBezTo>
                    <a:cubicBezTo>
                      <a:pt x="6" y="154"/>
                      <a:pt x="7" y="154"/>
                      <a:pt x="8" y="155"/>
                    </a:cubicBezTo>
                    <a:cubicBezTo>
                      <a:pt x="9" y="159"/>
                      <a:pt x="6" y="162"/>
                      <a:pt x="10" y="165"/>
                    </a:cubicBezTo>
                    <a:cubicBezTo>
                      <a:pt x="10" y="165"/>
                      <a:pt x="11" y="165"/>
                      <a:pt x="12" y="165"/>
                    </a:cubicBezTo>
                    <a:cubicBezTo>
                      <a:pt x="12" y="165"/>
                      <a:pt x="13" y="167"/>
                      <a:pt x="13" y="167"/>
                    </a:cubicBezTo>
                    <a:cubicBezTo>
                      <a:pt x="14" y="168"/>
                      <a:pt x="15" y="169"/>
                      <a:pt x="17" y="170"/>
                    </a:cubicBezTo>
                    <a:cubicBezTo>
                      <a:pt x="20" y="172"/>
                      <a:pt x="23" y="174"/>
                      <a:pt x="25" y="177"/>
                    </a:cubicBezTo>
                    <a:cubicBezTo>
                      <a:pt x="26" y="178"/>
                      <a:pt x="26" y="180"/>
                      <a:pt x="27" y="181"/>
                    </a:cubicBezTo>
                    <a:cubicBezTo>
                      <a:pt x="28" y="182"/>
                      <a:pt x="30" y="183"/>
                      <a:pt x="32" y="183"/>
                    </a:cubicBezTo>
                    <a:cubicBezTo>
                      <a:pt x="31" y="186"/>
                      <a:pt x="31" y="187"/>
                      <a:pt x="34" y="189"/>
                    </a:cubicBezTo>
                    <a:cubicBezTo>
                      <a:pt x="35" y="190"/>
                      <a:pt x="37" y="190"/>
                      <a:pt x="38" y="191"/>
                    </a:cubicBezTo>
                    <a:cubicBezTo>
                      <a:pt x="39" y="191"/>
                      <a:pt x="40" y="193"/>
                      <a:pt x="42" y="192"/>
                    </a:cubicBezTo>
                    <a:cubicBezTo>
                      <a:pt x="41" y="192"/>
                      <a:pt x="41" y="193"/>
                      <a:pt x="41" y="193"/>
                    </a:cubicBezTo>
                    <a:cubicBezTo>
                      <a:pt x="42" y="194"/>
                      <a:pt x="43" y="195"/>
                      <a:pt x="43" y="196"/>
                    </a:cubicBezTo>
                    <a:cubicBezTo>
                      <a:pt x="44" y="196"/>
                      <a:pt x="44" y="196"/>
                      <a:pt x="43" y="197"/>
                    </a:cubicBezTo>
                    <a:cubicBezTo>
                      <a:pt x="44" y="197"/>
                      <a:pt x="44" y="197"/>
                      <a:pt x="44" y="198"/>
                    </a:cubicBezTo>
                    <a:cubicBezTo>
                      <a:pt x="45" y="198"/>
                      <a:pt x="45" y="199"/>
                      <a:pt x="46" y="199"/>
                    </a:cubicBezTo>
                    <a:cubicBezTo>
                      <a:pt x="47" y="201"/>
                      <a:pt x="48" y="201"/>
                      <a:pt x="49" y="203"/>
                    </a:cubicBezTo>
                    <a:cubicBezTo>
                      <a:pt x="50" y="205"/>
                      <a:pt x="50" y="208"/>
                      <a:pt x="51" y="210"/>
                    </a:cubicBezTo>
                    <a:cubicBezTo>
                      <a:pt x="53" y="212"/>
                      <a:pt x="56" y="212"/>
                      <a:pt x="58" y="213"/>
                    </a:cubicBezTo>
                    <a:cubicBezTo>
                      <a:pt x="60" y="214"/>
                      <a:pt x="60" y="215"/>
                      <a:pt x="63" y="215"/>
                    </a:cubicBezTo>
                    <a:cubicBezTo>
                      <a:pt x="64" y="215"/>
                      <a:pt x="64" y="215"/>
                      <a:pt x="65" y="215"/>
                    </a:cubicBezTo>
                    <a:cubicBezTo>
                      <a:pt x="66" y="216"/>
                      <a:pt x="66" y="216"/>
                      <a:pt x="66" y="217"/>
                    </a:cubicBezTo>
                    <a:cubicBezTo>
                      <a:pt x="68" y="218"/>
                      <a:pt x="70" y="219"/>
                      <a:pt x="71" y="221"/>
                    </a:cubicBezTo>
                    <a:cubicBezTo>
                      <a:pt x="72" y="222"/>
                      <a:pt x="72" y="222"/>
                      <a:pt x="73" y="223"/>
                    </a:cubicBezTo>
                    <a:cubicBezTo>
                      <a:pt x="75" y="223"/>
                      <a:pt x="77" y="223"/>
                      <a:pt x="78" y="223"/>
                    </a:cubicBezTo>
                    <a:cubicBezTo>
                      <a:pt x="80" y="223"/>
                      <a:pt x="82" y="224"/>
                      <a:pt x="84" y="224"/>
                    </a:cubicBezTo>
                    <a:cubicBezTo>
                      <a:pt x="85" y="225"/>
                      <a:pt x="87" y="224"/>
                      <a:pt x="88" y="225"/>
                    </a:cubicBezTo>
                    <a:cubicBezTo>
                      <a:pt x="89" y="225"/>
                      <a:pt x="89" y="225"/>
                      <a:pt x="90" y="226"/>
                    </a:cubicBezTo>
                    <a:cubicBezTo>
                      <a:pt x="91" y="226"/>
                      <a:pt x="92" y="226"/>
                      <a:pt x="92" y="226"/>
                    </a:cubicBezTo>
                    <a:cubicBezTo>
                      <a:pt x="94" y="226"/>
                      <a:pt x="95" y="226"/>
                      <a:pt x="97" y="226"/>
                    </a:cubicBezTo>
                    <a:cubicBezTo>
                      <a:pt x="99" y="226"/>
                      <a:pt x="101" y="226"/>
                      <a:pt x="104" y="226"/>
                    </a:cubicBezTo>
                    <a:cubicBezTo>
                      <a:pt x="107" y="225"/>
                      <a:pt x="113" y="228"/>
                      <a:pt x="116" y="226"/>
                    </a:cubicBezTo>
                    <a:cubicBezTo>
                      <a:pt x="116" y="225"/>
                      <a:pt x="116" y="223"/>
                      <a:pt x="117" y="222"/>
                    </a:cubicBezTo>
                    <a:cubicBezTo>
                      <a:pt x="117" y="221"/>
                      <a:pt x="118" y="221"/>
                      <a:pt x="119" y="220"/>
                    </a:cubicBezTo>
                    <a:cubicBezTo>
                      <a:pt x="120" y="220"/>
                      <a:pt x="122" y="219"/>
                      <a:pt x="123" y="219"/>
                    </a:cubicBezTo>
                    <a:cubicBezTo>
                      <a:pt x="123" y="219"/>
                      <a:pt x="125" y="218"/>
                      <a:pt x="125" y="218"/>
                    </a:cubicBezTo>
                    <a:cubicBezTo>
                      <a:pt x="126" y="217"/>
                      <a:pt x="127" y="213"/>
                      <a:pt x="129" y="214"/>
                    </a:cubicBezTo>
                    <a:cubicBezTo>
                      <a:pt x="129" y="215"/>
                      <a:pt x="130" y="215"/>
                      <a:pt x="130" y="215"/>
                    </a:cubicBezTo>
                    <a:cubicBezTo>
                      <a:pt x="131" y="215"/>
                      <a:pt x="131" y="214"/>
                      <a:pt x="132" y="214"/>
                    </a:cubicBezTo>
                    <a:cubicBezTo>
                      <a:pt x="133" y="213"/>
                      <a:pt x="136" y="214"/>
                      <a:pt x="138" y="213"/>
                    </a:cubicBezTo>
                    <a:cubicBezTo>
                      <a:pt x="139" y="210"/>
                      <a:pt x="141" y="206"/>
                      <a:pt x="144" y="204"/>
                    </a:cubicBezTo>
                    <a:cubicBezTo>
                      <a:pt x="144" y="205"/>
                      <a:pt x="145" y="206"/>
                      <a:pt x="146" y="206"/>
                    </a:cubicBezTo>
                    <a:cubicBezTo>
                      <a:pt x="147" y="208"/>
                      <a:pt x="148" y="210"/>
                      <a:pt x="150" y="211"/>
                    </a:cubicBezTo>
                    <a:cubicBezTo>
                      <a:pt x="152" y="212"/>
                      <a:pt x="154" y="211"/>
                      <a:pt x="155" y="209"/>
                    </a:cubicBezTo>
                    <a:cubicBezTo>
                      <a:pt x="155" y="208"/>
                      <a:pt x="155" y="208"/>
                      <a:pt x="155" y="206"/>
                    </a:cubicBezTo>
                    <a:cubicBezTo>
                      <a:pt x="156" y="205"/>
                      <a:pt x="157" y="204"/>
                      <a:pt x="158" y="203"/>
                    </a:cubicBezTo>
                    <a:cubicBezTo>
                      <a:pt x="160" y="202"/>
                      <a:pt x="163" y="202"/>
                      <a:pt x="165" y="200"/>
                    </a:cubicBezTo>
                    <a:cubicBezTo>
                      <a:pt x="165" y="200"/>
                      <a:pt x="165" y="199"/>
                      <a:pt x="165" y="199"/>
                    </a:cubicBezTo>
                    <a:cubicBezTo>
                      <a:pt x="166" y="199"/>
                      <a:pt x="166" y="199"/>
                      <a:pt x="166" y="198"/>
                    </a:cubicBezTo>
                    <a:cubicBezTo>
                      <a:pt x="167" y="198"/>
                      <a:pt x="167" y="197"/>
                      <a:pt x="168" y="197"/>
                    </a:cubicBezTo>
                    <a:cubicBezTo>
                      <a:pt x="169" y="196"/>
                      <a:pt x="170" y="196"/>
                      <a:pt x="172" y="196"/>
                    </a:cubicBezTo>
                    <a:cubicBezTo>
                      <a:pt x="173" y="196"/>
                      <a:pt x="175" y="195"/>
                      <a:pt x="176" y="195"/>
                    </a:cubicBezTo>
                    <a:cubicBezTo>
                      <a:pt x="177" y="196"/>
                      <a:pt x="177" y="197"/>
                      <a:pt x="178" y="197"/>
                    </a:cubicBezTo>
                    <a:cubicBezTo>
                      <a:pt x="182" y="198"/>
                      <a:pt x="185" y="198"/>
                      <a:pt x="188" y="198"/>
                    </a:cubicBezTo>
                    <a:cubicBezTo>
                      <a:pt x="191" y="197"/>
                      <a:pt x="193" y="196"/>
                      <a:pt x="197" y="196"/>
                    </a:cubicBezTo>
                    <a:cubicBezTo>
                      <a:pt x="200" y="196"/>
                      <a:pt x="203" y="198"/>
                      <a:pt x="206" y="198"/>
                    </a:cubicBezTo>
                    <a:cubicBezTo>
                      <a:pt x="208" y="198"/>
                      <a:pt x="209" y="198"/>
                      <a:pt x="210" y="198"/>
                    </a:cubicBezTo>
                    <a:cubicBezTo>
                      <a:pt x="212" y="198"/>
                      <a:pt x="212" y="197"/>
                      <a:pt x="213" y="197"/>
                    </a:cubicBezTo>
                    <a:cubicBezTo>
                      <a:pt x="220" y="196"/>
                      <a:pt x="230" y="202"/>
                      <a:pt x="234" y="193"/>
                    </a:cubicBezTo>
                    <a:cubicBezTo>
                      <a:pt x="235" y="192"/>
                      <a:pt x="236" y="189"/>
                      <a:pt x="239" y="189"/>
                    </a:cubicBezTo>
                    <a:cubicBezTo>
                      <a:pt x="240" y="189"/>
                      <a:pt x="241" y="189"/>
                      <a:pt x="242" y="190"/>
                    </a:cubicBezTo>
                    <a:cubicBezTo>
                      <a:pt x="244" y="191"/>
                      <a:pt x="245" y="191"/>
                      <a:pt x="246" y="191"/>
                    </a:cubicBezTo>
                    <a:cubicBezTo>
                      <a:pt x="248" y="191"/>
                      <a:pt x="250" y="191"/>
                      <a:pt x="251" y="191"/>
                    </a:cubicBezTo>
                    <a:cubicBezTo>
                      <a:pt x="253" y="190"/>
                      <a:pt x="253" y="189"/>
                      <a:pt x="254" y="188"/>
                    </a:cubicBezTo>
                    <a:cubicBezTo>
                      <a:pt x="253" y="188"/>
                      <a:pt x="254" y="187"/>
                      <a:pt x="254" y="187"/>
                    </a:cubicBezTo>
                    <a:cubicBezTo>
                      <a:pt x="254" y="187"/>
                      <a:pt x="254" y="186"/>
                      <a:pt x="255" y="186"/>
                    </a:cubicBezTo>
                    <a:cubicBezTo>
                      <a:pt x="254" y="186"/>
                      <a:pt x="255" y="186"/>
                      <a:pt x="255" y="185"/>
                    </a:cubicBezTo>
                    <a:cubicBezTo>
                      <a:pt x="255" y="185"/>
                      <a:pt x="255" y="186"/>
                      <a:pt x="255" y="186"/>
                    </a:cubicBezTo>
                    <a:cubicBezTo>
                      <a:pt x="255" y="186"/>
                      <a:pt x="256" y="183"/>
                      <a:pt x="256" y="184"/>
                    </a:cubicBezTo>
                    <a:cubicBezTo>
                      <a:pt x="256" y="184"/>
                      <a:pt x="257" y="184"/>
                      <a:pt x="257" y="183"/>
                    </a:cubicBezTo>
                    <a:cubicBezTo>
                      <a:pt x="258" y="182"/>
                      <a:pt x="258" y="181"/>
                      <a:pt x="259" y="180"/>
                    </a:cubicBezTo>
                    <a:cubicBezTo>
                      <a:pt x="259" y="180"/>
                      <a:pt x="260" y="179"/>
                      <a:pt x="260" y="179"/>
                    </a:cubicBezTo>
                    <a:cubicBezTo>
                      <a:pt x="261" y="178"/>
                      <a:pt x="261" y="177"/>
                      <a:pt x="261" y="177"/>
                    </a:cubicBezTo>
                    <a:cubicBezTo>
                      <a:pt x="261" y="176"/>
                      <a:pt x="262" y="176"/>
                      <a:pt x="262" y="176"/>
                    </a:cubicBezTo>
                    <a:cubicBezTo>
                      <a:pt x="263" y="175"/>
                      <a:pt x="262" y="174"/>
                      <a:pt x="262" y="174"/>
                    </a:cubicBezTo>
                    <a:cubicBezTo>
                      <a:pt x="262" y="173"/>
                      <a:pt x="263" y="171"/>
                      <a:pt x="263" y="170"/>
                    </a:cubicBezTo>
                    <a:cubicBezTo>
                      <a:pt x="264" y="168"/>
                      <a:pt x="265" y="167"/>
                      <a:pt x="266" y="166"/>
                    </a:cubicBezTo>
                    <a:cubicBezTo>
                      <a:pt x="266" y="165"/>
                      <a:pt x="267" y="165"/>
                      <a:pt x="267" y="164"/>
                    </a:cubicBezTo>
                    <a:cubicBezTo>
                      <a:pt x="267" y="164"/>
                      <a:pt x="267" y="163"/>
                      <a:pt x="267" y="162"/>
                    </a:cubicBezTo>
                    <a:cubicBezTo>
                      <a:pt x="268" y="161"/>
                      <a:pt x="269" y="161"/>
                      <a:pt x="270" y="160"/>
                    </a:cubicBezTo>
                    <a:cubicBezTo>
                      <a:pt x="271" y="159"/>
                      <a:pt x="270" y="158"/>
                      <a:pt x="272" y="158"/>
                    </a:cubicBezTo>
                    <a:cubicBezTo>
                      <a:pt x="272" y="157"/>
                      <a:pt x="272" y="157"/>
                      <a:pt x="272" y="157"/>
                    </a:cubicBezTo>
                    <a:cubicBezTo>
                      <a:pt x="274" y="157"/>
                      <a:pt x="274" y="154"/>
                      <a:pt x="275" y="154"/>
                    </a:cubicBezTo>
                    <a:cubicBezTo>
                      <a:pt x="275" y="153"/>
                      <a:pt x="275" y="153"/>
                      <a:pt x="276" y="153"/>
                    </a:cubicBezTo>
                    <a:cubicBezTo>
                      <a:pt x="276" y="153"/>
                      <a:pt x="276" y="153"/>
                      <a:pt x="277" y="153"/>
                    </a:cubicBezTo>
                    <a:cubicBezTo>
                      <a:pt x="278" y="152"/>
                      <a:pt x="278" y="152"/>
                      <a:pt x="278" y="151"/>
                    </a:cubicBezTo>
                    <a:cubicBezTo>
                      <a:pt x="279" y="151"/>
                      <a:pt x="280" y="150"/>
                      <a:pt x="281" y="148"/>
                    </a:cubicBezTo>
                    <a:cubicBezTo>
                      <a:pt x="282" y="147"/>
                      <a:pt x="282" y="145"/>
                      <a:pt x="282" y="143"/>
                    </a:cubicBezTo>
                    <a:cubicBezTo>
                      <a:pt x="282" y="142"/>
                      <a:pt x="283" y="140"/>
                      <a:pt x="283" y="138"/>
                    </a:cubicBezTo>
                    <a:cubicBezTo>
                      <a:pt x="283" y="137"/>
                      <a:pt x="283" y="135"/>
                      <a:pt x="283" y="134"/>
                    </a:cubicBezTo>
                    <a:cubicBezTo>
                      <a:pt x="284" y="134"/>
                      <a:pt x="284" y="134"/>
                      <a:pt x="285" y="133"/>
                    </a:cubicBezTo>
                    <a:cubicBezTo>
                      <a:pt x="285" y="132"/>
                      <a:pt x="285" y="131"/>
                      <a:pt x="286" y="130"/>
                    </a:cubicBezTo>
                    <a:cubicBezTo>
                      <a:pt x="287" y="129"/>
                      <a:pt x="287" y="128"/>
                      <a:pt x="288" y="127"/>
                    </a:cubicBezTo>
                    <a:cubicBezTo>
                      <a:pt x="288" y="126"/>
                      <a:pt x="288" y="124"/>
                      <a:pt x="289" y="123"/>
                    </a:cubicBezTo>
                    <a:cubicBezTo>
                      <a:pt x="289" y="122"/>
                      <a:pt x="291" y="121"/>
                      <a:pt x="292" y="121"/>
                    </a:cubicBezTo>
                    <a:cubicBezTo>
                      <a:pt x="294" y="119"/>
                      <a:pt x="296" y="116"/>
                      <a:pt x="296" y="114"/>
                    </a:cubicBezTo>
                    <a:cubicBezTo>
                      <a:pt x="297" y="112"/>
                      <a:pt x="296" y="111"/>
                      <a:pt x="297" y="109"/>
                    </a:cubicBezTo>
                    <a:cubicBezTo>
                      <a:pt x="297" y="108"/>
                      <a:pt x="297" y="107"/>
                      <a:pt x="298" y="106"/>
                    </a:cubicBezTo>
                    <a:cubicBezTo>
                      <a:pt x="299" y="104"/>
                      <a:pt x="300" y="102"/>
                      <a:pt x="302" y="101"/>
                    </a:cubicBezTo>
                    <a:cubicBezTo>
                      <a:pt x="303" y="101"/>
                      <a:pt x="305" y="101"/>
                      <a:pt x="306" y="100"/>
                    </a:cubicBezTo>
                    <a:cubicBezTo>
                      <a:pt x="306" y="99"/>
                      <a:pt x="306" y="98"/>
                      <a:pt x="306" y="96"/>
                    </a:cubicBezTo>
                    <a:cubicBezTo>
                      <a:pt x="307" y="95"/>
                      <a:pt x="307" y="94"/>
                      <a:pt x="307" y="92"/>
                    </a:cubicBezTo>
                    <a:cubicBezTo>
                      <a:pt x="307" y="92"/>
                      <a:pt x="307" y="91"/>
                      <a:pt x="307" y="91"/>
                    </a:cubicBezTo>
                    <a:cubicBezTo>
                      <a:pt x="308" y="90"/>
                      <a:pt x="308" y="89"/>
                      <a:pt x="309" y="88"/>
                    </a:cubicBezTo>
                    <a:cubicBezTo>
                      <a:pt x="309" y="88"/>
                      <a:pt x="310" y="87"/>
                      <a:pt x="310" y="87"/>
                    </a:cubicBezTo>
                    <a:cubicBezTo>
                      <a:pt x="310" y="86"/>
                      <a:pt x="310" y="86"/>
                      <a:pt x="310" y="86"/>
                    </a:cubicBezTo>
                    <a:cubicBezTo>
                      <a:pt x="310" y="86"/>
                      <a:pt x="311" y="85"/>
                      <a:pt x="311" y="85"/>
                    </a:cubicBezTo>
                    <a:cubicBezTo>
                      <a:pt x="311" y="85"/>
                      <a:pt x="312" y="84"/>
                      <a:pt x="312" y="84"/>
                    </a:cubicBezTo>
                    <a:cubicBezTo>
                      <a:pt x="313" y="83"/>
                      <a:pt x="312" y="82"/>
                      <a:pt x="312" y="81"/>
                    </a:cubicBezTo>
                    <a:cubicBezTo>
                      <a:pt x="313" y="80"/>
                      <a:pt x="313" y="80"/>
                      <a:pt x="314" y="80"/>
                    </a:cubicBezTo>
                    <a:cubicBezTo>
                      <a:pt x="314" y="79"/>
                      <a:pt x="314" y="78"/>
                      <a:pt x="315" y="78"/>
                    </a:cubicBezTo>
                    <a:cubicBezTo>
                      <a:pt x="316" y="77"/>
                      <a:pt x="316" y="76"/>
                      <a:pt x="317" y="75"/>
                    </a:cubicBezTo>
                    <a:cubicBezTo>
                      <a:pt x="318" y="73"/>
                      <a:pt x="318" y="73"/>
                      <a:pt x="320" y="73"/>
                    </a:cubicBezTo>
                    <a:cubicBezTo>
                      <a:pt x="321" y="73"/>
                      <a:pt x="323" y="73"/>
                      <a:pt x="324" y="73"/>
                    </a:cubicBezTo>
                    <a:cubicBezTo>
                      <a:pt x="326" y="72"/>
                      <a:pt x="326" y="71"/>
                      <a:pt x="327" y="70"/>
                    </a:cubicBezTo>
                    <a:cubicBezTo>
                      <a:pt x="328" y="68"/>
                      <a:pt x="329" y="68"/>
                      <a:pt x="330" y="68"/>
                    </a:cubicBezTo>
                    <a:cubicBezTo>
                      <a:pt x="332" y="68"/>
                      <a:pt x="332" y="67"/>
                      <a:pt x="333" y="67"/>
                    </a:cubicBezTo>
                    <a:cubicBezTo>
                      <a:pt x="335" y="67"/>
                      <a:pt x="338" y="68"/>
                      <a:pt x="340" y="67"/>
                    </a:cubicBezTo>
                    <a:cubicBezTo>
                      <a:pt x="341" y="66"/>
                      <a:pt x="341" y="65"/>
                      <a:pt x="341" y="64"/>
                    </a:cubicBezTo>
                    <a:cubicBezTo>
                      <a:pt x="343" y="62"/>
                      <a:pt x="346" y="60"/>
                      <a:pt x="348" y="60"/>
                    </a:cubicBezTo>
                    <a:cubicBezTo>
                      <a:pt x="348" y="59"/>
                      <a:pt x="349" y="58"/>
                      <a:pt x="349" y="58"/>
                    </a:cubicBezTo>
                    <a:cubicBezTo>
                      <a:pt x="350" y="57"/>
                      <a:pt x="349" y="56"/>
                      <a:pt x="350" y="55"/>
                    </a:cubicBezTo>
                    <a:cubicBezTo>
                      <a:pt x="350" y="53"/>
                      <a:pt x="351" y="52"/>
                      <a:pt x="353" y="52"/>
                    </a:cubicBezTo>
                    <a:cubicBezTo>
                      <a:pt x="353" y="50"/>
                      <a:pt x="353" y="47"/>
                      <a:pt x="353" y="45"/>
                    </a:cubicBezTo>
                    <a:cubicBezTo>
                      <a:pt x="353" y="44"/>
                      <a:pt x="353" y="42"/>
                      <a:pt x="353" y="41"/>
                    </a:cubicBezTo>
                    <a:cubicBezTo>
                      <a:pt x="352" y="40"/>
                      <a:pt x="351" y="40"/>
                      <a:pt x="351" y="39"/>
                    </a:cubicBezTo>
                    <a:cubicBezTo>
                      <a:pt x="350" y="39"/>
                      <a:pt x="349" y="39"/>
                      <a:pt x="348" y="38"/>
                    </a:cubicBezTo>
                    <a:cubicBezTo>
                      <a:pt x="347" y="38"/>
                      <a:pt x="346" y="38"/>
                      <a:pt x="345" y="38"/>
                    </a:cubicBezTo>
                    <a:cubicBezTo>
                      <a:pt x="342" y="38"/>
                      <a:pt x="339" y="36"/>
                      <a:pt x="338" y="38"/>
                    </a:cubicBezTo>
                    <a:cubicBezTo>
                      <a:pt x="336" y="38"/>
                      <a:pt x="337" y="35"/>
                      <a:pt x="337" y="33"/>
                    </a:cubicBezTo>
                    <a:cubicBezTo>
                      <a:pt x="337" y="32"/>
                      <a:pt x="337" y="31"/>
                      <a:pt x="337" y="30"/>
                    </a:cubicBezTo>
                    <a:cubicBezTo>
                      <a:pt x="336" y="29"/>
                      <a:pt x="336" y="29"/>
                      <a:pt x="334" y="29"/>
                    </a:cubicBezTo>
                    <a:cubicBezTo>
                      <a:pt x="314" y="7"/>
                      <a:pt x="314" y="7"/>
                      <a:pt x="314" y="7"/>
                    </a:cubicBezTo>
                    <a:cubicBezTo>
                      <a:pt x="314" y="7"/>
                      <a:pt x="314" y="7"/>
                      <a:pt x="314" y="8"/>
                    </a:cubicBezTo>
                    <a:cubicBezTo>
                      <a:pt x="313" y="9"/>
                      <a:pt x="313" y="11"/>
                      <a:pt x="312" y="12"/>
                    </a:cubicBezTo>
                    <a:cubicBezTo>
                      <a:pt x="312" y="13"/>
                      <a:pt x="311" y="15"/>
                      <a:pt x="310" y="16"/>
                    </a:cubicBezTo>
                    <a:cubicBezTo>
                      <a:pt x="308" y="17"/>
                      <a:pt x="306" y="16"/>
                      <a:pt x="304" y="16"/>
                    </a:cubicBezTo>
                    <a:cubicBezTo>
                      <a:pt x="302" y="16"/>
                      <a:pt x="302" y="16"/>
                      <a:pt x="300" y="17"/>
                    </a:cubicBezTo>
                    <a:cubicBezTo>
                      <a:pt x="299" y="19"/>
                      <a:pt x="298" y="21"/>
                      <a:pt x="296" y="21"/>
                    </a:cubicBezTo>
                    <a:cubicBezTo>
                      <a:pt x="295" y="20"/>
                      <a:pt x="294" y="19"/>
                      <a:pt x="294" y="18"/>
                    </a:cubicBezTo>
                    <a:cubicBezTo>
                      <a:pt x="292" y="17"/>
                      <a:pt x="292" y="17"/>
                      <a:pt x="290" y="16"/>
                    </a:cubicBezTo>
                    <a:cubicBezTo>
                      <a:pt x="289" y="15"/>
                      <a:pt x="287" y="14"/>
                      <a:pt x="286" y="13"/>
                    </a:cubicBezTo>
                    <a:cubicBezTo>
                      <a:pt x="285" y="10"/>
                      <a:pt x="285" y="6"/>
                      <a:pt x="282" y="4"/>
                    </a:cubicBezTo>
                    <a:cubicBezTo>
                      <a:pt x="281" y="3"/>
                      <a:pt x="280" y="3"/>
                      <a:pt x="279" y="3"/>
                    </a:cubicBezTo>
                    <a:cubicBezTo>
                      <a:pt x="279" y="3"/>
                      <a:pt x="279" y="2"/>
                      <a:pt x="278" y="2"/>
                    </a:cubicBezTo>
                    <a:cubicBezTo>
                      <a:pt x="277" y="1"/>
                      <a:pt x="275" y="2"/>
                      <a:pt x="274" y="2"/>
                    </a:cubicBezTo>
                    <a:cubicBezTo>
                      <a:pt x="272" y="2"/>
                      <a:pt x="271" y="2"/>
                      <a:pt x="270" y="2"/>
                    </a:cubicBezTo>
                    <a:cubicBezTo>
                      <a:pt x="269" y="3"/>
                      <a:pt x="268" y="3"/>
                      <a:pt x="267" y="3"/>
                    </a:cubicBezTo>
                    <a:cubicBezTo>
                      <a:pt x="265" y="3"/>
                      <a:pt x="264" y="5"/>
                      <a:pt x="263" y="5"/>
                    </a:cubicBezTo>
                    <a:cubicBezTo>
                      <a:pt x="261" y="6"/>
                      <a:pt x="260" y="5"/>
                      <a:pt x="258" y="5"/>
                    </a:cubicBezTo>
                    <a:cubicBezTo>
                      <a:pt x="257" y="5"/>
                      <a:pt x="255" y="5"/>
                      <a:pt x="253" y="5"/>
                    </a:cubicBezTo>
                    <a:cubicBezTo>
                      <a:pt x="252" y="5"/>
                      <a:pt x="251" y="5"/>
                      <a:pt x="251" y="5"/>
                    </a:cubicBezTo>
                    <a:cubicBezTo>
                      <a:pt x="250" y="4"/>
                      <a:pt x="250" y="3"/>
                      <a:pt x="249" y="3"/>
                    </a:cubicBezTo>
                    <a:cubicBezTo>
                      <a:pt x="248" y="2"/>
                      <a:pt x="247" y="2"/>
                      <a:pt x="245" y="2"/>
                    </a:cubicBezTo>
                    <a:cubicBezTo>
                      <a:pt x="241" y="2"/>
                      <a:pt x="238" y="2"/>
                      <a:pt x="234" y="2"/>
                    </a:cubicBezTo>
                    <a:cubicBezTo>
                      <a:pt x="232" y="2"/>
                      <a:pt x="226" y="0"/>
                      <a:pt x="225" y="3"/>
                    </a:cubicBezTo>
                    <a:cubicBezTo>
                      <a:pt x="224" y="4"/>
                      <a:pt x="225" y="6"/>
                      <a:pt x="224" y="8"/>
                    </a:cubicBezTo>
                    <a:cubicBezTo>
                      <a:pt x="224" y="10"/>
                      <a:pt x="223" y="11"/>
                      <a:pt x="222" y="13"/>
                    </a:cubicBezTo>
                    <a:cubicBezTo>
                      <a:pt x="222" y="15"/>
                      <a:pt x="222" y="16"/>
                      <a:pt x="221" y="18"/>
                    </a:cubicBezTo>
                    <a:cubicBezTo>
                      <a:pt x="220" y="20"/>
                      <a:pt x="219" y="22"/>
                      <a:pt x="217" y="23"/>
                    </a:cubicBezTo>
                    <a:cubicBezTo>
                      <a:pt x="217" y="24"/>
                      <a:pt x="216" y="25"/>
                      <a:pt x="215" y="25"/>
                    </a:cubicBezTo>
                    <a:cubicBezTo>
                      <a:pt x="214" y="25"/>
                      <a:pt x="213" y="25"/>
                      <a:pt x="212" y="25"/>
                    </a:cubicBezTo>
                    <a:cubicBezTo>
                      <a:pt x="210" y="26"/>
                      <a:pt x="209" y="28"/>
                      <a:pt x="207" y="28"/>
                    </a:cubicBezTo>
                    <a:cubicBezTo>
                      <a:pt x="206" y="28"/>
                      <a:pt x="205" y="28"/>
                      <a:pt x="205" y="28"/>
                    </a:cubicBezTo>
                    <a:cubicBezTo>
                      <a:pt x="204" y="29"/>
                      <a:pt x="203" y="29"/>
                      <a:pt x="203" y="30"/>
                    </a:cubicBezTo>
                    <a:cubicBezTo>
                      <a:pt x="201" y="31"/>
                      <a:pt x="200" y="31"/>
                      <a:pt x="199" y="31"/>
                    </a:cubicBezTo>
                    <a:cubicBezTo>
                      <a:pt x="197" y="33"/>
                      <a:pt x="197" y="35"/>
                      <a:pt x="195" y="36"/>
                    </a:cubicBezTo>
                    <a:cubicBezTo>
                      <a:pt x="194" y="35"/>
                      <a:pt x="194" y="32"/>
                      <a:pt x="192" y="31"/>
                    </a:cubicBezTo>
                    <a:cubicBezTo>
                      <a:pt x="191" y="30"/>
                      <a:pt x="188" y="30"/>
                      <a:pt x="186" y="30"/>
                    </a:cubicBezTo>
                    <a:cubicBezTo>
                      <a:pt x="185" y="30"/>
                      <a:pt x="184" y="31"/>
                      <a:pt x="184" y="30"/>
                    </a:cubicBezTo>
                    <a:cubicBezTo>
                      <a:pt x="183" y="30"/>
                      <a:pt x="184" y="29"/>
                      <a:pt x="183" y="29"/>
                    </a:cubicBezTo>
                    <a:cubicBezTo>
                      <a:pt x="183" y="28"/>
                      <a:pt x="180" y="28"/>
                      <a:pt x="179" y="28"/>
                    </a:cubicBezTo>
                    <a:cubicBezTo>
                      <a:pt x="178" y="28"/>
                      <a:pt x="176" y="28"/>
                      <a:pt x="175" y="29"/>
                    </a:cubicBezTo>
                    <a:cubicBezTo>
                      <a:pt x="174" y="30"/>
                      <a:pt x="173" y="33"/>
                      <a:pt x="172" y="35"/>
                    </a:cubicBezTo>
                    <a:cubicBezTo>
                      <a:pt x="172" y="36"/>
                      <a:pt x="170" y="38"/>
                      <a:pt x="169" y="38"/>
                    </a:cubicBezTo>
                    <a:cubicBezTo>
                      <a:pt x="168" y="39"/>
                      <a:pt x="165" y="38"/>
                      <a:pt x="164" y="38"/>
                    </a:cubicBezTo>
                    <a:cubicBezTo>
                      <a:pt x="163" y="39"/>
                      <a:pt x="161" y="39"/>
                      <a:pt x="160" y="39"/>
                    </a:cubicBezTo>
                    <a:cubicBezTo>
                      <a:pt x="158" y="40"/>
                      <a:pt x="156" y="39"/>
                      <a:pt x="155" y="40"/>
                    </a:cubicBezTo>
                    <a:cubicBezTo>
                      <a:pt x="151" y="40"/>
                      <a:pt x="147" y="41"/>
                      <a:pt x="143" y="42"/>
                    </a:cubicBezTo>
                    <a:cubicBezTo>
                      <a:pt x="142" y="42"/>
                      <a:pt x="139" y="41"/>
                      <a:pt x="138" y="42"/>
                    </a:cubicBezTo>
                    <a:cubicBezTo>
                      <a:pt x="137" y="42"/>
                      <a:pt x="135" y="44"/>
                      <a:pt x="135" y="44"/>
                    </a:cubicBezTo>
                    <a:cubicBezTo>
                      <a:pt x="134" y="46"/>
                      <a:pt x="134" y="48"/>
                      <a:pt x="134" y="50"/>
                    </a:cubicBezTo>
                    <a:cubicBezTo>
                      <a:pt x="133" y="51"/>
                      <a:pt x="132" y="52"/>
                      <a:pt x="131" y="53"/>
                    </a:cubicBezTo>
                    <a:cubicBezTo>
                      <a:pt x="131" y="56"/>
                      <a:pt x="134" y="55"/>
                      <a:pt x="135" y="58"/>
                    </a:cubicBezTo>
                    <a:cubicBezTo>
                      <a:pt x="135" y="59"/>
                      <a:pt x="134" y="61"/>
                      <a:pt x="132" y="61"/>
                    </a:cubicBezTo>
                    <a:cubicBezTo>
                      <a:pt x="131" y="62"/>
                      <a:pt x="128" y="62"/>
                      <a:pt x="127" y="62"/>
                    </a:cubicBezTo>
                    <a:cubicBezTo>
                      <a:pt x="125" y="62"/>
                      <a:pt x="124" y="62"/>
                      <a:pt x="122" y="63"/>
                    </a:cubicBezTo>
                    <a:cubicBezTo>
                      <a:pt x="121" y="63"/>
                      <a:pt x="120" y="63"/>
                      <a:pt x="118" y="64"/>
                    </a:cubicBezTo>
                    <a:cubicBezTo>
                      <a:pt x="118" y="64"/>
                      <a:pt x="118" y="65"/>
                      <a:pt x="118" y="65"/>
                    </a:cubicBezTo>
                    <a:cubicBezTo>
                      <a:pt x="118" y="65"/>
                      <a:pt x="117" y="66"/>
                      <a:pt x="117" y="65"/>
                    </a:cubicBezTo>
                    <a:cubicBezTo>
                      <a:pt x="117" y="65"/>
                      <a:pt x="115" y="66"/>
                      <a:pt x="115" y="66"/>
                    </a:cubicBezTo>
                    <a:cubicBezTo>
                      <a:pt x="111" y="67"/>
                      <a:pt x="105" y="66"/>
                      <a:pt x="101" y="66"/>
                    </a:cubicBezTo>
                    <a:cubicBezTo>
                      <a:pt x="93" y="66"/>
                      <a:pt x="86" y="66"/>
                      <a:pt x="79" y="66"/>
                    </a:cubicBezTo>
                    <a:cubicBezTo>
                      <a:pt x="77" y="66"/>
                      <a:pt x="75" y="67"/>
                      <a:pt x="74" y="66"/>
                    </a:cubicBezTo>
                    <a:cubicBezTo>
                      <a:pt x="73" y="65"/>
                      <a:pt x="72" y="63"/>
                      <a:pt x="72" y="61"/>
                    </a:cubicBezTo>
                    <a:cubicBezTo>
                      <a:pt x="71" y="60"/>
                      <a:pt x="70" y="58"/>
                      <a:pt x="68" y="57"/>
                    </a:cubicBezTo>
                    <a:cubicBezTo>
                      <a:pt x="67" y="57"/>
                      <a:pt x="66" y="57"/>
                      <a:pt x="65" y="57"/>
                    </a:cubicBezTo>
                    <a:cubicBezTo>
                      <a:pt x="62" y="56"/>
                      <a:pt x="61" y="53"/>
                      <a:pt x="59" y="52"/>
                    </a:cubicBezTo>
                    <a:cubicBezTo>
                      <a:pt x="58" y="51"/>
                      <a:pt x="56" y="50"/>
                      <a:pt x="54" y="50"/>
                    </a:cubicBezTo>
                    <a:cubicBezTo>
                      <a:pt x="53" y="49"/>
                      <a:pt x="52" y="49"/>
                      <a:pt x="51" y="49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49" y="52"/>
                      <a:pt x="46" y="55"/>
                      <a:pt x="48" y="57"/>
                    </a:cubicBezTo>
                    <a:cubicBezTo>
                      <a:pt x="50" y="59"/>
                      <a:pt x="53" y="58"/>
                      <a:pt x="52" y="61"/>
                    </a:cubicBezTo>
                    <a:cubicBezTo>
                      <a:pt x="51" y="63"/>
                      <a:pt x="48" y="64"/>
                      <a:pt x="47" y="65"/>
                    </a:cubicBezTo>
                    <a:cubicBezTo>
                      <a:pt x="46" y="66"/>
                      <a:pt x="45" y="66"/>
                      <a:pt x="44" y="66"/>
                    </a:cubicBezTo>
                    <a:cubicBezTo>
                      <a:pt x="43" y="67"/>
                      <a:pt x="43" y="67"/>
                      <a:pt x="42" y="67"/>
                    </a:cubicBezTo>
                    <a:cubicBezTo>
                      <a:pt x="39" y="67"/>
                      <a:pt x="38" y="69"/>
                      <a:pt x="36" y="69"/>
                    </a:cubicBezTo>
                    <a:cubicBezTo>
                      <a:pt x="35" y="69"/>
                      <a:pt x="34" y="70"/>
                      <a:pt x="33" y="69"/>
                    </a:cubicBezTo>
                    <a:cubicBezTo>
                      <a:pt x="32" y="69"/>
                      <a:pt x="32" y="67"/>
                      <a:pt x="31" y="66"/>
                    </a:cubicBezTo>
                    <a:cubicBezTo>
                      <a:pt x="30" y="64"/>
                      <a:pt x="26" y="63"/>
                      <a:pt x="25" y="64"/>
                    </a:cubicBezTo>
                    <a:cubicBezTo>
                      <a:pt x="23" y="66"/>
                      <a:pt x="24" y="68"/>
                      <a:pt x="21" y="68"/>
                    </a:cubicBezTo>
                    <a:cubicBezTo>
                      <a:pt x="20" y="68"/>
                      <a:pt x="17" y="67"/>
                      <a:pt x="17" y="68"/>
                    </a:cubicBezTo>
                    <a:cubicBezTo>
                      <a:pt x="16" y="69"/>
                      <a:pt x="17" y="70"/>
                      <a:pt x="17" y="70"/>
                    </a:cubicBezTo>
                    <a:cubicBezTo>
                      <a:pt x="18" y="71"/>
                      <a:pt x="19" y="72"/>
                      <a:pt x="21" y="73"/>
                    </a:cubicBezTo>
                    <a:cubicBezTo>
                      <a:pt x="22" y="74"/>
                      <a:pt x="24" y="73"/>
                      <a:pt x="26" y="74"/>
                    </a:cubicBezTo>
                    <a:cubicBezTo>
                      <a:pt x="26" y="74"/>
                      <a:pt x="26" y="75"/>
                      <a:pt x="27" y="75"/>
                    </a:cubicBezTo>
                    <a:cubicBezTo>
                      <a:pt x="27" y="76"/>
                      <a:pt x="27" y="76"/>
                      <a:pt x="27" y="77"/>
                    </a:cubicBezTo>
                    <a:cubicBezTo>
                      <a:pt x="28" y="78"/>
                      <a:pt x="28" y="78"/>
                      <a:pt x="28" y="79"/>
                    </a:cubicBezTo>
                    <a:cubicBezTo>
                      <a:pt x="28" y="80"/>
                      <a:pt x="28" y="82"/>
                      <a:pt x="28" y="82"/>
                    </a:cubicBezTo>
                    <a:cubicBezTo>
                      <a:pt x="28" y="83"/>
                      <a:pt x="27" y="84"/>
                      <a:pt x="26" y="85"/>
                    </a:cubicBezTo>
                    <a:cubicBezTo>
                      <a:pt x="25" y="86"/>
                      <a:pt x="24" y="88"/>
                      <a:pt x="24" y="89"/>
                    </a:cubicBezTo>
                    <a:cubicBezTo>
                      <a:pt x="23" y="90"/>
                      <a:pt x="23" y="90"/>
                      <a:pt x="22" y="91"/>
                    </a:cubicBezTo>
                    <a:cubicBezTo>
                      <a:pt x="21" y="91"/>
                      <a:pt x="20" y="90"/>
                      <a:pt x="19" y="90"/>
                    </a:cubicBezTo>
                    <a:cubicBezTo>
                      <a:pt x="18" y="90"/>
                      <a:pt x="17" y="91"/>
                      <a:pt x="17" y="91"/>
                    </a:cubicBezTo>
                    <a:cubicBezTo>
                      <a:pt x="15" y="92"/>
                      <a:pt x="14" y="97"/>
                      <a:pt x="16" y="99"/>
                    </a:cubicBezTo>
                    <a:cubicBezTo>
                      <a:pt x="16" y="100"/>
                      <a:pt x="20" y="99"/>
                      <a:pt x="19" y="102"/>
                    </a:cubicBezTo>
                    <a:cubicBezTo>
                      <a:pt x="19" y="102"/>
                      <a:pt x="17" y="103"/>
                      <a:pt x="17" y="103"/>
                    </a:cubicBezTo>
                    <a:cubicBezTo>
                      <a:pt x="16" y="103"/>
                      <a:pt x="14" y="105"/>
                      <a:pt x="14" y="106"/>
                    </a:cubicBezTo>
                    <a:cubicBezTo>
                      <a:pt x="13" y="107"/>
                      <a:pt x="14" y="108"/>
                      <a:pt x="14" y="108"/>
                    </a:cubicBezTo>
                    <a:cubicBezTo>
                      <a:pt x="14" y="109"/>
                      <a:pt x="14" y="110"/>
                      <a:pt x="15" y="110"/>
                    </a:cubicBezTo>
                    <a:cubicBezTo>
                      <a:pt x="15" y="112"/>
                      <a:pt x="15" y="112"/>
                      <a:pt x="17" y="113"/>
                    </a:cubicBezTo>
                    <a:cubicBezTo>
                      <a:pt x="18" y="113"/>
                      <a:pt x="18" y="113"/>
                      <a:pt x="18" y="115"/>
                    </a:cubicBezTo>
                    <a:cubicBezTo>
                      <a:pt x="18" y="116"/>
                      <a:pt x="18" y="117"/>
                      <a:pt x="18" y="117"/>
                    </a:cubicBezTo>
                    <a:cubicBezTo>
                      <a:pt x="18" y="118"/>
                      <a:pt x="17" y="119"/>
                      <a:pt x="17" y="120"/>
                    </a:cubicBezTo>
                    <a:cubicBezTo>
                      <a:pt x="17" y="121"/>
                      <a:pt x="17" y="121"/>
                      <a:pt x="17" y="122"/>
                    </a:cubicBezTo>
                    <a:cubicBezTo>
                      <a:pt x="17" y="124"/>
                      <a:pt x="16" y="124"/>
                      <a:pt x="14" y="124"/>
                    </a:cubicBezTo>
                    <a:cubicBezTo>
                      <a:pt x="13" y="124"/>
                      <a:pt x="12" y="125"/>
                      <a:pt x="10" y="125"/>
                    </a:cubicBezTo>
                    <a:cubicBezTo>
                      <a:pt x="8" y="125"/>
                      <a:pt x="8" y="126"/>
                      <a:pt x="6" y="127"/>
                    </a:cubicBezTo>
                    <a:cubicBezTo>
                      <a:pt x="4" y="128"/>
                      <a:pt x="3" y="128"/>
                      <a:pt x="2" y="131"/>
                    </a:cubicBezTo>
                    <a:cubicBezTo>
                      <a:pt x="1" y="132"/>
                      <a:pt x="1" y="132"/>
                      <a:pt x="0" y="133"/>
                    </a:cubicBezTo>
                    <a:cubicBezTo>
                      <a:pt x="1" y="134"/>
                      <a:pt x="2" y="135"/>
                      <a:pt x="2" y="136"/>
                    </a:cubicBezTo>
                    <a:moveTo>
                      <a:pt x="51" y="49"/>
                    </a:moveTo>
                    <a:cubicBezTo>
                      <a:pt x="52" y="49"/>
                      <a:pt x="53" y="48"/>
                      <a:pt x="53" y="47"/>
                    </a:cubicBezTo>
                    <a:cubicBezTo>
                      <a:pt x="53" y="48"/>
                      <a:pt x="52" y="49"/>
                      <a:pt x="51" y="49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09" name="Freeform 25">
                <a:extLst>
                  <a:ext uri="{FF2B5EF4-FFF2-40B4-BE49-F238E27FC236}">
                    <a16:creationId xmlns:a16="http://schemas.microsoft.com/office/drawing/2014/main" id="{5DDFABC0-0B12-41AD-878D-6077CFB3F5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1075" y="5016500"/>
                <a:ext cx="311150" cy="225425"/>
              </a:xfrm>
              <a:custGeom>
                <a:avLst/>
                <a:gdLst/>
                <a:ahLst/>
                <a:cxnLst>
                  <a:cxn ang="0">
                    <a:pos x="159" y="13"/>
                  </a:cxn>
                  <a:cxn ang="0">
                    <a:pos x="155" y="0"/>
                  </a:cxn>
                  <a:cxn ang="0">
                    <a:pos x="145" y="15"/>
                  </a:cxn>
                  <a:cxn ang="0">
                    <a:pos x="125" y="14"/>
                  </a:cxn>
                  <a:cxn ang="0">
                    <a:pos x="119" y="23"/>
                  </a:cxn>
                  <a:cxn ang="0">
                    <a:pos x="105" y="21"/>
                  </a:cxn>
                  <a:cxn ang="0">
                    <a:pos x="84" y="25"/>
                  </a:cxn>
                  <a:cxn ang="0">
                    <a:pos x="78" y="32"/>
                  </a:cxn>
                  <a:cxn ang="0">
                    <a:pos x="69" y="41"/>
                  </a:cxn>
                  <a:cxn ang="0">
                    <a:pos x="57" y="37"/>
                  </a:cxn>
                  <a:cxn ang="0">
                    <a:pos x="49" y="35"/>
                  </a:cxn>
                  <a:cxn ang="0">
                    <a:pos x="29" y="31"/>
                  </a:cxn>
                  <a:cxn ang="0">
                    <a:pos x="19" y="40"/>
                  </a:cxn>
                  <a:cxn ang="0">
                    <a:pos x="3" y="50"/>
                  </a:cxn>
                  <a:cxn ang="0">
                    <a:pos x="11" y="57"/>
                  </a:cxn>
                  <a:cxn ang="0">
                    <a:pos x="6" y="69"/>
                  </a:cxn>
                  <a:cxn ang="0">
                    <a:pos x="9" y="77"/>
                  </a:cxn>
                  <a:cxn ang="0">
                    <a:pos x="19" y="87"/>
                  </a:cxn>
                  <a:cxn ang="0">
                    <a:pos x="28" y="92"/>
                  </a:cxn>
                  <a:cxn ang="0">
                    <a:pos x="24" y="104"/>
                  </a:cxn>
                  <a:cxn ang="0">
                    <a:pos x="10" y="109"/>
                  </a:cxn>
                  <a:cxn ang="0">
                    <a:pos x="10" y="113"/>
                  </a:cxn>
                  <a:cxn ang="0">
                    <a:pos x="18" y="117"/>
                  </a:cxn>
                  <a:cxn ang="0">
                    <a:pos x="26" y="116"/>
                  </a:cxn>
                  <a:cxn ang="0">
                    <a:pos x="33" y="113"/>
                  </a:cxn>
                  <a:cxn ang="0">
                    <a:pos x="43" y="116"/>
                  </a:cxn>
                  <a:cxn ang="0">
                    <a:pos x="51" y="120"/>
                  </a:cxn>
                  <a:cxn ang="0">
                    <a:pos x="61" y="116"/>
                  </a:cxn>
                  <a:cxn ang="0">
                    <a:pos x="56" y="108"/>
                  </a:cxn>
                  <a:cxn ang="0">
                    <a:pos x="58" y="101"/>
                  </a:cxn>
                  <a:cxn ang="0">
                    <a:pos x="66" y="108"/>
                  </a:cxn>
                  <a:cxn ang="0">
                    <a:pos x="74" y="114"/>
                  </a:cxn>
                  <a:cxn ang="0">
                    <a:pos x="80" y="112"/>
                  </a:cxn>
                  <a:cxn ang="0">
                    <a:pos x="90" y="119"/>
                  </a:cxn>
                  <a:cxn ang="0">
                    <a:pos x="95" y="117"/>
                  </a:cxn>
                  <a:cxn ang="0">
                    <a:pos x="99" y="109"/>
                  </a:cxn>
                  <a:cxn ang="0">
                    <a:pos x="102" y="99"/>
                  </a:cxn>
                  <a:cxn ang="0">
                    <a:pos x="104" y="90"/>
                  </a:cxn>
                  <a:cxn ang="0">
                    <a:pos x="113" y="88"/>
                  </a:cxn>
                  <a:cxn ang="0">
                    <a:pos x="120" y="87"/>
                  </a:cxn>
                  <a:cxn ang="0">
                    <a:pos x="133" y="91"/>
                  </a:cxn>
                  <a:cxn ang="0">
                    <a:pos x="132" y="82"/>
                  </a:cxn>
                  <a:cxn ang="0">
                    <a:pos x="126" y="75"/>
                  </a:cxn>
                  <a:cxn ang="0">
                    <a:pos x="121" y="70"/>
                  </a:cxn>
                  <a:cxn ang="0">
                    <a:pos x="116" y="65"/>
                  </a:cxn>
                  <a:cxn ang="0">
                    <a:pos x="121" y="58"/>
                  </a:cxn>
                  <a:cxn ang="0">
                    <a:pos x="128" y="53"/>
                  </a:cxn>
                  <a:cxn ang="0">
                    <a:pos x="137" y="47"/>
                  </a:cxn>
                  <a:cxn ang="0">
                    <a:pos x="144" y="43"/>
                  </a:cxn>
                  <a:cxn ang="0">
                    <a:pos x="152" y="40"/>
                  </a:cxn>
                  <a:cxn ang="0">
                    <a:pos x="151" y="33"/>
                  </a:cxn>
                  <a:cxn ang="0">
                    <a:pos x="165" y="33"/>
                  </a:cxn>
                  <a:cxn ang="0">
                    <a:pos x="163" y="22"/>
                  </a:cxn>
                </a:cxnLst>
                <a:rect l="0" t="0" r="r" b="b"/>
                <a:pathLst>
                  <a:path w="167" h="120">
                    <a:moveTo>
                      <a:pt x="163" y="22"/>
                    </a:moveTo>
                    <a:cubicBezTo>
                      <a:pt x="162" y="21"/>
                      <a:pt x="161" y="21"/>
                      <a:pt x="160" y="20"/>
                    </a:cubicBezTo>
                    <a:cubicBezTo>
                      <a:pt x="158" y="19"/>
                      <a:pt x="158" y="19"/>
                      <a:pt x="158" y="17"/>
                    </a:cubicBezTo>
                    <a:cubicBezTo>
                      <a:pt x="158" y="15"/>
                      <a:pt x="158" y="14"/>
                      <a:pt x="159" y="13"/>
                    </a:cubicBezTo>
                    <a:cubicBezTo>
                      <a:pt x="159" y="11"/>
                      <a:pt x="160" y="10"/>
                      <a:pt x="160" y="8"/>
                    </a:cubicBezTo>
                    <a:cubicBezTo>
                      <a:pt x="160" y="6"/>
                      <a:pt x="159" y="5"/>
                      <a:pt x="157" y="3"/>
                    </a:cubicBezTo>
                    <a:cubicBezTo>
                      <a:pt x="157" y="2"/>
                      <a:pt x="156" y="1"/>
                      <a:pt x="155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54" y="0"/>
                      <a:pt x="154" y="1"/>
                      <a:pt x="153" y="1"/>
                    </a:cubicBezTo>
                    <a:cubicBezTo>
                      <a:pt x="152" y="3"/>
                      <a:pt x="150" y="2"/>
                      <a:pt x="149" y="3"/>
                    </a:cubicBezTo>
                    <a:cubicBezTo>
                      <a:pt x="147" y="4"/>
                      <a:pt x="146" y="6"/>
                      <a:pt x="146" y="9"/>
                    </a:cubicBezTo>
                    <a:cubicBezTo>
                      <a:pt x="146" y="11"/>
                      <a:pt x="146" y="13"/>
                      <a:pt x="145" y="15"/>
                    </a:cubicBezTo>
                    <a:cubicBezTo>
                      <a:pt x="144" y="18"/>
                      <a:pt x="141" y="18"/>
                      <a:pt x="138" y="18"/>
                    </a:cubicBezTo>
                    <a:cubicBezTo>
                      <a:pt x="136" y="17"/>
                      <a:pt x="133" y="18"/>
                      <a:pt x="131" y="17"/>
                    </a:cubicBezTo>
                    <a:cubicBezTo>
                      <a:pt x="129" y="15"/>
                      <a:pt x="131" y="12"/>
                      <a:pt x="129" y="11"/>
                    </a:cubicBezTo>
                    <a:cubicBezTo>
                      <a:pt x="128" y="10"/>
                      <a:pt x="126" y="13"/>
                      <a:pt x="125" y="14"/>
                    </a:cubicBezTo>
                    <a:cubicBezTo>
                      <a:pt x="124" y="15"/>
                      <a:pt x="125" y="14"/>
                      <a:pt x="124" y="15"/>
                    </a:cubicBezTo>
                    <a:cubicBezTo>
                      <a:pt x="124" y="15"/>
                      <a:pt x="123" y="15"/>
                      <a:pt x="123" y="15"/>
                    </a:cubicBezTo>
                    <a:cubicBezTo>
                      <a:pt x="122" y="15"/>
                      <a:pt x="122" y="15"/>
                      <a:pt x="122" y="16"/>
                    </a:cubicBezTo>
                    <a:cubicBezTo>
                      <a:pt x="121" y="18"/>
                      <a:pt x="119" y="20"/>
                      <a:pt x="119" y="23"/>
                    </a:cubicBezTo>
                    <a:cubicBezTo>
                      <a:pt x="118" y="23"/>
                      <a:pt x="118" y="22"/>
                      <a:pt x="116" y="22"/>
                    </a:cubicBezTo>
                    <a:cubicBezTo>
                      <a:pt x="115" y="21"/>
                      <a:pt x="113" y="22"/>
                      <a:pt x="112" y="22"/>
                    </a:cubicBezTo>
                    <a:cubicBezTo>
                      <a:pt x="111" y="22"/>
                      <a:pt x="111" y="22"/>
                      <a:pt x="111" y="21"/>
                    </a:cubicBezTo>
                    <a:cubicBezTo>
                      <a:pt x="109" y="21"/>
                      <a:pt x="107" y="21"/>
                      <a:pt x="105" y="21"/>
                    </a:cubicBezTo>
                    <a:cubicBezTo>
                      <a:pt x="104" y="21"/>
                      <a:pt x="103" y="20"/>
                      <a:pt x="102" y="20"/>
                    </a:cubicBezTo>
                    <a:cubicBezTo>
                      <a:pt x="100" y="19"/>
                      <a:pt x="99" y="20"/>
                      <a:pt x="97" y="21"/>
                    </a:cubicBezTo>
                    <a:cubicBezTo>
                      <a:pt x="95" y="22"/>
                      <a:pt x="93" y="22"/>
                      <a:pt x="90" y="23"/>
                    </a:cubicBezTo>
                    <a:cubicBezTo>
                      <a:pt x="88" y="23"/>
                      <a:pt x="85" y="23"/>
                      <a:pt x="84" y="25"/>
                    </a:cubicBezTo>
                    <a:cubicBezTo>
                      <a:pt x="84" y="26"/>
                      <a:pt x="83" y="27"/>
                      <a:pt x="83" y="27"/>
                    </a:cubicBezTo>
                    <a:cubicBezTo>
                      <a:pt x="83" y="28"/>
                      <a:pt x="82" y="28"/>
                      <a:pt x="82" y="28"/>
                    </a:cubicBezTo>
                    <a:cubicBezTo>
                      <a:pt x="81" y="29"/>
                      <a:pt x="81" y="29"/>
                      <a:pt x="81" y="30"/>
                    </a:cubicBezTo>
                    <a:cubicBezTo>
                      <a:pt x="80" y="31"/>
                      <a:pt x="79" y="32"/>
                      <a:pt x="78" y="32"/>
                    </a:cubicBezTo>
                    <a:cubicBezTo>
                      <a:pt x="77" y="32"/>
                      <a:pt x="76" y="31"/>
                      <a:pt x="76" y="32"/>
                    </a:cubicBezTo>
                    <a:cubicBezTo>
                      <a:pt x="75" y="32"/>
                      <a:pt x="74" y="33"/>
                      <a:pt x="74" y="33"/>
                    </a:cubicBezTo>
                    <a:cubicBezTo>
                      <a:pt x="73" y="34"/>
                      <a:pt x="73" y="35"/>
                      <a:pt x="72" y="35"/>
                    </a:cubicBezTo>
                    <a:cubicBezTo>
                      <a:pt x="71" y="37"/>
                      <a:pt x="72" y="40"/>
                      <a:pt x="69" y="41"/>
                    </a:cubicBezTo>
                    <a:cubicBezTo>
                      <a:pt x="67" y="41"/>
                      <a:pt x="65" y="40"/>
                      <a:pt x="63" y="39"/>
                    </a:cubicBezTo>
                    <a:cubicBezTo>
                      <a:pt x="62" y="39"/>
                      <a:pt x="61" y="39"/>
                      <a:pt x="60" y="38"/>
                    </a:cubicBezTo>
                    <a:cubicBezTo>
                      <a:pt x="60" y="38"/>
                      <a:pt x="60" y="38"/>
                      <a:pt x="60" y="38"/>
                    </a:cubicBezTo>
                    <a:cubicBezTo>
                      <a:pt x="59" y="37"/>
                      <a:pt x="57" y="38"/>
                      <a:pt x="57" y="37"/>
                    </a:cubicBezTo>
                    <a:cubicBezTo>
                      <a:pt x="55" y="37"/>
                      <a:pt x="52" y="37"/>
                      <a:pt x="50" y="36"/>
                    </a:cubicBezTo>
                    <a:cubicBezTo>
                      <a:pt x="49" y="36"/>
                      <a:pt x="48" y="36"/>
                      <a:pt x="47" y="36"/>
                    </a:cubicBezTo>
                    <a:cubicBezTo>
                      <a:pt x="48" y="36"/>
                      <a:pt x="48" y="35"/>
                      <a:pt x="49" y="35"/>
                    </a:cubicBezTo>
                    <a:cubicBezTo>
                      <a:pt x="49" y="35"/>
                      <a:pt x="49" y="35"/>
                      <a:pt x="49" y="35"/>
                    </a:cubicBezTo>
                    <a:cubicBezTo>
                      <a:pt x="49" y="35"/>
                      <a:pt x="49" y="35"/>
                      <a:pt x="48" y="34"/>
                    </a:cubicBezTo>
                    <a:cubicBezTo>
                      <a:pt x="48" y="34"/>
                      <a:pt x="48" y="34"/>
                      <a:pt x="48" y="34"/>
                    </a:cubicBezTo>
                    <a:cubicBezTo>
                      <a:pt x="43" y="33"/>
                      <a:pt x="38" y="34"/>
                      <a:pt x="33" y="32"/>
                    </a:cubicBezTo>
                    <a:cubicBezTo>
                      <a:pt x="32" y="32"/>
                      <a:pt x="31" y="31"/>
                      <a:pt x="29" y="31"/>
                    </a:cubicBezTo>
                    <a:cubicBezTo>
                      <a:pt x="29" y="30"/>
                      <a:pt x="28" y="31"/>
                      <a:pt x="28" y="31"/>
                    </a:cubicBezTo>
                    <a:cubicBezTo>
                      <a:pt x="27" y="30"/>
                      <a:pt x="26" y="30"/>
                      <a:pt x="25" y="30"/>
                    </a:cubicBezTo>
                    <a:cubicBezTo>
                      <a:pt x="24" y="30"/>
                      <a:pt x="22" y="29"/>
                      <a:pt x="21" y="29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17" y="41"/>
                      <a:pt x="15" y="41"/>
                      <a:pt x="13" y="41"/>
                    </a:cubicBezTo>
                    <a:cubicBezTo>
                      <a:pt x="10" y="41"/>
                      <a:pt x="8" y="42"/>
                      <a:pt x="6" y="44"/>
                    </a:cubicBezTo>
                    <a:cubicBezTo>
                      <a:pt x="5" y="45"/>
                      <a:pt x="5" y="46"/>
                      <a:pt x="5" y="48"/>
                    </a:cubicBezTo>
                    <a:cubicBezTo>
                      <a:pt x="5" y="49"/>
                      <a:pt x="5" y="49"/>
                      <a:pt x="3" y="50"/>
                    </a:cubicBezTo>
                    <a:cubicBezTo>
                      <a:pt x="2" y="51"/>
                      <a:pt x="1" y="51"/>
                      <a:pt x="1" y="52"/>
                    </a:cubicBezTo>
                    <a:cubicBezTo>
                      <a:pt x="0" y="53"/>
                      <a:pt x="0" y="54"/>
                      <a:pt x="0" y="55"/>
                    </a:cubicBezTo>
                    <a:cubicBezTo>
                      <a:pt x="2" y="55"/>
                      <a:pt x="4" y="56"/>
                      <a:pt x="7" y="56"/>
                    </a:cubicBezTo>
                    <a:cubicBezTo>
                      <a:pt x="8" y="56"/>
                      <a:pt x="9" y="57"/>
                      <a:pt x="11" y="57"/>
                    </a:cubicBezTo>
                    <a:cubicBezTo>
                      <a:pt x="12" y="58"/>
                      <a:pt x="15" y="59"/>
                      <a:pt x="16" y="60"/>
                    </a:cubicBezTo>
                    <a:cubicBezTo>
                      <a:pt x="17" y="62"/>
                      <a:pt x="14" y="62"/>
                      <a:pt x="13" y="62"/>
                    </a:cubicBezTo>
                    <a:cubicBezTo>
                      <a:pt x="11" y="63"/>
                      <a:pt x="10" y="65"/>
                      <a:pt x="9" y="66"/>
                    </a:cubicBezTo>
                    <a:cubicBezTo>
                      <a:pt x="7" y="67"/>
                      <a:pt x="7" y="68"/>
                      <a:pt x="6" y="69"/>
                    </a:cubicBezTo>
                    <a:cubicBezTo>
                      <a:pt x="3" y="73"/>
                      <a:pt x="8" y="72"/>
                      <a:pt x="11" y="73"/>
                    </a:cubicBezTo>
                    <a:cubicBezTo>
                      <a:pt x="11" y="73"/>
                      <a:pt x="11" y="74"/>
                      <a:pt x="11" y="74"/>
                    </a:cubicBezTo>
                    <a:cubicBezTo>
                      <a:pt x="11" y="76"/>
                      <a:pt x="11" y="75"/>
                      <a:pt x="10" y="76"/>
                    </a:cubicBezTo>
                    <a:cubicBezTo>
                      <a:pt x="10" y="76"/>
                      <a:pt x="9" y="76"/>
                      <a:pt x="9" y="77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10" y="79"/>
                      <a:pt x="11" y="81"/>
                      <a:pt x="12" y="82"/>
                    </a:cubicBezTo>
                    <a:cubicBezTo>
                      <a:pt x="13" y="84"/>
                      <a:pt x="13" y="85"/>
                      <a:pt x="15" y="86"/>
                    </a:cubicBezTo>
                    <a:cubicBezTo>
                      <a:pt x="16" y="87"/>
                      <a:pt x="18" y="87"/>
                      <a:pt x="19" y="87"/>
                    </a:cubicBezTo>
                    <a:cubicBezTo>
                      <a:pt x="20" y="87"/>
                      <a:pt x="21" y="87"/>
                      <a:pt x="22" y="87"/>
                    </a:cubicBezTo>
                    <a:cubicBezTo>
                      <a:pt x="23" y="87"/>
                      <a:pt x="23" y="88"/>
                      <a:pt x="24" y="89"/>
                    </a:cubicBezTo>
                    <a:cubicBezTo>
                      <a:pt x="25" y="90"/>
                      <a:pt x="27" y="90"/>
                      <a:pt x="27" y="91"/>
                    </a:cubicBezTo>
                    <a:cubicBezTo>
                      <a:pt x="28" y="92"/>
                      <a:pt x="27" y="92"/>
                      <a:pt x="28" y="92"/>
                    </a:cubicBezTo>
                    <a:cubicBezTo>
                      <a:pt x="28" y="94"/>
                      <a:pt x="28" y="94"/>
                      <a:pt x="28" y="95"/>
                    </a:cubicBezTo>
                    <a:cubicBezTo>
                      <a:pt x="28" y="98"/>
                      <a:pt x="28" y="99"/>
                      <a:pt x="27" y="101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5" y="103"/>
                      <a:pt x="25" y="103"/>
                      <a:pt x="24" y="104"/>
                    </a:cubicBezTo>
                    <a:cubicBezTo>
                      <a:pt x="23" y="105"/>
                      <a:pt x="22" y="106"/>
                      <a:pt x="20" y="107"/>
                    </a:cubicBezTo>
                    <a:cubicBezTo>
                      <a:pt x="19" y="107"/>
                      <a:pt x="16" y="107"/>
                      <a:pt x="14" y="107"/>
                    </a:cubicBezTo>
                    <a:cubicBezTo>
                      <a:pt x="14" y="108"/>
                      <a:pt x="13" y="108"/>
                      <a:pt x="12" y="108"/>
                    </a:cubicBezTo>
                    <a:cubicBezTo>
                      <a:pt x="12" y="109"/>
                      <a:pt x="11" y="108"/>
                      <a:pt x="10" y="109"/>
                    </a:cubicBezTo>
                    <a:cubicBezTo>
                      <a:pt x="9" y="109"/>
                      <a:pt x="8" y="110"/>
                      <a:pt x="7" y="110"/>
                    </a:cubicBezTo>
                    <a:cubicBezTo>
                      <a:pt x="8" y="110"/>
                      <a:pt x="8" y="111"/>
                      <a:pt x="8" y="112"/>
                    </a:cubicBezTo>
                    <a:cubicBezTo>
                      <a:pt x="9" y="112"/>
                      <a:pt x="9" y="112"/>
                      <a:pt x="9" y="112"/>
                    </a:cubicBezTo>
                    <a:cubicBezTo>
                      <a:pt x="10" y="113"/>
                      <a:pt x="9" y="113"/>
                      <a:pt x="10" y="113"/>
                    </a:cubicBezTo>
                    <a:cubicBezTo>
                      <a:pt x="10" y="114"/>
                      <a:pt x="11" y="115"/>
                      <a:pt x="11" y="116"/>
                    </a:cubicBezTo>
                    <a:cubicBezTo>
                      <a:pt x="12" y="116"/>
                      <a:pt x="13" y="116"/>
                      <a:pt x="13" y="116"/>
                    </a:cubicBezTo>
                    <a:cubicBezTo>
                      <a:pt x="14" y="117"/>
                      <a:pt x="15" y="117"/>
                      <a:pt x="15" y="117"/>
                    </a:cubicBezTo>
                    <a:cubicBezTo>
                      <a:pt x="16" y="117"/>
                      <a:pt x="17" y="117"/>
                      <a:pt x="18" y="117"/>
                    </a:cubicBezTo>
                    <a:cubicBezTo>
                      <a:pt x="19" y="117"/>
                      <a:pt x="20" y="117"/>
                      <a:pt x="21" y="118"/>
                    </a:cubicBezTo>
                    <a:cubicBezTo>
                      <a:pt x="21" y="118"/>
                      <a:pt x="22" y="119"/>
                      <a:pt x="22" y="119"/>
                    </a:cubicBezTo>
                    <a:cubicBezTo>
                      <a:pt x="24" y="119"/>
                      <a:pt x="25" y="117"/>
                      <a:pt x="26" y="116"/>
                    </a:cubicBezTo>
                    <a:cubicBezTo>
                      <a:pt x="26" y="116"/>
                      <a:pt x="26" y="116"/>
                      <a:pt x="26" y="116"/>
                    </a:cubicBezTo>
                    <a:cubicBezTo>
                      <a:pt x="26" y="115"/>
                      <a:pt x="26" y="115"/>
                      <a:pt x="27" y="115"/>
                    </a:cubicBezTo>
                    <a:cubicBezTo>
                      <a:pt x="27" y="114"/>
                      <a:pt x="29" y="112"/>
                      <a:pt x="30" y="112"/>
                    </a:cubicBezTo>
                    <a:cubicBezTo>
                      <a:pt x="30" y="112"/>
                      <a:pt x="31" y="111"/>
                      <a:pt x="31" y="112"/>
                    </a:cubicBezTo>
                    <a:cubicBezTo>
                      <a:pt x="32" y="112"/>
                      <a:pt x="32" y="112"/>
                      <a:pt x="33" y="113"/>
                    </a:cubicBezTo>
                    <a:cubicBezTo>
                      <a:pt x="34" y="113"/>
                      <a:pt x="34" y="113"/>
                      <a:pt x="35" y="113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7" y="114"/>
                      <a:pt x="39" y="113"/>
                      <a:pt x="41" y="114"/>
                    </a:cubicBezTo>
                    <a:cubicBezTo>
                      <a:pt x="42" y="115"/>
                      <a:pt x="42" y="116"/>
                      <a:pt x="43" y="116"/>
                    </a:cubicBezTo>
                    <a:cubicBezTo>
                      <a:pt x="44" y="117"/>
                      <a:pt x="45" y="117"/>
                      <a:pt x="46" y="118"/>
                    </a:cubicBezTo>
                    <a:cubicBezTo>
                      <a:pt x="47" y="118"/>
                      <a:pt x="48" y="119"/>
                      <a:pt x="49" y="119"/>
                    </a:cubicBezTo>
                    <a:cubicBezTo>
                      <a:pt x="49" y="120"/>
                      <a:pt x="50" y="120"/>
                      <a:pt x="50" y="120"/>
                    </a:cubicBezTo>
                    <a:cubicBezTo>
                      <a:pt x="50" y="120"/>
                      <a:pt x="51" y="120"/>
                      <a:pt x="51" y="120"/>
                    </a:cubicBezTo>
                    <a:cubicBezTo>
                      <a:pt x="52" y="120"/>
                      <a:pt x="52" y="120"/>
                      <a:pt x="52" y="120"/>
                    </a:cubicBezTo>
                    <a:cubicBezTo>
                      <a:pt x="53" y="119"/>
                      <a:pt x="53" y="119"/>
                      <a:pt x="53" y="118"/>
                    </a:cubicBezTo>
                    <a:cubicBezTo>
                      <a:pt x="54" y="118"/>
                      <a:pt x="55" y="119"/>
                      <a:pt x="56" y="119"/>
                    </a:cubicBezTo>
                    <a:cubicBezTo>
                      <a:pt x="57" y="119"/>
                      <a:pt x="60" y="117"/>
                      <a:pt x="61" y="116"/>
                    </a:cubicBezTo>
                    <a:cubicBezTo>
                      <a:pt x="61" y="115"/>
                      <a:pt x="61" y="114"/>
                      <a:pt x="60" y="114"/>
                    </a:cubicBezTo>
                    <a:cubicBezTo>
                      <a:pt x="59" y="113"/>
                      <a:pt x="59" y="112"/>
                      <a:pt x="58" y="112"/>
                    </a:cubicBezTo>
                    <a:cubicBezTo>
                      <a:pt x="58" y="111"/>
                      <a:pt x="57" y="110"/>
                      <a:pt x="57" y="109"/>
                    </a:cubicBezTo>
                    <a:cubicBezTo>
                      <a:pt x="57" y="108"/>
                      <a:pt x="57" y="108"/>
                      <a:pt x="56" y="108"/>
                    </a:cubicBezTo>
                    <a:cubicBezTo>
                      <a:pt x="56" y="108"/>
                      <a:pt x="56" y="107"/>
                      <a:pt x="56" y="107"/>
                    </a:cubicBezTo>
                    <a:cubicBezTo>
                      <a:pt x="55" y="106"/>
                      <a:pt x="56" y="105"/>
                      <a:pt x="56" y="104"/>
                    </a:cubicBezTo>
                    <a:cubicBezTo>
                      <a:pt x="57" y="103"/>
                      <a:pt x="57" y="103"/>
                      <a:pt x="58" y="102"/>
                    </a:cubicBezTo>
                    <a:cubicBezTo>
                      <a:pt x="58" y="102"/>
                      <a:pt x="58" y="101"/>
                      <a:pt x="58" y="101"/>
                    </a:cubicBezTo>
                    <a:cubicBezTo>
                      <a:pt x="59" y="101"/>
                      <a:pt x="58" y="102"/>
                      <a:pt x="59" y="103"/>
                    </a:cubicBezTo>
                    <a:cubicBezTo>
                      <a:pt x="60" y="104"/>
                      <a:pt x="61" y="104"/>
                      <a:pt x="62" y="105"/>
                    </a:cubicBezTo>
                    <a:cubicBezTo>
                      <a:pt x="63" y="105"/>
                      <a:pt x="64" y="106"/>
                      <a:pt x="64" y="107"/>
                    </a:cubicBezTo>
                    <a:cubicBezTo>
                      <a:pt x="65" y="107"/>
                      <a:pt x="66" y="108"/>
                      <a:pt x="66" y="108"/>
                    </a:cubicBezTo>
                    <a:cubicBezTo>
                      <a:pt x="67" y="108"/>
                      <a:pt x="67" y="108"/>
                      <a:pt x="68" y="109"/>
                    </a:cubicBezTo>
                    <a:cubicBezTo>
                      <a:pt x="68" y="110"/>
                      <a:pt x="69" y="111"/>
                      <a:pt x="69" y="112"/>
                    </a:cubicBezTo>
                    <a:cubicBezTo>
                      <a:pt x="69" y="112"/>
                      <a:pt x="70" y="113"/>
                      <a:pt x="70" y="114"/>
                    </a:cubicBezTo>
                    <a:cubicBezTo>
                      <a:pt x="71" y="114"/>
                      <a:pt x="73" y="114"/>
                      <a:pt x="74" y="114"/>
                    </a:cubicBezTo>
                    <a:cubicBezTo>
                      <a:pt x="75" y="114"/>
                      <a:pt x="75" y="114"/>
                      <a:pt x="75" y="113"/>
                    </a:cubicBezTo>
                    <a:cubicBezTo>
                      <a:pt x="76" y="112"/>
                      <a:pt x="77" y="112"/>
                      <a:pt x="77" y="111"/>
                    </a:cubicBezTo>
                    <a:cubicBezTo>
                      <a:pt x="77" y="110"/>
                      <a:pt x="77" y="109"/>
                      <a:pt x="78" y="110"/>
                    </a:cubicBezTo>
                    <a:cubicBezTo>
                      <a:pt x="79" y="111"/>
                      <a:pt x="79" y="112"/>
                      <a:pt x="80" y="112"/>
                    </a:cubicBezTo>
                    <a:cubicBezTo>
                      <a:pt x="80" y="113"/>
                      <a:pt x="80" y="113"/>
                      <a:pt x="81" y="113"/>
                    </a:cubicBezTo>
                    <a:cubicBezTo>
                      <a:pt x="81" y="113"/>
                      <a:pt x="81" y="113"/>
                      <a:pt x="82" y="113"/>
                    </a:cubicBezTo>
                    <a:cubicBezTo>
                      <a:pt x="82" y="114"/>
                      <a:pt x="83" y="115"/>
                      <a:pt x="83" y="115"/>
                    </a:cubicBezTo>
                    <a:cubicBezTo>
                      <a:pt x="85" y="117"/>
                      <a:pt x="87" y="119"/>
                      <a:pt x="90" y="119"/>
                    </a:cubicBezTo>
                    <a:cubicBezTo>
                      <a:pt x="91" y="119"/>
                      <a:pt x="91" y="119"/>
                      <a:pt x="92" y="119"/>
                    </a:cubicBezTo>
                    <a:cubicBezTo>
                      <a:pt x="92" y="119"/>
                      <a:pt x="92" y="118"/>
                      <a:pt x="93" y="118"/>
                    </a:cubicBezTo>
                    <a:cubicBezTo>
                      <a:pt x="93" y="118"/>
                      <a:pt x="93" y="117"/>
                      <a:pt x="93" y="117"/>
                    </a:cubicBezTo>
                    <a:cubicBezTo>
                      <a:pt x="94" y="116"/>
                      <a:pt x="94" y="117"/>
                      <a:pt x="95" y="117"/>
                    </a:cubicBezTo>
                    <a:cubicBezTo>
                      <a:pt x="97" y="117"/>
                      <a:pt x="99" y="115"/>
                      <a:pt x="100" y="114"/>
                    </a:cubicBezTo>
                    <a:cubicBezTo>
                      <a:pt x="101" y="113"/>
                      <a:pt x="101" y="113"/>
                      <a:pt x="100" y="112"/>
                    </a:cubicBezTo>
                    <a:cubicBezTo>
                      <a:pt x="99" y="111"/>
                      <a:pt x="99" y="111"/>
                      <a:pt x="99" y="111"/>
                    </a:cubicBezTo>
                    <a:cubicBezTo>
                      <a:pt x="99" y="110"/>
                      <a:pt x="99" y="110"/>
                      <a:pt x="99" y="109"/>
                    </a:cubicBezTo>
                    <a:cubicBezTo>
                      <a:pt x="99" y="108"/>
                      <a:pt x="99" y="107"/>
                      <a:pt x="99" y="106"/>
                    </a:cubicBezTo>
                    <a:cubicBezTo>
                      <a:pt x="99" y="105"/>
                      <a:pt x="99" y="104"/>
                      <a:pt x="99" y="103"/>
                    </a:cubicBezTo>
                    <a:cubicBezTo>
                      <a:pt x="99" y="103"/>
                      <a:pt x="99" y="103"/>
                      <a:pt x="99" y="102"/>
                    </a:cubicBezTo>
                    <a:cubicBezTo>
                      <a:pt x="99" y="100"/>
                      <a:pt x="100" y="100"/>
                      <a:pt x="102" y="99"/>
                    </a:cubicBezTo>
                    <a:cubicBezTo>
                      <a:pt x="102" y="98"/>
                      <a:pt x="102" y="98"/>
                      <a:pt x="102" y="98"/>
                    </a:cubicBezTo>
                    <a:cubicBezTo>
                      <a:pt x="102" y="96"/>
                      <a:pt x="100" y="96"/>
                      <a:pt x="100" y="94"/>
                    </a:cubicBezTo>
                    <a:cubicBezTo>
                      <a:pt x="100" y="94"/>
                      <a:pt x="101" y="93"/>
                      <a:pt x="102" y="93"/>
                    </a:cubicBezTo>
                    <a:cubicBezTo>
                      <a:pt x="102" y="92"/>
                      <a:pt x="103" y="91"/>
                      <a:pt x="104" y="90"/>
                    </a:cubicBezTo>
                    <a:cubicBezTo>
                      <a:pt x="105" y="90"/>
                      <a:pt x="105" y="89"/>
                      <a:pt x="106" y="89"/>
                    </a:cubicBezTo>
                    <a:cubicBezTo>
                      <a:pt x="107" y="88"/>
                      <a:pt x="108" y="88"/>
                      <a:pt x="109" y="88"/>
                    </a:cubicBezTo>
                    <a:cubicBezTo>
                      <a:pt x="110" y="87"/>
                      <a:pt x="110" y="87"/>
                      <a:pt x="111" y="87"/>
                    </a:cubicBezTo>
                    <a:cubicBezTo>
                      <a:pt x="112" y="87"/>
                      <a:pt x="112" y="87"/>
                      <a:pt x="113" y="88"/>
                    </a:cubicBezTo>
                    <a:cubicBezTo>
                      <a:pt x="114" y="88"/>
                      <a:pt x="113" y="88"/>
                      <a:pt x="114" y="88"/>
                    </a:cubicBezTo>
                    <a:cubicBezTo>
                      <a:pt x="116" y="87"/>
                      <a:pt x="117" y="89"/>
                      <a:pt x="119" y="89"/>
                    </a:cubicBezTo>
                    <a:cubicBezTo>
                      <a:pt x="119" y="88"/>
                      <a:pt x="119" y="87"/>
                      <a:pt x="119" y="87"/>
                    </a:cubicBezTo>
                    <a:cubicBezTo>
                      <a:pt x="119" y="87"/>
                      <a:pt x="120" y="87"/>
                      <a:pt x="120" y="87"/>
                    </a:cubicBezTo>
                    <a:cubicBezTo>
                      <a:pt x="120" y="86"/>
                      <a:pt x="123" y="87"/>
                      <a:pt x="123" y="88"/>
                    </a:cubicBezTo>
                    <a:cubicBezTo>
                      <a:pt x="124" y="88"/>
                      <a:pt x="125" y="89"/>
                      <a:pt x="126" y="89"/>
                    </a:cubicBezTo>
                    <a:cubicBezTo>
                      <a:pt x="127" y="90"/>
                      <a:pt x="129" y="91"/>
                      <a:pt x="131" y="91"/>
                    </a:cubicBezTo>
                    <a:cubicBezTo>
                      <a:pt x="132" y="91"/>
                      <a:pt x="133" y="91"/>
                      <a:pt x="133" y="91"/>
                    </a:cubicBezTo>
                    <a:cubicBezTo>
                      <a:pt x="135" y="91"/>
                      <a:pt x="137" y="91"/>
                      <a:pt x="137" y="89"/>
                    </a:cubicBezTo>
                    <a:cubicBezTo>
                      <a:pt x="138" y="88"/>
                      <a:pt x="136" y="86"/>
                      <a:pt x="135" y="84"/>
                    </a:cubicBezTo>
                    <a:cubicBezTo>
                      <a:pt x="135" y="84"/>
                      <a:pt x="135" y="82"/>
                      <a:pt x="135" y="82"/>
                    </a:cubicBezTo>
                    <a:cubicBezTo>
                      <a:pt x="134" y="82"/>
                      <a:pt x="133" y="82"/>
                      <a:pt x="132" y="82"/>
                    </a:cubicBezTo>
                    <a:cubicBezTo>
                      <a:pt x="132" y="81"/>
                      <a:pt x="132" y="82"/>
                      <a:pt x="132" y="81"/>
                    </a:cubicBezTo>
                    <a:cubicBezTo>
                      <a:pt x="131" y="81"/>
                      <a:pt x="131" y="80"/>
                      <a:pt x="131" y="79"/>
                    </a:cubicBezTo>
                    <a:cubicBezTo>
                      <a:pt x="130" y="78"/>
                      <a:pt x="130" y="76"/>
                      <a:pt x="128" y="75"/>
                    </a:cubicBezTo>
                    <a:cubicBezTo>
                      <a:pt x="128" y="75"/>
                      <a:pt x="127" y="76"/>
                      <a:pt x="126" y="75"/>
                    </a:cubicBezTo>
                    <a:cubicBezTo>
                      <a:pt x="125" y="75"/>
                      <a:pt x="125" y="73"/>
                      <a:pt x="124" y="73"/>
                    </a:cubicBezTo>
                    <a:cubicBezTo>
                      <a:pt x="123" y="72"/>
                      <a:pt x="123" y="71"/>
                      <a:pt x="122" y="71"/>
                    </a:cubicBezTo>
                    <a:cubicBezTo>
                      <a:pt x="122" y="71"/>
                      <a:pt x="122" y="71"/>
                      <a:pt x="121" y="70"/>
                    </a:cubicBezTo>
                    <a:cubicBezTo>
                      <a:pt x="121" y="70"/>
                      <a:pt x="121" y="70"/>
                      <a:pt x="121" y="70"/>
                    </a:cubicBezTo>
                    <a:cubicBezTo>
                      <a:pt x="120" y="70"/>
                      <a:pt x="119" y="70"/>
                      <a:pt x="119" y="69"/>
                    </a:cubicBezTo>
                    <a:cubicBezTo>
                      <a:pt x="119" y="69"/>
                      <a:pt x="118" y="68"/>
                      <a:pt x="118" y="68"/>
                    </a:cubicBezTo>
                    <a:cubicBezTo>
                      <a:pt x="118" y="68"/>
                      <a:pt x="118" y="68"/>
                      <a:pt x="118" y="68"/>
                    </a:cubicBezTo>
                    <a:cubicBezTo>
                      <a:pt x="117" y="67"/>
                      <a:pt x="117" y="66"/>
                      <a:pt x="116" y="65"/>
                    </a:cubicBezTo>
                    <a:cubicBezTo>
                      <a:pt x="116" y="65"/>
                      <a:pt x="115" y="64"/>
                      <a:pt x="115" y="64"/>
                    </a:cubicBezTo>
                    <a:cubicBezTo>
                      <a:pt x="115" y="62"/>
                      <a:pt x="116" y="61"/>
                      <a:pt x="117" y="60"/>
                    </a:cubicBezTo>
                    <a:cubicBezTo>
                      <a:pt x="118" y="59"/>
                      <a:pt x="118" y="58"/>
                      <a:pt x="119" y="58"/>
                    </a:cubicBezTo>
                    <a:cubicBezTo>
                      <a:pt x="120" y="57"/>
                      <a:pt x="121" y="58"/>
                      <a:pt x="121" y="58"/>
                    </a:cubicBezTo>
                    <a:cubicBezTo>
                      <a:pt x="122" y="58"/>
                      <a:pt x="123" y="58"/>
                      <a:pt x="123" y="58"/>
                    </a:cubicBezTo>
                    <a:cubicBezTo>
                      <a:pt x="124" y="57"/>
                      <a:pt x="124" y="55"/>
                      <a:pt x="125" y="55"/>
                    </a:cubicBezTo>
                    <a:cubicBezTo>
                      <a:pt x="126" y="54"/>
                      <a:pt x="125" y="54"/>
                      <a:pt x="126" y="54"/>
                    </a:cubicBezTo>
                    <a:cubicBezTo>
                      <a:pt x="127" y="54"/>
                      <a:pt x="128" y="54"/>
                      <a:pt x="128" y="53"/>
                    </a:cubicBezTo>
                    <a:cubicBezTo>
                      <a:pt x="129" y="53"/>
                      <a:pt x="129" y="53"/>
                      <a:pt x="130" y="52"/>
                    </a:cubicBezTo>
                    <a:cubicBezTo>
                      <a:pt x="130" y="51"/>
                      <a:pt x="132" y="50"/>
                      <a:pt x="133" y="50"/>
                    </a:cubicBezTo>
                    <a:cubicBezTo>
                      <a:pt x="134" y="50"/>
                      <a:pt x="135" y="50"/>
                      <a:pt x="136" y="50"/>
                    </a:cubicBezTo>
                    <a:cubicBezTo>
                      <a:pt x="137" y="49"/>
                      <a:pt x="136" y="47"/>
                      <a:pt x="137" y="47"/>
                    </a:cubicBezTo>
                    <a:cubicBezTo>
                      <a:pt x="138" y="46"/>
                      <a:pt x="140" y="47"/>
                      <a:pt x="141" y="47"/>
                    </a:cubicBezTo>
                    <a:cubicBezTo>
                      <a:pt x="142" y="47"/>
                      <a:pt x="142" y="47"/>
                      <a:pt x="142" y="46"/>
                    </a:cubicBezTo>
                    <a:cubicBezTo>
                      <a:pt x="142" y="46"/>
                      <a:pt x="142" y="45"/>
                      <a:pt x="142" y="45"/>
                    </a:cubicBezTo>
                    <a:cubicBezTo>
                      <a:pt x="142" y="44"/>
                      <a:pt x="143" y="44"/>
                      <a:pt x="144" y="43"/>
                    </a:cubicBezTo>
                    <a:cubicBezTo>
                      <a:pt x="146" y="43"/>
                      <a:pt x="148" y="42"/>
                      <a:pt x="150" y="43"/>
                    </a:cubicBezTo>
                    <a:cubicBezTo>
                      <a:pt x="151" y="43"/>
                      <a:pt x="152" y="43"/>
                      <a:pt x="152" y="43"/>
                    </a:cubicBezTo>
                    <a:cubicBezTo>
                      <a:pt x="153" y="43"/>
                      <a:pt x="153" y="42"/>
                      <a:pt x="153" y="42"/>
                    </a:cubicBezTo>
                    <a:cubicBezTo>
                      <a:pt x="153" y="41"/>
                      <a:pt x="152" y="41"/>
                      <a:pt x="152" y="40"/>
                    </a:cubicBezTo>
                    <a:cubicBezTo>
                      <a:pt x="151" y="39"/>
                      <a:pt x="151" y="38"/>
                      <a:pt x="150" y="37"/>
                    </a:cubicBezTo>
                    <a:cubicBezTo>
                      <a:pt x="150" y="37"/>
                      <a:pt x="149" y="36"/>
                      <a:pt x="148" y="35"/>
                    </a:cubicBezTo>
                    <a:cubicBezTo>
                      <a:pt x="148" y="35"/>
                      <a:pt x="148" y="34"/>
                      <a:pt x="149" y="34"/>
                    </a:cubicBezTo>
                    <a:cubicBezTo>
                      <a:pt x="149" y="33"/>
                      <a:pt x="150" y="33"/>
                      <a:pt x="151" y="33"/>
                    </a:cubicBezTo>
                    <a:cubicBezTo>
                      <a:pt x="152" y="33"/>
                      <a:pt x="152" y="33"/>
                      <a:pt x="153" y="33"/>
                    </a:cubicBezTo>
                    <a:cubicBezTo>
                      <a:pt x="153" y="32"/>
                      <a:pt x="154" y="31"/>
                      <a:pt x="155" y="31"/>
                    </a:cubicBezTo>
                    <a:cubicBezTo>
                      <a:pt x="156" y="30"/>
                      <a:pt x="159" y="32"/>
                      <a:pt x="160" y="33"/>
                    </a:cubicBezTo>
                    <a:cubicBezTo>
                      <a:pt x="162" y="33"/>
                      <a:pt x="163" y="33"/>
                      <a:pt x="165" y="33"/>
                    </a:cubicBezTo>
                    <a:cubicBezTo>
                      <a:pt x="165" y="33"/>
                      <a:pt x="166" y="33"/>
                      <a:pt x="167" y="33"/>
                    </a:cubicBezTo>
                    <a:cubicBezTo>
                      <a:pt x="167" y="32"/>
                      <a:pt x="167" y="32"/>
                      <a:pt x="167" y="32"/>
                    </a:cubicBezTo>
                    <a:cubicBezTo>
                      <a:pt x="166" y="32"/>
                      <a:pt x="165" y="32"/>
                      <a:pt x="165" y="32"/>
                    </a:cubicBezTo>
                    <a:cubicBezTo>
                      <a:pt x="161" y="29"/>
                      <a:pt x="164" y="26"/>
                      <a:pt x="163" y="2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10" name="Freeform 26">
                <a:extLst>
                  <a:ext uri="{FF2B5EF4-FFF2-40B4-BE49-F238E27FC236}">
                    <a16:creationId xmlns:a16="http://schemas.microsoft.com/office/drawing/2014/main" id="{F30F33BB-862A-4300-807E-A73215E315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95838" y="5073650"/>
                <a:ext cx="584200" cy="542925"/>
              </a:xfrm>
              <a:custGeom>
                <a:avLst/>
                <a:gdLst/>
                <a:ahLst/>
                <a:cxnLst>
                  <a:cxn ang="0">
                    <a:pos x="261" y="120"/>
                  </a:cxn>
                  <a:cxn ang="0">
                    <a:pos x="275" y="132"/>
                  </a:cxn>
                  <a:cxn ang="0">
                    <a:pos x="294" y="124"/>
                  </a:cxn>
                  <a:cxn ang="0">
                    <a:pos x="305" y="104"/>
                  </a:cxn>
                  <a:cxn ang="0">
                    <a:pos x="291" y="87"/>
                  </a:cxn>
                  <a:cxn ang="0">
                    <a:pos x="288" y="72"/>
                  </a:cxn>
                  <a:cxn ang="0">
                    <a:pos x="284" y="56"/>
                  </a:cxn>
                  <a:cxn ang="0">
                    <a:pos x="275" y="56"/>
                  </a:cxn>
                  <a:cxn ang="0">
                    <a:pos x="244" y="63"/>
                  </a:cxn>
                  <a:cxn ang="0">
                    <a:pos x="223" y="58"/>
                  </a:cxn>
                  <a:cxn ang="0">
                    <a:pos x="201" y="40"/>
                  </a:cxn>
                  <a:cxn ang="0">
                    <a:pos x="194" y="29"/>
                  </a:cxn>
                  <a:cxn ang="0">
                    <a:pos x="169" y="7"/>
                  </a:cxn>
                  <a:cxn ang="0">
                    <a:pos x="152" y="1"/>
                  </a:cxn>
                  <a:cxn ang="0">
                    <a:pos x="149" y="10"/>
                  </a:cxn>
                  <a:cxn ang="0">
                    <a:pos x="139" y="16"/>
                  </a:cxn>
                  <a:cxn ang="0">
                    <a:pos x="125" y="23"/>
                  </a:cxn>
                  <a:cxn ang="0">
                    <a:pos x="114" y="30"/>
                  </a:cxn>
                  <a:cxn ang="0">
                    <a:pos x="118" y="40"/>
                  </a:cxn>
                  <a:cxn ang="0">
                    <a:pos x="128" y="49"/>
                  </a:cxn>
                  <a:cxn ang="0">
                    <a:pos x="130" y="61"/>
                  </a:cxn>
                  <a:cxn ang="0">
                    <a:pos x="116" y="59"/>
                  </a:cxn>
                  <a:cxn ang="0">
                    <a:pos x="101" y="60"/>
                  </a:cxn>
                  <a:cxn ang="0">
                    <a:pos x="96" y="73"/>
                  </a:cxn>
                  <a:cxn ang="0">
                    <a:pos x="92" y="87"/>
                  </a:cxn>
                  <a:cxn ang="0">
                    <a:pos x="79" y="83"/>
                  </a:cxn>
                  <a:cxn ang="0">
                    <a:pos x="71" y="84"/>
                  </a:cxn>
                  <a:cxn ang="0">
                    <a:pos x="59" y="75"/>
                  </a:cxn>
                  <a:cxn ang="0">
                    <a:pos x="53" y="78"/>
                  </a:cxn>
                  <a:cxn ang="0">
                    <a:pos x="50" y="88"/>
                  </a:cxn>
                  <a:cxn ang="0">
                    <a:pos x="40" y="86"/>
                  </a:cxn>
                  <a:cxn ang="0">
                    <a:pos x="27" y="82"/>
                  </a:cxn>
                  <a:cxn ang="0">
                    <a:pos x="15" y="87"/>
                  </a:cxn>
                  <a:cxn ang="0">
                    <a:pos x="5" y="82"/>
                  </a:cxn>
                  <a:cxn ang="0">
                    <a:pos x="1" y="87"/>
                  </a:cxn>
                  <a:cxn ang="0">
                    <a:pos x="16" y="127"/>
                  </a:cxn>
                  <a:cxn ang="0">
                    <a:pos x="25" y="131"/>
                  </a:cxn>
                  <a:cxn ang="0">
                    <a:pos x="37" y="109"/>
                  </a:cxn>
                  <a:cxn ang="0">
                    <a:pos x="54" y="109"/>
                  </a:cxn>
                  <a:cxn ang="0">
                    <a:pos x="64" y="125"/>
                  </a:cxn>
                  <a:cxn ang="0">
                    <a:pos x="70" y="130"/>
                  </a:cxn>
                  <a:cxn ang="0">
                    <a:pos x="75" y="151"/>
                  </a:cxn>
                  <a:cxn ang="0">
                    <a:pos x="93" y="179"/>
                  </a:cxn>
                  <a:cxn ang="0">
                    <a:pos x="95" y="203"/>
                  </a:cxn>
                  <a:cxn ang="0">
                    <a:pos x="106" y="217"/>
                  </a:cxn>
                  <a:cxn ang="0">
                    <a:pos x="119" y="235"/>
                  </a:cxn>
                  <a:cxn ang="0">
                    <a:pos x="134" y="242"/>
                  </a:cxn>
                  <a:cxn ang="0">
                    <a:pos x="157" y="246"/>
                  </a:cxn>
                  <a:cxn ang="0">
                    <a:pos x="200" y="287"/>
                  </a:cxn>
                  <a:cxn ang="0">
                    <a:pos x="202" y="278"/>
                  </a:cxn>
                  <a:cxn ang="0">
                    <a:pos x="195" y="264"/>
                  </a:cxn>
                  <a:cxn ang="0">
                    <a:pos x="192" y="250"/>
                  </a:cxn>
                  <a:cxn ang="0">
                    <a:pos x="169" y="224"/>
                  </a:cxn>
                  <a:cxn ang="0">
                    <a:pos x="142" y="196"/>
                  </a:cxn>
                  <a:cxn ang="0">
                    <a:pos x="135" y="175"/>
                  </a:cxn>
                  <a:cxn ang="0">
                    <a:pos x="131" y="151"/>
                  </a:cxn>
                  <a:cxn ang="0">
                    <a:pos x="118" y="134"/>
                  </a:cxn>
                  <a:cxn ang="0">
                    <a:pos x="133" y="107"/>
                  </a:cxn>
                  <a:cxn ang="0">
                    <a:pos x="150" y="118"/>
                  </a:cxn>
                  <a:cxn ang="0">
                    <a:pos x="174" y="105"/>
                  </a:cxn>
                  <a:cxn ang="0">
                    <a:pos x="192" y="114"/>
                  </a:cxn>
                  <a:cxn ang="0">
                    <a:pos x="221" y="116"/>
                  </a:cxn>
                  <a:cxn ang="0">
                    <a:pos x="237" y="114"/>
                  </a:cxn>
                </a:cxnLst>
                <a:rect l="0" t="0" r="r" b="b"/>
                <a:pathLst>
                  <a:path w="312" h="291">
                    <a:moveTo>
                      <a:pt x="9" y="78"/>
                    </a:moveTo>
                    <a:cubicBezTo>
                      <a:pt x="9" y="78"/>
                      <a:pt x="9" y="78"/>
                      <a:pt x="9" y="78"/>
                    </a:cubicBezTo>
                    <a:cubicBezTo>
                      <a:pt x="9" y="78"/>
                      <a:pt x="9" y="78"/>
                      <a:pt x="9" y="78"/>
                    </a:cubicBezTo>
                    <a:moveTo>
                      <a:pt x="255" y="117"/>
                    </a:moveTo>
                    <a:cubicBezTo>
                      <a:pt x="256" y="117"/>
                      <a:pt x="257" y="118"/>
                      <a:pt x="259" y="118"/>
                    </a:cubicBezTo>
                    <a:cubicBezTo>
                      <a:pt x="259" y="119"/>
                      <a:pt x="260" y="120"/>
                      <a:pt x="261" y="120"/>
                    </a:cubicBezTo>
                    <a:cubicBezTo>
                      <a:pt x="263" y="121"/>
                      <a:pt x="266" y="121"/>
                      <a:pt x="267" y="121"/>
                    </a:cubicBezTo>
                    <a:cubicBezTo>
                      <a:pt x="268" y="118"/>
                      <a:pt x="272" y="120"/>
                      <a:pt x="273" y="122"/>
                    </a:cubicBezTo>
                    <a:cubicBezTo>
                      <a:pt x="273" y="122"/>
                      <a:pt x="273" y="123"/>
                      <a:pt x="273" y="124"/>
                    </a:cubicBezTo>
                    <a:cubicBezTo>
                      <a:pt x="273" y="124"/>
                      <a:pt x="274" y="125"/>
                      <a:pt x="274" y="125"/>
                    </a:cubicBezTo>
                    <a:cubicBezTo>
                      <a:pt x="275" y="126"/>
                      <a:pt x="277" y="127"/>
                      <a:pt x="277" y="128"/>
                    </a:cubicBezTo>
                    <a:cubicBezTo>
                      <a:pt x="276" y="130"/>
                      <a:pt x="275" y="130"/>
                      <a:pt x="275" y="132"/>
                    </a:cubicBezTo>
                    <a:cubicBezTo>
                      <a:pt x="275" y="134"/>
                      <a:pt x="276" y="136"/>
                      <a:pt x="278" y="137"/>
                    </a:cubicBezTo>
                    <a:cubicBezTo>
                      <a:pt x="279" y="137"/>
                      <a:pt x="278" y="137"/>
                      <a:pt x="280" y="138"/>
                    </a:cubicBezTo>
                    <a:cubicBezTo>
                      <a:pt x="281" y="138"/>
                      <a:pt x="282" y="138"/>
                      <a:pt x="282" y="138"/>
                    </a:cubicBezTo>
                    <a:cubicBezTo>
                      <a:pt x="284" y="137"/>
                      <a:pt x="286" y="137"/>
                      <a:pt x="288" y="136"/>
                    </a:cubicBezTo>
                    <a:cubicBezTo>
                      <a:pt x="290" y="135"/>
                      <a:pt x="297" y="134"/>
                      <a:pt x="295" y="131"/>
                    </a:cubicBezTo>
                    <a:cubicBezTo>
                      <a:pt x="294" y="128"/>
                      <a:pt x="291" y="126"/>
                      <a:pt x="294" y="124"/>
                    </a:cubicBezTo>
                    <a:cubicBezTo>
                      <a:pt x="294" y="123"/>
                      <a:pt x="296" y="122"/>
                      <a:pt x="296" y="121"/>
                    </a:cubicBezTo>
                    <a:cubicBezTo>
                      <a:pt x="296" y="120"/>
                      <a:pt x="295" y="119"/>
                      <a:pt x="296" y="118"/>
                    </a:cubicBezTo>
                    <a:cubicBezTo>
                      <a:pt x="297" y="116"/>
                      <a:pt x="301" y="115"/>
                      <a:pt x="303" y="114"/>
                    </a:cubicBezTo>
                    <a:cubicBezTo>
                      <a:pt x="305" y="114"/>
                      <a:pt x="312" y="114"/>
                      <a:pt x="310" y="110"/>
                    </a:cubicBezTo>
                    <a:cubicBezTo>
                      <a:pt x="310" y="109"/>
                      <a:pt x="309" y="109"/>
                      <a:pt x="308" y="108"/>
                    </a:cubicBezTo>
                    <a:cubicBezTo>
                      <a:pt x="307" y="107"/>
                      <a:pt x="306" y="105"/>
                      <a:pt x="305" y="104"/>
                    </a:cubicBezTo>
                    <a:cubicBezTo>
                      <a:pt x="303" y="102"/>
                      <a:pt x="303" y="102"/>
                      <a:pt x="301" y="102"/>
                    </a:cubicBezTo>
                    <a:cubicBezTo>
                      <a:pt x="297" y="101"/>
                      <a:pt x="294" y="99"/>
                      <a:pt x="292" y="98"/>
                    </a:cubicBezTo>
                    <a:cubicBezTo>
                      <a:pt x="291" y="98"/>
                      <a:pt x="290" y="97"/>
                      <a:pt x="290" y="96"/>
                    </a:cubicBezTo>
                    <a:cubicBezTo>
                      <a:pt x="288" y="94"/>
                      <a:pt x="292" y="93"/>
                      <a:pt x="292" y="90"/>
                    </a:cubicBezTo>
                    <a:cubicBezTo>
                      <a:pt x="291" y="89"/>
                      <a:pt x="290" y="89"/>
                      <a:pt x="290" y="88"/>
                    </a:cubicBezTo>
                    <a:cubicBezTo>
                      <a:pt x="290" y="87"/>
                      <a:pt x="291" y="87"/>
                      <a:pt x="291" y="87"/>
                    </a:cubicBezTo>
                    <a:cubicBezTo>
                      <a:pt x="292" y="85"/>
                      <a:pt x="291" y="84"/>
                      <a:pt x="290" y="83"/>
                    </a:cubicBezTo>
                    <a:cubicBezTo>
                      <a:pt x="290" y="82"/>
                      <a:pt x="290" y="82"/>
                      <a:pt x="289" y="82"/>
                    </a:cubicBezTo>
                    <a:cubicBezTo>
                      <a:pt x="288" y="80"/>
                      <a:pt x="288" y="81"/>
                      <a:pt x="286" y="80"/>
                    </a:cubicBezTo>
                    <a:cubicBezTo>
                      <a:pt x="286" y="79"/>
                      <a:pt x="286" y="78"/>
                      <a:pt x="286" y="76"/>
                    </a:cubicBezTo>
                    <a:cubicBezTo>
                      <a:pt x="286" y="75"/>
                      <a:pt x="287" y="75"/>
                      <a:pt x="287" y="74"/>
                    </a:cubicBezTo>
                    <a:cubicBezTo>
                      <a:pt x="287" y="73"/>
                      <a:pt x="288" y="73"/>
                      <a:pt x="288" y="72"/>
                    </a:cubicBezTo>
                    <a:cubicBezTo>
                      <a:pt x="288" y="70"/>
                      <a:pt x="286" y="70"/>
                      <a:pt x="286" y="68"/>
                    </a:cubicBezTo>
                    <a:cubicBezTo>
                      <a:pt x="286" y="67"/>
                      <a:pt x="286" y="65"/>
                      <a:pt x="286" y="64"/>
                    </a:cubicBezTo>
                    <a:cubicBezTo>
                      <a:pt x="286" y="64"/>
                      <a:pt x="286" y="63"/>
                      <a:pt x="286" y="63"/>
                    </a:cubicBezTo>
                    <a:cubicBezTo>
                      <a:pt x="286" y="62"/>
                      <a:pt x="285" y="62"/>
                      <a:pt x="285" y="62"/>
                    </a:cubicBezTo>
                    <a:cubicBezTo>
                      <a:pt x="285" y="62"/>
                      <a:pt x="285" y="61"/>
                      <a:pt x="284" y="60"/>
                    </a:cubicBezTo>
                    <a:cubicBezTo>
                      <a:pt x="284" y="59"/>
                      <a:pt x="284" y="58"/>
                      <a:pt x="284" y="56"/>
                    </a:cubicBezTo>
                    <a:cubicBezTo>
                      <a:pt x="284" y="54"/>
                      <a:pt x="284" y="52"/>
                      <a:pt x="284" y="50"/>
                    </a:cubicBezTo>
                    <a:cubicBezTo>
                      <a:pt x="284" y="50"/>
                      <a:pt x="284" y="50"/>
                      <a:pt x="284" y="51"/>
                    </a:cubicBezTo>
                    <a:cubicBezTo>
                      <a:pt x="283" y="51"/>
                      <a:pt x="283" y="52"/>
                      <a:pt x="282" y="52"/>
                    </a:cubicBezTo>
                    <a:cubicBezTo>
                      <a:pt x="282" y="52"/>
                      <a:pt x="281" y="52"/>
                      <a:pt x="281" y="51"/>
                    </a:cubicBezTo>
                    <a:cubicBezTo>
                      <a:pt x="279" y="50"/>
                      <a:pt x="278" y="54"/>
                      <a:pt x="277" y="55"/>
                    </a:cubicBezTo>
                    <a:cubicBezTo>
                      <a:pt x="277" y="55"/>
                      <a:pt x="275" y="56"/>
                      <a:pt x="275" y="56"/>
                    </a:cubicBezTo>
                    <a:cubicBezTo>
                      <a:pt x="274" y="56"/>
                      <a:pt x="272" y="57"/>
                      <a:pt x="271" y="57"/>
                    </a:cubicBezTo>
                    <a:cubicBezTo>
                      <a:pt x="270" y="58"/>
                      <a:pt x="269" y="58"/>
                      <a:pt x="269" y="59"/>
                    </a:cubicBezTo>
                    <a:cubicBezTo>
                      <a:pt x="268" y="60"/>
                      <a:pt x="268" y="62"/>
                      <a:pt x="268" y="63"/>
                    </a:cubicBezTo>
                    <a:cubicBezTo>
                      <a:pt x="265" y="65"/>
                      <a:pt x="259" y="62"/>
                      <a:pt x="256" y="63"/>
                    </a:cubicBezTo>
                    <a:cubicBezTo>
                      <a:pt x="253" y="63"/>
                      <a:pt x="251" y="63"/>
                      <a:pt x="249" y="63"/>
                    </a:cubicBezTo>
                    <a:cubicBezTo>
                      <a:pt x="247" y="63"/>
                      <a:pt x="246" y="63"/>
                      <a:pt x="244" y="63"/>
                    </a:cubicBezTo>
                    <a:cubicBezTo>
                      <a:pt x="244" y="63"/>
                      <a:pt x="243" y="63"/>
                      <a:pt x="242" y="63"/>
                    </a:cubicBezTo>
                    <a:cubicBezTo>
                      <a:pt x="241" y="62"/>
                      <a:pt x="241" y="62"/>
                      <a:pt x="240" y="62"/>
                    </a:cubicBezTo>
                    <a:cubicBezTo>
                      <a:pt x="239" y="61"/>
                      <a:pt x="237" y="62"/>
                      <a:pt x="236" y="61"/>
                    </a:cubicBezTo>
                    <a:cubicBezTo>
                      <a:pt x="234" y="61"/>
                      <a:pt x="232" y="60"/>
                      <a:pt x="230" y="60"/>
                    </a:cubicBezTo>
                    <a:cubicBezTo>
                      <a:pt x="229" y="60"/>
                      <a:pt x="227" y="60"/>
                      <a:pt x="225" y="60"/>
                    </a:cubicBezTo>
                    <a:cubicBezTo>
                      <a:pt x="224" y="59"/>
                      <a:pt x="224" y="59"/>
                      <a:pt x="223" y="58"/>
                    </a:cubicBezTo>
                    <a:cubicBezTo>
                      <a:pt x="222" y="56"/>
                      <a:pt x="220" y="55"/>
                      <a:pt x="218" y="54"/>
                    </a:cubicBezTo>
                    <a:cubicBezTo>
                      <a:pt x="218" y="53"/>
                      <a:pt x="218" y="53"/>
                      <a:pt x="217" y="52"/>
                    </a:cubicBezTo>
                    <a:cubicBezTo>
                      <a:pt x="216" y="52"/>
                      <a:pt x="216" y="52"/>
                      <a:pt x="215" y="52"/>
                    </a:cubicBezTo>
                    <a:cubicBezTo>
                      <a:pt x="212" y="52"/>
                      <a:pt x="212" y="51"/>
                      <a:pt x="210" y="50"/>
                    </a:cubicBezTo>
                    <a:cubicBezTo>
                      <a:pt x="208" y="49"/>
                      <a:pt x="205" y="49"/>
                      <a:pt x="203" y="47"/>
                    </a:cubicBezTo>
                    <a:cubicBezTo>
                      <a:pt x="202" y="45"/>
                      <a:pt x="202" y="42"/>
                      <a:pt x="201" y="40"/>
                    </a:cubicBezTo>
                    <a:cubicBezTo>
                      <a:pt x="200" y="38"/>
                      <a:pt x="199" y="38"/>
                      <a:pt x="198" y="36"/>
                    </a:cubicBezTo>
                    <a:cubicBezTo>
                      <a:pt x="197" y="36"/>
                      <a:pt x="197" y="35"/>
                      <a:pt x="196" y="35"/>
                    </a:cubicBezTo>
                    <a:cubicBezTo>
                      <a:pt x="196" y="34"/>
                      <a:pt x="196" y="34"/>
                      <a:pt x="195" y="34"/>
                    </a:cubicBezTo>
                    <a:cubicBezTo>
                      <a:pt x="196" y="33"/>
                      <a:pt x="196" y="33"/>
                      <a:pt x="195" y="33"/>
                    </a:cubicBezTo>
                    <a:cubicBezTo>
                      <a:pt x="195" y="32"/>
                      <a:pt x="194" y="31"/>
                      <a:pt x="193" y="30"/>
                    </a:cubicBezTo>
                    <a:cubicBezTo>
                      <a:pt x="193" y="30"/>
                      <a:pt x="193" y="29"/>
                      <a:pt x="194" y="29"/>
                    </a:cubicBezTo>
                    <a:cubicBezTo>
                      <a:pt x="192" y="30"/>
                      <a:pt x="191" y="28"/>
                      <a:pt x="190" y="28"/>
                    </a:cubicBezTo>
                    <a:cubicBezTo>
                      <a:pt x="189" y="27"/>
                      <a:pt x="187" y="27"/>
                      <a:pt x="186" y="26"/>
                    </a:cubicBezTo>
                    <a:cubicBezTo>
                      <a:pt x="183" y="24"/>
                      <a:pt x="183" y="23"/>
                      <a:pt x="184" y="20"/>
                    </a:cubicBezTo>
                    <a:cubicBezTo>
                      <a:pt x="182" y="20"/>
                      <a:pt x="180" y="19"/>
                      <a:pt x="179" y="18"/>
                    </a:cubicBezTo>
                    <a:cubicBezTo>
                      <a:pt x="178" y="17"/>
                      <a:pt x="178" y="15"/>
                      <a:pt x="177" y="14"/>
                    </a:cubicBezTo>
                    <a:cubicBezTo>
                      <a:pt x="175" y="11"/>
                      <a:pt x="172" y="9"/>
                      <a:pt x="169" y="7"/>
                    </a:cubicBezTo>
                    <a:cubicBezTo>
                      <a:pt x="167" y="6"/>
                      <a:pt x="166" y="5"/>
                      <a:pt x="165" y="4"/>
                    </a:cubicBezTo>
                    <a:cubicBezTo>
                      <a:pt x="165" y="4"/>
                      <a:pt x="164" y="2"/>
                      <a:pt x="164" y="2"/>
                    </a:cubicBezTo>
                    <a:cubicBezTo>
                      <a:pt x="164" y="2"/>
                      <a:pt x="164" y="2"/>
                      <a:pt x="164" y="3"/>
                    </a:cubicBezTo>
                    <a:cubicBezTo>
                      <a:pt x="163" y="3"/>
                      <a:pt x="162" y="3"/>
                      <a:pt x="162" y="3"/>
                    </a:cubicBezTo>
                    <a:cubicBezTo>
                      <a:pt x="160" y="3"/>
                      <a:pt x="159" y="3"/>
                      <a:pt x="157" y="3"/>
                    </a:cubicBezTo>
                    <a:cubicBezTo>
                      <a:pt x="156" y="2"/>
                      <a:pt x="153" y="0"/>
                      <a:pt x="152" y="1"/>
                    </a:cubicBezTo>
                    <a:cubicBezTo>
                      <a:pt x="151" y="1"/>
                      <a:pt x="150" y="2"/>
                      <a:pt x="150" y="3"/>
                    </a:cubicBezTo>
                    <a:cubicBezTo>
                      <a:pt x="149" y="3"/>
                      <a:pt x="149" y="3"/>
                      <a:pt x="148" y="3"/>
                    </a:cubicBezTo>
                    <a:cubicBezTo>
                      <a:pt x="147" y="3"/>
                      <a:pt x="146" y="3"/>
                      <a:pt x="146" y="4"/>
                    </a:cubicBezTo>
                    <a:cubicBezTo>
                      <a:pt x="145" y="4"/>
                      <a:pt x="145" y="5"/>
                      <a:pt x="145" y="5"/>
                    </a:cubicBezTo>
                    <a:cubicBezTo>
                      <a:pt x="146" y="6"/>
                      <a:pt x="147" y="7"/>
                      <a:pt x="147" y="7"/>
                    </a:cubicBezTo>
                    <a:cubicBezTo>
                      <a:pt x="148" y="8"/>
                      <a:pt x="148" y="9"/>
                      <a:pt x="149" y="10"/>
                    </a:cubicBezTo>
                    <a:cubicBezTo>
                      <a:pt x="149" y="11"/>
                      <a:pt x="150" y="11"/>
                      <a:pt x="150" y="12"/>
                    </a:cubicBezTo>
                    <a:cubicBezTo>
                      <a:pt x="150" y="12"/>
                      <a:pt x="150" y="13"/>
                      <a:pt x="149" y="13"/>
                    </a:cubicBezTo>
                    <a:cubicBezTo>
                      <a:pt x="149" y="13"/>
                      <a:pt x="148" y="13"/>
                      <a:pt x="147" y="13"/>
                    </a:cubicBezTo>
                    <a:cubicBezTo>
                      <a:pt x="145" y="12"/>
                      <a:pt x="143" y="13"/>
                      <a:pt x="141" y="13"/>
                    </a:cubicBezTo>
                    <a:cubicBezTo>
                      <a:pt x="140" y="14"/>
                      <a:pt x="139" y="14"/>
                      <a:pt x="139" y="15"/>
                    </a:cubicBezTo>
                    <a:cubicBezTo>
                      <a:pt x="139" y="15"/>
                      <a:pt x="139" y="16"/>
                      <a:pt x="139" y="16"/>
                    </a:cubicBezTo>
                    <a:cubicBezTo>
                      <a:pt x="139" y="17"/>
                      <a:pt x="139" y="17"/>
                      <a:pt x="138" y="17"/>
                    </a:cubicBezTo>
                    <a:cubicBezTo>
                      <a:pt x="137" y="17"/>
                      <a:pt x="135" y="16"/>
                      <a:pt x="134" y="17"/>
                    </a:cubicBezTo>
                    <a:cubicBezTo>
                      <a:pt x="133" y="17"/>
                      <a:pt x="134" y="19"/>
                      <a:pt x="133" y="20"/>
                    </a:cubicBezTo>
                    <a:cubicBezTo>
                      <a:pt x="132" y="20"/>
                      <a:pt x="131" y="20"/>
                      <a:pt x="130" y="20"/>
                    </a:cubicBezTo>
                    <a:cubicBezTo>
                      <a:pt x="129" y="20"/>
                      <a:pt x="127" y="21"/>
                      <a:pt x="127" y="22"/>
                    </a:cubicBezTo>
                    <a:cubicBezTo>
                      <a:pt x="126" y="23"/>
                      <a:pt x="126" y="23"/>
                      <a:pt x="125" y="23"/>
                    </a:cubicBezTo>
                    <a:cubicBezTo>
                      <a:pt x="125" y="24"/>
                      <a:pt x="124" y="24"/>
                      <a:pt x="123" y="24"/>
                    </a:cubicBezTo>
                    <a:cubicBezTo>
                      <a:pt x="122" y="24"/>
                      <a:pt x="123" y="24"/>
                      <a:pt x="122" y="25"/>
                    </a:cubicBezTo>
                    <a:cubicBezTo>
                      <a:pt x="121" y="25"/>
                      <a:pt x="121" y="27"/>
                      <a:pt x="120" y="28"/>
                    </a:cubicBezTo>
                    <a:cubicBezTo>
                      <a:pt x="120" y="28"/>
                      <a:pt x="119" y="28"/>
                      <a:pt x="118" y="28"/>
                    </a:cubicBezTo>
                    <a:cubicBezTo>
                      <a:pt x="118" y="28"/>
                      <a:pt x="117" y="27"/>
                      <a:pt x="116" y="28"/>
                    </a:cubicBezTo>
                    <a:cubicBezTo>
                      <a:pt x="115" y="28"/>
                      <a:pt x="115" y="29"/>
                      <a:pt x="114" y="30"/>
                    </a:cubicBezTo>
                    <a:cubicBezTo>
                      <a:pt x="113" y="31"/>
                      <a:pt x="112" y="32"/>
                      <a:pt x="112" y="34"/>
                    </a:cubicBezTo>
                    <a:cubicBezTo>
                      <a:pt x="112" y="34"/>
                      <a:pt x="113" y="35"/>
                      <a:pt x="113" y="35"/>
                    </a:cubicBezTo>
                    <a:cubicBezTo>
                      <a:pt x="114" y="36"/>
                      <a:pt x="114" y="37"/>
                      <a:pt x="115" y="38"/>
                    </a:cubicBezTo>
                    <a:cubicBezTo>
                      <a:pt x="115" y="38"/>
                      <a:pt x="115" y="38"/>
                      <a:pt x="115" y="38"/>
                    </a:cubicBezTo>
                    <a:cubicBezTo>
                      <a:pt x="115" y="38"/>
                      <a:pt x="116" y="39"/>
                      <a:pt x="116" y="39"/>
                    </a:cubicBezTo>
                    <a:cubicBezTo>
                      <a:pt x="116" y="40"/>
                      <a:pt x="117" y="40"/>
                      <a:pt x="118" y="40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119" y="41"/>
                      <a:pt x="119" y="41"/>
                      <a:pt x="119" y="41"/>
                    </a:cubicBezTo>
                    <a:cubicBezTo>
                      <a:pt x="120" y="41"/>
                      <a:pt x="120" y="42"/>
                      <a:pt x="121" y="43"/>
                    </a:cubicBezTo>
                    <a:cubicBezTo>
                      <a:pt x="122" y="43"/>
                      <a:pt x="122" y="45"/>
                      <a:pt x="123" y="45"/>
                    </a:cubicBezTo>
                    <a:cubicBezTo>
                      <a:pt x="124" y="46"/>
                      <a:pt x="125" y="45"/>
                      <a:pt x="125" y="45"/>
                    </a:cubicBezTo>
                    <a:cubicBezTo>
                      <a:pt x="127" y="46"/>
                      <a:pt x="127" y="48"/>
                      <a:pt x="128" y="49"/>
                    </a:cubicBezTo>
                    <a:cubicBezTo>
                      <a:pt x="128" y="50"/>
                      <a:pt x="128" y="51"/>
                      <a:pt x="129" y="51"/>
                    </a:cubicBezTo>
                    <a:cubicBezTo>
                      <a:pt x="129" y="52"/>
                      <a:pt x="129" y="51"/>
                      <a:pt x="129" y="52"/>
                    </a:cubicBezTo>
                    <a:cubicBezTo>
                      <a:pt x="130" y="52"/>
                      <a:pt x="131" y="52"/>
                      <a:pt x="132" y="52"/>
                    </a:cubicBezTo>
                    <a:cubicBezTo>
                      <a:pt x="132" y="52"/>
                      <a:pt x="132" y="54"/>
                      <a:pt x="132" y="54"/>
                    </a:cubicBezTo>
                    <a:cubicBezTo>
                      <a:pt x="133" y="56"/>
                      <a:pt x="135" y="58"/>
                      <a:pt x="134" y="59"/>
                    </a:cubicBezTo>
                    <a:cubicBezTo>
                      <a:pt x="134" y="61"/>
                      <a:pt x="132" y="61"/>
                      <a:pt x="130" y="61"/>
                    </a:cubicBezTo>
                    <a:cubicBezTo>
                      <a:pt x="130" y="61"/>
                      <a:pt x="129" y="61"/>
                      <a:pt x="128" y="61"/>
                    </a:cubicBezTo>
                    <a:cubicBezTo>
                      <a:pt x="126" y="61"/>
                      <a:pt x="124" y="60"/>
                      <a:pt x="123" y="59"/>
                    </a:cubicBezTo>
                    <a:cubicBezTo>
                      <a:pt x="122" y="59"/>
                      <a:pt x="121" y="58"/>
                      <a:pt x="120" y="58"/>
                    </a:cubicBezTo>
                    <a:cubicBezTo>
                      <a:pt x="120" y="57"/>
                      <a:pt x="117" y="56"/>
                      <a:pt x="117" y="57"/>
                    </a:cubicBezTo>
                    <a:cubicBezTo>
                      <a:pt x="117" y="57"/>
                      <a:pt x="116" y="57"/>
                      <a:pt x="116" y="57"/>
                    </a:cubicBezTo>
                    <a:cubicBezTo>
                      <a:pt x="116" y="57"/>
                      <a:pt x="116" y="58"/>
                      <a:pt x="116" y="59"/>
                    </a:cubicBezTo>
                    <a:cubicBezTo>
                      <a:pt x="114" y="59"/>
                      <a:pt x="113" y="57"/>
                      <a:pt x="111" y="58"/>
                    </a:cubicBezTo>
                    <a:cubicBezTo>
                      <a:pt x="110" y="58"/>
                      <a:pt x="111" y="58"/>
                      <a:pt x="110" y="58"/>
                    </a:cubicBezTo>
                    <a:cubicBezTo>
                      <a:pt x="109" y="57"/>
                      <a:pt x="109" y="57"/>
                      <a:pt x="108" y="57"/>
                    </a:cubicBezTo>
                    <a:cubicBezTo>
                      <a:pt x="107" y="57"/>
                      <a:pt x="107" y="57"/>
                      <a:pt x="106" y="58"/>
                    </a:cubicBezTo>
                    <a:cubicBezTo>
                      <a:pt x="105" y="58"/>
                      <a:pt x="104" y="58"/>
                      <a:pt x="103" y="59"/>
                    </a:cubicBezTo>
                    <a:cubicBezTo>
                      <a:pt x="102" y="59"/>
                      <a:pt x="102" y="60"/>
                      <a:pt x="101" y="60"/>
                    </a:cubicBezTo>
                    <a:cubicBezTo>
                      <a:pt x="100" y="61"/>
                      <a:pt x="99" y="62"/>
                      <a:pt x="99" y="63"/>
                    </a:cubicBezTo>
                    <a:cubicBezTo>
                      <a:pt x="98" y="63"/>
                      <a:pt x="97" y="64"/>
                      <a:pt x="97" y="64"/>
                    </a:cubicBezTo>
                    <a:cubicBezTo>
                      <a:pt x="97" y="66"/>
                      <a:pt x="99" y="66"/>
                      <a:pt x="99" y="68"/>
                    </a:cubicBezTo>
                    <a:cubicBezTo>
                      <a:pt x="99" y="68"/>
                      <a:pt x="99" y="68"/>
                      <a:pt x="99" y="69"/>
                    </a:cubicBezTo>
                    <a:cubicBezTo>
                      <a:pt x="97" y="70"/>
                      <a:pt x="96" y="70"/>
                      <a:pt x="96" y="72"/>
                    </a:cubicBezTo>
                    <a:cubicBezTo>
                      <a:pt x="96" y="73"/>
                      <a:pt x="96" y="73"/>
                      <a:pt x="96" y="73"/>
                    </a:cubicBezTo>
                    <a:cubicBezTo>
                      <a:pt x="96" y="74"/>
                      <a:pt x="96" y="75"/>
                      <a:pt x="96" y="76"/>
                    </a:cubicBezTo>
                    <a:cubicBezTo>
                      <a:pt x="96" y="77"/>
                      <a:pt x="96" y="78"/>
                      <a:pt x="96" y="79"/>
                    </a:cubicBezTo>
                    <a:cubicBezTo>
                      <a:pt x="96" y="80"/>
                      <a:pt x="96" y="80"/>
                      <a:pt x="96" y="81"/>
                    </a:cubicBezTo>
                    <a:cubicBezTo>
                      <a:pt x="96" y="81"/>
                      <a:pt x="96" y="81"/>
                      <a:pt x="97" y="82"/>
                    </a:cubicBezTo>
                    <a:cubicBezTo>
                      <a:pt x="98" y="83"/>
                      <a:pt x="98" y="83"/>
                      <a:pt x="97" y="84"/>
                    </a:cubicBezTo>
                    <a:cubicBezTo>
                      <a:pt x="96" y="85"/>
                      <a:pt x="94" y="87"/>
                      <a:pt x="92" y="87"/>
                    </a:cubicBezTo>
                    <a:cubicBezTo>
                      <a:pt x="91" y="87"/>
                      <a:pt x="91" y="86"/>
                      <a:pt x="90" y="87"/>
                    </a:cubicBezTo>
                    <a:cubicBezTo>
                      <a:pt x="90" y="87"/>
                      <a:pt x="90" y="88"/>
                      <a:pt x="90" y="88"/>
                    </a:cubicBezTo>
                    <a:cubicBezTo>
                      <a:pt x="89" y="88"/>
                      <a:pt x="89" y="89"/>
                      <a:pt x="89" y="89"/>
                    </a:cubicBezTo>
                    <a:cubicBezTo>
                      <a:pt x="88" y="89"/>
                      <a:pt x="88" y="89"/>
                      <a:pt x="87" y="89"/>
                    </a:cubicBezTo>
                    <a:cubicBezTo>
                      <a:pt x="84" y="89"/>
                      <a:pt x="82" y="87"/>
                      <a:pt x="80" y="85"/>
                    </a:cubicBezTo>
                    <a:cubicBezTo>
                      <a:pt x="80" y="85"/>
                      <a:pt x="79" y="84"/>
                      <a:pt x="79" y="83"/>
                    </a:cubicBezTo>
                    <a:cubicBezTo>
                      <a:pt x="78" y="83"/>
                      <a:pt x="78" y="83"/>
                      <a:pt x="78" y="83"/>
                    </a:cubicBezTo>
                    <a:cubicBezTo>
                      <a:pt x="77" y="83"/>
                      <a:pt x="77" y="83"/>
                      <a:pt x="77" y="82"/>
                    </a:cubicBezTo>
                    <a:cubicBezTo>
                      <a:pt x="76" y="82"/>
                      <a:pt x="76" y="81"/>
                      <a:pt x="75" y="80"/>
                    </a:cubicBezTo>
                    <a:cubicBezTo>
                      <a:pt x="74" y="79"/>
                      <a:pt x="74" y="80"/>
                      <a:pt x="74" y="81"/>
                    </a:cubicBezTo>
                    <a:cubicBezTo>
                      <a:pt x="74" y="82"/>
                      <a:pt x="73" y="82"/>
                      <a:pt x="72" y="83"/>
                    </a:cubicBezTo>
                    <a:cubicBezTo>
                      <a:pt x="72" y="84"/>
                      <a:pt x="72" y="84"/>
                      <a:pt x="71" y="84"/>
                    </a:cubicBezTo>
                    <a:cubicBezTo>
                      <a:pt x="70" y="84"/>
                      <a:pt x="68" y="84"/>
                      <a:pt x="67" y="84"/>
                    </a:cubicBezTo>
                    <a:cubicBezTo>
                      <a:pt x="67" y="83"/>
                      <a:pt x="66" y="82"/>
                      <a:pt x="66" y="82"/>
                    </a:cubicBezTo>
                    <a:cubicBezTo>
                      <a:pt x="66" y="81"/>
                      <a:pt x="65" y="80"/>
                      <a:pt x="65" y="79"/>
                    </a:cubicBezTo>
                    <a:cubicBezTo>
                      <a:pt x="64" y="78"/>
                      <a:pt x="64" y="78"/>
                      <a:pt x="63" y="78"/>
                    </a:cubicBezTo>
                    <a:cubicBezTo>
                      <a:pt x="63" y="78"/>
                      <a:pt x="62" y="77"/>
                      <a:pt x="61" y="77"/>
                    </a:cubicBezTo>
                    <a:cubicBezTo>
                      <a:pt x="61" y="76"/>
                      <a:pt x="60" y="75"/>
                      <a:pt x="59" y="75"/>
                    </a:cubicBezTo>
                    <a:cubicBezTo>
                      <a:pt x="58" y="74"/>
                      <a:pt x="57" y="74"/>
                      <a:pt x="56" y="73"/>
                    </a:cubicBezTo>
                    <a:cubicBezTo>
                      <a:pt x="55" y="72"/>
                      <a:pt x="56" y="71"/>
                      <a:pt x="55" y="71"/>
                    </a:cubicBezTo>
                    <a:cubicBezTo>
                      <a:pt x="55" y="71"/>
                      <a:pt x="55" y="72"/>
                      <a:pt x="55" y="72"/>
                    </a:cubicBezTo>
                    <a:cubicBezTo>
                      <a:pt x="54" y="73"/>
                      <a:pt x="54" y="73"/>
                      <a:pt x="53" y="74"/>
                    </a:cubicBezTo>
                    <a:cubicBezTo>
                      <a:pt x="53" y="75"/>
                      <a:pt x="52" y="76"/>
                      <a:pt x="53" y="77"/>
                    </a:cubicBezTo>
                    <a:cubicBezTo>
                      <a:pt x="53" y="77"/>
                      <a:pt x="53" y="78"/>
                      <a:pt x="53" y="78"/>
                    </a:cubicBezTo>
                    <a:cubicBezTo>
                      <a:pt x="54" y="78"/>
                      <a:pt x="54" y="78"/>
                      <a:pt x="54" y="79"/>
                    </a:cubicBezTo>
                    <a:cubicBezTo>
                      <a:pt x="54" y="80"/>
                      <a:pt x="55" y="81"/>
                      <a:pt x="55" y="82"/>
                    </a:cubicBezTo>
                    <a:cubicBezTo>
                      <a:pt x="56" y="82"/>
                      <a:pt x="56" y="83"/>
                      <a:pt x="57" y="84"/>
                    </a:cubicBezTo>
                    <a:cubicBezTo>
                      <a:pt x="58" y="84"/>
                      <a:pt x="58" y="85"/>
                      <a:pt x="58" y="86"/>
                    </a:cubicBezTo>
                    <a:cubicBezTo>
                      <a:pt x="57" y="87"/>
                      <a:pt x="54" y="89"/>
                      <a:pt x="53" y="89"/>
                    </a:cubicBezTo>
                    <a:cubicBezTo>
                      <a:pt x="52" y="89"/>
                      <a:pt x="51" y="88"/>
                      <a:pt x="50" y="88"/>
                    </a:cubicBezTo>
                    <a:cubicBezTo>
                      <a:pt x="50" y="89"/>
                      <a:pt x="50" y="89"/>
                      <a:pt x="49" y="90"/>
                    </a:cubicBezTo>
                    <a:cubicBezTo>
                      <a:pt x="49" y="90"/>
                      <a:pt x="49" y="90"/>
                      <a:pt x="48" y="90"/>
                    </a:cubicBezTo>
                    <a:cubicBezTo>
                      <a:pt x="48" y="90"/>
                      <a:pt x="47" y="90"/>
                      <a:pt x="47" y="90"/>
                    </a:cubicBezTo>
                    <a:cubicBezTo>
                      <a:pt x="47" y="90"/>
                      <a:pt x="46" y="90"/>
                      <a:pt x="46" y="89"/>
                    </a:cubicBezTo>
                    <a:cubicBezTo>
                      <a:pt x="45" y="89"/>
                      <a:pt x="44" y="88"/>
                      <a:pt x="43" y="88"/>
                    </a:cubicBezTo>
                    <a:cubicBezTo>
                      <a:pt x="42" y="87"/>
                      <a:pt x="41" y="87"/>
                      <a:pt x="40" y="86"/>
                    </a:cubicBezTo>
                    <a:cubicBezTo>
                      <a:pt x="39" y="86"/>
                      <a:pt x="39" y="85"/>
                      <a:pt x="38" y="84"/>
                    </a:cubicBezTo>
                    <a:cubicBezTo>
                      <a:pt x="36" y="83"/>
                      <a:pt x="34" y="84"/>
                      <a:pt x="32" y="83"/>
                    </a:cubicBezTo>
                    <a:cubicBezTo>
                      <a:pt x="32" y="83"/>
                      <a:pt x="32" y="83"/>
                      <a:pt x="32" y="83"/>
                    </a:cubicBezTo>
                    <a:cubicBezTo>
                      <a:pt x="31" y="83"/>
                      <a:pt x="31" y="83"/>
                      <a:pt x="30" y="83"/>
                    </a:cubicBezTo>
                    <a:cubicBezTo>
                      <a:pt x="29" y="82"/>
                      <a:pt x="29" y="82"/>
                      <a:pt x="28" y="82"/>
                    </a:cubicBezTo>
                    <a:cubicBezTo>
                      <a:pt x="28" y="81"/>
                      <a:pt x="27" y="82"/>
                      <a:pt x="27" y="82"/>
                    </a:cubicBezTo>
                    <a:cubicBezTo>
                      <a:pt x="26" y="82"/>
                      <a:pt x="24" y="84"/>
                      <a:pt x="24" y="85"/>
                    </a:cubicBezTo>
                    <a:cubicBezTo>
                      <a:pt x="23" y="85"/>
                      <a:pt x="23" y="85"/>
                      <a:pt x="23" y="86"/>
                    </a:cubicBezTo>
                    <a:cubicBezTo>
                      <a:pt x="23" y="86"/>
                      <a:pt x="23" y="86"/>
                      <a:pt x="23" y="86"/>
                    </a:cubicBezTo>
                    <a:cubicBezTo>
                      <a:pt x="22" y="87"/>
                      <a:pt x="21" y="89"/>
                      <a:pt x="19" y="89"/>
                    </a:cubicBezTo>
                    <a:cubicBezTo>
                      <a:pt x="19" y="89"/>
                      <a:pt x="18" y="88"/>
                      <a:pt x="18" y="88"/>
                    </a:cubicBezTo>
                    <a:cubicBezTo>
                      <a:pt x="17" y="87"/>
                      <a:pt x="16" y="87"/>
                      <a:pt x="15" y="87"/>
                    </a:cubicBezTo>
                    <a:cubicBezTo>
                      <a:pt x="14" y="87"/>
                      <a:pt x="13" y="87"/>
                      <a:pt x="12" y="87"/>
                    </a:cubicBezTo>
                    <a:cubicBezTo>
                      <a:pt x="12" y="87"/>
                      <a:pt x="11" y="87"/>
                      <a:pt x="10" y="86"/>
                    </a:cubicBezTo>
                    <a:cubicBezTo>
                      <a:pt x="10" y="86"/>
                      <a:pt x="9" y="86"/>
                      <a:pt x="8" y="86"/>
                    </a:cubicBezTo>
                    <a:cubicBezTo>
                      <a:pt x="8" y="85"/>
                      <a:pt x="7" y="84"/>
                      <a:pt x="7" y="83"/>
                    </a:cubicBezTo>
                    <a:cubicBezTo>
                      <a:pt x="6" y="83"/>
                      <a:pt x="7" y="83"/>
                      <a:pt x="6" y="82"/>
                    </a:cubicBezTo>
                    <a:cubicBezTo>
                      <a:pt x="6" y="82"/>
                      <a:pt x="6" y="82"/>
                      <a:pt x="5" y="82"/>
                    </a:cubicBezTo>
                    <a:cubicBezTo>
                      <a:pt x="5" y="81"/>
                      <a:pt x="5" y="80"/>
                      <a:pt x="4" y="80"/>
                    </a:cubicBezTo>
                    <a:cubicBezTo>
                      <a:pt x="5" y="80"/>
                      <a:pt x="6" y="79"/>
                      <a:pt x="6" y="79"/>
                    </a:cubicBezTo>
                    <a:cubicBezTo>
                      <a:pt x="5" y="79"/>
                      <a:pt x="4" y="79"/>
                      <a:pt x="4" y="80"/>
                    </a:cubicBezTo>
                    <a:cubicBezTo>
                      <a:pt x="3" y="80"/>
                      <a:pt x="3" y="81"/>
                      <a:pt x="2" y="81"/>
                    </a:cubicBezTo>
                    <a:cubicBezTo>
                      <a:pt x="2" y="82"/>
                      <a:pt x="2" y="82"/>
                      <a:pt x="2" y="83"/>
                    </a:cubicBezTo>
                    <a:cubicBezTo>
                      <a:pt x="2" y="85"/>
                      <a:pt x="1" y="85"/>
                      <a:pt x="1" y="87"/>
                    </a:cubicBezTo>
                    <a:cubicBezTo>
                      <a:pt x="0" y="89"/>
                      <a:pt x="0" y="93"/>
                      <a:pt x="2" y="93"/>
                    </a:cubicBezTo>
                    <a:cubicBezTo>
                      <a:pt x="3" y="94"/>
                      <a:pt x="2" y="96"/>
                      <a:pt x="3" y="98"/>
                    </a:cubicBezTo>
                    <a:cubicBezTo>
                      <a:pt x="3" y="99"/>
                      <a:pt x="4" y="100"/>
                      <a:pt x="4" y="101"/>
                    </a:cubicBezTo>
                    <a:cubicBezTo>
                      <a:pt x="4" y="105"/>
                      <a:pt x="3" y="107"/>
                      <a:pt x="1" y="110"/>
                    </a:cubicBezTo>
                    <a:cubicBezTo>
                      <a:pt x="0" y="112"/>
                      <a:pt x="2" y="113"/>
                      <a:pt x="4" y="114"/>
                    </a:cubicBezTo>
                    <a:cubicBezTo>
                      <a:pt x="8" y="119"/>
                      <a:pt x="13" y="121"/>
                      <a:pt x="16" y="127"/>
                    </a:cubicBezTo>
                    <a:cubicBezTo>
                      <a:pt x="18" y="129"/>
                      <a:pt x="19" y="131"/>
                      <a:pt x="19" y="133"/>
                    </a:cubicBezTo>
                    <a:cubicBezTo>
                      <a:pt x="20" y="134"/>
                      <a:pt x="20" y="137"/>
                      <a:pt x="20" y="137"/>
                    </a:cubicBezTo>
                    <a:cubicBezTo>
                      <a:pt x="21" y="137"/>
                      <a:pt x="23" y="137"/>
                      <a:pt x="24" y="137"/>
                    </a:cubicBezTo>
                    <a:cubicBezTo>
                      <a:pt x="24" y="136"/>
                      <a:pt x="23" y="136"/>
                      <a:pt x="23" y="136"/>
                    </a:cubicBezTo>
                    <a:cubicBezTo>
                      <a:pt x="23" y="135"/>
                      <a:pt x="23" y="135"/>
                      <a:pt x="23" y="134"/>
                    </a:cubicBezTo>
                    <a:cubicBezTo>
                      <a:pt x="22" y="132"/>
                      <a:pt x="23" y="132"/>
                      <a:pt x="25" y="131"/>
                    </a:cubicBezTo>
                    <a:cubicBezTo>
                      <a:pt x="26" y="129"/>
                      <a:pt x="27" y="128"/>
                      <a:pt x="27" y="126"/>
                    </a:cubicBezTo>
                    <a:cubicBezTo>
                      <a:pt x="28" y="125"/>
                      <a:pt x="28" y="123"/>
                      <a:pt x="30" y="124"/>
                    </a:cubicBezTo>
                    <a:cubicBezTo>
                      <a:pt x="30" y="125"/>
                      <a:pt x="30" y="128"/>
                      <a:pt x="32" y="128"/>
                    </a:cubicBezTo>
                    <a:cubicBezTo>
                      <a:pt x="33" y="127"/>
                      <a:pt x="32" y="126"/>
                      <a:pt x="32" y="125"/>
                    </a:cubicBezTo>
                    <a:cubicBezTo>
                      <a:pt x="31" y="122"/>
                      <a:pt x="33" y="118"/>
                      <a:pt x="34" y="115"/>
                    </a:cubicBezTo>
                    <a:cubicBezTo>
                      <a:pt x="35" y="113"/>
                      <a:pt x="36" y="111"/>
                      <a:pt x="37" y="109"/>
                    </a:cubicBezTo>
                    <a:cubicBezTo>
                      <a:pt x="39" y="106"/>
                      <a:pt x="41" y="104"/>
                      <a:pt x="42" y="101"/>
                    </a:cubicBezTo>
                    <a:cubicBezTo>
                      <a:pt x="44" y="98"/>
                      <a:pt x="45" y="96"/>
                      <a:pt x="48" y="96"/>
                    </a:cubicBezTo>
                    <a:cubicBezTo>
                      <a:pt x="48" y="97"/>
                      <a:pt x="47" y="98"/>
                      <a:pt x="47" y="99"/>
                    </a:cubicBezTo>
                    <a:cubicBezTo>
                      <a:pt x="47" y="101"/>
                      <a:pt x="49" y="101"/>
                      <a:pt x="50" y="102"/>
                    </a:cubicBezTo>
                    <a:cubicBezTo>
                      <a:pt x="52" y="103"/>
                      <a:pt x="54" y="104"/>
                      <a:pt x="54" y="106"/>
                    </a:cubicBezTo>
                    <a:cubicBezTo>
                      <a:pt x="54" y="107"/>
                      <a:pt x="54" y="108"/>
                      <a:pt x="54" y="109"/>
                    </a:cubicBezTo>
                    <a:cubicBezTo>
                      <a:pt x="54" y="109"/>
                      <a:pt x="52" y="111"/>
                      <a:pt x="52" y="112"/>
                    </a:cubicBezTo>
                    <a:cubicBezTo>
                      <a:pt x="52" y="112"/>
                      <a:pt x="51" y="113"/>
                      <a:pt x="51" y="114"/>
                    </a:cubicBezTo>
                    <a:cubicBezTo>
                      <a:pt x="50" y="115"/>
                      <a:pt x="50" y="115"/>
                      <a:pt x="49" y="116"/>
                    </a:cubicBezTo>
                    <a:cubicBezTo>
                      <a:pt x="48" y="119"/>
                      <a:pt x="50" y="119"/>
                      <a:pt x="53" y="121"/>
                    </a:cubicBezTo>
                    <a:cubicBezTo>
                      <a:pt x="55" y="122"/>
                      <a:pt x="57" y="123"/>
                      <a:pt x="59" y="123"/>
                    </a:cubicBezTo>
                    <a:cubicBezTo>
                      <a:pt x="61" y="124"/>
                      <a:pt x="63" y="125"/>
                      <a:pt x="64" y="125"/>
                    </a:cubicBezTo>
                    <a:cubicBezTo>
                      <a:pt x="65" y="124"/>
                      <a:pt x="65" y="123"/>
                      <a:pt x="67" y="122"/>
                    </a:cubicBezTo>
                    <a:cubicBezTo>
                      <a:pt x="68" y="122"/>
                      <a:pt x="70" y="122"/>
                      <a:pt x="71" y="123"/>
                    </a:cubicBezTo>
                    <a:cubicBezTo>
                      <a:pt x="72" y="123"/>
                      <a:pt x="72" y="123"/>
                      <a:pt x="72" y="124"/>
                    </a:cubicBezTo>
                    <a:cubicBezTo>
                      <a:pt x="72" y="124"/>
                      <a:pt x="72" y="124"/>
                      <a:pt x="73" y="124"/>
                    </a:cubicBezTo>
                    <a:cubicBezTo>
                      <a:pt x="73" y="125"/>
                      <a:pt x="73" y="124"/>
                      <a:pt x="73" y="125"/>
                    </a:cubicBezTo>
                    <a:cubicBezTo>
                      <a:pt x="74" y="128"/>
                      <a:pt x="70" y="129"/>
                      <a:pt x="70" y="130"/>
                    </a:cubicBezTo>
                    <a:cubicBezTo>
                      <a:pt x="70" y="131"/>
                      <a:pt x="71" y="132"/>
                      <a:pt x="71" y="133"/>
                    </a:cubicBezTo>
                    <a:cubicBezTo>
                      <a:pt x="71" y="134"/>
                      <a:pt x="71" y="136"/>
                      <a:pt x="71" y="137"/>
                    </a:cubicBezTo>
                    <a:cubicBezTo>
                      <a:pt x="71" y="138"/>
                      <a:pt x="70" y="139"/>
                      <a:pt x="70" y="140"/>
                    </a:cubicBezTo>
                    <a:cubicBezTo>
                      <a:pt x="70" y="141"/>
                      <a:pt x="71" y="143"/>
                      <a:pt x="72" y="144"/>
                    </a:cubicBezTo>
                    <a:cubicBezTo>
                      <a:pt x="72" y="146"/>
                      <a:pt x="73" y="148"/>
                      <a:pt x="74" y="150"/>
                    </a:cubicBezTo>
                    <a:cubicBezTo>
                      <a:pt x="74" y="150"/>
                      <a:pt x="75" y="150"/>
                      <a:pt x="75" y="151"/>
                    </a:cubicBezTo>
                    <a:cubicBezTo>
                      <a:pt x="75" y="151"/>
                      <a:pt x="75" y="152"/>
                      <a:pt x="76" y="153"/>
                    </a:cubicBezTo>
                    <a:cubicBezTo>
                      <a:pt x="77" y="157"/>
                      <a:pt x="80" y="160"/>
                      <a:pt x="82" y="163"/>
                    </a:cubicBezTo>
                    <a:cubicBezTo>
                      <a:pt x="83" y="165"/>
                      <a:pt x="84" y="166"/>
                      <a:pt x="85" y="167"/>
                    </a:cubicBezTo>
                    <a:cubicBezTo>
                      <a:pt x="86" y="168"/>
                      <a:pt x="89" y="169"/>
                      <a:pt x="90" y="172"/>
                    </a:cubicBezTo>
                    <a:cubicBezTo>
                      <a:pt x="90" y="173"/>
                      <a:pt x="89" y="174"/>
                      <a:pt x="90" y="175"/>
                    </a:cubicBezTo>
                    <a:cubicBezTo>
                      <a:pt x="90" y="176"/>
                      <a:pt x="94" y="177"/>
                      <a:pt x="93" y="179"/>
                    </a:cubicBezTo>
                    <a:cubicBezTo>
                      <a:pt x="93" y="180"/>
                      <a:pt x="92" y="180"/>
                      <a:pt x="92" y="181"/>
                    </a:cubicBezTo>
                    <a:cubicBezTo>
                      <a:pt x="91" y="181"/>
                      <a:pt x="92" y="182"/>
                      <a:pt x="91" y="182"/>
                    </a:cubicBezTo>
                    <a:cubicBezTo>
                      <a:pt x="90" y="184"/>
                      <a:pt x="87" y="183"/>
                      <a:pt x="85" y="184"/>
                    </a:cubicBezTo>
                    <a:cubicBezTo>
                      <a:pt x="82" y="186"/>
                      <a:pt x="85" y="189"/>
                      <a:pt x="86" y="190"/>
                    </a:cubicBezTo>
                    <a:cubicBezTo>
                      <a:pt x="88" y="193"/>
                      <a:pt x="90" y="197"/>
                      <a:pt x="92" y="200"/>
                    </a:cubicBezTo>
                    <a:cubicBezTo>
                      <a:pt x="93" y="201"/>
                      <a:pt x="94" y="202"/>
                      <a:pt x="95" y="203"/>
                    </a:cubicBezTo>
                    <a:cubicBezTo>
                      <a:pt x="96" y="203"/>
                      <a:pt x="96" y="204"/>
                      <a:pt x="97" y="205"/>
                    </a:cubicBezTo>
                    <a:cubicBezTo>
                      <a:pt x="98" y="206"/>
                      <a:pt x="98" y="207"/>
                      <a:pt x="99" y="208"/>
                    </a:cubicBezTo>
                    <a:cubicBezTo>
                      <a:pt x="99" y="209"/>
                      <a:pt x="99" y="211"/>
                      <a:pt x="100" y="212"/>
                    </a:cubicBezTo>
                    <a:cubicBezTo>
                      <a:pt x="101" y="212"/>
                      <a:pt x="103" y="212"/>
                      <a:pt x="103" y="212"/>
                    </a:cubicBezTo>
                    <a:cubicBezTo>
                      <a:pt x="104" y="213"/>
                      <a:pt x="103" y="214"/>
                      <a:pt x="104" y="215"/>
                    </a:cubicBezTo>
                    <a:cubicBezTo>
                      <a:pt x="104" y="215"/>
                      <a:pt x="105" y="216"/>
                      <a:pt x="106" y="217"/>
                    </a:cubicBezTo>
                    <a:cubicBezTo>
                      <a:pt x="107" y="219"/>
                      <a:pt x="111" y="220"/>
                      <a:pt x="111" y="222"/>
                    </a:cubicBezTo>
                    <a:cubicBezTo>
                      <a:pt x="112" y="223"/>
                      <a:pt x="111" y="224"/>
                      <a:pt x="112" y="225"/>
                    </a:cubicBezTo>
                    <a:cubicBezTo>
                      <a:pt x="113" y="226"/>
                      <a:pt x="114" y="226"/>
                      <a:pt x="115" y="227"/>
                    </a:cubicBezTo>
                    <a:cubicBezTo>
                      <a:pt x="116" y="228"/>
                      <a:pt x="116" y="228"/>
                      <a:pt x="117" y="228"/>
                    </a:cubicBezTo>
                    <a:cubicBezTo>
                      <a:pt x="117" y="229"/>
                      <a:pt x="118" y="229"/>
                      <a:pt x="118" y="230"/>
                    </a:cubicBezTo>
                    <a:cubicBezTo>
                      <a:pt x="119" y="232"/>
                      <a:pt x="119" y="233"/>
                      <a:pt x="119" y="235"/>
                    </a:cubicBezTo>
                    <a:cubicBezTo>
                      <a:pt x="119" y="236"/>
                      <a:pt x="119" y="237"/>
                      <a:pt x="120" y="238"/>
                    </a:cubicBezTo>
                    <a:cubicBezTo>
                      <a:pt x="120" y="240"/>
                      <a:pt x="122" y="240"/>
                      <a:pt x="123" y="240"/>
                    </a:cubicBezTo>
                    <a:cubicBezTo>
                      <a:pt x="125" y="240"/>
                      <a:pt x="126" y="240"/>
                      <a:pt x="127" y="241"/>
                    </a:cubicBezTo>
                    <a:cubicBezTo>
                      <a:pt x="128" y="241"/>
                      <a:pt x="128" y="242"/>
                      <a:pt x="128" y="242"/>
                    </a:cubicBezTo>
                    <a:cubicBezTo>
                      <a:pt x="129" y="242"/>
                      <a:pt x="131" y="242"/>
                      <a:pt x="133" y="242"/>
                    </a:cubicBezTo>
                    <a:cubicBezTo>
                      <a:pt x="133" y="242"/>
                      <a:pt x="134" y="242"/>
                      <a:pt x="134" y="242"/>
                    </a:cubicBezTo>
                    <a:cubicBezTo>
                      <a:pt x="135" y="242"/>
                      <a:pt x="135" y="241"/>
                      <a:pt x="136" y="241"/>
                    </a:cubicBezTo>
                    <a:cubicBezTo>
                      <a:pt x="137" y="241"/>
                      <a:pt x="138" y="241"/>
                      <a:pt x="139" y="241"/>
                    </a:cubicBezTo>
                    <a:cubicBezTo>
                      <a:pt x="142" y="241"/>
                      <a:pt x="144" y="239"/>
                      <a:pt x="146" y="240"/>
                    </a:cubicBezTo>
                    <a:cubicBezTo>
                      <a:pt x="148" y="241"/>
                      <a:pt x="149" y="241"/>
                      <a:pt x="150" y="242"/>
                    </a:cubicBezTo>
                    <a:cubicBezTo>
                      <a:pt x="152" y="243"/>
                      <a:pt x="153" y="243"/>
                      <a:pt x="155" y="244"/>
                    </a:cubicBezTo>
                    <a:cubicBezTo>
                      <a:pt x="156" y="245"/>
                      <a:pt x="156" y="245"/>
                      <a:pt x="157" y="246"/>
                    </a:cubicBezTo>
                    <a:cubicBezTo>
                      <a:pt x="159" y="248"/>
                      <a:pt x="160" y="249"/>
                      <a:pt x="163" y="251"/>
                    </a:cubicBezTo>
                    <a:cubicBezTo>
                      <a:pt x="166" y="253"/>
                      <a:pt x="169" y="253"/>
                      <a:pt x="171" y="254"/>
                    </a:cubicBezTo>
                    <a:cubicBezTo>
                      <a:pt x="173" y="255"/>
                      <a:pt x="174" y="257"/>
                      <a:pt x="176" y="259"/>
                    </a:cubicBezTo>
                    <a:cubicBezTo>
                      <a:pt x="178" y="263"/>
                      <a:pt x="182" y="265"/>
                      <a:pt x="185" y="269"/>
                    </a:cubicBezTo>
                    <a:cubicBezTo>
                      <a:pt x="187" y="271"/>
                      <a:pt x="188" y="273"/>
                      <a:pt x="190" y="275"/>
                    </a:cubicBezTo>
                    <a:cubicBezTo>
                      <a:pt x="194" y="278"/>
                      <a:pt x="198" y="282"/>
                      <a:pt x="200" y="287"/>
                    </a:cubicBezTo>
                    <a:cubicBezTo>
                      <a:pt x="201" y="288"/>
                      <a:pt x="202" y="291"/>
                      <a:pt x="204" y="291"/>
                    </a:cubicBezTo>
                    <a:cubicBezTo>
                      <a:pt x="205" y="291"/>
                      <a:pt x="209" y="291"/>
                      <a:pt x="210" y="290"/>
                    </a:cubicBezTo>
                    <a:cubicBezTo>
                      <a:pt x="209" y="290"/>
                      <a:pt x="209" y="289"/>
                      <a:pt x="209" y="289"/>
                    </a:cubicBezTo>
                    <a:cubicBezTo>
                      <a:pt x="209" y="289"/>
                      <a:pt x="208" y="288"/>
                      <a:pt x="208" y="288"/>
                    </a:cubicBezTo>
                    <a:cubicBezTo>
                      <a:pt x="207" y="287"/>
                      <a:pt x="208" y="286"/>
                      <a:pt x="207" y="285"/>
                    </a:cubicBezTo>
                    <a:cubicBezTo>
                      <a:pt x="207" y="283"/>
                      <a:pt x="204" y="281"/>
                      <a:pt x="202" y="278"/>
                    </a:cubicBezTo>
                    <a:cubicBezTo>
                      <a:pt x="202" y="277"/>
                      <a:pt x="202" y="276"/>
                      <a:pt x="201" y="276"/>
                    </a:cubicBezTo>
                    <a:cubicBezTo>
                      <a:pt x="200" y="275"/>
                      <a:pt x="196" y="275"/>
                      <a:pt x="195" y="274"/>
                    </a:cubicBezTo>
                    <a:cubicBezTo>
                      <a:pt x="195" y="273"/>
                      <a:pt x="196" y="272"/>
                      <a:pt x="197" y="271"/>
                    </a:cubicBezTo>
                    <a:cubicBezTo>
                      <a:pt x="197" y="270"/>
                      <a:pt x="197" y="269"/>
                      <a:pt x="197" y="268"/>
                    </a:cubicBezTo>
                    <a:cubicBezTo>
                      <a:pt x="197" y="267"/>
                      <a:pt x="197" y="266"/>
                      <a:pt x="197" y="265"/>
                    </a:cubicBezTo>
                    <a:cubicBezTo>
                      <a:pt x="197" y="265"/>
                      <a:pt x="196" y="265"/>
                      <a:pt x="195" y="264"/>
                    </a:cubicBezTo>
                    <a:cubicBezTo>
                      <a:pt x="195" y="264"/>
                      <a:pt x="195" y="264"/>
                      <a:pt x="195" y="263"/>
                    </a:cubicBezTo>
                    <a:cubicBezTo>
                      <a:pt x="195" y="263"/>
                      <a:pt x="195" y="262"/>
                      <a:pt x="194" y="261"/>
                    </a:cubicBezTo>
                    <a:cubicBezTo>
                      <a:pt x="194" y="261"/>
                      <a:pt x="193" y="260"/>
                      <a:pt x="193" y="260"/>
                    </a:cubicBezTo>
                    <a:cubicBezTo>
                      <a:pt x="193" y="259"/>
                      <a:pt x="193" y="258"/>
                      <a:pt x="193" y="258"/>
                    </a:cubicBezTo>
                    <a:cubicBezTo>
                      <a:pt x="192" y="256"/>
                      <a:pt x="192" y="255"/>
                      <a:pt x="192" y="253"/>
                    </a:cubicBezTo>
                    <a:cubicBezTo>
                      <a:pt x="192" y="252"/>
                      <a:pt x="192" y="251"/>
                      <a:pt x="192" y="250"/>
                    </a:cubicBezTo>
                    <a:cubicBezTo>
                      <a:pt x="192" y="249"/>
                      <a:pt x="192" y="248"/>
                      <a:pt x="191" y="247"/>
                    </a:cubicBezTo>
                    <a:cubicBezTo>
                      <a:pt x="191" y="246"/>
                      <a:pt x="189" y="246"/>
                      <a:pt x="188" y="245"/>
                    </a:cubicBezTo>
                    <a:cubicBezTo>
                      <a:pt x="185" y="242"/>
                      <a:pt x="182" y="239"/>
                      <a:pt x="179" y="237"/>
                    </a:cubicBezTo>
                    <a:cubicBezTo>
                      <a:pt x="179" y="236"/>
                      <a:pt x="178" y="235"/>
                      <a:pt x="178" y="234"/>
                    </a:cubicBezTo>
                    <a:cubicBezTo>
                      <a:pt x="177" y="233"/>
                      <a:pt x="176" y="232"/>
                      <a:pt x="174" y="231"/>
                    </a:cubicBezTo>
                    <a:cubicBezTo>
                      <a:pt x="172" y="229"/>
                      <a:pt x="171" y="226"/>
                      <a:pt x="169" y="224"/>
                    </a:cubicBezTo>
                    <a:cubicBezTo>
                      <a:pt x="169" y="223"/>
                      <a:pt x="168" y="222"/>
                      <a:pt x="167" y="221"/>
                    </a:cubicBezTo>
                    <a:cubicBezTo>
                      <a:pt x="166" y="220"/>
                      <a:pt x="165" y="219"/>
                      <a:pt x="165" y="219"/>
                    </a:cubicBezTo>
                    <a:cubicBezTo>
                      <a:pt x="164" y="218"/>
                      <a:pt x="163" y="215"/>
                      <a:pt x="163" y="214"/>
                    </a:cubicBezTo>
                    <a:cubicBezTo>
                      <a:pt x="161" y="210"/>
                      <a:pt x="159" y="207"/>
                      <a:pt x="155" y="206"/>
                    </a:cubicBezTo>
                    <a:cubicBezTo>
                      <a:pt x="151" y="205"/>
                      <a:pt x="147" y="202"/>
                      <a:pt x="144" y="199"/>
                    </a:cubicBezTo>
                    <a:cubicBezTo>
                      <a:pt x="143" y="198"/>
                      <a:pt x="142" y="197"/>
                      <a:pt x="142" y="196"/>
                    </a:cubicBezTo>
                    <a:cubicBezTo>
                      <a:pt x="142" y="195"/>
                      <a:pt x="142" y="194"/>
                      <a:pt x="142" y="193"/>
                    </a:cubicBezTo>
                    <a:cubicBezTo>
                      <a:pt x="141" y="191"/>
                      <a:pt x="141" y="189"/>
                      <a:pt x="140" y="188"/>
                    </a:cubicBezTo>
                    <a:cubicBezTo>
                      <a:pt x="139" y="186"/>
                      <a:pt x="137" y="184"/>
                      <a:pt x="137" y="182"/>
                    </a:cubicBezTo>
                    <a:cubicBezTo>
                      <a:pt x="137" y="181"/>
                      <a:pt x="137" y="180"/>
                      <a:pt x="137" y="179"/>
                    </a:cubicBezTo>
                    <a:cubicBezTo>
                      <a:pt x="136" y="178"/>
                      <a:pt x="135" y="178"/>
                      <a:pt x="135" y="177"/>
                    </a:cubicBezTo>
                    <a:cubicBezTo>
                      <a:pt x="135" y="177"/>
                      <a:pt x="135" y="176"/>
                      <a:pt x="135" y="175"/>
                    </a:cubicBezTo>
                    <a:cubicBezTo>
                      <a:pt x="135" y="172"/>
                      <a:pt x="135" y="169"/>
                      <a:pt x="135" y="165"/>
                    </a:cubicBezTo>
                    <a:cubicBezTo>
                      <a:pt x="135" y="165"/>
                      <a:pt x="135" y="164"/>
                      <a:pt x="135" y="163"/>
                    </a:cubicBezTo>
                    <a:cubicBezTo>
                      <a:pt x="135" y="163"/>
                      <a:pt x="134" y="162"/>
                      <a:pt x="134" y="162"/>
                    </a:cubicBezTo>
                    <a:cubicBezTo>
                      <a:pt x="134" y="161"/>
                      <a:pt x="134" y="160"/>
                      <a:pt x="134" y="160"/>
                    </a:cubicBezTo>
                    <a:cubicBezTo>
                      <a:pt x="134" y="157"/>
                      <a:pt x="134" y="155"/>
                      <a:pt x="133" y="153"/>
                    </a:cubicBezTo>
                    <a:cubicBezTo>
                      <a:pt x="132" y="152"/>
                      <a:pt x="132" y="151"/>
                      <a:pt x="131" y="151"/>
                    </a:cubicBezTo>
                    <a:cubicBezTo>
                      <a:pt x="131" y="151"/>
                      <a:pt x="130" y="151"/>
                      <a:pt x="130" y="151"/>
                    </a:cubicBezTo>
                    <a:cubicBezTo>
                      <a:pt x="127" y="151"/>
                      <a:pt x="125" y="147"/>
                      <a:pt x="123" y="145"/>
                    </a:cubicBezTo>
                    <a:cubicBezTo>
                      <a:pt x="123" y="145"/>
                      <a:pt x="122" y="144"/>
                      <a:pt x="122" y="144"/>
                    </a:cubicBezTo>
                    <a:cubicBezTo>
                      <a:pt x="122" y="143"/>
                      <a:pt x="121" y="143"/>
                      <a:pt x="121" y="142"/>
                    </a:cubicBezTo>
                    <a:cubicBezTo>
                      <a:pt x="120" y="141"/>
                      <a:pt x="119" y="140"/>
                      <a:pt x="119" y="139"/>
                    </a:cubicBezTo>
                    <a:cubicBezTo>
                      <a:pt x="118" y="137"/>
                      <a:pt x="118" y="136"/>
                      <a:pt x="118" y="134"/>
                    </a:cubicBezTo>
                    <a:cubicBezTo>
                      <a:pt x="118" y="133"/>
                      <a:pt x="117" y="133"/>
                      <a:pt x="117" y="132"/>
                    </a:cubicBezTo>
                    <a:cubicBezTo>
                      <a:pt x="116" y="129"/>
                      <a:pt x="117" y="126"/>
                      <a:pt x="118" y="124"/>
                    </a:cubicBezTo>
                    <a:cubicBezTo>
                      <a:pt x="119" y="120"/>
                      <a:pt x="118" y="116"/>
                      <a:pt x="118" y="112"/>
                    </a:cubicBezTo>
                    <a:cubicBezTo>
                      <a:pt x="118" y="109"/>
                      <a:pt x="121" y="106"/>
                      <a:pt x="125" y="105"/>
                    </a:cubicBezTo>
                    <a:cubicBezTo>
                      <a:pt x="126" y="105"/>
                      <a:pt x="128" y="106"/>
                      <a:pt x="129" y="106"/>
                    </a:cubicBezTo>
                    <a:cubicBezTo>
                      <a:pt x="131" y="106"/>
                      <a:pt x="132" y="106"/>
                      <a:pt x="133" y="107"/>
                    </a:cubicBezTo>
                    <a:cubicBezTo>
                      <a:pt x="134" y="108"/>
                      <a:pt x="134" y="109"/>
                      <a:pt x="135" y="110"/>
                    </a:cubicBezTo>
                    <a:cubicBezTo>
                      <a:pt x="136" y="112"/>
                      <a:pt x="136" y="113"/>
                      <a:pt x="137" y="114"/>
                    </a:cubicBezTo>
                    <a:cubicBezTo>
                      <a:pt x="138" y="116"/>
                      <a:pt x="140" y="117"/>
                      <a:pt x="141" y="119"/>
                    </a:cubicBezTo>
                    <a:cubicBezTo>
                      <a:pt x="142" y="122"/>
                      <a:pt x="143" y="124"/>
                      <a:pt x="146" y="124"/>
                    </a:cubicBezTo>
                    <a:cubicBezTo>
                      <a:pt x="147" y="123"/>
                      <a:pt x="148" y="122"/>
                      <a:pt x="149" y="121"/>
                    </a:cubicBezTo>
                    <a:cubicBezTo>
                      <a:pt x="150" y="120"/>
                      <a:pt x="150" y="119"/>
                      <a:pt x="150" y="118"/>
                    </a:cubicBezTo>
                    <a:cubicBezTo>
                      <a:pt x="151" y="116"/>
                      <a:pt x="152" y="115"/>
                      <a:pt x="152" y="114"/>
                    </a:cubicBezTo>
                    <a:cubicBezTo>
                      <a:pt x="153" y="112"/>
                      <a:pt x="154" y="111"/>
                      <a:pt x="154" y="110"/>
                    </a:cubicBezTo>
                    <a:cubicBezTo>
                      <a:pt x="155" y="109"/>
                      <a:pt x="156" y="108"/>
                      <a:pt x="158" y="107"/>
                    </a:cubicBezTo>
                    <a:cubicBezTo>
                      <a:pt x="160" y="107"/>
                      <a:pt x="162" y="107"/>
                      <a:pt x="164" y="107"/>
                    </a:cubicBezTo>
                    <a:cubicBezTo>
                      <a:pt x="167" y="107"/>
                      <a:pt x="171" y="109"/>
                      <a:pt x="174" y="109"/>
                    </a:cubicBezTo>
                    <a:cubicBezTo>
                      <a:pt x="174" y="108"/>
                      <a:pt x="174" y="106"/>
                      <a:pt x="174" y="105"/>
                    </a:cubicBezTo>
                    <a:cubicBezTo>
                      <a:pt x="175" y="103"/>
                      <a:pt x="178" y="105"/>
                      <a:pt x="179" y="106"/>
                    </a:cubicBezTo>
                    <a:cubicBezTo>
                      <a:pt x="180" y="107"/>
                      <a:pt x="180" y="107"/>
                      <a:pt x="182" y="107"/>
                    </a:cubicBezTo>
                    <a:cubicBezTo>
                      <a:pt x="183" y="107"/>
                      <a:pt x="185" y="107"/>
                      <a:pt x="186" y="107"/>
                    </a:cubicBezTo>
                    <a:cubicBezTo>
                      <a:pt x="186" y="108"/>
                      <a:pt x="186" y="108"/>
                      <a:pt x="186" y="109"/>
                    </a:cubicBezTo>
                    <a:cubicBezTo>
                      <a:pt x="187" y="110"/>
                      <a:pt x="188" y="110"/>
                      <a:pt x="189" y="112"/>
                    </a:cubicBezTo>
                    <a:cubicBezTo>
                      <a:pt x="191" y="113"/>
                      <a:pt x="190" y="114"/>
                      <a:pt x="192" y="114"/>
                    </a:cubicBezTo>
                    <a:cubicBezTo>
                      <a:pt x="196" y="115"/>
                      <a:pt x="195" y="111"/>
                      <a:pt x="197" y="109"/>
                    </a:cubicBezTo>
                    <a:cubicBezTo>
                      <a:pt x="199" y="109"/>
                      <a:pt x="198" y="111"/>
                      <a:pt x="199" y="112"/>
                    </a:cubicBezTo>
                    <a:cubicBezTo>
                      <a:pt x="200" y="113"/>
                      <a:pt x="200" y="113"/>
                      <a:pt x="201" y="113"/>
                    </a:cubicBezTo>
                    <a:cubicBezTo>
                      <a:pt x="203" y="113"/>
                      <a:pt x="204" y="113"/>
                      <a:pt x="205" y="115"/>
                    </a:cubicBezTo>
                    <a:cubicBezTo>
                      <a:pt x="205" y="115"/>
                      <a:pt x="205" y="116"/>
                      <a:pt x="205" y="117"/>
                    </a:cubicBezTo>
                    <a:cubicBezTo>
                      <a:pt x="210" y="117"/>
                      <a:pt x="215" y="115"/>
                      <a:pt x="221" y="116"/>
                    </a:cubicBezTo>
                    <a:cubicBezTo>
                      <a:pt x="223" y="116"/>
                      <a:pt x="224" y="118"/>
                      <a:pt x="225" y="120"/>
                    </a:cubicBezTo>
                    <a:cubicBezTo>
                      <a:pt x="227" y="120"/>
                      <a:pt x="228" y="119"/>
                      <a:pt x="229" y="119"/>
                    </a:cubicBezTo>
                    <a:cubicBezTo>
                      <a:pt x="231" y="119"/>
                      <a:pt x="232" y="119"/>
                      <a:pt x="233" y="118"/>
                    </a:cubicBezTo>
                    <a:cubicBezTo>
                      <a:pt x="233" y="118"/>
                      <a:pt x="233" y="117"/>
                      <a:pt x="233" y="116"/>
                    </a:cubicBezTo>
                    <a:cubicBezTo>
                      <a:pt x="233" y="116"/>
                      <a:pt x="234" y="116"/>
                      <a:pt x="234" y="115"/>
                    </a:cubicBezTo>
                    <a:cubicBezTo>
                      <a:pt x="235" y="114"/>
                      <a:pt x="236" y="113"/>
                      <a:pt x="237" y="114"/>
                    </a:cubicBezTo>
                    <a:cubicBezTo>
                      <a:pt x="239" y="114"/>
                      <a:pt x="239" y="116"/>
                      <a:pt x="240" y="117"/>
                    </a:cubicBezTo>
                    <a:cubicBezTo>
                      <a:pt x="241" y="119"/>
                      <a:pt x="244" y="120"/>
                      <a:pt x="246" y="120"/>
                    </a:cubicBezTo>
                    <a:cubicBezTo>
                      <a:pt x="246" y="118"/>
                      <a:pt x="245" y="116"/>
                      <a:pt x="246" y="115"/>
                    </a:cubicBezTo>
                    <a:cubicBezTo>
                      <a:pt x="249" y="114"/>
                      <a:pt x="252" y="116"/>
                      <a:pt x="255" y="117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11" name="Freeform 27">
                <a:extLst>
                  <a:ext uri="{FF2B5EF4-FFF2-40B4-BE49-F238E27FC236}">
                    <a16:creationId xmlns:a16="http://schemas.microsoft.com/office/drawing/2014/main" id="{F863DC95-C2E2-4C47-BFBA-6035D26032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3325" y="5265738"/>
                <a:ext cx="381000" cy="420688"/>
              </a:xfrm>
              <a:custGeom>
                <a:avLst/>
                <a:gdLst/>
                <a:ahLst/>
                <a:cxnLst>
                  <a:cxn ang="0">
                    <a:pos x="193" y="94"/>
                  </a:cxn>
                  <a:cxn ang="0">
                    <a:pos x="188" y="87"/>
                  </a:cxn>
                  <a:cxn ang="0">
                    <a:pos x="192" y="80"/>
                  </a:cxn>
                  <a:cxn ang="0">
                    <a:pos x="181" y="74"/>
                  </a:cxn>
                  <a:cxn ang="0">
                    <a:pos x="179" y="68"/>
                  </a:cxn>
                  <a:cxn ang="0">
                    <a:pos x="191" y="41"/>
                  </a:cxn>
                  <a:cxn ang="0">
                    <a:pos x="164" y="35"/>
                  </a:cxn>
                  <a:cxn ang="0">
                    <a:pos x="158" y="22"/>
                  </a:cxn>
                  <a:cxn ang="0">
                    <a:pos x="145" y="17"/>
                  </a:cxn>
                  <a:cxn ang="0">
                    <a:pos x="130" y="17"/>
                  </a:cxn>
                  <a:cxn ang="0">
                    <a:pos x="117" y="13"/>
                  </a:cxn>
                  <a:cxn ang="0">
                    <a:pos x="105" y="13"/>
                  </a:cxn>
                  <a:cxn ang="0">
                    <a:pos x="83" y="9"/>
                  </a:cxn>
                  <a:cxn ang="0">
                    <a:pos x="70" y="6"/>
                  </a:cxn>
                  <a:cxn ang="0">
                    <a:pos x="58" y="2"/>
                  </a:cxn>
                  <a:cxn ang="0">
                    <a:pos x="38" y="7"/>
                  </a:cxn>
                  <a:cxn ang="0">
                    <a:pos x="30" y="21"/>
                  </a:cxn>
                  <a:cxn ang="0">
                    <a:pos x="17" y="4"/>
                  </a:cxn>
                  <a:cxn ang="0">
                    <a:pos x="2" y="21"/>
                  </a:cxn>
                  <a:cxn ang="0">
                    <a:pos x="5" y="39"/>
                  </a:cxn>
                  <a:cxn ang="0">
                    <a:pos x="15" y="48"/>
                  </a:cxn>
                  <a:cxn ang="0">
                    <a:pos x="19" y="60"/>
                  </a:cxn>
                  <a:cxn ang="0">
                    <a:pos x="21" y="76"/>
                  </a:cxn>
                  <a:cxn ang="0">
                    <a:pos x="26" y="93"/>
                  </a:cxn>
                  <a:cxn ang="0">
                    <a:pos x="49" y="116"/>
                  </a:cxn>
                  <a:cxn ang="0">
                    <a:pos x="62" y="131"/>
                  </a:cxn>
                  <a:cxn ang="0">
                    <a:pos x="76" y="147"/>
                  </a:cxn>
                  <a:cxn ang="0">
                    <a:pos x="78" y="158"/>
                  </a:cxn>
                  <a:cxn ang="0">
                    <a:pos x="81" y="165"/>
                  </a:cxn>
                  <a:cxn ang="0">
                    <a:pos x="86" y="175"/>
                  </a:cxn>
                  <a:cxn ang="0">
                    <a:pos x="94" y="187"/>
                  </a:cxn>
                  <a:cxn ang="0">
                    <a:pos x="98" y="191"/>
                  </a:cxn>
                  <a:cxn ang="0">
                    <a:pos x="104" y="192"/>
                  </a:cxn>
                  <a:cxn ang="0">
                    <a:pos x="112" y="203"/>
                  </a:cxn>
                  <a:cxn ang="0">
                    <a:pos x="131" y="214"/>
                  </a:cxn>
                  <a:cxn ang="0">
                    <a:pos x="140" y="223"/>
                  </a:cxn>
                  <a:cxn ang="0">
                    <a:pos x="143" y="209"/>
                  </a:cxn>
                  <a:cxn ang="0">
                    <a:pos x="140" y="200"/>
                  </a:cxn>
                  <a:cxn ang="0">
                    <a:pos x="143" y="189"/>
                  </a:cxn>
                  <a:cxn ang="0">
                    <a:pos x="147" y="180"/>
                  </a:cxn>
                  <a:cxn ang="0">
                    <a:pos x="150" y="167"/>
                  </a:cxn>
                  <a:cxn ang="0">
                    <a:pos x="163" y="158"/>
                  </a:cxn>
                  <a:cxn ang="0">
                    <a:pos x="171" y="164"/>
                  </a:cxn>
                  <a:cxn ang="0">
                    <a:pos x="168" y="151"/>
                  </a:cxn>
                  <a:cxn ang="0">
                    <a:pos x="166" y="142"/>
                  </a:cxn>
                  <a:cxn ang="0">
                    <a:pos x="178" y="144"/>
                  </a:cxn>
                  <a:cxn ang="0">
                    <a:pos x="184" y="138"/>
                  </a:cxn>
                  <a:cxn ang="0">
                    <a:pos x="193" y="143"/>
                  </a:cxn>
                  <a:cxn ang="0">
                    <a:pos x="197" y="133"/>
                  </a:cxn>
                  <a:cxn ang="0">
                    <a:pos x="189" y="117"/>
                  </a:cxn>
                  <a:cxn ang="0">
                    <a:pos x="183" y="105"/>
                  </a:cxn>
                  <a:cxn ang="0">
                    <a:pos x="203" y="106"/>
                  </a:cxn>
                </a:cxnLst>
                <a:rect l="0" t="0" r="r" b="b"/>
                <a:pathLst>
                  <a:path w="204" h="225">
                    <a:moveTo>
                      <a:pt x="204" y="100"/>
                    </a:moveTo>
                    <a:cubicBezTo>
                      <a:pt x="204" y="99"/>
                      <a:pt x="201" y="98"/>
                      <a:pt x="200" y="98"/>
                    </a:cubicBezTo>
                    <a:cubicBezTo>
                      <a:pt x="199" y="98"/>
                      <a:pt x="197" y="97"/>
                      <a:pt x="196" y="96"/>
                    </a:cubicBezTo>
                    <a:cubicBezTo>
                      <a:pt x="195" y="96"/>
                      <a:pt x="194" y="95"/>
                      <a:pt x="193" y="94"/>
                    </a:cubicBezTo>
                    <a:cubicBezTo>
                      <a:pt x="193" y="94"/>
                      <a:pt x="192" y="93"/>
                      <a:pt x="192" y="94"/>
                    </a:cubicBezTo>
                    <a:cubicBezTo>
                      <a:pt x="192" y="93"/>
                      <a:pt x="192" y="93"/>
                      <a:pt x="192" y="93"/>
                    </a:cubicBezTo>
                    <a:cubicBezTo>
                      <a:pt x="191" y="92"/>
                      <a:pt x="191" y="91"/>
                      <a:pt x="190" y="90"/>
                    </a:cubicBezTo>
                    <a:cubicBezTo>
                      <a:pt x="189" y="89"/>
                      <a:pt x="188" y="88"/>
                      <a:pt x="188" y="87"/>
                    </a:cubicBezTo>
                    <a:cubicBezTo>
                      <a:pt x="188" y="86"/>
                      <a:pt x="188" y="84"/>
                      <a:pt x="189" y="83"/>
                    </a:cubicBezTo>
                    <a:cubicBezTo>
                      <a:pt x="190" y="83"/>
                      <a:pt x="191" y="83"/>
                      <a:pt x="191" y="83"/>
                    </a:cubicBezTo>
                    <a:cubicBezTo>
                      <a:pt x="191" y="82"/>
                      <a:pt x="191" y="82"/>
                      <a:pt x="192" y="82"/>
                    </a:cubicBezTo>
                    <a:cubicBezTo>
                      <a:pt x="192" y="81"/>
                      <a:pt x="192" y="81"/>
                      <a:pt x="192" y="80"/>
                    </a:cubicBezTo>
                    <a:cubicBezTo>
                      <a:pt x="192" y="79"/>
                      <a:pt x="193" y="78"/>
                      <a:pt x="193" y="77"/>
                    </a:cubicBezTo>
                    <a:cubicBezTo>
                      <a:pt x="192" y="75"/>
                      <a:pt x="189" y="76"/>
                      <a:pt x="187" y="76"/>
                    </a:cubicBezTo>
                    <a:cubicBezTo>
                      <a:pt x="186" y="76"/>
                      <a:pt x="184" y="75"/>
                      <a:pt x="183" y="75"/>
                    </a:cubicBezTo>
                    <a:cubicBezTo>
                      <a:pt x="182" y="75"/>
                      <a:pt x="182" y="74"/>
                      <a:pt x="181" y="74"/>
                    </a:cubicBezTo>
                    <a:cubicBezTo>
                      <a:pt x="180" y="74"/>
                      <a:pt x="181" y="73"/>
                      <a:pt x="181" y="73"/>
                    </a:cubicBezTo>
                    <a:cubicBezTo>
                      <a:pt x="180" y="72"/>
                      <a:pt x="179" y="72"/>
                      <a:pt x="179" y="71"/>
                    </a:cubicBezTo>
                    <a:cubicBezTo>
                      <a:pt x="179" y="71"/>
                      <a:pt x="179" y="70"/>
                      <a:pt x="179" y="70"/>
                    </a:cubicBezTo>
                    <a:cubicBezTo>
                      <a:pt x="179" y="69"/>
                      <a:pt x="179" y="68"/>
                      <a:pt x="179" y="68"/>
                    </a:cubicBezTo>
                    <a:cubicBezTo>
                      <a:pt x="179" y="67"/>
                      <a:pt x="179" y="67"/>
                      <a:pt x="180" y="66"/>
                    </a:cubicBezTo>
                    <a:cubicBezTo>
                      <a:pt x="180" y="65"/>
                      <a:pt x="180" y="65"/>
                      <a:pt x="181" y="64"/>
                    </a:cubicBezTo>
                    <a:cubicBezTo>
                      <a:pt x="182" y="58"/>
                      <a:pt x="185" y="53"/>
                      <a:pt x="189" y="49"/>
                    </a:cubicBezTo>
                    <a:cubicBezTo>
                      <a:pt x="191" y="41"/>
                      <a:pt x="191" y="41"/>
                      <a:pt x="191" y="41"/>
                    </a:cubicBezTo>
                    <a:cubicBezTo>
                      <a:pt x="190" y="38"/>
                      <a:pt x="186" y="33"/>
                      <a:pt x="179" y="28"/>
                    </a:cubicBezTo>
                    <a:cubicBezTo>
                      <a:pt x="180" y="31"/>
                      <a:pt x="174" y="32"/>
                      <a:pt x="172" y="33"/>
                    </a:cubicBezTo>
                    <a:cubicBezTo>
                      <a:pt x="170" y="34"/>
                      <a:pt x="168" y="34"/>
                      <a:pt x="166" y="35"/>
                    </a:cubicBezTo>
                    <a:cubicBezTo>
                      <a:pt x="166" y="35"/>
                      <a:pt x="165" y="35"/>
                      <a:pt x="164" y="35"/>
                    </a:cubicBezTo>
                    <a:cubicBezTo>
                      <a:pt x="162" y="34"/>
                      <a:pt x="163" y="34"/>
                      <a:pt x="162" y="34"/>
                    </a:cubicBezTo>
                    <a:cubicBezTo>
                      <a:pt x="160" y="33"/>
                      <a:pt x="159" y="31"/>
                      <a:pt x="159" y="29"/>
                    </a:cubicBezTo>
                    <a:cubicBezTo>
                      <a:pt x="159" y="27"/>
                      <a:pt x="160" y="27"/>
                      <a:pt x="161" y="25"/>
                    </a:cubicBezTo>
                    <a:cubicBezTo>
                      <a:pt x="161" y="24"/>
                      <a:pt x="159" y="23"/>
                      <a:pt x="158" y="22"/>
                    </a:cubicBezTo>
                    <a:cubicBezTo>
                      <a:pt x="158" y="22"/>
                      <a:pt x="157" y="21"/>
                      <a:pt x="157" y="21"/>
                    </a:cubicBezTo>
                    <a:cubicBezTo>
                      <a:pt x="157" y="20"/>
                      <a:pt x="157" y="19"/>
                      <a:pt x="157" y="19"/>
                    </a:cubicBezTo>
                    <a:cubicBezTo>
                      <a:pt x="156" y="17"/>
                      <a:pt x="152" y="15"/>
                      <a:pt x="151" y="18"/>
                    </a:cubicBezTo>
                    <a:cubicBezTo>
                      <a:pt x="150" y="18"/>
                      <a:pt x="147" y="18"/>
                      <a:pt x="145" y="17"/>
                    </a:cubicBezTo>
                    <a:cubicBezTo>
                      <a:pt x="144" y="17"/>
                      <a:pt x="143" y="16"/>
                      <a:pt x="143" y="15"/>
                    </a:cubicBezTo>
                    <a:cubicBezTo>
                      <a:pt x="141" y="15"/>
                      <a:pt x="140" y="14"/>
                      <a:pt x="139" y="14"/>
                    </a:cubicBezTo>
                    <a:cubicBezTo>
                      <a:pt x="136" y="13"/>
                      <a:pt x="133" y="11"/>
                      <a:pt x="130" y="12"/>
                    </a:cubicBezTo>
                    <a:cubicBezTo>
                      <a:pt x="129" y="13"/>
                      <a:pt x="130" y="15"/>
                      <a:pt x="130" y="17"/>
                    </a:cubicBezTo>
                    <a:cubicBezTo>
                      <a:pt x="128" y="17"/>
                      <a:pt x="125" y="16"/>
                      <a:pt x="124" y="14"/>
                    </a:cubicBezTo>
                    <a:cubicBezTo>
                      <a:pt x="123" y="13"/>
                      <a:pt x="123" y="11"/>
                      <a:pt x="121" y="11"/>
                    </a:cubicBezTo>
                    <a:cubicBezTo>
                      <a:pt x="120" y="10"/>
                      <a:pt x="119" y="11"/>
                      <a:pt x="118" y="12"/>
                    </a:cubicBezTo>
                    <a:cubicBezTo>
                      <a:pt x="118" y="13"/>
                      <a:pt x="117" y="13"/>
                      <a:pt x="117" y="13"/>
                    </a:cubicBezTo>
                    <a:cubicBezTo>
                      <a:pt x="117" y="14"/>
                      <a:pt x="117" y="15"/>
                      <a:pt x="117" y="15"/>
                    </a:cubicBezTo>
                    <a:cubicBezTo>
                      <a:pt x="116" y="16"/>
                      <a:pt x="115" y="16"/>
                      <a:pt x="113" y="16"/>
                    </a:cubicBezTo>
                    <a:cubicBezTo>
                      <a:pt x="112" y="16"/>
                      <a:pt x="111" y="17"/>
                      <a:pt x="109" y="17"/>
                    </a:cubicBezTo>
                    <a:cubicBezTo>
                      <a:pt x="108" y="15"/>
                      <a:pt x="107" y="13"/>
                      <a:pt x="105" y="13"/>
                    </a:cubicBezTo>
                    <a:cubicBezTo>
                      <a:pt x="99" y="12"/>
                      <a:pt x="94" y="14"/>
                      <a:pt x="89" y="14"/>
                    </a:cubicBezTo>
                    <a:cubicBezTo>
                      <a:pt x="89" y="13"/>
                      <a:pt x="89" y="12"/>
                      <a:pt x="89" y="12"/>
                    </a:cubicBezTo>
                    <a:cubicBezTo>
                      <a:pt x="88" y="10"/>
                      <a:pt x="87" y="10"/>
                      <a:pt x="85" y="10"/>
                    </a:cubicBezTo>
                    <a:cubicBezTo>
                      <a:pt x="84" y="10"/>
                      <a:pt x="84" y="10"/>
                      <a:pt x="83" y="9"/>
                    </a:cubicBezTo>
                    <a:cubicBezTo>
                      <a:pt x="82" y="8"/>
                      <a:pt x="83" y="6"/>
                      <a:pt x="81" y="6"/>
                    </a:cubicBezTo>
                    <a:cubicBezTo>
                      <a:pt x="79" y="8"/>
                      <a:pt x="80" y="12"/>
                      <a:pt x="76" y="11"/>
                    </a:cubicBezTo>
                    <a:cubicBezTo>
                      <a:pt x="74" y="11"/>
                      <a:pt x="75" y="10"/>
                      <a:pt x="73" y="9"/>
                    </a:cubicBezTo>
                    <a:cubicBezTo>
                      <a:pt x="72" y="7"/>
                      <a:pt x="71" y="7"/>
                      <a:pt x="70" y="6"/>
                    </a:cubicBezTo>
                    <a:cubicBezTo>
                      <a:pt x="70" y="5"/>
                      <a:pt x="70" y="5"/>
                      <a:pt x="70" y="4"/>
                    </a:cubicBezTo>
                    <a:cubicBezTo>
                      <a:pt x="69" y="4"/>
                      <a:pt x="67" y="4"/>
                      <a:pt x="66" y="4"/>
                    </a:cubicBezTo>
                    <a:cubicBezTo>
                      <a:pt x="64" y="4"/>
                      <a:pt x="64" y="4"/>
                      <a:pt x="63" y="3"/>
                    </a:cubicBezTo>
                    <a:cubicBezTo>
                      <a:pt x="62" y="2"/>
                      <a:pt x="59" y="0"/>
                      <a:pt x="58" y="2"/>
                    </a:cubicBezTo>
                    <a:cubicBezTo>
                      <a:pt x="58" y="3"/>
                      <a:pt x="58" y="5"/>
                      <a:pt x="58" y="6"/>
                    </a:cubicBezTo>
                    <a:cubicBezTo>
                      <a:pt x="55" y="6"/>
                      <a:pt x="51" y="4"/>
                      <a:pt x="48" y="4"/>
                    </a:cubicBezTo>
                    <a:cubicBezTo>
                      <a:pt x="46" y="4"/>
                      <a:pt x="44" y="4"/>
                      <a:pt x="42" y="4"/>
                    </a:cubicBezTo>
                    <a:cubicBezTo>
                      <a:pt x="40" y="5"/>
                      <a:pt x="39" y="6"/>
                      <a:pt x="38" y="7"/>
                    </a:cubicBezTo>
                    <a:cubicBezTo>
                      <a:pt x="38" y="8"/>
                      <a:pt x="37" y="9"/>
                      <a:pt x="36" y="11"/>
                    </a:cubicBezTo>
                    <a:cubicBezTo>
                      <a:pt x="36" y="12"/>
                      <a:pt x="35" y="13"/>
                      <a:pt x="34" y="15"/>
                    </a:cubicBezTo>
                    <a:cubicBezTo>
                      <a:pt x="34" y="16"/>
                      <a:pt x="34" y="17"/>
                      <a:pt x="33" y="18"/>
                    </a:cubicBezTo>
                    <a:cubicBezTo>
                      <a:pt x="32" y="19"/>
                      <a:pt x="31" y="20"/>
                      <a:pt x="30" y="21"/>
                    </a:cubicBezTo>
                    <a:cubicBezTo>
                      <a:pt x="27" y="21"/>
                      <a:pt x="26" y="19"/>
                      <a:pt x="25" y="16"/>
                    </a:cubicBezTo>
                    <a:cubicBezTo>
                      <a:pt x="24" y="14"/>
                      <a:pt x="22" y="13"/>
                      <a:pt x="21" y="11"/>
                    </a:cubicBezTo>
                    <a:cubicBezTo>
                      <a:pt x="20" y="10"/>
                      <a:pt x="20" y="9"/>
                      <a:pt x="19" y="7"/>
                    </a:cubicBezTo>
                    <a:cubicBezTo>
                      <a:pt x="18" y="6"/>
                      <a:pt x="18" y="5"/>
                      <a:pt x="17" y="4"/>
                    </a:cubicBezTo>
                    <a:cubicBezTo>
                      <a:pt x="16" y="3"/>
                      <a:pt x="15" y="3"/>
                      <a:pt x="13" y="3"/>
                    </a:cubicBezTo>
                    <a:cubicBezTo>
                      <a:pt x="12" y="3"/>
                      <a:pt x="10" y="2"/>
                      <a:pt x="9" y="2"/>
                    </a:cubicBezTo>
                    <a:cubicBezTo>
                      <a:pt x="5" y="3"/>
                      <a:pt x="2" y="6"/>
                      <a:pt x="2" y="9"/>
                    </a:cubicBezTo>
                    <a:cubicBezTo>
                      <a:pt x="2" y="13"/>
                      <a:pt x="3" y="17"/>
                      <a:pt x="2" y="21"/>
                    </a:cubicBezTo>
                    <a:cubicBezTo>
                      <a:pt x="1" y="23"/>
                      <a:pt x="0" y="26"/>
                      <a:pt x="1" y="29"/>
                    </a:cubicBezTo>
                    <a:cubicBezTo>
                      <a:pt x="1" y="30"/>
                      <a:pt x="2" y="30"/>
                      <a:pt x="2" y="31"/>
                    </a:cubicBezTo>
                    <a:cubicBezTo>
                      <a:pt x="2" y="33"/>
                      <a:pt x="2" y="34"/>
                      <a:pt x="3" y="36"/>
                    </a:cubicBezTo>
                    <a:cubicBezTo>
                      <a:pt x="3" y="37"/>
                      <a:pt x="4" y="38"/>
                      <a:pt x="5" y="39"/>
                    </a:cubicBezTo>
                    <a:cubicBezTo>
                      <a:pt x="5" y="40"/>
                      <a:pt x="6" y="40"/>
                      <a:pt x="6" y="41"/>
                    </a:cubicBezTo>
                    <a:cubicBezTo>
                      <a:pt x="6" y="41"/>
                      <a:pt x="7" y="42"/>
                      <a:pt x="7" y="42"/>
                    </a:cubicBezTo>
                    <a:cubicBezTo>
                      <a:pt x="9" y="44"/>
                      <a:pt x="11" y="48"/>
                      <a:pt x="14" y="48"/>
                    </a:cubicBezTo>
                    <a:cubicBezTo>
                      <a:pt x="14" y="48"/>
                      <a:pt x="14" y="48"/>
                      <a:pt x="15" y="48"/>
                    </a:cubicBezTo>
                    <a:cubicBezTo>
                      <a:pt x="16" y="48"/>
                      <a:pt x="16" y="49"/>
                      <a:pt x="17" y="50"/>
                    </a:cubicBezTo>
                    <a:cubicBezTo>
                      <a:pt x="18" y="52"/>
                      <a:pt x="18" y="54"/>
                      <a:pt x="18" y="57"/>
                    </a:cubicBezTo>
                    <a:cubicBezTo>
                      <a:pt x="18" y="57"/>
                      <a:pt x="18" y="58"/>
                      <a:pt x="18" y="59"/>
                    </a:cubicBezTo>
                    <a:cubicBezTo>
                      <a:pt x="18" y="59"/>
                      <a:pt x="19" y="60"/>
                      <a:pt x="19" y="60"/>
                    </a:cubicBezTo>
                    <a:cubicBezTo>
                      <a:pt x="19" y="61"/>
                      <a:pt x="19" y="62"/>
                      <a:pt x="19" y="62"/>
                    </a:cubicBezTo>
                    <a:cubicBezTo>
                      <a:pt x="19" y="66"/>
                      <a:pt x="19" y="69"/>
                      <a:pt x="19" y="72"/>
                    </a:cubicBezTo>
                    <a:cubicBezTo>
                      <a:pt x="19" y="73"/>
                      <a:pt x="19" y="74"/>
                      <a:pt x="19" y="74"/>
                    </a:cubicBezTo>
                    <a:cubicBezTo>
                      <a:pt x="19" y="75"/>
                      <a:pt x="20" y="75"/>
                      <a:pt x="21" y="76"/>
                    </a:cubicBezTo>
                    <a:cubicBezTo>
                      <a:pt x="21" y="77"/>
                      <a:pt x="21" y="78"/>
                      <a:pt x="21" y="79"/>
                    </a:cubicBezTo>
                    <a:cubicBezTo>
                      <a:pt x="21" y="81"/>
                      <a:pt x="23" y="83"/>
                      <a:pt x="24" y="85"/>
                    </a:cubicBezTo>
                    <a:cubicBezTo>
                      <a:pt x="25" y="86"/>
                      <a:pt x="25" y="88"/>
                      <a:pt x="26" y="90"/>
                    </a:cubicBezTo>
                    <a:cubicBezTo>
                      <a:pt x="26" y="91"/>
                      <a:pt x="26" y="92"/>
                      <a:pt x="26" y="93"/>
                    </a:cubicBezTo>
                    <a:cubicBezTo>
                      <a:pt x="26" y="94"/>
                      <a:pt x="27" y="95"/>
                      <a:pt x="28" y="96"/>
                    </a:cubicBezTo>
                    <a:cubicBezTo>
                      <a:pt x="31" y="99"/>
                      <a:pt x="35" y="102"/>
                      <a:pt x="39" y="103"/>
                    </a:cubicBezTo>
                    <a:cubicBezTo>
                      <a:pt x="43" y="104"/>
                      <a:pt x="45" y="107"/>
                      <a:pt x="47" y="111"/>
                    </a:cubicBezTo>
                    <a:cubicBezTo>
                      <a:pt x="47" y="112"/>
                      <a:pt x="48" y="115"/>
                      <a:pt x="49" y="116"/>
                    </a:cubicBezTo>
                    <a:cubicBezTo>
                      <a:pt x="49" y="116"/>
                      <a:pt x="50" y="117"/>
                      <a:pt x="51" y="118"/>
                    </a:cubicBezTo>
                    <a:cubicBezTo>
                      <a:pt x="52" y="119"/>
                      <a:pt x="53" y="120"/>
                      <a:pt x="53" y="121"/>
                    </a:cubicBezTo>
                    <a:cubicBezTo>
                      <a:pt x="55" y="123"/>
                      <a:pt x="56" y="126"/>
                      <a:pt x="58" y="128"/>
                    </a:cubicBezTo>
                    <a:cubicBezTo>
                      <a:pt x="60" y="129"/>
                      <a:pt x="61" y="130"/>
                      <a:pt x="62" y="131"/>
                    </a:cubicBezTo>
                    <a:cubicBezTo>
                      <a:pt x="62" y="132"/>
                      <a:pt x="63" y="133"/>
                      <a:pt x="63" y="134"/>
                    </a:cubicBezTo>
                    <a:cubicBezTo>
                      <a:pt x="66" y="136"/>
                      <a:pt x="69" y="139"/>
                      <a:pt x="72" y="142"/>
                    </a:cubicBezTo>
                    <a:cubicBezTo>
                      <a:pt x="73" y="143"/>
                      <a:pt x="75" y="143"/>
                      <a:pt x="75" y="144"/>
                    </a:cubicBezTo>
                    <a:cubicBezTo>
                      <a:pt x="76" y="145"/>
                      <a:pt x="76" y="146"/>
                      <a:pt x="76" y="147"/>
                    </a:cubicBezTo>
                    <a:cubicBezTo>
                      <a:pt x="76" y="148"/>
                      <a:pt x="76" y="149"/>
                      <a:pt x="76" y="150"/>
                    </a:cubicBezTo>
                    <a:cubicBezTo>
                      <a:pt x="76" y="152"/>
                      <a:pt x="76" y="153"/>
                      <a:pt x="77" y="155"/>
                    </a:cubicBezTo>
                    <a:cubicBezTo>
                      <a:pt x="77" y="155"/>
                      <a:pt x="77" y="156"/>
                      <a:pt x="77" y="157"/>
                    </a:cubicBezTo>
                    <a:cubicBezTo>
                      <a:pt x="77" y="157"/>
                      <a:pt x="78" y="158"/>
                      <a:pt x="78" y="158"/>
                    </a:cubicBezTo>
                    <a:cubicBezTo>
                      <a:pt x="79" y="159"/>
                      <a:pt x="79" y="160"/>
                      <a:pt x="79" y="160"/>
                    </a:cubicBezTo>
                    <a:cubicBezTo>
                      <a:pt x="79" y="161"/>
                      <a:pt x="79" y="161"/>
                      <a:pt x="79" y="161"/>
                    </a:cubicBezTo>
                    <a:cubicBezTo>
                      <a:pt x="80" y="162"/>
                      <a:pt x="81" y="162"/>
                      <a:pt x="81" y="162"/>
                    </a:cubicBezTo>
                    <a:cubicBezTo>
                      <a:pt x="81" y="163"/>
                      <a:pt x="81" y="164"/>
                      <a:pt x="81" y="165"/>
                    </a:cubicBezTo>
                    <a:cubicBezTo>
                      <a:pt x="81" y="166"/>
                      <a:pt x="81" y="167"/>
                      <a:pt x="81" y="168"/>
                    </a:cubicBezTo>
                    <a:cubicBezTo>
                      <a:pt x="80" y="169"/>
                      <a:pt x="79" y="170"/>
                      <a:pt x="79" y="171"/>
                    </a:cubicBezTo>
                    <a:cubicBezTo>
                      <a:pt x="80" y="172"/>
                      <a:pt x="84" y="172"/>
                      <a:pt x="85" y="173"/>
                    </a:cubicBezTo>
                    <a:cubicBezTo>
                      <a:pt x="86" y="173"/>
                      <a:pt x="86" y="174"/>
                      <a:pt x="86" y="175"/>
                    </a:cubicBezTo>
                    <a:cubicBezTo>
                      <a:pt x="88" y="178"/>
                      <a:pt x="91" y="180"/>
                      <a:pt x="91" y="182"/>
                    </a:cubicBezTo>
                    <a:cubicBezTo>
                      <a:pt x="92" y="183"/>
                      <a:pt x="91" y="184"/>
                      <a:pt x="92" y="185"/>
                    </a:cubicBezTo>
                    <a:cubicBezTo>
                      <a:pt x="92" y="185"/>
                      <a:pt x="93" y="186"/>
                      <a:pt x="93" y="186"/>
                    </a:cubicBezTo>
                    <a:cubicBezTo>
                      <a:pt x="93" y="186"/>
                      <a:pt x="93" y="187"/>
                      <a:pt x="94" y="187"/>
                    </a:cubicBezTo>
                    <a:cubicBezTo>
                      <a:pt x="93" y="188"/>
                      <a:pt x="89" y="188"/>
                      <a:pt x="88" y="188"/>
                    </a:cubicBezTo>
                    <a:cubicBezTo>
                      <a:pt x="88" y="189"/>
                      <a:pt x="89" y="190"/>
                      <a:pt x="90" y="191"/>
                    </a:cubicBezTo>
                    <a:cubicBezTo>
                      <a:pt x="90" y="192"/>
                      <a:pt x="91" y="194"/>
                      <a:pt x="92" y="194"/>
                    </a:cubicBezTo>
                    <a:cubicBezTo>
                      <a:pt x="93" y="192"/>
                      <a:pt x="97" y="191"/>
                      <a:pt x="98" y="191"/>
                    </a:cubicBezTo>
                    <a:cubicBezTo>
                      <a:pt x="99" y="191"/>
                      <a:pt x="100" y="190"/>
                      <a:pt x="100" y="190"/>
                    </a:cubicBezTo>
                    <a:cubicBezTo>
                      <a:pt x="101" y="190"/>
                      <a:pt x="102" y="189"/>
                      <a:pt x="103" y="190"/>
                    </a:cubicBezTo>
                    <a:cubicBezTo>
                      <a:pt x="103" y="190"/>
                      <a:pt x="103" y="191"/>
                      <a:pt x="103" y="191"/>
                    </a:cubicBezTo>
                    <a:cubicBezTo>
                      <a:pt x="103" y="191"/>
                      <a:pt x="104" y="191"/>
                      <a:pt x="104" y="192"/>
                    </a:cubicBezTo>
                    <a:cubicBezTo>
                      <a:pt x="104" y="192"/>
                      <a:pt x="104" y="192"/>
                      <a:pt x="104" y="193"/>
                    </a:cubicBezTo>
                    <a:cubicBezTo>
                      <a:pt x="105" y="194"/>
                      <a:pt x="106" y="195"/>
                      <a:pt x="107" y="196"/>
                    </a:cubicBezTo>
                    <a:cubicBezTo>
                      <a:pt x="108" y="197"/>
                      <a:pt x="108" y="198"/>
                      <a:pt x="108" y="199"/>
                    </a:cubicBezTo>
                    <a:cubicBezTo>
                      <a:pt x="109" y="200"/>
                      <a:pt x="110" y="202"/>
                      <a:pt x="112" y="203"/>
                    </a:cubicBezTo>
                    <a:cubicBezTo>
                      <a:pt x="113" y="204"/>
                      <a:pt x="115" y="206"/>
                      <a:pt x="117" y="207"/>
                    </a:cubicBezTo>
                    <a:cubicBezTo>
                      <a:pt x="119" y="209"/>
                      <a:pt x="121" y="210"/>
                      <a:pt x="122" y="211"/>
                    </a:cubicBezTo>
                    <a:cubicBezTo>
                      <a:pt x="123" y="211"/>
                      <a:pt x="124" y="212"/>
                      <a:pt x="125" y="213"/>
                    </a:cubicBezTo>
                    <a:cubicBezTo>
                      <a:pt x="125" y="215"/>
                      <a:pt x="130" y="214"/>
                      <a:pt x="131" y="214"/>
                    </a:cubicBezTo>
                    <a:cubicBezTo>
                      <a:pt x="132" y="214"/>
                      <a:pt x="133" y="216"/>
                      <a:pt x="134" y="217"/>
                    </a:cubicBezTo>
                    <a:cubicBezTo>
                      <a:pt x="135" y="218"/>
                      <a:pt x="135" y="219"/>
                      <a:pt x="135" y="220"/>
                    </a:cubicBezTo>
                    <a:cubicBezTo>
                      <a:pt x="136" y="221"/>
                      <a:pt x="137" y="223"/>
                      <a:pt x="138" y="224"/>
                    </a:cubicBezTo>
                    <a:cubicBezTo>
                      <a:pt x="139" y="225"/>
                      <a:pt x="139" y="224"/>
                      <a:pt x="140" y="223"/>
                    </a:cubicBezTo>
                    <a:cubicBezTo>
                      <a:pt x="140" y="223"/>
                      <a:pt x="140" y="222"/>
                      <a:pt x="140" y="222"/>
                    </a:cubicBezTo>
                    <a:cubicBezTo>
                      <a:pt x="141" y="222"/>
                      <a:pt x="141" y="221"/>
                      <a:pt x="141" y="221"/>
                    </a:cubicBezTo>
                    <a:cubicBezTo>
                      <a:pt x="143" y="219"/>
                      <a:pt x="143" y="214"/>
                      <a:pt x="143" y="211"/>
                    </a:cubicBezTo>
                    <a:cubicBezTo>
                      <a:pt x="143" y="210"/>
                      <a:pt x="143" y="209"/>
                      <a:pt x="143" y="209"/>
                    </a:cubicBezTo>
                    <a:cubicBezTo>
                      <a:pt x="143" y="208"/>
                      <a:pt x="142" y="207"/>
                      <a:pt x="142" y="207"/>
                    </a:cubicBezTo>
                    <a:cubicBezTo>
                      <a:pt x="142" y="206"/>
                      <a:pt x="142" y="206"/>
                      <a:pt x="141" y="206"/>
                    </a:cubicBezTo>
                    <a:cubicBezTo>
                      <a:pt x="141" y="206"/>
                      <a:pt x="141" y="204"/>
                      <a:pt x="140" y="204"/>
                    </a:cubicBezTo>
                    <a:cubicBezTo>
                      <a:pt x="140" y="202"/>
                      <a:pt x="140" y="201"/>
                      <a:pt x="140" y="200"/>
                    </a:cubicBezTo>
                    <a:cubicBezTo>
                      <a:pt x="140" y="198"/>
                      <a:pt x="139" y="198"/>
                      <a:pt x="139" y="197"/>
                    </a:cubicBezTo>
                    <a:cubicBezTo>
                      <a:pt x="139" y="196"/>
                      <a:pt x="140" y="195"/>
                      <a:pt x="140" y="195"/>
                    </a:cubicBezTo>
                    <a:cubicBezTo>
                      <a:pt x="141" y="193"/>
                      <a:pt x="142" y="192"/>
                      <a:pt x="143" y="190"/>
                    </a:cubicBezTo>
                    <a:cubicBezTo>
                      <a:pt x="143" y="190"/>
                      <a:pt x="143" y="189"/>
                      <a:pt x="143" y="189"/>
                    </a:cubicBezTo>
                    <a:cubicBezTo>
                      <a:pt x="143" y="188"/>
                      <a:pt x="143" y="188"/>
                      <a:pt x="143" y="188"/>
                    </a:cubicBezTo>
                    <a:cubicBezTo>
                      <a:pt x="144" y="187"/>
                      <a:pt x="144" y="185"/>
                      <a:pt x="144" y="184"/>
                    </a:cubicBezTo>
                    <a:cubicBezTo>
                      <a:pt x="145" y="183"/>
                      <a:pt x="147" y="183"/>
                      <a:pt x="147" y="182"/>
                    </a:cubicBezTo>
                    <a:cubicBezTo>
                      <a:pt x="148" y="181"/>
                      <a:pt x="147" y="181"/>
                      <a:pt x="147" y="180"/>
                    </a:cubicBezTo>
                    <a:cubicBezTo>
                      <a:pt x="148" y="179"/>
                      <a:pt x="148" y="178"/>
                      <a:pt x="148" y="177"/>
                    </a:cubicBezTo>
                    <a:cubicBezTo>
                      <a:pt x="149" y="176"/>
                      <a:pt x="149" y="175"/>
                      <a:pt x="149" y="173"/>
                    </a:cubicBezTo>
                    <a:cubicBezTo>
                      <a:pt x="149" y="172"/>
                      <a:pt x="148" y="171"/>
                      <a:pt x="148" y="170"/>
                    </a:cubicBezTo>
                    <a:cubicBezTo>
                      <a:pt x="148" y="169"/>
                      <a:pt x="149" y="168"/>
                      <a:pt x="150" y="167"/>
                    </a:cubicBezTo>
                    <a:cubicBezTo>
                      <a:pt x="152" y="166"/>
                      <a:pt x="154" y="164"/>
                      <a:pt x="155" y="163"/>
                    </a:cubicBezTo>
                    <a:cubicBezTo>
                      <a:pt x="155" y="162"/>
                      <a:pt x="155" y="162"/>
                      <a:pt x="156" y="162"/>
                    </a:cubicBezTo>
                    <a:cubicBezTo>
                      <a:pt x="156" y="161"/>
                      <a:pt x="157" y="161"/>
                      <a:pt x="157" y="161"/>
                    </a:cubicBezTo>
                    <a:cubicBezTo>
                      <a:pt x="159" y="160"/>
                      <a:pt x="161" y="158"/>
                      <a:pt x="163" y="158"/>
                    </a:cubicBezTo>
                    <a:cubicBezTo>
                      <a:pt x="165" y="158"/>
                      <a:pt x="166" y="159"/>
                      <a:pt x="167" y="161"/>
                    </a:cubicBezTo>
                    <a:cubicBezTo>
                      <a:pt x="167" y="162"/>
                      <a:pt x="167" y="163"/>
                      <a:pt x="168" y="164"/>
                    </a:cubicBezTo>
                    <a:cubicBezTo>
                      <a:pt x="168" y="164"/>
                      <a:pt x="169" y="165"/>
                      <a:pt x="170" y="165"/>
                    </a:cubicBezTo>
                    <a:cubicBezTo>
                      <a:pt x="170" y="164"/>
                      <a:pt x="171" y="165"/>
                      <a:pt x="171" y="164"/>
                    </a:cubicBezTo>
                    <a:cubicBezTo>
                      <a:pt x="172" y="164"/>
                      <a:pt x="172" y="163"/>
                      <a:pt x="172" y="163"/>
                    </a:cubicBezTo>
                    <a:cubicBezTo>
                      <a:pt x="174" y="161"/>
                      <a:pt x="173" y="160"/>
                      <a:pt x="172" y="158"/>
                    </a:cubicBezTo>
                    <a:cubicBezTo>
                      <a:pt x="172" y="157"/>
                      <a:pt x="172" y="156"/>
                      <a:pt x="171" y="155"/>
                    </a:cubicBezTo>
                    <a:cubicBezTo>
                      <a:pt x="170" y="154"/>
                      <a:pt x="169" y="152"/>
                      <a:pt x="168" y="151"/>
                    </a:cubicBezTo>
                    <a:cubicBezTo>
                      <a:pt x="167" y="150"/>
                      <a:pt x="166" y="150"/>
                      <a:pt x="166" y="148"/>
                    </a:cubicBezTo>
                    <a:cubicBezTo>
                      <a:pt x="166" y="147"/>
                      <a:pt x="165" y="145"/>
                      <a:pt x="166" y="144"/>
                    </a:cubicBezTo>
                    <a:cubicBezTo>
                      <a:pt x="166" y="144"/>
                      <a:pt x="166" y="144"/>
                      <a:pt x="167" y="143"/>
                    </a:cubicBezTo>
                    <a:cubicBezTo>
                      <a:pt x="167" y="143"/>
                      <a:pt x="166" y="142"/>
                      <a:pt x="166" y="142"/>
                    </a:cubicBezTo>
                    <a:cubicBezTo>
                      <a:pt x="167" y="141"/>
                      <a:pt x="167" y="141"/>
                      <a:pt x="168" y="141"/>
                    </a:cubicBezTo>
                    <a:cubicBezTo>
                      <a:pt x="170" y="140"/>
                      <a:pt x="172" y="143"/>
                      <a:pt x="173" y="144"/>
                    </a:cubicBezTo>
                    <a:cubicBezTo>
                      <a:pt x="174" y="145"/>
                      <a:pt x="175" y="145"/>
                      <a:pt x="176" y="145"/>
                    </a:cubicBezTo>
                    <a:cubicBezTo>
                      <a:pt x="177" y="144"/>
                      <a:pt x="178" y="144"/>
                      <a:pt x="178" y="144"/>
                    </a:cubicBezTo>
                    <a:cubicBezTo>
                      <a:pt x="179" y="144"/>
                      <a:pt x="180" y="144"/>
                      <a:pt x="180" y="143"/>
                    </a:cubicBezTo>
                    <a:cubicBezTo>
                      <a:pt x="181" y="143"/>
                      <a:pt x="181" y="142"/>
                      <a:pt x="181" y="141"/>
                    </a:cubicBezTo>
                    <a:cubicBezTo>
                      <a:pt x="181" y="140"/>
                      <a:pt x="182" y="140"/>
                      <a:pt x="183" y="139"/>
                    </a:cubicBezTo>
                    <a:cubicBezTo>
                      <a:pt x="184" y="139"/>
                      <a:pt x="184" y="138"/>
                      <a:pt x="184" y="138"/>
                    </a:cubicBezTo>
                    <a:cubicBezTo>
                      <a:pt x="185" y="137"/>
                      <a:pt x="187" y="135"/>
                      <a:pt x="188" y="136"/>
                    </a:cubicBezTo>
                    <a:cubicBezTo>
                      <a:pt x="188" y="136"/>
                      <a:pt x="188" y="138"/>
                      <a:pt x="189" y="139"/>
                    </a:cubicBezTo>
                    <a:cubicBezTo>
                      <a:pt x="190" y="140"/>
                      <a:pt x="191" y="141"/>
                      <a:pt x="191" y="143"/>
                    </a:cubicBezTo>
                    <a:cubicBezTo>
                      <a:pt x="192" y="143"/>
                      <a:pt x="192" y="144"/>
                      <a:pt x="193" y="143"/>
                    </a:cubicBezTo>
                    <a:cubicBezTo>
                      <a:pt x="194" y="143"/>
                      <a:pt x="193" y="143"/>
                      <a:pt x="194" y="142"/>
                    </a:cubicBezTo>
                    <a:cubicBezTo>
                      <a:pt x="194" y="141"/>
                      <a:pt x="195" y="141"/>
                      <a:pt x="196" y="140"/>
                    </a:cubicBezTo>
                    <a:cubicBezTo>
                      <a:pt x="196" y="139"/>
                      <a:pt x="196" y="138"/>
                      <a:pt x="196" y="137"/>
                    </a:cubicBezTo>
                    <a:cubicBezTo>
                      <a:pt x="196" y="135"/>
                      <a:pt x="197" y="134"/>
                      <a:pt x="197" y="133"/>
                    </a:cubicBezTo>
                    <a:cubicBezTo>
                      <a:pt x="197" y="132"/>
                      <a:pt x="196" y="132"/>
                      <a:pt x="196" y="131"/>
                    </a:cubicBezTo>
                    <a:cubicBezTo>
                      <a:pt x="196" y="131"/>
                      <a:pt x="196" y="130"/>
                      <a:pt x="196" y="130"/>
                    </a:cubicBezTo>
                    <a:cubicBezTo>
                      <a:pt x="196" y="128"/>
                      <a:pt x="195" y="127"/>
                      <a:pt x="194" y="125"/>
                    </a:cubicBezTo>
                    <a:cubicBezTo>
                      <a:pt x="192" y="122"/>
                      <a:pt x="190" y="120"/>
                      <a:pt x="189" y="117"/>
                    </a:cubicBezTo>
                    <a:cubicBezTo>
                      <a:pt x="188" y="116"/>
                      <a:pt x="188" y="115"/>
                      <a:pt x="187" y="114"/>
                    </a:cubicBezTo>
                    <a:cubicBezTo>
                      <a:pt x="186" y="112"/>
                      <a:pt x="186" y="113"/>
                      <a:pt x="184" y="112"/>
                    </a:cubicBezTo>
                    <a:cubicBezTo>
                      <a:pt x="183" y="112"/>
                      <a:pt x="182" y="111"/>
                      <a:pt x="182" y="110"/>
                    </a:cubicBezTo>
                    <a:cubicBezTo>
                      <a:pt x="181" y="109"/>
                      <a:pt x="182" y="106"/>
                      <a:pt x="183" y="105"/>
                    </a:cubicBezTo>
                    <a:cubicBezTo>
                      <a:pt x="184" y="106"/>
                      <a:pt x="185" y="107"/>
                      <a:pt x="186" y="107"/>
                    </a:cubicBezTo>
                    <a:cubicBezTo>
                      <a:pt x="188" y="109"/>
                      <a:pt x="192" y="109"/>
                      <a:pt x="195" y="109"/>
                    </a:cubicBezTo>
                    <a:cubicBezTo>
                      <a:pt x="197" y="109"/>
                      <a:pt x="200" y="109"/>
                      <a:pt x="201" y="108"/>
                    </a:cubicBezTo>
                    <a:cubicBezTo>
                      <a:pt x="202" y="107"/>
                      <a:pt x="202" y="107"/>
                      <a:pt x="203" y="106"/>
                    </a:cubicBezTo>
                    <a:cubicBezTo>
                      <a:pt x="204" y="105"/>
                      <a:pt x="204" y="105"/>
                      <a:pt x="204" y="104"/>
                    </a:cubicBezTo>
                    <a:cubicBezTo>
                      <a:pt x="204" y="104"/>
                      <a:pt x="204" y="103"/>
                      <a:pt x="204" y="102"/>
                    </a:cubicBezTo>
                    <a:cubicBezTo>
                      <a:pt x="204" y="102"/>
                      <a:pt x="204" y="100"/>
                      <a:pt x="204" y="100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12" name="Freeform 28">
                <a:extLst>
                  <a:ext uri="{FF2B5EF4-FFF2-40B4-BE49-F238E27FC236}">
                    <a16:creationId xmlns:a16="http://schemas.microsoft.com/office/drawing/2014/main" id="{6E281A9F-28AC-4A75-8FC1-5681DC8B62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775" y="5527675"/>
                <a:ext cx="280988" cy="252413"/>
              </a:xfrm>
              <a:custGeom>
                <a:avLst/>
                <a:gdLst/>
                <a:ahLst/>
                <a:cxnLst>
                  <a:cxn ang="0">
                    <a:pos x="145" y="47"/>
                  </a:cxn>
                  <a:cxn ang="0">
                    <a:pos x="135" y="45"/>
                  </a:cxn>
                  <a:cxn ang="0">
                    <a:pos x="132" y="40"/>
                  </a:cxn>
                  <a:cxn ang="0">
                    <a:pos x="121" y="36"/>
                  </a:cxn>
                  <a:cxn ang="0">
                    <a:pos x="116" y="31"/>
                  </a:cxn>
                  <a:cxn ang="0">
                    <a:pos x="110" y="28"/>
                  </a:cxn>
                  <a:cxn ang="0">
                    <a:pos x="105" y="20"/>
                  </a:cxn>
                  <a:cxn ang="0">
                    <a:pos x="94" y="10"/>
                  </a:cxn>
                  <a:cxn ang="0">
                    <a:pos x="88" y="3"/>
                  </a:cxn>
                  <a:cxn ang="0">
                    <a:pos x="84" y="5"/>
                  </a:cxn>
                  <a:cxn ang="0">
                    <a:pos x="74" y="2"/>
                  </a:cxn>
                  <a:cxn ang="0">
                    <a:pos x="74" y="8"/>
                  </a:cxn>
                  <a:cxn ang="0">
                    <a:pos x="80" y="18"/>
                  </a:cxn>
                  <a:cxn ang="0">
                    <a:pos x="78" y="25"/>
                  </a:cxn>
                  <a:cxn ang="0">
                    <a:pos x="71" y="18"/>
                  </a:cxn>
                  <a:cxn ang="0">
                    <a:pos x="63" y="23"/>
                  </a:cxn>
                  <a:cxn ang="0">
                    <a:pos x="57" y="33"/>
                  </a:cxn>
                  <a:cxn ang="0">
                    <a:pos x="55" y="42"/>
                  </a:cxn>
                  <a:cxn ang="0">
                    <a:pos x="51" y="49"/>
                  </a:cxn>
                  <a:cxn ang="0">
                    <a:pos x="47" y="57"/>
                  </a:cxn>
                  <a:cxn ang="0">
                    <a:pos x="49" y="66"/>
                  </a:cxn>
                  <a:cxn ang="0">
                    <a:pos x="51" y="71"/>
                  </a:cxn>
                  <a:cxn ang="0">
                    <a:pos x="48" y="83"/>
                  </a:cxn>
                  <a:cxn ang="0">
                    <a:pos x="42" y="77"/>
                  </a:cxn>
                  <a:cxn ang="0">
                    <a:pos x="30" y="71"/>
                  </a:cxn>
                  <a:cxn ang="0">
                    <a:pos x="16" y="59"/>
                  </a:cxn>
                  <a:cxn ang="0">
                    <a:pos x="12" y="52"/>
                  </a:cxn>
                  <a:cxn ang="0">
                    <a:pos x="8" y="50"/>
                  </a:cxn>
                  <a:cxn ang="0">
                    <a:pos x="0" y="54"/>
                  </a:cxn>
                  <a:cxn ang="0">
                    <a:pos x="5" y="59"/>
                  </a:cxn>
                  <a:cxn ang="0">
                    <a:pos x="12" y="62"/>
                  </a:cxn>
                  <a:cxn ang="0">
                    <a:pos x="17" y="66"/>
                  </a:cxn>
                  <a:cxn ang="0">
                    <a:pos x="26" y="75"/>
                  </a:cxn>
                  <a:cxn ang="0">
                    <a:pos x="34" y="82"/>
                  </a:cxn>
                  <a:cxn ang="0">
                    <a:pos x="53" y="94"/>
                  </a:cxn>
                  <a:cxn ang="0">
                    <a:pos x="62" y="104"/>
                  </a:cxn>
                  <a:cxn ang="0">
                    <a:pos x="68" y="106"/>
                  </a:cxn>
                  <a:cxn ang="0">
                    <a:pos x="76" y="116"/>
                  </a:cxn>
                  <a:cxn ang="0">
                    <a:pos x="82" y="131"/>
                  </a:cxn>
                  <a:cxn ang="0">
                    <a:pos x="91" y="133"/>
                  </a:cxn>
                  <a:cxn ang="0">
                    <a:pos x="90" y="111"/>
                  </a:cxn>
                  <a:cxn ang="0">
                    <a:pos x="95" y="98"/>
                  </a:cxn>
                  <a:cxn ang="0">
                    <a:pos x="101" y="88"/>
                  </a:cxn>
                  <a:cxn ang="0">
                    <a:pos x="109" y="76"/>
                  </a:cxn>
                  <a:cxn ang="0">
                    <a:pos x="113" y="81"/>
                  </a:cxn>
                  <a:cxn ang="0">
                    <a:pos x="126" y="88"/>
                  </a:cxn>
                  <a:cxn ang="0">
                    <a:pos x="132" y="81"/>
                  </a:cxn>
                  <a:cxn ang="0">
                    <a:pos x="132" y="70"/>
                  </a:cxn>
                  <a:cxn ang="0">
                    <a:pos x="133" y="64"/>
                  </a:cxn>
                  <a:cxn ang="0">
                    <a:pos x="142" y="62"/>
                  </a:cxn>
                  <a:cxn ang="0">
                    <a:pos x="148" y="59"/>
                  </a:cxn>
                </a:cxnLst>
                <a:rect l="0" t="0" r="r" b="b"/>
                <a:pathLst>
                  <a:path w="150" h="135">
                    <a:moveTo>
                      <a:pt x="147" y="51"/>
                    </a:moveTo>
                    <a:cubicBezTo>
                      <a:pt x="146" y="51"/>
                      <a:pt x="146" y="50"/>
                      <a:pt x="146" y="49"/>
                    </a:cubicBezTo>
                    <a:cubicBezTo>
                      <a:pt x="145" y="49"/>
                      <a:pt x="146" y="47"/>
                      <a:pt x="145" y="47"/>
                    </a:cubicBezTo>
                    <a:cubicBezTo>
                      <a:pt x="144" y="46"/>
                      <a:pt x="142" y="47"/>
                      <a:pt x="141" y="47"/>
                    </a:cubicBezTo>
                    <a:cubicBezTo>
                      <a:pt x="140" y="47"/>
                      <a:pt x="136" y="48"/>
                      <a:pt x="136" y="47"/>
                    </a:cubicBezTo>
                    <a:cubicBezTo>
                      <a:pt x="135" y="46"/>
                      <a:pt x="135" y="46"/>
                      <a:pt x="135" y="45"/>
                    </a:cubicBezTo>
                    <a:cubicBezTo>
                      <a:pt x="135" y="44"/>
                      <a:pt x="135" y="44"/>
                      <a:pt x="135" y="43"/>
                    </a:cubicBezTo>
                    <a:cubicBezTo>
                      <a:pt x="134" y="43"/>
                      <a:pt x="134" y="42"/>
                      <a:pt x="133" y="42"/>
                    </a:cubicBezTo>
                    <a:cubicBezTo>
                      <a:pt x="133" y="41"/>
                      <a:pt x="132" y="41"/>
                      <a:pt x="132" y="40"/>
                    </a:cubicBezTo>
                    <a:cubicBezTo>
                      <a:pt x="130" y="40"/>
                      <a:pt x="130" y="39"/>
                      <a:pt x="130" y="38"/>
                    </a:cubicBezTo>
                    <a:cubicBezTo>
                      <a:pt x="129" y="36"/>
                      <a:pt x="128" y="36"/>
                      <a:pt x="127" y="36"/>
                    </a:cubicBezTo>
                    <a:cubicBezTo>
                      <a:pt x="125" y="36"/>
                      <a:pt x="123" y="37"/>
                      <a:pt x="121" y="36"/>
                    </a:cubicBezTo>
                    <a:cubicBezTo>
                      <a:pt x="120" y="36"/>
                      <a:pt x="119" y="35"/>
                      <a:pt x="118" y="34"/>
                    </a:cubicBezTo>
                    <a:cubicBezTo>
                      <a:pt x="117" y="34"/>
                      <a:pt x="117" y="33"/>
                      <a:pt x="116" y="33"/>
                    </a:cubicBezTo>
                    <a:cubicBezTo>
                      <a:pt x="116" y="32"/>
                      <a:pt x="116" y="32"/>
                      <a:pt x="116" y="31"/>
                    </a:cubicBezTo>
                    <a:cubicBezTo>
                      <a:pt x="115" y="31"/>
                      <a:pt x="115" y="31"/>
                      <a:pt x="114" y="31"/>
                    </a:cubicBezTo>
                    <a:cubicBezTo>
                      <a:pt x="113" y="31"/>
                      <a:pt x="113" y="30"/>
                      <a:pt x="112" y="30"/>
                    </a:cubicBezTo>
                    <a:cubicBezTo>
                      <a:pt x="112" y="29"/>
                      <a:pt x="111" y="29"/>
                      <a:pt x="110" y="28"/>
                    </a:cubicBezTo>
                    <a:cubicBezTo>
                      <a:pt x="108" y="27"/>
                      <a:pt x="106" y="25"/>
                      <a:pt x="106" y="23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107" y="22"/>
                      <a:pt x="106" y="21"/>
                      <a:pt x="105" y="20"/>
                    </a:cubicBezTo>
                    <a:cubicBezTo>
                      <a:pt x="103" y="18"/>
                      <a:pt x="101" y="17"/>
                      <a:pt x="100" y="14"/>
                    </a:cubicBezTo>
                    <a:cubicBezTo>
                      <a:pt x="99" y="13"/>
                      <a:pt x="99" y="12"/>
                      <a:pt x="98" y="12"/>
                    </a:cubicBezTo>
                    <a:cubicBezTo>
                      <a:pt x="96" y="11"/>
                      <a:pt x="95" y="11"/>
                      <a:pt x="94" y="10"/>
                    </a:cubicBezTo>
                    <a:cubicBezTo>
                      <a:pt x="93" y="9"/>
                      <a:pt x="93" y="9"/>
                      <a:pt x="92" y="8"/>
                    </a:cubicBezTo>
                    <a:cubicBezTo>
                      <a:pt x="90" y="8"/>
                      <a:pt x="90" y="7"/>
                      <a:pt x="90" y="6"/>
                    </a:cubicBezTo>
                    <a:cubicBezTo>
                      <a:pt x="89" y="5"/>
                      <a:pt x="88" y="4"/>
                      <a:pt x="88" y="3"/>
                    </a:cubicBezTo>
                    <a:cubicBezTo>
                      <a:pt x="88" y="3"/>
                      <a:pt x="88" y="3"/>
                      <a:pt x="88" y="3"/>
                    </a:cubicBezTo>
                    <a:cubicBezTo>
                      <a:pt x="88" y="4"/>
                      <a:pt x="87" y="4"/>
                      <a:pt x="86" y="4"/>
                    </a:cubicBezTo>
                    <a:cubicBezTo>
                      <a:pt x="86" y="4"/>
                      <a:pt x="85" y="4"/>
                      <a:pt x="84" y="5"/>
                    </a:cubicBezTo>
                    <a:cubicBezTo>
                      <a:pt x="83" y="5"/>
                      <a:pt x="82" y="5"/>
                      <a:pt x="81" y="4"/>
                    </a:cubicBezTo>
                    <a:cubicBezTo>
                      <a:pt x="80" y="3"/>
                      <a:pt x="78" y="0"/>
                      <a:pt x="76" y="1"/>
                    </a:cubicBezTo>
                    <a:cubicBezTo>
                      <a:pt x="75" y="1"/>
                      <a:pt x="75" y="1"/>
                      <a:pt x="74" y="2"/>
                    </a:cubicBezTo>
                    <a:cubicBezTo>
                      <a:pt x="74" y="2"/>
                      <a:pt x="75" y="3"/>
                      <a:pt x="75" y="3"/>
                    </a:cubicBezTo>
                    <a:cubicBezTo>
                      <a:pt x="74" y="4"/>
                      <a:pt x="74" y="4"/>
                      <a:pt x="74" y="4"/>
                    </a:cubicBezTo>
                    <a:cubicBezTo>
                      <a:pt x="73" y="5"/>
                      <a:pt x="74" y="7"/>
                      <a:pt x="74" y="8"/>
                    </a:cubicBezTo>
                    <a:cubicBezTo>
                      <a:pt x="74" y="10"/>
                      <a:pt x="75" y="10"/>
                      <a:pt x="76" y="11"/>
                    </a:cubicBezTo>
                    <a:cubicBezTo>
                      <a:pt x="77" y="12"/>
                      <a:pt x="78" y="14"/>
                      <a:pt x="79" y="15"/>
                    </a:cubicBezTo>
                    <a:cubicBezTo>
                      <a:pt x="80" y="16"/>
                      <a:pt x="80" y="17"/>
                      <a:pt x="80" y="18"/>
                    </a:cubicBezTo>
                    <a:cubicBezTo>
                      <a:pt x="81" y="20"/>
                      <a:pt x="82" y="21"/>
                      <a:pt x="80" y="23"/>
                    </a:cubicBezTo>
                    <a:cubicBezTo>
                      <a:pt x="80" y="23"/>
                      <a:pt x="80" y="24"/>
                      <a:pt x="79" y="24"/>
                    </a:cubicBezTo>
                    <a:cubicBezTo>
                      <a:pt x="79" y="25"/>
                      <a:pt x="78" y="24"/>
                      <a:pt x="78" y="25"/>
                    </a:cubicBezTo>
                    <a:cubicBezTo>
                      <a:pt x="77" y="25"/>
                      <a:pt x="76" y="24"/>
                      <a:pt x="76" y="24"/>
                    </a:cubicBezTo>
                    <a:cubicBezTo>
                      <a:pt x="75" y="23"/>
                      <a:pt x="75" y="22"/>
                      <a:pt x="75" y="21"/>
                    </a:cubicBezTo>
                    <a:cubicBezTo>
                      <a:pt x="74" y="19"/>
                      <a:pt x="73" y="18"/>
                      <a:pt x="71" y="18"/>
                    </a:cubicBezTo>
                    <a:cubicBezTo>
                      <a:pt x="69" y="18"/>
                      <a:pt x="67" y="20"/>
                      <a:pt x="65" y="21"/>
                    </a:cubicBezTo>
                    <a:cubicBezTo>
                      <a:pt x="65" y="21"/>
                      <a:pt x="64" y="21"/>
                      <a:pt x="64" y="22"/>
                    </a:cubicBezTo>
                    <a:cubicBezTo>
                      <a:pt x="63" y="22"/>
                      <a:pt x="63" y="22"/>
                      <a:pt x="63" y="23"/>
                    </a:cubicBezTo>
                    <a:cubicBezTo>
                      <a:pt x="62" y="24"/>
                      <a:pt x="60" y="26"/>
                      <a:pt x="58" y="27"/>
                    </a:cubicBezTo>
                    <a:cubicBezTo>
                      <a:pt x="57" y="28"/>
                      <a:pt x="56" y="29"/>
                      <a:pt x="56" y="30"/>
                    </a:cubicBezTo>
                    <a:cubicBezTo>
                      <a:pt x="56" y="31"/>
                      <a:pt x="57" y="32"/>
                      <a:pt x="57" y="33"/>
                    </a:cubicBezTo>
                    <a:cubicBezTo>
                      <a:pt x="57" y="35"/>
                      <a:pt x="57" y="36"/>
                      <a:pt x="56" y="37"/>
                    </a:cubicBezTo>
                    <a:cubicBezTo>
                      <a:pt x="56" y="38"/>
                      <a:pt x="56" y="39"/>
                      <a:pt x="55" y="40"/>
                    </a:cubicBezTo>
                    <a:cubicBezTo>
                      <a:pt x="55" y="41"/>
                      <a:pt x="56" y="41"/>
                      <a:pt x="55" y="42"/>
                    </a:cubicBezTo>
                    <a:cubicBezTo>
                      <a:pt x="55" y="43"/>
                      <a:pt x="53" y="43"/>
                      <a:pt x="52" y="44"/>
                    </a:cubicBezTo>
                    <a:cubicBezTo>
                      <a:pt x="52" y="45"/>
                      <a:pt x="52" y="47"/>
                      <a:pt x="51" y="48"/>
                    </a:cubicBezTo>
                    <a:cubicBezTo>
                      <a:pt x="51" y="48"/>
                      <a:pt x="51" y="48"/>
                      <a:pt x="51" y="49"/>
                    </a:cubicBezTo>
                    <a:cubicBezTo>
                      <a:pt x="51" y="49"/>
                      <a:pt x="51" y="50"/>
                      <a:pt x="51" y="50"/>
                    </a:cubicBezTo>
                    <a:cubicBezTo>
                      <a:pt x="50" y="52"/>
                      <a:pt x="49" y="53"/>
                      <a:pt x="48" y="55"/>
                    </a:cubicBezTo>
                    <a:cubicBezTo>
                      <a:pt x="48" y="55"/>
                      <a:pt x="47" y="56"/>
                      <a:pt x="47" y="57"/>
                    </a:cubicBezTo>
                    <a:cubicBezTo>
                      <a:pt x="47" y="58"/>
                      <a:pt x="48" y="58"/>
                      <a:pt x="48" y="60"/>
                    </a:cubicBezTo>
                    <a:cubicBezTo>
                      <a:pt x="48" y="61"/>
                      <a:pt x="48" y="62"/>
                      <a:pt x="48" y="64"/>
                    </a:cubicBezTo>
                    <a:cubicBezTo>
                      <a:pt x="49" y="64"/>
                      <a:pt x="49" y="66"/>
                      <a:pt x="49" y="66"/>
                    </a:cubicBezTo>
                    <a:cubicBezTo>
                      <a:pt x="50" y="66"/>
                      <a:pt x="50" y="66"/>
                      <a:pt x="50" y="67"/>
                    </a:cubicBezTo>
                    <a:cubicBezTo>
                      <a:pt x="50" y="67"/>
                      <a:pt x="51" y="68"/>
                      <a:pt x="51" y="69"/>
                    </a:cubicBezTo>
                    <a:cubicBezTo>
                      <a:pt x="51" y="69"/>
                      <a:pt x="51" y="70"/>
                      <a:pt x="51" y="71"/>
                    </a:cubicBezTo>
                    <a:cubicBezTo>
                      <a:pt x="51" y="74"/>
                      <a:pt x="51" y="79"/>
                      <a:pt x="49" y="81"/>
                    </a:cubicBezTo>
                    <a:cubicBezTo>
                      <a:pt x="49" y="81"/>
                      <a:pt x="49" y="82"/>
                      <a:pt x="48" y="82"/>
                    </a:cubicBezTo>
                    <a:cubicBezTo>
                      <a:pt x="48" y="82"/>
                      <a:pt x="48" y="83"/>
                      <a:pt x="48" y="83"/>
                    </a:cubicBezTo>
                    <a:cubicBezTo>
                      <a:pt x="47" y="84"/>
                      <a:pt x="47" y="85"/>
                      <a:pt x="46" y="84"/>
                    </a:cubicBezTo>
                    <a:cubicBezTo>
                      <a:pt x="45" y="83"/>
                      <a:pt x="44" y="81"/>
                      <a:pt x="43" y="80"/>
                    </a:cubicBezTo>
                    <a:cubicBezTo>
                      <a:pt x="43" y="79"/>
                      <a:pt x="43" y="78"/>
                      <a:pt x="42" y="77"/>
                    </a:cubicBezTo>
                    <a:cubicBezTo>
                      <a:pt x="41" y="76"/>
                      <a:pt x="40" y="74"/>
                      <a:pt x="39" y="74"/>
                    </a:cubicBezTo>
                    <a:cubicBezTo>
                      <a:pt x="38" y="74"/>
                      <a:pt x="33" y="75"/>
                      <a:pt x="33" y="73"/>
                    </a:cubicBezTo>
                    <a:cubicBezTo>
                      <a:pt x="32" y="72"/>
                      <a:pt x="31" y="71"/>
                      <a:pt x="30" y="71"/>
                    </a:cubicBezTo>
                    <a:cubicBezTo>
                      <a:pt x="29" y="70"/>
                      <a:pt x="27" y="69"/>
                      <a:pt x="25" y="67"/>
                    </a:cubicBezTo>
                    <a:cubicBezTo>
                      <a:pt x="23" y="66"/>
                      <a:pt x="21" y="64"/>
                      <a:pt x="20" y="63"/>
                    </a:cubicBezTo>
                    <a:cubicBezTo>
                      <a:pt x="18" y="62"/>
                      <a:pt x="17" y="60"/>
                      <a:pt x="16" y="59"/>
                    </a:cubicBezTo>
                    <a:cubicBezTo>
                      <a:pt x="16" y="58"/>
                      <a:pt x="16" y="57"/>
                      <a:pt x="15" y="56"/>
                    </a:cubicBezTo>
                    <a:cubicBezTo>
                      <a:pt x="14" y="55"/>
                      <a:pt x="13" y="54"/>
                      <a:pt x="12" y="53"/>
                    </a:cubicBezTo>
                    <a:cubicBezTo>
                      <a:pt x="12" y="52"/>
                      <a:pt x="12" y="52"/>
                      <a:pt x="12" y="52"/>
                    </a:cubicBezTo>
                    <a:cubicBezTo>
                      <a:pt x="12" y="51"/>
                      <a:pt x="11" y="51"/>
                      <a:pt x="11" y="51"/>
                    </a:cubicBezTo>
                    <a:cubicBezTo>
                      <a:pt x="11" y="51"/>
                      <a:pt x="11" y="50"/>
                      <a:pt x="11" y="50"/>
                    </a:cubicBezTo>
                    <a:cubicBezTo>
                      <a:pt x="10" y="49"/>
                      <a:pt x="9" y="50"/>
                      <a:pt x="8" y="50"/>
                    </a:cubicBezTo>
                    <a:cubicBezTo>
                      <a:pt x="8" y="50"/>
                      <a:pt x="7" y="51"/>
                      <a:pt x="6" y="51"/>
                    </a:cubicBezTo>
                    <a:cubicBezTo>
                      <a:pt x="5" y="51"/>
                      <a:pt x="1" y="52"/>
                      <a:pt x="0" y="54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55"/>
                      <a:pt x="0" y="56"/>
                      <a:pt x="0" y="57"/>
                    </a:cubicBezTo>
                    <a:cubicBezTo>
                      <a:pt x="1" y="57"/>
                      <a:pt x="2" y="57"/>
                      <a:pt x="3" y="58"/>
                    </a:cubicBezTo>
                    <a:cubicBezTo>
                      <a:pt x="4" y="58"/>
                      <a:pt x="5" y="58"/>
                      <a:pt x="5" y="59"/>
                    </a:cubicBezTo>
                    <a:cubicBezTo>
                      <a:pt x="5" y="59"/>
                      <a:pt x="6" y="59"/>
                      <a:pt x="6" y="59"/>
                    </a:cubicBezTo>
                    <a:cubicBezTo>
                      <a:pt x="7" y="59"/>
                      <a:pt x="9" y="60"/>
                      <a:pt x="10" y="61"/>
                    </a:cubicBezTo>
                    <a:cubicBezTo>
                      <a:pt x="11" y="62"/>
                      <a:pt x="12" y="62"/>
                      <a:pt x="12" y="62"/>
                    </a:cubicBezTo>
                    <a:cubicBezTo>
                      <a:pt x="13" y="62"/>
                      <a:pt x="13" y="63"/>
                      <a:pt x="14" y="63"/>
                    </a:cubicBezTo>
                    <a:cubicBezTo>
                      <a:pt x="14" y="64"/>
                      <a:pt x="15" y="64"/>
                      <a:pt x="15" y="65"/>
                    </a:cubicBezTo>
                    <a:cubicBezTo>
                      <a:pt x="16" y="65"/>
                      <a:pt x="17" y="65"/>
                      <a:pt x="17" y="66"/>
                    </a:cubicBezTo>
                    <a:cubicBezTo>
                      <a:pt x="19" y="67"/>
                      <a:pt x="20" y="69"/>
                      <a:pt x="22" y="71"/>
                    </a:cubicBezTo>
                    <a:cubicBezTo>
                      <a:pt x="23" y="71"/>
                      <a:pt x="24" y="72"/>
                      <a:pt x="24" y="73"/>
                    </a:cubicBezTo>
                    <a:cubicBezTo>
                      <a:pt x="25" y="73"/>
                      <a:pt x="25" y="74"/>
                      <a:pt x="26" y="75"/>
                    </a:cubicBezTo>
                    <a:cubicBezTo>
                      <a:pt x="27" y="76"/>
                      <a:pt x="29" y="77"/>
                      <a:pt x="30" y="78"/>
                    </a:cubicBezTo>
                    <a:cubicBezTo>
                      <a:pt x="31" y="79"/>
                      <a:pt x="32" y="80"/>
                      <a:pt x="33" y="81"/>
                    </a:cubicBezTo>
                    <a:cubicBezTo>
                      <a:pt x="34" y="81"/>
                      <a:pt x="34" y="82"/>
                      <a:pt x="34" y="82"/>
                    </a:cubicBezTo>
                    <a:cubicBezTo>
                      <a:pt x="35" y="83"/>
                      <a:pt x="35" y="83"/>
                      <a:pt x="36" y="83"/>
                    </a:cubicBezTo>
                    <a:cubicBezTo>
                      <a:pt x="40" y="85"/>
                      <a:pt x="43" y="88"/>
                      <a:pt x="47" y="90"/>
                    </a:cubicBezTo>
                    <a:cubicBezTo>
                      <a:pt x="49" y="91"/>
                      <a:pt x="51" y="93"/>
                      <a:pt x="53" y="94"/>
                    </a:cubicBezTo>
                    <a:cubicBezTo>
                      <a:pt x="55" y="95"/>
                      <a:pt x="57" y="97"/>
                      <a:pt x="58" y="99"/>
                    </a:cubicBezTo>
                    <a:cubicBezTo>
                      <a:pt x="59" y="100"/>
                      <a:pt x="59" y="102"/>
                      <a:pt x="60" y="102"/>
                    </a:cubicBezTo>
                    <a:cubicBezTo>
                      <a:pt x="61" y="103"/>
                      <a:pt x="62" y="103"/>
                      <a:pt x="62" y="104"/>
                    </a:cubicBezTo>
                    <a:cubicBezTo>
                      <a:pt x="63" y="104"/>
                      <a:pt x="64" y="105"/>
                      <a:pt x="65" y="105"/>
                    </a:cubicBezTo>
                    <a:cubicBezTo>
                      <a:pt x="67" y="105"/>
                      <a:pt x="66" y="105"/>
                      <a:pt x="67" y="106"/>
                    </a:cubicBezTo>
                    <a:cubicBezTo>
                      <a:pt x="68" y="106"/>
                      <a:pt x="68" y="106"/>
                      <a:pt x="68" y="106"/>
                    </a:cubicBezTo>
                    <a:cubicBezTo>
                      <a:pt x="68" y="106"/>
                      <a:pt x="69" y="107"/>
                      <a:pt x="69" y="107"/>
                    </a:cubicBezTo>
                    <a:cubicBezTo>
                      <a:pt x="71" y="109"/>
                      <a:pt x="72" y="113"/>
                      <a:pt x="74" y="115"/>
                    </a:cubicBezTo>
                    <a:cubicBezTo>
                      <a:pt x="75" y="116"/>
                      <a:pt x="75" y="116"/>
                      <a:pt x="76" y="116"/>
                    </a:cubicBezTo>
                    <a:cubicBezTo>
                      <a:pt x="77" y="117"/>
                      <a:pt x="77" y="118"/>
                      <a:pt x="78" y="119"/>
                    </a:cubicBezTo>
                    <a:cubicBezTo>
                      <a:pt x="79" y="121"/>
                      <a:pt x="79" y="124"/>
                      <a:pt x="80" y="126"/>
                    </a:cubicBezTo>
                    <a:cubicBezTo>
                      <a:pt x="81" y="128"/>
                      <a:pt x="81" y="129"/>
                      <a:pt x="82" y="131"/>
                    </a:cubicBezTo>
                    <a:cubicBezTo>
                      <a:pt x="83" y="132"/>
                      <a:pt x="85" y="132"/>
                      <a:pt x="86" y="133"/>
                    </a:cubicBezTo>
                    <a:cubicBezTo>
                      <a:pt x="87" y="133"/>
                      <a:pt x="88" y="135"/>
                      <a:pt x="90" y="135"/>
                    </a:cubicBezTo>
                    <a:cubicBezTo>
                      <a:pt x="91" y="134"/>
                      <a:pt x="90" y="134"/>
                      <a:pt x="91" y="133"/>
                    </a:cubicBezTo>
                    <a:cubicBezTo>
                      <a:pt x="91" y="132"/>
                      <a:pt x="91" y="132"/>
                      <a:pt x="91" y="131"/>
                    </a:cubicBezTo>
                    <a:cubicBezTo>
                      <a:pt x="93" y="129"/>
                      <a:pt x="96" y="127"/>
                      <a:pt x="95" y="124"/>
                    </a:cubicBezTo>
                    <a:cubicBezTo>
                      <a:pt x="95" y="120"/>
                      <a:pt x="92" y="115"/>
                      <a:pt x="90" y="111"/>
                    </a:cubicBezTo>
                    <a:cubicBezTo>
                      <a:pt x="88" y="110"/>
                      <a:pt x="86" y="108"/>
                      <a:pt x="86" y="105"/>
                    </a:cubicBezTo>
                    <a:cubicBezTo>
                      <a:pt x="87" y="103"/>
                      <a:pt x="91" y="103"/>
                      <a:pt x="93" y="102"/>
                    </a:cubicBezTo>
                    <a:cubicBezTo>
                      <a:pt x="94" y="101"/>
                      <a:pt x="95" y="100"/>
                      <a:pt x="95" y="98"/>
                    </a:cubicBezTo>
                    <a:cubicBezTo>
                      <a:pt x="96" y="97"/>
                      <a:pt x="97" y="95"/>
                      <a:pt x="97" y="94"/>
                    </a:cubicBezTo>
                    <a:cubicBezTo>
                      <a:pt x="98" y="93"/>
                      <a:pt x="98" y="92"/>
                      <a:pt x="99" y="91"/>
                    </a:cubicBezTo>
                    <a:cubicBezTo>
                      <a:pt x="100" y="90"/>
                      <a:pt x="100" y="89"/>
                      <a:pt x="101" y="88"/>
                    </a:cubicBezTo>
                    <a:cubicBezTo>
                      <a:pt x="103" y="87"/>
                      <a:pt x="104" y="85"/>
                      <a:pt x="105" y="83"/>
                    </a:cubicBezTo>
                    <a:cubicBezTo>
                      <a:pt x="107" y="81"/>
                      <a:pt x="108" y="80"/>
                      <a:pt x="109" y="78"/>
                    </a:cubicBezTo>
                    <a:cubicBezTo>
                      <a:pt x="109" y="77"/>
                      <a:pt x="109" y="77"/>
                      <a:pt x="109" y="76"/>
                    </a:cubicBezTo>
                    <a:cubicBezTo>
                      <a:pt x="109" y="76"/>
                      <a:pt x="111" y="74"/>
                      <a:pt x="111" y="74"/>
                    </a:cubicBezTo>
                    <a:cubicBezTo>
                      <a:pt x="112" y="74"/>
                      <a:pt x="112" y="74"/>
                      <a:pt x="112" y="75"/>
                    </a:cubicBezTo>
                    <a:cubicBezTo>
                      <a:pt x="113" y="77"/>
                      <a:pt x="113" y="79"/>
                      <a:pt x="113" y="81"/>
                    </a:cubicBezTo>
                    <a:cubicBezTo>
                      <a:pt x="113" y="83"/>
                      <a:pt x="113" y="86"/>
                      <a:pt x="113" y="87"/>
                    </a:cubicBezTo>
                    <a:cubicBezTo>
                      <a:pt x="114" y="90"/>
                      <a:pt x="116" y="89"/>
                      <a:pt x="118" y="89"/>
                    </a:cubicBezTo>
                    <a:cubicBezTo>
                      <a:pt x="121" y="89"/>
                      <a:pt x="123" y="89"/>
                      <a:pt x="126" y="88"/>
                    </a:cubicBezTo>
                    <a:cubicBezTo>
                      <a:pt x="127" y="87"/>
                      <a:pt x="129" y="87"/>
                      <a:pt x="130" y="85"/>
                    </a:cubicBezTo>
                    <a:cubicBezTo>
                      <a:pt x="131" y="85"/>
                      <a:pt x="131" y="84"/>
                      <a:pt x="131" y="83"/>
                    </a:cubicBezTo>
                    <a:cubicBezTo>
                      <a:pt x="131" y="82"/>
                      <a:pt x="132" y="82"/>
                      <a:pt x="132" y="81"/>
                    </a:cubicBezTo>
                    <a:cubicBezTo>
                      <a:pt x="133" y="80"/>
                      <a:pt x="133" y="79"/>
                      <a:pt x="133" y="78"/>
                    </a:cubicBezTo>
                    <a:cubicBezTo>
                      <a:pt x="134" y="76"/>
                      <a:pt x="135" y="73"/>
                      <a:pt x="134" y="71"/>
                    </a:cubicBezTo>
                    <a:cubicBezTo>
                      <a:pt x="134" y="71"/>
                      <a:pt x="133" y="70"/>
                      <a:pt x="132" y="70"/>
                    </a:cubicBezTo>
                    <a:cubicBezTo>
                      <a:pt x="132" y="69"/>
                      <a:pt x="131" y="69"/>
                      <a:pt x="130" y="69"/>
                    </a:cubicBezTo>
                    <a:cubicBezTo>
                      <a:pt x="129" y="69"/>
                      <a:pt x="129" y="68"/>
                      <a:pt x="129" y="68"/>
                    </a:cubicBezTo>
                    <a:cubicBezTo>
                      <a:pt x="128" y="66"/>
                      <a:pt x="131" y="64"/>
                      <a:pt x="133" y="64"/>
                    </a:cubicBezTo>
                    <a:cubicBezTo>
                      <a:pt x="134" y="65"/>
                      <a:pt x="135" y="65"/>
                      <a:pt x="136" y="66"/>
                    </a:cubicBezTo>
                    <a:cubicBezTo>
                      <a:pt x="138" y="67"/>
                      <a:pt x="139" y="67"/>
                      <a:pt x="141" y="67"/>
                    </a:cubicBezTo>
                    <a:cubicBezTo>
                      <a:pt x="141" y="65"/>
                      <a:pt x="140" y="62"/>
                      <a:pt x="142" y="62"/>
                    </a:cubicBezTo>
                    <a:cubicBezTo>
                      <a:pt x="143" y="62"/>
                      <a:pt x="145" y="63"/>
                      <a:pt x="146" y="62"/>
                    </a:cubicBezTo>
                    <a:cubicBezTo>
                      <a:pt x="146" y="61"/>
                      <a:pt x="145" y="60"/>
                      <a:pt x="146" y="60"/>
                    </a:cubicBezTo>
                    <a:cubicBezTo>
                      <a:pt x="147" y="59"/>
                      <a:pt x="148" y="59"/>
                      <a:pt x="148" y="59"/>
                    </a:cubicBezTo>
                    <a:cubicBezTo>
                      <a:pt x="149" y="58"/>
                      <a:pt x="149" y="58"/>
                      <a:pt x="149" y="57"/>
                    </a:cubicBezTo>
                    <a:cubicBezTo>
                      <a:pt x="150" y="55"/>
                      <a:pt x="148" y="52"/>
                      <a:pt x="147" y="5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13" name="Freeform 29">
                <a:extLst>
                  <a:ext uri="{FF2B5EF4-FFF2-40B4-BE49-F238E27FC236}">
                    <a16:creationId xmlns:a16="http://schemas.microsoft.com/office/drawing/2014/main" id="{DAB3F89C-3660-4099-9341-DE216CE318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650" y="5132388"/>
                <a:ext cx="406400" cy="601663"/>
              </a:xfrm>
              <a:custGeom>
                <a:avLst/>
                <a:gdLst/>
                <a:ahLst/>
                <a:cxnLst>
                  <a:cxn ang="0">
                    <a:pos x="53" y="277"/>
                  </a:cxn>
                  <a:cxn ang="0">
                    <a:pos x="53" y="278"/>
                  </a:cxn>
                  <a:cxn ang="0">
                    <a:pos x="54" y="276"/>
                  </a:cxn>
                  <a:cxn ang="0">
                    <a:pos x="58" y="282"/>
                  </a:cxn>
                  <a:cxn ang="0">
                    <a:pos x="54" y="280"/>
                  </a:cxn>
                  <a:cxn ang="0">
                    <a:pos x="208" y="236"/>
                  </a:cxn>
                  <a:cxn ang="0">
                    <a:pos x="200" y="227"/>
                  </a:cxn>
                  <a:cxn ang="0">
                    <a:pos x="192" y="213"/>
                  </a:cxn>
                  <a:cxn ang="0">
                    <a:pos x="188" y="190"/>
                  </a:cxn>
                  <a:cxn ang="0">
                    <a:pos x="201" y="176"/>
                  </a:cxn>
                  <a:cxn ang="0">
                    <a:pos x="195" y="148"/>
                  </a:cxn>
                  <a:cxn ang="0">
                    <a:pos x="198" y="139"/>
                  </a:cxn>
                  <a:cxn ang="0">
                    <a:pos x="183" y="129"/>
                  </a:cxn>
                  <a:cxn ang="0">
                    <a:pos x="170" y="135"/>
                  </a:cxn>
                  <a:cxn ang="0">
                    <a:pos x="147" y="122"/>
                  </a:cxn>
                  <a:cxn ang="0">
                    <a:pos x="137" y="115"/>
                  </a:cxn>
                  <a:cxn ang="0">
                    <a:pos x="141" y="103"/>
                  </a:cxn>
                  <a:cxn ang="0">
                    <a:pos x="137" y="90"/>
                  </a:cxn>
                  <a:cxn ang="0">
                    <a:pos x="137" y="76"/>
                  </a:cxn>
                  <a:cxn ang="0">
                    <a:pos x="107" y="61"/>
                  </a:cxn>
                  <a:cxn ang="0">
                    <a:pos x="105" y="40"/>
                  </a:cxn>
                  <a:cxn ang="0">
                    <a:pos x="95" y="29"/>
                  </a:cxn>
                  <a:cxn ang="0">
                    <a:pos x="81" y="12"/>
                  </a:cxn>
                  <a:cxn ang="0">
                    <a:pos x="44" y="0"/>
                  </a:cxn>
                  <a:cxn ang="0">
                    <a:pos x="26" y="8"/>
                  </a:cxn>
                  <a:cxn ang="0">
                    <a:pos x="6" y="18"/>
                  </a:cxn>
                  <a:cxn ang="0">
                    <a:pos x="2" y="31"/>
                  </a:cxn>
                  <a:cxn ang="0">
                    <a:pos x="2" y="48"/>
                  </a:cxn>
                  <a:cxn ang="0">
                    <a:pos x="6" y="64"/>
                  </a:cxn>
                  <a:cxn ang="0">
                    <a:pos x="19" y="82"/>
                  </a:cxn>
                  <a:cxn ang="0">
                    <a:pos x="23" y="112"/>
                  </a:cxn>
                  <a:cxn ang="0">
                    <a:pos x="11" y="142"/>
                  </a:cxn>
                  <a:cxn ang="0">
                    <a:pos x="24" y="151"/>
                  </a:cxn>
                  <a:cxn ang="0">
                    <a:pos x="24" y="164"/>
                  </a:cxn>
                  <a:cxn ang="0">
                    <a:pos x="36" y="173"/>
                  </a:cxn>
                  <a:cxn ang="0">
                    <a:pos x="15" y="176"/>
                  </a:cxn>
                  <a:cxn ang="0">
                    <a:pos x="28" y="201"/>
                  </a:cxn>
                  <a:cxn ang="0">
                    <a:pos x="25" y="214"/>
                  </a:cxn>
                  <a:cxn ang="0">
                    <a:pos x="13" y="212"/>
                  </a:cxn>
                  <a:cxn ang="0">
                    <a:pos x="22" y="223"/>
                  </a:cxn>
                  <a:cxn ang="0">
                    <a:pos x="36" y="241"/>
                  </a:cxn>
                  <a:cxn ang="0">
                    <a:pos x="51" y="247"/>
                  </a:cxn>
                  <a:cxn ang="0">
                    <a:pos x="60" y="258"/>
                  </a:cxn>
                  <a:cxn ang="0">
                    <a:pos x="72" y="270"/>
                  </a:cxn>
                  <a:cxn ang="0">
                    <a:pos x="82" y="262"/>
                  </a:cxn>
                  <a:cxn ang="0">
                    <a:pos x="93" y="244"/>
                  </a:cxn>
                  <a:cxn ang="0">
                    <a:pos x="105" y="245"/>
                  </a:cxn>
                  <a:cxn ang="0">
                    <a:pos x="117" y="255"/>
                  </a:cxn>
                  <a:cxn ang="0">
                    <a:pos x="131" y="272"/>
                  </a:cxn>
                  <a:cxn ang="0">
                    <a:pos x="151" y="289"/>
                  </a:cxn>
                  <a:cxn ang="0">
                    <a:pos x="143" y="305"/>
                  </a:cxn>
                  <a:cxn ang="0">
                    <a:pos x="138" y="321"/>
                  </a:cxn>
                  <a:cxn ang="0">
                    <a:pos x="159" y="316"/>
                  </a:cxn>
                  <a:cxn ang="0">
                    <a:pos x="174" y="312"/>
                  </a:cxn>
                  <a:cxn ang="0">
                    <a:pos x="190" y="299"/>
                  </a:cxn>
                  <a:cxn ang="0">
                    <a:pos x="187" y="276"/>
                  </a:cxn>
                  <a:cxn ang="0">
                    <a:pos x="202" y="269"/>
                  </a:cxn>
                </a:cxnLst>
                <a:rect l="0" t="0" r="r" b="b"/>
                <a:pathLst>
                  <a:path w="218" h="322">
                    <a:moveTo>
                      <a:pt x="53" y="277"/>
                    </a:moveTo>
                    <a:cubicBezTo>
                      <a:pt x="53" y="276"/>
                      <a:pt x="53" y="276"/>
                      <a:pt x="53" y="276"/>
                    </a:cubicBezTo>
                    <a:cubicBezTo>
                      <a:pt x="53" y="276"/>
                      <a:pt x="53" y="276"/>
                      <a:pt x="53" y="276"/>
                    </a:cubicBezTo>
                    <a:cubicBezTo>
                      <a:pt x="53" y="276"/>
                      <a:pt x="53" y="276"/>
                      <a:pt x="53" y="277"/>
                    </a:cubicBezTo>
                    <a:moveTo>
                      <a:pt x="53" y="277"/>
                    </a:moveTo>
                    <a:cubicBezTo>
                      <a:pt x="53" y="277"/>
                      <a:pt x="53" y="277"/>
                      <a:pt x="53" y="277"/>
                    </a:cubicBezTo>
                    <a:cubicBezTo>
                      <a:pt x="53" y="277"/>
                      <a:pt x="53" y="277"/>
                      <a:pt x="53" y="277"/>
                    </a:cubicBezTo>
                    <a:cubicBezTo>
                      <a:pt x="53" y="277"/>
                      <a:pt x="53" y="277"/>
                      <a:pt x="53" y="276"/>
                    </a:cubicBezTo>
                    <a:cubicBezTo>
                      <a:pt x="53" y="277"/>
                      <a:pt x="53" y="277"/>
                      <a:pt x="53" y="277"/>
                    </a:cubicBezTo>
                    <a:moveTo>
                      <a:pt x="53" y="277"/>
                    </a:moveTo>
                    <a:cubicBezTo>
                      <a:pt x="53" y="277"/>
                      <a:pt x="53" y="277"/>
                      <a:pt x="53" y="277"/>
                    </a:cubicBezTo>
                    <a:cubicBezTo>
                      <a:pt x="53" y="277"/>
                      <a:pt x="53" y="278"/>
                      <a:pt x="53" y="278"/>
                    </a:cubicBezTo>
                    <a:cubicBezTo>
                      <a:pt x="53" y="278"/>
                      <a:pt x="53" y="278"/>
                      <a:pt x="53" y="278"/>
                    </a:cubicBezTo>
                    <a:cubicBezTo>
                      <a:pt x="53" y="278"/>
                      <a:pt x="53" y="277"/>
                      <a:pt x="53" y="277"/>
                    </a:cubicBezTo>
                    <a:moveTo>
                      <a:pt x="53" y="278"/>
                    </a:moveTo>
                    <a:cubicBezTo>
                      <a:pt x="53" y="278"/>
                      <a:pt x="53" y="277"/>
                      <a:pt x="53" y="277"/>
                    </a:cubicBezTo>
                    <a:cubicBezTo>
                      <a:pt x="53" y="277"/>
                      <a:pt x="53" y="278"/>
                      <a:pt x="53" y="278"/>
                    </a:cubicBezTo>
                    <a:moveTo>
                      <a:pt x="54" y="276"/>
                    </a:moveTo>
                    <a:cubicBezTo>
                      <a:pt x="54" y="276"/>
                      <a:pt x="54" y="276"/>
                      <a:pt x="54" y="276"/>
                    </a:cubicBezTo>
                    <a:cubicBezTo>
                      <a:pt x="55" y="275"/>
                      <a:pt x="56" y="275"/>
                      <a:pt x="56" y="275"/>
                    </a:cubicBezTo>
                    <a:cubicBezTo>
                      <a:pt x="55" y="275"/>
                      <a:pt x="54" y="276"/>
                      <a:pt x="54" y="276"/>
                    </a:cubicBezTo>
                    <a:moveTo>
                      <a:pt x="58" y="282"/>
                    </a:moveTo>
                    <a:cubicBezTo>
                      <a:pt x="58" y="283"/>
                      <a:pt x="59" y="284"/>
                      <a:pt x="59" y="285"/>
                    </a:cubicBezTo>
                    <a:cubicBezTo>
                      <a:pt x="59" y="284"/>
                      <a:pt x="58" y="283"/>
                      <a:pt x="58" y="282"/>
                    </a:cubicBezTo>
                    <a:moveTo>
                      <a:pt x="56" y="275"/>
                    </a:moveTo>
                    <a:cubicBezTo>
                      <a:pt x="57" y="275"/>
                      <a:pt x="57" y="275"/>
                      <a:pt x="57" y="275"/>
                    </a:cubicBezTo>
                    <a:cubicBezTo>
                      <a:pt x="57" y="275"/>
                      <a:pt x="57" y="275"/>
                      <a:pt x="56" y="275"/>
                    </a:cubicBezTo>
                    <a:moveTo>
                      <a:pt x="54" y="280"/>
                    </a:moveTo>
                    <a:cubicBezTo>
                      <a:pt x="54" y="280"/>
                      <a:pt x="54" y="280"/>
                      <a:pt x="54" y="280"/>
                    </a:cubicBezTo>
                    <a:cubicBezTo>
                      <a:pt x="54" y="280"/>
                      <a:pt x="54" y="280"/>
                      <a:pt x="54" y="280"/>
                    </a:cubicBezTo>
                    <a:moveTo>
                      <a:pt x="217" y="248"/>
                    </a:moveTo>
                    <a:cubicBezTo>
                      <a:pt x="217" y="248"/>
                      <a:pt x="216" y="248"/>
                      <a:pt x="216" y="247"/>
                    </a:cubicBezTo>
                    <a:cubicBezTo>
                      <a:pt x="216" y="247"/>
                      <a:pt x="215" y="246"/>
                      <a:pt x="215" y="246"/>
                    </a:cubicBezTo>
                    <a:cubicBezTo>
                      <a:pt x="215" y="245"/>
                      <a:pt x="214" y="244"/>
                      <a:pt x="213" y="243"/>
                    </a:cubicBezTo>
                    <a:cubicBezTo>
                      <a:pt x="212" y="242"/>
                      <a:pt x="210" y="240"/>
                      <a:pt x="210" y="238"/>
                    </a:cubicBezTo>
                    <a:cubicBezTo>
                      <a:pt x="210" y="237"/>
                      <a:pt x="209" y="237"/>
                      <a:pt x="208" y="236"/>
                    </a:cubicBezTo>
                    <a:cubicBezTo>
                      <a:pt x="207" y="235"/>
                      <a:pt x="207" y="234"/>
                      <a:pt x="206" y="233"/>
                    </a:cubicBezTo>
                    <a:cubicBezTo>
                      <a:pt x="205" y="232"/>
                      <a:pt x="205" y="231"/>
                      <a:pt x="203" y="231"/>
                    </a:cubicBezTo>
                    <a:cubicBezTo>
                      <a:pt x="202" y="230"/>
                      <a:pt x="200" y="231"/>
                      <a:pt x="198" y="230"/>
                    </a:cubicBezTo>
                    <a:cubicBezTo>
                      <a:pt x="197" y="230"/>
                      <a:pt x="195" y="230"/>
                      <a:pt x="194" y="230"/>
                    </a:cubicBezTo>
                    <a:cubicBezTo>
                      <a:pt x="193" y="229"/>
                      <a:pt x="193" y="226"/>
                      <a:pt x="194" y="226"/>
                    </a:cubicBezTo>
                    <a:cubicBezTo>
                      <a:pt x="196" y="226"/>
                      <a:pt x="198" y="228"/>
                      <a:pt x="200" y="227"/>
                    </a:cubicBezTo>
                    <a:cubicBezTo>
                      <a:pt x="199" y="225"/>
                      <a:pt x="198" y="224"/>
                      <a:pt x="197" y="222"/>
                    </a:cubicBezTo>
                    <a:cubicBezTo>
                      <a:pt x="196" y="221"/>
                      <a:pt x="196" y="221"/>
                      <a:pt x="195" y="220"/>
                    </a:cubicBezTo>
                    <a:cubicBezTo>
                      <a:pt x="195" y="220"/>
                      <a:pt x="194" y="219"/>
                      <a:pt x="194" y="218"/>
                    </a:cubicBezTo>
                    <a:cubicBezTo>
                      <a:pt x="194" y="218"/>
                      <a:pt x="193" y="217"/>
                      <a:pt x="193" y="216"/>
                    </a:cubicBezTo>
                    <a:cubicBezTo>
                      <a:pt x="193" y="215"/>
                      <a:pt x="193" y="214"/>
                      <a:pt x="193" y="214"/>
                    </a:cubicBezTo>
                    <a:cubicBezTo>
                      <a:pt x="192" y="213"/>
                      <a:pt x="192" y="214"/>
                      <a:pt x="192" y="213"/>
                    </a:cubicBezTo>
                    <a:cubicBezTo>
                      <a:pt x="191" y="212"/>
                      <a:pt x="192" y="210"/>
                      <a:pt x="191" y="210"/>
                    </a:cubicBezTo>
                    <a:cubicBezTo>
                      <a:pt x="191" y="209"/>
                      <a:pt x="191" y="209"/>
                      <a:pt x="190" y="209"/>
                    </a:cubicBezTo>
                    <a:cubicBezTo>
                      <a:pt x="190" y="209"/>
                      <a:pt x="190" y="208"/>
                      <a:pt x="190" y="208"/>
                    </a:cubicBezTo>
                    <a:cubicBezTo>
                      <a:pt x="189" y="207"/>
                      <a:pt x="188" y="205"/>
                      <a:pt x="187" y="203"/>
                    </a:cubicBezTo>
                    <a:cubicBezTo>
                      <a:pt x="187" y="201"/>
                      <a:pt x="187" y="196"/>
                      <a:pt x="187" y="194"/>
                    </a:cubicBezTo>
                    <a:cubicBezTo>
                      <a:pt x="187" y="192"/>
                      <a:pt x="188" y="191"/>
                      <a:pt x="188" y="190"/>
                    </a:cubicBezTo>
                    <a:cubicBezTo>
                      <a:pt x="189" y="189"/>
                      <a:pt x="190" y="189"/>
                      <a:pt x="191" y="187"/>
                    </a:cubicBezTo>
                    <a:cubicBezTo>
                      <a:pt x="191" y="186"/>
                      <a:pt x="191" y="186"/>
                      <a:pt x="191" y="185"/>
                    </a:cubicBezTo>
                    <a:cubicBezTo>
                      <a:pt x="191" y="184"/>
                      <a:pt x="192" y="184"/>
                      <a:pt x="192" y="183"/>
                    </a:cubicBezTo>
                    <a:cubicBezTo>
                      <a:pt x="194" y="181"/>
                      <a:pt x="194" y="178"/>
                      <a:pt x="196" y="177"/>
                    </a:cubicBezTo>
                    <a:cubicBezTo>
                      <a:pt x="196" y="176"/>
                      <a:pt x="198" y="176"/>
                      <a:pt x="198" y="176"/>
                    </a:cubicBezTo>
                    <a:cubicBezTo>
                      <a:pt x="199" y="176"/>
                      <a:pt x="201" y="176"/>
                      <a:pt x="201" y="176"/>
                    </a:cubicBezTo>
                    <a:cubicBezTo>
                      <a:pt x="202" y="175"/>
                      <a:pt x="202" y="174"/>
                      <a:pt x="202" y="173"/>
                    </a:cubicBezTo>
                    <a:cubicBezTo>
                      <a:pt x="202" y="169"/>
                      <a:pt x="202" y="165"/>
                      <a:pt x="202" y="161"/>
                    </a:cubicBezTo>
                    <a:cubicBezTo>
                      <a:pt x="202" y="159"/>
                      <a:pt x="201" y="157"/>
                      <a:pt x="199" y="156"/>
                    </a:cubicBezTo>
                    <a:cubicBezTo>
                      <a:pt x="199" y="155"/>
                      <a:pt x="198" y="154"/>
                      <a:pt x="198" y="154"/>
                    </a:cubicBezTo>
                    <a:cubicBezTo>
                      <a:pt x="197" y="153"/>
                      <a:pt x="196" y="153"/>
                      <a:pt x="195" y="152"/>
                    </a:cubicBezTo>
                    <a:cubicBezTo>
                      <a:pt x="194" y="151"/>
                      <a:pt x="195" y="149"/>
                      <a:pt x="195" y="148"/>
                    </a:cubicBezTo>
                    <a:cubicBezTo>
                      <a:pt x="194" y="148"/>
                      <a:pt x="193" y="147"/>
                      <a:pt x="193" y="146"/>
                    </a:cubicBezTo>
                    <a:cubicBezTo>
                      <a:pt x="193" y="145"/>
                      <a:pt x="192" y="145"/>
                      <a:pt x="192" y="144"/>
                    </a:cubicBezTo>
                    <a:cubicBezTo>
                      <a:pt x="193" y="143"/>
                      <a:pt x="193" y="143"/>
                      <a:pt x="194" y="143"/>
                    </a:cubicBezTo>
                    <a:cubicBezTo>
                      <a:pt x="194" y="142"/>
                      <a:pt x="194" y="142"/>
                      <a:pt x="194" y="141"/>
                    </a:cubicBezTo>
                    <a:cubicBezTo>
                      <a:pt x="194" y="140"/>
                      <a:pt x="196" y="140"/>
                      <a:pt x="196" y="140"/>
                    </a:cubicBezTo>
                    <a:cubicBezTo>
                      <a:pt x="197" y="139"/>
                      <a:pt x="197" y="139"/>
                      <a:pt x="198" y="139"/>
                    </a:cubicBezTo>
                    <a:cubicBezTo>
                      <a:pt x="199" y="138"/>
                      <a:pt x="200" y="138"/>
                      <a:pt x="201" y="137"/>
                    </a:cubicBezTo>
                    <a:cubicBezTo>
                      <a:pt x="204" y="137"/>
                      <a:pt x="207" y="137"/>
                      <a:pt x="208" y="135"/>
                    </a:cubicBezTo>
                    <a:cubicBezTo>
                      <a:pt x="209" y="132"/>
                      <a:pt x="206" y="131"/>
                      <a:pt x="204" y="130"/>
                    </a:cubicBezTo>
                    <a:cubicBezTo>
                      <a:pt x="201" y="128"/>
                      <a:pt x="199" y="128"/>
                      <a:pt x="196" y="126"/>
                    </a:cubicBezTo>
                    <a:cubicBezTo>
                      <a:pt x="193" y="125"/>
                      <a:pt x="191" y="122"/>
                      <a:pt x="188" y="123"/>
                    </a:cubicBezTo>
                    <a:cubicBezTo>
                      <a:pt x="185" y="124"/>
                      <a:pt x="185" y="127"/>
                      <a:pt x="183" y="129"/>
                    </a:cubicBezTo>
                    <a:cubicBezTo>
                      <a:pt x="182" y="129"/>
                      <a:pt x="182" y="130"/>
                      <a:pt x="181" y="131"/>
                    </a:cubicBezTo>
                    <a:cubicBezTo>
                      <a:pt x="181" y="131"/>
                      <a:pt x="181" y="132"/>
                      <a:pt x="180" y="133"/>
                    </a:cubicBezTo>
                    <a:cubicBezTo>
                      <a:pt x="180" y="133"/>
                      <a:pt x="180" y="134"/>
                      <a:pt x="180" y="134"/>
                    </a:cubicBezTo>
                    <a:cubicBezTo>
                      <a:pt x="179" y="136"/>
                      <a:pt x="179" y="135"/>
                      <a:pt x="178" y="136"/>
                    </a:cubicBezTo>
                    <a:cubicBezTo>
                      <a:pt x="176" y="138"/>
                      <a:pt x="175" y="138"/>
                      <a:pt x="172" y="137"/>
                    </a:cubicBezTo>
                    <a:cubicBezTo>
                      <a:pt x="170" y="137"/>
                      <a:pt x="170" y="137"/>
                      <a:pt x="170" y="135"/>
                    </a:cubicBezTo>
                    <a:cubicBezTo>
                      <a:pt x="169" y="135"/>
                      <a:pt x="169" y="133"/>
                      <a:pt x="169" y="133"/>
                    </a:cubicBezTo>
                    <a:cubicBezTo>
                      <a:pt x="168" y="132"/>
                      <a:pt x="167" y="132"/>
                      <a:pt x="166" y="131"/>
                    </a:cubicBezTo>
                    <a:cubicBezTo>
                      <a:pt x="165" y="131"/>
                      <a:pt x="164" y="130"/>
                      <a:pt x="163" y="130"/>
                    </a:cubicBezTo>
                    <a:cubicBezTo>
                      <a:pt x="161" y="128"/>
                      <a:pt x="159" y="126"/>
                      <a:pt x="156" y="125"/>
                    </a:cubicBezTo>
                    <a:cubicBezTo>
                      <a:pt x="153" y="124"/>
                      <a:pt x="150" y="123"/>
                      <a:pt x="147" y="122"/>
                    </a:cubicBezTo>
                    <a:cubicBezTo>
                      <a:pt x="147" y="122"/>
                      <a:pt x="147" y="122"/>
                      <a:pt x="147" y="122"/>
                    </a:cubicBezTo>
                    <a:cubicBezTo>
                      <a:pt x="147" y="122"/>
                      <a:pt x="146" y="122"/>
                      <a:pt x="146" y="122"/>
                    </a:cubicBezTo>
                    <a:cubicBezTo>
                      <a:pt x="145" y="121"/>
                      <a:pt x="144" y="121"/>
                      <a:pt x="143" y="120"/>
                    </a:cubicBezTo>
                    <a:cubicBezTo>
                      <a:pt x="143" y="119"/>
                      <a:pt x="143" y="119"/>
                      <a:pt x="143" y="118"/>
                    </a:cubicBezTo>
                    <a:cubicBezTo>
                      <a:pt x="143" y="118"/>
                      <a:pt x="142" y="117"/>
                      <a:pt x="142" y="117"/>
                    </a:cubicBezTo>
                    <a:cubicBezTo>
                      <a:pt x="142" y="116"/>
                      <a:pt x="142" y="116"/>
                      <a:pt x="141" y="115"/>
                    </a:cubicBezTo>
                    <a:cubicBezTo>
                      <a:pt x="141" y="115"/>
                      <a:pt x="138" y="115"/>
                      <a:pt x="137" y="115"/>
                    </a:cubicBezTo>
                    <a:cubicBezTo>
                      <a:pt x="136" y="115"/>
                      <a:pt x="135" y="115"/>
                      <a:pt x="134" y="115"/>
                    </a:cubicBezTo>
                    <a:cubicBezTo>
                      <a:pt x="133" y="114"/>
                      <a:pt x="133" y="113"/>
                      <a:pt x="133" y="112"/>
                    </a:cubicBezTo>
                    <a:cubicBezTo>
                      <a:pt x="132" y="111"/>
                      <a:pt x="133" y="111"/>
                      <a:pt x="134" y="110"/>
                    </a:cubicBezTo>
                    <a:cubicBezTo>
                      <a:pt x="135" y="109"/>
                      <a:pt x="135" y="108"/>
                      <a:pt x="136" y="108"/>
                    </a:cubicBezTo>
                    <a:cubicBezTo>
                      <a:pt x="138" y="107"/>
                      <a:pt x="140" y="108"/>
                      <a:pt x="141" y="108"/>
                    </a:cubicBezTo>
                    <a:cubicBezTo>
                      <a:pt x="143" y="107"/>
                      <a:pt x="142" y="104"/>
                      <a:pt x="141" y="103"/>
                    </a:cubicBezTo>
                    <a:cubicBezTo>
                      <a:pt x="140" y="102"/>
                      <a:pt x="139" y="101"/>
                      <a:pt x="139" y="101"/>
                    </a:cubicBezTo>
                    <a:cubicBezTo>
                      <a:pt x="138" y="100"/>
                      <a:pt x="136" y="100"/>
                      <a:pt x="135" y="99"/>
                    </a:cubicBezTo>
                    <a:cubicBezTo>
                      <a:pt x="134" y="98"/>
                      <a:pt x="133" y="95"/>
                      <a:pt x="134" y="94"/>
                    </a:cubicBezTo>
                    <a:cubicBezTo>
                      <a:pt x="134" y="93"/>
                      <a:pt x="135" y="93"/>
                      <a:pt x="136" y="92"/>
                    </a:cubicBezTo>
                    <a:cubicBezTo>
                      <a:pt x="136" y="92"/>
                      <a:pt x="136" y="92"/>
                      <a:pt x="136" y="91"/>
                    </a:cubicBezTo>
                    <a:cubicBezTo>
                      <a:pt x="137" y="91"/>
                      <a:pt x="137" y="90"/>
                      <a:pt x="137" y="90"/>
                    </a:cubicBezTo>
                    <a:cubicBezTo>
                      <a:pt x="137" y="88"/>
                      <a:pt x="138" y="88"/>
                      <a:pt x="139" y="87"/>
                    </a:cubicBezTo>
                    <a:cubicBezTo>
                      <a:pt x="140" y="86"/>
                      <a:pt x="141" y="85"/>
                      <a:pt x="141" y="84"/>
                    </a:cubicBezTo>
                    <a:cubicBezTo>
                      <a:pt x="141" y="83"/>
                      <a:pt x="140" y="83"/>
                      <a:pt x="139" y="82"/>
                    </a:cubicBezTo>
                    <a:cubicBezTo>
                      <a:pt x="138" y="81"/>
                      <a:pt x="138" y="80"/>
                      <a:pt x="138" y="79"/>
                    </a:cubicBezTo>
                    <a:cubicBezTo>
                      <a:pt x="139" y="78"/>
                      <a:pt x="140" y="78"/>
                      <a:pt x="139" y="77"/>
                    </a:cubicBezTo>
                    <a:cubicBezTo>
                      <a:pt x="139" y="76"/>
                      <a:pt x="138" y="76"/>
                      <a:pt x="137" y="76"/>
                    </a:cubicBezTo>
                    <a:cubicBezTo>
                      <a:pt x="137" y="75"/>
                      <a:pt x="137" y="75"/>
                      <a:pt x="136" y="74"/>
                    </a:cubicBezTo>
                    <a:cubicBezTo>
                      <a:pt x="135" y="73"/>
                      <a:pt x="134" y="73"/>
                      <a:pt x="133" y="73"/>
                    </a:cubicBezTo>
                    <a:cubicBezTo>
                      <a:pt x="126" y="73"/>
                      <a:pt x="120" y="73"/>
                      <a:pt x="114" y="71"/>
                    </a:cubicBezTo>
                    <a:cubicBezTo>
                      <a:pt x="112" y="70"/>
                      <a:pt x="111" y="69"/>
                      <a:pt x="110" y="68"/>
                    </a:cubicBezTo>
                    <a:cubicBezTo>
                      <a:pt x="110" y="67"/>
                      <a:pt x="110" y="66"/>
                      <a:pt x="110" y="65"/>
                    </a:cubicBezTo>
                    <a:cubicBezTo>
                      <a:pt x="110" y="62"/>
                      <a:pt x="110" y="62"/>
                      <a:pt x="107" y="61"/>
                    </a:cubicBezTo>
                    <a:cubicBezTo>
                      <a:pt x="105" y="61"/>
                      <a:pt x="104" y="61"/>
                      <a:pt x="104" y="59"/>
                    </a:cubicBezTo>
                    <a:cubicBezTo>
                      <a:pt x="103" y="58"/>
                      <a:pt x="103" y="57"/>
                      <a:pt x="103" y="56"/>
                    </a:cubicBezTo>
                    <a:cubicBezTo>
                      <a:pt x="104" y="55"/>
                      <a:pt x="107" y="53"/>
                      <a:pt x="106" y="52"/>
                    </a:cubicBezTo>
                    <a:cubicBezTo>
                      <a:pt x="104" y="52"/>
                      <a:pt x="103" y="48"/>
                      <a:pt x="104" y="46"/>
                    </a:cubicBezTo>
                    <a:cubicBezTo>
                      <a:pt x="104" y="45"/>
                      <a:pt x="105" y="45"/>
                      <a:pt x="105" y="44"/>
                    </a:cubicBezTo>
                    <a:cubicBezTo>
                      <a:pt x="105" y="43"/>
                      <a:pt x="105" y="41"/>
                      <a:pt x="105" y="40"/>
                    </a:cubicBezTo>
                    <a:cubicBezTo>
                      <a:pt x="105" y="38"/>
                      <a:pt x="106" y="35"/>
                      <a:pt x="105" y="33"/>
                    </a:cubicBezTo>
                    <a:cubicBezTo>
                      <a:pt x="104" y="32"/>
                      <a:pt x="103" y="32"/>
                      <a:pt x="102" y="32"/>
                    </a:cubicBezTo>
                    <a:cubicBezTo>
                      <a:pt x="101" y="32"/>
                      <a:pt x="100" y="31"/>
                      <a:pt x="100" y="32"/>
                    </a:cubicBezTo>
                    <a:cubicBezTo>
                      <a:pt x="99" y="32"/>
                      <a:pt x="99" y="33"/>
                      <a:pt x="98" y="33"/>
                    </a:cubicBezTo>
                    <a:cubicBezTo>
                      <a:pt x="97" y="33"/>
                      <a:pt x="96" y="31"/>
                      <a:pt x="96" y="30"/>
                    </a:cubicBezTo>
                    <a:cubicBezTo>
                      <a:pt x="96" y="30"/>
                      <a:pt x="95" y="29"/>
                      <a:pt x="95" y="29"/>
                    </a:cubicBezTo>
                    <a:cubicBezTo>
                      <a:pt x="94" y="28"/>
                      <a:pt x="95" y="28"/>
                      <a:pt x="94" y="27"/>
                    </a:cubicBezTo>
                    <a:cubicBezTo>
                      <a:pt x="94" y="26"/>
                      <a:pt x="93" y="25"/>
                      <a:pt x="92" y="25"/>
                    </a:cubicBezTo>
                    <a:cubicBezTo>
                      <a:pt x="90" y="24"/>
                      <a:pt x="90" y="25"/>
                      <a:pt x="90" y="23"/>
                    </a:cubicBezTo>
                    <a:cubicBezTo>
                      <a:pt x="89" y="20"/>
                      <a:pt x="86" y="20"/>
                      <a:pt x="84" y="19"/>
                    </a:cubicBezTo>
                    <a:cubicBezTo>
                      <a:pt x="83" y="19"/>
                      <a:pt x="82" y="19"/>
                      <a:pt x="82" y="18"/>
                    </a:cubicBezTo>
                    <a:cubicBezTo>
                      <a:pt x="80" y="16"/>
                      <a:pt x="81" y="14"/>
                      <a:pt x="81" y="12"/>
                    </a:cubicBezTo>
                    <a:cubicBezTo>
                      <a:pt x="76" y="3"/>
                      <a:pt x="76" y="3"/>
                      <a:pt x="76" y="3"/>
                    </a:cubicBezTo>
                    <a:cubicBezTo>
                      <a:pt x="75" y="3"/>
                      <a:pt x="75" y="3"/>
                      <a:pt x="74" y="3"/>
                    </a:cubicBezTo>
                    <a:cubicBezTo>
                      <a:pt x="71" y="3"/>
                      <a:pt x="68" y="1"/>
                      <a:pt x="65" y="1"/>
                    </a:cubicBezTo>
                    <a:cubicBezTo>
                      <a:pt x="61" y="1"/>
                      <a:pt x="59" y="2"/>
                      <a:pt x="56" y="3"/>
                    </a:cubicBezTo>
                    <a:cubicBezTo>
                      <a:pt x="53" y="3"/>
                      <a:pt x="50" y="3"/>
                      <a:pt x="46" y="2"/>
                    </a:cubicBezTo>
                    <a:cubicBezTo>
                      <a:pt x="45" y="2"/>
                      <a:pt x="45" y="1"/>
                      <a:pt x="44" y="0"/>
                    </a:cubicBezTo>
                    <a:cubicBezTo>
                      <a:pt x="43" y="0"/>
                      <a:pt x="41" y="1"/>
                      <a:pt x="40" y="1"/>
                    </a:cubicBezTo>
                    <a:cubicBezTo>
                      <a:pt x="38" y="1"/>
                      <a:pt x="37" y="1"/>
                      <a:pt x="36" y="2"/>
                    </a:cubicBezTo>
                    <a:cubicBezTo>
                      <a:pt x="35" y="2"/>
                      <a:pt x="35" y="3"/>
                      <a:pt x="34" y="3"/>
                    </a:cubicBezTo>
                    <a:cubicBezTo>
                      <a:pt x="34" y="4"/>
                      <a:pt x="34" y="4"/>
                      <a:pt x="33" y="4"/>
                    </a:cubicBezTo>
                    <a:cubicBezTo>
                      <a:pt x="33" y="4"/>
                      <a:pt x="33" y="5"/>
                      <a:pt x="33" y="5"/>
                    </a:cubicBezTo>
                    <a:cubicBezTo>
                      <a:pt x="31" y="7"/>
                      <a:pt x="28" y="7"/>
                      <a:pt x="26" y="8"/>
                    </a:cubicBezTo>
                    <a:cubicBezTo>
                      <a:pt x="25" y="9"/>
                      <a:pt x="24" y="10"/>
                      <a:pt x="23" y="11"/>
                    </a:cubicBezTo>
                    <a:cubicBezTo>
                      <a:pt x="23" y="13"/>
                      <a:pt x="23" y="13"/>
                      <a:pt x="23" y="14"/>
                    </a:cubicBezTo>
                    <a:cubicBezTo>
                      <a:pt x="22" y="16"/>
                      <a:pt x="20" y="17"/>
                      <a:pt x="18" y="16"/>
                    </a:cubicBezTo>
                    <a:cubicBezTo>
                      <a:pt x="16" y="15"/>
                      <a:pt x="15" y="13"/>
                      <a:pt x="14" y="11"/>
                    </a:cubicBezTo>
                    <a:cubicBezTo>
                      <a:pt x="13" y="11"/>
                      <a:pt x="12" y="10"/>
                      <a:pt x="12" y="9"/>
                    </a:cubicBezTo>
                    <a:cubicBezTo>
                      <a:pt x="9" y="11"/>
                      <a:pt x="7" y="15"/>
                      <a:pt x="6" y="18"/>
                    </a:cubicBezTo>
                    <a:cubicBezTo>
                      <a:pt x="4" y="19"/>
                      <a:pt x="1" y="18"/>
                      <a:pt x="0" y="19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0"/>
                      <a:pt x="0" y="22"/>
                      <a:pt x="0" y="24"/>
                    </a:cubicBezTo>
                    <a:cubicBezTo>
                      <a:pt x="0" y="26"/>
                      <a:pt x="0" y="27"/>
                      <a:pt x="0" y="28"/>
                    </a:cubicBezTo>
                    <a:cubicBezTo>
                      <a:pt x="1" y="29"/>
                      <a:pt x="1" y="30"/>
                      <a:pt x="1" y="30"/>
                    </a:cubicBezTo>
                    <a:cubicBezTo>
                      <a:pt x="1" y="30"/>
                      <a:pt x="2" y="30"/>
                      <a:pt x="2" y="31"/>
                    </a:cubicBezTo>
                    <a:cubicBezTo>
                      <a:pt x="2" y="31"/>
                      <a:pt x="2" y="32"/>
                      <a:pt x="2" y="32"/>
                    </a:cubicBezTo>
                    <a:cubicBezTo>
                      <a:pt x="2" y="33"/>
                      <a:pt x="2" y="35"/>
                      <a:pt x="2" y="36"/>
                    </a:cubicBezTo>
                    <a:cubicBezTo>
                      <a:pt x="2" y="38"/>
                      <a:pt x="4" y="38"/>
                      <a:pt x="4" y="40"/>
                    </a:cubicBezTo>
                    <a:cubicBezTo>
                      <a:pt x="4" y="41"/>
                      <a:pt x="3" y="41"/>
                      <a:pt x="3" y="42"/>
                    </a:cubicBezTo>
                    <a:cubicBezTo>
                      <a:pt x="3" y="43"/>
                      <a:pt x="2" y="43"/>
                      <a:pt x="2" y="44"/>
                    </a:cubicBezTo>
                    <a:cubicBezTo>
                      <a:pt x="2" y="46"/>
                      <a:pt x="2" y="47"/>
                      <a:pt x="2" y="48"/>
                    </a:cubicBezTo>
                    <a:cubicBezTo>
                      <a:pt x="4" y="49"/>
                      <a:pt x="4" y="48"/>
                      <a:pt x="5" y="50"/>
                    </a:cubicBezTo>
                    <a:cubicBezTo>
                      <a:pt x="6" y="50"/>
                      <a:pt x="6" y="50"/>
                      <a:pt x="6" y="51"/>
                    </a:cubicBezTo>
                    <a:cubicBezTo>
                      <a:pt x="7" y="52"/>
                      <a:pt x="8" y="53"/>
                      <a:pt x="7" y="55"/>
                    </a:cubicBezTo>
                    <a:cubicBezTo>
                      <a:pt x="7" y="55"/>
                      <a:pt x="6" y="55"/>
                      <a:pt x="6" y="56"/>
                    </a:cubicBezTo>
                    <a:cubicBezTo>
                      <a:pt x="6" y="57"/>
                      <a:pt x="7" y="57"/>
                      <a:pt x="8" y="58"/>
                    </a:cubicBezTo>
                    <a:cubicBezTo>
                      <a:pt x="8" y="61"/>
                      <a:pt x="4" y="62"/>
                      <a:pt x="6" y="64"/>
                    </a:cubicBezTo>
                    <a:cubicBezTo>
                      <a:pt x="6" y="65"/>
                      <a:pt x="7" y="66"/>
                      <a:pt x="8" y="66"/>
                    </a:cubicBezTo>
                    <a:cubicBezTo>
                      <a:pt x="10" y="67"/>
                      <a:pt x="13" y="69"/>
                      <a:pt x="17" y="70"/>
                    </a:cubicBezTo>
                    <a:cubicBezTo>
                      <a:pt x="19" y="70"/>
                      <a:pt x="19" y="70"/>
                      <a:pt x="21" y="72"/>
                    </a:cubicBezTo>
                    <a:cubicBezTo>
                      <a:pt x="22" y="73"/>
                      <a:pt x="23" y="75"/>
                      <a:pt x="24" y="76"/>
                    </a:cubicBezTo>
                    <a:cubicBezTo>
                      <a:pt x="25" y="77"/>
                      <a:pt x="26" y="77"/>
                      <a:pt x="26" y="78"/>
                    </a:cubicBezTo>
                    <a:cubicBezTo>
                      <a:pt x="28" y="82"/>
                      <a:pt x="21" y="82"/>
                      <a:pt x="19" y="82"/>
                    </a:cubicBezTo>
                    <a:cubicBezTo>
                      <a:pt x="17" y="83"/>
                      <a:pt x="13" y="84"/>
                      <a:pt x="12" y="86"/>
                    </a:cubicBezTo>
                    <a:cubicBezTo>
                      <a:pt x="11" y="87"/>
                      <a:pt x="12" y="88"/>
                      <a:pt x="12" y="89"/>
                    </a:cubicBezTo>
                    <a:cubicBezTo>
                      <a:pt x="12" y="90"/>
                      <a:pt x="10" y="91"/>
                      <a:pt x="10" y="92"/>
                    </a:cubicBezTo>
                    <a:cubicBezTo>
                      <a:pt x="7" y="94"/>
                      <a:pt x="10" y="96"/>
                      <a:pt x="11" y="99"/>
                    </a:cubicBezTo>
                    <a:cubicBezTo>
                      <a:pt x="11" y="99"/>
                      <a:pt x="11" y="99"/>
                      <a:pt x="11" y="99"/>
                    </a:cubicBezTo>
                    <a:cubicBezTo>
                      <a:pt x="18" y="104"/>
                      <a:pt x="22" y="109"/>
                      <a:pt x="23" y="112"/>
                    </a:cubicBezTo>
                    <a:cubicBezTo>
                      <a:pt x="21" y="120"/>
                      <a:pt x="21" y="120"/>
                      <a:pt x="21" y="120"/>
                    </a:cubicBezTo>
                    <a:cubicBezTo>
                      <a:pt x="17" y="124"/>
                      <a:pt x="14" y="129"/>
                      <a:pt x="13" y="135"/>
                    </a:cubicBezTo>
                    <a:cubicBezTo>
                      <a:pt x="12" y="136"/>
                      <a:pt x="12" y="136"/>
                      <a:pt x="12" y="137"/>
                    </a:cubicBezTo>
                    <a:cubicBezTo>
                      <a:pt x="11" y="138"/>
                      <a:pt x="11" y="138"/>
                      <a:pt x="11" y="139"/>
                    </a:cubicBezTo>
                    <a:cubicBezTo>
                      <a:pt x="11" y="139"/>
                      <a:pt x="11" y="140"/>
                      <a:pt x="11" y="141"/>
                    </a:cubicBezTo>
                    <a:cubicBezTo>
                      <a:pt x="11" y="141"/>
                      <a:pt x="11" y="142"/>
                      <a:pt x="11" y="142"/>
                    </a:cubicBezTo>
                    <a:cubicBezTo>
                      <a:pt x="11" y="143"/>
                      <a:pt x="12" y="143"/>
                      <a:pt x="13" y="144"/>
                    </a:cubicBezTo>
                    <a:cubicBezTo>
                      <a:pt x="13" y="144"/>
                      <a:pt x="12" y="145"/>
                      <a:pt x="13" y="145"/>
                    </a:cubicBezTo>
                    <a:cubicBezTo>
                      <a:pt x="14" y="145"/>
                      <a:pt x="14" y="146"/>
                      <a:pt x="15" y="146"/>
                    </a:cubicBezTo>
                    <a:cubicBezTo>
                      <a:pt x="16" y="146"/>
                      <a:pt x="18" y="147"/>
                      <a:pt x="19" y="147"/>
                    </a:cubicBezTo>
                    <a:cubicBezTo>
                      <a:pt x="21" y="147"/>
                      <a:pt x="24" y="146"/>
                      <a:pt x="25" y="148"/>
                    </a:cubicBezTo>
                    <a:cubicBezTo>
                      <a:pt x="25" y="149"/>
                      <a:pt x="24" y="150"/>
                      <a:pt x="24" y="151"/>
                    </a:cubicBezTo>
                    <a:cubicBezTo>
                      <a:pt x="24" y="152"/>
                      <a:pt x="24" y="152"/>
                      <a:pt x="24" y="153"/>
                    </a:cubicBezTo>
                    <a:cubicBezTo>
                      <a:pt x="23" y="153"/>
                      <a:pt x="23" y="153"/>
                      <a:pt x="23" y="154"/>
                    </a:cubicBezTo>
                    <a:cubicBezTo>
                      <a:pt x="23" y="154"/>
                      <a:pt x="22" y="154"/>
                      <a:pt x="21" y="154"/>
                    </a:cubicBezTo>
                    <a:cubicBezTo>
                      <a:pt x="20" y="155"/>
                      <a:pt x="20" y="157"/>
                      <a:pt x="20" y="158"/>
                    </a:cubicBezTo>
                    <a:cubicBezTo>
                      <a:pt x="20" y="159"/>
                      <a:pt x="21" y="160"/>
                      <a:pt x="22" y="161"/>
                    </a:cubicBezTo>
                    <a:cubicBezTo>
                      <a:pt x="23" y="162"/>
                      <a:pt x="23" y="163"/>
                      <a:pt x="24" y="164"/>
                    </a:cubicBezTo>
                    <a:cubicBezTo>
                      <a:pt x="24" y="164"/>
                      <a:pt x="24" y="164"/>
                      <a:pt x="24" y="165"/>
                    </a:cubicBezTo>
                    <a:cubicBezTo>
                      <a:pt x="24" y="164"/>
                      <a:pt x="25" y="165"/>
                      <a:pt x="25" y="165"/>
                    </a:cubicBezTo>
                    <a:cubicBezTo>
                      <a:pt x="26" y="166"/>
                      <a:pt x="27" y="167"/>
                      <a:pt x="28" y="167"/>
                    </a:cubicBezTo>
                    <a:cubicBezTo>
                      <a:pt x="29" y="168"/>
                      <a:pt x="31" y="169"/>
                      <a:pt x="32" y="169"/>
                    </a:cubicBezTo>
                    <a:cubicBezTo>
                      <a:pt x="33" y="169"/>
                      <a:pt x="36" y="170"/>
                      <a:pt x="36" y="171"/>
                    </a:cubicBezTo>
                    <a:cubicBezTo>
                      <a:pt x="36" y="171"/>
                      <a:pt x="36" y="173"/>
                      <a:pt x="36" y="173"/>
                    </a:cubicBezTo>
                    <a:cubicBezTo>
                      <a:pt x="36" y="174"/>
                      <a:pt x="36" y="175"/>
                      <a:pt x="36" y="175"/>
                    </a:cubicBezTo>
                    <a:cubicBezTo>
                      <a:pt x="36" y="176"/>
                      <a:pt x="36" y="176"/>
                      <a:pt x="35" y="177"/>
                    </a:cubicBezTo>
                    <a:cubicBezTo>
                      <a:pt x="34" y="178"/>
                      <a:pt x="34" y="178"/>
                      <a:pt x="33" y="179"/>
                    </a:cubicBezTo>
                    <a:cubicBezTo>
                      <a:pt x="32" y="180"/>
                      <a:pt x="29" y="180"/>
                      <a:pt x="27" y="180"/>
                    </a:cubicBezTo>
                    <a:cubicBezTo>
                      <a:pt x="24" y="180"/>
                      <a:pt x="20" y="180"/>
                      <a:pt x="18" y="178"/>
                    </a:cubicBezTo>
                    <a:cubicBezTo>
                      <a:pt x="17" y="178"/>
                      <a:pt x="16" y="177"/>
                      <a:pt x="15" y="176"/>
                    </a:cubicBezTo>
                    <a:cubicBezTo>
                      <a:pt x="14" y="177"/>
                      <a:pt x="13" y="180"/>
                      <a:pt x="14" y="181"/>
                    </a:cubicBezTo>
                    <a:cubicBezTo>
                      <a:pt x="14" y="182"/>
                      <a:pt x="15" y="183"/>
                      <a:pt x="16" y="183"/>
                    </a:cubicBezTo>
                    <a:cubicBezTo>
                      <a:pt x="18" y="184"/>
                      <a:pt x="18" y="183"/>
                      <a:pt x="19" y="185"/>
                    </a:cubicBezTo>
                    <a:cubicBezTo>
                      <a:pt x="20" y="186"/>
                      <a:pt x="20" y="187"/>
                      <a:pt x="21" y="188"/>
                    </a:cubicBezTo>
                    <a:cubicBezTo>
                      <a:pt x="22" y="191"/>
                      <a:pt x="24" y="193"/>
                      <a:pt x="26" y="196"/>
                    </a:cubicBezTo>
                    <a:cubicBezTo>
                      <a:pt x="27" y="198"/>
                      <a:pt x="28" y="199"/>
                      <a:pt x="28" y="201"/>
                    </a:cubicBezTo>
                    <a:cubicBezTo>
                      <a:pt x="28" y="201"/>
                      <a:pt x="28" y="202"/>
                      <a:pt x="28" y="202"/>
                    </a:cubicBezTo>
                    <a:cubicBezTo>
                      <a:pt x="28" y="203"/>
                      <a:pt x="29" y="203"/>
                      <a:pt x="29" y="204"/>
                    </a:cubicBezTo>
                    <a:cubicBezTo>
                      <a:pt x="29" y="205"/>
                      <a:pt x="28" y="206"/>
                      <a:pt x="28" y="208"/>
                    </a:cubicBezTo>
                    <a:cubicBezTo>
                      <a:pt x="28" y="209"/>
                      <a:pt x="28" y="210"/>
                      <a:pt x="28" y="211"/>
                    </a:cubicBezTo>
                    <a:cubicBezTo>
                      <a:pt x="27" y="212"/>
                      <a:pt x="26" y="212"/>
                      <a:pt x="26" y="213"/>
                    </a:cubicBezTo>
                    <a:cubicBezTo>
                      <a:pt x="25" y="214"/>
                      <a:pt x="26" y="214"/>
                      <a:pt x="25" y="214"/>
                    </a:cubicBezTo>
                    <a:cubicBezTo>
                      <a:pt x="24" y="215"/>
                      <a:pt x="24" y="214"/>
                      <a:pt x="23" y="214"/>
                    </a:cubicBezTo>
                    <a:cubicBezTo>
                      <a:pt x="23" y="212"/>
                      <a:pt x="22" y="211"/>
                      <a:pt x="21" y="210"/>
                    </a:cubicBezTo>
                    <a:cubicBezTo>
                      <a:pt x="20" y="209"/>
                      <a:pt x="20" y="207"/>
                      <a:pt x="20" y="207"/>
                    </a:cubicBezTo>
                    <a:cubicBezTo>
                      <a:pt x="19" y="206"/>
                      <a:pt x="17" y="208"/>
                      <a:pt x="16" y="209"/>
                    </a:cubicBezTo>
                    <a:cubicBezTo>
                      <a:pt x="16" y="209"/>
                      <a:pt x="16" y="210"/>
                      <a:pt x="15" y="210"/>
                    </a:cubicBezTo>
                    <a:cubicBezTo>
                      <a:pt x="14" y="211"/>
                      <a:pt x="13" y="211"/>
                      <a:pt x="13" y="212"/>
                    </a:cubicBezTo>
                    <a:cubicBezTo>
                      <a:pt x="13" y="213"/>
                      <a:pt x="13" y="214"/>
                      <a:pt x="12" y="214"/>
                    </a:cubicBezTo>
                    <a:cubicBezTo>
                      <a:pt x="12" y="214"/>
                      <a:pt x="12" y="214"/>
                      <a:pt x="12" y="214"/>
                    </a:cubicBezTo>
                    <a:cubicBezTo>
                      <a:pt x="12" y="215"/>
                      <a:pt x="13" y="216"/>
                      <a:pt x="14" y="217"/>
                    </a:cubicBezTo>
                    <a:cubicBezTo>
                      <a:pt x="14" y="218"/>
                      <a:pt x="14" y="219"/>
                      <a:pt x="16" y="219"/>
                    </a:cubicBezTo>
                    <a:cubicBezTo>
                      <a:pt x="17" y="220"/>
                      <a:pt x="17" y="220"/>
                      <a:pt x="18" y="221"/>
                    </a:cubicBezTo>
                    <a:cubicBezTo>
                      <a:pt x="19" y="222"/>
                      <a:pt x="20" y="222"/>
                      <a:pt x="22" y="223"/>
                    </a:cubicBezTo>
                    <a:cubicBezTo>
                      <a:pt x="23" y="223"/>
                      <a:pt x="23" y="224"/>
                      <a:pt x="24" y="225"/>
                    </a:cubicBezTo>
                    <a:cubicBezTo>
                      <a:pt x="25" y="228"/>
                      <a:pt x="27" y="229"/>
                      <a:pt x="29" y="231"/>
                    </a:cubicBezTo>
                    <a:cubicBezTo>
                      <a:pt x="30" y="232"/>
                      <a:pt x="31" y="233"/>
                      <a:pt x="32" y="234"/>
                    </a:cubicBezTo>
                    <a:cubicBezTo>
                      <a:pt x="30" y="234"/>
                      <a:pt x="30" y="234"/>
                      <a:pt x="30" y="234"/>
                    </a:cubicBezTo>
                    <a:cubicBezTo>
                      <a:pt x="30" y="236"/>
                      <a:pt x="32" y="238"/>
                      <a:pt x="34" y="239"/>
                    </a:cubicBezTo>
                    <a:cubicBezTo>
                      <a:pt x="35" y="240"/>
                      <a:pt x="36" y="240"/>
                      <a:pt x="36" y="241"/>
                    </a:cubicBezTo>
                    <a:cubicBezTo>
                      <a:pt x="37" y="241"/>
                      <a:pt x="37" y="242"/>
                      <a:pt x="38" y="242"/>
                    </a:cubicBezTo>
                    <a:cubicBezTo>
                      <a:pt x="39" y="242"/>
                      <a:pt x="39" y="242"/>
                      <a:pt x="40" y="242"/>
                    </a:cubicBezTo>
                    <a:cubicBezTo>
                      <a:pt x="40" y="243"/>
                      <a:pt x="40" y="243"/>
                      <a:pt x="40" y="244"/>
                    </a:cubicBezTo>
                    <a:cubicBezTo>
                      <a:pt x="41" y="244"/>
                      <a:pt x="41" y="245"/>
                      <a:pt x="42" y="245"/>
                    </a:cubicBezTo>
                    <a:cubicBezTo>
                      <a:pt x="43" y="246"/>
                      <a:pt x="44" y="247"/>
                      <a:pt x="45" y="247"/>
                    </a:cubicBezTo>
                    <a:cubicBezTo>
                      <a:pt x="47" y="248"/>
                      <a:pt x="49" y="247"/>
                      <a:pt x="51" y="247"/>
                    </a:cubicBezTo>
                    <a:cubicBezTo>
                      <a:pt x="52" y="247"/>
                      <a:pt x="53" y="247"/>
                      <a:pt x="54" y="249"/>
                    </a:cubicBezTo>
                    <a:cubicBezTo>
                      <a:pt x="54" y="250"/>
                      <a:pt x="54" y="251"/>
                      <a:pt x="56" y="251"/>
                    </a:cubicBezTo>
                    <a:cubicBezTo>
                      <a:pt x="56" y="252"/>
                      <a:pt x="57" y="252"/>
                      <a:pt x="57" y="253"/>
                    </a:cubicBezTo>
                    <a:cubicBezTo>
                      <a:pt x="58" y="253"/>
                      <a:pt x="58" y="254"/>
                      <a:pt x="59" y="254"/>
                    </a:cubicBezTo>
                    <a:cubicBezTo>
                      <a:pt x="59" y="255"/>
                      <a:pt x="59" y="255"/>
                      <a:pt x="59" y="256"/>
                    </a:cubicBezTo>
                    <a:cubicBezTo>
                      <a:pt x="59" y="257"/>
                      <a:pt x="59" y="257"/>
                      <a:pt x="60" y="258"/>
                    </a:cubicBezTo>
                    <a:cubicBezTo>
                      <a:pt x="60" y="259"/>
                      <a:pt x="64" y="258"/>
                      <a:pt x="65" y="258"/>
                    </a:cubicBezTo>
                    <a:cubicBezTo>
                      <a:pt x="66" y="258"/>
                      <a:pt x="68" y="257"/>
                      <a:pt x="69" y="258"/>
                    </a:cubicBezTo>
                    <a:cubicBezTo>
                      <a:pt x="70" y="258"/>
                      <a:pt x="69" y="260"/>
                      <a:pt x="70" y="260"/>
                    </a:cubicBezTo>
                    <a:cubicBezTo>
                      <a:pt x="70" y="261"/>
                      <a:pt x="70" y="262"/>
                      <a:pt x="71" y="262"/>
                    </a:cubicBezTo>
                    <a:cubicBezTo>
                      <a:pt x="72" y="263"/>
                      <a:pt x="74" y="266"/>
                      <a:pt x="73" y="268"/>
                    </a:cubicBezTo>
                    <a:cubicBezTo>
                      <a:pt x="73" y="269"/>
                      <a:pt x="73" y="269"/>
                      <a:pt x="72" y="270"/>
                    </a:cubicBezTo>
                    <a:cubicBezTo>
                      <a:pt x="72" y="270"/>
                      <a:pt x="72" y="270"/>
                      <a:pt x="72" y="270"/>
                    </a:cubicBezTo>
                    <a:cubicBezTo>
                      <a:pt x="73" y="270"/>
                      <a:pt x="75" y="271"/>
                      <a:pt x="75" y="270"/>
                    </a:cubicBezTo>
                    <a:cubicBezTo>
                      <a:pt x="76" y="270"/>
                      <a:pt x="77" y="269"/>
                      <a:pt x="77" y="268"/>
                    </a:cubicBezTo>
                    <a:cubicBezTo>
                      <a:pt x="78" y="268"/>
                      <a:pt x="78" y="267"/>
                      <a:pt x="79" y="266"/>
                    </a:cubicBezTo>
                    <a:cubicBezTo>
                      <a:pt x="80" y="265"/>
                      <a:pt x="81" y="266"/>
                      <a:pt x="82" y="264"/>
                    </a:cubicBezTo>
                    <a:cubicBezTo>
                      <a:pt x="82" y="263"/>
                      <a:pt x="82" y="262"/>
                      <a:pt x="82" y="262"/>
                    </a:cubicBezTo>
                    <a:cubicBezTo>
                      <a:pt x="82" y="259"/>
                      <a:pt x="84" y="258"/>
                      <a:pt x="86" y="257"/>
                    </a:cubicBezTo>
                    <a:cubicBezTo>
                      <a:pt x="86" y="256"/>
                      <a:pt x="87" y="256"/>
                      <a:pt x="88" y="256"/>
                    </a:cubicBezTo>
                    <a:cubicBezTo>
                      <a:pt x="88" y="256"/>
                      <a:pt x="88" y="255"/>
                      <a:pt x="88" y="255"/>
                    </a:cubicBezTo>
                    <a:cubicBezTo>
                      <a:pt x="88" y="254"/>
                      <a:pt x="89" y="253"/>
                      <a:pt x="90" y="252"/>
                    </a:cubicBezTo>
                    <a:cubicBezTo>
                      <a:pt x="91" y="251"/>
                      <a:pt x="92" y="251"/>
                      <a:pt x="93" y="249"/>
                    </a:cubicBezTo>
                    <a:cubicBezTo>
                      <a:pt x="93" y="248"/>
                      <a:pt x="93" y="246"/>
                      <a:pt x="93" y="244"/>
                    </a:cubicBezTo>
                    <a:cubicBezTo>
                      <a:pt x="93" y="241"/>
                      <a:pt x="93" y="239"/>
                      <a:pt x="95" y="236"/>
                    </a:cubicBezTo>
                    <a:cubicBezTo>
                      <a:pt x="96" y="235"/>
                      <a:pt x="97" y="232"/>
                      <a:pt x="98" y="234"/>
                    </a:cubicBezTo>
                    <a:cubicBezTo>
                      <a:pt x="99" y="236"/>
                      <a:pt x="98" y="236"/>
                      <a:pt x="97" y="236"/>
                    </a:cubicBezTo>
                    <a:cubicBezTo>
                      <a:pt x="96" y="237"/>
                      <a:pt x="96" y="236"/>
                      <a:pt x="96" y="238"/>
                    </a:cubicBezTo>
                    <a:cubicBezTo>
                      <a:pt x="96" y="241"/>
                      <a:pt x="99" y="244"/>
                      <a:pt x="100" y="247"/>
                    </a:cubicBezTo>
                    <a:cubicBezTo>
                      <a:pt x="102" y="247"/>
                      <a:pt x="103" y="245"/>
                      <a:pt x="105" y="245"/>
                    </a:cubicBezTo>
                    <a:cubicBezTo>
                      <a:pt x="106" y="244"/>
                      <a:pt x="107" y="244"/>
                      <a:pt x="107" y="243"/>
                    </a:cubicBezTo>
                    <a:cubicBezTo>
                      <a:pt x="108" y="242"/>
                      <a:pt x="107" y="241"/>
                      <a:pt x="108" y="241"/>
                    </a:cubicBezTo>
                    <a:cubicBezTo>
                      <a:pt x="108" y="240"/>
                      <a:pt x="110" y="240"/>
                      <a:pt x="111" y="240"/>
                    </a:cubicBezTo>
                    <a:cubicBezTo>
                      <a:pt x="113" y="242"/>
                      <a:pt x="112" y="243"/>
                      <a:pt x="112" y="245"/>
                    </a:cubicBezTo>
                    <a:cubicBezTo>
                      <a:pt x="115" y="250"/>
                      <a:pt x="115" y="250"/>
                      <a:pt x="115" y="250"/>
                    </a:cubicBezTo>
                    <a:cubicBezTo>
                      <a:pt x="115" y="252"/>
                      <a:pt x="116" y="253"/>
                      <a:pt x="117" y="255"/>
                    </a:cubicBezTo>
                    <a:cubicBezTo>
                      <a:pt x="117" y="257"/>
                      <a:pt x="116" y="258"/>
                      <a:pt x="118" y="260"/>
                    </a:cubicBezTo>
                    <a:cubicBezTo>
                      <a:pt x="119" y="261"/>
                      <a:pt x="122" y="261"/>
                      <a:pt x="124" y="263"/>
                    </a:cubicBezTo>
                    <a:cubicBezTo>
                      <a:pt x="124" y="265"/>
                      <a:pt x="124" y="265"/>
                      <a:pt x="125" y="266"/>
                    </a:cubicBezTo>
                    <a:cubicBezTo>
                      <a:pt x="126" y="267"/>
                      <a:pt x="126" y="267"/>
                      <a:pt x="127" y="268"/>
                    </a:cubicBezTo>
                    <a:cubicBezTo>
                      <a:pt x="128" y="267"/>
                      <a:pt x="130" y="267"/>
                      <a:pt x="132" y="267"/>
                    </a:cubicBezTo>
                    <a:cubicBezTo>
                      <a:pt x="132" y="269"/>
                      <a:pt x="131" y="271"/>
                      <a:pt x="131" y="272"/>
                    </a:cubicBezTo>
                    <a:cubicBezTo>
                      <a:pt x="131" y="274"/>
                      <a:pt x="131" y="276"/>
                      <a:pt x="131" y="278"/>
                    </a:cubicBezTo>
                    <a:cubicBezTo>
                      <a:pt x="134" y="278"/>
                      <a:pt x="134" y="282"/>
                      <a:pt x="136" y="282"/>
                    </a:cubicBezTo>
                    <a:cubicBezTo>
                      <a:pt x="140" y="274"/>
                      <a:pt x="143" y="288"/>
                      <a:pt x="147" y="287"/>
                    </a:cubicBezTo>
                    <a:cubicBezTo>
                      <a:pt x="148" y="287"/>
                      <a:pt x="149" y="285"/>
                      <a:pt x="150" y="286"/>
                    </a:cubicBezTo>
                    <a:cubicBezTo>
                      <a:pt x="151" y="286"/>
                      <a:pt x="152" y="287"/>
                      <a:pt x="152" y="287"/>
                    </a:cubicBezTo>
                    <a:cubicBezTo>
                      <a:pt x="153" y="288"/>
                      <a:pt x="152" y="288"/>
                      <a:pt x="151" y="289"/>
                    </a:cubicBezTo>
                    <a:cubicBezTo>
                      <a:pt x="150" y="290"/>
                      <a:pt x="150" y="291"/>
                      <a:pt x="149" y="292"/>
                    </a:cubicBezTo>
                    <a:cubicBezTo>
                      <a:pt x="148" y="293"/>
                      <a:pt x="146" y="294"/>
                      <a:pt x="146" y="296"/>
                    </a:cubicBezTo>
                    <a:cubicBezTo>
                      <a:pt x="146" y="297"/>
                      <a:pt x="147" y="300"/>
                      <a:pt x="146" y="302"/>
                    </a:cubicBezTo>
                    <a:cubicBezTo>
                      <a:pt x="146" y="302"/>
                      <a:pt x="146" y="302"/>
                      <a:pt x="146" y="302"/>
                    </a:cubicBezTo>
                    <a:cubicBezTo>
                      <a:pt x="146" y="302"/>
                      <a:pt x="145" y="304"/>
                      <a:pt x="145" y="304"/>
                    </a:cubicBezTo>
                    <a:cubicBezTo>
                      <a:pt x="144" y="304"/>
                      <a:pt x="143" y="304"/>
                      <a:pt x="143" y="305"/>
                    </a:cubicBezTo>
                    <a:cubicBezTo>
                      <a:pt x="142" y="306"/>
                      <a:pt x="142" y="307"/>
                      <a:pt x="142" y="308"/>
                    </a:cubicBezTo>
                    <a:cubicBezTo>
                      <a:pt x="142" y="308"/>
                      <a:pt x="141" y="309"/>
                      <a:pt x="140" y="309"/>
                    </a:cubicBezTo>
                    <a:cubicBezTo>
                      <a:pt x="139" y="311"/>
                      <a:pt x="135" y="313"/>
                      <a:pt x="135" y="316"/>
                    </a:cubicBezTo>
                    <a:cubicBezTo>
                      <a:pt x="136" y="317"/>
                      <a:pt x="137" y="318"/>
                      <a:pt x="137" y="319"/>
                    </a:cubicBezTo>
                    <a:cubicBezTo>
                      <a:pt x="138" y="319"/>
                      <a:pt x="138" y="319"/>
                      <a:pt x="138" y="320"/>
                    </a:cubicBezTo>
                    <a:cubicBezTo>
                      <a:pt x="138" y="320"/>
                      <a:pt x="138" y="321"/>
                      <a:pt x="138" y="321"/>
                    </a:cubicBezTo>
                    <a:cubicBezTo>
                      <a:pt x="138" y="321"/>
                      <a:pt x="138" y="321"/>
                      <a:pt x="138" y="321"/>
                    </a:cubicBezTo>
                    <a:cubicBezTo>
                      <a:pt x="140" y="322"/>
                      <a:pt x="144" y="322"/>
                      <a:pt x="146" y="321"/>
                    </a:cubicBezTo>
                    <a:cubicBezTo>
                      <a:pt x="148" y="320"/>
                      <a:pt x="148" y="320"/>
                      <a:pt x="149" y="318"/>
                    </a:cubicBezTo>
                    <a:cubicBezTo>
                      <a:pt x="149" y="318"/>
                      <a:pt x="149" y="317"/>
                      <a:pt x="150" y="316"/>
                    </a:cubicBezTo>
                    <a:cubicBezTo>
                      <a:pt x="151" y="315"/>
                      <a:pt x="153" y="315"/>
                      <a:pt x="155" y="314"/>
                    </a:cubicBezTo>
                    <a:cubicBezTo>
                      <a:pt x="157" y="313"/>
                      <a:pt x="158" y="314"/>
                      <a:pt x="159" y="316"/>
                    </a:cubicBezTo>
                    <a:cubicBezTo>
                      <a:pt x="160" y="317"/>
                      <a:pt x="159" y="317"/>
                      <a:pt x="160" y="317"/>
                    </a:cubicBezTo>
                    <a:cubicBezTo>
                      <a:pt x="161" y="318"/>
                      <a:pt x="162" y="318"/>
                      <a:pt x="163" y="319"/>
                    </a:cubicBezTo>
                    <a:cubicBezTo>
                      <a:pt x="164" y="319"/>
                      <a:pt x="163" y="320"/>
                      <a:pt x="165" y="319"/>
                    </a:cubicBezTo>
                    <a:cubicBezTo>
                      <a:pt x="165" y="319"/>
                      <a:pt x="166" y="319"/>
                      <a:pt x="167" y="318"/>
                    </a:cubicBezTo>
                    <a:cubicBezTo>
                      <a:pt x="168" y="317"/>
                      <a:pt x="168" y="315"/>
                      <a:pt x="170" y="314"/>
                    </a:cubicBezTo>
                    <a:cubicBezTo>
                      <a:pt x="171" y="313"/>
                      <a:pt x="172" y="313"/>
                      <a:pt x="174" y="312"/>
                    </a:cubicBezTo>
                    <a:cubicBezTo>
                      <a:pt x="178" y="310"/>
                      <a:pt x="181" y="314"/>
                      <a:pt x="184" y="316"/>
                    </a:cubicBezTo>
                    <a:cubicBezTo>
                      <a:pt x="186" y="317"/>
                      <a:pt x="190" y="317"/>
                      <a:pt x="193" y="315"/>
                    </a:cubicBezTo>
                    <a:cubicBezTo>
                      <a:pt x="194" y="314"/>
                      <a:pt x="195" y="312"/>
                      <a:pt x="195" y="311"/>
                    </a:cubicBezTo>
                    <a:cubicBezTo>
                      <a:pt x="195" y="309"/>
                      <a:pt x="195" y="309"/>
                      <a:pt x="194" y="307"/>
                    </a:cubicBezTo>
                    <a:cubicBezTo>
                      <a:pt x="193" y="306"/>
                      <a:pt x="193" y="304"/>
                      <a:pt x="193" y="303"/>
                    </a:cubicBezTo>
                    <a:cubicBezTo>
                      <a:pt x="192" y="301"/>
                      <a:pt x="191" y="301"/>
                      <a:pt x="190" y="299"/>
                    </a:cubicBezTo>
                    <a:cubicBezTo>
                      <a:pt x="190" y="297"/>
                      <a:pt x="190" y="298"/>
                      <a:pt x="189" y="297"/>
                    </a:cubicBezTo>
                    <a:cubicBezTo>
                      <a:pt x="188" y="296"/>
                      <a:pt x="188" y="296"/>
                      <a:pt x="187" y="295"/>
                    </a:cubicBezTo>
                    <a:cubicBezTo>
                      <a:pt x="186" y="293"/>
                      <a:pt x="186" y="293"/>
                      <a:pt x="186" y="290"/>
                    </a:cubicBezTo>
                    <a:cubicBezTo>
                      <a:pt x="186" y="288"/>
                      <a:pt x="187" y="287"/>
                      <a:pt x="187" y="285"/>
                    </a:cubicBezTo>
                    <a:cubicBezTo>
                      <a:pt x="188" y="283"/>
                      <a:pt x="189" y="281"/>
                      <a:pt x="188" y="279"/>
                    </a:cubicBezTo>
                    <a:cubicBezTo>
                      <a:pt x="188" y="278"/>
                      <a:pt x="187" y="277"/>
                      <a:pt x="187" y="276"/>
                    </a:cubicBezTo>
                    <a:cubicBezTo>
                      <a:pt x="187" y="275"/>
                      <a:pt x="187" y="273"/>
                      <a:pt x="187" y="272"/>
                    </a:cubicBezTo>
                    <a:cubicBezTo>
                      <a:pt x="188" y="271"/>
                      <a:pt x="192" y="270"/>
                      <a:pt x="193" y="270"/>
                    </a:cubicBezTo>
                    <a:cubicBezTo>
                      <a:pt x="194" y="270"/>
                      <a:pt x="195" y="270"/>
                      <a:pt x="196" y="270"/>
                    </a:cubicBezTo>
                    <a:cubicBezTo>
                      <a:pt x="197" y="270"/>
                      <a:pt x="197" y="271"/>
                      <a:pt x="198" y="271"/>
                    </a:cubicBezTo>
                    <a:cubicBezTo>
                      <a:pt x="199" y="270"/>
                      <a:pt x="199" y="270"/>
                      <a:pt x="200" y="270"/>
                    </a:cubicBezTo>
                    <a:cubicBezTo>
                      <a:pt x="201" y="269"/>
                      <a:pt x="201" y="270"/>
                      <a:pt x="202" y="269"/>
                    </a:cubicBezTo>
                    <a:cubicBezTo>
                      <a:pt x="202" y="269"/>
                      <a:pt x="204" y="268"/>
                      <a:pt x="205" y="267"/>
                    </a:cubicBezTo>
                    <a:cubicBezTo>
                      <a:pt x="205" y="267"/>
                      <a:pt x="205" y="265"/>
                      <a:pt x="205" y="264"/>
                    </a:cubicBezTo>
                    <a:cubicBezTo>
                      <a:pt x="206" y="262"/>
                      <a:pt x="206" y="260"/>
                      <a:pt x="208" y="258"/>
                    </a:cubicBezTo>
                    <a:cubicBezTo>
                      <a:pt x="210" y="256"/>
                      <a:pt x="213" y="256"/>
                      <a:pt x="214" y="254"/>
                    </a:cubicBezTo>
                    <a:cubicBezTo>
                      <a:pt x="215" y="253"/>
                      <a:pt x="218" y="251"/>
                      <a:pt x="217" y="248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14" name="Freeform 30">
                <a:extLst>
                  <a:ext uri="{FF2B5EF4-FFF2-40B4-BE49-F238E27FC236}">
                    <a16:creationId xmlns:a16="http://schemas.microsoft.com/office/drawing/2014/main" id="{6D7AB02F-5F11-4474-AC98-DF71F455D3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6075" y="5565775"/>
                <a:ext cx="187325" cy="219075"/>
              </a:xfrm>
              <a:custGeom>
                <a:avLst/>
                <a:gdLst/>
                <a:ahLst/>
                <a:cxnLst>
                  <a:cxn ang="0">
                    <a:pos x="1" y="48"/>
                  </a:cxn>
                  <a:cxn ang="0">
                    <a:pos x="1" y="48"/>
                  </a:cxn>
                  <a:cxn ang="0">
                    <a:pos x="1" y="48"/>
                  </a:cxn>
                  <a:cxn ang="0">
                    <a:pos x="78" y="46"/>
                  </a:cxn>
                  <a:cxn ang="0">
                    <a:pos x="79" y="35"/>
                  </a:cxn>
                  <a:cxn ang="0">
                    <a:pos x="72" y="34"/>
                  </a:cxn>
                  <a:cxn ang="0">
                    <a:pos x="65" y="28"/>
                  </a:cxn>
                  <a:cxn ang="0">
                    <a:pos x="62" y="18"/>
                  </a:cxn>
                  <a:cxn ang="0">
                    <a:pos x="58" y="8"/>
                  </a:cxn>
                  <a:cxn ang="0">
                    <a:pos x="54" y="11"/>
                  </a:cxn>
                  <a:cxn ang="0">
                    <a:pos x="47" y="15"/>
                  </a:cxn>
                  <a:cxn ang="0">
                    <a:pos x="44" y="4"/>
                  </a:cxn>
                  <a:cxn ang="0">
                    <a:pos x="42" y="4"/>
                  </a:cxn>
                  <a:cxn ang="0">
                    <a:pos x="40" y="17"/>
                  </a:cxn>
                  <a:cxn ang="0">
                    <a:pos x="35" y="23"/>
                  </a:cxn>
                  <a:cxn ang="0">
                    <a:pos x="33" y="25"/>
                  </a:cxn>
                  <a:cxn ang="0">
                    <a:pos x="29" y="32"/>
                  </a:cxn>
                  <a:cxn ang="0">
                    <a:pos x="24" y="36"/>
                  </a:cxn>
                  <a:cxn ang="0">
                    <a:pos x="19" y="38"/>
                  </a:cxn>
                  <a:cxn ang="0">
                    <a:pos x="17" y="39"/>
                  </a:cxn>
                  <a:cxn ang="0">
                    <a:pos x="13" y="41"/>
                  </a:cxn>
                  <a:cxn ang="0">
                    <a:pos x="7" y="45"/>
                  </a:cxn>
                  <a:cxn ang="0">
                    <a:pos x="1" y="44"/>
                  </a:cxn>
                  <a:cxn ang="0">
                    <a:pos x="0" y="44"/>
                  </a:cxn>
                  <a:cxn ang="0">
                    <a:pos x="0" y="46"/>
                  </a:cxn>
                  <a:cxn ang="0">
                    <a:pos x="0" y="45"/>
                  </a:cxn>
                  <a:cxn ang="0">
                    <a:pos x="0" y="47"/>
                  </a:cxn>
                  <a:cxn ang="0">
                    <a:pos x="1" y="48"/>
                  </a:cxn>
                  <a:cxn ang="0">
                    <a:pos x="2" y="48"/>
                  </a:cxn>
                  <a:cxn ang="0">
                    <a:pos x="3" y="49"/>
                  </a:cxn>
                  <a:cxn ang="0">
                    <a:pos x="5" y="55"/>
                  </a:cxn>
                  <a:cxn ang="0">
                    <a:pos x="8" y="62"/>
                  </a:cxn>
                  <a:cxn ang="0">
                    <a:pos x="17" y="67"/>
                  </a:cxn>
                  <a:cxn ang="0">
                    <a:pos x="22" y="74"/>
                  </a:cxn>
                  <a:cxn ang="0">
                    <a:pos x="25" y="82"/>
                  </a:cxn>
                  <a:cxn ang="0">
                    <a:pos x="27" y="88"/>
                  </a:cxn>
                  <a:cxn ang="0">
                    <a:pos x="30" y="99"/>
                  </a:cxn>
                  <a:cxn ang="0">
                    <a:pos x="30" y="114"/>
                  </a:cxn>
                  <a:cxn ang="0">
                    <a:pos x="34" y="115"/>
                  </a:cxn>
                  <a:cxn ang="0">
                    <a:pos x="40" y="111"/>
                  </a:cxn>
                  <a:cxn ang="0">
                    <a:pos x="40" y="106"/>
                  </a:cxn>
                  <a:cxn ang="0">
                    <a:pos x="45" y="98"/>
                  </a:cxn>
                  <a:cxn ang="0">
                    <a:pos x="61" y="93"/>
                  </a:cxn>
                  <a:cxn ang="0">
                    <a:pos x="64" y="98"/>
                  </a:cxn>
                  <a:cxn ang="0">
                    <a:pos x="69" y="96"/>
                  </a:cxn>
                  <a:cxn ang="0">
                    <a:pos x="75" y="87"/>
                  </a:cxn>
                  <a:cxn ang="0">
                    <a:pos x="85" y="89"/>
                  </a:cxn>
                  <a:cxn ang="0">
                    <a:pos x="84" y="87"/>
                  </a:cxn>
                  <a:cxn ang="0">
                    <a:pos x="87" y="77"/>
                  </a:cxn>
                  <a:cxn ang="0">
                    <a:pos x="90" y="73"/>
                  </a:cxn>
                  <a:cxn ang="0">
                    <a:pos x="93" y="70"/>
                  </a:cxn>
                  <a:cxn ang="0">
                    <a:pos x="93" y="64"/>
                  </a:cxn>
                  <a:cxn ang="0">
                    <a:pos x="98" y="57"/>
                  </a:cxn>
                  <a:cxn ang="0">
                    <a:pos x="97" y="54"/>
                  </a:cxn>
                  <a:cxn ang="0">
                    <a:pos x="83" y="50"/>
                  </a:cxn>
                  <a:cxn ang="0">
                    <a:pos x="0" y="47"/>
                  </a:cxn>
                  <a:cxn ang="0">
                    <a:pos x="1" y="44"/>
                  </a:cxn>
                  <a:cxn ang="0">
                    <a:pos x="1" y="44"/>
                  </a:cxn>
                  <a:cxn ang="0">
                    <a:pos x="2" y="62"/>
                  </a:cxn>
                </a:cxnLst>
                <a:rect l="0" t="0" r="r" b="b"/>
                <a:pathLst>
                  <a:path w="100" h="117">
                    <a:moveTo>
                      <a:pt x="1" y="48"/>
                    </a:move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moveTo>
                      <a:pt x="83" y="50"/>
                    </a:moveTo>
                    <a:cubicBezTo>
                      <a:pt x="81" y="50"/>
                      <a:pt x="81" y="46"/>
                      <a:pt x="78" y="46"/>
                    </a:cubicBezTo>
                    <a:cubicBezTo>
                      <a:pt x="78" y="44"/>
                      <a:pt x="78" y="42"/>
                      <a:pt x="78" y="40"/>
                    </a:cubicBezTo>
                    <a:cubicBezTo>
                      <a:pt x="78" y="39"/>
                      <a:pt x="79" y="37"/>
                      <a:pt x="79" y="35"/>
                    </a:cubicBezTo>
                    <a:cubicBezTo>
                      <a:pt x="77" y="35"/>
                      <a:pt x="75" y="35"/>
                      <a:pt x="74" y="36"/>
                    </a:cubicBezTo>
                    <a:cubicBezTo>
                      <a:pt x="73" y="35"/>
                      <a:pt x="73" y="35"/>
                      <a:pt x="72" y="34"/>
                    </a:cubicBezTo>
                    <a:cubicBezTo>
                      <a:pt x="71" y="33"/>
                      <a:pt x="71" y="33"/>
                      <a:pt x="71" y="31"/>
                    </a:cubicBezTo>
                    <a:cubicBezTo>
                      <a:pt x="69" y="29"/>
                      <a:pt x="66" y="29"/>
                      <a:pt x="65" y="28"/>
                    </a:cubicBezTo>
                    <a:cubicBezTo>
                      <a:pt x="63" y="26"/>
                      <a:pt x="64" y="25"/>
                      <a:pt x="64" y="23"/>
                    </a:cubicBezTo>
                    <a:cubicBezTo>
                      <a:pt x="63" y="21"/>
                      <a:pt x="62" y="20"/>
                      <a:pt x="62" y="18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59" y="11"/>
                      <a:pt x="60" y="10"/>
                      <a:pt x="58" y="8"/>
                    </a:cubicBezTo>
                    <a:cubicBezTo>
                      <a:pt x="57" y="8"/>
                      <a:pt x="55" y="8"/>
                      <a:pt x="55" y="9"/>
                    </a:cubicBezTo>
                    <a:cubicBezTo>
                      <a:pt x="54" y="9"/>
                      <a:pt x="55" y="10"/>
                      <a:pt x="54" y="11"/>
                    </a:cubicBezTo>
                    <a:cubicBezTo>
                      <a:pt x="54" y="12"/>
                      <a:pt x="53" y="12"/>
                      <a:pt x="52" y="13"/>
                    </a:cubicBezTo>
                    <a:cubicBezTo>
                      <a:pt x="50" y="13"/>
                      <a:pt x="49" y="15"/>
                      <a:pt x="47" y="15"/>
                    </a:cubicBezTo>
                    <a:cubicBezTo>
                      <a:pt x="46" y="12"/>
                      <a:pt x="43" y="9"/>
                      <a:pt x="43" y="6"/>
                    </a:cubicBezTo>
                    <a:cubicBezTo>
                      <a:pt x="43" y="4"/>
                      <a:pt x="43" y="5"/>
                      <a:pt x="44" y="4"/>
                    </a:cubicBezTo>
                    <a:cubicBezTo>
                      <a:pt x="45" y="4"/>
                      <a:pt x="46" y="4"/>
                      <a:pt x="45" y="2"/>
                    </a:cubicBezTo>
                    <a:cubicBezTo>
                      <a:pt x="44" y="0"/>
                      <a:pt x="43" y="3"/>
                      <a:pt x="42" y="4"/>
                    </a:cubicBezTo>
                    <a:cubicBezTo>
                      <a:pt x="40" y="7"/>
                      <a:pt x="40" y="9"/>
                      <a:pt x="40" y="12"/>
                    </a:cubicBezTo>
                    <a:cubicBezTo>
                      <a:pt x="40" y="14"/>
                      <a:pt x="40" y="16"/>
                      <a:pt x="40" y="17"/>
                    </a:cubicBezTo>
                    <a:cubicBezTo>
                      <a:pt x="39" y="19"/>
                      <a:pt x="38" y="19"/>
                      <a:pt x="37" y="20"/>
                    </a:cubicBezTo>
                    <a:cubicBezTo>
                      <a:pt x="36" y="21"/>
                      <a:pt x="35" y="22"/>
                      <a:pt x="35" y="23"/>
                    </a:cubicBezTo>
                    <a:cubicBezTo>
                      <a:pt x="35" y="23"/>
                      <a:pt x="35" y="24"/>
                      <a:pt x="35" y="24"/>
                    </a:cubicBezTo>
                    <a:cubicBezTo>
                      <a:pt x="34" y="24"/>
                      <a:pt x="33" y="24"/>
                      <a:pt x="33" y="25"/>
                    </a:cubicBezTo>
                    <a:cubicBezTo>
                      <a:pt x="31" y="26"/>
                      <a:pt x="29" y="27"/>
                      <a:pt x="29" y="30"/>
                    </a:cubicBezTo>
                    <a:cubicBezTo>
                      <a:pt x="29" y="30"/>
                      <a:pt x="29" y="31"/>
                      <a:pt x="29" y="32"/>
                    </a:cubicBezTo>
                    <a:cubicBezTo>
                      <a:pt x="28" y="34"/>
                      <a:pt x="27" y="33"/>
                      <a:pt x="26" y="34"/>
                    </a:cubicBezTo>
                    <a:cubicBezTo>
                      <a:pt x="25" y="35"/>
                      <a:pt x="25" y="36"/>
                      <a:pt x="24" y="36"/>
                    </a:cubicBezTo>
                    <a:cubicBezTo>
                      <a:pt x="24" y="37"/>
                      <a:pt x="23" y="38"/>
                      <a:pt x="22" y="38"/>
                    </a:cubicBezTo>
                    <a:cubicBezTo>
                      <a:pt x="22" y="39"/>
                      <a:pt x="20" y="38"/>
                      <a:pt x="19" y="38"/>
                    </a:cubicBezTo>
                    <a:cubicBezTo>
                      <a:pt x="19" y="38"/>
                      <a:pt x="19" y="38"/>
                      <a:pt x="19" y="38"/>
                    </a:cubicBezTo>
                    <a:cubicBezTo>
                      <a:pt x="19" y="38"/>
                      <a:pt x="18" y="38"/>
                      <a:pt x="17" y="39"/>
                    </a:cubicBezTo>
                    <a:cubicBezTo>
                      <a:pt x="16" y="39"/>
                      <a:pt x="17" y="40"/>
                      <a:pt x="17" y="41"/>
                    </a:cubicBezTo>
                    <a:cubicBezTo>
                      <a:pt x="16" y="42"/>
                      <a:pt x="14" y="41"/>
                      <a:pt x="13" y="41"/>
                    </a:cubicBezTo>
                    <a:cubicBezTo>
                      <a:pt x="11" y="41"/>
                      <a:pt x="12" y="44"/>
                      <a:pt x="12" y="46"/>
                    </a:cubicBezTo>
                    <a:cubicBezTo>
                      <a:pt x="10" y="46"/>
                      <a:pt x="9" y="46"/>
                      <a:pt x="7" y="45"/>
                    </a:cubicBezTo>
                    <a:cubicBezTo>
                      <a:pt x="6" y="44"/>
                      <a:pt x="5" y="44"/>
                      <a:pt x="4" y="43"/>
                    </a:cubicBezTo>
                    <a:cubicBezTo>
                      <a:pt x="3" y="43"/>
                      <a:pt x="2" y="43"/>
                      <a:pt x="1" y="44"/>
                    </a:cubicBezTo>
                    <a:cubicBezTo>
                      <a:pt x="1" y="44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4"/>
                    </a:cubicBezTo>
                    <a:cubicBezTo>
                      <a:pt x="0" y="45"/>
                      <a:pt x="0" y="45"/>
                      <a:pt x="0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6"/>
                      <a:pt x="0" y="45"/>
                      <a:pt x="0" y="45"/>
                    </a:cubicBezTo>
                    <a:cubicBezTo>
                      <a:pt x="0" y="45"/>
                      <a:pt x="0" y="46"/>
                      <a:pt x="0" y="46"/>
                    </a:cubicBezTo>
                    <a:cubicBezTo>
                      <a:pt x="0" y="46"/>
                      <a:pt x="0" y="46"/>
                      <a:pt x="0" y="47"/>
                    </a:cubicBezTo>
                    <a:cubicBezTo>
                      <a:pt x="0" y="47"/>
                      <a:pt x="1" y="47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2" y="48"/>
                      <a:pt x="2" y="48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2" y="49"/>
                      <a:pt x="3" y="49"/>
                      <a:pt x="3" y="49"/>
                    </a:cubicBezTo>
                    <a:cubicBezTo>
                      <a:pt x="4" y="49"/>
                      <a:pt x="5" y="50"/>
                      <a:pt x="5" y="50"/>
                    </a:cubicBezTo>
                    <a:cubicBezTo>
                      <a:pt x="6" y="52"/>
                      <a:pt x="6" y="54"/>
                      <a:pt x="5" y="55"/>
                    </a:cubicBezTo>
                    <a:cubicBezTo>
                      <a:pt x="6" y="56"/>
                      <a:pt x="6" y="57"/>
                      <a:pt x="6" y="58"/>
                    </a:cubicBezTo>
                    <a:cubicBezTo>
                      <a:pt x="7" y="59"/>
                      <a:pt x="7" y="61"/>
                      <a:pt x="8" y="62"/>
                    </a:cubicBezTo>
                    <a:cubicBezTo>
                      <a:pt x="10" y="64"/>
                      <a:pt x="13" y="62"/>
                      <a:pt x="15" y="64"/>
                    </a:cubicBezTo>
                    <a:cubicBezTo>
                      <a:pt x="16" y="65"/>
                      <a:pt x="16" y="66"/>
                      <a:pt x="17" y="67"/>
                    </a:cubicBezTo>
                    <a:cubicBezTo>
                      <a:pt x="18" y="68"/>
                      <a:pt x="19" y="69"/>
                      <a:pt x="20" y="70"/>
                    </a:cubicBezTo>
                    <a:cubicBezTo>
                      <a:pt x="21" y="71"/>
                      <a:pt x="21" y="72"/>
                      <a:pt x="22" y="74"/>
                    </a:cubicBezTo>
                    <a:cubicBezTo>
                      <a:pt x="22" y="75"/>
                      <a:pt x="24" y="77"/>
                      <a:pt x="25" y="79"/>
                    </a:cubicBezTo>
                    <a:cubicBezTo>
                      <a:pt x="26" y="80"/>
                      <a:pt x="25" y="81"/>
                      <a:pt x="25" y="82"/>
                    </a:cubicBezTo>
                    <a:cubicBezTo>
                      <a:pt x="25" y="83"/>
                      <a:pt x="26" y="83"/>
                      <a:pt x="26" y="84"/>
                    </a:cubicBezTo>
                    <a:cubicBezTo>
                      <a:pt x="27" y="86"/>
                      <a:pt x="27" y="87"/>
                      <a:pt x="27" y="88"/>
                    </a:cubicBezTo>
                    <a:cubicBezTo>
                      <a:pt x="27" y="90"/>
                      <a:pt x="28" y="92"/>
                      <a:pt x="28" y="94"/>
                    </a:cubicBezTo>
                    <a:cubicBezTo>
                      <a:pt x="28" y="96"/>
                      <a:pt x="29" y="97"/>
                      <a:pt x="30" y="99"/>
                    </a:cubicBezTo>
                    <a:cubicBezTo>
                      <a:pt x="31" y="101"/>
                      <a:pt x="31" y="104"/>
                      <a:pt x="31" y="106"/>
                    </a:cubicBezTo>
                    <a:cubicBezTo>
                      <a:pt x="31" y="109"/>
                      <a:pt x="31" y="112"/>
                      <a:pt x="30" y="114"/>
                    </a:cubicBezTo>
                    <a:cubicBezTo>
                      <a:pt x="30" y="115"/>
                      <a:pt x="30" y="117"/>
                      <a:pt x="31" y="117"/>
                    </a:cubicBezTo>
                    <a:cubicBezTo>
                      <a:pt x="32" y="117"/>
                      <a:pt x="33" y="116"/>
                      <a:pt x="34" y="115"/>
                    </a:cubicBezTo>
                    <a:cubicBezTo>
                      <a:pt x="35" y="114"/>
                      <a:pt x="36" y="114"/>
                      <a:pt x="37" y="113"/>
                    </a:cubicBezTo>
                    <a:cubicBezTo>
                      <a:pt x="38" y="112"/>
                      <a:pt x="39" y="112"/>
                      <a:pt x="40" y="111"/>
                    </a:cubicBezTo>
                    <a:cubicBezTo>
                      <a:pt x="40" y="110"/>
                      <a:pt x="40" y="109"/>
                      <a:pt x="40" y="108"/>
                    </a:cubicBezTo>
                    <a:cubicBezTo>
                      <a:pt x="40" y="107"/>
                      <a:pt x="40" y="106"/>
                      <a:pt x="40" y="106"/>
                    </a:cubicBezTo>
                    <a:cubicBezTo>
                      <a:pt x="40" y="105"/>
                      <a:pt x="41" y="104"/>
                      <a:pt x="41" y="103"/>
                    </a:cubicBezTo>
                    <a:cubicBezTo>
                      <a:pt x="43" y="101"/>
                      <a:pt x="44" y="99"/>
                      <a:pt x="45" y="98"/>
                    </a:cubicBezTo>
                    <a:cubicBezTo>
                      <a:pt x="47" y="96"/>
                      <a:pt x="49" y="96"/>
                      <a:pt x="51" y="95"/>
                    </a:cubicBezTo>
                    <a:cubicBezTo>
                      <a:pt x="54" y="94"/>
                      <a:pt x="58" y="91"/>
                      <a:pt x="61" y="93"/>
                    </a:cubicBezTo>
                    <a:cubicBezTo>
                      <a:pt x="63" y="94"/>
                      <a:pt x="62" y="94"/>
                      <a:pt x="63" y="95"/>
                    </a:cubicBezTo>
                    <a:cubicBezTo>
                      <a:pt x="63" y="96"/>
                      <a:pt x="64" y="97"/>
                      <a:pt x="64" y="98"/>
                    </a:cubicBezTo>
                    <a:cubicBezTo>
                      <a:pt x="65" y="98"/>
                      <a:pt x="67" y="101"/>
                      <a:pt x="68" y="100"/>
                    </a:cubicBezTo>
                    <a:cubicBezTo>
                      <a:pt x="68" y="99"/>
                      <a:pt x="69" y="97"/>
                      <a:pt x="69" y="96"/>
                    </a:cubicBezTo>
                    <a:cubicBezTo>
                      <a:pt x="70" y="94"/>
                      <a:pt x="70" y="93"/>
                      <a:pt x="72" y="92"/>
                    </a:cubicBezTo>
                    <a:cubicBezTo>
                      <a:pt x="71" y="90"/>
                      <a:pt x="75" y="89"/>
                      <a:pt x="75" y="87"/>
                    </a:cubicBezTo>
                    <a:cubicBezTo>
                      <a:pt x="77" y="86"/>
                      <a:pt x="86" y="86"/>
                      <a:pt x="85" y="89"/>
                    </a:cubicBezTo>
                    <a:cubicBezTo>
                      <a:pt x="85" y="89"/>
                      <a:pt x="85" y="89"/>
                      <a:pt x="85" y="89"/>
                    </a:cubicBezTo>
                    <a:cubicBezTo>
                      <a:pt x="85" y="89"/>
                      <a:pt x="85" y="88"/>
                      <a:pt x="85" y="88"/>
                    </a:cubicBezTo>
                    <a:cubicBezTo>
                      <a:pt x="85" y="87"/>
                      <a:pt x="85" y="87"/>
                      <a:pt x="84" y="87"/>
                    </a:cubicBezTo>
                    <a:cubicBezTo>
                      <a:pt x="84" y="86"/>
                      <a:pt x="83" y="85"/>
                      <a:pt x="82" y="84"/>
                    </a:cubicBezTo>
                    <a:cubicBezTo>
                      <a:pt x="82" y="81"/>
                      <a:pt x="86" y="79"/>
                      <a:pt x="87" y="77"/>
                    </a:cubicBezTo>
                    <a:cubicBezTo>
                      <a:pt x="88" y="77"/>
                      <a:pt x="89" y="76"/>
                      <a:pt x="89" y="76"/>
                    </a:cubicBezTo>
                    <a:cubicBezTo>
                      <a:pt x="89" y="75"/>
                      <a:pt x="89" y="74"/>
                      <a:pt x="90" y="73"/>
                    </a:cubicBezTo>
                    <a:cubicBezTo>
                      <a:pt x="90" y="72"/>
                      <a:pt x="91" y="72"/>
                      <a:pt x="92" y="72"/>
                    </a:cubicBezTo>
                    <a:cubicBezTo>
                      <a:pt x="92" y="72"/>
                      <a:pt x="93" y="70"/>
                      <a:pt x="93" y="70"/>
                    </a:cubicBezTo>
                    <a:cubicBezTo>
                      <a:pt x="93" y="70"/>
                      <a:pt x="93" y="70"/>
                      <a:pt x="93" y="70"/>
                    </a:cubicBezTo>
                    <a:cubicBezTo>
                      <a:pt x="94" y="68"/>
                      <a:pt x="93" y="65"/>
                      <a:pt x="93" y="64"/>
                    </a:cubicBezTo>
                    <a:cubicBezTo>
                      <a:pt x="93" y="62"/>
                      <a:pt x="95" y="61"/>
                      <a:pt x="96" y="60"/>
                    </a:cubicBezTo>
                    <a:cubicBezTo>
                      <a:pt x="97" y="59"/>
                      <a:pt x="97" y="58"/>
                      <a:pt x="98" y="57"/>
                    </a:cubicBezTo>
                    <a:cubicBezTo>
                      <a:pt x="99" y="56"/>
                      <a:pt x="100" y="56"/>
                      <a:pt x="99" y="55"/>
                    </a:cubicBezTo>
                    <a:cubicBezTo>
                      <a:pt x="99" y="55"/>
                      <a:pt x="98" y="54"/>
                      <a:pt x="97" y="54"/>
                    </a:cubicBezTo>
                    <a:cubicBezTo>
                      <a:pt x="96" y="53"/>
                      <a:pt x="95" y="55"/>
                      <a:pt x="94" y="55"/>
                    </a:cubicBezTo>
                    <a:cubicBezTo>
                      <a:pt x="90" y="56"/>
                      <a:pt x="87" y="42"/>
                      <a:pt x="83" y="50"/>
                    </a:cubicBezTo>
                    <a:moveTo>
                      <a:pt x="0" y="46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47"/>
                      <a:pt x="0" y="47"/>
                      <a:pt x="0" y="46"/>
                    </a:cubicBezTo>
                    <a:moveTo>
                      <a:pt x="1" y="44"/>
                    </a:moveTo>
                    <a:cubicBezTo>
                      <a:pt x="1" y="44"/>
                      <a:pt x="1" y="44"/>
                      <a:pt x="0" y="44"/>
                    </a:cubicBezTo>
                    <a:cubicBezTo>
                      <a:pt x="1" y="44"/>
                      <a:pt x="1" y="44"/>
                      <a:pt x="1" y="44"/>
                    </a:cubicBezTo>
                    <a:moveTo>
                      <a:pt x="2" y="62"/>
                    </a:moveTo>
                    <a:cubicBezTo>
                      <a:pt x="2" y="62"/>
                      <a:pt x="2" y="62"/>
                      <a:pt x="2" y="62"/>
                    </a:cubicBezTo>
                    <a:cubicBezTo>
                      <a:pt x="2" y="62"/>
                      <a:pt x="2" y="62"/>
                      <a:pt x="2" y="6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15" name="Freeform 31">
                <a:extLst>
                  <a:ext uri="{FF2B5EF4-FFF2-40B4-BE49-F238E27FC236}">
                    <a16:creationId xmlns:a16="http://schemas.microsoft.com/office/drawing/2014/main" id="{FE26A103-4B49-4986-9D05-1B5E424405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3525" y="5646738"/>
                <a:ext cx="185738" cy="463550"/>
              </a:xfrm>
              <a:custGeom>
                <a:avLst/>
                <a:gdLst/>
                <a:ahLst/>
                <a:cxnLst>
                  <a:cxn ang="0">
                    <a:pos x="44" y="3"/>
                  </a:cxn>
                  <a:cxn ang="0">
                    <a:pos x="44" y="3"/>
                  </a:cxn>
                  <a:cxn ang="0">
                    <a:pos x="44" y="3"/>
                  </a:cxn>
                  <a:cxn ang="0">
                    <a:pos x="44" y="4"/>
                  </a:cxn>
                  <a:cxn ang="0">
                    <a:pos x="44" y="4"/>
                  </a:cxn>
                  <a:cxn ang="0">
                    <a:pos x="46" y="5"/>
                  </a:cxn>
                  <a:cxn ang="0">
                    <a:pos x="45" y="5"/>
                  </a:cxn>
                  <a:cxn ang="0">
                    <a:pos x="45" y="5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46" y="5"/>
                  </a:cxn>
                  <a:cxn ang="0">
                    <a:pos x="44" y="2"/>
                  </a:cxn>
                  <a:cxn ang="0">
                    <a:pos x="45" y="1"/>
                  </a:cxn>
                  <a:cxn ang="0">
                    <a:pos x="45" y="1"/>
                  </a:cxn>
                  <a:cxn ang="0">
                    <a:pos x="44" y="1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11" y="187"/>
                  </a:cxn>
                  <a:cxn ang="0">
                    <a:pos x="9" y="201"/>
                  </a:cxn>
                  <a:cxn ang="0">
                    <a:pos x="15" y="208"/>
                  </a:cxn>
                  <a:cxn ang="0">
                    <a:pos x="20" y="215"/>
                  </a:cxn>
                  <a:cxn ang="0">
                    <a:pos x="28" y="221"/>
                  </a:cxn>
                  <a:cxn ang="0">
                    <a:pos x="34" y="229"/>
                  </a:cxn>
                  <a:cxn ang="0">
                    <a:pos x="37" y="242"/>
                  </a:cxn>
                  <a:cxn ang="0">
                    <a:pos x="50" y="244"/>
                  </a:cxn>
                  <a:cxn ang="0">
                    <a:pos x="56" y="236"/>
                  </a:cxn>
                  <a:cxn ang="0">
                    <a:pos x="56" y="228"/>
                  </a:cxn>
                  <a:cxn ang="0">
                    <a:pos x="59" y="219"/>
                  </a:cxn>
                  <a:cxn ang="0">
                    <a:pos x="73" y="213"/>
                  </a:cxn>
                  <a:cxn ang="0">
                    <a:pos x="77" y="202"/>
                  </a:cxn>
                  <a:cxn ang="0">
                    <a:pos x="83" y="185"/>
                  </a:cxn>
                  <a:cxn ang="0">
                    <a:pos x="92" y="184"/>
                  </a:cxn>
                  <a:cxn ang="0">
                    <a:pos x="96" y="167"/>
                  </a:cxn>
                  <a:cxn ang="0">
                    <a:pos x="94" y="155"/>
                  </a:cxn>
                  <a:cxn ang="0">
                    <a:pos x="81" y="147"/>
                  </a:cxn>
                  <a:cxn ang="0">
                    <a:pos x="75" y="134"/>
                  </a:cxn>
                  <a:cxn ang="0">
                    <a:pos x="69" y="125"/>
                  </a:cxn>
                  <a:cxn ang="0">
                    <a:pos x="68" y="112"/>
                  </a:cxn>
                  <a:cxn ang="0">
                    <a:pos x="67" y="104"/>
                  </a:cxn>
                  <a:cxn ang="0">
                    <a:pos x="71" y="95"/>
                  </a:cxn>
                  <a:cxn ang="0">
                    <a:pos x="72" y="79"/>
                  </a:cxn>
                  <a:cxn ang="0">
                    <a:pos x="74" y="56"/>
                  </a:cxn>
                  <a:cxn ang="0">
                    <a:pos x="69" y="39"/>
                  </a:cxn>
                  <a:cxn ang="0">
                    <a:pos x="61" y="24"/>
                  </a:cxn>
                  <a:cxn ang="0">
                    <a:pos x="49" y="12"/>
                  </a:cxn>
                  <a:cxn ang="0">
                    <a:pos x="45" y="21"/>
                  </a:cxn>
                  <a:cxn ang="0">
                    <a:pos x="28" y="17"/>
                  </a:cxn>
                  <a:cxn ang="0">
                    <a:pos x="24" y="14"/>
                  </a:cxn>
                  <a:cxn ang="0">
                    <a:pos x="12" y="30"/>
                  </a:cxn>
                  <a:cxn ang="0">
                    <a:pos x="5" y="47"/>
                  </a:cxn>
                  <a:cxn ang="0">
                    <a:pos x="10" y="69"/>
                  </a:cxn>
                  <a:cxn ang="0">
                    <a:pos x="18" y="82"/>
                  </a:cxn>
                  <a:cxn ang="0">
                    <a:pos x="19" y="103"/>
                  </a:cxn>
                  <a:cxn ang="0">
                    <a:pos x="7" y="112"/>
                  </a:cxn>
                  <a:cxn ang="0">
                    <a:pos x="12" y="121"/>
                  </a:cxn>
                  <a:cxn ang="0">
                    <a:pos x="11" y="135"/>
                  </a:cxn>
                  <a:cxn ang="0">
                    <a:pos x="13" y="146"/>
                  </a:cxn>
                  <a:cxn ang="0">
                    <a:pos x="8" y="143"/>
                  </a:cxn>
                  <a:cxn ang="0">
                    <a:pos x="2" y="167"/>
                  </a:cxn>
                </a:cxnLst>
                <a:rect l="0" t="0" r="r" b="b"/>
                <a:pathLst>
                  <a:path w="99" h="248">
                    <a:moveTo>
                      <a:pt x="46" y="5"/>
                    </a:moveTo>
                    <a:cubicBezTo>
                      <a:pt x="46" y="5"/>
                      <a:pt x="46" y="5"/>
                      <a:pt x="46" y="5"/>
                    </a:cubicBezTo>
                    <a:cubicBezTo>
                      <a:pt x="46" y="5"/>
                      <a:pt x="46" y="5"/>
                      <a:pt x="46" y="5"/>
                    </a:cubicBezTo>
                    <a:close/>
                    <a:moveTo>
                      <a:pt x="44" y="3"/>
                    </a:moveTo>
                    <a:cubicBezTo>
                      <a:pt x="44" y="3"/>
                      <a:pt x="44" y="3"/>
                      <a:pt x="44" y="3"/>
                    </a:cubicBezTo>
                    <a:cubicBezTo>
                      <a:pt x="44" y="3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3"/>
                      <a:pt x="44" y="3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4" y="3"/>
                      <a:pt x="44" y="2"/>
                      <a:pt x="44" y="2"/>
                    </a:cubicBezTo>
                    <a:cubicBezTo>
                      <a:pt x="44" y="2"/>
                      <a:pt x="44" y="3"/>
                      <a:pt x="44" y="3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4" y="3"/>
                      <a:pt x="44" y="3"/>
                      <a:pt x="44" y="3"/>
                    </a:cubicBezTo>
                    <a:moveTo>
                      <a:pt x="45" y="5"/>
                    </a:moveTo>
                    <a:cubicBezTo>
                      <a:pt x="45" y="5"/>
                      <a:pt x="45" y="5"/>
                      <a:pt x="45" y="5"/>
                    </a:cubicBezTo>
                    <a:cubicBezTo>
                      <a:pt x="45" y="4"/>
                      <a:pt x="44" y="4"/>
                      <a:pt x="44" y="4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4"/>
                      <a:pt x="44" y="5"/>
                      <a:pt x="45" y="5"/>
                    </a:cubicBezTo>
                    <a:moveTo>
                      <a:pt x="45" y="5"/>
                    </a:moveTo>
                    <a:cubicBezTo>
                      <a:pt x="45" y="5"/>
                      <a:pt x="45" y="5"/>
                      <a:pt x="45" y="5"/>
                    </a:cubicBezTo>
                    <a:cubicBezTo>
                      <a:pt x="45" y="5"/>
                      <a:pt x="46" y="5"/>
                      <a:pt x="46" y="5"/>
                    </a:cubicBezTo>
                    <a:cubicBezTo>
                      <a:pt x="46" y="5"/>
                      <a:pt x="45" y="5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moveTo>
                      <a:pt x="45" y="5"/>
                    </a:moveTo>
                    <a:cubicBezTo>
                      <a:pt x="45" y="5"/>
                      <a:pt x="45" y="5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moveTo>
                      <a:pt x="45" y="5"/>
                    </a:moveTo>
                    <a:cubicBezTo>
                      <a:pt x="45" y="5"/>
                      <a:pt x="45" y="5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moveTo>
                      <a:pt x="46" y="0"/>
                    </a:move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moveTo>
                      <a:pt x="46" y="5"/>
                    </a:moveTo>
                    <a:cubicBezTo>
                      <a:pt x="46" y="5"/>
                      <a:pt x="46" y="5"/>
                      <a:pt x="46" y="5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6" y="5"/>
                      <a:pt x="46" y="5"/>
                      <a:pt x="46" y="5"/>
                    </a:cubicBezTo>
                    <a:moveTo>
                      <a:pt x="44" y="2"/>
                    </a:move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moveTo>
                      <a:pt x="45" y="1"/>
                    </a:moveTo>
                    <a:cubicBezTo>
                      <a:pt x="45" y="1"/>
                      <a:pt x="45" y="1"/>
                      <a:pt x="45" y="1"/>
                    </a:cubicBezTo>
                    <a:cubicBezTo>
                      <a:pt x="45" y="1"/>
                      <a:pt x="46" y="1"/>
                      <a:pt x="46" y="0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5" y="1"/>
                      <a:pt x="45" y="1"/>
                      <a:pt x="45" y="1"/>
                    </a:cubicBezTo>
                    <a:moveTo>
                      <a:pt x="44" y="2"/>
                    </a:moveTo>
                    <a:cubicBezTo>
                      <a:pt x="44" y="2"/>
                      <a:pt x="44" y="2"/>
                      <a:pt x="44" y="2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5" y="1"/>
                      <a:pt x="45" y="1"/>
                      <a:pt x="44" y="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4" y="1"/>
                      <a:pt x="44" y="1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moveTo>
                      <a:pt x="44" y="2"/>
                    </a:move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moveTo>
                      <a:pt x="44" y="2"/>
                    </a:move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4" y="2"/>
                      <a:pt x="44" y="2"/>
                      <a:pt x="44" y="2"/>
                    </a:cubicBezTo>
                    <a:moveTo>
                      <a:pt x="2" y="174"/>
                    </a:moveTo>
                    <a:cubicBezTo>
                      <a:pt x="3" y="176"/>
                      <a:pt x="8" y="176"/>
                      <a:pt x="9" y="178"/>
                    </a:cubicBezTo>
                    <a:cubicBezTo>
                      <a:pt x="9" y="179"/>
                      <a:pt x="8" y="181"/>
                      <a:pt x="9" y="182"/>
                    </a:cubicBezTo>
                    <a:cubicBezTo>
                      <a:pt x="9" y="184"/>
                      <a:pt x="11" y="185"/>
                      <a:pt x="11" y="187"/>
                    </a:cubicBezTo>
                    <a:cubicBezTo>
                      <a:pt x="12" y="188"/>
                      <a:pt x="11" y="189"/>
                      <a:pt x="10" y="190"/>
                    </a:cubicBezTo>
                    <a:cubicBezTo>
                      <a:pt x="9" y="191"/>
                      <a:pt x="8" y="191"/>
                      <a:pt x="7" y="193"/>
                    </a:cubicBezTo>
                    <a:cubicBezTo>
                      <a:pt x="7" y="194"/>
                      <a:pt x="7" y="196"/>
                      <a:pt x="8" y="197"/>
                    </a:cubicBezTo>
                    <a:cubicBezTo>
                      <a:pt x="8" y="199"/>
                      <a:pt x="8" y="200"/>
                      <a:pt x="9" y="201"/>
                    </a:cubicBezTo>
                    <a:cubicBezTo>
                      <a:pt x="10" y="202"/>
                      <a:pt x="10" y="202"/>
                      <a:pt x="11" y="203"/>
                    </a:cubicBezTo>
                    <a:cubicBezTo>
                      <a:pt x="11" y="204"/>
                      <a:pt x="11" y="204"/>
                      <a:pt x="11" y="205"/>
                    </a:cubicBezTo>
                    <a:cubicBezTo>
                      <a:pt x="11" y="205"/>
                      <a:pt x="12" y="206"/>
                      <a:pt x="13" y="206"/>
                    </a:cubicBezTo>
                    <a:cubicBezTo>
                      <a:pt x="13" y="207"/>
                      <a:pt x="14" y="207"/>
                      <a:pt x="15" y="208"/>
                    </a:cubicBezTo>
                    <a:cubicBezTo>
                      <a:pt x="15" y="209"/>
                      <a:pt x="15" y="209"/>
                      <a:pt x="16" y="209"/>
                    </a:cubicBezTo>
                    <a:cubicBezTo>
                      <a:pt x="16" y="210"/>
                      <a:pt x="18" y="210"/>
                      <a:pt x="19" y="211"/>
                    </a:cubicBezTo>
                    <a:cubicBezTo>
                      <a:pt x="20" y="211"/>
                      <a:pt x="20" y="212"/>
                      <a:pt x="20" y="213"/>
                    </a:cubicBezTo>
                    <a:cubicBezTo>
                      <a:pt x="20" y="213"/>
                      <a:pt x="20" y="214"/>
                      <a:pt x="20" y="215"/>
                    </a:cubicBezTo>
                    <a:cubicBezTo>
                      <a:pt x="21" y="215"/>
                      <a:pt x="21" y="215"/>
                      <a:pt x="21" y="216"/>
                    </a:cubicBezTo>
                    <a:cubicBezTo>
                      <a:pt x="22" y="217"/>
                      <a:pt x="22" y="218"/>
                      <a:pt x="24" y="218"/>
                    </a:cubicBezTo>
                    <a:cubicBezTo>
                      <a:pt x="24" y="219"/>
                      <a:pt x="25" y="219"/>
                      <a:pt x="26" y="220"/>
                    </a:cubicBezTo>
                    <a:cubicBezTo>
                      <a:pt x="27" y="220"/>
                      <a:pt x="27" y="221"/>
                      <a:pt x="28" y="221"/>
                    </a:cubicBezTo>
                    <a:cubicBezTo>
                      <a:pt x="29" y="222"/>
                      <a:pt x="30" y="222"/>
                      <a:pt x="31" y="222"/>
                    </a:cubicBezTo>
                    <a:cubicBezTo>
                      <a:pt x="33" y="222"/>
                      <a:pt x="32" y="225"/>
                      <a:pt x="32" y="226"/>
                    </a:cubicBezTo>
                    <a:cubicBezTo>
                      <a:pt x="32" y="228"/>
                      <a:pt x="32" y="228"/>
                      <a:pt x="33" y="229"/>
                    </a:cubicBezTo>
                    <a:cubicBezTo>
                      <a:pt x="34" y="229"/>
                      <a:pt x="34" y="229"/>
                      <a:pt x="34" y="229"/>
                    </a:cubicBezTo>
                    <a:cubicBezTo>
                      <a:pt x="35" y="229"/>
                      <a:pt x="36" y="230"/>
                      <a:pt x="37" y="231"/>
                    </a:cubicBezTo>
                    <a:cubicBezTo>
                      <a:pt x="38" y="232"/>
                      <a:pt x="39" y="233"/>
                      <a:pt x="37" y="234"/>
                    </a:cubicBezTo>
                    <a:cubicBezTo>
                      <a:pt x="36" y="235"/>
                      <a:pt x="36" y="235"/>
                      <a:pt x="36" y="236"/>
                    </a:cubicBezTo>
                    <a:cubicBezTo>
                      <a:pt x="35" y="238"/>
                      <a:pt x="36" y="240"/>
                      <a:pt x="37" y="242"/>
                    </a:cubicBezTo>
                    <a:cubicBezTo>
                      <a:pt x="38" y="245"/>
                      <a:pt x="40" y="244"/>
                      <a:pt x="42" y="245"/>
                    </a:cubicBezTo>
                    <a:cubicBezTo>
                      <a:pt x="43" y="245"/>
                      <a:pt x="46" y="248"/>
                      <a:pt x="48" y="247"/>
                    </a:cubicBezTo>
                    <a:cubicBezTo>
                      <a:pt x="48" y="246"/>
                      <a:pt x="48" y="246"/>
                      <a:pt x="49" y="245"/>
                    </a:cubicBezTo>
                    <a:cubicBezTo>
                      <a:pt x="49" y="245"/>
                      <a:pt x="50" y="245"/>
                      <a:pt x="50" y="244"/>
                    </a:cubicBezTo>
                    <a:cubicBezTo>
                      <a:pt x="51" y="244"/>
                      <a:pt x="52" y="242"/>
                      <a:pt x="53" y="241"/>
                    </a:cubicBezTo>
                    <a:cubicBezTo>
                      <a:pt x="53" y="239"/>
                      <a:pt x="53" y="238"/>
                      <a:pt x="54" y="237"/>
                    </a:cubicBezTo>
                    <a:cubicBezTo>
                      <a:pt x="54" y="237"/>
                      <a:pt x="54" y="237"/>
                      <a:pt x="55" y="237"/>
                    </a:cubicBezTo>
                    <a:cubicBezTo>
                      <a:pt x="55" y="237"/>
                      <a:pt x="55" y="237"/>
                      <a:pt x="56" y="236"/>
                    </a:cubicBezTo>
                    <a:cubicBezTo>
                      <a:pt x="56" y="236"/>
                      <a:pt x="56" y="236"/>
                      <a:pt x="57" y="236"/>
                    </a:cubicBezTo>
                    <a:cubicBezTo>
                      <a:pt x="57" y="235"/>
                      <a:pt x="58" y="235"/>
                      <a:pt x="58" y="234"/>
                    </a:cubicBezTo>
                    <a:cubicBezTo>
                      <a:pt x="59" y="233"/>
                      <a:pt x="58" y="232"/>
                      <a:pt x="57" y="231"/>
                    </a:cubicBezTo>
                    <a:cubicBezTo>
                      <a:pt x="57" y="230"/>
                      <a:pt x="57" y="229"/>
                      <a:pt x="56" y="228"/>
                    </a:cubicBezTo>
                    <a:cubicBezTo>
                      <a:pt x="56" y="227"/>
                      <a:pt x="55" y="227"/>
                      <a:pt x="55" y="226"/>
                    </a:cubicBezTo>
                    <a:cubicBezTo>
                      <a:pt x="55" y="225"/>
                      <a:pt x="56" y="223"/>
                      <a:pt x="56" y="223"/>
                    </a:cubicBezTo>
                    <a:cubicBezTo>
                      <a:pt x="57" y="222"/>
                      <a:pt x="57" y="222"/>
                      <a:pt x="57" y="221"/>
                    </a:cubicBezTo>
                    <a:cubicBezTo>
                      <a:pt x="58" y="220"/>
                      <a:pt x="58" y="220"/>
                      <a:pt x="59" y="219"/>
                    </a:cubicBezTo>
                    <a:cubicBezTo>
                      <a:pt x="60" y="217"/>
                      <a:pt x="62" y="216"/>
                      <a:pt x="64" y="215"/>
                    </a:cubicBezTo>
                    <a:cubicBezTo>
                      <a:pt x="65" y="214"/>
                      <a:pt x="66" y="214"/>
                      <a:pt x="68" y="214"/>
                    </a:cubicBezTo>
                    <a:cubicBezTo>
                      <a:pt x="69" y="214"/>
                      <a:pt x="71" y="215"/>
                      <a:pt x="72" y="215"/>
                    </a:cubicBezTo>
                    <a:cubicBezTo>
                      <a:pt x="72" y="215"/>
                      <a:pt x="73" y="213"/>
                      <a:pt x="73" y="213"/>
                    </a:cubicBezTo>
                    <a:cubicBezTo>
                      <a:pt x="73" y="212"/>
                      <a:pt x="73" y="211"/>
                      <a:pt x="74" y="210"/>
                    </a:cubicBezTo>
                    <a:cubicBezTo>
                      <a:pt x="74" y="209"/>
                      <a:pt x="75" y="209"/>
                      <a:pt x="75" y="207"/>
                    </a:cubicBezTo>
                    <a:cubicBezTo>
                      <a:pt x="75" y="207"/>
                      <a:pt x="74" y="206"/>
                      <a:pt x="75" y="206"/>
                    </a:cubicBezTo>
                    <a:cubicBezTo>
                      <a:pt x="75" y="204"/>
                      <a:pt x="76" y="203"/>
                      <a:pt x="77" y="202"/>
                    </a:cubicBezTo>
                    <a:cubicBezTo>
                      <a:pt x="77" y="201"/>
                      <a:pt x="77" y="200"/>
                      <a:pt x="78" y="199"/>
                    </a:cubicBezTo>
                    <a:cubicBezTo>
                      <a:pt x="79" y="197"/>
                      <a:pt x="79" y="196"/>
                      <a:pt x="79" y="194"/>
                    </a:cubicBezTo>
                    <a:cubicBezTo>
                      <a:pt x="79" y="192"/>
                      <a:pt x="80" y="190"/>
                      <a:pt x="81" y="188"/>
                    </a:cubicBezTo>
                    <a:cubicBezTo>
                      <a:pt x="82" y="187"/>
                      <a:pt x="82" y="186"/>
                      <a:pt x="83" y="185"/>
                    </a:cubicBezTo>
                    <a:cubicBezTo>
                      <a:pt x="84" y="185"/>
                      <a:pt x="85" y="186"/>
                      <a:pt x="86" y="185"/>
                    </a:cubicBezTo>
                    <a:cubicBezTo>
                      <a:pt x="86" y="185"/>
                      <a:pt x="87" y="185"/>
                      <a:pt x="87" y="184"/>
                    </a:cubicBezTo>
                    <a:cubicBezTo>
                      <a:pt x="87" y="184"/>
                      <a:pt x="88" y="184"/>
                      <a:pt x="88" y="184"/>
                    </a:cubicBezTo>
                    <a:cubicBezTo>
                      <a:pt x="89" y="184"/>
                      <a:pt x="91" y="184"/>
                      <a:pt x="92" y="184"/>
                    </a:cubicBezTo>
                    <a:cubicBezTo>
                      <a:pt x="94" y="183"/>
                      <a:pt x="93" y="181"/>
                      <a:pt x="94" y="179"/>
                    </a:cubicBezTo>
                    <a:cubicBezTo>
                      <a:pt x="94" y="177"/>
                      <a:pt x="94" y="177"/>
                      <a:pt x="96" y="176"/>
                    </a:cubicBezTo>
                    <a:cubicBezTo>
                      <a:pt x="96" y="176"/>
                      <a:pt x="97" y="175"/>
                      <a:pt x="98" y="175"/>
                    </a:cubicBezTo>
                    <a:cubicBezTo>
                      <a:pt x="99" y="173"/>
                      <a:pt x="97" y="168"/>
                      <a:pt x="96" y="167"/>
                    </a:cubicBezTo>
                    <a:cubicBezTo>
                      <a:pt x="95" y="165"/>
                      <a:pt x="90" y="162"/>
                      <a:pt x="92" y="160"/>
                    </a:cubicBezTo>
                    <a:cubicBezTo>
                      <a:pt x="92" y="159"/>
                      <a:pt x="93" y="159"/>
                      <a:pt x="93" y="158"/>
                    </a:cubicBezTo>
                    <a:cubicBezTo>
                      <a:pt x="93" y="158"/>
                      <a:pt x="93" y="157"/>
                      <a:pt x="93" y="157"/>
                    </a:cubicBezTo>
                    <a:cubicBezTo>
                      <a:pt x="93" y="156"/>
                      <a:pt x="93" y="156"/>
                      <a:pt x="94" y="155"/>
                    </a:cubicBezTo>
                    <a:cubicBezTo>
                      <a:pt x="94" y="153"/>
                      <a:pt x="93" y="151"/>
                      <a:pt x="92" y="150"/>
                    </a:cubicBezTo>
                    <a:cubicBezTo>
                      <a:pt x="91" y="149"/>
                      <a:pt x="89" y="147"/>
                      <a:pt x="87" y="148"/>
                    </a:cubicBezTo>
                    <a:cubicBezTo>
                      <a:pt x="86" y="148"/>
                      <a:pt x="85" y="150"/>
                      <a:pt x="84" y="149"/>
                    </a:cubicBezTo>
                    <a:cubicBezTo>
                      <a:pt x="82" y="149"/>
                      <a:pt x="82" y="147"/>
                      <a:pt x="81" y="147"/>
                    </a:cubicBezTo>
                    <a:cubicBezTo>
                      <a:pt x="80" y="147"/>
                      <a:pt x="79" y="147"/>
                      <a:pt x="79" y="147"/>
                    </a:cubicBezTo>
                    <a:cubicBezTo>
                      <a:pt x="78" y="147"/>
                      <a:pt x="78" y="146"/>
                      <a:pt x="78" y="146"/>
                    </a:cubicBezTo>
                    <a:cubicBezTo>
                      <a:pt x="77" y="143"/>
                      <a:pt x="78" y="140"/>
                      <a:pt x="78" y="137"/>
                    </a:cubicBezTo>
                    <a:cubicBezTo>
                      <a:pt x="77" y="136"/>
                      <a:pt x="76" y="135"/>
                      <a:pt x="75" y="134"/>
                    </a:cubicBezTo>
                    <a:cubicBezTo>
                      <a:pt x="74" y="133"/>
                      <a:pt x="74" y="131"/>
                      <a:pt x="72" y="131"/>
                    </a:cubicBezTo>
                    <a:cubicBezTo>
                      <a:pt x="71" y="131"/>
                      <a:pt x="70" y="132"/>
                      <a:pt x="69" y="131"/>
                    </a:cubicBezTo>
                    <a:cubicBezTo>
                      <a:pt x="69" y="130"/>
                      <a:pt x="69" y="129"/>
                      <a:pt x="69" y="129"/>
                    </a:cubicBezTo>
                    <a:cubicBezTo>
                      <a:pt x="69" y="127"/>
                      <a:pt x="69" y="126"/>
                      <a:pt x="69" y="125"/>
                    </a:cubicBezTo>
                    <a:cubicBezTo>
                      <a:pt x="68" y="123"/>
                      <a:pt x="68" y="122"/>
                      <a:pt x="67" y="120"/>
                    </a:cubicBezTo>
                    <a:cubicBezTo>
                      <a:pt x="67" y="119"/>
                      <a:pt x="66" y="118"/>
                      <a:pt x="67" y="116"/>
                    </a:cubicBezTo>
                    <a:cubicBezTo>
                      <a:pt x="67" y="116"/>
                      <a:pt x="67" y="115"/>
                      <a:pt x="68" y="114"/>
                    </a:cubicBezTo>
                    <a:cubicBezTo>
                      <a:pt x="68" y="113"/>
                      <a:pt x="68" y="113"/>
                      <a:pt x="68" y="112"/>
                    </a:cubicBezTo>
                    <a:cubicBezTo>
                      <a:pt x="69" y="111"/>
                      <a:pt x="70" y="111"/>
                      <a:pt x="70" y="110"/>
                    </a:cubicBezTo>
                    <a:cubicBezTo>
                      <a:pt x="70" y="109"/>
                      <a:pt x="69" y="108"/>
                      <a:pt x="69" y="108"/>
                    </a:cubicBezTo>
                    <a:cubicBezTo>
                      <a:pt x="69" y="107"/>
                      <a:pt x="69" y="107"/>
                      <a:pt x="68" y="106"/>
                    </a:cubicBezTo>
                    <a:cubicBezTo>
                      <a:pt x="68" y="105"/>
                      <a:pt x="67" y="105"/>
                      <a:pt x="67" y="104"/>
                    </a:cubicBezTo>
                    <a:cubicBezTo>
                      <a:pt x="67" y="103"/>
                      <a:pt x="66" y="102"/>
                      <a:pt x="66" y="101"/>
                    </a:cubicBezTo>
                    <a:cubicBezTo>
                      <a:pt x="66" y="101"/>
                      <a:pt x="66" y="100"/>
                      <a:pt x="66" y="100"/>
                    </a:cubicBezTo>
                    <a:cubicBezTo>
                      <a:pt x="67" y="99"/>
                      <a:pt x="66" y="97"/>
                      <a:pt x="68" y="97"/>
                    </a:cubicBezTo>
                    <a:cubicBezTo>
                      <a:pt x="69" y="96"/>
                      <a:pt x="70" y="96"/>
                      <a:pt x="71" y="95"/>
                    </a:cubicBezTo>
                    <a:cubicBezTo>
                      <a:pt x="71" y="95"/>
                      <a:pt x="71" y="94"/>
                      <a:pt x="71" y="94"/>
                    </a:cubicBezTo>
                    <a:cubicBezTo>
                      <a:pt x="71" y="92"/>
                      <a:pt x="71" y="91"/>
                      <a:pt x="71" y="89"/>
                    </a:cubicBezTo>
                    <a:cubicBezTo>
                      <a:pt x="71" y="88"/>
                      <a:pt x="71" y="86"/>
                      <a:pt x="71" y="85"/>
                    </a:cubicBezTo>
                    <a:cubicBezTo>
                      <a:pt x="71" y="83"/>
                      <a:pt x="72" y="81"/>
                      <a:pt x="72" y="79"/>
                    </a:cubicBezTo>
                    <a:cubicBezTo>
                      <a:pt x="74" y="73"/>
                      <a:pt x="74" y="73"/>
                      <a:pt x="74" y="73"/>
                    </a:cubicBezTo>
                    <a:cubicBezTo>
                      <a:pt x="74" y="72"/>
                      <a:pt x="74" y="72"/>
                      <a:pt x="74" y="71"/>
                    </a:cubicBezTo>
                    <a:cubicBezTo>
                      <a:pt x="75" y="69"/>
                      <a:pt x="75" y="66"/>
                      <a:pt x="75" y="63"/>
                    </a:cubicBezTo>
                    <a:cubicBezTo>
                      <a:pt x="75" y="61"/>
                      <a:pt x="75" y="58"/>
                      <a:pt x="74" y="56"/>
                    </a:cubicBezTo>
                    <a:cubicBezTo>
                      <a:pt x="73" y="54"/>
                      <a:pt x="72" y="53"/>
                      <a:pt x="72" y="51"/>
                    </a:cubicBezTo>
                    <a:cubicBezTo>
                      <a:pt x="72" y="49"/>
                      <a:pt x="71" y="47"/>
                      <a:pt x="71" y="45"/>
                    </a:cubicBezTo>
                    <a:cubicBezTo>
                      <a:pt x="71" y="44"/>
                      <a:pt x="71" y="43"/>
                      <a:pt x="70" y="41"/>
                    </a:cubicBezTo>
                    <a:cubicBezTo>
                      <a:pt x="70" y="40"/>
                      <a:pt x="69" y="40"/>
                      <a:pt x="69" y="39"/>
                    </a:cubicBezTo>
                    <a:cubicBezTo>
                      <a:pt x="69" y="38"/>
                      <a:pt x="70" y="37"/>
                      <a:pt x="69" y="36"/>
                    </a:cubicBezTo>
                    <a:cubicBezTo>
                      <a:pt x="68" y="34"/>
                      <a:pt x="66" y="32"/>
                      <a:pt x="66" y="31"/>
                    </a:cubicBezTo>
                    <a:cubicBezTo>
                      <a:pt x="65" y="29"/>
                      <a:pt x="65" y="28"/>
                      <a:pt x="64" y="27"/>
                    </a:cubicBezTo>
                    <a:cubicBezTo>
                      <a:pt x="63" y="26"/>
                      <a:pt x="62" y="25"/>
                      <a:pt x="61" y="24"/>
                    </a:cubicBezTo>
                    <a:cubicBezTo>
                      <a:pt x="60" y="23"/>
                      <a:pt x="60" y="22"/>
                      <a:pt x="59" y="21"/>
                    </a:cubicBezTo>
                    <a:cubicBezTo>
                      <a:pt x="57" y="19"/>
                      <a:pt x="54" y="21"/>
                      <a:pt x="52" y="19"/>
                    </a:cubicBezTo>
                    <a:cubicBezTo>
                      <a:pt x="51" y="18"/>
                      <a:pt x="51" y="16"/>
                      <a:pt x="50" y="15"/>
                    </a:cubicBezTo>
                    <a:cubicBezTo>
                      <a:pt x="50" y="14"/>
                      <a:pt x="50" y="13"/>
                      <a:pt x="49" y="12"/>
                    </a:cubicBezTo>
                    <a:cubicBezTo>
                      <a:pt x="49" y="13"/>
                      <a:pt x="49" y="13"/>
                      <a:pt x="48" y="14"/>
                    </a:cubicBezTo>
                    <a:cubicBezTo>
                      <a:pt x="48" y="15"/>
                      <a:pt x="48" y="16"/>
                      <a:pt x="47" y="17"/>
                    </a:cubicBezTo>
                    <a:cubicBezTo>
                      <a:pt x="47" y="18"/>
                      <a:pt x="46" y="18"/>
                      <a:pt x="46" y="19"/>
                    </a:cubicBezTo>
                    <a:cubicBezTo>
                      <a:pt x="46" y="20"/>
                      <a:pt x="46" y="21"/>
                      <a:pt x="45" y="21"/>
                    </a:cubicBezTo>
                    <a:cubicBezTo>
                      <a:pt x="44" y="23"/>
                      <a:pt x="42" y="23"/>
                      <a:pt x="41" y="24"/>
                    </a:cubicBezTo>
                    <a:cubicBezTo>
                      <a:pt x="38" y="25"/>
                      <a:pt x="36" y="25"/>
                      <a:pt x="33" y="25"/>
                    </a:cubicBezTo>
                    <a:cubicBezTo>
                      <a:pt x="31" y="25"/>
                      <a:pt x="29" y="26"/>
                      <a:pt x="28" y="23"/>
                    </a:cubicBezTo>
                    <a:cubicBezTo>
                      <a:pt x="28" y="22"/>
                      <a:pt x="28" y="19"/>
                      <a:pt x="28" y="17"/>
                    </a:cubicBezTo>
                    <a:cubicBezTo>
                      <a:pt x="28" y="15"/>
                      <a:pt x="28" y="13"/>
                      <a:pt x="27" y="11"/>
                    </a:cubicBezTo>
                    <a:cubicBezTo>
                      <a:pt x="27" y="10"/>
                      <a:pt x="27" y="10"/>
                      <a:pt x="26" y="10"/>
                    </a:cubicBezTo>
                    <a:cubicBezTo>
                      <a:pt x="26" y="10"/>
                      <a:pt x="24" y="12"/>
                      <a:pt x="24" y="12"/>
                    </a:cubicBezTo>
                    <a:cubicBezTo>
                      <a:pt x="24" y="13"/>
                      <a:pt x="24" y="13"/>
                      <a:pt x="24" y="14"/>
                    </a:cubicBezTo>
                    <a:cubicBezTo>
                      <a:pt x="23" y="16"/>
                      <a:pt x="22" y="17"/>
                      <a:pt x="20" y="19"/>
                    </a:cubicBezTo>
                    <a:cubicBezTo>
                      <a:pt x="19" y="21"/>
                      <a:pt x="18" y="23"/>
                      <a:pt x="16" y="24"/>
                    </a:cubicBezTo>
                    <a:cubicBezTo>
                      <a:pt x="15" y="25"/>
                      <a:pt x="15" y="26"/>
                      <a:pt x="14" y="27"/>
                    </a:cubicBezTo>
                    <a:cubicBezTo>
                      <a:pt x="13" y="28"/>
                      <a:pt x="13" y="29"/>
                      <a:pt x="12" y="30"/>
                    </a:cubicBezTo>
                    <a:cubicBezTo>
                      <a:pt x="12" y="31"/>
                      <a:pt x="11" y="33"/>
                      <a:pt x="10" y="34"/>
                    </a:cubicBezTo>
                    <a:cubicBezTo>
                      <a:pt x="10" y="36"/>
                      <a:pt x="9" y="37"/>
                      <a:pt x="8" y="38"/>
                    </a:cubicBezTo>
                    <a:cubicBezTo>
                      <a:pt x="6" y="39"/>
                      <a:pt x="2" y="39"/>
                      <a:pt x="1" y="41"/>
                    </a:cubicBezTo>
                    <a:cubicBezTo>
                      <a:pt x="1" y="44"/>
                      <a:pt x="3" y="46"/>
                      <a:pt x="5" y="47"/>
                    </a:cubicBezTo>
                    <a:cubicBezTo>
                      <a:pt x="7" y="51"/>
                      <a:pt x="10" y="56"/>
                      <a:pt x="10" y="60"/>
                    </a:cubicBezTo>
                    <a:cubicBezTo>
                      <a:pt x="11" y="63"/>
                      <a:pt x="8" y="65"/>
                      <a:pt x="7" y="67"/>
                    </a:cubicBezTo>
                    <a:cubicBezTo>
                      <a:pt x="7" y="67"/>
                      <a:pt x="7" y="67"/>
                      <a:pt x="7" y="67"/>
                    </a:cubicBezTo>
                    <a:cubicBezTo>
                      <a:pt x="8" y="68"/>
                      <a:pt x="9" y="68"/>
                      <a:pt x="10" y="69"/>
                    </a:cubicBezTo>
                    <a:cubicBezTo>
                      <a:pt x="13" y="70"/>
                      <a:pt x="16" y="68"/>
                      <a:pt x="19" y="70"/>
                    </a:cubicBezTo>
                    <a:cubicBezTo>
                      <a:pt x="20" y="72"/>
                      <a:pt x="20" y="76"/>
                      <a:pt x="19" y="77"/>
                    </a:cubicBezTo>
                    <a:cubicBezTo>
                      <a:pt x="18" y="78"/>
                      <a:pt x="18" y="78"/>
                      <a:pt x="18" y="79"/>
                    </a:cubicBezTo>
                    <a:cubicBezTo>
                      <a:pt x="18" y="80"/>
                      <a:pt x="18" y="81"/>
                      <a:pt x="18" y="82"/>
                    </a:cubicBezTo>
                    <a:cubicBezTo>
                      <a:pt x="18" y="86"/>
                      <a:pt x="19" y="90"/>
                      <a:pt x="18" y="93"/>
                    </a:cubicBezTo>
                    <a:cubicBezTo>
                      <a:pt x="18" y="95"/>
                      <a:pt x="18" y="97"/>
                      <a:pt x="18" y="99"/>
                    </a:cubicBezTo>
                    <a:cubicBezTo>
                      <a:pt x="18" y="100"/>
                      <a:pt x="18" y="100"/>
                      <a:pt x="18" y="101"/>
                    </a:cubicBezTo>
                    <a:cubicBezTo>
                      <a:pt x="18" y="101"/>
                      <a:pt x="19" y="102"/>
                      <a:pt x="19" y="103"/>
                    </a:cubicBezTo>
                    <a:cubicBezTo>
                      <a:pt x="19" y="104"/>
                      <a:pt x="19" y="105"/>
                      <a:pt x="18" y="103"/>
                    </a:cubicBezTo>
                    <a:cubicBezTo>
                      <a:pt x="16" y="104"/>
                      <a:pt x="13" y="103"/>
                      <a:pt x="10" y="104"/>
                    </a:cubicBezTo>
                    <a:cubicBezTo>
                      <a:pt x="8" y="104"/>
                      <a:pt x="8" y="107"/>
                      <a:pt x="8" y="108"/>
                    </a:cubicBezTo>
                    <a:cubicBezTo>
                      <a:pt x="8" y="110"/>
                      <a:pt x="7" y="111"/>
                      <a:pt x="7" y="112"/>
                    </a:cubicBezTo>
                    <a:cubicBezTo>
                      <a:pt x="8" y="113"/>
                      <a:pt x="9" y="114"/>
                      <a:pt x="10" y="115"/>
                    </a:cubicBezTo>
                    <a:cubicBezTo>
                      <a:pt x="11" y="116"/>
                      <a:pt x="11" y="117"/>
                      <a:pt x="12" y="119"/>
                    </a:cubicBezTo>
                    <a:cubicBezTo>
                      <a:pt x="12" y="119"/>
                      <a:pt x="12" y="119"/>
                      <a:pt x="12" y="119"/>
                    </a:cubicBezTo>
                    <a:cubicBezTo>
                      <a:pt x="12" y="120"/>
                      <a:pt x="12" y="120"/>
                      <a:pt x="12" y="121"/>
                    </a:cubicBezTo>
                    <a:cubicBezTo>
                      <a:pt x="12" y="121"/>
                      <a:pt x="12" y="123"/>
                      <a:pt x="13" y="123"/>
                    </a:cubicBezTo>
                    <a:cubicBezTo>
                      <a:pt x="13" y="124"/>
                      <a:pt x="15" y="124"/>
                      <a:pt x="15" y="125"/>
                    </a:cubicBezTo>
                    <a:cubicBezTo>
                      <a:pt x="15" y="126"/>
                      <a:pt x="15" y="127"/>
                      <a:pt x="14" y="128"/>
                    </a:cubicBezTo>
                    <a:cubicBezTo>
                      <a:pt x="13" y="131"/>
                      <a:pt x="11" y="133"/>
                      <a:pt x="11" y="135"/>
                    </a:cubicBezTo>
                    <a:cubicBezTo>
                      <a:pt x="11" y="136"/>
                      <a:pt x="11" y="138"/>
                      <a:pt x="12" y="139"/>
                    </a:cubicBezTo>
                    <a:cubicBezTo>
                      <a:pt x="12" y="139"/>
                      <a:pt x="13" y="140"/>
                      <a:pt x="13" y="140"/>
                    </a:cubicBezTo>
                    <a:cubicBezTo>
                      <a:pt x="14" y="141"/>
                      <a:pt x="13" y="142"/>
                      <a:pt x="13" y="143"/>
                    </a:cubicBezTo>
                    <a:cubicBezTo>
                      <a:pt x="13" y="144"/>
                      <a:pt x="13" y="145"/>
                      <a:pt x="13" y="146"/>
                    </a:cubicBezTo>
                    <a:cubicBezTo>
                      <a:pt x="13" y="146"/>
                      <a:pt x="12" y="148"/>
                      <a:pt x="12" y="148"/>
                    </a:cubicBezTo>
                    <a:cubicBezTo>
                      <a:pt x="11" y="147"/>
                      <a:pt x="11" y="146"/>
                      <a:pt x="11" y="145"/>
                    </a:cubicBezTo>
                    <a:cubicBezTo>
                      <a:pt x="11" y="144"/>
                      <a:pt x="11" y="143"/>
                      <a:pt x="11" y="142"/>
                    </a:cubicBezTo>
                    <a:cubicBezTo>
                      <a:pt x="10" y="142"/>
                      <a:pt x="8" y="142"/>
                      <a:pt x="8" y="143"/>
                    </a:cubicBezTo>
                    <a:cubicBezTo>
                      <a:pt x="7" y="143"/>
                      <a:pt x="6" y="144"/>
                      <a:pt x="5" y="144"/>
                    </a:cubicBezTo>
                    <a:cubicBezTo>
                      <a:pt x="2" y="148"/>
                      <a:pt x="3" y="152"/>
                      <a:pt x="3" y="156"/>
                    </a:cubicBezTo>
                    <a:cubicBezTo>
                      <a:pt x="3" y="159"/>
                      <a:pt x="2" y="162"/>
                      <a:pt x="1" y="165"/>
                    </a:cubicBezTo>
                    <a:cubicBezTo>
                      <a:pt x="1" y="166"/>
                      <a:pt x="2" y="167"/>
                      <a:pt x="2" y="167"/>
                    </a:cubicBezTo>
                    <a:cubicBezTo>
                      <a:pt x="2" y="169"/>
                      <a:pt x="0" y="173"/>
                      <a:pt x="2" y="174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16" name="Freeform 32">
                <a:extLst>
                  <a:ext uri="{FF2B5EF4-FFF2-40B4-BE49-F238E27FC236}">
                    <a16:creationId xmlns:a16="http://schemas.microsoft.com/office/drawing/2014/main" id="{4A34E26A-689C-40D2-B281-D0F3BE8EAA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7350" y="5711825"/>
                <a:ext cx="266700" cy="236538"/>
              </a:xfrm>
              <a:custGeom>
                <a:avLst/>
                <a:gdLst/>
                <a:ahLst/>
                <a:cxnLst>
                  <a:cxn ang="0">
                    <a:pos x="137" y="46"/>
                  </a:cxn>
                  <a:cxn ang="0">
                    <a:pos x="136" y="39"/>
                  </a:cxn>
                  <a:cxn ang="0">
                    <a:pos x="135" y="32"/>
                  </a:cxn>
                  <a:cxn ang="0">
                    <a:pos x="132" y="28"/>
                  </a:cxn>
                  <a:cxn ang="0">
                    <a:pos x="122" y="25"/>
                  </a:cxn>
                  <a:cxn ang="0">
                    <a:pos x="117" y="20"/>
                  </a:cxn>
                  <a:cxn ang="0">
                    <a:pos x="115" y="18"/>
                  </a:cxn>
                  <a:cxn ang="0">
                    <a:pos x="113" y="12"/>
                  </a:cxn>
                  <a:cxn ang="0">
                    <a:pos x="99" y="2"/>
                  </a:cxn>
                  <a:cxn ang="0">
                    <a:pos x="90" y="9"/>
                  </a:cxn>
                  <a:cxn ang="0">
                    <a:pos x="84" y="6"/>
                  </a:cxn>
                  <a:cxn ang="0">
                    <a:pos x="74" y="8"/>
                  </a:cxn>
                  <a:cxn ang="0">
                    <a:pos x="53" y="9"/>
                  </a:cxn>
                  <a:cxn ang="0">
                    <a:pos x="46" y="22"/>
                  </a:cxn>
                  <a:cxn ang="0">
                    <a:pos x="39" y="15"/>
                  </a:cxn>
                  <a:cxn ang="0">
                    <a:pos x="19" y="25"/>
                  </a:cxn>
                  <a:cxn ang="0">
                    <a:pos x="18" y="33"/>
                  </a:cxn>
                  <a:cxn ang="0">
                    <a:pos x="9" y="39"/>
                  </a:cxn>
                  <a:cxn ang="0">
                    <a:pos x="5" y="50"/>
                  </a:cxn>
                  <a:cxn ang="0">
                    <a:pos x="5" y="60"/>
                  </a:cxn>
                  <a:cxn ang="0">
                    <a:pos x="0" y="66"/>
                  </a:cxn>
                  <a:cxn ang="0">
                    <a:pos x="3" y="73"/>
                  </a:cxn>
                  <a:cxn ang="0">
                    <a:pos x="2" y="79"/>
                  </a:cxn>
                  <a:cxn ang="0">
                    <a:pos x="3" y="90"/>
                  </a:cxn>
                  <a:cxn ang="0">
                    <a:pos x="6" y="96"/>
                  </a:cxn>
                  <a:cxn ang="0">
                    <a:pos x="12" y="111"/>
                  </a:cxn>
                  <a:cxn ang="0">
                    <a:pos x="18" y="114"/>
                  </a:cxn>
                  <a:cxn ang="0">
                    <a:pos x="28" y="120"/>
                  </a:cxn>
                  <a:cxn ang="0">
                    <a:pos x="26" y="125"/>
                  </a:cxn>
                  <a:cxn ang="0">
                    <a:pos x="36" y="119"/>
                  </a:cxn>
                  <a:cxn ang="0">
                    <a:pos x="50" y="116"/>
                  </a:cxn>
                  <a:cxn ang="0">
                    <a:pos x="58" y="115"/>
                  </a:cxn>
                  <a:cxn ang="0">
                    <a:pos x="66" y="115"/>
                  </a:cxn>
                  <a:cxn ang="0">
                    <a:pos x="74" y="108"/>
                  </a:cxn>
                  <a:cxn ang="0">
                    <a:pos x="87" y="96"/>
                  </a:cxn>
                  <a:cxn ang="0">
                    <a:pos x="95" y="97"/>
                  </a:cxn>
                  <a:cxn ang="0">
                    <a:pos x="104" y="98"/>
                  </a:cxn>
                  <a:cxn ang="0">
                    <a:pos x="115" y="99"/>
                  </a:cxn>
                  <a:cxn ang="0">
                    <a:pos x="124" y="99"/>
                  </a:cxn>
                  <a:cxn ang="0">
                    <a:pos x="126" y="89"/>
                  </a:cxn>
                  <a:cxn ang="0">
                    <a:pos x="130" y="85"/>
                  </a:cxn>
                  <a:cxn ang="0">
                    <a:pos x="137" y="80"/>
                  </a:cxn>
                  <a:cxn ang="0">
                    <a:pos x="139" y="65"/>
                  </a:cxn>
                  <a:cxn ang="0">
                    <a:pos x="142" y="54"/>
                  </a:cxn>
                </a:cxnLst>
                <a:rect l="0" t="0" r="r" b="b"/>
                <a:pathLst>
                  <a:path w="143" h="126">
                    <a:moveTo>
                      <a:pt x="143" y="52"/>
                    </a:moveTo>
                    <a:cubicBezTo>
                      <a:pt x="143" y="50"/>
                      <a:pt x="140" y="50"/>
                      <a:pt x="139" y="49"/>
                    </a:cubicBezTo>
                    <a:cubicBezTo>
                      <a:pt x="138" y="48"/>
                      <a:pt x="138" y="47"/>
                      <a:pt x="137" y="46"/>
                    </a:cubicBezTo>
                    <a:cubicBezTo>
                      <a:pt x="137" y="45"/>
                      <a:pt x="137" y="44"/>
                      <a:pt x="137" y="44"/>
                    </a:cubicBezTo>
                    <a:cubicBezTo>
                      <a:pt x="137" y="43"/>
                      <a:pt x="137" y="42"/>
                      <a:pt x="137" y="41"/>
                    </a:cubicBezTo>
                    <a:cubicBezTo>
                      <a:pt x="137" y="40"/>
                      <a:pt x="136" y="40"/>
                      <a:pt x="136" y="39"/>
                    </a:cubicBezTo>
                    <a:cubicBezTo>
                      <a:pt x="136" y="38"/>
                      <a:pt x="136" y="37"/>
                      <a:pt x="136" y="37"/>
                    </a:cubicBezTo>
                    <a:cubicBezTo>
                      <a:pt x="136" y="36"/>
                      <a:pt x="135" y="36"/>
                      <a:pt x="135" y="35"/>
                    </a:cubicBezTo>
                    <a:cubicBezTo>
                      <a:pt x="135" y="34"/>
                      <a:pt x="135" y="33"/>
                      <a:pt x="135" y="32"/>
                    </a:cubicBezTo>
                    <a:cubicBezTo>
                      <a:pt x="135" y="31"/>
                      <a:pt x="134" y="30"/>
                      <a:pt x="134" y="30"/>
                    </a:cubicBezTo>
                    <a:cubicBezTo>
                      <a:pt x="134" y="29"/>
                      <a:pt x="134" y="29"/>
                      <a:pt x="134" y="29"/>
                    </a:cubicBezTo>
                    <a:cubicBezTo>
                      <a:pt x="133" y="28"/>
                      <a:pt x="133" y="28"/>
                      <a:pt x="132" y="28"/>
                    </a:cubicBezTo>
                    <a:cubicBezTo>
                      <a:pt x="131" y="28"/>
                      <a:pt x="130" y="27"/>
                      <a:pt x="129" y="27"/>
                    </a:cubicBezTo>
                    <a:cubicBezTo>
                      <a:pt x="128" y="26"/>
                      <a:pt x="127" y="25"/>
                      <a:pt x="126" y="25"/>
                    </a:cubicBezTo>
                    <a:cubicBezTo>
                      <a:pt x="124" y="24"/>
                      <a:pt x="123" y="25"/>
                      <a:pt x="122" y="25"/>
                    </a:cubicBezTo>
                    <a:cubicBezTo>
                      <a:pt x="121" y="24"/>
                      <a:pt x="120" y="24"/>
                      <a:pt x="119" y="24"/>
                    </a:cubicBezTo>
                    <a:cubicBezTo>
                      <a:pt x="118" y="23"/>
                      <a:pt x="118" y="22"/>
                      <a:pt x="118" y="21"/>
                    </a:cubicBezTo>
                    <a:cubicBezTo>
                      <a:pt x="117" y="21"/>
                      <a:pt x="117" y="20"/>
                      <a:pt x="117" y="20"/>
                    </a:cubicBezTo>
                    <a:cubicBezTo>
                      <a:pt x="116" y="20"/>
                      <a:pt x="115" y="20"/>
                      <a:pt x="115" y="20"/>
                    </a:cubicBezTo>
                    <a:cubicBezTo>
                      <a:pt x="115" y="19"/>
                      <a:pt x="115" y="19"/>
                      <a:pt x="115" y="19"/>
                    </a:cubicBezTo>
                    <a:cubicBezTo>
                      <a:pt x="115" y="18"/>
                      <a:pt x="115" y="18"/>
                      <a:pt x="115" y="18"/>
                    </a:cubicBezTo>
                    <a:cubicBezTo>
                      <a:pt x="115" y="18"/>
                      <a:pt x="115" y="17"/>
                      <a:pt x="115" y="17"/>
                    </a:cubicBezTo>
                    <a:cubicBezTo>
                      <a:pt x="114" y="16"/>
                      <a:pt x="114" y="16"/>
                      <a:pt x="114" y="15"/>
                    </a:cubicBezTo>
                    <a:cubicBezTo>
                      <a:pt x="113" y="14"/>
                      <a:pt x="113" y="13"/>
                      <a:pt x="113" y="12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1" y="7"/>
                      <a:pt x="110" y="6"/>
                      <a:pt x="109" y="6"/>
                    </a:cubicBezTo>
                    <a:cubicBezTo>
                      <a:pt x="106" y="4"/>
                      <a:pt x="103" y="0"/>
                      <a:pt x="99" y="2"/>
                    </a:cubicBezTo>
                    <a:cubicBezTo>
                      <a:pt x="97" y="3"/>
                      <a:pt x="96" y="3"/>
                      <a:pt x="95" y="4"/>
                    </a:cubicBezTo>
                    <a:cubicBezTo>
                      <a:pt x="93" y="5"/>
                      <a:pt x="93" y="7"/>
                      <a:pt x="92" y="8"/>
                    </a:cubicBezTo>
                    <a:cubicBezTo>
                      <a:pt x="91" y="9"/>
                      <a:pt x="90" y="9"/>
                      <a:pt x="90" y="9"/>
                    </a:cubicBezTo>
                    <a:cubicBezTo>
                      <a:pt x="88" y="10"/>
                      <a:pt x="89" y="9"/>
                      <a:pt x="88" y="9"/>
                    </a:cubicBezTo>
                    <a:cubicBezTo>
                      <a:pt x="87" y="8"/>
                      <a:pt x="86" y="8"/>
                      <a:pt x="85" y="7"/>
                    </a:cubicBezTo>
                    <a:cubicBezTo>
                      <a:pt x="84" y="7"/>
                      <a:pt x="85" y="7"/>
                      <a:pt x="84" y="6"/>
                    </a:cubicBezTo>
                    <a:cubicBezTo>
                      <a:pt x="83" y="4"/>
                      <a:pt x="82" y="3"/>
                      <a:pt x="80" y="4"/>
                    </a:cubicBezTo>
                    <a:cubicBezTo>
                      <a:pt x="78" y="5"/>
                      <a:pt x="76" y="5"/>
                      <a:pt x="75" y="6"/>
                    </a:cubicBezTo>
                    <a:cubicBezTo>
                      <a:pt x="74" y="7"/>
                      <a:pt x="74" y="8"/>
                      <a:pt x="74" y="8"/>
                    </a:cubicBezTo>
                    <a:cubicBezTo>
                      <a:pt x="73" y="10"/>
                      <a:pt x="73" y="10"/>
                      <a:pt x="71" y="11"/>
                    </a:cubicBezTo>
                    <a:cubicBezTo>
                      <a:pt x="69" y="12"/>
                      <a:pt x="65" y="12"/>
                      <a:pt x="63" y="11"/>
                    </a:cubicBezTo>
                    <a:cubicBezTo>
                      <a:pt x="64" y="8"/>
                      <a:pt x="55" y="8"/>
                      <a:pt x="53" y="9"/>
                    </a:cubicBezTo>
                    <a:cubicBezTo>
                      <a:pt x="53" y="11"/>
                      <a:pt x="49" y="12"/>
                      <a:pt x="50" y="14"/>
                    </a:cubicBezTo>
                    <a:cubicBezTo>
                      <a:pt x="48" y="15"/>
                      <a:pt x="48" y="16"/>
                      <a:pt x="47" y="18"/>
                    </a:cubicBezTo>
                    <a:cubicBezTo>
                      <a:pt x="47" y="19"/>
                      <a:pt x="46" y="21"/>
                      <a:pt x="46" y="22"/>
                    </a:cubicBezTo>
                    <a:cubicBezTo>
                      <a:pt x="45" y="23"/>
                      <a:pt x="43" y="20"/>
                      <a:pt x="42" y="20"/>
                    </a:cubicBezTo>
                    <a:cubicBezTo>
                      <a:pt x="42" y="19"/>
                      <a:pt x="41" y="18"/>
                      <a:pt x="41" y="17"/>
                    </a:cubicBezTo>
                    <a:cubicBezTo>
                      <a:pt x="40" y="16"/>
                      <a:pt x="41" y="16"/>
                      <a:pt x="39" y="15"/>
                    </a:cubicBezTo>
                    <a:cubicBezTo>
                      <a:pt x="36" y="13"/>
                      <a:pt x="32" y="16"/>
                      <a:pt x="29" y="17"/>
                    </a:cubicBezTo>
                    <a:cubicBezTo>
                      <a:pt x="27" y="18"/>
                      <a:pt x="25" y="18"/>
                      <a:pt x="23" y="20"/>
                    </a:cubicBezTo>
                    <a:cubicBezTo>
                      <a:pt x="22" y="21"/>
                      <a:pt x="21" y="23"/>
                      <a:pt x="19" y="25"/>
                    </a:cubicBezTo>
                    <a:cubicBezTo>
                      <a:pt x="19" y="26"/>
                      <a:pt x="18" y="27"/>
                      <a:pt x="18" y="28"/>
                    </a:cubicBezTo>
                    <a:cubicBezTo>
                      <a:pt x="18" y="28"/>
                      <a:pt x="18" y="29"/>
                      <a:pt x="18" y="30"/>
                    </a:cubicBezTo>
                    <a:cubicBezTo>
                      <a:pt x="18" y="31"/>
                      <a:pt x="18" y="32"/>
                      <a:pt x="18" y="33"/>
                    </a:cubicBezTo>
                    <a:cubicBezTo>
                      <a:pt x="17" y="34"/>
                      <a:pt x="16" y="34"/>
                      <a:pt x="15" y="35"/>
                    </a:cubicBezTo>
                    <a:cubicBezTo>
                      <a:pt x="14" y="36"/>
                      <a:pt x="13" y="36"/>
                      <a:pt x="12" y="37"/>
                    </a:cubicBezTo>
                    <a:cubicBezTo>
                      <a:pt x="11" y="38"/>
                      <a:pt x="10" y="39"/>
                      <a:pt x="9" y="39"/>
                    </a:cubicBezTo>
                    <a:cubicBezTo>
                      <a:pt x="9" y="39"/>
                      <a:pt x="8" y="38"/>
                      <a:pt x="8" y="38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6" y="46"/>
                      <a:pt x="5" y="48"/>
                      <a:pt x="5" y="50"/>
                    </a:cubicBezTo>
                    <a:cubicBezTo>
                      <a:pt x="5" y="51"/>
                      <a:pt x="5" y="53"/>
                      <a:pt x="5" y="54"/>
                    </a:cubicBezTo>
                    <a:cubicBezTo>
                      <a:pt x="5" y="56"/>
                      <a:pt x="5" y="57"/>
                      <a:pt x="5" y="59"/>
                    </a:cubicBezTo>
                    <a:cubicBezTo>
                      <a:pt x="5" y="59"/>
                      <a:pt x="5" y="60"/>
                      <a:pt x="5" y="60"/>
                    </a:cubicBezTo>
                    <a:cubicBezTo>
                      <a:pt x="4" y="61"/>
                      <a:pt x="3" y="61"/>
                      <a:pt x="2" y="62"/>
                    </a:cubicBezTo>
                    <a:cubicBezTo>
                      <a:pt x="0" y="62"/>
                      <a:pt x="1" y="64"/>
                      <a:pt x="0" y="65"/>
                    </a:cubicBezTo>
                    <a:cubicBezTo>
                      <a:pt x="0" y="65"/>
                      <a:pt x="0" y="66"/>
                      <a:pt x="0" y="66"/>
                    </a:cubicBezTo>
                    <a:cubicBezTo>
                      <a:pt x="0" y="67"/>
                      <a:pt x="1" y="68"/>
                      <a:pt x="1" y="69"/>
                    </a:cubicBezTo>
                    <a:cubicBezTo>
                      <a:pt x="1" y="70"/>
                      <a:pt x="2" y="70"/>
                      <a:pt x="2" y="71"/>
                    </a:cubicBezTo>
                    <a:cubicBezTo>
                      <a:pt x="3" y="72"/>
                      <a:pt x="3" y="72"/>
                      <a:pt x="3" y="73"/>
                    </a:cubicBezTo>
                    <a:cubicBezTo>
                      <a:pt x="3" y="73"/>
                      <a:pt x="4" y="74"/>
                      <a:pt x="4" y="75"/>
                    </a:cubicBezTo>
                    <a:cubicBezTo>
                      <a:pt x="4" y="76"/>
                      <a:pt x="3" y="76"/>
                      <a:pt x="2" y="77"/>
                    </a:cubicBezTo>
                    <a:cubicBezTo>
                      <a:pt x="2" y="78"/>
                      <a:pt x="2" y="78"/>
                      <a:pt x="2" y="79"/>
                    </a:cubicBezTo>
                    <a:cubicBezTo>
                      <a:pt x="1" y="80"/>
                      <a:pt x="1" y="81"/>
                      <a:pt x="1" y="81"/>
                    </a:cubicBezTo>
                    <a:cubicBezTo>
                      <a:pt x="0" y="83"/>
                      <a:pt x="1" y="84"/>
                      <a:pt x="1" y="85"/>
                    </a:cubicBezTo>
                    <a:cubicBezTo>
                      <a:pt x="2" y="87"/>
                      <a:pt x="2" y="88"/>
                      <a:pt x="3" y="90"/>
                    </a:cubicBezTo>
                    <a:cubicBezTo>
                      <a:pt x="3" y="91"/>
                      <a:pt x="3" y="92"/>
                      <a:pt x="3" y="94"/>
                    </a:cubicBezTo>
                    <a:cubicBezTo>
                      <a:pt x="3" y="94"/>
                      <a:pt x="3" y="95"/>
                      <a:pt x="3" y="96"/>
                    </a:cubicBezTo>
                    <a:cubicBezTo>
                      <a:pt x="4" y="97"/>
                      <a:pt x="5" y="96"/>
                      <a:pt x="6" y="96"/>
                    </a:cubicBezTo>
                    <a:cubicBezTo>
                      <a:pt x="8" y="96"/>
                      <a:pt x="8" y="98"/>
                      <a:pt x="9" y="99"/>
                    </a:cubicBezTo>
                    <a:cubicBezTo>
                      <a:pt x="10" y="100"/>
                      <a:pt x="11" y="101"/>
                      <a:pt x="12" y="102"/>
                    </a:cubicBezTo>
                    <a:cubicBezTo>
                      <a:pt x="12" y="105"/>
                      <a:pt x="11" y="108"/>
                      <a:pt x="12" y="111"/>
                    </a:cubicBezTo>
                    <a:cubicBezTo>
                      <a:pt x="12" y="111"/>
                      <a:pt x="12" y="112"/>
                      <a:pt x="13" y="112"/>
                    </a:cubicBezTo>
                    <a:cubicBezTo>
                      <a:pt x="13" y="112"/>
                      <a:pt x="14" y="112"/>
                      <a:pt x="15" y="112"/>
                    </a:cubicBezTo>
                    <a:cubicBezTo>
                      <a:pt x="16" y="112"/>
                      <a:pt x="16" y="114"/>
                      <a:pt x="18" y="114"/>
                    </a:cubicBezTo>
                    <a:cubicBezTo>
                      <a:pt x="19" y="115"/>
                      <a:pt x="20" y="113"/>
                      <a:pt x="21" y="113"/>
                    </a:cubicBezTo>
                    <a:cubicBezTo>
                      <a:pt x="23" y="112"/>
                      <a:pt x="25" y="114"/>
                      <a:pt x="26" y="115"/>
                    </a:cubicBezTo>
                    <a:cubicBezTo>
                      <a:pt x="27" y="116"/>
                      <a:pt x="28" y="118"/>
                      <a:pt x="28" y="120"/>
                    </a:cubicBezTo>
                    <a:cubicBezTo>
                      <a:pt x="27" y="121"/>
                      <a:pt x="27" y="121"/>
                      <a:pt x="27" y="122"/>
                    </a:cubicBezTo>
                    <a:cubicBezTo>
                      <a:pt x="27" y="122"/>
                      <a:pt x="27" y="123"/>
                      <a:pt x="27" y="123"/>
                    </a:cubicBezTo>
                    <a:cubicBezTo>
                      <a:pt x="27" y="124"/>
                      <a:pt x="26" y="124"/>
                      <a:pt x="26" y="125"/>
                    </a:cubicBezTo>
                    <a:cubicBezTo>
                      <a:pt x="25" y="125"/>
                      <a:pt x="25" y="126"/>
                      <a:pt x="25" y="126"/>
                    </a:cubicBezTo>
                    <a:cubicBezTo>
                      <a:pt x="27" y="125"/>
                      <a:pt x="29" y="123"/>
                      <a:pt x="31" y="121"/>
                    </a:cubicBezTo>
                    <a:cubicBezTo>
                      <a:pt x="32" y="120"/>
                      <a:pt x="34" y="119"/>
                      <a:pt x="36" y="119"/>
                    </a:cubicBezTo>
                    <a:cubicBezTo>
                      <a:pt x="37" y="118"/>
                      <a:pt x="39" y="117"/>
                      <a:pt x="40" y="116"/>
                    </a:cubicBezTo>
                    <a:cubicBezTo>
                      <a:pt x="42" y="116"/>
                      <a:pt x="44" y="116"/>
                      <a:pt x="45" y="116"/>
                    </a:cubicBezTo>
                    <a:cubicBezTo>
                      <a:pt x="47" y="116"/>
                      <a:pt x="48" y="116"/>
                      <a:pt x="50" y="116"/>
                    </a:cubicBezTo>
                    <a:cubicBezTo>
                      <a:pt x="52" y="116"/>
                      <a:pt x="53" y="117"/>
                      <a:pt x="55" y="117"/>
                    </a:cubicBezTo>
                    <a:cubicBezTo>
                      <a:pt x="56" y="117"/>
                      <a:pt x="57" y="117"/>
                      <a:pt x="57" y="117"/>
                    </a:cubicBezTo>
                    <a:cubicBezTo>
                      <a:pt x="58" y="116"/>
                      <a:pt x="57" y="116"/>
                      <a:pt x="58" y="115"/>
                    </a:cubicBezTo>
                    <a:cubicBezTo>
                      <a:pt x="58" y="115"/>
                      <a:pt x="59" y="115"/>
                      <a:pt x="59" y="115"/>
                    </a:cubicBezTo>
                    <a:cubicBezTo>
                      <a:pt x="60" y="115"/>
                      <a:pt x="61" y="116"/>
                      <a:pt x="62" y="115"/>
                    </a:cubicBezTo>
                    <a:cubicBezTo>
                      <a:pt x="63" y="115"/>
                      <a:pt x="65" y="115"/>
                      <a:pt x="66" y="115"/>
                    </a:cubicBezTo>
                    <a:cubicBezTo>
                      <a:pt x="67" y="115"/>
                      <a:pt x="69" y="114"/>
                      <a:pt x="70" y="113"/>
                    </a:cubicBezTo>
                    <a:cubicBezTo>
                      <a:pt x="71" y="113"/>
                      <a:pt x="72" y="111"/>
                      <a:pt x="73" y="111"/>
                    </a:cubicBezTo>
                    <a:cubicBezTo>
                      <a:pt x="73" y="110"/>
                      <a:pt x="73" y="109"/>
                      <a:pt x="74" y="108"/>
                    </a:cubicBezTo>
                    <a:cubicBezTo>
                      <a:pt x="75" y="106"/>
                      <a:pt x="78" y="105"/>
                      <a:pt x="79" y="103"/>
                    </a:cubicBezTo>
                    <a:cubicBezTo>
                      <a:pt x="80" y="102"/>
                      <a:pt x="81" y="101"/>
                      <a:pt x="82" y="100"/>
                    </a:cubicBezTo>
                    <a:cubicBezTo>
                      <a:pt x="83" y="98"/>
                      <a:pt x="85" y="96"/>
                      <a:pt x="87" y="96"/>
                    </a:cubicBezTo>
                    <a:cubicBezTo>
                      <a:pt x="87" y="96"/>
                      <a:pt x="88" y="96"/>
                      <a:pt x="89" y="97"/>
                    </a:cubicBezTo>
                    <a:cubicBezTo>
                      <a:pt x="90" y="97"/>
                      <a:pt x="92" y="98"/>
                      <a:pt x="93" y="98"/>
                    </a:cubicBezTo>
                    <a:cubicBezTo>
                      <a:pt x="94" y="98"/>
                      <a:pt x="95" y="97"/>
                      <a:pt x="95" y="97"/>
                    </a:cubicBezTo>
                    <a:cubicBezTo>
                      <a:pt x="96" y="96"/>
                      <a:pt x="97" y="96"/>
                      <a:pt x="98" y="96"/>
                    </a:cubicBezTo>
                    <a:cubicBezTo>
                      <a:pt x="99" y="97"/>
                      <a:pt x="101" y="97"/>
                      <a:pt x="102" y="98"/>
                    </a:cubicBezTo>
                    <a:cubicBezTo>
                      <a:pt x="103" y="98"/>
                      <a:pt x="103" y="98"/>
                      <a:pt x="104" y="98"/>
                    </a:cubicBezTo>
                    <a:cubicBezTo>
                      <a:pt x="104" y="98"/>
                      <a:pt x="105" y="98"/>
                      <a:pt x="105" y="98"/>
                    </a:cubicBezTo>
                    <a:cubicBezTo>
                      <a:pt x="107" y="98"/>
                      <a:pt x="109" y="98"/>
                      <a:pt x="111" y="98"/>
                    </a:cubicBezTo>
                    <a:cubicBezTo>
                      <a:pt x="112" y="98"/>
                      <a:pt x="113" y="99"/>
                      <a:pt x="115" y="99"/>
                    </a:cubicBezTo>
                    <a:cubicBezTo>
                      <a:pt x="116" y="99"/>
                      <a:pt x="117" y="99"/>
                      <a:pt x="118" y="99"/>
                    </a:cubicBezTo>
                    <a:cubicBezTo>
                      <a:pt x="118" y="98"/>
                      <a:pt x="121" y="96"/>
                      <a:pt x="122" y="96"/>
                    </a:cubicBezTo>
                    <a:cubicBezTo>
                      <a:pt x="123" y="97"/>
                      <a:pt x="123" y="99"/>
                      <a:pt x="124" y="99"/>
                    </a:cubicBezTo>
                    <a:cubicBezTo>
                      <a:pt x="125" y="98"/>
                      <a:pt x="125" y="97"/>
                      <a:pt x="125" y="96"/>
                    </a:cubicBezTo>
                    <a:cubicBezTo>
                      <a:pt x="125" y="94"/>
                      <a:pt x="125" y="93"/>
                      <a:pt x="126" y="91"/>
                    </a:cubicBezTo>
                    <a:cubicBezTo>
                      <a:pt x="126" y="90"/>
                      <a:pt x="126" y="90"/>
                      <a:pt x="126" y="89"/>
                    </a:cubicBezTo>
                    <a:cubicBezTo>
                      <a:pt x="126" y="89"/>
                      <a:pt x="126" y="89"/>
                      <a:pt x="127" y="88"/>
                    </a:cubicBezTo>
                    <a:cubicBezTo>
                      <a:pt x="127" y="88"/>
                      <a:pt x="126" y="86"/>
                      <a:pt x="127" y="86"/>
                    </a:cubicBezTo>
                    <a:cubicBezTo>
                      <a:pt x="127" y="84"/>
                      <a:pt x="129" y="85"/>
                      <a:pt x="130" y="85"/>
                    </a:cubicBezTo>
                    <a:cubicBezTo>
                      <a:pt x="131" y="85"/>
                      <a:pt x="132" y="83"/>
                      <a:pt x="133" y="83"/>
                    </a:cubicBezTo>
                    <a:cubicBezTo>
                      <a:pt x="134" y="82"/>
                      <a:pt x="134" y="82"/>
                      <a:pt x="135" y="81"/>
                    </a:cubicBezTo>
                    <a:cubicBezTo>
                      <a:pt x="136" y="81"/>
                      <a:pt x="137" y="81"/>
                      <a:pt x="137" y="80"/>
                    </a:cubicBezTo>
                    <a:cubicBezTo>
                      <a:pt x="138" y="80"/>
                      <a:pt x="138" y="79"/>
                      <a:pt x="138" y="78"/>
                    </a:cubicBezTo>
                    <a:cubicBezTo>
                      <a:pt x="138" y="74"/>
                      <a:pt x="139" y="71"/>
                      <a:pt x="139" y="67"/>
                    </a:cubicBezTo>
                    <a:cubicBezTo>
                      <a:pt x="139" y="66"/>
                      <a:pt x="139" y="65"/>
                      <a:pt x="139" y="65"/>
                    </a:cubicBezTo>
                    <a:cubicBezTo>
                      <a:pt x="138" y="63"/>
                      <a:pt x="137" y="61"/>
                      <a:pt x="137" y="60"/>
                    </a:cubicBezTo>
                    <a:cubicBezTo>
                      <a:pt x="137" y="58"/>
                      <a:pt x="139" y="57"/>
                      <a:pt x="140" y="56"/>
                    </a:cubicBezTo>
                    <a:cubicBezTo>
                      <a:pt x="141" y="55"/>
                      <a:pt x="142" y="55"/>
                      <a:pt x="142" y="54"/>
                    </a:cubicBezTo>
                    <a:cubicBezTo>
                      <a:pt x="142" y="54"/>
                      <a:pt x="142" y="54"/>
                      <a:pt x="142" y="54"/>
                    </a:cubicBezTo>
                    <a:cubicBezTo>
                      <a:pt x="142" y="53"/>
                      <a:pt x="143" y="53"/>
                      <a:pt x="143" y="5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17" name="Freeform 33">
                <a:extLst>
                  <a:ext uri="{FF2B5EF4-FFF2-40B4-BE49-F238E27FC236}">
                    <a16:creationId xmlns:a16="http://schemas.microsoft.com/office/drawing/2014/main" id="{95C5A429-CD64-457C-A046-80F43E90A0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5313" y="5438775"/>
                <a:ext cx="666750" cy="452438"/>
              </a:xfrm>
              <a:custGeom>
                <a:avLst/>
                <a:gdLst/>
                <a:ahLst/>
                <a:cxnLst>
                  <a:cxn ang="0">
                    <a:pos x="357" y="62"/>
                  </a:cxn>
                  <a:cxn ang="0">
                    <a:pos x="346" y="45"/>
                  </a:cxn>
                  <a:cxn ang="0">
                    <a:pos x="318" y="38"/>
                  </a:cxn>
                  <a:cxn ang="0">
                    <a:pos x="312" y="26"/>
                  </a:cxn>
                  <a:cxn ang="0">
                    <a:pos x="298" y="24"/>
                  </a:cxn>
                  <a:cxn ang="0">
                    <a:pos x="287" y="21"/>
                  </a:cxn>
                  <a:cxn ang="0">
                    <a:pos x="272" y="13"/>
                  </a:cxn>
                  <a:cxn ang="0">
                    <a:pos x="241" y="16"/>
                  </a:cxn>
                  <a:cxn ang="0">
                    <a:pos x="206" y="25"/>
                  </a:cxn>
                  <a:cxn ang="0">
                    <a:pos x="190" y="41"/>
                  </a:cxn>
                  <a:cxn ang="0">
                    <a:pos x="173" y="50"/>
                  </a:cxn>
                  <a:cxn ang="0">
                    <a:pos x="147" y="44"/>
                  </a:cxn>
                  <a:cxn ang="0">
                    <a:pos x="111" y="44"/>
                  </a:cxn>
                  <a:cxn ang="0">
                    <a:pos x="79" y="36"/>
                  </a:cxn>
                  <a:cxn ang="0">
                    <a:pos x="38" y="33"/>
                  </a:cxn>
                  <a:cxn ang="0">
                    <a:pos x="31" y="15"/>
                  </a:cxn>
                  <a:cxn ang="0">
                    <a:pos x="16" y="9"/>
                  </a:cxn>
                  <a:cxn ang="0">
                    <a:pos x="5" y="21"/>
                  </a:cxn>
                  <a:cxn ang="0">
                    <a:pos x="4" y="44"/>
                  </a:cxn>
                  <a:cxn ang="0">
                    <a:pos x="7" y="52"/>
                  </a:cxn>
                  <a:cxn ang="0">
                    <a:pos x="8" y="62"/>
                  </a:cxn>
                  <a:cxn ang="0">
                    <a:pos x="22" y="72"/>
                  </a:cxn>
                  <a:cxn ang="0">
                    <a:pos x="31" y="84"/>
                  </a:cxn>
                  <a:cxn ang="0">
                    <a:pos x="16" y="105"/>
                  </a:cxn>
                  <a:cxn ang="0">
                    <a:pos x="1" y="108"/>
                  </a:cxn>
                  <a:cxn ang="0">
                    <a:pos x="1" y="131"/>
                  </a:cxn>
                  <a:cxn ang="0">
                    <a:pos x="9" y="147"/>
                  </a:cxn>
                  <a:cxn ang="0">
                    <a:pos x="4" y="163"/>
                  </a:cxn>
                  <a:cxn ang="0">
                    <a:pos x="7" y="167"/>
                  </a:cxn>
                  <a:cxn ang="0">
                    <a:pos x="21" y="174"/>
                  </a:cxn>
                  <a:cxn ang="0">
                    <a:pos x="25" y="183"/>
                  </a:cxn>
                  <a:cxn ang="0">
                    <a:pos x="28" y="195"/>
                  </a:cxn>
                  <a:cxn ang="0">
                    <a:pos x="26" y="206"/>
                  </a:cxn>
                  <a:cxn ang="0">
                    <a:pos x="27" y="226"/>
                  </a:cxn>
                  <a:cxn ang="0">
                    <a:pos x="49" y="230"/>
                  </a:cxn>
                  <a:cxn ang="0">
                    <a:pos x="76" y="226"/>
                  </a:cxn>
                  <a:cxn ang="0">
                    <a:pos x="91" y="216"/>
                  </a:cxn>
                  <a:cxn ang="0">
                    <a:pos x="105" y="216"/>
                  </a:cxn>
                  <a:cxn ang="0">
                    <a:pos x="116" y="223"/>
                  </a:cxn>
                  <a:cxn ang="0">
                    <a:pos x="129" y="235"/>
                  </a:cxn>
                  <a:cxn ang="0">
                    <a:pos x="146" y="237"/>
                  </a:cxn>
                  <a:cxn ang="0">
                    <a:pos x="162" y="242"/>
                  </a:cxn>
                  <a:cxn ang="0">
                    <a:pos x="189" y="238"/>
                  </a:cxn>
                  <a:cxn ang="0">
                    <a:pos x="206" y="227"/>
                  </a:cxn>
                  <a:cxn ang="0">
                    <a:pos x="209" y="205"/>
                  </a:cxn>
                  <a:cxn ang="0">
                    <a:pos x="230" y="198"/>
                  </a:cxn>
                  <a:cxn ang="0">
                    <a:pos x="238" y="189"/>
                  </a:cxn>
                  <a:cxn ang="0">
                    <a:pos x="266" y="179"/>
                  </a:cxn>
                  <a:cxn ang="0">
                    <a:pos x="286" y="191"/>
                  </a:cxn>
                  <a:cxn ang="0">
                    <a:pos x="310" y="189"/>
                  </a:cxn>
                  <a:cxn ang="0">
                    <a:pos x="302" y="169"/>
                  </a:cxn>
                  <a:cxn ang="0">
                    <a:pos x="301" y="156"/>
                  </a:cxn>
                  <a:cxn ang="0">
                    <a:pos x="284" y="148"/>
                  </a:cxn>
                  <a:cxn ang="0">
                    <a:pos x="292" y="140"/>
                  </a:cxn>
                  <a:cxn ang="0">
                    <a:pos x="299" y="132"/>
                  </a:cxn>
                  <a:cxn ang="0">
                    <a:pos x="313" y="121"/>
                  </a:cxn>
                  <a:cxn ang="0">
                    <a:pos x="310" y="108"/>
                  </a:cxn>
                  <a:cxn ang="0">
                    <a:pos x="314" y="90"/>
                  </a:cxn>
                  <a:cxn ang="0">
                    <a:pos x="320" y="76"/>
                  </a:cxn>
                  <a:cxn ang="0">
                    <a:pos x="339" y="74"/>
                  </a:cxn>
                  <a:cxn ang="0">
                    <a:pos x="356" y="69"/>
                  </a:cxn>
                </a:cxnLst>
                <a:rect l="0" t="0" r="r" b="b"/>
                <a:pathLst>
                  <a:path w="357" h="242">
                    <a:moveTo>
                      <a:pt x="345" y="45"/>
                    </a:moveTo>
                    <a:cubicBezTo>
                      <a:pt x="345" y="45"/>
                      <a:pt x="346" y="45"/>
                      <a:pt x="346" y="45"/>
                    </a:cubicBezTo>
                    <a:cubicBezTo>
                      <a:pt x="346" y="45"/>
                      <a:pt x="347" y="45"/>
                      <a:pt x="347" y="45"/>
                    </a:cubicBezTo>
                    <a:lnTo>
                      <a:pt x="345" y="45"/>
                    </a:lnTo>
                    <a:close/>
                    <a:moveTo>
                      <a:pt x="357" y="62"/>
                    </a:moveTo>
                    <a:cubicBezTo>
                      <a:pt x="357" y="62"/>
                      <a:pt x="357" y="61"/>
                      <a:pt x="356" y="60"/>
                    </a:cubicBezTo>
                    <a:cubicBezTo>
                      <a:pt x="356" y="59"/>
                      <a:pt x="354" y="59"/>
                      <a:pt x="354" y="58"/>
                    </a:cubicBezTo>
                    <a:cubicBezTo>
                      <a:pt x="353" y="57"/>
                      <a:pt x="353" y="54"/>
                      <a:pt x="352" y="53"/>
                    </a:cubicBezTo>
                    <a:cubicBezTo>
                      <a:pt x="351" y="51"/>
                      <a:pt x="350" y="50"/>
                      <a:pt x="350" y="48"/>
                    </a:cubicBezTo>
                    <a:cubicBezTo>
                      <a:pt x="349" y="48"/>
                      <a:pt x="347" y="46"/>
                      <a:pt x="346" y="45"/>
                    </a:cubicBezTo>
                    <a:cubicBezTo>
                      <a:pt x="343" y="45"/>
                      <a:pt x="339" y="45"/>
                      <a:pt x="336" y="45"/>
                    </a:cubicBezTo>
                    <a:cubicBezTo>
                      <a:pt x="333" y="44"/>
                      <a:pt x="331" y="43"/>
                      <a:pt x="329" y="43"/>
                    </a:cubicBezTo>
                    <a:cubicBezTo>
                      <a:pt x="326" y="42"/>
                      <a:pt x="323" y="42"/>
                      <a:pt x="321" y="41"/>
                    </a:cubicBezTo>
                    <a:cubicBezTo>
                      <a:pt x="320" y="41"/>
                      <a:pt x="319" y="40"/>
                      <a:pt x="319" y="39"/>
                    </a:cubicBezTo>
                    <a:cubicBezTo>
                      <a:pt x="318" y="39"/>
                      <a:pt x="319" y="38"/>
                      <a:pt x="318" y="38"/>
                    </a:cubicBezTo>
                    <a:cubicBezTo>
                      <a:pt x="318" y="36"/>
                      <a:pt x="317" y="36"/>
                      <a:pt x="316" y="35"/>
                    </a:cubicBezTo>
                    <a:cubicBezTo>
                      <a:pt x="316" y="35"/>
                      <a:pt x="316" y="34"/>
                      <a:pt x="316" y="34"/>
                    </a:cubicBezTo>
                    <a:cubicBezTo>
                      <a:pt x="315" y="34"/>
                      <a:pt x="315" y="34"/>
                      <a:pt x="314" y="33"/>
                    </a:cubicBezTo>
                    <a:cubicBezTo>
                      <a:pt x="313" y="32"/>
                      <a:pt x="314" y="31"/>
                      <a:pt x="313" y="30"/>
                    </a:cubicBezTo>
                    <a:cubicBezTo>
                      <a:pt x="313" y="28"/>
                      <a:pt x="313" y="28"/>
                      <a:pt x="312" y="26"/>
                    </a:cubicBezTo>
                    <a:cubicBezTo>
                      <a:pt x="311" y="26"/>
                      <a:pt x="311" y="25"/>
                      <a:pt x="311" y="25"/>
                    </a:cubicBezTo>
                    <a:cubicBezTo>
                      <a:pt x="311" y="24"/>
                      <a:pt x="311" y="24"/>
                      <a:pt x="311" y="23"/>
                    </a:cubicBezTo>
                    <a:cubicBezTo>
                      <a:pt x="310" y="21"/>
                      <a:pt x="305" y="25"/>
                      <a:pt x="304" y="26"/>
                    </a:cubicBezTo>
                    <a:cubicBezTo>
                      <a:pt x="303" y="26"/>
                      <a:pt x="301" y="26"/>
                      <a:pt x="300" y="26"/>
                    </a:cubicBezTo>
                    <a:cubicBezTo>
                      <a:pt x="300" y="26"/>
                      <a:pt x="299" y="24"/>
                      <a:pt x="298" y="24"/>
                    </a:cubicBezTo>
                    <a:cubicBezTo>
                      <a:pt x="298" y="23"/>
                      <a:pt x="297" y="23"/>
                      <a:pt x="297" y="22"/>
                    </a:cubicBezTo>
                    <a:cubicBezTo>
                      <a:pt x="296" y="20"/>
                      <a:pt x="297" y="20"/>
                      <a:pt x="294" y="20"/>
                    </a:cubicBezTo>
                    <a:cubicBezTo>
                      <a:pt x="293" y="20"/>
                      <a:pt x="292" y="20"/>
                      <a:pt x="291" y="20"/>
                    </a:cubicBezTo>
                    <a:cubicBezTo>
                      <a:pt x="291" y="20"/>
                      <a:pt x="289" y="21"/>
                      <a:pt x="289" y="21"/>
                    </a:cubicBezTo>
                    <a:cubicBezTo>
                      <a:pt x="288" y="21"/>
                      <a:pt x="288" y="21"/>
                      <a:pt x="287" y="21"/>
                    </a:cubicBezTo>
                    <a:cubicBezTo>
                      <a:pt x="286" y="20"/>
                      <a:pt x="284" y="19"/>
                      <a:pt x="283" y="19"/>
                    </a:cubicBezTo>
                    <a:cubicBezTo>
                      <a:pt x="282" y="19"/>
                      <a:pt x="280" y="19"/>
                      <a:pt x="280" y="19"/>
                    </a:cubicBezTo>
                    <a:cubicBezTo>
                      <a:pt x="279" y="19"/>
                      <a:pt x="278" y="18"/>
                      <a:pt x="277" y="18"/>
                    </a:cubicBezTo>
                    <a:cubicBezTo>
                      <a:pt x="276" y="17"/>
                      <a:pt x="275" y="17"/>
                      <a:pt x="274" y="16"/>
                    </a:cubicBezTo>
                    <a:cubicBezTo>
                      <a:pt x="273" y="15"/>
                      <a:pt x="273" y="14"/>
                      <a:pt x="272" y="13"/>
                    </a:cubicBezTo>
                    <a:cubicBezTo>
                      <a:pt x="270" y="12"/>
                      <a:pt x="268" y="11"/>
                      <a:pt x="267" y="11"/>
                    </a:cubicBezTo>
                    <a:cubicBezTo>
                      <a:pt x="266" y="10"/>
                      <a:pt x="264" y="9"/>
                      <a:pt x="263" y="9"/>
                    </a:cubicBezTo>
                    <a:cubicBezTo>
                      <a:pt x="260" y="8"/>
                      <a:pt x="258" y="10"/>
                      <a:pt x="256" y="11"/>
                    </a:cubicBezTo>
                    <a:cubicBezTo>
                      <a:pt x="253" y="13"/>
                      <a:pt x="251" y="14"/>
                      <a:pt x="248" y="15"/>
                    </a:cubicBezTo>
                    <a:cubicBezTo>
                      <a:pt x="246" y="16"/>
                      <a:pt x="244" y="16"/>
                      <a:pt x="241" y="16"/>
                    </a:cubicBezTo>
                    <a:cubicBezTo>
                      <a:pt x="239" y="16"/>
                      <a:pt x="236" y="16"/>
                      <a:pt x="234" y="16"/>
                    </a:cubicBezTo>
                    <a:cubicBezTo>
                      <a:pt x="231" y="16"/>
                      <a:pt x="228" y="18"/>
                      <a:pt x="225" y="19"/>
                    </a:cubicBezTo>
                    <a:cubicBezTo>
                      <a:pt x="224" y="20"/>
                      <a:pt x="223" y="20"/>
                      <a:pt x="221" y="21"/>
                    </a:cubicBezTo>
                    <a:cubicBezTo>
                      <a:pt x="218" y="21"/>
                      <a:pt x="216" y="21"/>
                      <a:pt x="214" y="22"/>
                    </a:cubicBezTo>
                    <a:cubicBezTo>
                      <a:pt x="211" y="23"/>
                      <a:pt x="208" y="23"/>
                      <a:pt x="206" y="25"/>
                    </a:cubicBezTo>
                    <a:cubicBezTo>
                      <a:pt x="205" y="25"/>
                      <a:pt x="204" y="26"/>
                      <a:pt x="203" y="27"/>
                    </a:cubicBezTo>
                    <a:cubicBezTo>
                      <a:pt x="201" y="28"/>
                      <a:pt x="199" y="29"/>
                      <a:pt x="198" y="30"/>
                    </a:cubicBezTo>
                    <a:cubicBezTo>
                      <a:pt x="198" y="31"/>
                      <a:pt x="198" y="32"/>
                      <a:pt x="198" y="33"/>
                    </a:cubicBezTo>
                    <a:cubicBezTo>
                      <a:pt x="198" y="35"/>
                      <a:pt x="197" y="36"/>
                      <a:pt x="195" y="37"/>
                    </a:cubicBezTo>
                    <a:cubicBezTo>
                      <a:pt x="194" y="38"/>
                      <a:pt x="191" y="39"/>
                      <a:pt x="190" y="41"/>
                    </a:cubicBezTo>
                    <a:cubicBezTo>
                      <a:pt x="190" y="42"/>
                      <a:pt x="191" y="43"/>
                      <a:pt x="190" y="44"/>
                    </a:cubicBezTo>
                    <a:cubicBezTo>
                      <a:pt x="189" y="46"/>
                      <a:pt x="187" y="45"/>
                      <a:pt x="185" y="45"/>
                    </a:cubicBezTo>
                    <a:cubicBezTo>
                      <a:pt x="183" y="45"/>
                      <a:pt x="182" y="45"/>
                      <a:pt x="180" y="47"/>
                    </a:cubicBezTo>
                    <a:cubicBezTo>
                      <a:pt x="179" y="48"/>
                      <a:pt x="178" y="48"/>
                      <a:pt x="176" y="49"/>
                    </a:cubicBezTo>
                    <a:cubicBezTo>
                      <a:pt x="175" y="50"/>
                      <a:pt x="175" y="50"/>
                      <a:pt x="173" y="50"/>
                    </a:cubicBezTo>
                    <a:cubicBezTo>
                      <a:pt x="171" y="50"/>
                      <a:pt x="168" y="48"/>
                      <a:pt x="165" y="48"/>
                    </a:cubicBezTo>
                    <a:cubicBezTo>
                      <a:pt x="165" y="48"/>
                      <a:pt x="165" y="48"/>
                      <a:pt x="164" y="48"/>
                    </a:cubicBezTo>
                    <a:cubicBezTo>
                      <a:pt x="163" y="48"/>
                      <a:pt x="162" y="47"/>
                      <a:pt x="161" y="47"/>
                    </a:cubicBezTo>
                    <a:cubicBezTo>
                      <a:pt x="159" y="46"/>
                      <a:pt x="156" y="45"/>
                      <a:pt x="153" y="44"/>
                    </a:cubicBezTo>
                    <a:cubicBezTo>
                      <a:pt x="151" y="44"/>
                      <a:pt x="149" y="44"/>
                      <a:pt x="147" y="44"/>
                    </a:cubicBezTo>
                    <a:cubicBezTo>
                      <a:pt x="145" y="44"/>
                      <a:pt x="143" y="41"/>
                      <a:pt x="141" y="40"/>
                    </a:cubicBezTo>
                    <a:cubicBezTo>
                      <a:pt x="138" y="39"/>
                      <a:pt x="138" y="40"/>
                      <a:pt x="136" y="41"/>
                    </a:cubicBezTo>
                    <a:cubicBezTo>
                      <a:pt x="134" y="42"/>
                      <a:pt x="132" y="42"/>
                      <a:pt x="130" y="42"/>
                    </a:cubicBezTo>
                    <a:cubicBezTo>
                      <a:pt x="126" y="41"/>
                      <a:pt x="122" y="40"/>
                      <a:pt x="118" y="41"/>
                    </a:cubicBezTo>
                    <a:cubicBezTo>
                      <a:pt x="115" y="41"/>
                      <a:pt x="113" y="43"/>
                      <a:pt x="111" y="44"/>
                    </a:cubicBezTo>
                    <a:cubicBezTo>
                      <a:pt x="109" y="45"/>
                      <a:pt x="105" y="45"/>
                      <a:pt x="103" y="45"/>
                    </a:cubicBezTo>
                    <a:cubicBezTo>
                      <a:pt x="99" y="44"/>
                      <a:pt x="97" y="40"/>
                      <a:pt x="93" y="40"/>
                    </a:cubicBezTo>
                    <a:cubicBezTo>
                      <a:pt x="92" y="40"/>
                      <a:pt x="92" y="41"/>
                      <a:pt x="91" y="41"/>
                    </a:cubicBezTo>
                    <a:cubicBezTo>
                      <a:pt x="90" y="41"/>
                      <a:pt x="88" y="40"/>
                      <a:pt x="87" y="39"/>
                    </a:cubicBezTo>
                    <a:cubicBezTo>
                      <a:pt x="84" y="38"/>
                      <a:pt x="82" y="37"/>
                      <a:pt x="79" y="36"/>
                    </a:cubicBezTo>
                    <a:cubicBezTo>
                      <a:pt x="78" y="35"/>
                      <a:pt x="76" y="35"/>
                      <a:pt x="75" y="35"/>
                    </a:cubicBezTo>
                    <a:cubicBezTo>
                      <a:pt x="73" y="34"/>
                      <a:pt x="72" y="33"/>
                      <a:pt x="70" y="33"/>
                    </a:cubicBezTo>
                    <a:cubicBezTo>
                      <a:pt x="67" y="31"/>
                      <a:pt x="64" y="31"/>
                      <a:pt x="61" y="31"/>
                    </a:cubicBezTo>
                    <a:cubicBezTo>
                      <a:pt x="56" y="31"/>
                      <a:pt x="52" y="30"/>
                      <a:pt x="47" y="30"/>
                    </a:cubicBezTo>
                    <a:cubicBezTo>
                      <a:pt x="43" y="30"/>
                      <a:pt x="41" y="34"/>
                      <a:pt x="38" y="33"/>
                    </a:cubicBezTo>
                    <a:cubicBezTo>
                      <a:pt x="36" y="33"/>
                      <a:pt x="35" y="32"/>
                      <a:pt x="33" y="32"/>
                    </a:cubicBezTo>
                    <a:cubicBezTo>
                      <a:pt x="31" y="32"/>
                      <a:pt x="30" y="32"/>
                      <a:pt x="28" y="31"/>
                    </a:cubicBezTo>
                    <a:cubicBezTo>
                      <a:pt x="26" y="29"/>
                      <a:pt x="26" y="24"/>
                      <a:pt x="26" y="22"/>
                    </a:cubicBezTo>
                    <a:cubicBezTo>
                      <a:pt x="26" y="21"/>
                      <a:pt x="26" y="18"/>
                      <a:pt x="27" y="18"/>
                    </a:cubicBezTo>
                    <a:cubicBezTo>
                      <a:pt x="28" y="17"/>
                      <a:pt x="30" y="16"/>
                      <a:pt x="31" y="15"/>
                    </a:cubicBezTo>
                    <a:cubicBezTo>
                      <a:pt x="33" y="14"/>
                      <a:pt x="36" y="13"/>
                      <a:pt x="35" y="10"/>
                    </a:cubicBezTo>
                    <a:cubicBezTo>
                      <a:pt x="34" y="7"/>
                      <a:pt x="29" y="6"/>
                      <a:pt x="26" y="4"/>
                    </a:cubicBezTo>
                    <a:cubicBezTo>
                      <a:pt x="25" y="3"/>
                      <a:pt x="24" y="2"/>
                      <a:pt x="22" y="1"/>
                    </a:cubicBezTo>
                    <a:cubicBezTo>
                      <a:pt x="20" y="1"/>
                      <a:pt x="18" y="0"/>
                      <a:pt x="16" y="0"/>
                    </a:cubicBezTo>
                    <a:cubicBezTo>
                      <a:pt x="16" y="3"/>
                      <a:pt x="16" y="6"/>
                      <a:pt x="16" y="9"/>
                    </a:cubicBezTo>
                    <a:cubicBezTo>
                      <a:pt x="16" y="10"/>
                      <a:pt x="16" y="11"/>
                      <a:pt x="15" y="12"/>
                    </a:cubicBezTo>
                    <a:cubicBezTo>
                      <a:pt x="15" y="12"/>
                      <a:pt x="13" y="12"/>
                      <a:pt x="12" y="12"/>
                    </a:cubicBezTo>
                    <a:cubicBezTo>
                      <a:pt x="12" y="12"/>
                      <a:pt x="10" y="12"/>
                      <a:pt x="10" y="13"/>
                    </a:cubicBezTo>
                    <a:cubicBezTo>
                      <a:pt x="8" y="14"/>
                      <a:pt x="8" y="17"/>
                      <a:pt x="6" y="19"/>
                    </a:cubicBezTo>
                    <a:cubicBezTo>
                      <a:pt x="6" y="20"/>
                      <a:pt x="5" y="20"/>
                      <a:pt x="5" y="21"/>
                    </a:cubicBezTo>
                    <a:cubicBezTo>
                      <a:pt x="5" y="22"/>
                      <a:pt x="5" y="22"/>
                      <a:pt x="5" y="23"/>
                    </a:cubicBezTo>
                    <a:cubicBezTo>
                      <a:pt x="4" y="25"/>
                      <a:pt x="3" y="25"/>
                      <a:pt x="2" y="26"/>
                    </a:cubicBezTo>
                    <a:cubicBezTo>
                      <a:pt x="2" y="27"/>
                      <a:pt x="1" y="28"/>
                      <a:pt x="1" y="30"/>
                    </a:cubicBezTo>
                    <a:cubicBezTo>
                      <a:pt x="1" y="32"/>
                      <a:pt x="1" y="37"/>
                      <a:pt x="1" y="39"/>
                    </a:cubicBezTo>
                    <a:cubicBezTo>
                      <a:pt x="2" y="41"/>
                      <a:pt x="3" y="43"/>
                      <a:pt x="4" y="44"/>
                    </a:cubicBezTo>
                    <a:cubicBezTo>
                      <a:pt x="4" y="44"/>
                      <a:pt x="4" y="45"/>
                      <a:pt x="4" y="45"/>
                    </a:cubicBezTo>
                    <a:cubicBezTo>
                      <a:pt x="5" y="45"/>
                      <a:pt x="5" y="45"/>
                      <a:pt x="5" y="46"/>
                    </a:cubicBezTo>
                    <a:cubicBezTo>
                      <a:pt x="6" y="46"/>
                      <a:pt x="5" y="48"/>
                      <a:pt x="6" y="49"/>
                    </a:cubicBezTo>
                    <a:cubicBezTo>
                      <a:pt x="6" y="50"/>
                      <a:pt x="6" y="49"/>
                      <a:pt x="7" y="50"/>
                    </a:cubicBezTo>
                    <a:cubicBezTo>
                      <a:pt x="7" y="50"/>
                      <a:pt x="7" y="51"/>
                      <a:pt x="7" y="52"/>
                    </a:cubicBezTo>
                    <a:cubicBezTo>
                      <a:pt x="7" y="53"/>
                      <a:pt x="8" y="54"/>
                      <a:pt x="8" y="54"/>
                    </a:cubicBezTo>
                    <a:cubicBezTo>
                      <a:pt x="8" y="55"/>
                      <a:pt x="9" y="56"/>
                      <a:pt x="9" y="56"/>
                    </a:cubicBezTo>
                    <a:cubicBezTo>
                      <a:pt x="10" y="57"/>
                      <a:pt x="10" y="57"/>
                      <a:pt x="11" y="58"/>
                    </a:cubicBezTo>
                    <a:cubicBezTo>
                      <a:pt x="12" y="60"/>
                      <a:pt x="13" y="61"/>
                      <a:pt x="14" y="63"/>
                    </a:cubicBezTo>
                    <a:cubicBezTo>
                      <a:pt x="12" y="64"/>
                      <a:pt x="10" y="62"/>
                      <a:pt x="8" y="62"/>
                    </a:cubicBezTo>
                    <a:cubicBezTo>
                      <a:pt x="7" y="62"/>
                      <a:pt x="7" y="65"/>
                      <a:pt x="8" y="66"/>
                    </a:cubicBezTo>
                    <a:cubicBezTo>
                      <a:pt x="9" y="66"/>
                      <a:pt x="11" y="66"/>
                      <a:pt x="12" y="66"/>
                    </a:cubicBezTo>
                    <a:cubicBezTo>
                      <a:pt x="14" y="67"/>
                      <a:pt x="16" y="66"/>
                      <a:pt x="17" y="67"/>
                    </a:cubicBezTo>
                    <a:cubicBezTo>
                      <a:pt x="19" y="67"/>
                      <a:pt x="19" y="68"/>
                      <a:pt x="20" y="69"/>
                    </a:cubicBezTo>
                    <a:cubicBezTo>
                      <a:pt x="21" y="70"/>
                      <a:pt x="21" y="71"/>
                      <a:pt x="22" y="72"/>
                    </a:cubicBezTo>
                    <a:cubicBezTo>
                      <a:pt x="23" y="73"/>
                      <a:pt x="24" y="73"/>
                      <a:pt x="24" y="74"/>
                    </a:cubicBezTo>
                    <a:cubicBezTo>
                      <a:pt x="24" y="76"/>
                      <a:pt x="26" y="78"/>
                      <a:pt x="27" y="79"/>
                    </a:cubicBezTo>
                    <a:cubicBezTo>
                      <a:pt x="28" y="80"/>
                      <a:pt x="29" y="81"/>
                      <a:pt x="29" y="82"/>
                    </a:cubicBezTo>
                    <a:cubicBezTo>
                      <a:pt x="29" y="82"/>
                      <a:pt x="30" y="83"/>
                      <a:pt x="30" y="83"/>
                    </a:cubicBezTo>
                    <a:cubicBezTo>
                      <a:pt x="30" y="84"/>
                      <a:pt x="31" y="84"/>
                      <a:pt x="31" y="84"/>
                    </a:cubicBezTo>
                    <a:cubicBezTo>
                      <a:pt x="32" y="87"/>
                      <a:pt x="29" y="89"/>
                      <a:pt x="28" y="90"/>
                    </a:cubicBezTo>
                    <a:cubicBezTo>
                      <a:pt x="27" y="92"/>
                      <a:pt x="24" y="92"/>
                      <a:pt x="22" y="94"/>
                    </a:cubicBezTo>
                    <a:cubicBezTo>
                      <a:pt x="20" y="96"/>
                      <a:pt x="20" y="98"/>
                      <a:pt x="19" y="100"/>
                    </a:cubicBezTo>
                    <a:cubicBezTo>
                      <a:pt x="19" y="101"/>
                      <a:pt x="19" y="103"/>
                      <a:pt x="19" y="103"/>
                    </a:cubicBezTo>
                    <a:cubicBezTo>
                      <a:pt x="18" y="104"/>
                      <a:pt x="16" y="105"/>
                      <a:pt x="16" y="105"/>
                    </a:cubicBezTo>
                    <a:cubicBezTo>
                      <a:pt x="15" y="106"/>
                      <a:pt x="15" y="105"/>
                      <a:pt x="14" y="106"/>
                    </a:cubicBezTo>
                    <a:cubicBezTo>
                      <a:pt x="13" y="106"/>
                      <a:pt x="13" y="106"/>
                      <a:pt x="12" y="107"/>
                    </a:cubicBezTo>
                    <a:cubicBezTo>
                      <a:pt x="11" y="107"/>
                      <a:pt x="11" y="106"/>
                      <a:pt x="10" y="106"/>
                    </a:cubicBezTo>
                    <a:cubicBezTo>
                      <a:pt x="9" y="106"/>
                      <a:pt x="8" y="106"/>
                      <a:pt x="7" y="106"/>
                    </a:cubicBezTo>
                    <a:cubicBezTo>
                      <a:pt x="6" y="106"/>
                      <a:pt x="2" y="107"/>
                      <a:pt x="1" y="108"/>
                    </a:cubicBezTo>
                    <a:cubicBezTo>
                      <a:pt x="1" y="109"/>
                      <a:pt x="1" y="111"/>
                      <a:pt x="1" y="112"/>
                    </a:cubicBezTo>
                    <a:cubicBezTo>
                      <a:pt x="1" y="113"/>
                      <a:pt x="2" y="114"/>
                      <a:pt x="2" y="115"/>
                    </a:cubicBezTo>
                    <a:cubicBezTo>
                      <a:pt x="3" y="117"/>
                      <a:pt x="2" y="119"/>
                      <a:pt x="1" y="121"/>
                    </a:cubicBezTo>
                    <a:cubicBezTo>
                      <a:pt x="1" y="123"/>
                      <a:pt x="0" y="124"/>
                      <a:pt x="0" y="126"/>
                    </a:cubicBezTo>
                    <a:cubicBezTo>
                      <a:pt x="0" y="129"/>
                      <a:pt x="0" y="129"/>
                      <a:pt x="1" y="131"/>
                    </a:cubicBezTo>
                    <a:cubicBezTo>
                      <a:pt x="2" y="132"/>
                      <a:pt x="2" y="132"/>
                      <a:pt x="3" y="133"/>
                    </a:cubicBezTo>
                    <a:cubicBezTo>
                      <a:pt x="4" y="134"/>
                      <a:pt x="4" y="133"/>
                      <a:pt x="4" y="135"/>
                    </a:cubicBezTo>
                    <a:cubicBezTo>
                      <a:pt x="5" y="137"/>
                      <a:pt x="6" y="137"/>
                      <a:pt x="7" y="139"/>
                    </a:cubicBezTo>
                    <a:cubicBezTo>
                      <a:pt x="7" y="140"/>
                      <a:pt x="7" y="142"/>
                      <a:pt x="8" y="143"/>
                    </a:cubicBezTo>
                    <a:cubicBezTo>
                      <a:pt x="9" y="145"/>
                      <a:pt x="9" y="145"/>
                      <a:pt x="9" y="147"/>
                    </a:cubicBezTo>
                    <a:cubicBezTo>
                      <a:pt x="9" y="148"/>
                      <a:pt x="8" y="150"/>
                      <a:pt x="7" y="151"/>
                    </a:cubicBezTo>
                    <a:cubicBezTo>
                      <a:pt x="5" y="152"/>
                      <a:pt x="3" y="153"/>
                      <a:pt x="1" y="153"/>
                    </a:cubicBezTo>
                    <a:cubicBezTo>
                      <a:pt x="2" y="158"/>
                      <a:pt x="2" y="158"/>
                      <a:pt x="2" y="158"/>
                    </a:cubicBezTo>
                    <a:cubicBezTo>
                      <a:pt x="2" y="159"/>
                      <a:pt x="2" y="160"/>
                      <a:pt x="3" y="161"/>
                    </a:cubicBezTo>
                    <a:cubicBezTo>
                      <a:pt x="3" y="162"/>
                      <a:pt x="3" y="162"/>
                      <a:pt x="4" y="163"/>
                    </a:cubicBezTo>
                    <a:cubicBezTo>
                      <a:pt x="4" y="163"/>
                      <a:pt x="4" y="164"/>
                      <a:pt x="4" y="164"/>
                    </a:cubicBezTo>
                    <a:cubicBezTo>
                      <a:pt x="4" y="164"/>
                      <a:pt x="4" y="164"/>
                      <a:pt x="4" y="165"/>
                    </a:cubicBezTo>
                    <a:cubicBezTo>
                      <a:pt x="4" y="165"/>
                      <a:pt x="4" y="165"/>
                      <a:pt x="4" y="166"/>
                    </a:cubicBezTo>
                    <a:cubicBezTo>
                      <a:pt x="4" y="166"/>
                      <a:pt x="5" y="166"/>
                      <a:pt x="6" y="166"/>
                    </a:cubicBezTo>
                    <a:cubicBezTo>
                      <a:pt x="6" y="166"/>
                      <a:pt x="6" y="167"/>
                      <a:pt x="7" y="167"/>
                    </a:cubicBezTo>
                    <a:cubicBezTo>
                      <a:pt x="7" y="168"/>
                      <a:pt x="7" y="169"/>
                      <a:pt x="8" y="170"/>
                    </a:cubicBezTo>
                    <a:cubicBezTo>
                      <a:pt x="9" y="170"/>
                      <a:pt x="10" y="170"/>
                      <a:pt x="11" y="171"/>
                    </a:cubicBezTo>
                    <a:cubicBezTo>
                      <a:pt x="12" y="171"/>
                      <a:pt x="13" y="170"/>
                      <a:pt x="15" y="171"/>
                    </a:cubicBezTo>
                    <a:cubicBezTo>
                      <a:pt x="16" y="171"/>
                      <a:pt x="17" y="172"/>
                      <a:pt x="18" y="173"/>
                    </a:cubicBezTo>
                    <a:cubicBezTo>
                      <a:pt x="19" y="173"/>
                      <a:pt x="20" y="174"/>
                      <a:pt x="21" y="174"/>
                    </a:cubicBezTo>
                    <a:cubicBezTo>
                      <a:pt x="22" y="174"/>
                      <a:pt x="22" y="174"/>
                      <a:pt x="23" y="175"/>
                    </a:cubicBezTo>
                    <a:cubicBezTo>
                      <a:pt x="23" y="175"/>
                      <a:pt x="23" y="175"/>
                      <a:pt x="23" y="176"/>
                    </a:cubicBezTo>
                    <a:cubicBezTo>
                      <a:pt x="23" y="176"/>
                      <a:pt x="24" y="177"/>
                      <a:pt x="24" y="178"/>
                    </a:cubicBezTo>
                    <a:cubicBezTo>
                      <a:pt x="24" y="179"/>
                      <a:pt x="24" y="180"/>
                      <a:pt x="24" y="181"/>
                    </a:cubicBezTo>
                    <a:cubicBezTo>
                      <a:pt x="24" y="182"/>
                      <a:pt x="25" y="182"/>
                      <a:pt x="25" y="183"/>
                    </a:cubicBezTo>
                    <a:cubicBezTo>
                      <a:pt x="25" y="183"/>
                      <a:pt x="25" y="184"/>
                      <a:pt x="25" y="185"/>
                    </a:cubicBezTo>
                    <a:cubicBezTo>
                      <a:pt x="25" y="186"/>
                      <a:pt x="26" y="186"/>
                      <a:pt x="26" y="187"/>
                    </a:cubicBezTo>
                    <a:cubicBezTo>
                      <a:pt x="26" y="188"/>
                      <a:pt x="26" y="189"/>
                      <a:pt x="26" y="190"/>
                    </a:cubicBezTo>
                    <a:cubicBezTo>
                      <a:pt x="26" y="190"/>
                      <a:pt x="26" y="191"/>
                      <a:pt x="26" y="192"/>
                    </a:cubicBezTo>
                    <a:cubicBezTo>
                      <a:pt x="27" y="193"/>
                      <a:pt x="27" y="194"/>
                      <a:pt x="28" y="195"/>
                    </a:cubicBezTo>
                    <a:cubicBezTo>
                      <a:pt x="29" y="196"/>
                      <a:pt x="32" y="196"/>
                      <a:pt x="32" y="198"/>
                    </a:cubicBezTo>
                    <a:cubicBezTo>
                      <a:pt x="32" y="199"/>
                      <a:pt x="31" y="199"/>
                      <a:pt x="31" y="200"/>
                    </a:cubicBezTo>
                    <a:cubicBezTo>
                      <a:pt x="31" y="200"/>
                      <a:pt x="31" y="200"/>
                      <a:pt x="31" y="200"/>
                    </a:cubicBezTo>
                    <a:cubicBezTo>
                      <a:pt x="31" y="201"/>
                      <a:pt x="30" y="201"/>
                      <a:pt x="29" y="202"/>
                    </a:cubicBezTo>
                    <a:cubicBezTo>
                      <a:pt x="28" y="203"/>
                      <a:pt x="26" y="204"/>
                      <a:pt x="26" y="206"/>
                    </a:cubicBezTo>
                    <a:cubicBezTo>
                      <a:pt x="26" y="207"/>
                      <a:pt x="27" y="209"/>
                      <a:pt x="28" y="211"/>
                    </a:cubicBezTo>
                    <a:cubicBezTo>
                      <a:pt x="28" y="211"/>
                      <a:pt x="28" y="212"/>
                      <a:pt x="28" y="213"/>
                    </a:cubicBezTo>
                    <a:cubicBezTo>
                      <a:pt x="28" y="217"/>
                      <a:pt x="27" y="220"/>
                      <a:pt x="27" y="224"/>
                    </a:cubicBezTo>
                    <a:cubicBezTo>
                      <a:pt x="27" y="225"/>
                      <a:pt x="27" y="225"/>
                      <a:pt x="27" y="226"/>
                    </a:cubicBezTo>
                    <a:cubicBezTo>
                      <a:pt x="27" y="226"/>
                      <a:pt x="27" y="226"/>
                      <a:pt x="27" y="226"/>
                    </a:cubicBezTo>
                    <a:cubicBezTo>
                      <a:pt x="28" y="227"/>
                      <a:pt x="29" y="228"/>
                      <a:pt x="30" y="229"/>
                    </a:cubicBezTo>
                    <a:cubicBezTo>
                      <a:pt x="31" y="229"/>
                      <a:pt x="31" y="230"/>
                      <a:pt x="32" y="231"/>
                    </a:cubicBezTo>
                    <a:cubicBezTo>
                      <a:pt x="33" y="232"/>
                      <a:pt x="34" y="231"/>
                      <a:pt x="36" y="231"/>
                    </a:cubicBezTo>
                    <a:cubicBezTo>
                      <a:pt x="37" y="231"/>
                      <a:pt x="39" y="231"/>
                      <a:pt x="41" y="231"/>
                    </a:cubicBezTo>
                    <a:cubicBezTo>
                      <a:pt x="44" y="231"/>
                      <a:pt x="46" y="231"/>
                      <a:pt x="49" y="230"/>
                    </a:cubicBezTo>
                    <a:cubicBezTo>
                      <a:pt x="51" y="229"/>
                      <a:pt x="55" y="227"/>
                      <a:pt x="57" y="228"/>
                    </a:cubicBezTo>
                    <a:cubicBezTo>
                      <a:pt x="58" y="228"/>
                      <a:pt x="59" y="229"/>
                      <a:pt x="60" y="229"/>
                    </a:cubicBezTo>
                    <a:cubicBezTo>
                      <a:pt x="62" y="229"/>
                      <a:pt x="63" y="229"/>
                      <a:pt x="64" y="229"/>
                    </a:cubicBezTo>
                    <a:cubicBezTo>
                      <a:pt x="66" y="228"/>
                      <a:pt x="68" y="229"/>
                      <a:pt x="70" y="228"/>
                    </a:cubicBezTo>
                    <a:cubicBezTo>
                      <a:pt x="72" y="228"/>
                      <a:pt x="75" y="227"/>
                      <a:pt x="76" y="226"/>
                    </a:cubicBezTo>
                    <a:cubicBezTo>
                      <a:pt x="77" y="225"/>
                      <a:pt x="77" y="224"/>
                      <a:pt x="78" y="224"/>
                    </a:cubicBezTo>
                    <a:cubicBezTo>
                      <a:pt x="79" y="224"/>
                      <a:pt x="80" y="224"/>
                      <a:pt x="80" y="224"/>
                    </a:cubicBezTo>
                    <a:cubicBezTo>
                      <a:pt x="81" y="224"/>
                      <a:pt x="82" y="223"/>
                      <a:pt x="83" y="222"/>
                    </a:cubicBezTo>
                    <a:cubicBezTo>
                      <a:pt x="85" y="224"/>
                      <a:pt x="88" y="223"/>
                      <a:pt x="89" y="220"/>
                    </a:cubicBezTo>
                    <a:cubicBezTo>
                      <a:pt x="89" y="219"/>
                      <a:pt x="88" y="215"/>
                      <a:pt x="91" y="216"/>
                    </a:cubicBezTo>
                    <a:cubicBezTo>
                      <a:pt x="92" y="217"/>
                      <a:pt x="93" y="218"/>
                      <a:pt x="94" y="218"/>
                    </a:cubicBezTo>
                    <a:cubicBezTo>
                      <a:pt x="95" y="218"/>
                      <a:pt x="97" y="218"/>
                      <a:pt x="98" y="218"/>
                    </a:cubicBezTo>
                    <a:cubicBezTo>
                      <a:pt x="100" y="218"/>
                      <a:pt x="101" y="219"/>
                      <a:pt x="103" y="218"/>
                    </a:cubicBezTo>
                    <a:cubicBezTo>
                      <a:pt x="103" y="218"/>
                      <a:pt x="103" y="217"/>
                      <a:pt x="104" y="217"/>
                    </a:cubicBezTo>
                    <a:cubicBezTo>
                      <a:pt x="104" y="216"/>
                      <a:pt x="105" y="217"/>
                      <a:pt x="105" y="216"/>
                    </a:cubicBezTo>
                    <a:cubicBezTo>
                      <a:pt x="107" y="216"/>
                      <a:pt x="106" y="218"/>
                      <a:pt x="108" y="218"/>
                    </a:cubicBezTo>
                    <a:cubicBezTo>
                      <a:pt x="109" y="218"/>
                      <a:pt x="110" y="216"/>
                      <a:pt x="110" y="218"/>
                    </a:cubicBezTo>
                    <a:cubicBezTo>
                      <a:pt x="111" y="217"/>
                      <a:pt x="113" y="216"/>
                      <a:pt x="114" y="217"/>
                    </a:cubicBezTo>
                    <a:cubicBezTo>
                      <a:pt x="115" y="218"/>
                      <a:pt x="114" y="221"/>
                      <a:pt x="115" y="222"/>
                    </a:cubicBezTo>
                    <a:cubicBezTo>
                      <a:pt x="115" y="222"/>
                      <a:pt x="116" y="223"/>
                      <a:pt x="116" y="223"/>
                    </a:cubicBezTo>
                    <a:cubicBezTo>
                      <a:pt x="116" y="224"/>
                      <a:pt x="117" y="225"/>
                      <a:pt x="118" y="225"/>
                    </a:cubicBezTo>
                    <a:cubicBezTo>
                      <a:pt x="120" y="226"/>
                      <a:pt x="122" y="226"/>
                      <a:pt x="124" y="228"/>
                    </a:cubicBezTo>
                    <a:cubicBezTo>
                      <a:pt x="124" y="229"/>
                      <a:pt x="125" y="230"/>
                      <a:pt x="126" y="231"/>
                    </a:cubicBezTo>
                    <a:cubicBezTo>
                      <a:pt x="126" y="231"/>
                      <a:pt x="126" y="231"/>
                      <a:pt x="127" y="232"/>
                    </a:cubicBezTo>
                    <a:cubicBezTo>
                      <a:pt x="128" y="232"/>
                      <a:pt x="128" y="234"/>
                      <a:pt x="129" y="235"/>
                    </a:cubicBezTo>
                    <a:cubicBezTo>
                      <a:pt x="130" y="236"/>
                      <a:pt x="130" y="235"/>
                      <a:pt x="131" y="234"/>
                    </a:cubicBezTo>
                    <a:cubicBezTo>
                      <a:pt x="133" y="234"/>
                      <a:pt x="135" y="233"/>
                      <a:pt x="137" y="233"/>
                    </a:cubicBezTo>
                    <a:cubicBezTo>
                      <a:pt x="138" y="234"/>
                      <a:pt x="138" y="235"/>
                      <a:pt x="139" y="235"/>
                    </a:cubicBezTo>
                    <a:cubicBezTo>
                      <a:pt x="140" y="236"/>
                      <a:pt x="141" y="236"/>
                      <a:pt x="142" y="236"/>
                    </a:cubicBezTo>
                    <a:cubicBezTo>
                      <a:pt x="143" y="238"/>
                      <a:pt x="144" y="237"/>
                      <a:pt x="146" y="237"/>
                    </a:cubicBezTo>
                    <a:cubicBezTo>
                      <a:pt x="147" y="237"/>
                      <a:pt x="148" y="238"/>
                      <a:pt x="148" y="238"/>
                    </a:cubicBezTo>
                    <a:cubicBezTo>
                      <a:pt x="150" y="239"/>
                      <a:pt x="151" y="241"/>
                      <a:pt x="152" y="241"/>
                    </a:cubicBezTo>
                    <a:cubicBezTo>
                      <a:pt x="153" y="242"/>
                      <a:pt x="154" y="241"/>
                      <a:pt x="155" y="241"/>
                    </a:cubicBezTo>
                    <a:cubicBezTo>
                      <a:pt x="155" y="242"/>
                      <a:pt x="156" y="242"/>
                      <a:pt x="156" y="242"/>
                    </a:cubicBezTo>
                    <a:cubicBezTo>
                      <a:pt x="158" y="242"/>
                      <a:pt x="160" y="242"/>
                      <a:pt x="162" y="242"/>
                    </a:cubicBezTo>
                    <a:cubicBezTo>
                      <a:pt x="167" y="242"/>
                      <a:pt x="173" y="241"/>
                      <a:pt x="178" y="241"/>
                    </a:cubicBezTo>
                    <a:cubicBezTo>
                      <a:pt x="178" y="239"/>
                      <a:pt x="178" y="237"/>
                      <a:pt x="176" y="236"/>
                    </a:cubicBezTo>
                    <a:cubicBezTo>
                      <a:pt x="179" y="235"/>
                      <a:pt x="181" y="239"/>
                      <a:pt x="184" y="238"/>
                    </a:cubicBezTo>
                    <a:cubicBezTo>
                      <a:pt x="185" y="237"/>
                      <a:pt x="185" y="237"/>
                      <a:pt x="186" y="237"/>
                    </a:cubicBezTo>
                    <a:cubicBezTo>
                      <a:pt x="187" y="237"/>
                      <a:pt x="188" y="238"/>
                      <a:pt x="189" y="238"/>
                    </a:cubicBezTo>
                    <a:cubicBezTo>
                      <a:pt x="191" y="239"/>
                      <a:pt x="192" y="240"/>
                      <a:pt x="195" y="239"/>
                    </a:cubicBezTo>
                    <a:cubicBezTo>
                      <a:pt x="196" y="239"/>
                      <a:pt x="198" y="238"/>
                      <a:pt x="199" y="238"/>
                    </a:cubicBezTo>
                    <a:cubicBezTo>
                      <a:pt x="200" y="237"/>
                      <a:pt x="201" y="236"/>
                      <a:pt x="202" y="236"/>
                    </a:cubicBezTo>
                    <a:cubicBezTo>
                      <a:pt x="203" y="235"/>
                      <a:pt x="204" y="235"/>
                      <a:pt x="205" y="235"/>
                    </a:cubicBezTo>
                    <a:cubicBezTo>
                      <a:pt x="207" y="233"/>
                      <a:pt x="206" y="230"/>
                      <a:pt x="206" y="227"/>
                    </a:cubicBezTo>
                    <a:cubicBezTo>
                      <a:pt x="206" y="227"/>
                      <a:pt x="206" y="226"/>
                      <a:pt x="206" y="226"/>
                    </a:cubicBezTo>
                    <a:cubicBezTo>
                      <a:pt x="206" y="224"/>
                      <a:pt x="207" y="224"/>
                      <a:pt x="207" y="223"/>
                    </a:cubicBezTo>
                    <a:cubicBezTo>
                      <a:pt x="208" y="221"/>
                      <a:pt x="207" y="220"/>
                      <a:pt x="207" y="218"/>
                    </a:cubicBezTo>
                    <a:cubicBezTo>
                      <a:pt x="207" y="215"/>
                      <a:pt x="204" y="214"/>
                      <a:pt x="203" y="211"/>
                    </a:cubicBezTo>
                    <a:cubicBezTo>
                      <a:pt x="202" y="207"/>
                      <a:pt x="205" y="205"/>
                      <a:pt x="209" y="205"/>
                    </a:cubicBezTo>
                    <a:cubicBezTo>
                      <a:pt x="211" y="205"/>
                      <a:pt x="213" y="207"/>
                      <a:pt x="215" y="208"/>
                    </a:cubicBezTo>
                    <a:cubicBezTo>
                      <a:pt x="217" y="208"/>
                      <a:pt x="220" y="210"/>
                      <a:pt x="223" y="210"/>
                    </a:cubicBezTo>
                    <a:cubicBezTo>
                      <a:pt x="223" y="208"/>
                      <a:pt x="223" y="206"/>
                      <a:pt x="223" y="204"/>
                    </a:cubicBezTo>
                    <a:cubicBezTo>
                      <a:pt x="224" y="202"/>
                      <a:pt x="224" y="201"/>
                      <a:pt x="225" y="200"/>
                    </a:cubicBezTo>
                    <a:cubicBezTo>
                      <a:pt x="227" y="198"/>
                      <a:pt x="227" y="198"/>
                      <a:pt x="230" y="198"/>
                    </a:cubicBezTo>
                    <a:cubicBezTo>
                      <a:pt x="229" y="197"/>
                      <a:pt x="230" y="197"/>
                      <a:pt x="230" y="197"/>
                    </a:cubicBezTo>
                    <a:cubicBezTo>
                      <a:pt x="230" y="196"/>
                      <a:pt x="231" y="196"/>
                      <a:pt x="231" y="196"/>
                    </a:cubicBezTo>
                    <a:cubicBezTo>
                      <a:pt x="232" y="195"/>
                      <a:pt x="232" y="195"/>
                      <a:pt x="233" y="194"/>
                    </a:cubicBezTo>
                    <a:cubicBezTo>
                      <a:pt x="233" y="194"/>
                      <a:pt x="233" y="193"/>
                      <a:pt x="233" y="193"/>
                    </a:cubicBezTo>
                    <a:cubicBezTo>
                      <a:pt x="235" y="191"/>
                      <a:pt x="237" y="190"/>
                      <a:pt x="238" y="189"/>
                    </a:cubicBezTo>
                    <a:cubicBezTo>
                      <a:pt x="240" y="189"/>
                      <a:pt x="242" y="189"/>
                      <a:pt x="244" y="188"/>
                    </a:cubicBezTo>
                    <a:cubicBezTo>
                      <a:pt x="245" y="188"/>
                      <a:pt x="246" y="187"/>
                      <a:pt x="247" y="187"/>
                    </a:cubicBezTo>
                    <a:cubicBezTo>
                      <a:pt x="249" y="188"/>
                      <a:pt x="249" y="188"/>
                      <a:pt x="251" y="187"/>
                    </a:cubicBezTo>
                    <a:cubicBezTo>
                      <a:pt x="254" y="185"/>
                      <a:pt x="256" y="183"/>
                      <a:pt x="260" y="181"/>
                    </a:cubicBezTo>
                    <a:cubicBezTo>
                      <a:pt x="262" y="180"/>
                      <a:pt x="263" y="177"/>
                      <a:pt x="266" y="179"/>
                    </a:cubicBezTo>
                    <a:cubicBezTo>
                      <a:pt x="268" y="180"/>
                      <a:pt x="270" y="183"/>
                      <a:pt x="273" y="183"/>
                    </a:cubicBezTo>
                    <a:cubicBezTo>
                      <a:pt x="275" y="183"/>
                      <a:pt x="276" y="182"/>
                      <a:pt x="277" y="183"/>
                    </a:cubicBezTo>
                    <a:cubicBezTo>
                      <a:pt x="278" y="183"/>
                      <a:pt x="278" y="184"/>
                      <a:pt x="279" y="185"/>
                    </a:cubicBezTo>
                    <a:cubicBezTo>
                      <a:pt x="281" y="185"/>
                      <a:pt x="281" y="185"/>
                      <a:pt x="282" y="187"/>
                    </a:cubicBezTo>
                    <a:cubicBezTo>
                      <a:pt x="283" y="188"/>
                      <a:pt x="285" y="190"/>
                      <a:pt x="286" y="191"/>
                    </a:cubicBezTo>
                    <a:cubicBezTo>
                      <a:pt x="287" y="193"/>
                      <a:pt x="286" y="193"/>
                      <a:pt x="288" y="193"/>
                    </a:cubicBezTo>
                    <a:cubicBezTo>
                      <a:pt x="290" y="193"/>
                      <a:pt x="291" y="192"/>
                      <a:pt x="292" y="192"/>
                    </a:cubicBezTo>
                    <a:cubicBezTo>
                      <a:pt x="294" y="191"/>
                      <a:pt x="296" y="190"/>
                      <a:pt x="298" y="190"/>
                    </a:cubicBezTo>
                    <a:cubicBezTo>
                      <a:pt x="301" y="190"/>
                      <a:pt x="303" y="189"/>
                      <a:pt x="306" y="188"/>
                    </a:cubicBezTo>
                    <a:cubicBezTo>
                      <a:pt x="308" y="188"/>
                      <a:pt x="309" y="189"/>
                      <a:pt x="310" y="189"/>
                    </a:cubicBezTo>
                    <a:cubicBezTo>
                      <a:pt x="311" y="189"/>
                      <a:pt x="314" y="189"/>
                      <a:pt x="315" y="188"/>
                    </a:cubicBezTo>
                    <a:cubicBezTo>
                      <a:pt x="316" y="187"/>
                      <a:pt x="315" y="182"/>
                      <a:pt x="314" y="181"/>
                    </a:cubicBezTo>
                    <a:cubicBezTo>
                      <a:pt x="313" y="181"/>
                      <a:pt x="312" y="181"/>
                      <a:pt x="311" y="180"/>
                    </a:cubicBezTo>
                    <a:cubicBezTo>
                      <a:pt x="309" y="179"/>
                      <a:pt x="308" y="177"/>
                      <a:pt x="307" y="175"/>
                    </a:cubicBezTo>
                    <a:cubicBezTo>
                      <a:pt x="305" y="173"/>
                      <a:pt x="303" y="171"/>
                      <a:pt x="302" y="169"/>
                    </a:cubicBezTo>
                    <a:cubicBezTo>
                      <a:pt x="301" y="168"/>
                      <a:pt x="300" y="167"/>
                      <a:pt x="301" y="166"/>
                    </a:cubicBezTo>
                    <a:cubicBezTo>
                      <a:pt x="301" y="167"/>
                      <a:pt x="302" y="165"/>
                      <a:pt x="302" y="165"/>
                    </a:cubicBezTo>
                    <a:cubicBezTo>
                      <a:pt x="303" y="165"/>
                      <a:pt x="304" y="164"/>
                      <a:pt x="304" y="164"/>
                    </a:cubicBezTo>
                    <a:cubicBezTo>
                      <a:pt x="305" y="163"/>
                      <a:pt x="305" y="162"/>
                      <a:pt x="304" y="161"/>
                    </a:cubicBezTo>
                    <a:cubicBezTo>
                      <a:pt x="304" y="159"/>
                      <a:pt x="302" y="158"/>
                      <a:pt x="301" y="156"/>
                    </a:cubicBezTo>
                    <a:cubicBezTo>
                      <a:pt x="301" y="155"/>
                      <a:pt x="302" y="154"/>
                      <a:pt x="300" y="154"/>
                    </a:cubicBezTo>
                    <a:cubicBezTo>
                      <a:pt x="298" y="153"/>
                      <a:pt x="297" y="154"/>
                      <a:pt x="295" y="153"/>
                    </a:cubicBezTo>
                    <a:cubicBezTo>
                      <a:pt x="294" y="152"/>
                      <a:pt x="293" y="151"/>
                      <a:pt x="292" y="150"/>
                    </a:cubicBezTo>
                    <a:cubicBezTo>
                      <a:pt x="291" y="149"/>
                      <a:pt x="286" y="146"/>
                      <a:pt x="285" y="147"/>
                    </a:cubicBezTo>
                    <a:cubicBezTo>
                      <a:pt x="284" y="147"/>
                      <a:pt x="284" y="148"/>
                      <a:pt x="284" y="148"/>
                    </a:cubicBezTo>
                    <a:cubicBezTo>
                      <a:pt x="283" y="148"/>
                      <a:pt x="282" y="148"/>
                      <a:pt x="282" y="148"/>
                    </a:cubicBezTo>
                    <a:cubicBezTo>
                      <a:pt x="281" y="146"/>
                      <a:pt x="281" y="145"/>
                      <a:pt x="283" y="144"/>
                    </a:cubicBezTo>
                    <a:cubicBezTo>
                      <a:pt x="284" y="144"/>
                      <a:pt x="285" y="143"/>
                      <a:pt x="286" y="143"/>
                    </a:cubicBezTo>
                    <a:cubicBezTo>
                      <a:pt x="287" y="142"/>
                      <a:pt x="289" y="143"/>
                      <a:pt x="290" y="143"/>
                    </a:cubicBezTo>
                    <a:cubicBezTo>
                      <a:pt x="292" y="142"/>
                      <a:pt x="291" y="142"/>
                      <a:pt x="292" y="140"/>
                    </a:cubicBezTo>
                    <a:cubicBezTo>
                      <a:pt x="292" y="139"/>
                      <a:pt x="292" y="138"/>
                      <a:pt x="293" y="137"/>
                    </a:cubicBezTo>
                    <a:cubicBezTo>
                      <a:pt x="293" y="136"/>
                      <a:pt x="293" y="134"/>
                      <a:pt x="294" y="135"/>
                    </a:cubicBezTo>
                    <a:cubicBezTo>
                      <a:pt x="295" y="136"/>
                      <a:pt x="297" y="138"/>
                      <a:pt x="298" y="138"/>
                    </a:cubicBezTo>
                    <a:cubicBezTo>
                      <a:pt x="300" y="138"/>
                      <a:pt x="299" y="136"/>
                      <a:pt x="299" y="135"/>
                    </a:cubicBezTo>
                    <a:cubicBezTo>
                      <a:pt x="299" y="134"/>
                      <a:pt x="299" y="133"/>
                      <a:pt x="299" y="132"/>
                    </a:cubicBezTo>
                    <a:cubicBezTo>
                      <a:pt x="299" y="130"/>
                      <a:pt x="300" y="131"/>
                      <a:pt x="301" y="131"/>
                    </a:cubicBezTo>
                    <a:cubicBezTo>
                      <a:pt x="303" y="131"/>
                      <a:pt x="305" y="130"/>
                      <a:pt x="306" y="128"/>
                    </a:cubicBezTo>
                    <a:cubicBezTo>
                      <a:pt x="306" y="126"/>
                      <a:pt x="304" y="125"/>
                      <a:pt x="304" y="123"/>
                    </a:cubicBezTo>
                    <a:cubicBezTo>
                      <a:pt x="307" y="123"/>
                      <a:pt x="310" y="123"/>
                      <a:pt x="312" y="122"/>
                    </a:cubicBezTo>
                    <a:cubicBezTo>
                      <a:pt x="313" y="121"/>
                      <a:pt x="313" y="121"/>
                      <a:pt x="313" y="121"/>
                    </a:cubicBezTo>
                    <a:cubicBezTo>
                      <a:pt x="313" y="120"/>
                      <a:pt x="313" y="120"/>
                      <a:pt x="312" y="120"/>
                    </a:cubicBezTo>
                    <a:cubicBezTo>
                      <a:pt x="312" y="119"/>
                      <a:pt x="312" y="119"/>
                      <a:pt x="312" y="118"/>
                    </a:cubicBezTo>
                    <a:cubicBezTo>
                      <a:pt x="311" y="117"/>
                      <a:pt x="311" y="117"/>
                      <a:pt x="310" y="116"/>
                    </a:cubicBezTo>
                    <a:cubicBezTo>
                      <a:pt x="310" y="116"/>
                      <a:pt x="310" y="114"/>
                      <a:pt x="310" y="114"/>
                    </a:cubicBezTo>
                    <a:cubicBezTo>
                      <a:pt x="310" y="112"/>
                      <a:pt x="310" y="110"/>
                      <a:pt x="310" y="108"/>
                    </a:cubicBezTo>
                    <a:cubicBezTo>
                      <a:pt x="310" y="107"/>
                      <a:pt x="311" y="107"/>
                      <a:pt x="310" y="106"/>
                    </a:cubicBezTo>
                    <a:cubicBezTo>
                      <a:pt x="310" y="105"/>
                      <a:pt x="310" y="105"/>
                      <a:pt x="310" y="104"/>
                    </a:cubicBezTo>
                    <a:cubicBezTo>
                      <a:pt x="310" y="103"/>
                      <a:pt x="310" y="102"/>
                      <a:pt x="311" y="101"/>
                    </a:cubicBezTo>
                    <a:cubicBezTo>
                      <a:pt x="312" y="100"/>
                      <a:pt x="313" y="98"/>
                      <a:pt x="314" y="96"/>
                    </a:cubicBezTo>
                    <a:cubicBezTo>
                      <a:pt x="315" y="94"/>
                      <a:pt x="315" y="92"/>
                      <a:pt x="314" y="90"/>
                    </a:cubicBezTo>
                    <a:cubicBezTo>
                      <a:pt x="313" y="88"/>
                      <a:pt x="314" y="87"/>
                      <a:pt x="315" y="85"/>
                    </a:cubicBezTo>
                    <a:cubicBezTo>
                      <a:pt x="316" y="84"/>
                      <a:pt x="316" y="82"/>
                      <a:pt x="318" y="80"/>
                    </a:cubicBezTo>
                    <a:cubicBezTo>
                      <a:pt x="318" y="80"/>
                      <a:pt x="318" y="79"/>
                      <a:pt x="318" y="79"/>
                    </a:cubicBezTo>
                    <a:cubicBezTo>
                      <a:pt x="319" y="79"/>
                      <a:pt x="319" y="79"/>
                      <a:pt x="319" y="78"/>
                    </a:cubicBezTo>
                    <a:cubicBezTo>
                      <a:pt x="319" y="78"/>
                      <a:pt x="320" y="76"/>
                      <a:pt x="320" y="76"/>
                    </a:cubicBezTo>
                    <a:cubicBezTo>
                      <a:pt x="322" y="75"/>
                      <a:pt x="325" y="76"/>
                      <a:pt x="327" y="76"/>
                    </a:cubicBezTo>
                    <a:cubicBezTo>
                      <a:pt x="329" y="76"/>
                      <a:pt x="330" y="77"/>
                      <a:pt x="332" y="77"/>
                    </a:cubicBezTo>
                    <a:cubicBezTo>
                      <a:pt x="333" y="77"/>
                      <a:pt x="334" y="77"/>
                      <a:pt x="335" y="77"/>
                    </a:cubicBezTo>
                    <a:cubicBezTo>
                      <a:pt x="336" y="77"/>
                      <a:pt x="336" y="77"/>
                      <a:pt x="337" y="75"/>
                    </a:cubicBezTo>
                    <a:cubicBezTo>
                      <a:pt x="338" y="75"/>
                      <a:pt x="338" y="74"/>
                      <a:pt x="339" y="74"/>
                    </a:cubicBezTo>
                    <a:cubicBezTo>
                      <a:pt x="341" y="74"/>
                      <a:pt x="343" y="76"/>
                      <a:pt x="345" y="76"/>
                    </a:cubicBezTo>
                    <a:cubicBezTo>
                      <a:pt x="347" y="76"/>
                      <a:pt x="348" y="74"/>
                      <a:pt x="348" y="72"/>
                    </a:cubicBezTo>
                    <a:cubicBezTo>
                      <a:pt x="349" y="72"/>
                      <a:pt x="351" y="73"/>
                      <a:pt x="352" y="73"/>
                    </a:cubicBezTo>
                    <a:cubicBezTo>
                      <a:pt x="352" y="74"/>
                      <a:pt x="353" y="75"/>
                      <a:pt x="354" y="74"/>
                    </a:cubicBezTo>
                    <a:cubicBezTo>
                      <a:pt x="355" y="74"/>
                      <a:pt x="356" y="69"/>
                      <a:pt x="356" y="69"/>
                    </a:cubicBezTo>
                    <a:cubicBezTo>
                      <a:pt x="357" y="67"/>
                      <a:pt x="357" y="64"/>
                      <a:pt x="357" y="6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18" name="Freeform 34">
                <a:extLst>
                  <a:ext uri="{FF2B5EF4-FFF2-40B4-BE49-F238E27FC236}">
                    <a16:creationId xmlns:a16="http://schemas.microsoft.com/office/drawing/2014/main" id="{571FC52F-8B2C-4E2F-83E3-09F86ED5A0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8938" y="4814888"/>
                <a:ext cx="981075" cy="717550"/>
              </a:xfrm>
              <a:custGeom>
                <a:avLst/>
                <a:gdLst/>
                <a:ahLst/>
                <a:cxnLst>
                  <a:cxn ang="0">
                    <a:pos x="474" y="252"/>
                  </a:cxn>
                  <a:cxn ang="0">
                    <a:pos x="437" y="239"/>
                  </a:cxn>
                  <a:cxn ang="0">
                    <a:pos x="438" y="138"/>
                  </a:cxn>
                  <a:cxn ang="0">
                    <a:pos x="412" y="87"/>
                  </a:cxn>
                  <a:cxn ang="0">
                    <a:pos x="392" y="65"/>
                  </a:cxn>
                  <a:cxn ang="0">
                    <a:pos x="379" y="32"/>
                  </a:cxn>
                  <a:cxn ang="0">
                    <a:pos x="336" y="10"/>
                  </a:cxn>
                  <a:cxn ang="0">
                    <a:pos x="295" y="30"/>
                  </a:cxn>
                  <a:cxn ang="0">
                    <a:pos x="245" y="34"/>
                  </a:cxn>
                  <a:cxn ang="0">
                    <a:pos x="212" y="27"/>
                  </a:cxn>
                  <a:cxn ang="0">
                    <a:pos x="175" y="24"/>
                  </a:cxn>
                  <a:cxn ang="0">
                    <a:pos x="145" y="27"/>
                  </a:cxn>
                  <a:cxn ang="0">
                    <a:pos x="125" y="42"/>
                  </a:cxn>
                  <a:cxn ang="0">
                    <a:pos x="107" y="53"/>
                  </a:cxn>
                  <a:cxn ang="0">
                    <a:pos x="102" y="62"/>
                  </a:cxn>
                  <a:cxn ang="0">
                    <a:pos x="94" y="76"/>
                  </a:cxn>
                  <a:cxn ang="0">
                    <a:pos x="80" y="102"/>
                  </a:cxn>
                  <a:cxn ang="0">
                    <a:pos x="73" y="123"/>
                  </a:cxn>
                  <a:cxn ang="0">
                    <a:pos x="64" y="133"/>
                  </a:cxn>
                  <a:cxn ang="0">
                    <a:pos x="54" y="149"/>
                  </a:cxn>
                  <a:cxn ang="0">
                    <a:pos x="48" y="159"/>
                  </a:cxn>
                  <a:cxn ang="0">
                    <a:pos x="34" y="165"/>
                  </a:cxn>
                  <a:cxn ang="0">
                    <a:pos x="5" y="182"/>
                  </a:cxn>
                  <a:cxn ang="0">
                    <a:pos x="19" y="199"/>
                  </a:cxn>
                  <a:cxn ang="0">
                    <a:pos x="29" y="210"/>
                  </a:cxn>
                  <a:cxn ang="0">
                    <a:pos x="31" y="231"/>
                  </a:cxn>
                  <a:cxn ang="0">
                    <a:pos x="61" y="246"/>
                  </a:cxn>
                  <a:cxn ang="0">
                    <a:pos x="61" y="260"/>
                  </a:cxn>
                  <a:cxn ang="0">
                    <a:pos x="65" y="273"/>
                  </a:cxn>
                  <a:cxn ang="0">
                    <a:pos x="61" y="285"/>
                  </a:cxn>
                  <a:cxn ang="0">
                    <a:pos x="71" y="292"/>
                  </a:cxn>
                  <a:cxn ang="0">
                    <a:pos x="94" y="305"/>
                  </a:cxn>
                  <a:cxn ang="0">
                    <a:pos x="107" y="299"/>
                  </a:cxn>
                  <a:cxn ang="0">
                    <a:pos x="122" y="309"/>
                  </a:cxn>
                  <a:cxn ang="0">
                    <a:pos x="119" y="318"/>
                  </a:cxn>
                  <a:cxn ang="0">
                    <a:pos x="132" y="335"/>
                  </a:cxn>
                  <a:cxn ang="0">
                    <a:pos x="138" y="365"/>
                  </a:cxn>
                  <a:cxn ang="0">
                    <a:pos x="185" y="369"/>
                  </a:cxn>
                  <a:cxn ang="0">
                    <a:pos x="221" y="378"/>
                  </a:cxn>
                  <a:cxn ang="0">
                    <a:pos x="263" y="378"/>
                  </a:cxn>
                  <a:cxn ang="0">
                    <a:pos x="290" y="381"/>
                  </a:cxn>
                  <a:cxn ang="0">
                    <a:pos x="308" y="364"/>
                  </a:cxn>
                  <a:cxn ang="0">
                    <a:pos x="344" y="350"/>
                  </a:cxn>
                  <a:cxn ang="0">
                    <a:pos x="382" y="347"/>
                  </a:cxn>
                  <a:cxn ang="0">
                    <a:pos x="399" y="355"/>
                  </a:cxn>
                  <a:cxn ang="0">
                    <a:pos x="414" y="360"/>
                  </a:cxn>
                  <a:cxn ang="0">
                    <a:pos x="426" y="368"/>
                  </a:cxn>
                  <a:cxn ang="0">
                    <a:pos x="446" y="379"/>
                  </a:cxn>
                  <a:cxn ang="0">
                    <a:pos x="458" y="366"/>
                  </a:cxn>
                  <a:cxn ang="0">
                    <a:pos x="468" y="316"/>
                  </a:cxn>
                  <a:cxn ang="0">
                    <a:pos x="476" y="294"/>
                  </a:cxn>
                  <a:cxn ang="0">
                    <a:pos x="491" y="289"/>
                  </a:cxn>
                  <a:cxn ang="0">
                    <a:pos x="518" y="280"/>
                  </a:cxn>
                </a:cxnLst>
                <a:rect l="0" t="0" r="r" b="b"/>
                <a:pathLst>
                  <a:path w="525" h="384">
                    <a:moveTo>
                      <a:pt x="525" y="255"/>
                    </a:moveTo>
                    <a:cubicBezTo>
                      <a:pt x="525" y="252"/>
                      <a:pt x="515" y="249"/>
                      <a:pt x="512" y="247"/>
                    </a:cubicBezTo>
                    <a:cubicBezTo>
                      <a:pt x="507" y="244"/>
                      <a:pt x="503" y="241"/>
                      <a:pt x="496" y="243"/>
                    </a:cubicBezTo>
                    <a:cubicBezTo>
                      <a:pt x="493" y="243"/>
                      <a:pt x="493" y="244"/>
                      <a:pt x="491" y="246"/>
                    </a:cubicBezTo>
                    <a:cubicBezTo>
                      <a:pt x="490" y="247"/>
                      <a:pt x="487" y="249"/>
                      <a:pt x="483" y="250"/>
                    </a:cubicBezTo>
                    <a:cubicBezTo>
                      <a:pt x="478" y="252"/>
                      <a:pt x="476" y="252"/>
                      <a:pt x="474" y="252"/>
                    </a:cubicBezTo>
                    <a:cubicBezTo>
                      <a:pt x="472" y="252"/>
                      <a:pt x="470" y="251"/>
                      <a:pt x="468" y="252"/>
                    </a:cubicBezTo>
                    <a:cubicBezTo>
                      <a:pt x="467" y="252"/>
                      <a:pt x="467" y="255"/>
                      <a:pt x="466" y="256"/>
                    </a:cubicBezTo>
                    <a:cubicBezTo>
                      <a:pt x="463" y="259"/>
                      <a:pt x="462" y="257"/>
                      <a:pt x="459" y="256"/>
                    </a:cubicBezTo>
                    <a:cubicBezTo>
                      <a:pt x="457" y="254"/>
                      <a:pt x="455" y="253"/>
                      <a:pt x="453" y="252"/>
                    </a:cubicBezTo>
                    <a:cubicBezTo>
                      <a:pt x="451" y="252"/>
                      <a:pt x="445" y="249"/>
                      <a:pt x="443" y="248"/>
                    </a:cubicBezTo>
                    <a:cubicBezTo>
                      <a:pt x="443" y="247"/>
                      <a:pt x="438" y="239"/>
                      <a:pt x="437" y="239"/>
                    </a:cubicBezTo>
                    <a:cubicBezTo>
                      <a:pt x="433" y="234"/>
                      <a:pt x="428" y="230"/>
                      <a:pt x="432" y="223"/>
                    </a:cubicBezTo>
                    <a:cubicBezTo>
                      <a:pt x="433" y="219"/>
                      <a:pt x="433" y="211"/>
                      <a:pt x="431" y="208"/>
                    </a:cubicBezTo>
                    <a:cubicBezTo>
                      <a:pt x="429" y="204"/>
                      <a:pt x="430" y="191"/>
                      <a:pt x="430" y="185"/>
                    </a:cubicBezTo>
                    <a:cubicBezTo>
                      <a:pt x="431" y="175"/>
                      <a:pt x="433" y="171"/>
                      <a:pt x="437" y="161"/>
                    </a:cubicBezTo>
                    <a:cubicBezTo>
                      <a:pt x="438" y="159"/>
                      <a:pt x="439" y="151"/>
                      <a:pt x="437" y="148"/>
                    </a:cubicBezTo>
                    <a:cubicBezTo>
                      <a:pt x="436" y="146"/>
                      <a:pt x="438" y="141"/>
                      <a:pt x="438" y="138"/>
                    </a:cubicBezTo>
                    <a:cubicBezTo>
                      <a:pt x="438" y="136"/>
                      <a:pt x="434" y="130"/>
                      <a:pt x="434" y="128"/>
                    </a:cubicBezTo>
                    <a:cubicBezTo>
                      <a:pt x="432" y="125"/>
                      <a:pt x="434" y="121"/>
                      <a:pt x="431" y="121"/>
                    </a:cubicBezTo>
                    <a:cubicBezTo>
                      <a:pt x="427" y="121"/>
                      <a:pt x="424" y="119"/>
                      <a:pt x="422" y="115"/>
                    </a:cubicBezTo>
                    <a:cubicBezTo>
                      <a:pt x="420" y="112"/>
                      <a:pt x="421" y="109"/>
                      <a:pt x="421" y="106"/>
                    </a:cubicBezTo>
                    <a:cubicBezTo>
                      <a:pt x="420" y="101"/>
                      <a:pt x="419" y="96"/>
                      <a:pt x="416" y="92"/>
                    </a:cubicBezTo>
                    <a:cubicBezTo>
                      <a:pt x="414" y="91"/>
                      <a:pt x="414" y="90"/>
                      <a:pt x="412" y="87"/>
                    </a:cubicBezTo>
                    <a:cubicBezTo>
                      <a:pt x="411" y="86"/>
                      <a:pt x="409" y="85"/>
                      <a:pt x="408" y="84"/>
                    </a:cubicBezTo>
                    <a:cubicBezTo>
                      <a:pt x="407" y="83"/>
                      <a:pt x="406" y="81"/>
                      <a:pt x="405" y="79"/>
                    </a:cubicBezTo>
                    <a:cubicBezTo>
                      <a:pt x="403" y="77"/>
                      <a:pt x="403" y="73"/>
                      <a:pt x="401" y="72"/>
                    </a:cubicBezTo>
                    <a:cubicBezTo>
                      <a:pt x="399" y="70"/>
                      <a:pt x="396" y="70"/>
                      <a:pt x="394" y="68"/>
                    </a:cubicBezTo>
                    <a:cubicBezTo>
                      <a:pt x="394" y="68"/>
                      <a:pt x="395" y="67"/>
                      <a:pt x="394" y="67"/>
                    </a:cubicBezTo>
                    <a:cubicBezTo>
                      <a:pt x="394" y="66"/>
                      <a:pt x="393" y="66"/>
                      <a:pt x="392" y="65"/>
                    </a:cubicBezTo>
                    <a:cubicBezTo>
                      <a:pt x="391" y="65"/>
                      <a:pt x="392" y="64"/>
                      <a:pt x="391" y="63"/>
                    </a:cubicBezTo>
                    <a:cubicBezTo>
                      <a:pt x="391" y="62"/>
                      <a:pt x="390" y="62"/>
                      <a:pt x="390" y="60"/>
                    </a:cubicBezTo>
                    <a:cubicBezTo>
                      <a:pt x="389" y="59"/>
                      <a:pt x="390" y="58"/>
                      <a:pt x="390" y="57"/>
                    </a:cubicBezTo>
                    <a:cubicBezTo>
                      <a:pt x="390" y="53"/>
                      <a:pt x="390" y="49"/>
                      <a:pt x="388" y="46"/>
                    </a:cubicBezTo>
                    <a:cubicBezTo>
                      <a:pt x="386" y="42"/>
                      <a:pt x="383" y="40"/>
                      <a:pt x="381" y="37"/>
                    </a:cubicBezTo>
                    <a:cubicBezTo>
                      <a:pt x="380" y="36"/>
                      <a:pt x="380" y="34"/>
                      <a:pt x="379" y="32"/>
                    </a:cubicBezTo>
                    <a:cubicBezTo>
                      <a:pt x="378" y="27"/>
                      <a:pt x="374" y="26"/>
                      <a:pt x="372" y="22"/>
                    </a:cubicBezTo>
                    <a:cubicBezTo>
                      <a:pt x="369" y="19"/>
                      <a:pt x="367" y="17"/>
                      <a:pt x="365" y="14"/>
                    </a:cubicBezTo>
                    <a:cubicBezTo>
                      <a:pt x="362" y="10"/>
                      <a:pt x="361" y="4"/>
                      <a:pt x="357" y="2"/>
                    </a:cubicBezTo>
                    <a:cubicBezTo>
                      <a:pt x="353" y="0"/>
                      <a:pt x="348" y="5"/>
                      <a:pt x="344" y="6"/>
                    </a:cubicBezTo>
                    <a:cubicBezTo>
                      <a:pt x="344" y="6"/>
                      <a:pt x="344" y="6"/>
                      <a:pt x="344" y="6"/>
                    </a:cubicBezTo>
                    <a:cubicBezTo>
                      <a:pt x="341" y="7"/>
                      <a:pt x="339" y="8"/>
                      <a:pt x="336" y="10"/>
                    </a:cubicBezTo>
                    <a:cubicBezTo>
                      <a:pt x="333" y="11"/>
                      <a:pt x="329" y="13"/>
                      <a:pt x="328" y="16"/>
                    </a:cubicBezTo>
                    <a:cubicBezTo>
                      <a:pt x="326" y="18"/>
                      <a:pt x="326" y="21"/>
                      <a:pt x="324" y="23"/>
                    </a:cubicBezTo>
                    <a:cubicBezTo>
                      <a:pt x="322" y="26"/>
                      <a:pt x="321" y="25"/>
                      <a:pt x="317" y="25"/>
                    </a:cubicBezTo>
                    <a:cubicBezTo>
                      <a:pt x="313" y="25"/>
                      <a:pt x="308" y="27"/>
                      <a:pt x="303" y="27"/>
                    </a:cubicBezTo>
                    <a:cubicBezTo>
                      <a:pt x="301" y="27"/>
                      <a:pt x="298" y="28"/>
                      <a:pt x="296" y="29"/>
                    </a:cubicBezTo>
                    <a:cubicBezTo>
                      <a:pt x="296" y="29"/>
                      <a:pt x="296" y="30"/>
                      <a:pt x="295" y="30"/>
                    </a:cubicBezTo>
                    <a:cubicBezTo>
                      <a:pt x="295" y="30"/>
                      <a:pt x="293" y="30"/>
                      <a:pt x="293" y="30"/>
                    </a:cubicBezTo>
                    <a:cubicBezTo>
                      <a:pt x="287" y="30"/>
                      <a:pt x="281" y="30"/>
                      <a:pt x="276" y="30"/>
                    </a:cubicBezTo>
                    <a:cubicBezTo>
                      <a:pt x="272" y="30"/>
                      <a:pt x="271" y="32"/>
                      <a:pt x="269" y="35"/>
                    </a:cubicBezTo>
                    <a:cubicBezTo>
                      <a:pt x="268" y="37"/>
                      <a:pt x="267" y="41"/>
                      <a:pt x="264" y="42"/>
                    </a:cubicBezTo>
                    <a:cubicBezTo>
                      <a:pt x="259" y="44"/>
                      <a:pt x="253" y="42"/>
                      <a:pt x="249" y="39"/>
                    </a:cubicBezTo>
                    <a:cubicBezTo>
                      <a:pt x="247" y="37"/>
                      <a:pt x="246" y="35"/>
                      <a:pt x="245" y="34"/>
                    </a:cubicBezTo>
                    <a:cubicBezTo>
                      <a:pt x="244" y="33"/>
                      <a:pt x="242" y="32"/>
                      <a:pt x="241" y="31"/>
                    </a:cubicBezTo>
                    <a:cubicBezTo>
                      <a:pt x="240" y="30"/>
                      <a:pt x="241" y="29"/>
                      <a:pt x="238" y="29"/>
                    </a:cubicBezTo>
                    <a:cubicBezTo>
                      <a:pt x="239" y="25"/>
                      <a:pt x="229" y="29"/>
                      <a:pt x="228" y="29"/>
                    </a:cubicBezTo>
                    <a:cubicBezTo>
                      <a:pt x="223" y="31"/>
                      <a:pt x="220" y="31"/>
                      <a:pt x="216" y="29"/>
                    </a:cubicBezTo>
                    <a:cubicBezTo>
                      <a:pt x="215" y="29"/>
                      <a:pt x="214" y="29"/>
                      <a:pt x="214" y="29"/>
                    </a:cubicBezTo>
                    <a:cubicBezTo>
                      <a:pt x="213" y="29"/>
                      <a:pt x="213" y="28"/>
                      <a:pt x="212" y="27"/>
                    </a:cubicBezTo>
                    <a:cubicBezTo>
                      <a:pt x="210" y="26"/>
                      <a:pt x="205" y="26"/>
                      <a:pt x="203" y="26"/>
                    </a:cubicBezTo>
                    <a:cubicBezTo>
                      <a:pt x="201" y="26"/>
                      <a:pt x="199" y="26"/>
                      <a:pt x="197" y="26"/>
                    </a:cubicBezTo>
                    <a:cubicBezTo>
                      <a:pt x="195" y="26"/>
                      <a:pt x="195" y="27"/>
                      <a:pt x="194" y="29"/>
                    </a:cubicBezTo>
                    <a:cubicBezTo>
                      <a:pt x="194" y="28"/>
                      <a:pt x="192" y="24"/>
                      <a:pt x="191" y="24"/>
                    </a:cubicBezTo>
                    <a:cubicBezTo>
                      <a:pt x="189" y="22"/>
                      <a:pt x="187" y="23"/>
                      <a:pt x="186" y="23"/>
                    </a:cubicBezTo>
                    <a:cubicBezTo>
                      <a:pt x="182" y="23"/>
                      <a:pt x="179" y="24"/>
                      <a:pt x="175" y="24"/>
                    </a:cubicBezTo>
                    <a:cubicBezTo>
                      <a:pt x="171" y="23"/>
                      <a:pt x="172" y="21"/>
                      <a:pt x="170" y="18"/>
                    </a:cubicBezTo>
                    <a:cubicBezTo>
                      <a:pt x="168" y="16"/>
                      <a:pt x="165" y="15"/>
                      <a:pt x="162" y="17"/>
                    </a:cubicBezTo>
                    <a:cubicBezTo>
                      <a:pt x="160" y="18"/>
                      <a:pt x="159" y="19"/>
                      <a:pt x="158" y="20"/>
                    </a:cubicBezTo>
                    <a:cubicBezTo>
                      <a:pt x="157" y="21"/>
                      <a:pt x="156" y="22"/>
                      <a:pt x="155" y="23"/>
                    </a:cubicBezTo>
                    <a:cubicBezTo>
                      <a:pt x="152" y="24"/>
                      <a:pt x="148" y="22"/>
                      <a:pt x="145" y="23"/>
                    </a:cubicBezTo>
                    <a:cubicBezTo>
                      <a:pt x="145" y="24"/>
                      <a:pt x="145" y="25"/>
                      <a:pt x="145" y="27"/>
                    </a:cubicBezTo>
                    <a:cubicBezTo>
                      <a:pt x="143" y="27"/>
                      <a:pt x="142" y="28"/>
                      <a:pt x="142" y="30"/>
                    </a:cubicBezTo>
                    <a:cubicBezTo>
                      <a:pt x="141" y="31"/>
                      <a:pt x="142" y="32"/>
                      <a:pt x="141" y="33"/>
                    </a:cubicBezTo>
                    <a:cubicBezTo>
                      <a:pt x="141" y="33"/>
                      <a:pt x="140" y="34"/>
                      <a:pt x="140" y="35"/>
                    </a:cubicBezTo>
                    <a:cubicBezTo>
                      <a:pt x="138" y="35"/>
                      <a:pt x="135" y="37"/>
                      <a:pt x="133" y="39"/>
                    </a:cubicBezTo>
                    <a:cubicBezTo>
                      <a:pt x="133" y="40"/>
                      <a:pt x="133" y="41"/>
                      <a:pt x="132" y="42"/>
                    </a:cubicBezTo>
                    <a:cubicBezTo>
                      <a:pt x="130" y="43"/>
                      <a:pt x="127" y="42"/>
                      <a:pt x="125" y="42"/>
                    </a:cubicBezTo>
                    <a:cubicBezTo>
                      <a:pt x="124" y="42"/>
                      <a:pt x="124" y="43"/>
                      <a:pt x="122" y="43"/>
                    </a:cubicBezTo>
                    <a:cubicBezTo>
                      <a:pt x="121" y="43"/>
                      <a:pt x="120" y="43"/>
                      <a:pt x="119" y="45"/>
                    </a:cubicBezTo>
                    <a:cubicBezTo>
                      <a:pt x="118" y="46"/>
                      <a:pt x="118" y="47"/>
                      <a:pt x="116" y="48"/>
                    </a:cubicBezTo>
                    <a:cubicBezTo>
                      <a:pt x="115" y="48"/>
                      <a:pt x="113" y="48"/>
                      <a:pt x="112" y="48"/>
                    </a:cubicBezTo>
                    <a:cubicBezTo>
                      <a:pt x="110" y="48"/>
                      <a:pt x="110" y="48"/>
                      <a:pt x="109" y="50"/>
                    </a:cubicBezTo>
                    <a:cubicBezTo>
                      <a:pt x="108" y="51"/>
                      <a:pt x="108" y="52"/>
                      <a:pt x="107" y="53"/>
                    </a:cubicBezTo>
                    <a:cubicBezTo>
                      <a:pt x="106" y="53"/>
                      <a:pt x="106" y="54"/>
                      <a:pt x="106" y="55"/>
                    </a:cubicBezTo>
                    <a:cubicBezTo>
                      <a:pt x="105" y="55"/>
                      <a:pt x="105" y="55"/>
                      <a:pt x="104" y="56"/>
                    </a:cubicBezTo>
                    <a:cubicBezTo>
                      <a:pt x="104" y="57"/>
                      <a:pt x="105" y="58"/>
                      <a:pt x="104" y="59"/>
                    </a:cubicBezTo>
                    <a:cubicBezTo>
                      <a:pt x="104" y="59"/>
                      <a:pt x="103" y="60"/>
                      <a:pt x="103" y="60"/>
                    </a:cubicBezTo>
                    <a:cubicBezTo>
                      <a:pt x="103" y="60"/>
                      <a:pt x="102" y="61"/>
                      <a:pt x="102" y="61"/>
                    </a:cubicBezTo>
                    <a:cubicBezTo>
                      <a:pt x="102" y="62"/>
                      <a:pt x="102" y="62"/>
                      <a:pt x="102" y="62"/>
                    </a:cubicBezTo>
                    <a:cubicBezTo>
                      <a:pt x="102" y="62"/>
                      <a:pt x="101" y="63"/>
                      <a:pt x="101" y="63"/>
                    </a:cubicBezTo>
                    <a:cubicBezTo>
                      <a:pt x="100" y="64"/>
                      <a:pt x="100" y="65"/>
                      <a:pt x="99" y="66"/>
                    </a:cubicBezTo>
                    <a:cubicBezTo>
                      <a:pt x="99" y="66"/>
                      <a:pt x="99" y="67"/>
                      <a:pt x="99" y="67"/>
                    </a:cubicBezTo>
                    <a:cubicBezTo>
                      <a:pt x="99" y="69"/>
                      <a:pt x="99" y="70"/>
                      <a:pt x="98" y="71"/>
                    </a:cubicBezTo>
                    <a:cubicBezTo>
                      <a:pt x="98" y="73"/>
                      <a:pt x="98" y="74"/>
                      <a:pt x="98" y="75"/>
                    </a:cubicBezTo>
                    <a:cubicBezTo>
                      <a:pt x="97" y="76"/>
                      <a:pt x="95" y="76"/>
                      <a:pt x="94" y="76"/>
                    </a:cubicBezTo>
                    <a:cubicBezTo>
                      <a:pt x="92" y="77"/>
                      <a:pt x="91" y="79"/>
                      <a:pt x="90" y="81"/>
                    </a:cubicBezTo>
                    <a:cubicBezTo>
                      <a:pt x="89" y="82"/>
                      <a:pt x="89" y="83"/>
                      <a:pt x="89" y="84"/>
                    </a:cubicBezTo>
                    <a:cubicBezTo>
                      <a:pt x="88" y="86"/>
                      <a:pt x="89" y="87"/>
                      <a:pt x="88" y="89"/>
                    </a:cubicBezTo>
                    <a:cubicBezTo>
                      <a:pt x="88" y="91"/>
                      <a:pt x="86" y="94"/>
                      <a:pt x="84" y="96"/>
                    </a:cubicBezTo>
                    <a:cubicBezTo>
                      <a:pt x="83" y="96"/>
                      <a:pt x="81" y="97"/>
                      <a:pt x="81" y="98"/>
                    </a:cubicBezTo>
                    <a:cubicBezTo>
                      <a:pt x="80" y="99"/>
                      <a:pt x="80" y="101"/>
                      <a:pt x="80" y="102"/>
                    </a:cubicBezTo>
                    <a:cubicBezTo>
                      <a:pt x="79" y="103"/>
                      <a:pt x="79" y="104"/>
                      <a:pt x="78" y="105"/>
                    </a:cubicBezTo>
                    <a:cubicBezTo>
                      <a:pt x="77" y="106"/>
                      <a:pt x="77" y="107"/>
                      <a:pt x="77" y="108"/>
                    </a:cubicBezTo>
                    <a:cubicBezTo>
                      <a:pt x="76" y="109"/>
                      <a:pt x="76" y="109"/>
                      <a:pt x="75" y="109"/>
                    </a:cubicBezTo>
                    <a:cubicBezTo>
                      <a:pt x="75" y="110"/>
                      <a:pt x="75" y="112"/>
                      <a:pt x="75" y="113"/>
                    </a:cubicBezTo>
                    <a:cubicBezTo>
                      <a:pt x="75" y="115"/>
                      <a:pt x="74" y="117"/>
                      <a:pt x="74" y="118"/>
                    </a:cubicBezTo>
                    <a:cubicBezTo>
                      <a:pt x="74" y="120"/>
                      <a:pt x="74" y="122"/>
                      <a:pt x="73" y="123"/>
                    </a:cubicBezTo>
                    <a:cubicBezTo>
                      <a:pt x="72" y="125"/>
                      <a:pt x="71" y="126"/>
                      <a:pt x="70" y="126"/>
                    </a:cubicBezTo>
                    <a:cubicBezTo>
                      <a:pt x="70" y="127"/>
                      <a:pt x="70" y="127"/>
                      <a:pt x="69" y="128"/>
                    </a:cubicBezTo>
                    <a:cubicBezTo>
                      <a:pt x="68" y="128"/>
                      <a:pt x="68" y="128"/>
                      <a:pt x="68" y="128"/>
                    </a:cubicBezTo>
                    <a:cubicBezTo>
                      <a:pt x="67" y="128"/>
                      <a:pt x="67" y="128"/>
                      <a:pt x="67" y="129"/>
                    </a:cubicBezTo>
                    <a:cubicBezTo>
                      <a:pt x="66" y="129"/>
                      <a:pt x="66" y="132"/>
                      <a:pt x="64" y="132"/>
                    </a:cubicBezTo>
                    <a:cubicBezTo>
                      <a:pt x="64" y="132"/>
                      <a:pt x="64" y="132"/>
                      <a:pt x="64" y="133"/>
                    </a:cubicBezTo>
                    <a:cubicBezTo>
                      <a:pt x="62" y="133"/>
                      <a:pt x="63" y="134"/>
                      <a:pt x="62" y="135"/>
                    </a:cubicBezTo>
                    <a:cubicBezTo>
                      <a:pt x="61" y="136"/>
                      <a:pt x="60" y="136"/>
                      <a:pt x="59" y="137"/>
                    </a:cubicBezTo>
                    <a:cubicBezTo>
                      <a:pt x="59" y="138"/>
                      <a:pt x="59" y="139"/>
                      <a:pt x="59" y="139"/>
                    </a:cubicBezTo>
                    <a:cubicBezTo>
                      <a:pt x="59" y="140"/>
                      <a:pt x="58" y="140"/>
                      <a:pt x="58" y="141"/>
                    </a:cubicBezTo>
                    <a:cubicBezTo>
                      <a:pt x="57" y="142"/>
                      <a:pt x="56" y="143"/>
                      <a:pt x="55" y="145"/>
                    </a:cubicBezTo>
                    <a:cubicBezTo>
                      <a:pt x="55" y="146"/>
                      <a:pt x="54" y="148"/>
                      <a:pt x="54" y="149"/>
                    </a:cubicBezTo>
                    <a:cubicBezTo>
                      <a:pt x="54" y="149"/>
                      <a:pt x="55" y="150"/>
                      <a:pt x="54" y="151"/>
                    </a:cubicBezTo>
                    <a:cubicBezTo>
                      <a:pt x="54" y="151"/>
                      <a:pt x="53" y="151"/>
                      <a:pt x="53" y="152"/>
                    </a:cubicBezTo>
                    <a:cubicBezTo>
                      <a:pt x="53" y="152"/>
                      <a:pt x="53" y="153"/>
                      <a:pt x="52" y="154"/>
                    </a:cubicBezTo>
                    <a:cubicBezTo>
                      <a:pt x="52" y="154"/>
                      <a:pt x="51" y="155"/>
                      <a:pt x="51" y="155"/>
                    </a:cubicBezTo>
                    <a:cubicBezTo>
                      <a:pt x="50" y="156"/>
                      <a:pt x="50" y="157"/>
                      <a:pt x="49" y="158"/>
                    </a:cubicBezTo>
                    <a:cubicBezTo>
                      <a:pt x="49" y="159"/>
                      <a:pt x="48" y="159"/>
                      <a:pt x="48" y="159"/>
                    </a:cubicBezTo>
                    <a:cubicBezTo>
                      <a:pt x="48" y="158"/>
                      <a:pt x="47" y="161"/>
                      <a:pt x="47" y="161"/>
                    </a:cubicBezTo>
                    <a:cubicBezTo>
                      <a:pt x="46" y="161"/>
                      <a:pt x="46" y="162"/>
                      <a:pt x="46" y="162"/>
                    </a:cubicBezTo>
                    <a:cubicBezTo>
                      <a:pt x="46" y="162"/>
                      <a:pt x="45" y="163"/>
                      <a:pt x="46" y="163"/>
                    </a:cubicBezTo>
                    <a:cubicBezTo>
                      <a:pt x="45" y="164"/>
                      <a:pt x="45" y="165"/>
                      <a:pt x="43" y="166"/>
                    </a:cubicBezTo>
                    <a:cubicBezTo>
                      <a:pt x="42" y="166"/>
                      <a:pt x="40" y="166"/>
                      <a:pt x="38" y="166"/>
                    </a:cubicBezTo>
                    <a:cubicBezTo>
                      <a:pt x="37" y="166"/>
                      <a:pt x="36" y="166"/>
                      <a:pt x="34" y="165"/>
                    </a:cubicBezTo>
                    <a:cubicBezTo>
                      <a:pt x="33" y="164"/>
                      <a:pt x="32" y="164"/>
                      <a:pt x="31" y="164"/>
                    </a:cubicBezTo>
                    <a:cubicBezTo>
                      <a:pt x="28" y="164"/>
                      <a:pt x="27" y="167"/>
                      <a:pt x="26" y="168"/>
                    </a:cubicBezTo>
                    <a:cubicBezTo>
                      <a:pt x="22" y="177"/>
                      <a:pt x="12" y="171"/>
                      <a:pt x="5" y="172"/>
                    </a:cubicBezTo>
                    <a:cubicBezTo>
                      <a:pt x="4" y="172"/>
                      <a:pt x="4" y="173"/>
                      <a:pt x="2" y="173"/>
                    </a:cubicBezTo>
                    <a:cubicBezTo>
                      <a:pt x="2" y="173"/>
                      <a:pt x="1" y="173"/>
                      <a:pt x="0" y="173"/>
                    </a:cubicBezTo>
                    <a:cubicBezTo>
                      <a:pt x="5" y="182"/>
                      <a:pt x="5" y="182"/>
                      <a:pt x="5" y="182"/>
                    </a:cubicBezTo>
                    <a:cubicBezTo>
                      <a:pt x="5" y="184"/>
                      <a:pt x="4" y="186"/>
                      <a:pt x="6" y="188"/>
                    </a:cubicBezTo>
                    <a:cubicBezTo>
                      <a:pt x="6" y="189"/>
                      <a:pt x="7" y="189"/>
                      <a:pt x="8" y="189"/>
                    </a:cubicBezTo>
                    <a:cubicBezTo>
                      <a:pt x="10" y="190"/>
                      <a:pt x="13" y="190"/>
                      <a:pt x="14" y="193"/>
                    </a:cubicBezTo>
                    <a:cubicBezTo>
                      <a:pt x="14" y="195"/>
                      <a:pt x="14" y="194"/>
                      <a:pt x="16" y="195"/>
                    </a:cubicBezTo>
                    <a:cubicBezTo>
                      <a:pt x="17" y="195"/>
                      <a:pt x="18" y="196"/>
                      <a:pt x="18" y="197"/>
                    </a:cubicBezTo>
                    <a:cubicBezTo>
                      <a:pt x="19" y="198"/>
                      <a:pt x="18" y="198"/>
                      <a:pt x="19" y="199"/>
                    </a:cubicBezTo>
                    <a:cubicBezTo>
                      <a:pt x="19" y="199"/>
                      <a:pt x="20" y="200"/>
                      <a:pt x="20" y="200"/>
                    </a:cubicBezTo>
                    <a:cubicBezTo>
                      <a:pt x="20" y="201"/>
                      <a:pt x="21" y="203"/>
                      <a:pt x="22" y="203"/>
                    </a:cubicBezTo>
                    <a:cubicBezTo>
                      <a:pt x="23" y="203"/>
                      <a:pt x="23" y="202"/>
                      <a:pt x="24" y="202"/>
                    </a:cubicBezTo>
                    <a:cubicBezTo>
                      <a:pt x="24" y="201"/>
                      <a:pt x="25" y="202"/>
                      <a:pt x="26" y="202"/>
                    </a:cubicBezTo>
                    <a:cubicBezTo>
                      <a:pt x="27" y="202"/>
                      <a:pt x="28" y="202"/>
                      <a:pt x="29" y="203"/>
                    </a:cubicBezTo>
                    <a:cubicBezTo>
                      <a:pt x="30" y="205"/>
                      <a:pt x="29" y="208"/>
                      <a:pt x="29" y="210"/>
                    </a:cubicBezTo>
                    <a:cubicBezTo>
                      <a:pt x="29" y="211"/>
                      <a:pt x="29" y="213"/>
                      <a:pt x="29" y="214"/>
                    </a:cubicBezTo>
                    <a:cubicBezTo>
                      <a:pt x="29" y="215"/>
                      <a:pt x="28" y="215"/>
                      <a:pt x="28" y="216"/>
                    </a:cubicBezTo>
                    <a:cubicBezTo>
                      <a:pt x="27" y="218"/>
                      <a:pt x="28" y="222"/>
                      <a:pt x="30" y="222"/>
                    </a:cubicBezTo>
                    <a:cubicBezTo>
                      <a:pt x="31" y="223"/>
                      <a:pt x="28" y="225"/>
                      <a:pt x="27" y="226"/>
                    </a:cubicBezTo>
                    <a:cubicBezTo>
                      <a:pt x="27" y="227"/>
                      <a:pt x="27" y="228"/>
                      <a:pt x="28" y="229"/>
                    </a:cubicBezTo>
                    <a:cubicBezTo>
                      <a:pt x="28" y="231"/>
                      <a:pt x="29" y="231"/>
                      <a:pt x="31" y="231"/>
                    </a:cubicBezTo>
                    <a:cubicBezTo>
                      <a:pt x="34" y="232"/>
                      <a:pt x="34" y="232"/>
                      <a:pt x="34" y="235"/>
                    </a:cubicBezTo>
                    <a:cubicBezTo>
                      <a:pt x="34" y="236"/>
                      <a:pt x="34" y="237"/>
                      <a:pt x="34" y="238"/>
                    </a:cubicBezTo>
                    <a:cubicBezTo>
                      <a:pt x="35" y="239"/>
                      <a:pt x="36" y="240"/>
                      <a:pt x="38" y="241"/>
                    </a:cubicBezTo>
                    <a:cubicBezTo>
                      <a:pt x="44" y="243"/>
                      <a:pt x="50" y="243"/>
                      <a:pt x="57" y="243"/>
                    </a:cubicBezTo>
                    <a:cubicBezTo>
                      <a:pt x="58" y="243"/>
                      <a:pt x="59" y="243"/>
                      <a:pt x="60" y="244"/>
                    </a:cubicBezTo>
                    <a:cubicBezTo>
                      <a:pt x="61" y="245"/>
                      <a:pt x="61" y="245"/>
                      <a:pt x="61" y="246"/>
                    </a:cubicBezTo>
                    <a:cubicBezTo>
                      <a:pt x="62" y="246"/>
                      <a:pt x="63" y="246"/>
                      <a:pt x="63" y="247"/>
                    </a:cubicBezTo>
                    <a:cubicBezTo>
                      <a:pt x="64" y="248"/>
                      <a:pt x="63" y="248"/>
                      <a:pt x="62" y="249"/>
                    </a:cubicBezTo>
                    <a:cubicBezTo>
                      <a:pt x="62" y="250"/>
                      <a:pt x="62" y="251"/>
                      <a:pt x="63" y="252"/>
                    </a:cubicBezTo>
                    <a:cubicBezTo>
                      <a:pt x="64" y="253"/>
                      <a:pt x="65" y="253"/>
                      <a:pt x="65" y="254"/>
                    </a:cubicBezTo>
                    <a:cubicBezTo>
                      <a:pt x="65" y="255"/>
                      <a:pt x="64" y="256"/>
                      <a:pt x="63" y="257"/>
                    </a:cubicBezTo>
                    <a:cubicBezTo>
                      <a:pt x="62" y="258"/>
                      <a:pt x="61" y="258"/>
                      <a:pt x="61" y="260"/>
                    </a:cubicBezTo>
                    <a:cubicBezTo>
                      <a:pt x="61" y="260"/>
                      <a:pt x="61" y="261"/>
                      <a:pt x="60" y="261"/>
                    </a:cubicBezTo>
                    <a:cubicBezTo>
                      <a:pt x="60" y="262"/>
                      <a:pt x="60" y="262"/>
                      <a:pt x="60" y="262"/>
                    </a:cubicBezTo>
                    <a:cubicBezTo>
                      <a:pt x="59" y="263"/>
                      <a:pt x="58" y="263"/>
                      <a:pt x="58" y="264"/>
                    </a:cubicBezTo>
                    <a:cubicBezTo>
                      <a:pt x="57" y="265"/>
                      <a:pt x="58" y="268"/>
                      <a:pt x="59" y="269"/>
                    </a:cubicBezTo>
                    <a:cubicBezTo>
                      <a:pt x="60" y="270"/>
                      <a:pt x="62" y="270"/>
                      <a:pt x="63" y="271"/>
                    </a:cubicBezTo>
                    <a:cubicBezTo>
                      <a:pt x="63" y="271"/>
                      <a:pt x="64" y="272"/>
                      <a:pt x="65" y="273"/>
                    </a:cubicBezTo>
                    <a:cubicBezTo>
                      <a:pt x="66" y="274"/>
                      <a:pt x="67" y="277"/>
                      <a:pt x="65" y="278"/>
                    </a:cubicBezTo>
                    <a:cubicBezTo>
                      <a:pt x="64" y="278"/>
                      <a:pt x="62" y="277"/>
                      <a:pt x="60" y="278"/>
                    </a:cubicBezTo>
                    <a:cubicBezTo>
                      <a:pt x="59" y="278"/>
                      <a:pt x="59" y="279"/>
                      <a:pt x="58" y="280"/>
                    </a:cubicBezTo>
                    <a:cubicBezTo>
                      <a:pt x="57" y="281"/>
                      <a:pt x="56" y="281"/>
                      <a:pt x="57" y="282"/>
                    </a:cubicBezTo>
                    <a:cubicBezTo>
                      <a:pt x="57" y="283"/>
                      <a:pt x="57" y="284"/>
                      <a:pt x="58" y="285"/>
                    </a:cubicBezTo>
                    <a:cubicBezTo>
                      <a:pt x="59" y="285"/>
                      <a:pt x="60" y="285"/>
                      <a:pt x="61" y="285"/>
                    </a:cubicBezTo>
                    <a:cubicBezTo>
                      <a:pt x="62" y="285"/>
                      <a:pt x="65" y="285"/>
                      <a:pt x="65" y="285"/>
                    </a:cubicBezTo>
                    <a:cubicBezTo>
                      <a:pt x="66" y="286"/>
                      <a:pt x="66" y="286"/>
                      <a:pt x="66" y="287"/>
                    </a:cubicBezTo>
                    <a:cubicBezTo>
                      <a:pt x="66" y="287"/>
                      <a:pt x="67" y="288"/>
                      <a:pt x="67" y="288"/>
                    </a:cubicBezTo>
                    <a:cubicBezTo>
                      <a:pt x="67" y="289"/>
                      <a:pt x="67" y="289"/>
                      <a:pt x="67" y="290"/>
                    </a:cubicBezTo>
                    <a:cubicBezTo>
                      <a:pt x="68" y="291"/>
                      <a:pt x="69" y="291"/>
                      <a:pt x="70" y="292"/>
                    </a:cubicBezTo>
                    <a:cubicBezTo>
                      <a:pt x="70" y="292"/>
                      <a:pt x="71" y="292"/>
                      <a:pt x="71" y="292"/>
                    </a:cubicBezTo>
                    <a:cubicBezTo>
                      <a:pt x="71" y="292"/>
                      <a:pt x="71" y="292"/>
                      <a:pt x="71" y="292"/>
                    </a:cubicBezTo>
                    <a:cubicBezTo>
                      <a:pt x="74" y="293"/>
                      <a:pt x="77" y="294"/>
                      <a:pt x="80" y="295"/>
                    </a:cubicBezTo>
                    <a:cubicBezTo>
                      <a:pt x="83" y="296"/>
                      <a:pt x="85" y="298"/>
                      <a:pt x="87" y="300"/>
                    </a:cubicBezTo>
                    <a:cubicBezTo>
                      <a:pt x="88" y="300"/>
                      <a:pt x="89" y="301"/>
                      <a:pt x="90" y="301"/>
                    </a:cubicBezTo>
                    <a:cubicBezTo>
                      <a:pt x="91" y="302"/>
                      <a:pt x="92" y="302"/>
                      <a:pt x="93" y="303"/>
                    </a:cubicBezTo>
                    <a:cubicBezTo>
                      <a:pt x="93" y="303"/>
                      <a:pt x="93" y="305"/>
                      <a:pt x="94" y="305"/>
                    </a:cubicBezTo>
                    <a:cubicBezTo>
                      <a:pt x="94" y="307"/>
                      <a:pt x="94" y="307"/>
                      <a:pt x="96" y="307"/>
                    </a:cubicBezTo>
                    <a:cubicBezTo>
                      <a:pt x="99" y="308"/>
                      <a:pt x="100" y="308"/>
                      <a:pt x="102" y="306"/>
                    </a:cubicBezTo>
                    <a:cubicBezTo>
                      <a:pt x="103" y="305"/>
                      <a:pt x="103" y="306"/>
                      <a:pt x="104" y="304"/>
                    </a:cubicBezTo>
                    <a:cubicBezTo>
                      <a:pt x="104" y="304"/>
                      <a:pt x="104" y="303"/>
                      <a:pt x="104" y="303"/>
                    </a:cubicBezTo>
                    <a:cubicBezTo>
                      <a:pt x="105" y="302"/>
                      <a:pt x="105" y="301"/>
                      <a:pt x="105" y="301"/>
                    </a:cubicBezTo>
                    <a:cubicBezTo>
                      <a:pt x="106" y="300"/>
                      <a:pt x="106" y="299"/>
                      <a:pt x="107" y="299"/>
                    </a:cubicBezTo>
                    <a:cubicBezTo>
                      <a:pt x="109" y="297"/>
                      <a:pt x="109" y="294"/>
                      <a:pt x="112" y="293"/>
                    </a:cubicBezTo>
                    <a:cubicBezTo>
                      <a:pt x="115" y="292"/>
                      <a:pt x="117" y="295"/>
                      <a:pt x="120" y="296"/>
                    </a:cubicBezTo>
                    <a:cubicBezTo>
                      <a:pt x="123" y="298"/>
                      <a:pt x="125" y="298"/>
                      <a:pt x="128" y="300"/>
                    </a:cubicBezTo>
                    <a:cubicBezTo>
                      <a:pt x="130" y="301"/>
                      <a:pt x="133" y="302"/>
                      <a:pt x="132" y="305"/>
                    </a:cubicBezTo>
                    <a:cubicBezTo>
                      <a:pt x="131" y="307"/>
                      <a:pt x="128" y="307"/>
                      <a:pt x="125" y="307"/>
                    </a:cubicBezTo>
                    <a:cubicBezTo>
                      <a:pt x="124" y="308"/>
                      <a:pt x="123" y="308"/>
                      <a:pt x="122" y="309"/>
                    </a:cubicBezTo>
                    <a:cubicBezTo>
                      <a:pt x="121" y="309"/>
                      <a:pt x="121" y="309"/>
                      <a:pt x="120" y="310"/>
                    </a:cubicBezTo>
                    <a:cubicBezTo>
                      <a:pt x="120" y="310"/>
                      <a:pt x="118" y="310"/>
                      <a:pt x="118" y="311"/>
                    </a:cubicBezTo>
                    <a:cubicBezTo>
                      <a:pt x="118" y="312"/>
                      <a:pt x="118" y="312"/>
                      <a:pt x="118" y="313"/>
                    </a:cubicBezTo>
                    <a:cubicBezTo>
                      <a:pt x="117" y="313"/>
                      <a:pt x="117" y="313"/>
                      <a:pt x="116" y="314"/>
                    </a:cubicBezTo>
                    <a:cubicBezTo>
                      <a:pt x="116" y="315"/>
                      <a:pt x="117" y="315"/>
                      <a:pt x="117" y="316"/>
                    </a:cubicBezTo>
                    <a:cubicBezTo>
                      <a:pt x="117" y="317"/>
                      <a:pt x="118" y="318"/>
                      <a:pt x="119" y="318"/>
                    </a:cubicBezTo>
                    <a:cubicBezTo>
                      <a:pt x="119" y="319"/>
                      <a:pt x="118" y="321"/>
                      <a:pt x="119" y="322"/>
                    </a:cubicBezTo>
                    <a:cubicBezTo>
                      <a:pt x="120" y="323"/>
                      <a:pt x="121" y="323"/>
                      <a:pt x="122" y="324"/>
                    </a:cubicBezTo>
                    <a:cubicBezTo>
                      <a:pt x="122" y="324"/>
                      <a:pt x="123" y="325"/>
                      <a:pt x="123" y="326"/>
                    </a:cubicBezTo>
                    <a:cubicBezTo>
                      <a:pt x="125" y="327"/>
                      <a:pt x="126" y="329"/>
                      <a:pt x="126" y="331"/>
                    </a:cubicBezTo>
                    <a:cubicBezTo>
                      <a:pt x="126" y="332"/>
                      <a:pt x="126" y="333"/>
                      <a:pt x="126" y="334"/>
                    </a:cubicBezTo>
                    <a:cubicBezTo>
                      <a:pt x="128" y="334"/>
                      <a:pt x="130" y="335"/>
                      <a:pt x="132" y="335"/>
                    </a:cubicBezTo>
                    <a:cubicBezTo>
                      <a:pt x="134" y="336"/>
                      <a:pt x="135" y="337"/>
                      <a:pt x="136" y="338"/>
                    </a:cubicBezTo>
                    <a:cubicBezTo>
                      <a:pt x="139" y="340"/>
                      <a:pt x="144" y="341"/>
                      <a:pt x="145" y="344"/>
                    </a:cubicBezTo>
                    <a:cubicBezTo>
                      <a:pt x="146" y="347"/>
                      <a:pt x="143" y="348"/>
                      <a:pt x="141" y="349"/>
                    </a:cubicBezTo>
                    <a:cubicBezTo>
                      <a:pt x="140" y="350"/>
                      <a:pt x="138" y="351"/>
                      <a:pt x="137" y="352"/>
                    </a:cubicBezTo>
                    <a:cubicBezTo>
                      <a:pt x="136" y="352"/>
                      <a:pt x="136" y="355"/>
                      <a:pt x="136" y="356"/>
                    </a:cubicBezTo>
                    <a:cubicBezTo>
                      <a:pt x="136" y="358"/>
                      <a:pt x="136" y="363"/>
                      <a:pt x="138" y="365"/>
                    </a:cubicBezTo>
                    <a:cubicBezTo>
                      <a:pt x="140" y="366"/>
                      <a:pt x="141" y="366"/>
                      <a:pt x="143" y="366"/>
                    </a:cubicBezTo>
                    <a:cubicBezTo>
                      <a:pt x="145" y="366"/>
                      <a:pt x="146" y="367"/>
                      <a:pt x="148" y="367"/>
                    </a:cubicBezTo>
                    <a:cubicBezTo>
                      <a:pt x="151" y="368"/>
                      <a:pt x="153" y="364"/>
                      <a:pt x="157" y="364"/>
                    </a:cubicBezTo>
                    <a:cubicBezTo>
                      <a:pt x="162" y="364"/>
                      <a:pt x="166" y="365"/>
                      <a:pt x="171" y="365"/>
                    </a:cubicBezTo>
                    <a:cubicBezTo>
                      <a:pt x="174" y="365"/>
                      <a:pt x="177" y="365"/>
                      <a:pt x="180" y="367"/>
                    </a:cubicBezTo>
                    <a:cubicBezTo>
                      <a:pt x="182" y="367"/>
                      <a:pt x="183" y="368"/>
                      <a:pt x="185" y="369"/>
                    </a:cubicBezTo>
                    <a:cubicBezTo>
                      <a:pt x="186" y="369"/>
                      <a:pt x="188" y="369"/>
                      <a:pt x="189" y="370"/>
                    </a:cubicBezTo>
                    <a:cubicBezTo>
                      <a:pt x="192" y="371"/>
                      <a:pt x="194" y="372"/>
                      <a:pt x="197" y="373"/>
                    </a:cubicBezTo>
                    <a:cubicBezTo>
                      <a:pt x="198" y="374"/>
                      <a:pt x="200" y="375"/>
                      <a:pt x="201" y="375"/>
                    </a:cubicBezTo>
                    <a:cubicBezTo>
                      <a:pt x="202" y="375"/>
                      <a:pt x="202" y="374"/>
                      <a:pt x="203" y="374"/>
                    </a:cubicBezTo>
                    <a:cubicBezTo>
                      <a:pt x="207" y="374"/>
                      <a:pt x="209" y="378"/>
                      <a:pt x="213" y="379"/>
                    </a:cubicBezTo>
                    <a:cubicBezTo>
                      <a:pt x="215" y="379"/>
                      <a:pt x="219" y="379"/>
                      <a:pt x="221" y="378"/>
                    </a:cubicBezTo>
                    <a:cubicBezTo>
                      <a:pt x="223" y="377"/>
                      <a:pt x="225" y="375"/>
                      <a:pt x="228" y="375"/>
                    </a:cubicBezTo>
                    <a:cubicBezTo>
                      <a:pt x="232" y="374"/>
                      <a:pt x="236" y="375"/>
                      <a:pt x="240" y="376"/>
                    </a:cubicBezTo>
                    <a:cubicBezTo>
                      <a:pt x="242" y="376"/>
                      <a:pt x="244" y="376"/>
                      <a:pt x="246" y="375"/>
                    </a:cubicBezTo>
                    <a:cubicBezTo>
                      <a:pt x="248" y="374"/>
                      <a:pt x="248" y="373"/>
                      <a:pt x="251" y="374"/>
                    </a:cubicBezTo>
                    <a:cubicBezTo>
                      <a:pt x="253" y="375"/>
                      <a:pt x="255" y="378"/>
                      <a:pt x="257" y="378"/>
                    </a:cubicBezTo>
                    <a:cubicBezTo>
                      <a:pt x="259" y="378"/>
                      <a:pt x="261" y="378"/>
                      <a:pt x="263" y="378"/>
                    </a:cubicBezTo>
                    <a:cubicBezTo>
                      <a:pt x="266" y="379"/>
                      <a:pt x="269" y="380"/>
                      <a:pt x="271" y="381"/>
                    </a:cubicBezTo>
                    <a:cubicBezTo>
                      <a:pt x="272" y="381"/>
                      <a:pt x="273" y="382"/>
                      <a:pt x="274" y="382"/>
                    </a:cubicBezTo>
                    <a:cubicBezTo>
                      <a:pt x="275" y="382"/>
                      <a:pt x="275" y="382"/>
                      <a:pt x="275" y="382"/>
                    </a:cubicBezTo>
                    <a:cubicBezTo>
                      <a:pt x="278" y="382"/>
                      <a:pt x="281" y="384"/>
                      <a:pt x="283" y="384"/>
                    </a:cubicBezTo>
                    <a:cubicBezTo>
                      <a:pt x="285" y="384"/>
                      <a:pt x="285" y="384"/>
                      <a:pt x="286" y="383"/>
                    </a:cubicBezTo>
                    <a:cubicBezTo>
                      <a:pt x="288" y="382"/>
                      <a:pt x="289" y="382"/>
                      <a:pt x="290" y="381"/>
                    </a:cubicBezTo>
                    <a:cubicBezTo>
                      <a:pt x="292" y="379"/>
                      <a:pt x="293" y="379"/>
                      <a:pt x="295" y="379"/>
                    </a:cubicBezTo>
                    <a:cubicBezTo>
                      <a:pt x="297" y="379"/>
                      <a:pt x="299" y="380"/>
                      <a:pt x="300" y="378"/>
                    </a:cubicBezTo>
                    <a:cubicBezTo>
                      <a:pt x="301" y="377"/>
                      <a:pt x="300" y="376"/>
                      <a:pt x="300" y="375"/>
                    </a:cubicBezTo>
                    <a:cubicBezTo>
                      <a:pt x="301" y="373"/>
                      <a:pt x="304" y="372"/>
                      <a:pt x="305" y="371"/>
                    </a:cubicBezTo>
                    <a:cubicBezTo>
                      <a:pt x="307" y="370"/>
                      <a:pt x="308" y="369"/>
                      <a:pt x="308" y="367"/>
                    </a:cubicBezTo>
                    <a:cubicBezTo>
                      <a:pt x="308" y="366"/>
                      <a:pt x="308" y="365"/>
                      <a:pt x="308" y="364"/>
                    </a:cubicBezTo>
                    <a:cubicBezTo>
                      <a:pt x="309" y="363"/>
                      <a:pt x="311" y="362"/>
                      <a:pt x="313" y="361"/>
                    </a:cubicBezTo>
                    <a:cubicBezTo>
                      <a:pt x="314" y="360"/>
                      <a:pt x="315" y="359"/>
                      <a:pt x="316" y="359"/>
                    </a:cubicBezTo>
                    <a:cubicBezTo>
                      <a:pt x="318" y="357"/>
                      <a:pt x="321" y="357"/>
                      <a:pt x="324" y="356"/>
                    </a:cubicBezTo>
                    <a:cubicBezTo>
                      <a:pt x="326" y="355"/>
                      <a:pt x="328" y="355"/>
                      <a:pt x="331" y="355"/>
                    </a:cubicBezTo>
                    <a:cubicBezTo>
                      <a:pt x="333" y="354"/>
                      <a:pt x="334" y="354"/>
                      <a:pt x="335" y="353"/>
                    </a:cubicBezTo>
                    <a:cubicBezTo>
                      <a:pt x="338" y="352"/>
                      <a:pt x="341" y="350"/>
                      <a:pt x="344" y="350"/>
                    </a:cubicBezTo>
                    <a:cubicBezTo>
                      <a:pt x="346" y="350"/>
                      <a:pt x="349" y="350"/>
                      <a:pt x="351" y="350"/>
                    </a:cubicBezTo>
                    <a:cubicBezTo>
                      <a:pt x="354" y="350"/>
                      <a:pt x="356" y="350"/>
                      <a:pt x="358" y="349"/>
                    </a:cubicBezTo>
                    <a:cubicBezTo>
                      <a:pt x="361" y="348"/>
                      <a:pt x="363" y="347"/>
                      <a:pt x="366" y="345"/>
                    </a:cubicBezTo>
                    <a:cubicBezTo>
                      <a:pt x="368" y="344"/>
                      <a:pt x="370" y="342"/>
                      <a:pt x="373" y="343"/>
                    </a:cubicBezTo>
                    <a:cubicBezTo>
                      <a:pt x="374" y="343"/>
                      <a:pt x="376" y="344"/>
                      <a:pt x="377" y="345"/>
                    </a:cubicBezTo>
                    <a:cubicBezTo>
                      <a:pt x="378" y="345"/>
                      <a:pt x="380" y="346"/>
                      <a:pt x="382" y="347"/>
                    </a:cubicBezTo>
                    <a:cubicBezTo>
                      <a:pt x="383" y="348"/>
                      <a:pt x="383" y="349"/>
                      <a:pt x="384" y="350"/>
                    </a:cubicBezTo>
                    <a:cubicBezTo>
                      <a:pt x="385" y="351"/>
                      <a:pt x="386" y="351"/>
                      <a:pt x="387" y="352"/>
                    </a:cubicBezTo>
                    <a:cubicBezTo>
                      <a:pt x="388" y="352"/>
                      <a:pt x="389" y="353"/>
                      <a:pt x="390" y="353"/>
                    </a:cubicBezTo>
                    <a:cubicBezTo>
                      <a:pt x="390" y="353"/>
                      <a:pt x="392" y="353"/>
                      <a:pt x="393" y="353"/>
                    </a:cubicBezTo>
                    <a:cubicBezTo>
                      <a:pt x="394" y="353"/>
                      <a:pt x="396" y="354"/>
                      <a:pt x="397" y="355"/>
                    </a:cubicBezTo>
                    <a:cubicBezTo>
                      <a:pt x="398" y="355"/>
                      <a:pt x="398" y="355"/>
                      <a:pt x="399" y="355"/>
                    </a:cubicBezTo>
                    <a:cubicBezTo>
                      <a:pt x="399" y="355"/>
                      <a:pt x="401" y="354"/>
                      <a:pt x="401" y="354"/>
                    </a:cubicBezTo>
                    <a:cubicBezTo>
                      <a:pt x="402" y="354"/>
                      <a:pt x="403" y="354"/>
                      <a:pt x="404" y="354"/>
                    </a:cubicBezTo>
                    <a:cubicBezTo>
                      <a:pt x="407" y="354"/>
                      <a:pt x="406" y="354"/>
                      <a:pt x="407" y="356"/>
                    </a:cubicBezTo>
                    <a:cubicBezTo>
                      <a:pt x="407" y="357"/>
                      <a:pt x="408" y="357"/>
                      <a:pt x="408" y="358"/>
                    </a:cubicBezTo>
                    <a:cubicBezTo>
                      <a:pt x="409" y="358"/>
                      <a:pt x="410" y="360"/>
                      <a:pt x="410" y="360"/>
                    </a:cubicBezTo>
                    <a:cubicBezTo>
                      <a:pt x="411" y="360"/>
                      <a:pt x="413" y="360"/>
                      <a:pt x="414" y="360"/>
                    </a:cubicBezTo>
                    <a:cubicBezTo>
                      <a:pt x="415" y="359"/>
                      <a:pt x="420" y="355"/>
                      <a:pt x="421" y="357"/>
                    </a:cubicBezTo>
                    <a:cubicBezTo>
                      <a:pt x="421" y="358"/>
                      <a:pt x="421" y="358"/>
                      <a:pt x="421" y="359"/>
                    </a:cubicBezTo>
                    <a:cubicBezTo>
                      <a:pt x="421" y="359"/>
                      <a:pt x="421" y="360"/>
                      <a:pt x="422" y="360"/>
                    </a:cubicBezTo>
                    <a:cubicBezTo>
                      <a:pt x="423" y="362"/>
                      <a:pt x="423" y="362"/>
                      <a:pt x="423" y="364"/>
                    </a:cubicBezTo>
                    <a:cubicBezTo>
                      <a:pt x="424" y="365"/>
                      <a:pt x="423" y="366"/>
                      <a:pt x="424" y="367"/>
                    </a:cubicBezTo>
                    <a:cubicBezTo>
                      <a:pt x="425" y="368"/>
                      <a:pt x="425" y="368"/>
                      <a:pt x="426" y="368"/>
                    </a:cubicBezTo>
                    <a:cubicBezTo>
                      <a:pt x="426" y="368"/>
                      <a:pt x="426" y="369"/>
                      <a:pt x="426" y="369"/>
                    </a:cubicBezTo>
                    <a:cubicBezTo>
                      <a:pt x="427" y="370"/>
                      <a:pt x="428" y="370"/>
                      <a:pt x="428" y="372"/>
                    </a:cubicBezTo>
                    <a:cubicBezTo>
                      <a:pt x="429" y="372"/>
                      <a:pt x="428" y="373"/>
                      <a:pt x="429" y="373"/>
                    </a:cubicBezTo>
                    <a:cubicBezTo>
                      <a:pt x="429" y="374"/>
                      <a:pt x="430" y="375"/>
                      <a:pt x="431" y="375"/>
                    </a:cubicBezTo>
                    <a:cubicBezTo>
                      <a:pt x="433" y="376"/>
                      <a:pt x="436" y="376"/>
                      <a:pt x="439" y="377"/>
                    </a:cubicBezTo>
                    <a:cubicBezTo>
                      <a:pt x="441" y="377"/>
                      <a:pt x="443" y="378"/>
                      <a:pt x="446" y="379"/>
                    </a:cubicBezTo>
                    <a:cubicBezTo>
                      <a:pt x="449" y="379"/>
                      <a:pt x="452" y="379"/>
                      <a:pt x="456" y="379"/>
                    </a:cubicBezTo>
                    <a:cubicBezTo>
                      <a:pt x="456" y="379"/>
                      <a:pt x="456" y="379"/>
                      <a:pt x="456" y="379"/>
                    </a:cubicBezTo>
                    <a:cubicBezTo>
                      <a:pt x="456" y="379"/>
                      <a:pt x="455" y="379"/>
                      <a:pt x="455" y="379"/>
                    </a:cubicBezTo>
                    <a:cubicBezTo>
                      <a:pt x="456" y="379"/>
                      <a:pt x="456" y="379"/>
                      <a:pt x="456" y="379"/>
                    </a:cubicBezTo>
                    <a:cubicBezTo>
                      <a:pt x="456" y="378"/>
                      <a:pt x="456" y="377"/>
                      <a:pt x="456" y="376"/>
                    </a:cubicBezTo>
                    <a:cubicBezTo>
                      <a:pt x="457" y="372"/>
                      <a:pt x="458" y="369"/>
                      <a:pt x="458" y="366"/>
                    </a:cubicBezTo>
                    <a:cubicBezTo>
                      <a:pt x="458" y="362"/>
                      <a:pt x="458" y="359"/>
                      <a:pt x="458" y="356"/>
                    </a:cubicBezTo>
                    <a:cubicBezTo>
                      <a:pt x="458" y="347"/>
                      <a:pt x="457" y="340"/>
                      <a:pt x="462" y="332"/>
                    </a:cubicBezTo>
                    <a:cubicBezTo>
                      <a:pt x="465" y="330"/>
                      <a:pt x="466" y="328"/>
                      <a:pt x="466" y="325"/>
                    </a:cubicBezTo>
                    <a:cubicBezTo>
                      <a:pt x="466" y="323"/>
                      <a:pt x="466" y="322"/>
                      <a:pt x="466" y="321"/>
                    </a:cubicBezTo>
                    <a:cubicBezTo>
                      <a:pt x="466" y="321"/>
                      <a:pt x="467" y="319"/>
                      <a:pt x="467" y="319"/>
                    </a:cubicBezTo>
                    <a:cubicBezTo>
                      <a:pt x="467" y="318"/>
                      <a:pt x="467" y="317"/>
                      <a:pt x="468" y="316"/>
                    </a:cubicBezTo>
                    <a:cubicBezTo>
                      <a:pt x="469" y="314"/>
                      <a:pt x="469" y="312"/>
                      <a:pt x="469" y="309"/>
                    </a:cubicBezTo>
                    <a:cubicBezTo>
                      <a:pt x="469" y="308"/>
                      <a:pt x="468" y="306"/>
                      <a:pt x="467" y="305"/>
                    </a:cubicBezTo>
                    <a:cubicBezTo>
                      <a:pt x="466" y="304"/>
                      <a:pt x="465" y="304"/>
                      <a:pt x="464" y="302"/>
                    </a:cubicBezTo>
                    <a:cubicBezTo>
                      <a:pt x="466" y="302"/>
                      <a:pt x="468" y="302"/>
                      <a:pt x="470" y="302"/>
                    </a:cubicBezTo>
                    <a:cubicBezTo>
                      <a:pt x="472" y="302"/>
                      <a:pt x="472" y="301"/>
                      <a:pt x="474" y="299"/>
                    </a:cubicBezTo>
                    <a:cubicBezTo>
                      <a:pt x="475" y="297"/>
                      <a:pt x="476" y="296"/>
                      <a:pt x="476" y="294"/>
                    </a:cubicBezTo>
                    <a:cubicBezTo>
                      <a:pt x="476" y="291"/>
                      <a:pt x="473" y="290"/>
                      <a:pt x="472" y="288"/>
                    </a:cubicBezTo>
                    <a:cubicBezTo>
                      <a:pt x="471" y="284"/>
                      <a:pt x="472" y="279"/>
                      <a:pt x="475" y="278"/>
                    </a:cubicBezTo>
                    <a:cubicBezTo>
                      <a:pt x="477" y="277"/>
                      <a:pt x="479" y="278"/>
                      <a:pt x="481" y="277"/>
                    </a:cubicBezTo>
                    <a:cubicBezTo>
                      <a:pt x="483" y="277"/>
                      <a:pt x="482" y="274"/>
                      <a:pt x="484" y="274"/>
                    </a:cubicBezTo>
                    <a:cubicBezTo>
                      <a:pt x="485" y="279"/>
                      <a:pt x="479" y="280"/>
                      <a:pt x="478" y="285"/>
                    </a:cubicBezTo>
                    <a:cubicBezTo>
                      <a:pt x="477" y="290"/>
                      <a:pt x="488" y="288"/>
                      <a:pt x="491" y="289"/>
                    </a:cubicBezTo>
                    <a:cubicBezTo>
                      <a:pt x="492" y="289"/>
                      <a:pt x="493" y="288"/>
                      <a:pt x="494" y="289"/>
                    </a:cubicBezTo>
                    <a:cubicBezTo>
                      <a:pt x="494" y="290"/>
                      <a:pt x="494" y="291"/>
                      <a:pt x="494" y="292"/>
                    </a:cubicBezTo>
                    <a:cubicBezTo>
                      <a:pt x="496" y="293"/>
                      <a:pt x="500" y="292"/>
                      <a:pt x="502" y="292"/>
                    </a:cubicBezTo>
                    <a:cubicBezTo>
                      <a:pt x="507" y="292"/>
                      <a:pt x="512" y="292"/>
                      <a:pt x="515" y="288"/>
                    </a:cubicBezTo>
                    <a:cubicBezTo>
                      <a:pt x="516" y="287"/>
                      <a:pt x="516" y="286"/>
                      <a:pt x="517" y="285"/>
                    </a:cubicBezTo>
                    <a:cubicBezTo>
                      <a:pt x="517" y="284"/>
                      <a:pt x="517" y="281"/>
                      <a:pt x="518" y="280"/>
                    </a:cubicBezTo>
                    <a:cubicBezTo>
                      <a:pt x="518" y="278"/>
                      <a:pt x="518" y="276"/>
                      <a:pt x="518" y="274"/>
                    </a:cubicBezTo>
                    <a:cubicBezTo>
                      <a:pt x="518" y="271"/>
                      <a:pt x="520" y="268"/>
                      <a:pt x="521" y="265"/>
                    </a:cubicBezTo>
                    <a:cubicBezTo>
                      <a:pt x="521" y="262"/>
                      <a:pt x="522" y="259"/>
                      <a:pt x="523" y="257"/>
                    </a:cubicBezTo>
                    <a:cubicBezTo>
                      <a:pt x="523" y="257"/>
                      <a:pt x="525" y="255"/>
                      <a:pt x="525" y="25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19" name="Freeform 35">
                <a:extLst>
                  <a:ext uri="{FF2B5EF4-FFF2-40B4-BE49-F238E27FC236}">
                    <a16:creationId xmlns:a16="http://schemas.microsoft.com/office/drawing/2014/main" id="{560FA043-69D3-4A96-866E-F2DAD5A81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25" y="4779963"/>
                <a:ext cx="336550" cy="477838"/>
              </a:xfrm>
              <a:custGeom>
                <a:avLst/>
                <a:gdLst/>
                <a:ahLst/>
                <a:cxnLst>
                  <a:cxn ang="0">
                    <a:pos x="169" y="144"/>
                  </a:cxn>
                  <a:cxn ang="0">
                    <a:pos x="163" y="133"/>
                  </a:cxn>
                  <a:cxn ang="0">
                    <a:pos x="158" y="123"/>
                  </a:cxn>
                  <a:cxn ang="0">
                    <a:pos x="159" y="115"/>
                  </a:cxn>
                  <a:cxn ang="0">
                    <a:pos x="160" y="101"/>
                  </a:cxn>
                  <a:cxn ang="0">
                    <a:pos x="150" y="101"/>
                  </a:cxn>
                  <a:cxn ang="0">
                    <a:pos x="144" y="96"/>
                  </a:cxn>
                  <a:cxn ang="0">
                    <a:pos x="136" y="85"/>
                  </a:cxn>
                  <a:cxn ang="0">
                    <a:pos x="139" y="74"/>
                  </a:cxn>
                  <a:cxn ang="0">
                    <a:pos x="141" y="63"/>
                  </a:cxn>
                  <a:cxn ang="0">
                    <a:pos x="141" y="56"/>
                  </a:cxn>
                  <a:cxn ang="0">
                    <a:pos x="141" y="48"/>
                  </a:cxn>
                  <a:cxn ang="0">
                    <a:pos x="130" y="48"/>
                  </a:cxn>
                  <a:cxn ang="0">
                    <a:pos x="121" y="45"/>
                  </a:cxn>
                  <a:cxn ang="0">
                    <a:pos x="115" y="35"/>
                  </a:cxn>
                  <a:cxn ang="0">
                    <a:pos x="107" y="31"/>
                  </a:cxn>
                  <a:cxn ang="0">
                    <a:pos x="97" y="37"/>
                  </a:cxn>
                  <a:cxn ang="0">
                    <a:pos x="95" y="29"/>
                  </a:cxn>
                  <a:cxn ang="0">
                    <a:pos x="92" y="24"/>
                  </a:cxn>
                  <a:cxn ang="0">
                    <a:pos x="80" y="23"/>
                  </a:cxn>
                  <a:cxn ang="0">
                    <a:pos x="75" y="18"/>
                  </a:cxn>
                  <a:cxn ang="0">
                    <a:pos x="60" y="7"/>
                  </a:cxn>
                  <a:cxn ang="0">
                    <a:pos x="48" y="4"/>
                  </a:cxn>
                  <a:cxn ang="0">
                    <a:pos x="36" y="6"/>
                  </a:cxn>
                  <a:cxn ang="0">
                    <a:pos x="25" y="11"/>
                  </a:cxn>
                  <a:cxn ang="0">
                    <a:pos x="12" y="13"/>
                  </a:cxn>
                  <a:cxn ang="0">
                    <a:pos x="4" y="7"/>
                  </a:cxn>
                  <a:cxn ang="0">
                    <a:pos x="2" y="18"/>
                  </a:cxn>
                  <a:cxn ang="0">
                    <a:pos x="11" y="33"/>
                  </a:cxn>
                  <a:cxn ang="0">
                    <a:pos x="34" y="65"/>
                  </a:cxn>
                  <a:cxn ang="0">
                    <a:pos x="38" y="84"/>
                  </a:cxn>
                  <a:cxn ang="0">
                    <a:pos x="51" y="98"/>
                  </a:cxn>
                  <a:cxn ang="0">
                    <a:pos x="67" y="125"/>
                  </a:cxn>
                  <a:cxn ang="0">
                    <a:pos x="84" y="157"/>
                  </a:cxn>
                  <a:cxn ang="0">
                    <a:pos x="77" y="227"/>
                  </a:cxn>
                  <a:cxn ang="0">
                    <a:pos x="88" y="252"/>
                  </a:cxn>
                  <a:cxn ang="0">
                    <a:pos x="98" y="253"/>
                  </a:cxn>
                  <a:cxn ang="0">
                    <a:pos x="99" y="244"/>
                  </a:cxn>
                  <a:cxn ang="0">
                    <a:pos x="101" y="234"/>
                  </a:cxn>
                  <a:cxn ang="0">
                    <a:pos x="108" y="228"/>
                  </a:cxn>
                  <a:cxn ang="0">
                    <a:pos x="126" y="211"/>
                  </a:cxn>
                  <a:cxn ang="0">
                    <a:pos x="128" y="195"/>
                  </a:cxn>
                  <a:cxn ang="0">
                    <a:pos x="126" y="182"/>
                  </a:cxn>
                  <a:cxn ang="0">
                    <a:pos x="127" y="172"/>
                  </a:cxn>
                  <a:cxn ang="0">
                    <a:pos x="143" y="169"/>
                  </a:cxn>
                  <a:cxn ang="0">
                    <a:pos x="142" y="180"/>
                  </a:cxn>
                  <a:cxn ang="0">
                    <a:pos x="146" y="171"/>
                  </a:cxn>
                  <a:cxn ang="0">
                    <a:pos x="155" y="176"/>
                  </a:cxn>
                  <a:cxn ang="0">
                    <a:pos x="163" y="185"/>
                  </a:cxn>
                  <a:cxn ang="0">
                    <a:pos x="171" y="172"/>
                  </a:cxn>
                  <a:cxn ang="0">
                    <a:pos x="178" y="165"/>
                  </a:cxn>
                </a:cxnLst>
                <a:rect l="0" t="0" r="r" b="b"/>
                <a:pathLst>
                  <a:path w="180" h="256">
                    <a:moveTo>
                      <a:pt x="180" y="147"/>
                    </a:moveTo>
                    <a:cubicBezTo>
                      <a:pt x="180" y="144"/>
                      <a:pt x="178" y="144"/>
                      <a:pt x="176" y="143"/>
                    </a:cubicBezTo>
                    <a:cubicBezTo>
                      <a:pt x="175" y="142"/>
                      <a:pt x="174" y="141"/>
                      <a:pt x="173" y="142"/>
                    </a:cubicBezTo>
                    <a:cubicBezTo>
                      <a:pt x="171" y="143"/>
                      <a:pt x="170" y="143"/>
                      <a:pt x="169" y="144"/>
                    </a:cubicBezTo>
                    <a:cubicBezTo>
                      <a:pt x="168" y="144"/>
                      <a:pt x="168" y="144"/>
                      <a:pt x="167" y="143"/>
                    </a:cubicBezTo>
                    <a:cubicBezTo>
                      <a:pt x="167" y="141"/>
                      <a:pt x="165" y="138"/>
                      <a:pt x="165" y="136"/>
                    </a:cubicBezTo>
                    <a:cubicBezTo>
                      <a:pt x="165" y="135"/>
                      <a:pt x="165" y="135"/>
                      <a:pt x="164" y="134"/>
                    </a:cubicBezTo>
                    <a:cubicBezTo>
                      <a:pt x="164" y="134"/>
                      <a:pt x="163" y="133"/>
                      <a:pt x="163" y="133"/>
                    </a:cubicBezTo>
                    <a:cubicBezTo>
                      <a:pt x="163" y="132"/>
                      <a:pt x="163" y="130"/>
                      <a:pt x="164" y="128"/>
                    </a:cubicBezTo>
                    <a:cubicBezTo>
                      <a:pt x="164" y="128"/>
                      <a:pt x="164" y="127"/>
                      <a:pt x="164" y="126"/>
                    </a:cubicBezTo>
                    <a:cubicBezTo>
                      <a:pt x="164" y="126"/>
                      <a:pt x="164" y="124"/>
                      <a:pt x="163" y="123"/>
                    </a:cubicBezTo>
                    <a:cubicBezTo>
                      <a:pt x="162" y="123"/>
                      <a:pt x="159" y="123"/>
                      <a:pt x="158" y="123"/>
                    </a:cubicBezTo>
                    <a:cubicBezTo>
                      <a:pt x="156" y="123"/>
                      <a:pt x="152" y="122"/>
                      <a:pt x="154" y="120"/>
                    </a:cubicBezTo>
                    <a:cubicBezTo>
                      <a:pt x="155" y="118"/>
                      <a:pt x="156" y="119"/>
                      <a:pt x="158" y="120"/>
                    </a:cubicBezTo>
                    <a:cubicBezTo>
                      <a:pt x="157" y="119"/>
                      <a:pt x="157" y="118"/>
                      <a:pt x="157" y="117"/>
                    </a:cubicBezTo>
                    <a:cubicBezTo>
                      <a:pt x="158" y="115"/>
                      <a:pt x="158" y="116"/>
                      <a:pt x="159" y="115"/>
                    </a:cubicBezTo>
                    <a:cubicBezTo>
                      <a:pt x="159" y="114"/>
                      <a:pt x="159" y="114"/>
                      <a:pt x="159" y="113"/>
                    </a:cubicBezTo>
                    <a:cubicBezTo>
                      <a:pt x="159" y="113"/>
                      <a:pt x="159" y="112"/>
                      <a:pt x="159" y="112"/>
                    </a:cubicBezTo>
                    <a:cubicBezTo>
                      <a:pt x="158" y="109"/>
                      <a:pt x="160" y="109"/>
                      <a:pt x="161" y="107"/>
                    </a:cubicBezTo>
                    <a:cubicBezTo>
                      <a:pt x="162" y="105"/>
                      <a:pt x="160" y="103"/>
                      <a:pt x="160" y="101"/>
                    </a:cubicBezTo>
                    <a:cubicBezTo>
                      <a:pt x="160" y="99"/>
                      <a:pt x="160" y="98"/>
                      <a:pt x="160" y="97"/>
                    </a:cubicBezTo>
                    <a:cubicBezTo>
                      <a:pt x="159" y="97"/>
                      <a:pt x="158" y="97"/>
                      <a:pt x="157" y="98"/>
                    </a:cubicBezTo>
                    <a:cubicBezTo>
                      <a:pt x="157" y="98"/>
                      <a:pt x="156" y="98"/>
                      <a:pt x="156" y="98"/>
                    </a:cubicBezTo>
                    <a:cubicBezTo>
                      <a:pt x="154" y="100"/>
                      <a:pt x="153" y="103"/>
                      <a:pt x="150" y="101"/>
                    </a:cubicBezTo>
                    <a:cubicBezTo>
                      <a:pt x="149" y="101"/>
                      <a:pt x="148" y="100"/>
                      <a:pt x="147" y="100"/>
                    </a:cubicBezTo>
                    <a:cubicBezTo>
                      <a:pt x="146" y="99"/>
                      <a:pt x="146" y="97"/>
                      <a:pt x="146" y="96"/>
                    </a:cubicBezTo>
                    <a:cubicBezTo>
                      <a:pt x="146" y="96"/>
                      <a:pt x="145" y="95"/>
                      <a:pt x="145" y="94"/>
                    </a:cubicBezTo>
                    <a:cubicBezTo>
                      <a:pt x="145" y="95"/>
                      <a:pt x="144" y="96"/>
                      <a:pt x="144" y="96"/>
                    </a:cubicBezTo>
                    <a:cubicBezTo>
                      <a:pt x="143" y="96"/>
                      <a:pt x="141" y="95"/>
                      <a:pt x="141" y="94"/>
                    </a:cubicBezTo>
                    <a:cubicBezTo>
                      <a:pt x="141" y="93"/>
                      <a:pt x="141" y="92"/>
                      <a:pt x="140" y="91"/>
                    </a:cubicBezTo>
                    <a:cubicBezTo>
                      <a:pt x="139" y="90"/>
                      <a:pt x="139" y="89"/>
                      <a:pt x="138" y="89"/>
                    </a:cubicBezTo>
                    <a:cubicBezTo>
                      <a:pt x="137" y="88"/>
                      <a:pt x="137" y="86"/>
                      <a:pt x="136" y="85"/>
                    </a:cubicBezTo>
                    <a:cubicBezTo>
                      <a:pt x="135" y="84"/>
                      <a:pt x="135" y="84"/>
                      <a:pt x="135" y="84"/>
                    </a:cubicBezTo>
                    <a:cubicBezTo>
                      <a:pt x="135" y="83"/>
                      <a:pt x="135" y="82"/>
                      <a:pt x="135" y="81"/>
                    </a:cubicBezTo>
                    <a:cubicBezTo>
                      <a:pt x="134" y="80"/>
                      <a:pt x="134" y="79"/>
                      <a:pt x="135" y="78"/>
                    </a:cubicBezTo>
                    <a:cubicBezTo>
                      <a:pt x="136" y="76"/>
                      <a:pt x="139" y="76"/>
                      <a:pt x="139" y="74"/>
                    </a:cubicBezTo>
                    <a:cubicBezTo>
                      <a:pt x="139" y="74"/>
                      <a:pt x="139" y="73"/>
                      <a:pt x="139" y="72"/>
                    </a:cubicBezTo>
                    <a:cubicBezTo>
                      <a:pt x="139" y="71"/>
                      <a:pt x="139" y="70"/>
                      <a:pt x="139" y="70"/>
                    </a:cubicBezTo>
                    <a:cubicBezTo>
                      <a:pt x="140" y="68"/>
                      <a:pt x="140" y="67"/>
                      <a:pt x="140" y="66"/>
                    </a:cubicBezTo>
                    <a:cubicBezTo>
                      <a:pt x="140" y="65"/>
                      <a:pt x="141" y="64"/>
                      <a:pt x="141" y="63"/>
                    </a:cubicBezTo>
                    <a:cubicBezTo>
                      <a:pt x="142" y="63"/>
                      <a:pt x="143" y="63"/>
                      <a:pt x="142" y="62"/>
                    </a:cubicBezTo>
                    <a:cubicBezTo>
                      <a:pt x="141" y="61"/>
                      <a:pt x="140" y="61"/>
                      <a:pt x="140" y="60"/>
                    </a:cubicBezTo>
                    <a:cubicBezTo>
                      <a:pt x="140" y="60"/>
                      <a:pt x="140" y="59"/>
                      <a:pt x="140" y="59"/>
                    </a:cubicBezTo>
                    <a:cubicBezTo>
                      <a:pt x="141" y="58"/>
                      <a:pt x="141" y="58"/>
                      <a:pt x="141" y="56"/>
                    </a:cubicBezTo>
                    <a:cubicBezTo>
                      <a:pt x="141" y="56"/>
                      <a:pt x="141" y="55"/>
                      <a:pt x="141" y="55"/>
                    </a:cubicBezTo>
                    <a:cubicBezTo>
                      <a:pt x="141" y="54"/>
                      <a:pt x="141" y="54"/>
                      <a:pt x="142" y="53"/>
                    </a:cubicBezTo>
                    <a:cubicBezTo>
                      <a:pt x="142" y="53"/>
                      <a:pt x="142" y="53"/>
                      <a:pt x="142" y="52"/>
                    </a:cubicBezTo>
                    <a:cubicBezTo>
                      <a:pt x="143" y="51"/>
                      <a:pt x="143" y="49"/>
                      <a:pt x="141" y="48"/>
                    </a:cubicBezTo>
                    <a:cubicBezTo>
                      <a:pt x="141" y="48"/>
                      <a:pt x="140" y="48"/>
                      <a:pt x="139" y="48"/>
                    </a:cubicBezTo>
                    <a:cubicBezTo>
                      <a:pt x="138" y="47"/>
                      <a:pt x="137" y="47"/>
                      <a:pt x="136" y="46"/>
                    </a:cubicBezTo>
                    <a:cubicBezTo>
                      <a:pt x="135" y="46"/>
                      <a:pt x="133" y="45"/>
                      <a:pt x="132" y="46"/>
                    </a:cubicBezTo>
                    <a:cubicBezTo>
                      <a:pt x="131" y="47"/>
                      <a:pt x="131" y="48"/>
                      <a:pt x="130" y="48"/>
                    </a:cubicBezTo>
                    <a:cubicBezTo>
                      <a:pt x="130" y="48"/>
                      <a:pt x="129" y="48"/>
                      <a:pt x="129" y="48"/>
                    </a:cubicBezTo>
                    <a:cubicBezTo>
                      <a:pt x="128" y="48"/>
                      <a:pt x="126" y="48"/>
                      <a:pt x="125" y="48"/>
                    </a:cubicBezTo>
                    <a:cubicBezTo>
                      <a:pt x="124" y="47"/>
                      <a:pt x="125" y="47"/>
                      <a:pt x="124" y="46"/>
                    </a:cubicBezTo>
                    <a:cubicBezTo>
                      <a:pt x="123" y="45"/>
                      <a:pt x="123" y="45"/>
                      <a:pt x="121" y="45"/>
                    </a:cubicBezTo>
                    <a:cubicBezTo>
                      <a:pt x="120" y="45"/>
                      <a:pt x="120" y="43"/>
                      <a:pt x="119" y="42"/>
                    </a:cubicBezTo>
                    <a:cubicBezTo>
                      <a:pt x="117" y="40"/>
                      <a:pt x="117" y="40"/>
                      <a:pt x="117" y="38"/>
                    </a:cubicBezTo>
                    <a:cubicBezTo>
                      <a:pt x="117" y="37"/>
                      <a:pt x="118" y="35"/>
                      <a:pt x="117" y="35"/>
                    </a:cubicBezTo>
                    <a:cubicBezTo>
                      <a:pt x="116" y="34"/>
                      <a:pt x="116" y="35"/>
                      <a:pt x="115" y="35"/>
                    </a:cubicBezTo>
                    <a:cubicBezTo>
                      <a:pt x="114" y="34"/>
                      <a:pt x="114" y="33"/>
                      <a:pt x="113" y="33"/>
                    </a:cubicBezTo>
                    <a:cubicBezTo>
                      <a:pt x="112" y="32"/>
                      <a:pt x="113" y="32"/>
                      <a:pt x="111" y="32"/>
                    </a:cubicBezTo>
                    <a:cubicBezTo>
                      <a:pt x="111" y="32"/>
                      <a:pt x="110" y="32"/>
                      <a:pt x="109" y="32"/>
                    </a:cubicBezTo>
                    <a:cubicBezTo>
                      <a:pt x="109" y="32"/>
                      <a:pt x="108" y="31"/>
                      <a:pt x="107" y="31"/>
                    </a:cubicBezTo>
                    <a:cubicBezTo>
                      <a:pt x="106" y="30"/>
                      <a:pt x="105" y="30"/>
                      <a:pt x="104" y="30"/>
                    </a:cubicBezTo>
                    <a:cubicBezTo>
                      <a:pt x="103" y="30"/>
                      <a:pt x="100" y="29"/>
                      <a:pt x="99" y="30"/>
                    </a:cubicBezTo>
                    <a:cubicBezTo>
                      <a:pt x="99" y="31"/>
                      <a:pt x="99" y="33"/>
                      <a:pt x="99" y="34"/>
                    </a:cubicBezTo>
                    <a:cubicBezTo>
                      <a:pt x="99" y="35"/>
                      <a:pt x="98" y="37"/>
                      <a:pt x="97" y="37"/>
                    </a:cubicBezTo>
                    <a:cubicBezTo>
                      <a:pt x="97" y="37"/>
                      <a:pt x="97" y="36"/>
                      <a:pt x="97" y="35"/>
                    </a:cubicBezTo>
                    <a:cubicBezTo>
                      <a:pt x="96" y="35"/>
                      <a:pt x="96" y="35"/>
                      <a:pt x="95" y="35"/>
                    </a:cubicBezTo>
                    <a:cubicBezTo>
                      <a:pt x="95" y="35"/>
                      <a:pt x="95" y="33"/>
                      <a:pt x="95" y="32"/>
                    </a:cubicBezTo>
                    <a:cubicBezTo>
                      <a:pt x="95" y="32"/>
                      <a:pt x="95" y="30"/>
                      <a:pt x="95" y="29"/>
                    </a:cubicBezTo>
                    <a:cubicBezTo>
                      <a:pt x="94" y="29"/>
                      <a:pt x="93" y="31"/>
                      <a:pt x="92" y="31"/>
                    </a:cubicBezTo>
                    <a:cubicBezTo>
                      <a:pt x="91" y="31"/>
                      <a:pt x="90" y="32"/>
                      <a:pt x="89" y="31"/>
                    </a:cubicBezTo>
                    <a:cubicBezTo>
                      <a:pt x="89" y="30"/>
                      <a:pt x="90" y="30"/>
                      <a:pt x="91" y="29"/>
                    </a:cubicBezTo>
                    <a:cubicBezTo>
                      <a:pt x="92" y="28"/>
                      <a:pt x="93" y="26"/>
                      <a:pt x="92" y="24"/>
                    </a:cubicBezTo>
                    <a:cubicBezTo>
                      <a:pt x="91" y="22"/>
                      <a:pt x="90" y="23"/>
                      <a:pt x="88" y="23"/>
                    </a:cubicBezTo>
                    <a:cubicBezTo>
                      <a:pt x="87" y="24"/>
                      <a:pt x="86" y="23"/>
                      <a:pt x="84" y="23"/>
                    </a:cubicBezTo>
                    <a:cubicBezTo>
                      <a:pt x="84" y="24"/>
                      <a:pt x="83" y="24"/>
                      <a:pt x="83" y="25"/>
                    </a:cubicBezTo>
                    <a:cubicBezTo>
                      <a:pt x="82" y="25"/>
                      <a:pt x="80" y="24"/>
                      <a:pt x="80" y="23"/>
                    </a:cubicBezTo>
                    <a:cubicBezTo>
                      <a:pt x="79" y="22"/>
                      <a:pt x="80" y="22"/>
                      <a:pt x="79" y="21"/>
                    </a:cubicBezTo>
                    <a:cubicBezTo>
                      <a:pt x="77" y="21"/>
                      <a:pt x="77" y="22"/>
                      <a:pt x="77" y="20"/>
                    </a:cubicBezTo>
                    <a:cubicBezTo>
                      <a:pt x="77" y="20"/>
                      <a:pt x="77" y="19"/>
                      <a:pt x="77" y="19"/>
                    </a:cubicBezTo>
                    <a:cubicBezTo>
                      <a:pt x="77" y="18"/>
                      <a:pt x="76" y="18"/>
                      <a:pt x="75" y="18"/>
                    </a:cubicBezTo>
                    <a:cubicBezTo>
                      <a:pt x="73" y="17"/>
                      <a:pt x="71" y="14"/>
                      <a:pt x="69" y="13"/>
                    </a:cubicBezTo>
                    <a:cubicBezTo>
                      <a:pt x="68" y="12"/>
                      <a:pt x="66" y="12"/>
                      <a:pt x="64" y="11"/>
                    </a:cubicBezTo>
                    <a:cubicBezTo>
                      <a:pt x="63" y="10"/>
                      <a:pt x="62" y="9"/>
                      <a:pt x="61" y="8"/>
                    </a:cubicBezTo>
                    <a:cubicBezTo>
                      <a:pt x="61" y="8"/>
                      <a:pt x="60" y="8"/>
                      <a:pt x="60" y="7"/>
                    </a:cubicBezTo>
                    <a:cubicBezTo>
                      <a:pt x="58" y="6"/>
                      <a:pt x="59" y="6"/>
                      <a:pt x="57" y="6"/>
                    </a:cubicBezTo>
                    <a:cubicBezTo>
                      <a:pt x="56" y="6"/>
                      <a:pt x="54" y="6"/>
                      <a:pt x="54" y="5"/>
                    </a:cubicBezTo>
                    <a:cubicBezTo>
                      <a:pt x="53" y="5"/>
                      <a:pt x="51" y="0"/>
                      <a:pt x="49" y="2"/>
                    </a:cubicBezTo>
                    <a:cubicBezTo>
                      <a:pt x="48" y="2"/>
                      <a:pt x="48" y="4"/>
                      <a:pt x="48" y="4"/>
                    </a:cubicBezTo>
                    <a:cubicBezTo>
                      <a:pt x="48" y="7"/>
                      <a:pt x="45" y="9"/>
                      <a:pt x="42" y="10"/>
                    </a:cubicBezTo>
                    <a:cubicBezTo>
                      <a:pt x="41" y="10"/>
                      <a:pt x="40" y="10"/>
                      <a:pt x="39" y="9"/>
                    </a:cubicBezTo>
                    <a:cubicBezTo>
                      <a:pt x="38" y="8"/>
                      <a:pt x="38" y="7"/>
                      <a:pt x="37" y="7"/>
                    </a:cubicBezTo>
                    <a:cubicBezTo>
                      <a:pt x="37" y="6"/>
                      <a:pt x="36" y="5"/>
                      <a:pt x="36" y="6"/>
                    </a:cubicBezTo>
                    <a:cubicBezTo>
                      <a:pt x="35" y="6"/>
                      <a:pt x="35" y="7"/>
                      <a:pt x="35" y="8"/>
                    </a:cubicBezTo>
                    <a:cubicBezTo>
                      <a:pt x="34" y="9"/>
                      <a:pt x="33" y="9"/>
                      <a:pt x="32" y="10"/>
                    </a:cubicBezTo>
                    <a:cubicBezTo>
                      <a:pt x="31" y="11"/>
                      <a:pt x="28" y="12"/>
                      <a:pt x="26" y="12"/>
                    </a:cubicBezTo>
                    <a:cubicBezTo>
                      <a:pt x="25" y="12"/>
                      <a:pt x="25" y="12"/>
                      <a:pt x="25" y="11"/>
                    </a:cubicBezTo>
                    <a:cubicBezTo>
                      <a:pt x="24" y="9"/>
                      <a:pt x="23" y="8"/>
                      <a:pt x="21" y="8"/>
                    </a:cubicBezTo>
                    <a:cubicBezTo>
                      <a:pt x="19" y="7"/>
                      <a:pt x="19" y="7"/>
                      <a:pt x="19" y="9"/>
                    </a:cubicBezTo>
                    <a:cubicBezTo>
                      <a:pt x="18" y="11"/>
                      <a:pt x="18" y="12"/>
                      <a:pt x="15" y="13"/>
                    </a:cubicBezTo>
                    <a:cubicBezTo>
                      <a:pt x="14" y="14"/>
                      <a:pt x="13" y="14"/>
                      <a:pt x="12" y="13"/>
                    </a:cubicBezTo>
                    <a:cubicBezTo>
                      <a:pt x="12" y="12"/>
                      <a:pt x="12" y="11"/>
                      <a:pt x="11" y="11"/>
                    </a:cubicBezTo>
                    <a:cubicBezTo>
                      <a:pt x="10" y="10"/>
                      <a:pt x="9" y="11"/>
                      <a:pt x="8" y="10"/>
                    </a:cubicBezTo>
                    <a:cubicBezTo>
                      <a:pt x="6" y="10"/>
                      <a:pt x="7" y="7"/>
                      <a:pt x="6" y="7"/>
                    </a:cubicBezTo>
                    <a:cubicBezTo>
                      <a:pt x="5" y="7"/>
                      <a:pt x="4" y="7"/>
                      <a:pt x="4" y="7"/>
                    </a:cubicBezTo>
                    <a:cubicBezTo>
                      <a:pt x="2" y="8"/>
                      <a:pt x="1" y="8"/>
                      <a:pt x="1" y="10"/>
                    </a:cubicBezTo>
                    <a:cubicBezTo>
                      <a:pt x="1" y="11"/>
                      <a:pt x="1" y="12"/>
                      <a:pt x="1" y="13"/>
                    </a:cubicBezTo>
                    <a:cubicBezTo>
                      <a:pt x="1" y="14"/>
                      <a:pt x="2" y="14"/>
                      <a:pt x="2" y="15"/>
                    </a:cubicBezTo>
                    <a:cubicBezTo>
                      <a:pt x="2" y="16"/>
                      <a:pt x="2" y="17"/>
                      <a:pt x="2" y="18"/>
                    </a:cubicBezTo>
                    <a:cubicBezTo>
                      <a:pt x="1" y="19"/>
                      <a:pt x="1" y="19"/>
                      <a:pt x="0" y="20"/>
                    </a:cubicBezTo>
                    <a:cubicBezTo>
                      <a:pt x="0" y="20"/>
                      <a:pt x="0" y="20"/>
                      <a:pt x="0" y="21"/>
                    </a:cubicBezTo>
                    <a:cubicBezTo>
                      <a:pt x="1" y="21"/>
                      <a:pt x="2" y="21"/>
                      <a:pt x="3" y="21"/>
                    </a:cubicBezTo>
                    <a:cubicBezTo>
                      <a:pt x="7" y="23"/>
                      <a:pt x="8" y="29"/>
                      <a:pt x="11" y="33"/>
                    </a:cubicBezTo>
                    <a:cubicBezTo>
                      <a:pt x="13" y="36"/>
                      <a:pt x="15" y="38"/>
                      <a:pt x="18" y="41"/>
                    </a:cubicBezTo>
                    <a:cubicBezTo>
                      <a:pt x="20" y="45"/>
                      <a:pt x="24" y="46"/>
                      <a:pt x="25" y="51"/>
                    </a:cubicBezTo>
                    <a:cubicBezTo>
                      <a:pt x="26" y="53"/>
                      <a:pt x="26" y="55"/>
                      <a:pt x="27" y="56"/>
                    </a:cubicBezTo>
                    <a:cubicBezTo>
                      <a:pt x="29" y="59"/>
                      <a:pt x="32" y="61"/>
                      <a:pt x="34" y="65"/>
                    </a:cubicBezTo>
                    <a:cubicBezTo>
                      <a:pt x="36" y="68"/>
                      <a:pt x="36" y="72"/>
                      <a:pt x="36" y="76"/>
                    </a:cubicBezTo>
                    <a:cubicBezTo>
                      <a:pt x="36" y="77"/>
                      <a:pt x="35" y="78"/>
                      <a:pt x="36" y="79"/>
                    </a:cubicBezTo>
                    <a:cubicBezTo>
                      <a:pt x="36" y="81"/>
                      <a:pt x="37" y="81"/>
                      <a:pt x="37" y="82"/>
                    </a:cubicBezTo>
                    <a:cubicBezTo>
                      <a:pt x="38" y="83"/>
                      <a:pt x="37" y="84"/>
                      <a:pt x="38" y="84"/>
                    </a:cubicBezTo>
                    <a:cubicBezTo>
                      <a:pt x="39" y="85"/>
                      <a:pt x="40" y="85"/>
                      <a:pt x="40" y="86"/>
                    </a:cubicBezTo>
                    <a:cubicBezTo>
                      <a:pt x="41" y="86"/>
                      <a:pt x="40" y="87"/>
                      <a:pt x="40" y="87"/>
                    </a:cubicBezTo>
                    <a:cubicBezTo>
                      <a:pt x="42" y="89"/>
                      <a:pt x="45" y="89"/>
                      <a:pt x="47" y="91"/>
                    </a:cubicBezTo>
                    <a:cubicBezTo>
                      <a:pt x="49" y="92"/>
                      <a:pt x="49" y="96"/>
                      <a:pt x="51" y="98"/>
                    </a:cubicBezTo>
                    <a:cubicBezTo>
                      <a:pt x="52" y="100"/>
                      <a:pt x="53" y="102"/>
                      <a:pt x="54" y="103"/>
                    </a:cubicBezTo>
                    <a:cubicBezTo>
                      <a:pt x="55" y="104"/>
                      <a:pt x="57" y="105"/>
                      <a:pt x="58" y="106"/>
                    </a:cubicBezTo>
                    <a:cubicBezTo>
                      <a:pt x="60" y="109"/>
                      <a:pt x="60" y="110"/>
                      <a:pt x="62" y="111"/>
                    </a:cubicBezTo>
                    <a:cubicBezTo>
                      <a:pt x="65" y="115"/>
                      <a:pt x="66" y="120"/>
                      <a:pt x="67" y="125"/>
                    </a:cubicBezTo>
                    <a:cubicBezTo>
                      <a:pt x="67" y="128"/>
                      <a:pt x="66" y="131"/>
                      <a:pt x="68" y="134"/>
                    </a:cubicBezTo>
                    <a:cubicBezTo>
                      <a:pt x="70" y="138"/>
                      <a:pt x="73" y="140"/>
                      <a:pt x="77" y="140"/>
                    </a:cubicBezTo>
                    <a:cubicBezTo>
                      <a:pt x="80" y="140"/>
                      <a:pt x="78" y="144"/>
                      <a:pt x="80" y="147"/>
                    </a:cubicBezTo>
                    <a:cubicBezTo>
                      <a:pt x="80" y="149"/>
                      <a:pt x="84" y="155"/>
                      <a:pt x="84" y="157"/>
                    </a:cubicBezTo>
                    <a:cubicBezTo>
                      <a:pt x="84" y="160"/>
                      <a:pt x="82" y="165"/>
                      <a:pt x="83" y="167"/>
                    </a:cubicBezTo>
                    <a:cubicBezTo>
                      <a:pt x="85" y="170"/>
                      <a:pt x="84" y="178"/>
                      <a:pt x="83" y="180"/>
                    </a:cubicBezTo>
                    <a:cubicBezTo>
                      <a:pt x="79" y="190"/>
                      <a:pt x="77" y="194"/>
                      <a:pt x="76" y="204"/>
                    </a:cubicBezTo>
                    <a:cubicBezTo>
                      <a:pt x="76" y="210"/>
                      <a:pt x="75" y="223"/>
                      <a:pt x="77" y="227"/>
                    </a:cubicBezTo>
                    <a:cubicBezTo>
                      <a:pt x="79" y="230"/>
                      <a:pt x="79" y="238"/>
                      <a:pt x="78" y="242"/>
                    </a:cubicBezTo>
                    <a:cubicBezTo>
                      <a:pt x="75" y="249"/>
                      <a:pt x="78" y="252"/>
                      <a:pt x="82" y="256"/>
                    </a:cubicBezTo>
                    <a:cubicBezTo>
                      <a:pt x="83" y="256"/>
                      <a:pt x="84" y="255"/>
                      <a:pt x="85" y="254"/>
                    </a:cubicBezTo>
                    <a:cubicBezTo>
                      <a:pt x="86" y="253"/>
                      <a:pt x="87" y="252"/>
                      <a:pt x="88" y="252"/>
                    </a:cubicBezTo>
                    <a:cubicBezTo>
                      <a:pt x="91" y="249"/>
                      <a:pt x="91" y="256"/>
                      <a:pt x="94" y="256"/>
                    </a:cubicBezTo>
                    <a:cubicBezTo>
                      <a:pt x="95" y="256"/>
                      <a:pt x="95" y="256"/>
                      <a:pt x="96" y="255"/>
                    </a:cubicBezTo>
                    <a:cubicBezTo>
                      <a:pt x="96" y="255"/>
                      <a:pt x="96" y="254"/>
                      <a:pt x="97" y="254"/>
                    </a:cubicBezTo>
                    <a:cubicBezTo>
                      <a:pt x="97" y="253"/>
                      <a:pt x="98" y="253"/>
                      <a:pt x="98" y="253"/>
                    </a:cubicBezTo>
                    <a:cubicBezTo>
                      <a:pt x="98" y="252"/>
                      <a:pt x="98" y="251"/>
                      <a:pt x="98" y="250"/>
                    </a:cubicBezTo>
                    <a:cubicBezTo>
                      <a:pt x="98" y="250"/>
                      <a:pt x="98" y="249"/>
                      <a:pt x="99" y="248"/>
                    </a:cubicBezTo>
                    <a:cubicBezTo>
                      <a:pt x="99" y="247"/>
                      <a:pt x="99" y="246"/>
                      <a:pt x="99" y="245"/>
                    </a:cubicBezTo>
                    <a:cubicBezTo>
                      <a:pt x="99" y="245"/>
                      <a:pt x="99" y="244"/>
                      <a:pt x="99" y="244"/>
                    </a:cubicBezTo>
                    <a:cubicBezTo>
                      <a:pt x="99" y="244"/>
                      <a:pt x="100" y="243"/>
                      <a:pt x="100" y="243"/>
                    </a:cubicBezTo>
                    <a:cubicBezTo>
                      <a:pt x="101" y="241"/>
                      <a:pt x="99" y="240"/>
                      <a:pt x="99" y="238"/>
                    </a:cubicBezTo>
                    <a:cubicBezTo>
                      <a:pt x="99" y="237"/>
                      <a:pt x="99" y="236"/>
                      <a:pt x="99" y="235"/>
                    </a:cubicBezTo>
                    <a:cubicBezTo>
                      <a:pt x="99" y="234"/>
                      <a:pt x="100" y="234"/>
                      <a:pt x="101" y="234"/>
                    </a:cubicBezTo>
                    <a:cubicBezTo>
                      <a:pt x="102" y="233"/>
                      <a:pt x="102" y="233"/>
                      <a:pt x="102" y="232"/>
                    </a:cubicBezTo>
                    <a:cubicBezTo>
                      <a:pt x="102" y="231"/>
                      <a:pt x="103" y="230"/>
                      <a:pt x="104" y="230"/>
                    </a:cubicBezTo>
                    <a:cubicBezTo>
                      <a:pt x="104" y="229"/>
                      <a:pt x="105" y="229"/>
                      <a:pt x="106" y="228"/>
                    </a:cubicBezTo>
                    <a:cubicBezTo>
                      <a:pt x="107" y="228"/>
                      <a:pt x="107" y="228"/>
                      <a:pt x="108" y="228"/>
                    </a:cubicBezTo>
                    <a:cubicBezTo>
                      <a:pt x="109" y="228"/>
                      <a:pt x="110" y="227"/>
                      <a:pt x="111" y="227"/>
                    </a:cubicBezTo>
                    <a:cubicBezTo>
                      <a:pt x="113" y="225"/>
                      <a:pt x="112" y="223"/>
                      <a:pt x="111" y="221"/>
                    </a:cubicBezTo>
                    <a:cubicBezTo>
                      <a:pt x="110" y="219"/>
                      <a:pt x="113" y="217"/>
                      <a:pt x="115" y="216"/>
                    </a:cubicBezTo>
                    <a:cubicBezTo>
                      <a:pt x="118" y="214"/>
                      <a:pt x="122" y="213"/>
                      <a:pt x="126" y="211"/>
                    </a:cubicBezTo>
                    <a:cubicBezTo>
                      <a:pt x="127" y="210"/>
                      <a:pt x="128" y="210"/>
                      <a:pt x="128" y="209"/>
                    </a:cubicBezTo>
                    <a:cubicBezTo>
                      <a:pt x="128" y="208"/>
                      <a:pt x="127" y="207"/>
                      <a:pt x="126" y="206"/>
                    </a:cubicBezTo>
                    <a:cubicBezTo>
                      <a:pt x="125" y="204"/>
                      <a:pt x="127" y="202"/>
                      <a:pt x="128" y="200"/>
                    </a:cubicBezTo>
                    <a:cubicBezTo>
                      <a:pt x="129" y="198"/>
                      <a:pt x="129" y="197"/>
                      <a:pt x="128" y="195"/>
                    </a:cubicBezTo>
                    <a:cubicBezTo>
                      <a:pt x="128" y="194"/>
                      <a:pt x="128" y="194"/>
                      <a:pt x="127" y="193"/>
                    </a:cubicBezTo>
                    <a:cubicBezTo>
                      <a:pt x="126" y="193"/>
                      <a:pt x="124" y="194"/>
                      <a:pt x="124" y="193"/>
                    </a:cubicBezTo>
                    <a:cubicBezTo>
                      <a:pt x="123" y="192"/>
                      <a:pt x="125" y="189"/>
                      <a:pt x="125" y="188"/>
                    </a:cubicBezTo>
                    <a:cubicBezTo>
                      <a:pt x="126" y="186"/>
                      <a:pt x="126" y="184"/>
                      <a:pt x="126" y="182"/>
                    </a:cubicBezTo>
                    <a:cubicBezTo>
                      <a:pt x="126" y="181"/>
                      <a:pt x="127" y="180"/>
                      <a:pt x="127" y="179"/>
                    </a:cubicBezTo>
                    <a:cubicBezTo>
                      <a:pt x="126" y="177"/>
                      <a:pt x="125" y="178"/>
                      <a:pt x="124" y="177"/>
                    </a:cubicBezTo>
                    <a:cubicBezTo>
                      <a:pt x="124" y="176"/>
                      <a:pt x="125" y="174"/>
                      <a:pt x="125" y="174"/>
                    </a:cubicBezTo>
                    <a:cubicBezTo>
                      <a:pt x="126" y="172"/>
                      <a:pt x="126" y="172"/>
                      <a:pt x="127" y="172"/>
                    </a:cubicBezTo>
                    <a:cubicBezTo>
                      <a:pt x="129" y="171"/>
                      <a:pt x="130" y="170"/>
                      <a:pt x="131" y="170"/>
                    </a:cubicBezTo>
                    <a:cubicBezTo>
                      <a:pt x="132" y="170"/>
                      <a:pt x="133" y="170"/>
                      <a:pt x="134" y="169"/>
                    </a:cubicBezTo>
                    <a:cubicBezTo>
                      <a:pt x="135" y="169"/>
                      <a:pt x="134" y="169"/>
                      <a:pt x="135" y="168"/>
                    </a:cubicBezTo>
                    <a:cubicBezTo>
                      <a:pt x="137" y="166"/>
                      <a:pt x="143" y="164"/>
                      <a:pt x="143" y="169"/>
                    </a:cubicBezTo>
                    <a:cubicBezTo>
                      <a:pt x="143" y="171"/>
                      <a:pt x="142" y="172"/>
                      <a:pt x="141" y="174"/>
                    </a:cubicBezTo>
                    <a:cubicBezTo>
                      <a:pt x="139" y="176"/>
                      <a:pt x="139" y="177"/>
                      <a:pt x="139" y="179"/>
                    </a:cubicBezTo>
                    <a:cubicBezTo>
                      <a:pt x="140" y="180"/>
                      <a:pt x="140" y="183"/>
                      <a:pt x="141" y="182"/>
                    </a:cubicBezTo>
                    <a:cubicBezTo>
                      <a:pt x="142" y="181"/>
                      <a:pt x="142" y="180"/>
                      <a:pt x="142" y="180"/>
                    </a:cubicBezTo>
                    <a:cubicBezTo>
                      <a:pt x="142" y="179"/>
                      <a:pt x="143" y="179"/>
                      <a:pt x="143" y="178"/>
                    </a:cubicBezTo>
                    <a:cubicBezTo>
                      <a:pt x="144" y="177"/>
                      <a:pt x="144" y="176"/>
                      <a:pt x="144" y="175"/>
                    </a:cubicBezTo>
                    <a:cubicBezTo>
                      <a:pt x="144" y="172"/>
                      <a:pt x="145" y="169"/>
                      <a:pt x="146" y="168"/>
                    </a:cubicBezTo>
                    <a:cubicBezTo>
                      <a:pt x="147" y="169"/>
                      <a:pt x="146" y="170"/>
                      <a:pt x="146" y="171"/>
                    </a:cubicBezTo>
                    <a:cubicBezTo>
                      <a:pt x="146" y="172"/>
                      <a:pt x="147" y="176"/>
                      <a:pt x="148" y="177"/>
                    </a:cubicBezTo>
                    <a:cubicBezTo>
                      <a:pt x="149" y="176"/>
                      <a:pt x="151" y="171"/>
                      <a:pt x="154" y="172"/>
                    </a:cubicBezTo>
                    <a:cubicBezTo>
                      <a:pt x="155" y="172"/>
                      <a:pt x="155" y="173"/>
                      <a:pt x="155" y="174"/>
                    </a:cubicBezTo>
                    <a:cubicBezTo>
                      <a:pt x="155" y="175"/>
                      <a:pt x="155" y="175"/>
                      <a:pt x="155" y="176"/>
                    </a:cubicBezTo>
                    <a:cubicBezTo>
                      <a:pt x="156" y="176"/>
                      <a:pt x="157" y="177"/>
                      <a:pt x="158" y="177"/>
                    </a:cubicBezTo>
                    <a:cubicBezTo>
                      <a:pt x="158" y="178"/>
                      <a:pt x="159" y="179"/>
                      <a:pt x="159" y="180"/>
                    </a:cubicBezTo>
                    <a:cubicBezTo>
                      <a:pt x="159" y="180"/>
                      <a:pt x="160" y="181"/>
                      <a:pt x="160" y="182"/>
                    </a:cubicBezTo>
                    <a:cubicBezTo>
                      <a:pt x="161" y="183"/>
                      <a:pt x="162" y="184"/>
                      <a:pt x="163" y="185"/>
                    </a:cubicBezTo>
                    <a:cubicBezTo>
                      <a:pt x="163" y="185"/>
                      <a:pt x="165" y="185"/>
                      <a:pt x="166" y="185"/>
                    </a:cubicBezTo>
                    <a:cubicBezTo>
                      <a:pt x="166" y="182"/>
                      <a:pt x="166" y="180"/>
                      <a:pt x="168" y="178"/>
                    </a:cubicBezTo>
                    <a:cubicBezTo>
                      <a:pt x="169" y="177"/>
                      <a:pt x="170" y="176"/>
                      <a:pt x="170" y="175"/>
                    </a:cubicBezTo>
                    <a:cubicBezTo>
                      <a:pt x="171" y="174"/>
                      <a:pt x="170" y="173"/>
                      <a:pt x="171" y="172"/>
                    </a:cubicBezTo>
                    <a:cubicBezTo>
                      <a:pt x="172" y="171"/>
                      <a:pt x="172" y="171"/>
                      <a:pt x="173" y="170"/>
                    </a:cubicBezTo>
                    <a:cubicBezTo>
                      <a:pt x="173" y="170"/>
                      <a:pt x="173" y="169"/>
                      <a:pt x="173" y="168"/>
                    </a:cubicBezTo>
                    <a:cubicBezTo>
                      <a:pt x="175" y="167"/>
                      <a:pt x="176" y="169"/>
                      <a:pt x="178" y="168"/>
                    </a:cubicBezTo>
                    <a:cubicBezTo>
                      <a:pt x="179" y="167"/>
                      <a:pt x="178" y="166"/>
                      <a:pt x="178" y="165"/>
                    </a:cubicBezTo>
                    <a:cubicBezTo>
                      <a:pt x="178" y="163"/>
                      <a:pt x="179" y="161"/>
                      <a:pt x="179" y="160"/>
                    </a:cubicBezTo>
                    <a:cubicBezTo>
                      <a:pt x="180" y="156"/>
                      <a:pt x="180" y="151"/>
                      <a:pt x="180" y="147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20" name="Freeform 36">
                <a:extLst>
                  <a:ext uri="{FF2B5EF4-FFF2-40B4-BE49-F238E27FC236}">
                    <a16:creationId xmlns:a16="http://schemas.microsoft.com/office/drawing/2014/main" id="{B78B7CA0-9C47-4E9A-946B-6EE6D6CB9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0050" y="3663950"/>
                <a:ext cx="346075" cy="179388"/>
              </a:xfrm>
              <a:custGeom>
                <a:avLst/>
                <a:gdLst/>
                <a:ahLst/>
                <a:cxnLst>
                  <a:cxn ang="0">
                    <a:pos x="184" y="94"/>
                  </a:cxn>
                  <a:cxn ang="0">
                    <a:pos x="182" y="91"/>
                  </a:cxn>
                  <a:cxn ang="0">
                    <a:pos x="175" y="87"/>
                  </a:cxn>
                  <a:cxn ang="0">
                    <a:pos x="163" y="83"/>
                  </a:cxn>
                  <a:cxn ang="0">
                    <a:pos x="161" y="81"/>
                  </a:cxn>
                  <a:cxn ang="0">
                    <a:pos x="160" y="75"/>
                  </a:cxn>
                  <a:cxn ang="0">
                    <a:pos x="163" y="61"/>
                  </a:cxn>
                  <a:cxn ang="0">
                    <a:pos x="171" y="47"/>
                  </a:cxn>
                  <a:cxn ang="0">
                    <a:pos x="169" y="38"/>
                  </a:cxn>
                  <a:cxn ang="0">
                    <a:pos x="163" y="31"/>
                  </a:cxn>
                  <a:cxn ang="0">
                    <a:pos x="158" y="23"/>
                  </a:cxn>
                  <a:cxn ang="0">
                    <a:pos x="151" y="22"/>
                  </a:cxn>
                  <a:cxn ang="0">
                    <a:pos x="139" y="20"/>
                  </a:cxn>
                  <a:cxn ang="0">
                    <a:pos x="132" y="22"/>
                  </a:cxn>
                  <a:cxn ang="0">
                    <a:pos x="127" y="22"/>
                  </a:cxn>
                  <a:cxn ang="0">
                    <a:pos x="122" y="20"/>
                  </a:cxn>
                  <a:cxn ang="0">
                    <a:pos x="115" y="17"/>
                  </a:cxn>
                  <a:cxn ang="0">
                    <a:pos x="110" y="15"/>
                  </a:cxn>
                  <a:cxn ang="0">
                    <a:pos x="101" y="12"/>
                  </a:cxn>
                  <a:cxn ang="0">
                    <a:pos x="90" y="1"/>
                  </a:cxn>
                  <a:cxn ang="0">
                    <a:pos x="82" y="3"/>
                  </a:cxn>
                  <a:cxn ang="0">
                    <a:pos x="83" y="9"/>
                  </a:cxn>
                  <a:cxn ang="0">
                    <a:pos x="76" y="12"/>
                  </a:cxn>
                  <a:cxn ang="0">
                    <a:pos x="76" y="20"/>
                  </a:cxn>
                  <a:cxn ang="0">
                    <a:pos x="76" y="36"/>
                  </a:cxn>
                  <a:cxn ang="0">
                    <a:pos x="74" y="40"/>
                  </a:cxn>
                  <a:cxn ang="0">
                    <a:pos x="62" y="33"/>
                  </a:cxn>
                  <a:cxn ang="0">
                    <a:pos x="48" y="39"/>
                  </a:cxn>
                  <a:cxn ang="0">
                    <a:pos x="33" y="45"/>
                  </a:cxn>
                  <a:cxn ang="0">
                    <a:pos x="14" y="52"/>
                  </a:cxn>
                  <a:cxn ang="0">
                    <a:pos x="28" y="56"/>
                  </a:cxn>
                  <a:cxn ang="0">
                    <a:pos x="28" y="62"/>
                  </a:cxn>
                  <a:cxn ang="0">
                    <a:pos x="22" y="65"/>
                  </a:cxn>
                  <a:cxn ang="0">
                    <a:pos x="15" y="66"/>
                  </a:cxn>
                  <a:cxn ang="0">
                    <a:pos x="11" y="71"/>
                  </a:cxn>
                  <a:cxn ang="0">
                    <a:pos x="0" y="78"/>
                  </a:cxn>
                  <a:cxn ang="0">
                    <a:pos x="2" y="84"/>
                  </a:cxn>
                  <a:cxn ang="0">
                    <a:pos x="6" y="83"/>
                  </a:cxn>
                  <a:cxn ang="0">
                    <a:pos x="76" y="88"/>
                  </a:cxn>
                  <a:cxn ang="0">
                    <a:pos x="137" y="89"/>
                  </a:cxn>
                  <a:cxn ang="0">
                    <a:pos x="164" y="89"/>
                  </a:cxn>
                  <a:cxn ang="0">
                    <a:pos x="184" y="96"/>
                  </a:cxn>
                </a:cxnLst>
                <a:rect l="0" t="0" r="r" b="b"/>
                <a:pathLst>
                  <a:path w="185" h="96">
                    <a:moveTo>
                      <a:pt x="185" y="96"/>
                    </a:moveTo>
                    <a:cubicBezTo>
                      <a:pt x="185" y="96"/>
                      <a:pt x="184" y="95"/>
                      <a:pt x="184" y="94"/>
                    </a:cubicBezTo>
                    <a:cubicBezTo>
                      <a:pt x="183" y="94"/>
                      <a:pt x="184" y="93"/>
                      <a:pt x="183" y="92"/>
                    </a:cubicBezTo>
                    <a:cubicBezTo>
                      <a:pt x="183" y="92"/>
                      <a:pt x="182" y="91"/>
                      <a:pt x="182" y="91"/>
                    </a:cubicBezTo>
                    <a:cubicBezTo>
                      <a:pt x="181" y="90"/>
                      <a:pt x="180" y="89"/>
                      <a:pt x="179" y="88"/>
                    </a:cubicBezTo>
                    <a:cubicBezTo>
                      <a:pt x="178" y="87"/>
                      <a:pt x="177" y="87"/>
                      <a:pt x="175" y="87"/>
                    </a:cubicBezTo>
                    <a:cubicBezTo>
                      <a:pt x="173" y="87"/>
                      <a:pt x="171" y="86"/>
                      <a:pt x="169" y="85"/>
                    </a:cubicBezTo>
                    <a:cubicBezTo>
                      <a:pt x="167" y="85"/>
                      <a:pt x="165" y="84"/>
                      <a:pt x="163" y="83"/>
                    </a:cubicBezTo>
                    <a:cubicBezTo>
                      <a:pt x="163" y="82"/>
                      <a:pt x="163" y="82"/>
                      <a:pt x="162" y="82"/>
                    </a:cubicBezTo>
                    <a:cubicBezTo>
                      <a:pt x="162" y="81"/>
                      <a:pt x="161" y="81"/>
                      <a:pt x="161" y="81"/>
                    </a:cubicBezTo>
                    <a:cubicBezTo>
                      <a:pt x="160" y="81"/>
                      <a:pt x="160" y="81"/>
                      <a:pt x="160" y="80"/>
                    </a:cubicBezTo>
                    <a:cubicBezTo>
                      <a:pt x="160" y="78"/>
                      <a:pt x="160" y="76"/>
                      <a:pt x="160" y="75"/>
                    </a:cubicBezTo>
                    <a:cubicBezTo>
                      <a:pt x="160" y="73"/>
                      <a:pt x="161" y="72"/>
                      <a:pt x="161" y="71"/>
                    </a:cubicBezTo>
                    <a:cubicBezTo>
                      <a:pt x="161" y="67"/>
                      <a:pt x="162" y="64"/>
                      <a:pt x="163" y="61"/>
                    </a:cubicBezTo>
                    <a:cubicBezTo>
                      <a:pt x="163" y="58"/>
                      <a:pt x="163" y="57"/>
                      <a:pt x="165" y="55"/>
                    </a:cubicBezTo>
                    <a:cubicBezTo>
                      <a:pt x="167" y="53"/>
                      <a:pt x="169" y="50"/>
                      <a:pt x="171" y="47"/>
                    </a:cubicBezTo>
                    <a:cubicBezTo>
                      <a:pt x="172" y="47"/>
                      <a:pt x="172" y="46"/>
                      <a:pt x="172" y="45"/>
                    </a:cubicBezTo>
                    <a:cubicBezTo>
                      <a:pt x="172" y="42"/>
                      <a:pt x="169" y="40"/>
                      <a:pt x="169" y="38"/>
                    </a:cubicBezTo>
                    <a:cubicBezTo>
                      <a:pt x="168" y="37"/>
                      <a:pt x="168" y="35"/>
                      <a:pt x="167" y="33"/>
                    </a:cubicBezTo>
                    <a:cubicBezTo>
                      <a:pt x="166" y="32"/>
                      <a:pt x="164" y="32"/>
                      <a:pt x="163" y="31"/>
                    </a:cubicBezTo>
                    <a:cubicBezTo>
                      <a:pt x="162" y="30"/>
                      <a:pt x="159" y="28"/>
                      <a:pt x="159" y="27"/>
                    </a:cubicBezTo>
                    <a:cubicBezTo>
                      <a:pt x="158" y="26"/>
                      <a:pt x="159" y="25"/>
                      <a:pt x="158" y="23"/>
                    </a:cubicBezTo>
                    <a:cubicBezTo>
                      <a:pt x="157" y="22"/>
                      <a:pt x="155" y="20"/>
                      <a:pt x="154" y="20"/>
                    </a:cubicBezTo>
                    <a:cubicBezTo>
                      <a:pt x="152" y="20"/>
                      <a:pt x="152" y="21"/>
                      <a:pt x="151" y="22"/>
                    </a:cubicBezTo>
                    <a:cubicBezTo>
                      <a:pt x="150" y="22"/>
                      <a:pt x="149" y="22"/>
                      <a:pt x="148" y="22"/>
                    </a:cubicBezTo>
                    <a:cubicBezTo>
                      <a:pt x="144" y="22"/>
                      <a:pt x="142" y="21"/>
                      <a:pt x="139" y="20"/>
                    </a:cubicBezTo>
                    <a:cubicBezTo>
                      <a:pt x="137" y="19"/>
                      <a:pt x="136" y="19"/>
                      <a:pt x="134" y="20"/>
                    </a:cubicBezTo>
                    <a:cubicBezTo>
                      <a:pt x="133" y="21"/>
                      <a:pt x="132" y="22"/>
                      <a:pt x="132" y="22"/>
                    </a:cubicBezTo>
                    <a:cubicBezTo>
                      <a:pt x="131" y="23"/>
                      <a:pt x="132" y="24"/>
                      <a:pt x="130" y="24"/>
                    </a:cubicBezTo>
                    <a:cubicBezTo>
                      <a:pt x="129" y="24"/>
                      <a:pt x="128" y="22"/>
                      <a:pt x="127" y="22"/>
                    </a:cubicBezTo>
                    <a:cubicBezTo>
                      <a:pt x="126" y="21"/>
                      <a:pt x="125" y="18"/>
                      <a:pt x="124" y="19"/>
                    </a:cubicBezTo>
                    <a:cubicBezTo>
                      <a:pt x="123" y="19"/>
                      <a:pt x="123" y="20"/>
                      <a:pt x="122" y="20"/>
                    </a:cubicBezTo>
                    <a:cubicBezTo>
                      <a:pt x="121" y="20"/>
                      <a:pt x="121" y="19"/>
                      <a:pt x="120" y="18"/>
                    </a:cubicBezTo>
                    <a:cubicBezTo>
                      <a:pt x="119" y="17"/>
                      <a:pt x="116" y="18"/>
                      <a:pt x="115" y="17"/>
                    </a:cubicBezTo>
                    <a:cubicBezTo>
                      <a:pt x="114" y="17"/>
                      <a:pt x="113" y="16"/>
                      <a:pt x="112" y="15"/>
                    </a:cubicBezTo>
                    <a:cubicBezTo>
                      <a:pt x="111" y="15"/>
                      <a:pt x="110" y="15"/>
                      <a:pt x="110" y="15"/>
                    </a:cubicBezTo>
                    <a:cubicBezTo>
                      <a:pt x="109" y="14"/>
                      <a:pt x="108" y="14"/>
                      <a:pt x="107" y="13"/>
                    </a:cubicBezTo>
                    <a:cubicBezTo>
                      <a:pt x="105" y="13"/>
                      <a:pt x="103" y="12"/>
                      <a:pt x="101" y="12"/>
                    </a:cubicBezTo>
                    <a:cubicBezTo>
                      <a:pt x="99" y="12"/>
                      <a:pt x="98" y="10"/>
                      <a:pt x="97" y="9"/>
                    </a:cubicBezTo>
                    <a:cubicBezTo>
                      <a:pt x="95" y="6"/>
                      <a:pt x="93" y="2"/>
                      <a:pt x="90" y="1"/>
                    </a:cubicBezTo>
                    <a:cubicBezTo>
                      <a:pt x="88" y="0"/>
                      <a:pt x="87" y="1"/>
                      <a:pt x="85" y="2"/>
                    </a:cubicBezTo>
                    <a:cubicBezTo>
                      <a:pt x="85" y="2"/>
                      <a:pt x="83" y="3"/>
                      <a:pt x="82" y="3"/>
                    </a:cubicBezTo>
                    <a:cubicBezTo>
                      <a:pt x="82" y="4"/>
                      <a:pt x="82" y="4"/>
                      <a:pt x="83" y="5"/>
                    </a:cubicBezTo>
                    <a:cubicBezTo>
                      <a:pt x="83" y="7"/>
                      <a:pt x="84" y="8"/>
                      <a:pt x="83" y="9"/>
                    </a:cubicBezTo>
                    <a:cubicBezTo>
                      <a:pt x="82" y="10"/>
                      <a:pt x="80" y="10"/>
                      <a:pt x="79" y="10"/>
                    </a:cubicBezTo>
                    <a:cubicBezTo>
                      <a:pt x="77" y="10"/>
                      <a:pt x="76" y="10"/>
                      <a:pt x="76" y="12"/>
                    </a:cubicBezTo>
                    <a:cubicBezTo>
                      <a:pt x="76" y="13"/>
                      <a:pt x="76" y="14"/>
                      <a:pt x="76" y="15"/>
                    </a:cubicBezTo>
                    <a:cubicBezTo>
                      <a:pt x="76" y="16"/>
                      <a:pt x="76" y="18"/>
                      <a:pt x="76" y="20"/>
                    </a:cubicBezTo>
                    <a:cubicBezTo>
                      <a:pt x="76" y="22"/>
                      <a:pt x="76" y="25"/>
                      <a:pt x="76" y="27"/>
                    </a:cubicBezTo>
                    <a:cubicBezTo>
                      <a:pt x="76" y="30"/>
                      <a:pt x="76" y="33"/>
                      <a:pt x="76" y="36"/>
                    </a:cubicBezTo>
                    <a:cubicBezTo>
                      <a:pt x="76" y="37"/>
                      <a:pt x="77" y="38"/>
                      <a:pt x="76" y="39"/>
                    </a:cubicBezTo>
                    <a:cubicBezTo>
                      <a:pt x="75" y="39"/>
                      <a:pt x="75" y="40"/>
                      <a:pt x="74" y="40"/>
                    </a:cubicBezTo>
                    <a:cubicBezTo>
                      <a:pt x="73" y="40"/>
                      <a:pt x="72" y="40"/>
                      <a:pt x="71" y="39"/>
                    </a:cubicBezTo>
                    <a:cubicBezTo>
                      <a:pt x="68" y="37"/>
                      <a:pt x="66" y="34"/>
                      <a:pt x="62" y="33"/>
                    </a:cubicBezTo>
                    <a:cubicBezTo>
                      <a:pt x="58" y="33"/>
                      <a:pt x="54" y="30"/>
                      <a:pt x="50" y="31"/>
                    </a:cubicBezTo>
                    <a:cubicBezTo>
                      <a:pt x="47" y="32"/>
                      <a:pt x="48" y="36"/>
                      <a:pt x="48" y="39"/>
                    </a:cubicBezTo>
                    <a:cubicBezTo>
                      <a:pt x="45" y="39"/>
                      <a:pt x="40" y="36"/>
                      <a:pt x="37" y="39"/>
                    </a:cubicBezTo>
                    <a:cubicBezTo>
                      <a:pt x="35" y="40"/>
                      <a:pt x="35" y="44"/>
                      <a:pt x="33" y="45"/>
                    </a:cubicBezTo>
                    <a:cubicBezTo>
                      <a:pt x="28" y="48"/>
                      <a:pt x="23" y="49"/>
                      <a:pt x="18" y="50"/>
                    </a:cubicBezTo>
                    <a:cubicBezTo>
                      <a:pt x="17" y="50"/>
                      <a:pt x="15" y="51"/>
                      <a:pt x="14" y="52"/>
                    </a:cubicBezTo>
                    <a:cubicBezTo>
                      <a:pt x="14" y="54"/>
                      <a:pt x="17" y="55"/>
                      <a:pt x="19" y="56"/>
                    </a:cubicBezTo>
                    <a:cubicBezTo>
                      <a:pt x="22" y="56"/>
                      <a:pt x="25" y="56"/>
                      <a:pt x="28" y="56"/>
                    </a:cubicBezTo>
                    <a:cubicBezTo>
                      <a:pt x="30" y="56"/>
                      <a:pt x="33" y="56"/>
                      <a:pt x="34" y="57"/>
                    </a:cubicBezTo>
                    <a:cubicBezTo>
                      <a:pt x="37" y="60"/>
                      <a:pt x="30" y="61"/>
                      <a:pt x="28" y="62"/>
                    </a:cubicBezTo>
                    <a:cubicBezTo>
                      <a:pt x="26" y="62"/>
                      <a:pt x="25" y="63"/>
                      <a:pt x="24" y="64"/>
                    </a:cubicBezTo>
                    <a:cubicBezTo>
                      <a:pt x="23" y="64"/>
                      <a:pt x="22" y="64"/>
                      <a:pt x="22" y="65"/>
                    </a:cubicBezTo>
                    <a:cubicBezTo>
                      <a:pt x="21" y="66"/>
                      <a:pt x="21" y="67"/>
                      <a:pt x="20" y="67"/>
                    </a:cubicBezTo>
                    <a:cubicBezTo>
                      <a:pt x="17" y="68"/>
                      <a:pt x="17" y="67"/>
                      <a:pt x="15" y="66"/>
                    </a:cubicBezTo>
                    <a:cubicBezTo>
                      <a:pt x="14" y="65"/>
                      <a:pt x="13" y="65"/>
                      <a:pt x="12" y="66"/>
                    </a:cubicBezTo>
                    <a:cubicBezTo>
                      <a:pt x="10" y="67"/>
                      <a:pt x="11" y="68"/>
                      <a:pt x="11" y="71"/>
                    </a:cubicBezTo>
                    <a:cubicBezTo>
                      <a:pt x="10" y="75"/>
                      <a:pt x="6" y="72"/>
                      <a:pt x="4" y="73"/>
                    </a:cubicBezTo>
                    <a:cubicBezTo>
                      <a:pt x="2" y="73"/>
                      <a:pt x="1" y="76"/>
                      <a:pt x="0" y="78"/>
                    </a:cubicBezTo>
                    <a:cubicBezTo>
                      <a:pt x="0" y="80"/>
                      <a:pt x="1" y="80"/>
                      <a:pt x="2" y="82"/>
                    </a:cubicBezTo>
                    <a:cubicBezTo>
                      <a:pt x="2" y="83"/>
                      <a:pt x="2" y="83"/>
                      <a:pt x="2" y="84"/>
                    </a:cubicBezTo>
                    <a:cubicBezTo>
                      <a:pt x="2" y="83"/>
                      <a:pt x="3" y="83"/>
                      <a:pt x="3" y="82"/>
                    </a:cubicBezTo>
                    <a:cubicBezTo>
                      <a:pt x="4" y="82"/>
                      <a:pt x="5" y="82"/>
                      <a:pt x="6" y="83"/>
                    </a:cubicBezTo>
                    <a:cubicBezTo>
                      <a:pt x="13" y="84"/>
                      <a:pt x="20" y="85"/>
                      <a:pt x="27" y="86"/>
                    </a:cubicBezTo>
                    <a:cubicBezTo>
                      <a:pt x="43" y="87"/>
                      <a:pt x="59" y="88"/>
                      <a:pt x="76" y="88"/>
                    </a:cubicBezTo>
                    <a:cubicBezTo>
                      <a:pt x="88" y="89"/>
                      <a:pt x="100" y="88"/>
                      <a:pt x="112" y="88"/>
                    </a:cubicBezTo>
                    <a:cubicBezTo>
                      <a:pt x="120" y="88"/>
                      <a:pt x="129" y="89"/>
                      <a:pt x="137" y="89"/>
                    </a:cubicBezTo>
                    <a:cubicBezTo>
                      <a:pt x="144" y="89"/>
                      <a:pt x="150" y="89"/>
                      <a:pt x="157" y="89"/>
                    </a:cubicBezTo>
                    <a:cubicBezTo>
                      <a:pt x="159" y="89"/>
                      <a:pt x="162" y="89"/>
                      <a:pt x="164" y="89"/>
                    </a:cubicBezTo>
                    <a:cubicBezTo>
                      <a:pt x="166" y="89"/>
                      <a:pt x="168" y="90"/>
                      <a:pt x="170" y="90"/>
                    </a:cubicBezTo>
                    <a:cubicBezTo>
                      <a:pt x="175" y="92"/>
                      <a:pt x="179" y="95"/>
                      <a:pt x="184" y="96"/>
                    </a:cubicBezTo>
                    <a:cubicBezTo>
                      <a:pt x="184" y="96"/>
                      <a:pt x="185" y="96"/>
                      <a:pt x="185" y="96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21" name="Freeform 37">
                <a:extLst>
                  <a:ext uri="{FF2B5EF4-FFF2-40B4-BE49-F238E27FC236}">
                    <a16:creationId xmlns:a16="http://schemas.microsoft.com/office/drawing/2014/main" id="{D1EF0F9A-1E1C-4292-BD87-E71F925833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7050" y="3459163"/>
                <a:ext cx="592138" cy="452438"/>
              </a:xfrm>
              <a:custGeom>
                <a:avLst/>
                <a:gdLst/>
                <a:ahLst/>
                <a:cxnLst>
                  <a:cxn ang="0">
                    <a:pos x="305" y="111"/>
                  </a:cxn>
                  <a:cxn ang="0">
                    <a:pos x="303" y="97"/>
                  </a:cxn>
                  <a:cxn ang="0">
                    <a:pos x="309" y="76"/>
                  </a:cxn>
                  <a:cxn ang="0">
                    <a:pos x="291" y="69"/>
                  </a:cxn>
                  <a:cxn ang="0">
                    <a:pos x="278" y="50"/>
                  </a:cxn>
                  <a:cxn ang="0">
                    <a:pos x="252" y="32"/>
                  </a:cxn>
                  <a:cxn ang="0">
                    <a:pos x="229" y="29"/>
                  </a:cxn>
                  <a:cxn ang="0">
                    <a:pos x="213" y="9"/>
                  </a:cxn>
                  <a:cxn ang="0">
                    <a:pos x="208" y="2"/>
                  </a:cxn>
                  <a:cxn ang="0">
                    <a:pos x="200" y="11"/>
                  </a:cxn>
                  <a:cxn ang="0">
                    <a:pos x="189" y="18"/>
                  </a:cxn>
                  <a:cxn ang="0">
                    <a:pos x="168" y="16"/>
                  </a:cxn>
                  <a:cxn ang="0">
                    <a:pos x="154" y="13"/>
                  </a:cxn>
                  <a:cxn ang="0">
                    <a:pos x="137" y="10"/>
                  </a:cxn>
                  <a:cxn ang="0">
                    <a:pos x="121" y="10"/>
                  </a:cxn>
                  <a:cxn ang="0">
                    <a:pos x="112" y="6"/>
                  </a:cxn>
                  <a:cxn ang="0">
                    <a:pos x="101" y="7"/>
                  </a:cxn>
                  <a:cxn ang="0">
                    <a:pos x="78" y="5"/>
                  </a:cxn>
                  <a:cxn ang="0">
                    <a:pos x="53" y="3"/>
                  </a:cxn>
                  <a:cxn ang="0">
                    <a:pos x="36" y="13"/>
                  </a:cxn>
                  <a:cxn ang="0">
                    <a:pos x="20" y="23"/>
                  </a:cxn>
                  <a:cxn ang="0">
                    <a:pos x="12" y="27"/>
                  </a:cxn>
                  <a:cxn ang="0">
                    <a:pos x="8" y="34"/>
                  </a:cxn>
                  <a:cxn ang="0">
                    <a:pos x="1" y="51"/>
                  </a:cxn>
                  <a:cxn ang="0">
                    <a:pos x="3" y="65"/>
                  </a:cxn>
                  <a:cxn ang="0">
                    <a:pos x="8" y="74"/>
                  </a:cxn>
                  <a:cxn ang="0">
                    <a:pos x="9" y="90"/>
                  </a:cxn>
                  <a:cxn ang="0">
                    <a:pos x="15" y="106"/>
                  </a:cxn>
                  <a:cxn ang="0">
                    <a:pos x="22" y="110"/>
                  </a:cxn>
                  <a:cxn ang="0">
                    <a:pos x="42" y="124"/>
                  </a:cxn>
                  <a:cxn ang="0">
                    <a:pos x="54" y="129"/>
                  </a:cxn>
                  <a:cxn ang="0">
                    <a:pos x="64" y="131"/>
                  </a:cxn>
                  <a:cxn ang="0">
                    <a:pos x="83" y="131"/>
                  </a:cxn>
                  <a:cxn ang="0">
                    <a:pos x="95" y="140"/>
                  </a:cxn>
                  <a:cxn ang="0">
                    <a:pos x="103" y="156"/>
                  </a:cxn>
                  <a:cxn ang="0">
                    <a:pos x="92" y="184"/>
                  </a:cxn>
                  <a:cxn ang="0">
                    <a:pos x="95" y="192"/>
                  </a:cxn>
                  <a:cxn ang="0">
                    <a:pos x="114" y="200"/>
                  </a:cxn>
                  <a:cxn ang="0">
                    <a:pos x="128" y="207"/>
                  </a:cxn>
                  <a:cxn ang="0">
                    <a:pos x="138" y="221"/>
                  </a:cxn>
                  <a:cxn ang="0">
                    <a:pos x="137" y="237"/>
                  </a:cxn>
                  <a:cxn ang="0">
                    <a:pos x="144" y="235"/>
                  </a:cxn>
                  <a:cxn ang="0">
                    <a:pos x="159" y="236"/>
                  </a:cxn>
                  <a:cxn ang="0">
                    <a:pos x="185" y="240"/>
                  </a:cxn>
                  <a:cxn ang="0">
                    <a:pos x="195" y="232"/>
                  </a:cxn>
                  <a:cxn ang="0">
                    <a:pos x="203" y="234"/>
                  </a:cxn>
                  <a:cxn ang="0">
                    <a:pos x="207" y="222"/>
                  </a:cxn>
                  <a:cxn ang="0">
                    <a:pos x="223" y="220"/>
                  </a:cxn>
                  <a:cxn ang="0">
                    <a:pos x="237" y="204"/>
                  </a:cxn>
                  <a:cxn ang="0">
                    <a:pos x="247" y="212"/>
                  </a:cxn>
                  <a:cxn ang="0">
                    <a:pos x="259" y="217"/>
                  </a:cxn>
                  <a:cxn ang="0">
                    <a:pos x="251" y="202"/>
                  </a:cxn>
                  <a:cxn ang="0">
                    <a:pos x="251" y="191"/>
                  </a:cxn>
                  <a:cxn ang="0">
                    <a:pos x="258" y="164"/>
                  </a:cxn>
                  <a:cxn ang="0">
                    <a:pos x="261" y="149"/>
                  </a:cxn>
                  <a:cxn ang="0">
                    <a:pos x="274" y="142"/>
                  </a:cxn>
                  <a:cxn ang="0">
                    <a:pos x="283" y="135"/>
                  </a:cxn>
                  <a:cxn ang="0">
                    <a:pos x="289" y="129"/>
                  </a:cxn>
                  <a:cxn ang="0">
                    <a:pos x="304" y="123"/>
                  </a:cxn>
                  <a:cxn ang="0">
                    <a:pos x="312" y="116"/>
                  </a:cxn>
                </a:cxnLst>
                <a:rect l="0" t="0" r="r" b="b"/>
                <a:pathLst>
                  <a:path w="317" h="242">
                    <a:moveTo>
                      <a:pt x="316" y="111"/>
                    </a:moveTo>
                    <a:cubicBezTo>
                      <a:pt x="314" y="110"/>
                      <a:pt x="310" y="110"/>
                      <a:pt x="308" y="110"/>
                    </a:cubicBezTo>
                    <a:cubicBezTo>
                      <a:pt x="308" y="110"/>
                      <a:pt x="307" y="110"/>
                      <a:pt x="306" y="110"/>
                    </a:cubicBezTo>
                    <a:cubicBezTo>
                      <a:pt x="306" y="110"/>
                      <a:pt x="305" y="111"/>
                      <a:pt x="305" y="111"/>
                    </a:cubicBezTo>
                    <a:cubicBezTo>
                      <a:pt x="303" y="111"/>
                      <a:pt x="302" y="109"/>
                      <a:pt x="301" y="108"/>
                    </a:cubicBezTo>
                    <a:cubicBezTo>
                      <a:pt x="300" y="106"/>
                      <a:pt x="300" y="106"/>
                      <a:pt x="301" y="105"/>
                    </a:cubicBezTo>
                    <a:cubicBezTo>
                      <a:pt x="302" y="103"/>
                      <a:pt x="304" y="102"/>
                      <a:pt x="304" y="100"/>
                    </a:cubicBezTo>
                    <a:cubicBezTo>
                      <a:pt x="304" y="98"/>
                      <a:pt x="304" y="98"/>
                      <a:pt x="303" y="97"/>
                    </a:cubicBezTo>
                    <a:cubicBezTo>
                      <a:pt x="302" y="96"/>
                      <a:pt x="300" y="97"/>
                      <a:pt x="301" y="94"/>
                    </a:cubicBezTo>
                    <a:cubicBezTo>
                      <a:pt x="301" y="94"/>
                      <a:pt x="301" y="93"/>
                      <a:pt x="302" y="92"/>
                    </a:cubicBezTo>
                    <a:cubicBezTo>
                      <a:pt x="304" y="91"/>
                      <a:pt x="305" y="89"/>
                      <a:pt x="306" y="87"/>
                    </a:cubicBezTo>
                    <a:cubicBezTo>
                      <a:pt x="307" y="85"/>
                      <a:pt x="312" y="78"/>
                      <a:pt x="309" y="76"/>
                    </a:cubicBezTo>
                    <a:cubicBezTo>
                      <a:pt x="308" y="75"/>
                      <a:pt x="306" y="75"/>
                      <a:pt x="305" y="75"/>
                    </a:cubicBezTo>
                    <a:cubicBezTo>
                      <a:pt x="303" y="75"/>
                      <a:pt x="301" y="74"/>
                      <a:pt x="299" y="74"/>
                    </a:cubicBezTo>
                    <a:cubicBezTo>
                      <a:pt x="297" y="73"/>
                      <a:pt x="293" y="73"/>
                      <a:pt x="292" y="72"/>
                    </a:cubicBezTo>
                    <a:cubicBezTo>
                      <a:pt x="291" y="71"/>
                      <a:pt x="291" y="70"/>
                      <a:pt x="291" y="69"/>
                    </a:cubicBezTo>
                    <a:cubicBezTo>
                      <a:pt x="290" y="67"/>
                      <a:pt x="288" y="65"/>
                      <a:pt x="287" y="63"/>
                    </a:cubicBezTo>
                    <a:cubicBezTo>
                      <a:pt x="286" y="62"/>
                      <a:pt x="285" y="61"/>
                      <a:pt x="285" y="60"/>
                    </a:cubicBezTo>
                    <a:cubicBezTo>
                      <a:pt x="284" y="60"/>
                      <a:pt x="284" y="59"/>
                      <a:pt x="284" y="58"/>
                    </a:cubicBezTo>
                    <a:cubicBezTo>
                      <a:pt x="283" y="55"/>
                      <a:pt x="280" y="52"/>
                      <a:pt x="278" y="50"/>
                    </a:cubicBezTo>
                    <a:cubicBezTo>
                      <a:pt x="275" y="48"/>
                      <a:pt x="273" y="46"/>
                      <a:pt x="270" y="44"/>
                    </a:cubicBezTo>
                    <a:cubicBezTo>
                      <a:pt x="267" y="42"/>
                      <a:pt x="265" y="40"/>
                      <a:pt x="262" y="39"/>
                    </a:cubicBezTo>
                    <a:cubicBezTo>
                      <a:pt x="260" y="37"/>
                      <a:pt x="258" y="36"/>
                      <a:pt x="255" y="35"/>
                    </a:cubicBezTo>
                    <a:cubicBezTo>
                      <a:pt x="254" y="34"/>
                      <a:pt x="253" y="32"/>
                      <a:pt x="252" y="32"/>
                    </a:cubicBezTo>
                    <a:cubicBezTo>
                      <a:pt x="250" y="30"/>
                      <a:pt x="248" y="30"/>
                      <a:pt x="246" y="30"/>
                    </a:cubicBezTo>
                    <a:cubicBezTo>
                      <a:pt x="243" y="30"/>
                      <a:pt x="239" y="31"/>
                      <a:pt x="236" y="29"/>
                    </a:cubicBezTo>
                    <a:cubicBezTo>
                      <a:pt x="235" y="29"/>
                      <a:pt x="234" y="27"/>
                      <a:pt x="233" y="27"/>
                    </a:cubicBezTo>
                    <a:cubicBezTo>
                      <a:pt x="232" y="26"/>
                      <a:pt x="229" y="27"/>
                      <a:pt x="229" y="29"/>
                    </a:cubicBezTo>
                    <a:cubicBezTo>
                      <a:pt x="227" y="29"/>
                      <a:pt x="226" y="26"/>
                      <a:pt x="226" y="25"/>
                    </a:cubicBezTo>
                    <a:cubicBezTo>
                      <a:pt x="223" y="24"/>
                      <a:pt x="222" y="22"/>
                      <a:pt x="221" y="19"/>
                    </a:cubicBezTo>
                    <a:cubicBezTo>
                      <a:pt x="219" y="16"/>
                      <a:pt x="217" y="14"/>
                      <a:pt x="216" y="11"/>
                    </a:cubicBezTo>
                    <a:cubicBezTo>
                      <a:pt x="215" y="10"/>
                      <a:pt x="214" y="9"/>
                      <a:pt x="213" y="9"/>
                    </a:cubicBezTo>
                    <a:cubicBezTo>
                      <a:pt x="213" y="8"/>
                      <a:pt x="213" y="8"/>
                      <a:pt x="213" y="7"/>
                    </a:cubicBezTo>
                    <a:cubicBezTo>
                      <a:pt x="214" y="6"/>
                      <a:pt x="213" y="6"/>
                      <a:pt x="214" y="5"/>
                    </a:cubicBezTo>
                    <a:cubicBezTo>
                      <a:pt x="217" y="3"/>
                      <a:pt x="217" y="3"/>
                      <a:pt x="217" y="3"/>
                    </a:cubicBezTo>
                    <a:cubicBezTo>
                      <a:pt x="217" y="0"/>
                      <a:pt x="210" y="0"/>
                      <a:pt x="208" y="2"/>
                    </a:cubicBezTo>
                    <a:cubicBezTo>
                      <a:pt x="208" y="2"/>
                      <a:pt x="208" y="3"/>
                      <a:pt x="207" y="3"/>
                    </a:cubicBezTo>
                    <a:cubicBezTo>
                      <a:pt x="207" y="4"/>
                      <a:pt x="206" y="4"/>
                      <a:pt x="205" y="4"/>
                    </a:cubicBezTo>
                    <a:cubicBezTo>
                      <a:pt x="204" y="5"/>
                      <a:pt x="202" y="6"/>
                      <a:pt x="201" y="7"/>
                    </a:cubicBezTo>
                    <a:cubicBezTo>
                      <a:pt x="200" y="8"/>
                      <a:pt x="200" y="10"/>
                      <a:pt x="200" y="11"/>
                    </a:cubicBezTo>
                    <a:cubicBezTo>
                      <a:pt x="200" y="12"/>
                      <a:pt x="200" y="13"/>
                      <a:pt x="200" y="14"/>
                    </a:cubicBezTo>
                    <a:cubicBezTo>
                      <a:pt x="199" y="14"/>
                      <a:pt x="198" y="14"/>
                      <a:pt x="197" y="14"/>
                    </a:cubicBezTo>
                    <a:cubicBezTo>
                      <a:pt x="196" y="15"/>
                      <a:pt x="196" y="16"/>
                      <a:pt x="195" y="17"/>
                    </a:cubicBezTo>
                    <a:cubicBezTo>
                      <a:pt x="193" y="18"/>
                      <a:pt x="190" y="18"/>
                      <a:pt x="189" y="18"/>
                    </a:cubicBezTo>
                    <a:cubicBezTo>
                      <a:pt x="184" y="17"/>
                      <a:pt x="179" y="15"/>
                      <a:pt x="175" y="18"/>
                    </a:cubicBezTo>
                    <a:cubicBezTo>
                      <a:pt x="174" y="18"/>
                      <a:pt x="173" y="20"/>
                      <a:pt x="171" y="20"/>
                    </a:cubicBezTo>
                    <a:cubicBezTo>
                      <a:pt x="170" y="20"/>
                      <a:pt x="169" y="20"/>
                      <a:pt x="169" y="19"/>
                    </a:cubicBezTo>
                    <a:cubicBezTo>
                      <a:pt x="168" y="18"/>
                      <a:pt x="169" y="17"/>
                      <a:pt x="168" y="16"/>
                    </a:cubicBezTo>
                    <a:cubicBezTo>
                      <a:pt x="168" y="15"/>
                      <a:pt x="166" y="15"/>
                      <a:pt x="165" y="15"/>
                    </a:cubicBezTo>
                    <a:cubicBezTo>
                      <a:pt x="163" y="14"/>
                      <a:pt x="161" y="13"/>
                      <a:pt x="159" y="12"/>
                    </a:cubicBezTo>
                    <a:cubicBezTo>
                      <a:pt x="158" y="11"/>
                      <a:pt x="157" y="10"/>
                      <a:pt x="156" y="10"/>
                    </a:cubicBezTo>
                    <a:cubicBezTo>
                      <a:pt x="154" y="10"/>
                      <a:pt x="155" y="13"/>
                      <a:pt x="154" y="13"/>
                    </a:cubicBezTo>
                    <a:cubicBezTo>
                      <a:pt x="153" y="12"/>
                      <a:pt x="153" y="10"/>
                      <a:pt x="153" y="9"/>
                    </a:cubicBezTo>
                    <a:cubicBezTo>
                      <a:pt x="150" y="8"/>
                      <a:pt x="148" y="8"/>
                      <a:pt x="145" y="9"/>
                    </a:cubicBezTo>
                    <a:cubicBezTo>
                      <a:pt x="144" y="9"/>
                      <a:pt x="143" y="10"/>
                      <a:pt x="142" y="10"/>
                    </a:cubicBezTo>
                    <a:cubicBezTo>
                      <a:pt x="140" y="10"/>
                      <a:pt x="138" y="10"/>
                      <a:pt x="137" y="10"/>
                    </a:cubicBezTo>
                    <a:cubicBezTo>
                      <a:pt x="135" y="9"/>
                      <a:pt x="134" y="8"/>
                      <a:pt x="132" y="8"/>
                    </a:cubicBezTo>
                    <a:cubicBezTo>
                      <a:pt x="131" y="8"/>
                      <a:pt x="129" y="7"/>
                      <a:pt x="128" y="7"/>
                    </a:cubicBezTo>
                    <a:cubicBezTo>
                      <a:pt x="127" y="8"/>
                      <a:pt x="127" y="10"/>
                      <a:pt x="125" y="10"/>
                    </a:cubicBezTo>
                    <a:cubicBezTo>
                      <a:pt x="124" y="10"/>
                      <a:pt x="122" y="9"/>
                      <a:pt x="121" y="10"/>
                    </a:cubicBezTo>
                    <a:cubicBezTo>
                      <a:pt x="121" y="12"/>
                      <a:pt x="117" y="14"/>
                      <a:pt x="115" y="14"/>
                    </a:cubicBezTo>
                    <a:cubicBezTo>
                      <a:pt x="113" y="13"/>
                      <a:pt x="113" y="10"/>
                      <a:pt x="113" y="9"/>
                    </a:cubicBezTo>
                    <a:cubicBezTo>
                      <a:pt x="113" y="8"/>
                      <a:pt x="112" y="8"/>
                      <a:pt x="112" y="8"/>
                    </a:cubicBezTo>
                    <a:cubicBezTo>
                      <a:pt x="112" y="7"/>
                      <a:pt x="112" y="6"/>
                      <a:pt x="112" y="6"/>
                    </a:cubicBezTo>
                    <a:cubicBezTo>
                      <a:pt x="112" y="5"/>
                      <a:pt x="110" y="6"/>
                      <a:pt x="110" y="6"/>
                    </a:cubicBezTo>
                    <a:cubicBezTo>
                      <a:pt x="109" y="5"/>
                      <a:pt x="107" y="5"/>
                      <a:pt x="106" y="5"/>
                    </a:cubicBezTo>
                    <a:cubicBezTo>
                      <a:pt x="105" y="5"/>
                      <a:pt x="104" y="5"/>
                      <a:pt x="103" y="5"/>
                    </a:cubicBezTo>
                    <a:cubicBezTo>
                      <a:pt x="102" y="6"/>
                      <a:pt x="102" y="7"/>
                      <a:pt x="101" y="7"/>
                    </a:cubicBezTo>
                    <a:cubicBezTo>
                      <a:pt x="100" y="7"/>
                      <a:pt x="99" y="7"/>
                      <a:pt x="99" y="7"/>
                    </a:cubicBezTo>
                    <a:cubicBezTo>
                      <a:pt x="97" y="7"/>
                      <a:pt x="96" y="7"/>
                      <a:pt x="94" y="7"/>
                    </a:cubicBezTo>
                    <a:cubicBezTo>
                      <a:pt x="91" y="7"/>
                      <a:pt x="89" y="7"/>
                      <a:pt x="86" y="6"/>
                    </a:cubicBezTo>
                    <a:cubicBezTo>
                      <a:pt x="83" y="5"/>
                      <a:pt x="81" y="5"/>
                      <a:pt x="78" y="5"/>
                    </a:cubicBezTo>
                    <a:cubicBezTo>
                      <a:pt x="75" y="5"/>
                      <a:pt x="71" y="5"/>
                      <a:pt x="67" y="4"/>
                    </a:cubicBezTo>
                    <a:cubicBezTo>
                      <a:pt x="66" y="4"/>
                      <a:pt x="65" y="3"/>
                      <a:pt x="64" y="3"/>
                    </a:cubicBezTo>
                    <a:cubicBezTo>
                      <a:pt x="63" y="3"/>
                      <a:pt x="62" y="2"/>
                      <a:pt x="61" y="2"/>
                    </a:cubicBezTo>
                    <a:cubicBezTo>
                      <a:pt x="60" y="1"/>
                      <a:pt x="54" y="1"/>
                      <a:pt x="53" y="3"/>
                    </a:cubicBezTo>
                    <a:cubicBezTo>
                      <a:pt x="52" y="5"/>
                      <a:pt x="54" y="7"/>
                      <a:pt x="50" y="7"/>
                    </a:cubicBezTo>
                    <a:cubicBezTo>
                      <a:pt x="49" y="7"/>
                      <a:pt x="48" y="7"/>
                      <a:pt x="47" y="8"/>
                    </a:cubicBezTo>
                    <a:cubicBezTo>
                      <a:pt x="45" y="8"/>
                      <a:pt x="42" y="9"/>
                      <a:pt x="41" y="10"/>
                    </a:cubicBezTo>
                    <a:cubicBezTo>
                      <a:pt x="39" y="12"/>
                      <a:pt x="39" y="13"/>
                      <a:pt x="36" y="13"/>
                    </a:cubicBezTo>
                    <a:cubicBezTo>
                      <a:pt x="33" y="13"/>
                      <a:pt x="31" y="12"/>
                      <a:pt x="29" y="14"/>
                    </a:cubicBezTo>
                    <a:cubicBezTo>
                      <a:pt x="28" y="14"/>
                      <a:pt x="26" y="16"/>
                      <a:pt x="25" y="17"/>
                    </a:cubicBezTo>
                    <a:cubicBezTo>
                      <a:pt x="23" y="17"/>
                      <a:pt x="22" y="17"/>
                      <a:pt x="21" y="19"/>
                    </a:cubicBezTo>
                    <a:cubicBezTo>
                      <a:pt x="21" y="20"/>
                      <a:pt x="21" y="22"/>
                      <a:pt x="20" y="23"/>
                    </a:cubicBezTo>
                    <a:cubicBezTo>
                      <a:pt x="19" y="23"/>
                      <a:pt x="18" y="24"/>
                      <a:pt x="17" y="24"/>
                    </a:cubicBezTo>
                    <a:cubicBezTo>
                      <a:pt x="16" y="24"/>
                      <a:pt x="15" y="25"/>
                      <a:pt x="15" y="25"/>
                    </a:cubicBezTo>
                    <a:cubicBezTo>
                      <a:pt x="15" y="25"/>
                      <a:pt x="14" y="26"/>
                      <a:pt x="14" y="26"/>
                    </a:cubicBezTo>
                    <a:cubicBezTo>
                      <a:pt x="14" y="26"/>
                      <a:pt x="12" y="26"/>
                      <a:pt x="12" y="27"/>
                    </a:cubicBezTo>
                    <a:cubicBezTo>
                      <a:pt x="11" y="27"/>
                      <a:pt x="12" y="28"/>
                      <a:pt x="12" y="28"/>
                    </a:cubicBezTo>
                    <a:cubicBezTo>
                      <a:pt x="12" y="29"/>
                      <a:pt x="11" y="29"/>
                      <a:pt x="11" y="29"/>
                    </a:cubicBezTo>
                    <a:cubicBezTo>
                      <a:pt x="11" y="30"/>
                      <a:pt x="10" y="31"/>
                      <a:pt x="10" y="31"/>
                    </a:cubicBezTo>
                    <a:cubicBezTo>
                      <a:pt x="9" y="32"/>
                      <a:pt x="9" y="33"/>
                      <a:pt x="8" y="34"/>
                    </a:cubicBezTo>
                    <a:cubicBezTo>
                      <a:pt x="7" y="34"/>
                      <a:pt x="6" y="33"/>
                      <a:pt x="5" y="34"/>
                    </a:cubicBezTo>
                    <a:cubicBezTo>
                      <a:pt x="3" y="35"/>
                      <a:pt x="3" y="38"/>
                      <a:pt x="3" y="40"/>
                    </a:cubicBezTo>
                    <a:cubicBezTo>
                      <a:pt x="2" y="43"/>
                      <a:pt x="2" y="46"/>
                      <a:pt x="2" y="49"/>
                    </a:cubicBezTo>
                    <a:cubicBezTo>
                      <a:pt x="2" y="50"/>
                      <a:pt x="2" y="50"/>
                      <a:pt x="1" y="51"/>
                    </a:cubicBezTo>
                    <a:cubicBezTo>
                      <a:pt x="0" y="52"/>
                      <a:pt x="0" y="53"/>
                      <a:pt x="0" y="55"/>
                    </a:cubicBezTo>
                    <a:cubicBezTo>
                      <a:pt x="0" y="57"/>
                      <a:pt x="0" y="61"/>
                      <a:pt x="1" y="63"/>
                    </a:cubicBezTo>
                    <a:cubicBezTo>
                      <a:pt x="1" y="63"/>
                      <a:pt x="2" y="63"/>
                      <a:pt x="2" y="64"/>
                    </a:cubicBezTo>
                    <a:cubicBezTo>
                      <a:pt x="2" y="64"/>
                      <a:pt x="3" y="65"/>
                      <a:pt x="3" y="65"/>
                    </a:cubicBezTo>
                    <a:cubicBezTo>
                      <a:pt x="4" y="67"/>
                      <a:pt x="5" y="67"/>
                      <a:pt x="5" y="69"/>
                    </a:cubicBezTo>
                    <a:cubicBezTo>
                      <a:pt x="5" y="68"/>
                      <a:pt x="6" y="70"/>
                      <a:pt x="6" y="70"/>
                    </a:cubicBezTo>
                    <a:cubicBezTo>
                      <a:pt x="6" y="70"/>
                      <a:pt x="7" y="70"/>
                      <a:pt x="7" y="71"/>
                    </a:cubicBezTo>
                    <a:cubicBezTo>
                      <a:pt x="8" y="72"/>
                      <a:pt x="7" y="73"/>
                      <a:pt x="8" y="74"/>
                    </a:cubicBezTo>
                    <a:cubicBezTo>
                      <a:pt x="8" y="76"/>
                      <a:pt x="8" y="76"/>
                      <a:pt x="8" y="78"/>
                    </a:cubicBezTo>
                    <a:cubicBezTo>
                      <a:pt x="9" y="81"/>
                      <a:pt x="8" y="84"/>
                      <a:pt x="8" y="88"/>
                    </a:cubicBezTo>
                    <a:cubicBezTo>
                      <a:pt x="8" y="88"/>
                      <a:pt x="8" y="89"/>
                      <a:pt x="8" y="89"/>
                    </a:cubicBezTo>
                    <a:cubicBezTo>
                      <a:pt x="9" y="90"/>
                      <a:pt x="9" y="90"/>
                      <a:pt x="9" y="90"/>
                    </a:cubicBezTo>
                    <a:cubicBezTo>
                      <a:pt x="10" y="92"/>
                      <a:pt x="12" y="95"/>
                      <a:pt x="12" y="97"/>
                    </a:cubicBezTo>
                    <a:cubicBezTo>
                      <a:pt x="12" y="99"/>
                      <a:pt x="12" y="101"/>
                      <a:pt x="12" y="102"/>
                    </a:cubicBezTo>
                    <a:cubicBezTo>
                      <a:pt x="12" y="103"/>
                      <a:pt x="12" y="104"/>
                      <a:pt x="13" y="105"/>
                    </a:cubicBezTo>
                    <a:cubicBezTo>
                      <a:pt x="13" y="105"/>
                      <a:pt x="14" y="105"/>
                      <a:pt x="15" y="106"/>
                    </a:cubicBezTo>
                    <a:cubicBezTo>
                      <a:pt x="15" y="107"/>
                      <a:pt x="15" y="107"/>
                      <a:pt x="15" y="108"/>
                    </a:cubicBezTo>
                    <a:cubicBezTo>
                      <a:pt x="16" y="109"/>
                      <a:pt x="18" y="109"/>
                      <a:pt x="19" y="110"/>
                    </a:cubicBezTo>
                    <a:cubicBezTo>
                      <a:pt x="19" y="111"/>
                      <a:pt x="19" y="111"/>
                      <a:pt x="19" y="111"/>
                    </a:cubicBezTo>
                    <a:cubicBezTo>
                      <a:pt x="20" y="110"/>
                      <a:pt x="20" y="109"/>
                      <a:pt x="22" y="110"/>
                    </a:cubicBezTo>
                    <a:cubicBezTo>
                      <a:pt x="25" y="111"/>
                      <a:pt x="27" y="115"/>
                      <a:pt x="29" y="118"/>
                    </a:cubicBezTo>
                    <a:cubicBezTo>
                      <a:pt x="30" y="119"/>
                      <a:pt x="31" y="121"/>
                      <a:pt x="33" y="121"/>
                    </a:cubicBezTo>
                    <a:cubicBezTo>
                      <a:pt x="35" y="121"/>
                      <a:pt x="37" y="122"/>
                      <a:pt x="39" y="122"/>
                    </a:cubicBezTo>
                    <a:cubicBezTo>
                      <a:pt x="40" y="123"/>
                      <a:pt x="41" y="123"/>
                      <a:pt x="42" y="124"/>
                    </a:cubicBezTo>
                    <a:cubicBezTo>
                      <a:pt x="42" y="124"/>
                      <a:pt x="43" y="124"/>
                      <a:pt x="44" y="124"/>
                    </a:cubicBezTo>
                    <a:cubicBezTo>
                      <a:pt x="45" y="125"/>
                      <a:pt x="46" y="126"/>
                      <a:pt x="47" y="126"/>
                    </a:cubicBezTo>
                    <a:cubicBezTo>
                      <a:pt x="48" y="127"/>
                      <a:pt x="51" y="126"/>
                      <a:pt x="52" y="127"/>
                    </a:cubicBezTo>
                    <a:cubicBezTo>
                      <a:pt x="53" y="128"/>
                      <a:pt x="53" y="129"/>
                      <a:pt x="54" y="129"/>
                    </a:cubicBezTo>
                    <a:cubicBezTo>
                      <a:pt x="55" y="129"/>
                      <a:pt x="55" y="128"/>
                      <a:pt x="56" y="128"/>
                    </a:cubicBezTo>
                    <a:cubicBezTo>
                      <a:pt x="57" y="127"/>
                      <a:pt x="58" y="130"/>
                      <a:pt x="59" y="131"/>
                    </a:cubicBezTo>
                    <a:cubicBezTo>
                      <a:pt x="60" y="131"/>
                      <a:pt x="61" y="133"/>
                      <a:pt x="62" y="133"/>
                    </a:cubicBezTo>
                    <a:cubicBezTo>
                      <a:pt x="64" y="133"/>
                      <a:pt x="63" y="132"/>
                      <a:pt x="64" y="131"/>
                    </a:cubicBezTo>
                    <a:cubicBezTo>
                      <a:pt x="64" y="131"/>
                      <a:pt x="65" y="130"/>
                      <a:pt x="66" y="129"/>
                    </a:cubicBezTo>
                    <a:cubicBezTo>
                      <a:pt x="68" y="128"/>
                      <a:pt x="69" y="128"/>
                      <a:pt x="71" y="129"/>
                    </a:cubicBezTo>
                    <a:cubicBezTo>
                      <a:pt x="74" y="130"/>
                      <a:pt x="76" y="131"/>
                      <a:pt x="80" y="131"/>
                    </a:cubicBezTo>
                    <a:cubicBezTo>
                      <a:pt x="81" y="131"/>
                      <a:pt x="82" y="131"/>
                      <a:pt x="83" y="131"/>
                    </a:cubicBezTo>
                    <a:cubicBezTo>
                      <a:pt x="84" y="130"/>
                      <a:pt x="84" y="129"/>
                      <a:pt x="86" y="129"/>
                    </a:cubicBezTo>
                    <a:cubicBezTo>
                      <a:pt x="87" y="129"/>
                      <a:pt x="89" y="131"/>
                      <a:pt x="90" y="132"/>
                    </a:cubicBezTo>
                    <a:cubicBezTo>
                      <a:pt x="91" y="134"/>
                      <a:pt x="90" y="135"/>
                      <a:pt x="91" y="136"/>
                    </a:cubicBezTo>
                    <a:cubicBezTo>
                      <a:pt x="91" y="137"/>
                      <a:pt x="94" y="139"/>
                      <a:pt x="95" y="140"/>
                    </a:cubicBezTo>
                    <a:cubicBezTo>
                      <a:pt x="96" y="141"/>
                      <a:pt x="98" y="141"/>
                      <a:pt x="99" y="142"/>
                    </a:cubicBezTo>
                    <a:cubicBezTo>
                      <a:pt x="100" y="144"/>
                      <a:pt x="100" y="146"/>
                      <a:pt x="101" y="147"/>
                    </a:cubicBezTo>
                    <a:cubicBezTo>
                      <a:pt x="101" y="149"/>
                      <a:pt x="104" y="151"/>
                      <a:pt x="104" y="154"/>
                    </a:cubicBezTo>
                    <a:cubicBezTo>
                      <a:pt x="104" y="155"/>
                      <a:pt x="104" y="156"/>
                      <a:pt x="103" y="156"/>
                    </a:cubicBezTo>
                    <a:cubicBezTo>
                      <a:pt x="101" y="159"/>
                      <a:pt x="99" y="162"/>
                      <a:pt x="97" y="164"/>
                    </a:cubicBezTo>
                    <a:cubicBezTo>
                      <a:pt x="95" y="166"/>
                      <a:pt x="95" y="167"/>
                      <a:pt x="95" y="170"/>
                    </a:cubicBezTo>
                    <a:cubicBezTo>
                      <a:pt x="94" y="173"/>
                      <a:pt x="93" y="176"/>
                      <a:pt x="93" y="180"/>
                    </a:cubicBezTo>
                    <a:cubicBezTo>
                      <a:pt x="93" y="181"/>
                      <a:pt x="92" y="182"/>
                      <a:pt x="92" y="184"/>
                    </a:cubicBezTo>
                    <a:cubicBezTo>
                      <a:pt x="92" y="185"/>
                      <a:pt x="92" y="187"/>
                      <a:pt x="92" y="189"/>
                    </a:cubicBezTo>
                    <a:cubicBezTo>
                      <a:pt x="92" y="190"/>
                      <a:pt x="92" y="190"/>
                      <a:pt x="93" y="190"/>
                    </a:cubicBezTo>
                    <a:cubicBezTo>
                      <a:pt x="93" y="190"/>
                      <a:pt x="94" y="190"/>
                      <a:pt x="94" y="191"/>
                    </a:cubicBezTo>
                    <a:cubicBezTo>
                      <a:pt x="95" y="191"/>
                      <a:pt x="95" y="191"/>
                      <a:pt x="95" y="192"/>
                    </a:cubicBezTo>
                    <a:cubicBezTo>
                      <a:pt x="97" y="193"/>
                      <a:pt x="99" y="194"/>
                      <a:pt x="101" y="194"/>
                    </a:cubicBezTo>
                    <a:cubicBezTo>
                      <a:pt x="103" y="195"/>
                      <a:pt x="105" y="196"/>
                      <a:pt x="107" y="196"/>
                    </a:cubicBezTo>
                    <a:cubicBezTo>
                      <a:pt x="109" y="196"/>
                      <a:pt x="110" y="196"/>
                      <a:pt x="111" y="197"/>
                    </a:cubicBezTo>
                    <a:cubicBezTo>
                      <a:pt x="112" y="198"/>
                      <a:pt x="113" y="199"/>
                      <a:pt x="114" y="200"/>
                    </a:cubicBezTo>
                    <a:cubicBezTo>
                      <a:pt x="114" y="200"/>
                      <a:pt x="115" y="201"/>
                      <a:pt x="115" y="201"/>
                    </a:cubicBezTo>
                    <a:cubicBezTo>
                      <a:pt x="116" y="202"/>
                      <a:pt x="115" y="203"/>
                      <a:pt x="116" y="203"/>
                    </a:cubicBezTo>
                    <a:cubicBezTo>
                      <a:pt x="116" y="204"/>
                      <a:pt x="117" y="205"/>
                      <a:pt x="117" y="205"/>
                    </a:cubicBezTo>
                    <a:cubicBezTo>
                      <a:pt x="121" y="206"/>
                      <a:pt x="125" y="205"/>
                      <a:pt x="128" y="207"/>
                    </a:cubicBezTo>
                    <a:cubicBezTo>
                      <a:pt x="129" y="208"/>
                      <a:pt x="131" y="210"/>
                      <a:pt x="132" y="210"/>
                    </a:cubicBezTo>
                    <a:cubicBezTo>
                      <a:pt x="132" y="211"/>
                      <a:pt x="132" y="212"/>
                      <a:pt x="132" y="213"/>
                    </a:cubicBezTo>
                    <a:cubicBezTo>
                      <a:pt x="132" y="215"/>
                      <a:pt x="134" y="216"/>
                      <a:pt x="134" y="217"/>
                    </a:cubicBezTo>
                    <a:cubicBezTo>
                      <a:pt x="135" y="218"/>
                      <a:pt x="137" y="219"/>
                      <a:pt x="138" y="221"/>
                    </a:cubicBezTo>
                    <a:cubicBezTo>
                      <a:pt x="139" y="223"/>
                      <a:pt x="139" y="228"/>
                      <a:pt x="138" y="230"/>
                    </a:cubicBezTo>
                    <a:cubicBezTo>
                      <a:pt x="138" y="231"/>
                      <a:pt x="137" y="230"/>
                      <a:pt x="137" y="231"/>
                    </a:cubicBezTo>
                    <a:cubicBezTo>
                      <a:pt x="136" y="232"/>
                      <a:pt x="137" y="233"/>
                      <a:pt x="137" y="233"/>
                    </a:cubicBezTo>
                    <a:cubicBezTo>
                      <a:pt x="137" y="234"/>
                      <a:pt x="136" y="236"/>
                      <a:pt x="137" y="237"/>
                    </a:cubicBezTo>
                    <a:cubicBezTo>
                      <a:pt x="137" y="238"/>
                      <a:pt x="137" y="239"/>
                      <a:pt x="138" y="240"/>
                    </a:cubicBezTo>
                    <a:cubicBezTo>
                      <a:pt x="138" y="240"/>
                      <a:pt x="138" y="240"/>
                      <a:pt x="139" y="239"/>
                    </a:cubicBezTo>
                    <a:cubicBezTo>
                      <a:pt x="139" y="238"/>
                      <a:pt x="140" y="237"/>
                      <a:pt x="141" y="237"/>
                    </a:cubicBezTo>
                    <a:cubicBezTo>
                      <a:pt x="142" y="235"/>
                      <a:pt x="142" y="235"/>
                      <a:pt x="144" y="235"/>
                    </a:cubicBezTo>
                    <a:cubicBezTo>
                      <a:pt x="147" y="234"/>
                      <a:pt x="149" y="234"/>
                      <a:pt x="152" y="234"/>
                    </a:cubicBezTo>
                    <a:cubicBezTo>
                      <a:pt x="153" y="234"/>
                      <a:pt x="154" y="234"/>
                      <a:pt x="155" y="234"/>
                    </a:cubicBezTo>
                    <a:cubicBezTo>
                      <a:pt x="156" y="235"/>
                      <a:pt x="156" y="235"/>
                      <a:pt x="157" y="235"/>
                    </a:cubicBezTo>
                    <a:cubicBezTo>
                      <a:pt x="158" y="236"/>
                      <a:pt x="159" y="236"/>
                      <a:pt x="159" y="236"/>
                    </a:cubicBezTo>
                    <a:cubicBezTo>
                      <a:pt x="161" y="236"/>
                      <a:pt x="166" y="238"/>
                      <a:pt x="167" y="236"/>
                    </a:cubicBezTo>
                    <a:cubicBezTo>
                      <a:pt x="167" y="236"/>
                      <a:pt x="167" y="237"/>
                      <a:pt x="167" y="237"/>
                    </a:cubicBezTo>
                    <a:cubicBezTo>
                      <a:pt x="170" y="238"/>
                      <a:pt x="174" y="237"/>
                      <a:pt x="176" y="238"/>
                    </a:cubicBezTo>
                    <a:cubicBezTo>
                      <a:pt x="179" y="239"/>
                      <a:pt x="182" y="242"/>
                      <a:pt x="185" y="240"/>
                    </a:cubicBezTo>
                    <a:cubicBezTo>
                      <a:pt x="187" y="240"/>
                      <a:pt x="187" y="239"/>
                      <a:pt x="188" y="237"/>
                    </a:cubicBezTo>
                    <a:cubicBezTo>
                      <a:pt x="189" y="236"/>
                      <a:pt x="190" y="236"/>
                      <a:pt x="192" y="235"/>
                    </a:cubicBezTo>
                    <a:cubicBezTo>
                      <a:pt x="192" y="235"/>
                      <a:pt x="193" y="234"/>
                      <a:pt x="194" y="234"/>
                    </a:cubicBezTo>
                    <a:cubicBezTo>
                      <a:pt x="194" y="233"/>
                      <a:pt x="195" y="233"/>
                      <a:pt x="195" y="232"/>
                    </a:cubicBezTo>
                    <a:cubicBezTo>
                      <a:pt x="196" y="232"/>
                      <a:pt x="197" y="232"/>
                      <a:pt x="197" y="232"/>
                    </a:cubicBezTo>
                    <a:cubicBezTo>
                      <a:pt x="198" y="231"/>
                      <a:pt x="199" y="230"/>
                      <a:pt x="200" y="230"/>
                    </a:cubicBezTo>
                    <a:cubicBezTo>
                      <a:pt x="201" y="232"/>
                      <a:pt x="198" y="236"/>
                      <a:pt x="202" y="234"/>
                    </a:cubicBezTo>
                    <a:cubicBezTo>
                      <a:pt x="202" y="234"/>
                      <a:pt x="203" y="234"/>
                      <a:pt x="203" y="234"/>
                    </a:cubicBezTo>
                    <a:cubicBezTo>
                      <a:pt x="204" y="233"/>
                      <a:pt x="204" y="233"/>
                      <a:pt x="205" y="232"/>
                    </a:cubicBezTo>
                    <a:cubicBezTo>
                      <a:pt x="206" y="231"/>
                      <a:pt x="207" y="232"/>
                      <a:pt x="208" y="231"/>
                    </a:cubicBezTo>
                    <a:cubicBezTo>
                      <a:pt x="209" y="229"/>
                      <a:pt x="207" y="228"/>
                      <a:pt x="207" y="226"/>
                    </a:cubicBezTo>
                    <a:cubicBezTo>
                      <a:pt x="207" y="225"/>
                      <a:pt x="207" y="223"/>
                      <a:pt x="207" y="222"/>
                    </a:cubicBezTo>
                    <a:cubicBezTo>
                      <a:pt x="207" y="221"/>
                      <a:pt x="208" y="218"/>
                      <a:pt x="210" y="218"/>
                    </a:cubicBezTo>
                    <a:cubicBezTo>
                      <a:pt x="211" y="217"/>
                      <a:pt x="214" y="216"/>
                      <a:pt x="216" y="216"/>
                    </a:cubicBezTo>
                    <a:cubicBezTo>
                      <a:pt x="217" y="217"/>
                      <a:pt x="217" y="219"/>
                      <a:pt x="219" y="219"/>
                    </a:cubicBezTo>
                    <a:cubicBezTo>
                      <a:pt x="220" y="220"/>
                      <a:pt x="222" y="220"/>
                      <a:pt x="223" y="220"/>
                    </a:cubicBezTo>
                    <a:cubicBezTo>
                      <a:pt x="228" y="220"/>
                      <a:pt x="227" y="215"/>
                      <a:pt x="227" y="212"/>
                    </a:cubicBezTo>
                    <a:cubicBezTo>
                      <a:pt x="227" y="208"/>
                      <a:pt x="231" y="204"/>
                      <a:pt x="235" y="205"/>
                    </a:cubicBezTo>
                    <a:cubicBezTo>
                      <a:pt x="236" y="205"/>
                      <a:pt x="236" y="205"/>
                      <a:pt x="236" y="205"/>
                    </a:cubicBezTo>
                    <a:cubicBezTo>
                      <a:pt x="237" y="205"/>
                      <a:pt x="237" y="205"/>
                      <a:pt x="237" y="204"/>
                    </a:cubicBezTo>
                    <a:cubicBezTo>
                      <a:pt x="238" y="204"/>
                      <a:pt x="238" y="204"/>
                      <a:pt x="238" y="204"/>
                    </a:cubicBezTo>
                    <a:cubicBezTo>
                      <a:pt x="241" y="204"/>
                      <a:pt x="244" y="204"/>
                      <a:pt x="246" y="204"/>
                    </a:cubicBezTo>
                    <a:cubicBezTo>
                      <a:pt x="246" y="206"/>
                      <a:pt x="248" y="206"/>
                      <a:pt x="248" y="208"/>
                    </a:cubicBezTo>
                    <a:cubicBezTo>
                      <a:pt x="248" y="210"/>
                      <a:pt x="247" y="210"/>
                      <a:pt x="247" y="212"/>
                    </a:cubicBezTo>
                    <a:cubicBezTo>
                      <a:pt x="246" y="213"/>
                      <a:pt x="246" y="215"/>
                      <a:pt x="246" y="216"/>
                    </a:cubicBezTo>
                    <a:cubicBezTo>
                      <a:pt x="246" y="218"/>
                      <a:pt x="246" y="218"/>
                      <a:pt x="248" y="219"/>
                    </a:cubicBezTo>
                    <a:cubicBezTo>
                      <a:pt x="250" y="219"/>
                      <a:pt x="254" y="219"/>
                      <a:pt x="256" y="219"/>
                    </a:cubicBezTo>
                    <a:cubicBezTo>
                      <a:pt x="257" y="219"/>
                      <a:pt x="259" y="218"/>
                      <a:pt x="259" y="217"/>
                    </a:cubicBezTo>
                    <a:cubicBezTo>
                      <a:pt x="261" y="214"/>
                      <a:pt x="259" y="211"/>
                      <a:pt x="257" y="209"/>
                    </a:cubicBezTo>
                    <a:cubicBezTo>
                      <a:pt x="257" y="208"/>
                      <a:pt x="256" y="207"/>
                      <a:pt x="255" y="207"/>
                    </a:cubicBezTo>
                    <a:cubicBezTo>
                      <a:pt x="254" y="206"/>
                      <a:pt x="253" y="205"/>
                      <a:pt x="252" y="204"/>
                    </a:cubicBezTo>
                    <a:cubicBezTo>
                      <a:pt x="252" y="204"/>
                      <a:pt x="252" y="202"/>
                      <a:pt x="251" y="202"/>
                    </a:cubicBezTo>
                    <a:cubicBezTo>
                      <a:pt x="250" y="200"/>
                      <a:pt x="249" y="201"/>
                      <a:pt x="249" y="199"/>
                    </a:cubicBezTo>
                    <a:cubicBezTo>
                      <a:pt x="249" y="198"/>
                      <a:pt x="249" y="197"/>
                      <a:pt x="249" y="196"/>
                    </a:cubicBezTo>
                    <a:cubicBezTo>
                      <a:pt x="249" y="195"/>
                      <a:pt x="249" y="194"/>
                      <a:pt x="250" y="193"/>
                    </a:cubicBezTo>
                    <a:cubicBezTo>
                      <a:pt x="250" y="192"/>
                      <a:pt x="251" y="191"/>
                      <a:pt x="251" y="191"/>
                    </a:cubicBezTo>
                    <a:cubicBezTo>
                      <a:pt x="252" y="189"/>
                      <a:pt x="253" y="188"/>
                      <a:pt x="254" y="186"/>
                    </a:cubicBezTo>
                    <a:cubicBezTo>
                      <a:pt x="255" y="184"/>
                      <a:pt x="256" y="183"/>
                      <a:pt x="257" y="180"/>
                    </a:cubicBezTo>
                    <a:cubicBezTo>
                      <a:pt x="257" y="179"/>
                      <a:pt x="258" y="177"/>
                      <a:pt x="258" y="176"/>
                    </a:cubicBezTo>
                    <a:cubicBezTo>
                      <a:pt x="259" y="172"/>
                      <a:pt x="258" y="168"/>
                      <a:pt x="258" y="164"/>
                    </a:cubicBezTo>
                    <a:cubicBezTo>
                      <a:pt x="258" y="161"/>
                      <a:pt x="258" y="158"/>
                      <a:pt x="258" y="155"/>
                    </a:cubicBezTo>
                    <a:cubicBezTo>
                      <a:pt x="258" y="155"/>
                      <a:pt x="258" y="154"/>
                      <a:pt x="258" y="154"/>
                    </a:cubicBezTo>
                    <a:cubicBezTo>
                      <a:pt x="259" y="153"/>
                      <a:pt x="259" y="153"/>
                      <a:pt x="259" y="152"/>
                    </a:cubicBezTo>
                    <a:cubicBezTo>
                      <a:pt x="260" y="150"/>
                      <a:pt x="260" y="150"/>
                      <a:pt x="261" y="149"/>
                    </a:cubicBezTo>
                    <a:cubicBezTo>
                      <a:pt x="263" y="148"/>
                      <a:pt x="264" y="148"/>
                      <a:pt x="265" y="148"/>
                    </a:cubicBezTo>
                    <a:cubicBezTo>
                      <a:pt x="266" y="147"/>
                      <a:pt x="268" y="146"/>
                      <a:pt x="269" y="145"/>
                    </a:cubicBezTo>
                    <a:cubicBezTo>
                      <a:pt x="269" y="145"/>
                      <a:pt x="269" y="144"/>
                      <a:pt x="270" y="144"/>
                    </a:cubicBezTo>
                    <a:cubicBezTo>
                      <a:pt x="271" y="143"/>
                      <a:pt x="273" y="143"/>
                      <a:pt x="274" y="142"/>
                    </a:cubicBezTo>
                    <a:cubicBezTo>
                      <a:pt x="276" y="142"/>
                      <a:pt x="277" y="142"/>
                      <a:pt x="279" y="142"/>
                    </a:cubicBezTo>
                    <a:cubicBezTo>
                      <a:pt x="281" y="142"/>
                      <a:pt x="281" y="142"/>
                      <a:pt x="282" y="141"/>
                    </a:cubicBezTo>
                    <a:cubicBezTo>
                      <a:pt x="282" y="140"/>
                      <a:pt x="283" y="139"/>
                      <a:pt x="283" y="138"/>
                    </a:cubicBezTo>
                    <a:cubicBezTo>
                      <a:pt x="283" y="137"/>
                      <a:pt x="283" y="136"/>
                      <a:pt x="283" y="135"/>
                    </a:cubicBezTo>
                    <a:cubicBezTo>
                      <a:pt x="283" y="135"/>
                      <a:pt x="284" y="135"/>
                      <a:pt x="284" y="134"/>
                    </a:cubicBezTo>
                    <a:cubicBezTo>
                      <a:pt x="284" y="134"/>
                      <a:pt x="284" y="134"/>
                      <a:pt x="284" y="133"/>
                    </a:cubicBezTo>
                    <a:cubicBezTo>
                      <a:pt x="285" y="133"/>
                      <a:pt x="285" y="132"/>
                      <a:pt x="285" y="132"/>
                    </a:cubicBezTo>
                    <a:cubicBezTo>
                      <a:pt x="287" y="131"/>
                      <a:pt x="288" y="130"/>
                      <a:pt x="289" y="129"/>
                    </a:cubicBezTo>
                    <a:cubicBezTo>
                      <a:pt x="291" y="129"/>
                      <a:pt x="293" y="128"/>
                      <a:pt x="294" y="127"/>
                    </a:cubicBezTo>
                    <a:cubicBezTo>
                      <a:pt x="295" y="126"/>
                      <a:pt x="295" y="126"/>
                      <a:pt x="296" y="125"/>
                    </a:cubicBezTo>
                    <a:cubicBezTo>
                      <a:pt x="298" y="125"/>
                      <a:pt x="299" y="124"/>
                      <a:pt x="301" y="124"/>
                    </a:cubicBezTo>
                    <a:cubicBezTo>
                      <a:pt x="302" y="123"/>
                      <a:pt x="303" y="124"/>
                      <a:pt x="304" y="123"/>
                    </a:cubicBezTo>
                    <a:cubicBezTo>
                      <a:pt x="305" y="123"/>
                      <a:pt x="305" y="122"/>
                      <a:pt x="306" y="122"/>
                    </a:cubicBezTo>
                    <a:cubicBezTo>
                      <a:pt x="307" y="121"/>
                      <a:pt x="308" y="121"/>
                      <a:pt x="309" y="120"/>
                    </a:cubicBezTo>
                    <a:cubicBezTo>
                      <a:pt x="310" y="118"/>
                      <a:pt x="309" y="118"/>
                      <a:pt x="311" y="117"/>
                    </a:cubicBezTo>
                    <a:cubicBezTo>
                      <a:pt x="311" y="117"/>
                      <a:pt x="312" y="117"/>
                      <a:pt x="312" y="116"/>
                    </a:cubicBezTo>
                    <a:cubicBezTo>
                      <a:pt x="313" y="116"/>
                      <a:pt x="313" y="116"/>
                      <a:pt x="314" y="116"/>
                    </a:cubicBezTo>
                    <a:cubicBezTo>
                      <a:pt x="316" y="115"/>
                      <a:pt x="317" y="113"/>
                      <a:pt x="316" y="11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22" name="Freeform 38">
                <a:extLst>
                  <a:ext uri="{FF2B5EF4-FFF2-40B4-BE49-F238E27FC236}">
                    <a16:creationId xmlns:a16="http://schemas.microsoft.com/office/drawing/2014/main" id="{CF82AA62-CCB0-49A2-85E3-5684C822B5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46763" y="3511550"/>
                <a:ext cx="947738" cy="849313"/>
              </a:xfrm>
              <a:custGeom>
                <a:avLst/>
                <a:gdLst/>
                <a:ahLst/>
                <a:cxnLst>
                  <a:cxn ang="0">
                    <a:pos x="493" y="252"/>
                  </a:cxn>
                  <a:cxn ang="0">
                    <a:pos x="479" y="230"/>
                  </a:cxn>
                  <a:cxn ang="0">
                    <a:pos x="455" y="220"/>
                  </a:cxn>
                  <a:cxn ang="0">
                    <a:pos x="426" y="174"/>
                  </a:cxn>
                  <a:cxn ang="0">
                    <a:pos x="418" y="142"/>
                  </a:cxn>
                  <a:cxn ang="0">
                    <a:pos x="406" y="117"/>
                  </a:cxn>
                  <a:cxn ang="0">
                    <a:pos x="412" y="91"/>
                  </a:cxn>
                  <a:cxn ang="0">
                    <a:pos x="408" y="69"/>
                  </a:cxn>
                  <a:cxn ang="0">
                    <a:pos x="383" y="37"/>
                  </a:cxn>
                  <a:cxn ang="0">
                    <a:pos x="354" y="34"/>
                  </a:cxn>
                  <a:cxn ang="0">
                    <a:pos x="329" y="44"/>
                  </a:cxn>
                  <a:cxn ang="0">
                    <a:pos x="294" y="18"/>
                  </a:cxn>
                  <a:cxn ang="0">
                    <a:pos x="256" y="8"/>
                  </a:cxn>
                  <a:cxn ang="0">
                    <a:pos x="210" y="33"/>
                  </a:cxn>
                  <a:cxn ang="0">
                    <a:pos x="185" y="47"/>
                  </a:cxn>
                  <a:cxn ang="0">
                    <a:pos x="173" y="66"/>
                  </a:cxn>
                  <a:cxn ang="0">
                    <a:pos x="178" y="82"/>
                  </a:cxn>
                  <a:cxn ang="0">
                    <a:pos x="181" y="92"/>
                  </a:cxn>
                  <a:cxn ang="0">
                    <a:pos x="161" y="101"/>
                  </a:cxn>
                  <a:cxn ang="0">
                    <a:pos x="154" y="113"/>
                  </a:cxn>
                  <a:cxn ang="0">
                    <a:pos x="133" y="121"/>
                  </a:cxn>
                  <a:cxn ang="0">
                    <a:pos x="129" y="152"/>
                  </a:cxn>
                  <a:cxn ang="0">
                    <a:pos x="123" y="174"/>
                  </a:cxn>
                  <a:cxn ang="0">
                    <a:pos x="120" y="191"/>
                  </a:cxn>
                  <a:cxn ang="0">
                    <a:pos x="109" y="176"/>
                  </a:cxn>
                  <a:cxn ang="0">
                    <a:pos x="88" y="188"/>
                  </a:cxn>
                  <a:cxn ang="0">
                    <a:pos x="75" y="206"/>
                  </a:cxn>
                  <a:cxn ang="0">
                    <a:pos x="64" y="207"/>
                  </a:cxn>
                  <a:cxn ang="0">
                    <a:pos x="31" y="208"/>
                  </a:cxn>
                  <a:cxn ang="0">
                    <a:pos x="11" y="211"/>
                  </a:cxn>
                  <a:cxn ang="0">
                    <a:pos x="22" y="253"/>
                  </a:cxn>
                  <a:cxn ang="0">
                    <a:pos x="38" y="294"/>
                  </a:cxn>
                  <a:cxn ang="0">
                    <a:pos x="40" y="316"/>
                  </a:cxn>
                  <a:cxn ang="0">
                    <a:pos x="20" y="331"/>
                  </a:cxn>
                  <a:cxn ang="0">
                    <a:pos x="4" y="360"/>
                  </a:cxn>
                  <a:cxn ang="0">
                    <a:pos x="23" y="380"/>
                  </a:cxn>
                  <a:cxn ang="0">
                    <a:pos x="13" y="404"/>
                  </a:cxn>
                  <a:cxn ang="0">
                    <a:pos x="43" y="408"/>
                  </a:cxn>
                  <a:cxn ang="0">
                    <a:pos x="69" y="393"/>
                  </a:cxn>
                  <a:cxn ang="0">
                    <a:pos x="118" y="394"/>
                  </a:cxn>
                  <a:cxn ang="0">
                    <a:pos x="148" y="398"/>
                  </a:cxn>
                  <a:cxn ang="0">
                    <a:pos x="200" y="407"/>
                  </a:cxn>
                  <a:cxn ang="0">
                    <a:pos x="215" y="420"/>
                  </a:cxn>
                  <a:cxn ang="0">
                    <a:pos x="242" y="423"/>
                  </a:cxn>
                  <a:cxn ang="0">
                    <a:pos x="272" y="425"/>
                  </a:cxn>
                  <a:cxn ang="0">
                    <a:pos x="296" y="425"/>
                  </a:cxn>
                  <a:cxn ang="0">
                    <a:pos x="322" y="435"/>
                  </a:cxn>
                  <a:cxn ang="0">
                    <a:pos x="370" y="445"/>
                  </a:cxn>
                  <a:cxn ang="0">
                    <a:pos x="391" y="406"/>
                  </a:cxn>
                  <a:cxn ang="0">
                    <a:pos x="406" y="384"/>
                  </a:cxn>
                  <a:cxn ang="0">
                    <a:pos x="427" y="375"/>
                  </a:cxn>
                  <a:cxn ang="0">
                    <a:pos x="443" y="363"/>
                  </a:cxn>
                  <a:cxn ang="0">
                    <a:pos x="436" y="319"/>
                  </a:cxn>
                  <a:cxn ang="0">
                    <a:pos x="444" y="280"/>
                  </a:cxn>
                  <a:cxn ang="0">
                    <a:pos x="483" y="284"/>
                  </a:cxn>
                  <a:cxn ang="0">
                    <a:pos x="500" y="270"/>
                  </a:cxn>
                </a:cxnLst>
                <a:rect l="0" t="0" r="r" b="b"/>
                <a:pathLst>
                  <a:path w="507" h="454">
                    <a:moveTo>
                      <a:pt x="9" y="209"/>
                    </a:moveTo>
                    <a:cubicBezTo>
                      <a:pt x="9" y="210"/>
                      <a:pt x="9" y="210"/>
                      <a:pt x="9" y="211"/>
                    </a:cubicBezTo>
                    <a:cubicBezTo>
                      <a:pt x="9" y="210"/>
                      <a:pt x="9" y="210"/>
                      <a:pt x="9" y="209"/>
                    </a:cubicBezTo>
                    <a:moveTo>
                      <a:pt x="505" y="257"/>
                    </a:moveTo>
                    <a:cubicBezTo>
                      <a:pt x="503" y="254"/>
                      <a:pt x="502" y="255"/>
                      <a:pt x="498" y="255"/>
                    </a:cubicBezTo>
                    <a:cubicBezTo>
                      <a:pt x="496" y="255"/>
                      <a:pt x="495" y="255"/>
                      <a:pt x="493" y="252"/>
                    </a:cubicBezTo>
                    <a:cubicBezTo>
                      <a:pt x="491" y="249"/>
                      <a:pt x="491" y="246"/>
                      <a:pt x="491" y="242"/>
                    </a:cubicBezTo>
                    <a:cubicBezTo>
                      <a:pt x="491" y="241"/>
                      <a:pt x="490" y="239"/>
                      <a:pt x="490" y="238"/>
                    </a:cubicBezTo>
                    <a:cubicBezTo>
                      <a:pt x="490" y="236"/>
                      <a:pt x="492" y="232"/>
                      <a:pt x="491" y="230"/>
                    </a:cubicBezTo>
                    <a:cubicBezTo>
                      <a:pt x="489" y="229"/>
                      <a:pt x="487" y="232"/>
                      <a:pt x="484" y="232"/>
                    </a:cubicBezTo>
                    <a:cubicBezTo>
                      <a:pt x="483" y="232"/>
                      <a:pt x="483" y="231"/>
                      <a:pt x="482" y="231"/>
                    </a:cubicBezTo>
                    <a:cubicBezTo>
                      <a:pt x="481" y="230"/>
                      <a:pt x="480" y="231"/>
                      <a:pt x="479" y="230"/>
                    </a:cubicBezTo>
                    <a:cubicBezTo>
                      <a:pt x="478" y="230"/>
                      <a:pt x="478" y="231"/>
                      <a:pt x="476" y="229"/>
                    </a:cubicBezTo>
                    <a:cubicBezTo>
                      <a:pt x="475" y="228"/>
                      <a:pt x="475" y="227"/>
                      <a:pt x="474" y="226"/>
                    </a:cubicBezTo>
                    <a:cubicBezTo>
                      <a:pt x="472" y="225"/>
                      <a:pt x="468" y="226"/>
                      <a:pt x="466" y="225"/>
                    </a:cubicBezTo>
                    <a:cubicBezTo>
                      <a:pt x="462" y="225"/>
                      <a:pt x="457" y="227"/>
                      <a:pt x="453" y="227"/>
                    </a:cubicBezTo>
                    <a:cubicBezTo>
                      <a:pt x="452" y="225"/>
                      <a:pt x="453" y="225"/>
                      <a:pt x="454" y="224"/>
                    </a:cubicBezTo>
                    <a:cubicBezTo>
                      <a:pt x="454" y="223"/>
                      <a:pt x="454" y="221"/>
                      <a:pt x="455" y="220"/>
                    </a:cubicBezTo>
                    <a:cubicBezTo>
                      <a:pt x="457" y="215"/>
                      <a:pt x="458" y="211"/>
                      <a:pt x="458" y="206"/>
                    </a:cubicBezTo>
                    <a:cubicBezTo>
                      <a:pt x="457" y="204"/>
                      <a:pt x="456" y="203"/>
                      <a:pt x="456" y="201"/>
                    </a:cubicBezTo>
                    <a:cubicBezTo>
                      <a:pt x="455" y="199"/>
                      <a:pt x="454" y="198"/>
                      <a:pt x="453" y="197"/>
                    </a:cubicBezTo>
                    <a:cubicBezTo>
                      <a:pt x="446" y="193"/>
                      <a:pt x="438" y="200"/>
                      <a:pt x="435" y="190"/>
                    </a:cubicBezTo>
                    <a:cubicBezTo>
                      <a:pt x="434" y="188"/>
                      <a:pt x="434" y="185"/>
                      <a:pt x="432" y="182"/>
                    </a:cubicBezTo>
                    <a:cubicBezTo>
                      <a:pt x="431" y="179"/>
                      <a:pt x="428" y="177"/>
                      <a:pt x="426" y="174"/>
                    </a:cubicBezTo>
                    <a:cubicBezTo>
                      <a:pt x="425" y="171"/>
                      <a:pt x="425" y="167"/>
                      <a:pt x="422" y="165"/>
                    </a:cubicBezTo>
                    <a:cubicBezTo>
                      <a:pt x="421" y="164"/>
                      <a:pt x="417" y="165"/>
                      <a:pt x="416" y="163"/>
                    </a:cubicBezTo>
                    <a:cubicBezTo>
                      <a:pt x="415" y="161"/>
                      <a:pt x="416" y="160"/>
                      <a:pt x="417" y="159"/>
                    </a:cubicBezTo>
                    <a:cubicBezTo>
                      <a:pt x="419" y="156"/>
                      <a:pt x="421" y="154"/>
                      <a:pt x="422" y="150"/>
                    </a:cubicBezTo>
                    <a:cubicBezTo>
                      <a:pt x="423" y="149"/>
                      <a:pt x="422" y="147"/>
                      <a:pt x="422" y="145"/>
                    </a:cubicBezTo>
                    <a:cubicBezTo>
                      <a:pt x="421" y="142"/>
                      <a:pt x="420" y="142"/>
                      <a:pt x="418" y="142"/>
                    </a:cubicBezTo>
                    <a:cubicBezTo>
                      <a:pt x="415" y="142"/>
                      <a:pt x="414" y="143"/>
                      <a:pt x="413" y="141"/>
                    </a:cubicBezTo>
                    <a:cubicBezTo>
                      <a:pt x="411" y="140"/>
                      <a:pt x="411" y="139"/>
                      <a:pt x="409" y="138"/>
                    </a:cubicBezTo>
                    <a:cubicBezTo>
                      <a:pt x="406" y="136"/>
                      <a:pt x="402" y="137"/>
                      <a:pt x="401" y="132"/>
                    </a:cubicBezTo>
                    <a:cubicBezTo>
                      <a:pt x="399" y="129"/>
                      <a:pt x="403" y="126"/>
                      <a:pt x="402" y="123"/>
                    </a:cubicBezTo>
                    <a:cubicBezTo>
                      <a:pt x="402" y="121"/>
                      <a:pt x="400" y="120"/>
                      <a:pt x="402" y="118"/>
                    </a:cubicBezTo>
                    <a:cubicBezTo>
                      <a:pt x="403" y="117"/>
                      <a:pt x="405" y="117"/>
                      <a:pt x="406" y="117"/>
                    </a:cubicBezTo>
                    <a:cubicBezTo>
                      <a:pt x="406" y="116"/>
                      <a:pt x="407" y="115"/>
                      <a:pt x="408" y="115"/>
                    </a:cubicBezTo>
                    <a:cubicBezTo>
                      <a:pt x="408" y="114"/>
                      <a:pt x="408" y="112"/>
                      <a:pt x="408" y="111"/>
                    </a:cubicBezTo>
                    <a:cubicBezTo>
                      <a:pt x="410" y="111"/>
                      <a:pt x="411" y="110"/>
                      <a:pt x="412" y="109"/>
                    </a:cubicBezTo>
                    <a:cubicBezTo>
                      <a:pt x="412" y="108"/>
                      <a:pt x="412" y="106"/>
                      <a:pt x="412" y="105"/>
                    </a:cubicBezTo>
                    <a:cubicBezTo>
                      <a:pt x="411" y="102"/>
                      <a:pt x="411" y="102"/>
                      <a:pt x="412" y="100"/>
                    </a:cubicBezTo>
                    <a:cubicBezTo>
                      <a:pt x="413" y="97"/>
                      <a:pt x="412" y="94"/>
                      <a:pt x="412" y="91"/>
                    </a:cubicBezTo>
                    <a:cubicBezTo>
                      <a:pt x="410" y="91"/>
                      <a:pt x="406" y="89"/>
                      <a:pt x="405" y="88"/>
                    </a:cubicBezTo>
                    <a:cubicBezTo>
                      <a:pt x="404" y="86"/>
                      <a:pt x="405" y="87"/>
                      <a:pt x="405" y="85"/>
                    </a:cubicBezTo>
                    <a:cubicBezTo>
                      <a:pt x="405" y="83"/>
                      <a:pt x="405" y="81"/>
                      <a:pt x="406" y="80"/>
                    </a:cubicBezTo>
                    <a:cubicBezTo>
                      <a:pt x="407" y="79"/>
                      <a:pt x="408" y="79"/>
                      <a:pt x="408" y="78"/>
                    </a:cubicBezTo>
                    <a:cubicBezTo>
                      <a:pt x="408" y="77"/>
                      <a:pt x="408" y="76"/>
                      <a:pt x="408" y="76"/>
                    </a:cubicBezTo>
                    <a:cubicBezTo>
                      <a:pt x="408" y="73"/>
                      <a:pt x="408" y="71"/>
                      <a:pt x="408" y="69"/>
                    </a:cubicBezTo>
                    <a:cubicBezTo>
                      <a:pt x="408" y="64"/>
                      <a:pt x="410" y="63"/>
                      <a:pt x="411" y="58"/>
                    </a:cubicBezTo>
                    <a:cubicBezTo>
                      <a:pt x="411" y="57"/>
                      <a:pt x="411" y="54"/>
                      <a:pt x="409" y="54"/>
                    </a:cubicBezTo>
                    <a:cubicBezTo>
                      <a:pt x="407" y="53"/>
                      <a:pt x="404" y="54"/>
                      <a:pt x="402" y="54"/>
                    </a:cubicBezTo>
                    <a:cubicBezTo>
                      <a:pt x="396" y="54"/>
                      <a:pt x="399" y="49"/>
                      <a:pt x="397" y="45"/>
                    </a:cubicBezTo>
                    <a:cubicBezTo>
                      <a:pt x="396" y="43"/>
                      <a:pt x="393" y="42"/>
                      <a:pt x="391" y="41"/>
                    </a:cubicBezTo>
                    <a:cubicBezTo>
                      <a:pt x="388" y="39"/>
                      <a:pt x="386" y="38"/>
                      <a:pt x="383" y="37"/>
                    </a:cubicBezTo>
                    <a:cubicBezTo>
                      <a:pt x="381" y="37"/>
                      <a:pt x="379" y="36"/>
                      <a:pt x="377" y="34"/>
                    </a:cubicBezTo>
                    <a:cubicBezTo>
                      <a:pt x="376" y="33"/>
                      <a:pt x="375" y="31"/>
                      <a:pt x="374" y="29"/>
                    </a:cubicBezTo>
                    <a:cubicBezTo>
                      <a:pt x="371" y="26"/>
                      <a:pt x="365" y="30"/>
                      <a:pt x="362" y="32"/>
                    </a:cubicBezTo>
                    <a:cubicBezTo>
                      <a:pt x="362" y="32"/>
                      <a:pt x="362" y="33"/>
                      <a:pt x="362" y="33"/>
                    </a:cubicBezTo>
                    <a:cubicBezTo>
                      <a:pt x="360" y="33"/>
                      <a:pt x="359" y="32"/>
                      <a:pt x="357" y="32"/>
                    </a:cubicBezTo>
                    <a:cubicBezTo>
                      <a:pt x="355" y="32"/>
                      <a:pt x="355" y="32"/>
                      <a:pt x="354" y="34"/>
                    </a:cubicBezTo>
                    <a:cubicBezTo>
                      <a:pt x="351" y="36"/>
                      <a:pt x="352" y="39"/>
                      <a:pt x="350" y="42"/>
                    </a:cubicBezTo>
                    <a:cubicBezTo>
                      <a:pt x="348" y="41"/>
                      <a:pt x="346" y="39"/>
                      <a:pt x="343" y="39"/>
                    </a:cubicBezTo>
                    <a:cubicBezTo>
                      <a:pt x="342" y="39"/>
                      <a:pt x="341" y="40"/>
                      <a:pt x="340" y="41"/>
                    </a:cubicBezTo>
                    <a:cubicBezTo>
                      <a:pt x="338" y="43"/>
                      <a:pt x="339" y="43"/>
                      <a:pt x="337" y="44"/>
                    </a:cubicBezTo>
                    <a:cubicBezTo>
                      <a:pt x="337" y="44"/>
                      <a:pt x="336" y="44"/>
                      <a:pt x="335" y="45"/>
                    </a:cubicBezTo>
                    <a:cubicBezTo>
                      <a:pt x="334" y="45"/>
                      <a:pt x="330" y="45"/>
                      <a:pt x="329" y="44"/>
                    </a:cubicBezTo>
                    <a:cubicBezTo>
                      <a:pt x="327" y="43"/>
                      <a:pt x="328" y="36"/>
                      <a:pt x="328" y="35"/>
                    </a:cubicBezTo>
                    <a:cubicBezTo>
                      <a:pt x="328" y="33"/>
                      <a:pt x="328" y="31"/>
                      <a:pt x="328" y="29"/>
                    </a:cubicBezTo>
                    <a:cubicBezTo>
                      <a:pt x="329" y="28"/>
                      <a:pt x="330" y="27"/>
                      <a:pt x="330" y="25"/>
                    </a:cubicBezTo>
                    <a:cubicBezTo>
                      <a:pt x="329" y="18"/>
                      <a:pt x="321" y="16"/>
                      <a:pt x="315" y="16"/>
                    </a:cubicBezTo>
                    <a:cubicBezTo>
                      <a:pt x="311" y="16"/>
                      <a:pt x="306" y="16"/>
                      <a:pt x="302" y="18"/>
                    </a:cubicBezTo>
                    <a:cubicBezTo>
                      <a:pt x="299" y="19"/>
                      <a:pt x="297" y="21"/>
                      <a:pt x="294" y="18"/>
                    </a:cubicBezTo>
                    <a:cubicBezTo>
                      <a:pt x="291" y="17"/>
                      <a:pt x="290" y="13"/>
                      <a:pt x="289" y="10"/>
                    </a:cubicBezTo>
                    <a:cubicBezTo>
                      <a:pt x="287" y="6"/>
                      <a:pt x="286" y="4"/>
                      <a:pt x="282" y="6"/>
                    </a:cubicBezTo>
                    <a:cubicBezTo>
                      <a:pt x="278" y="7"/>
                      <a:pt x="274" y="9"/>
                      <a:pt x="270" y="8"/>
                    </a:cubicBezTo>
                    <a:cubicBezTo>
                      <a:pt x="269" y="8"/>
                      <a:pt x="265" y="7"/>
                      <a:pt x="264" y="6"/>
                    </a:cubicBezTo>
                    <a:cubicBezTo>
                      <a:pt x="264" y="6"/>
                      <a:pt x="264" y="2"/>
                      <a:pt x="263" y="1"/>
                    </a:cubicBezTo>
                    <a:cubicBezTo>
                      <a:pt x="262" y="0"/>
                      <a:pt x="257" y="6"/>
                      <a:pt x="256" y="8"/>
                    </a:cubicBezTo>
                    <a:cubicBezTo>
                      <a:pt x="253" y="11"/>
                      <a:pt x="249" y="16"/>
                      <a:pt x="245" y="16"/>
                    </a:cubicBezTo>
                    <a:cubicBezTo>
                      <a:pt x="240" y="17"/>
                      <a:pt x="237" y="19"/>
                      <a:pt x="236" y="24"/>
                    </a:cubicBezTo>
                    <a:cubicBezTo>
                      <a:pt x="235" y="28"/>
                      <a:pt x="238" y="33"/>
                      <a:pt x="234" y="36"/>
                    </a:cubicBezTo>
                    <a:cubicBezTo>
                      <a:pt x="230" y="39"/>
                      <a:pt x="227" y="34"/>
                      <a:pt x="223" y="35"/>
                    </a:cubicBezTo>
                    <a:cubicBezTo>
                      <a:pt x="220" y="35"/>
                      <a:pt x="217" y="35"/>
                      <a:pt x="215" y="35"/>
                    </a:cubicBezTo>
                    <a:cubicBezTo>
                      <a:pt x="212" y="34"/>
                      <a:pt x="212" y="34"/>
                      <a:pt x="210" y="33"/>
                    </a:cubicBezTo>
                    <a:cubicBezTo>
                      <a:pt x="207" y="31"/>
                      <a:pt x="203" y="33"/>
                      <a:pt x="201" y="35"/>
                    </a:cubicBezTo>
                    <a:cubicBezTo>
                      <a:pt x="200" y="35"/>
                      <a:pt x="200" y="37"/>
                      <a:pt x="199" y="37"/>
                    </a:cubicBezTo>
                    <a:cubicBezTo>
                      <a:pt x="198" y="37"/>
                      <a:pt x="197" y="37"/>
                      <a:pt x="196" y="38"/>
                    </a:cubicBezTo>
                    <a:cubicBezTo>
                      <a:pt x="195" y="38"/>
                      <a:pt x="193" y="39"/>
                      <a:pt x="193" y="40"/>
                    </a:cubicBezTo>
                    <a:cubicBezTo>
                      <a:pt x="191" y="41"/>
                      <a:pt x="190" y="44"/>
                      <a:pt x="189" y="45"/>
                    </a:cubicBezTo>
                    <a:cubicBezTo>
                      <a:pt x="188" y="47"/>
                      <a:pt x="187" y="47"/>
                      <a:pt x="185" y="47"/>
                    </a:cubicBezTo>
                    <a:cubicBezTo>
                      <a:pt x="183" y="47"/>
                      <a:pt x="181" y="46"/>
                      <a:pt x="180" y="46"/>
                    </a:cubicBezTo>
                    <a:cubicBezTo>
                      <a:pt x="179" y="47"/>
                      <a:pt x="179" y="47"/>
                      <a:pt x="178" y="47"/>
                    </a:cubicBezTo>
                    <a:cubicBezTo>
                      <a:pt x="179" y="47"/>
                      <a:pt x="181" y="47"/>
                      <a:pt x="181" y="48"/>
                    </a:cubicBezTo>
                    <a:cubicBezTo>
                      <a:pt x="184" y="50"/>
                      <a:pt x="179" y="57"/>
                      <a:pt x="178" y="59"/>
                    </a:cubicBezTo>
                    <a:cubicBezTo>
                      <a:pt x="177" y="61"/>
                      <a:pt x="176" y="63"/>
                      <a:pt x="174" y="64"/>
                    </a:cubicBezTo>
                    <a:cubicBezTo>
                      <a:pt x="173" y="65"/>
                      <a:pt x="173" y="66"/>
                      <a:pt x="173" y="66"/>
                    </a:cubicBezTo>
                    <a:cubicBezTo>
                      <a:pt x="172" y="69"/>
                      <a:pt x="174" y="68"/>
                      <a:pt x="175" y="69"/>
                    </a:cubicBezTo>
                    <a:cubicBezTo>
                      <a:pt x="176" y="70"/>
                      <a:pt x="176" y="70"/>
                      <a:pt x="176" y="72"/>
                    </a:cubicBezTo>
                    <a:cubicBezTo>
                      <a:pt x="176" y="74"/>
                      <a:pt x="174" y="75"/>
                      <a:pt x="173" y="77"/>
                    </a:cubicBezTo>
                    <a:cubicBezTo>
                      <a:pt x="172" y="78"/>
                      <a:pt x="172" y="78"/>
                      <a:pt x="173" y="80"/>
                    </a:cubicBezTo>
                    <a:cubicBezTo>
                      <a:pt x="174" y="81"/>
                      <a:pt x="175" y="83"/>
                      <a:pt x="177" y="83"/>
                    </a:cubicBezTo>
                    <a:cubicBezTo>
                      <a:pt x="177" y="83"/>
                      <a:pt x="178" y="82"/>
                      <a:pt x="178" y="82"/>
                    </a:cubicBezTo>
                    <a:cubicBezTo>
                      <a:pt x="179" y="82"/>
                      <a:pt x="180" y="82"/>
                      <a:pt x="180" y="82"/>
                    </a:cubicBezTo>
                    <a:cubicBezTo>
                      <a:pt x="182" y="82"/>
                      <a:pt x="186" y="82"/>
                      <a:pt x="188" y="83"/>
                    </a:cubicBezTo>
                    <a:cubicBezTo>
                      <a:pt x="189" y="85"/>
                      <a:pt x="188" y="87"/>
                      <a:pt x="186" y="88"/>
                    </a:cubicBezTo>
                    <a:cubicBezTo>
                      <a:pt x="185" y="88"/>
                      <a:pt x="185" y="88"/>
                      <a:pt x="184" y="88"/>
                    </a:cubicBezTo>
                    <a:cubicBezTo>
                      <a:pt x="184" y="89"/>
                      <a:pt x="183" y="89"/>
                      <a:pt x="183" y="89"/>
                    </a:cubicBezTo>
                    <a:cubicBezTo>
                      <a:pt x="181" y="90"/>
                      <a:pt x="182" y="90"/>
                      <a:pt x="181" y="92"/>
                    </a:cubicBezTo>
                    <a:cubicBezTo>
                      <a:pt x="180" y="93"/>
                      <a:pt x="179" y="93"/>
                      <a:pt x="178" y="94"/>
                    </a:cubicBezTo>
                    <a:cubicBezTo>
                      <a:pt x="177" y="94"/>
                      <a:pt x="177" y="95"/>
                      <a:pt x="176" y="95"/>
                    </a:cubicBezTo>
                    <a:cubicBezTo>
                      <a:pt x="175" y="96"/>
                      <a:pt x="174" y="95"/>
                      <a:pt x="173" y="96"/>
                    </a:cubicBezTo>
                    <a:cubicBezTo>
                      <a:pt x="171" y="96"/>
                      <a:pt x="170" y="97"/>
                      <a:pt x="168" y="97"/>
                    </a:cubicBezTo>
                    <a:cubicBezTo>
                      <a:pt x="167" y="98"/>
                      <a:pt x="167" y="98"/>
                      <a:pt x="166" y="99"/>
                    </a:cubicBezTo>
                    <a:cubicBezTo>
                      <a:pt x="165" y="100"/>
                      <a:pt x="163" y="101"/>
                      <a:pt x="161" y="101"/>
                    </a:cubicBezTo>
                    <a:cubicBezTo>
                      <a:pt x="160" y="102"/>
                      <a:pt x="159" y="103"/>
                      <a:pt x="157" y="104"/>
                    </a:cubicBezTo>
                    <a:cubicBezTo>
                      <a:pt x="157" y="104"/>
                      <a:pt x="157" y="105"/>
                      <a:pt x="156" y="105"/>
                    </a:cubicBezTo>
                    <a:cubicBezTo>
                      <a:pt x="156" y="106"/>
                      <a:pt x="156" y="106"/>
                      <a:pt x="156" y="106"/>
                    </a:cubicBezTo>
                    <a:cubicBezTo>
                      <a:pt x="156" y="107"/>
                      <a:pt x="155" y="107"/>
                      <a:pt x="155" y="107"/>
                    </a:cubicBezTo>
                    <a:cubicBezTo>
                      <a:pt x="155" y="108"/>
                      <a:pt x="155" y="109"/>
                      <a:pt x="155" y="110"/>
                    </a:cubicBezTo>
                    <a:cubicBezTo>
                      <a:pt x="155" y="111"/>
                      <a:pt x="154" y="112"/>
                      <a:pt x="154" y="113"/>
                    </a:cubicBezTo>
                    <a:cubicBezTo>
                      <a:pt x="153" y="114"/>
                      <a:pt x="153" y="114"/>
                      <a:pt x="151" y="114"/>
                    </a:cubicBezTo>
                    <a:cubicBezTo>
                      <a:pt x="149" y="114"/>
                      <a:pt x="148" y="114"/>
                      <a:pt x="146" y="114"/>
                    </a:cubicBezTo>
                    <a:cubicBezTo>
                      <a:pt x="145" y="115"/>
                      <a:pt x="143" y="115"/>
                      <a:pt x="142" y="116"/>
                    </a:cubicBezTo>
                    <a:cubicBezTo>
                      <a:pt x="141" y="116"/>
                      <a:pt x="141" y="117"/>
                      <a:pt x="141" y="117"/>
                    </a:cubicBezTo>
                    <a:cubicBezTo>
                      <a:pt x="140" y="118"/>
                      <a:pt x="138" y="119"/>
                      <a:pt x="137" y="120"/>
                    </a:cubicBezTo>
                    <a:cubicBezTo>
                      <a:pt x="136" y="120"/>
                      <a:pt x="135" y="120"/>
                      <a:pt x="133" y="121"/>
                    </a:cubicBezTo>
                    <a:cubicBezTo>
                      <a:pt x="132" y="122"/>
                      <a:pt x="132" y="122"/>
                      <a:pt x="131" y="124"/>
                    </a:cubicBezTo>
                    <a:cubicBezTo>
                      <a:pt x="131" y="125"/>
                      <a:pt x="131" y="125"/>
                      <a:pt x="130" y="126"/>
                    </a:cubicBezTo>
                    <a:cubicBezTo>
                      <a:pt x="130" y="126"/>
                      <a:pt x="130" y="127"/>
                      <a:pt x="130" y="127"/>
                    </a:cubicBezTo>
                    <a:cubicBezTo>
                      <a:pt x="130" y="130"/>
                      <a:pt x="130" y="133"/>
                      <a:pt x="130" y="136"/>
                    </a:cubicBezTo>
                    <a:cubicBezTo>
                      <a:pt x="130" y="140"/>
                      <a:pt x="131" y="144"/>
                      <a:pt x="130" y="148"/>
                    </a:cubicBezTo>
                    <a:cubicBezTo>
                      <a:pt x="130" y="149"/>
                      <a:pt x="129" y="151"/>
                      <a:pt x="129" y="152"/>
                    </a:cubicBezTo>
                    <a:cubicBezTo>
                      <a:pt x="128" y="155"/>
                      <a:pt x="127" y="156"/>
                      <a:pt x="126" y="158"/>
                    </a:cubicBezTo>
                    <a:cubicBezTo>
                      <a:pt x="125" y="160"/>
                      <a:pt x="124" y="161"/>
                      <a:pt x="123" y="163"/>
                    </a:cubicBezTo>
                    <a:cubicBezTo>
                      <a:pt x="123" y="163"/>
                      <a:pt x="122" y="164"/>
                      <a:pt x="122" y="165"/>
                    </a:cubicBezTo>
                    <a:cubicBezTo>
                      <a:pt x="121" y="166"/>
                      <a:pt x="121" y="167"/>
                      <a:pt x="121" y="168"/>
                    </a:cubicBezTo>
                    <a:cubicBezTo>
                      <a:pt x="121" y="169"/>
                      <a:pt x="121" y="170"/>
                      <a:pt x="121" y="171"/>
                    </a:cubicBezTo>
                    <a:cubicBezTo>
                      <a:pt x="121" y="173"/>
                      <a:pt x="122" y="172"/>
                      <a:pt x="123" y="174"/>
                    </a:cubicBezTo>
                    <a:cubicBezTo>
                      <a:pt x="124" y="174"/>
                      <a:pt x="124" y="176"/>
                      <a:pt x="124" y="176"/>
                    </a:cubicBezTo>
                    <a:cubicBezTo>
                      <a:pt x="125" y="177"/>
                      <a:pt x="126" y="178"/>
                      <a:pt x="127" y="179"/>
                    </a:cubicBezTo>
                    <a:cubicBezTo>
                      <a:pt x="128" y="179"/>
                      <a:pt x="129" y="180"/>
                      <a:pt x="129" y="181"/>
                    </a:cubicBezTo>
                    <a:cubicBezTo>
                      <a:pt x="131" y="183"/>
                      <a:pt x="133" y="186"/>
                      <a:pt x="131" y="189"/>
                    </a:cubicBezTo>
                    <a:cubicBezTo>
                      <a:pt x="131" y="190"/>
                      <a:pt x="129" y="191"/>
                      <a:pt x="128" y="191"/>
                    </a:cubicBezTo>
                    <a:cubicBezTo>
                      <a:pt x="126" y="191"/>
                      <a:pt x="122" y="191"/>
                      <a:pt x="120" y="191"/>
                    </a:cubicBezTo>
                    <a:cubicBezTo>
                      <a:pt x="118" y="190"/>
                      <a:pt x="118" y="190"/>
                      <a:pt x="118" y="188"/>
                    </a:cubicBezTo>
                    <a:cubicBezTo>
                      <a:pt x="118" y="187"/>
                      <a:pt x="118" y="185"/>
                      <a:pt x="119" y="184"/>
                    </a:cubicBezTo>
                    <a:cubicBezTo>
                      <a:pt x="119" y="182"/>
                      <a:pt x="120" y="182"/>
                      <a:pt x="120" y="180"/>
                    </a:cubicBezTo>
                    <a:cubicBezTo>
                      <a:pt x="120" y="178"/>
                      <a:pt x="118" y="178"/>
                      <a:pt x="118" y="176"/>
                    </a:cubicBezTo>
                    <a:cubicBezTo>
                      <a:pt x="116" y="176"/>
                      <a:pt x="113" y="176"/>
                      <a:pt x="110" y="176"/>
                    </a:cubicBezTo>
                    <a:cubicBezTo>
                      <a:pt x="110" y="176"/>
                      <a:pt x="110" y="176"/>
                      <a:pt x="109" y="176"/>
                    </a:cubicBezTo>
                    <a:cubicBezTo>
                      <a:pt x="109" y="177"/>
                      <a:pt x="109" y="177"/>
                      <a:pt x="108" y="177"/>
                    </a:cubicBezTo>
                    <a:cubicBezTo>
                      <a:pt x="108" y="177"/>
                      <a:pt x="108" y="177"/>
                      <a:pt x="107" y="177"/>
                    </a:cubicBezTo>
                    <a:cubicBezTo>
                      <a:pt x="103" y="176"/>
                      <a:pt x="99" y="180"/>
                      <a:pt x="99" y="184"/>
                    </a:cubicBezTo>
                    <a:cubicBezTo>
                      <a:pt x="99" y="187"/>
                      <a:pt x="100" y="192"/>
                      <a:pt x="95" y="192"/>
                    </a:cubicBezTo>
                    <a:cubicBezTo>
                      <a:pt x="94" y="192"/>
                      <a:pt x="92" y="192"/>
                      <a:pt x="91" y="191"/>
                    </a:cubicBezTo>
                    <a:cubicBezTo>
                      <a:pt x="89" y="191"/>
                      <a:pt x="89" y="189"/>
                      <a:pt x="88" y="188"/>
                    </a:cubicBezTo>
                    <a:cubicBezTo>
                      <a:pt x="86" y="188"/>
                      <a:pt x="83" y="189"/>
                      <a:pt x="82" y="190"/>
                    </a:cubicBezTo>
                    <a:cubicBezTo>
                      <a:pt x="80" y="190"/>
                      <a:pt x="79" y="193"/>
                      <a:pt x="79" y="194"/>
                    </a:cubicBezTo>
                    <a:cubicBezTo>
                      <a:pt x="79" y="195"/>
                      <a:pt x="79" y="197"/>
                      <a:pt x="79" y="198"/>
                    </a:cubicBezTo>
                    <a:cubicBezTo>
                      <a:pt x="79" y="200"/>
                      <a:pt x="81" y="201"/>
                      <a:pt x="80" y="203"/>
                    </a:cubicBezTo>
                    <a:cubicBezTo>
                      <a:pt x="79" y="204"/>
                      <a:pt x="78" y="203"/>
                      <a:pt x="77" y="204"/>
                    </a:cubicBezTo>
                    <a:cubicBezTo>
                      <a:pt x="76" y="205"/>
                      <a:pt x="76" y="205"/>
                      <a:pt x="75" y="206"/>
                    </a:cubicBezTo>
                    <a:cubicBezTo>
                      <a:pt x="75" y="206"/>
                      <a:pt x="74" y="206"/>
                      <a:pt x="74" y="206"/>
                    </a:cubicBezTo>
                    <a:cubicBezTo>
                      <a:pt x="70" y="208"/>
                      <a:pt x="73" y="204"/>
                      <a:pt x="72" y="202"/>
                    </a:cubicBezTo>
                    <a:cubicBezTo>
                      <a:pt x="71" y="202"/>
                      <a:pt x="70" y="203"/>
                      <a:pt x="69" y="204"/>
                    </a:cubicBezTo>
                    <a:cubicBezTo>
                      <a:pt x="69" y="204"/>
                      <a:pt x="68" y="204"/>
                      <a:pt x="67" y="204"/>
                    </a:cubicBezTo>
                    <a:cubicBezTo>
                      <a:pt x="67" y="205"/>
                      <a:pt x="66" y="205"/>
                      <a:pt x="66" y="206"/>
                    </a:cubicBezTo>
                    <a:cubicBezTo>
                      <a:pt x="65" y="206"/>
                      <a:pt x="64" y="207"/>
                      <a:pt x="64" y="207"/>
                    </a:cubicBezTo>
                    <a:cubicBezTo>
                      <a:pt x="62" y="208"/>
                      <a:pt x="61" y="208"/>
                      <a:pt x="60" y="209"/>
                    </a:cubicBezTo>
                    <a:cubicBezTo>
                      <a:pt x="59" y="211"/>
                      <a:pt x="59" y="212"/>
                      <a:pt x="57" y="212"/>
                    </a:cubicBezTo>
                    <a:cubicBezTo>
                      <a:pt x="54" y="214"/>
                      <a:pt x="51" y="211"/>
                      <a:pt x="48" y="210"/>
                    </a:cubicBezTo>
                    <a:cubicBezTo>
                      <a:pt x="46" y="209"/>
                      <a:pt x="42" y="210"/>
                      <a:pt x="39" y="209"/>
                    </a:cubicBezTo>
                    <a:cubicBezTo>
                      <a:pt x="39" y="209"/>
                      <a:pt x="39" y="208"/>
                      <a:pt x="39" y="208"/>
                    </a:cubicBezTo>
                    <a:cubicBezTo>
                      <a:pt x="38" y="210"/>
                      <a:pt x="33" y="208"/>
                      <a:pt x="31" y="208"/>
                    </a:cubicBezTo>
                    <a:cubicBezTo>
                      <a:pt x="31" y="208"/>
                      <a:pt x="30" y="208"/>
                      <a:pt x="29" y="207"/>
                    </a:cubicBezTo>
                    <a:cubicBezTo>
                      <a:pt x="28" y="207"/>
                      <a:pt x="28" y="207"/>
                      <a:pt x="27" y="206"/>
                    </a:cubicBezTo>
                    <a:cubicBezTo>
                      <a:pt x="26" y="206"/>
                      <a:pt x="25" y="206"/>
                      <a:pt x="24" y="206"/>
                    </a:cubicBezTo>
                    <a:cubicBezTo>
                      <a:pt x="21" y="206"/>
                      <a:pt x="19" y="206"/>
                      <a:pt x="16" y="207"/>
                    </a:cubicBezTo>
                    <a:cubicBezTo>
                      <a:pt x="14" y="207"/>
                      <a:pt x="14" y="207"/>
                      <a:pt x="13" y="209"/>
                    </a:cubicBezTo>
                    <a:cubicBezTo>
                      <a:pt x="12" y="209"/>
                      <a:pt x="11" y="210"/>
                      <a:pt x="11" y="211"/>
                    </a:cubicBezTo>
                    <a:cubicBezTo>
                      <a:pt x="10" y="212"/>
                      <a:pt x="10" y="212"/>
                      <a:pt x="10" y="212"/>
                    </a:cubicBezTo>
                    <a:cubicBezTo>
                      <a:pt x="11" y="215"/>
                      <a:pt x="13" y="217"/>
                      <a:pt x="14" y="220"/>
                    </a:cubicBezTo>
                    <a:cubicBezTo>
                      <a:pt x="14" y="222"/>
                      <a:pt x="13" y="223"/>
                      <a:pt x="12" y="225"/>
                    </a:cubicBezTo>
                    <a:cubicBezTo>
                      <a:pt x="11" y="227"/>
                      <a:pt x="11" y="227"/>
                      <a:pt x="11" y="230"/>
                    </a:cubicBezTo>
                    <a:cubicBezTo>
                      <a:pt x="11" y="234"/>
                      <a:pt x="14" y="236"/>
                      <a:pt x="15" y="239"/>
                    </a:cubicBezTo>
                    <a:cubicBezTo>
                      <a:pt x="17" y="244"/>
                      <a:pt x="20" y="248"/>
                      <a:pt x="22" y="253"/>
                    </a:cubicBezTo>
                    <a:cubicBezTo>
                      <a:pt x="25" y="259"/>
                      <a:pt x="26" y="264"/>
                      <a:pt x="28" y="270"/>
                    </a:cubicBezTo>
                    <a:cubicBezTo>
                      <a:pt x="30" y="273"/>
                      <a:pt x="31" y="277"/>
                      <a:pt x="33" y="279"/>
                    </a:cubicBezTo>
                    <a:cubicBezTo>
                      <a:pt x="33" y="281"/>
                      <a:pt x="34" y="281"/>
                      <a:pt x="35" y="282"/>
                    </a:cubicBezTo>
                    <a:cubicBezTo>
                      <a:pt x="35" y="284"/>
                      <a:pt x="34" y="287"/>
                      <a:pt x="34" y="289"/>
                    </a:cubicBezTo>
                    <a:cubicBezTo>
                      <a:pt x="35" y="291"/>
                      <a:pt x="35" y="291"/>
                      <a:pt x="36" y="293"/>
                    </a:cubicBezTo>
                    <a:cubicBezTo>
                      <a:pt x="37" y="293"/>
                      <a:pt x="37" y="294"/>
                      <a:pt x="38" y="294"/>
                    </a:cubicBezTo>
                    <a:cubicBezTo>
                      <a:pt x="39" y="295"/>
                      <a:pt x="39" y="293"/>
                      <a:pt x="40" y="293"/>
                    </a:cubicBezTo>
                    <a:cubicBezTo>
                      <a:pt x="44" y="292"/>
                      <a:pt x="43" y="296"/>
                      <a:pt x="43" y="298"/>
                    </a:cubicBezTo>
                    <a:cubicBezTo>
                      <a:pt x="43" y="300"/>
                      <a:pt x="43" y="302"/>
                      <a:pt x="43" y="304"/>
                    </a:cubicBezTo>
                    <a:cubicBezTo>
                      <a:pt x="43" y="306"/>
                      <a:pt x="43" y="307"/>
                      <a:pt x="42" y="309"/>
                    </a:cubicBezTo>
                    <a:cubicBezTo>
                      <a:pt x="42" y="310"/>
                      <a:pt x="41" y="311"/>
                      <a:pt x="40" y="312"/>
                    </a:cubicBezTo>
                    <a:cubicBezTo>
                      <a:pt x="40" y="313"/>
                      <a:pt x="40" y="315"/>
                      <a:pt x="40" y="316"/>
                    </a:cubicBezTo>
                    <a:cubicBezTo>
                      <a:pt x="40" y="318"/>
                      <a:pt x="39" y="320"/>
                      <a:pt x="38" y="321"/>
                    </a:cubicBezTo>
                    <a:cubicBezTo>
                      <a:pt x="37" y="323"/>
                      <a:pt x="38" y="323"/>
                      <a:pt x="35" y="324"/>
                    </a:cubicBezTo>
                    <a:cubicBezTo>
                      <a:pt x="32" y="324"/>
                      <a:pt x="30" y="323"/>
                      <a:pt x="27" y="324"/>
                    </a:cubicBezTo>
                    <a:cubicBezTo>
                      <a:pt x="25" y="325"/>
                      <a:pt x="24" y="326"/>
                      <a:pt x="23" y="327"/>
                    </a:cubicBezTo>
                    <a:cubicBezTo>
                      <a:pt x="22" y="328"/>
                      <a:pt x="21" y="328"/>
                      <a:pt x="21" y="329"/>
                    </a:cubicBezTo>
                    <a:cubicBezTo>
                      <a:pt x="20" y="329"/>
                      <a:pt x="20" y="331"/>
                      <a:pt x="20" y="331"/>
                    </a:cubicBezTo>
                    <a:cubicBezTo>
                      <a:pt x="19" y="333"/>
                      <a:pt x="19" y="334"/>
                      <a:pt x="18" y="336"/>
                    </a:cubicBezTo>
                    <a:cubicBezTo>
                      <a:pt x="17" y="338"/>
                      <a:pt x="18" y="337"/>
                      <a:pt x="16" y="338"/>
                    </a:cubicBezTo>
                    <a:cubicBezTo>
                      <a:pt x="14" y="341"/>
                      <a:pt x="11" y="342"/>
                      <a:pt x="8" y="344"/>
                    </a:cubicBezTo>
                    <a:cubicBezTo>
                      <a:pt x="6" y="345"/>
                      <a:pt x="4" y="346"/>
                      <a:pt x="3" y="347"/>
                    </a:cubicBezTo>
                    <a:cubicBezTo>
                      <a:pt x="3" y="349"/>
                      <a:pt x="3" y="351"/>
                      <a:pt x="2" y="352"/>
                    </a:cubicBezTo>
                    <a:cubicBezTo>
                      <a:pt x="1" y="355"/>
                      <a:pt x="0" y="360"/>
                      <a:pt x="4" y="360"/>
                    </a:cubicBezTo>
                    <a:cubicBezTo>
                      <a:pt x="8" y="359"/>
                      <a:pt x="8" y="360"/>
                      <a:pt x="10" y="363"/>
                    </a:cubicBezTo>
                    <a:cubicBezTo>
                      <a:pt x="11" y="365"/>
                      <a:pt x="12" y="367"/>
                      <a:pt x="14" y="368"/>
                    </a:cubicBezTo>
                    <a:cubicBezTo>
                      <a:pt x="16" y="368"/>
                      <a:pt x="16" y="368"/>
                      <a:pt x="18" y="370"/>
                    </a:cubicBezTo>
                    <a:cubicBezTo>
                      <a:pt x="19" y="371"/>
                      <a:pt x="20" y="372"/>
                      <a:pt x="21" y="373"/>
                    </a:cubicBezTo>
                    <a:cubicBezTo>
                      <a:pt x="22" y="375"/>
                      <a:pt x="23" y="375"/>
                      <a:pt x="23" y="377"/>
                    </a:cubicBezTo>
                    <a:cubicBezTo>
                      <a:pt x="23" y="377"/>
                      <a:pt x="23" y="379"/>
                      <a:pt x="23" y="380"/>
                    </a:cubicBezTo>
                    <a:cubicBezTo>
                      <a:pt x="23" y="381"/>
                      <a:pt x="22" y="380"/>
                      <a:pt x="22" y="381"/>
                    </a:cubicBezTo>
                    <a:cubicBezTo>
                      <a:pt x="20" y="382"/>
                      <a:pt x="21" y="383"/>
                      <a:pt x="21" y="385"/>
                    </a:cubicBezTo>
                    <a:cubicBezTo>
                      <a:pt x="20" y="388"/>
                      <a:pt x="19" y="390"/>
                      <a:pt x="18" y="392"/>
                    </a:cubicBezTo>
                    <a:cubicBezTo>
                      <a:pt x="17" y="394"/>
                      <a:pt x="17" y="394"/>
                      <a:pt x="16" y="396"/>
                    </a:cubicBezTo>
                    <a:cubicBezTo>
                      <a:pt x="16" y="397"/>
                      <a:pt x="16" y="399"/>
                      <a:pt x="16" y="400"/>
                    </a:cubicBezTo>
                    <a:cubicBezTo>
                      <a:pt x="15" y="402"/>
                      <a:pt x="14" y="402"/>
                      <a:pt x="13" y="404"/>
                    </a:cubicBezTo>
                    <a:cubicBezTo>
                      <a:pt x="13" y="406"/>
                      <a:pt x="13" y="408"/>
                      <a:pt x="13" y="410"/>
                    </a:cubicBezTo>
                    <a:cubicBezTo>
                      <a:pt x="13" y="413"/>
                      <a:pt x="12" y="416"/>
                      <a:pt x="15" y="417"/>
                    </a:cubicBezTo>
                    <a:cubicBezTo>
                      <a:pt x="17" y="418"/>
                      <a:pt x="17" y="416"/>
                      <a:pt x="19" y="418"/>
                    </a:cubicBezTo>
                    <a:cubicBezTo>
                      <a:pt x="22" y="418"/>
                      <a:pt x="25" y="417"/>
                      <a:pt x="28" y="416"/>
                    </a:cubicBezTo>
                    <a:cubicBezTo>
                      <a:pt x="31" y="416"/>
                      <a:pt x="32" y="416"/>
                      <a:pt x="35" y="414"/>
                    </a:cubicBezTo>
                    <a:cubicBezTo>
                      <a:pt x="37" y="412"/>
                      <a:pt x="42" y="412"/>
                      <a:pt x="43" y="408"/>
                    </a:cubicBezTo>
                    <a:cubicBezTo>
                      <a:pt x="45" y="405"/>
                      <a:pt x="43" y="402"/>
                      <a:pt x="46" y="399"/>
                    </a:cubicBezTo>
                    <a:cubicBezTo>
                      <a:pt x="47" y="397"/>
                      <a:pt x="49" y="396"/>
                      <a:pt x="50" y="396"/>
                    </a:cubicBezTo>
                    <a:cubicBezTo>
                      <a:pt x="51" y="396"/>
                      <a:pt x="52" y="396"/>
                      <a:pt x="53" y="396"/>
                    </a:cubicBezTo>
                    <a:cubicBezTo>
                      <a:pt x="53" y="396"/>
                      <a:pt x="55" y="394"/>
                      <a:pt x="55" y="394"/>
                    </a:cubicBezTo>
                    <a:cubicBezTo>
                      <a:pt x="57" y="392"/>
                      <a:pt x="60" y="391"/>
                      <a:pt x="63" y="392"/>
                    </a:cubicBezTo>
                    <a:cubicBezTo>
                      <a:pt x="65" y="392"/>
                      <a:pt x="67" y="392"/>
                      <a:pt x="69" y="393"/>
                    </a:cubicBezTo>
                    <a:cubicBezTo>
                      <a:pt x="71" y="393"/>
                      <a:pt x="73" y="395"/>
                      <a:pt x="75" y="395"/>
                    </a:cubicBezTo>
                    <a:cubicBezTo>
                      <a:pt x="76" y="395"/>
                      <a:pt x="78" y="395"/>
                      <a:pt x="80" y="394"/>
                    </a:cubicBezTo>
                    <a:cubicBezTo>
                      <a:pt x="83" y="394"/>
                      <a:pt x="86" y="391"/>
                      <a:pt x="89" y="392"/>
                    </a:cubicBezTo>
                    <a:cubicBezTo>
                      <a:pt x="91" y="392"/>
                      <a:pt x="92" y="392"/>
                      <a:pt x="94" y="392"/>
                    </a:cubicBezTo>
                    <a:cubicBezTo>
                      <a:pt x="98" y="392"/>
                      <a:pt x="102" y="393"/>
                      <a:pt x="106" y="393"/>
                    </a:cubicBezTo>
                    <a:cubicBezTo>
                      <a:pt x="110" y="393"/>
                      <a:pt x="114" y="394"/>
                      <a:pt x="118" y="394"/>
                    </a:cubicBezTo>
                    <a:cubicBezTo>
                      <a:pt x="120" y="394"/>
                      <a:pt x="123" y="393"/>
                      <a:pt x="124" y="394"/>
                    </a:cubicBezTo>
                    <a:cubicBezTo>
                      <a:pt x="125" y="394"/>
                      <a:pt x="126" y="395"/>
                      <a:pt x="127" y="395"/>
                    </a:cubicBezTo>
                    <a:cubicBezTo>
                      <a:pt x="128" y="396"/>
                      <a:pt x="130" y="396"/>
                      <a:pt x="131" y="396"/>
                    </a:cubicBezTo>
                    <a:cubicBezTo>
                      <a:pt x="133" y="396"/>
                      <a:pt x="135" y="396"/>
                      <a:pt x="138" y="397"/>
                    </a:cubicBezTo>
                    <a:cubicBezTo>
                      <a:pt x="139" y="397"/>
                      <a:pt x="141" y="398"/>
                      <a:pt x="143" y="398"/>
                    </a:cubicBezTo>
                    <a:cubicBezTo>
                      <a:pt x="144" y="398"/>
                      <a:pt x="147" y="397"/>
                      <a:pt x="148" y="398"/>
                    </a:cubicBezTo>
                    <a:cubicBezTo>
                      <a:pt x="151" y="399"/>
                      <a:pt x="150" y="402"/>
                      <a:pt x="152" y="403"/>
                    </a:cubicBezTo>
                    <a:cubicBezTo>
                      <a:pt x="154" y="404"/>
                      <a:pt x="157" y="403"/>
                      <a:pt x="159" y="402"/>
                    </a:cubicBezTo>
                    <a:cubicBezTo>
                      <a:pt x="163" y="402"/>
                      <a:pt x="166" y="402"/>
                      <a:pt x="169" y="402"/>
                    </a:cubicBezTo>
                    <a:cubicBezTo>
                      <a:pt x="171" y="403"/>
                      <a:pt x="174" y="404"/>
                      <a:pt x="176" y="405"/>
                    </a:cubicBezTo>
                    <a:cubicBezTo>
                      <a:pt x="178" y="406"/>
                      <a:pt x="180" y="408"/>
                      <a:pt x="183" y="409"/>
                    </a:cubicBezTo>
                    <a:cubicBezTo>
                      <a:pt x="188" y="410"/>
                      <a:pt x="195" y="401"/>
                      <a:pt x="200" y="407"/>
                    </a:cubicBezTo>
                    <a:cubicBezTo>
                      <a:pt x="201" y="408"/>
                      <a:pt x="201" y="410"/>
                      <a:pt x="202" y="412"/>
                    </a:cubicBezTo>
                    <a:cubicBezTo>
                      <a:pt x="202" y="412"/>
                      <a:pt x="203" y="413"/>
                      <a:pt x="203" y="414"/>
                    </a:cubicBezTo>
                    <a:cubicBezTo>
                      <a:pt x="204" y="415"/>
                      <a:pt x="204" y="415"/>
                      <a:pt x="204" y="416"/>
                    </a:cubicBezTo>
                    <a:cubicBezTo>
                      <a:pt x="205" y="418"/>
                      <a:pt x="205" y="418"/>
                      <a:pt x="206" y="419"/>
                    </a:cubicBezTo>
                    <a:cubicBezTo>
                      <a:pt x="206" y="420"/>
                      <a:pt x="206" y="421"/>
                      <a:pt x="207" y="422"/>
                    </a:cubicBezTo>
                    <a:cubicBezTo>
                      <a:pt x="209" y="423"/>
                      <a:pt x="212" y="420"/>
                      <a:pt x="215" y="420"/>
                    </a:cubicBezTo>
                    <a:cubicBezTo>
                      <a:pt x="218" y="420"/>
                      <a:pt x="221" y="420"/>
                      <a:pt x="222" y="423"/>
                    </a:cubicBezTo>
                    <a:cubicBezTo>
                      <a:pt x="223" y="426"/>
                      <a:pt x="224" y="429"/>
                      <a:pt x="225" y="431"/>
                    </a:cubicBezTo>
                    <a:cubicBezTo>
                      <a:pt x="227" y="434"/>
                      <a:pt x="228" y="434"/>
                      <a:pt x="231" y="432"/>
                    </a:cubicBezTo>
                    <a:cubicBezTo>
                      <a:pt x="233" y="430"/>
                      <a:pt x="234" y="429"/>
                      <a:pt x="235" y="427"/>
                    </a:cubicBezTo>
                    <a:cubicBezTo>
                      <a:pt x="235" y="425"/>
                      <a:pt x="234" y="422"/>
                      <a:pt x="236" y="421"/>
                    </a:cubicBezTo>
                    <a:cubicBezTo>
                      <a:pt x="237" y="420"/>
                      <a:pt x="240" y="423"/>
                      <a:pt x="242" y="423"/>
                    </a:cubicBezTo>
                    <a:cubicBezTo>
                      <a:pt x="245" y="423"/>
                      <a:pt x="246" y="422"/>
                      <a:pt x="247" y="420"/>
                    </a:cubicBezTo>
                    <a:cubicBezTo>
                      <a:pt x="247" y="418"/>
                      <a:pt x="248" y="413"/>
                      <a:pt x="251" y="414"/>
                    </a:cubicBezTo>
                    <a:cubicBezTo>
                      <a:pt x="255" y="414"/>
                      <a:pt x="257" y="423"/>
                      <a:pt x="258" y="426"/>
                    </a:cubicBezTo>
                    <a:cubicBezTo>
                      <a:pt x="260" y="429"/>
                      <a:pt x="261" y="430"/>
                      <a:pt x="263" y="429"/>
                    </a:cubicBezTo>
                    <a:cubicBezTo>
                      <a:pt x="264" y="428"/>
                      <a:pt x="265" y="426"/>
                      <a:pt x="267" y="425"/>
                    </a:cubicBezTo>
                    <a:cubicBezTo>
                      <a:pt x="268" y="425"/>
                      <a:pt x="271" y="425"/>
                      <a:pt x="272" y="425"/>
                    </a:cubicBezTo>
                    <a:cubicBezTo>
                      <a:pt x="278" y="427"/>
                      <a:pt x="276" y="436"/>
                      <a:pt x="276" y="441"/>
                    </a:cubicBezTo>
                    <a:cubicBezTo>
                      <a:pt x="278" y="441"/>
                      <a:pt x="281" y="441"/>
                      <a:pt x="282" y="440"/>
                    </a:cubicBezTo>
                    <a:cubicBezTo>
                      <a:pt x="284" y="439"/>
                      <a:pt x="282" y="434"/>
                      <a:pt x="282" y="432"/>
                    </a:cubicBezTo>
                    <a:cubicBezTo>
                      <a:pt x="283" y="430"/>
                      <a:pt x="283" y="431"/>
                      <a:pt x="286" y="430"/>
                    </a:cubicBezTo>
                    <a:cubicBezTo>
                      <a:pt x="288" y="429"/>
                      <a:pt x="289" y="429"/>
                      <a:pt x="291" y="428"/>
                    </a:cubicBezTo>
                    <a:cubicBezTo>
                      <a:pt x="293" y="428"/>
                      <a:pt x="295" y="427"/>
                      <a:pt x="296" y="425"/>
                    </a:cubicBezTo>
                    <a:cubicBezTo>
                      <a:pt x="297" y="424"/>
                      <a:pt x="297" y="422"/>
                      <a:pt x="299" y="421"/>
                    </a:cubicBezTo>
                    <a:cubicBezTo>
                      <a:pt x="304" y="419"/>
                      <a:pt x="306" y="424"/>
                      <a:pt x="307" y="427"/>
                    </a:cubicBezTo>
                    <a:cubicBezTo>
                      <a:pt x="307" y="431"/>
                      <a:pt x="309" y="438"/>
                      <a:pt x="312" y="441"/>
                    </a:cubicBezTo>
                    <a:cubicBezTo>
                      <a:pt x="313" y="442"/>
                      <a:pt x="316" y="443"/>
                      <a:pt x="318" y="443"/>
                    </a:cubicBezTo>
                    <a:cubicBezTo>
                      <a:pt x="320" y="442"/>
                      <a:pt x="320" y="441"/>
                      <a:pt x="321" y="440"/>
                    </a:cubicBezTo>
                    <a:cubicBezTo>
                      <a:pt x="322" y="438"/>
                      <a:pt x="322" y="437"/>
                      <a:pt x="322" y="435"/>
                    </a:cubicBezTo>
                    <a:cubicBezTo>
                      <a:pt x="323" y="430"/>
                      <a:pt x="328" y="427"/>
                      <a:pt x="332" y="429"/>
                    </a:cubicBezTo>
                    <a:cubicBezTo>
                      <a:pt x="335" y="430"/>
                      <a:pt x="336" y="433"/>
                      <a:pt x="336" y="436"/>
                    </a:cubicBezTo>
                    <a:cubicBezTo>
                      <a:pt x="339" y="436"/>
                      <a:pt x="343" y="436"/>
                      <a:pt x="346" y="436"/>
                    </a:cubicBezTo>
                    <a:cubicBezTo>
                      <a:pt x="350" y="435"/>
                      <a:pt x="354" y="431"/>
                      <a:pt x="357" y="433"/>
                    </a:cubicBezTo>
                    <a:cubicBezTo>
                      <a:pt x="360" y="434"/>
                      <a:pt x="361" y="439"/>
                      <a:pt x="363" y="440"/>
                    </a:cubicBezTo>
                    <a:cubicBezTo>
                      <a:pt x="365" y="442"/>
                      <a:pt x="368" y="442"/>
                      <a:pt x="370" y="445"/>
                    </a:cubicBezTo>
                    <a:cubicBezTo>
                      <a:pt x="372" y="447"/>
                      <a:pt x="374" y="449"/>
                      <a:pt x="376" y="451"/>
                    </a:cubicBezTo>
                    <a:cubicBezTo>
                      <a:pt x="377" y="452"/>
                      <a:pt x="378" y="453"/>
                      <a:pt x="380" y="453"/>
                    </a:cubicBezTo>
                    <a:cubicBezTo>
                      <a:pt x="383" y="454"/>
                      <a:pt x="385" y="451"/>
                      <a:pt x="386" y="449"/>
                    </a:cubicBezTo>
                    <a:cubicBezTo>
                      <a:pt x="387" y="446"/>
                      <a:pt x="385" y="443"/>
                      <a:pt x="384" y="440"/>
                    </a:cubicBezTo>
                    <a:cubicBezTo>
                      <a:pt x="382" y="432"/>
                      <a:pt x="380" y="423"/>
                      <a:pt x="385" y="415"/>
                    </a:cubicBezTo>
                    <a:cubicBezTo>
                      <a:pt x="387" y="412"/>
                      <a:pt x="389" y="409"/>
                      <a:pt x="391" y="406"/>
                    </a:cubicBezTo>
                    <a:cubicBezTo>
                      <a:pt x="392" y="404"/>
                      <a:pt x="392" y="403"/>
                      <a:pt x="394" y="402"/>
                    </a:cubicBezTo>
                    <a:cubicBezTo>
                      <a:pt x="394" y="401"/>
                      <a:pt x="395" y="401"/>
                      <a:pt x="396" y="400"/>
                    </a:cubicBezTo>
                    <a:cubicBezTo>
                      <a:pt x="397" y="399"/>
                      <a:pt x="399" y="396"/>
                      <a:pt x="400" y="394"/>
                    </a:cubicBezTo>
                    <a:cubicBezTo>
                      <a:pt x="401" y="393"/>
                      <a:pt x="401" y="392"/>
                      <a:pt x="402" y="391"/>
                    </a:cubicBezTo>
                    <a:cubicBezTo>
                      <a:pt x="403" y="390"/>
                      <a:pt x="403" y="390"/>
                      <a:pt x="404" y="390"/>
                    </a:cubicBezTo>
                    <a:cubicBezTo>
                      <a:pt x="405" y="388"/>
                      <a:pt x="406" y="386"/>
                      <a:pt x="406" y="384"/>
                    </a:cubicBezTo>
                    <a:cubicBezTo>
                      <a:pt x="406" y="383"/>
                      <a:pt x="405" y="380"/>
                      <a:pt x="406" y="379"/>
                    </a:cubicBezTo>
                    <a:cubicBezTo>
                      <a:pt x="408" y="377"/>
                      <a:pt x="409" y="380"/>
                      <a:pt x="410" y="381"/>
                    </a:cubicBezTo>
                    <a:cubicBezTo>
                      <a:pt x="411" y="382"/>
                      <a:pt x="410" y="382"/>
                      <a:pt x="412" y="383"/>
                    </a:cubicBezTo>
                    <a:cubicBezTo>
                      <a:pt x="414" y="384"/>
                      <a:pt x="418" y="383"/>
                      <a:pt x="420" y="383"/>
                    </a:cubicBezTo>
                    <a:cubicBezTo>
                      <a:pt x="421" y="382"/>
                      <a:pt x="423" y="379"/>
                      <a:pt x="424" y="377"/>
                    </a:cubicBezTo>
                    <a:cubicBezTo>
                      <a:pt x="425" y="375"/>
                      <a:pt x="425" y="375"/>
                      <a:pt x="427" y="375"/>
                    </a:cubicBezTo>
                    <a:cubicBezTo>
                      <a:pt x="434" y="375"/>
                      <a:pt x="441" y="377"/>
                      <a:pt x="447" y="378"/>
                    </a:cubicBezTo>
                    <a:cubicBezTo>
                      <a:pt x="449" y="379"/>
                      <a:pt x="452" y="381"/>
                      <a:pt x="453" y="379"/>
                    </a:cubicBezTo>
                    <a:cubicBezTo>
                      <a:pt x="454" y="377"/>
                      <a:pt x="452" y="376"/>
                      <a:pt x="452" y="375"/>
                    </a:cubicBezTo>
                    <a:cubicBezTo>
                      <a:pt x="450" y="372"/>
                      <a:pt x="450" y="371"/>
                      <a:pt x="449" y="368"/>
                    </a:cubicBezTo>
                    <a:cubicBezTo>
                      <a:pt x="448" y="366"/>
                      <a:pt x="448" y="366"/>
                      <a:pt x="446" y="365"/>
                    </a:cubicBezTo>
                    <a:cubicBezTo>
                      <a:pt x="445" y="365"/>
                      <a:pt x="444" y="364"/>
                      <a:pt x="443" y="363"/>
                    </a:cubicBezTo>
                    <a:cubicBezTo>
                      <a:pt x="440" y="361"/>
                      <a:pt x="442" y="360"/>
                      <a:pt x="442" y="357"/>
                    </a:cubicBezTo>
                    <a:cubicBezTo>
                      <a:pt x="442" y="354"/>
                      <a:pt x="439" y="351"/>
                      <a:pt x="439" y="347"/>
                    </a:cubicBezTo>
                    <a:cubicBezTo>
                      <a:pt x="439" y="346"/>
                      <a:pt x="439" y="345"/>
                      <a:pt x="439" y="344"/>
                    </a:cubicBezTo>
                    <a:cubicBezTo>
                      <a:pt x="440" y="342"/>
                      <a:pt x="441" y="343"/>
                      <a:pt x="442" y="341"/>
                    </a:cubicBezTo>
                    <a:cubicBezTo>
                      <a:pt x="445" y="337"/>
                      <a:pt x="439" y="334"/>
                      <a:pt x="437" y="331"/>
                    </a:cubicBezTo>
                    <a:cubicBezTo>
                      <a:pt x="436" y="328"/>
                      <a:pt x="436" y="323"/>
                      <a:pt x="436" y="319"/>
                    </a:cubicBezTo>
                    <a:cubicBezTo>
                      <a:pt x="436" y="313"/>
                      <a:pt x="434" y="309"/>
                      <a:pt x="430" y="304"/>
                    </a:cubicBezTo>
                    <a:cubicBezTo>
                      <a:pt x="427" y="300"/>
                      <a:pt x="423" y="296"/>
                      <a:pt x="428" y="293"/>
                    </a:cubicBezTo>
                    <a:cubicBezTo>
                      <a:pt x="431" y="291"/>
                      <a:pt x="430" y="291"/>
                      <a:pt x="430" y="288"/>
                    </a:cubicBezTo>
                    <a:cubicBezTo>
                      <a:pt x="430" y="286"/>
                      <a:pt x="429" y="281"/>
                      <a:pt x="430" y="280"/>
                    </a:cubicBezTo>
                    <a:cubicBezTo>
                      <a:pt x="432" y="278"/>
                      <a:pt x="436" y="280"/>
                      <a:pt x="438" y="280"/>
                    </a:cubicBezTo>
                    <a:cubicBezTo>
                      <a:pt x="440" y="280"/>
                      <a:pt x="442" y="279"/>
                      <a:pt x="444" y="280"/>
                    </a:cubicBezTo>
                    <a:cubicBezTo>
                      <a:pt x="447" y="281"/>
                      <a:pt x="448" y="283"/>
                      <a:pt x="450" y="285"/>
                    </a:cubicBezTo>
                    <a:cubicBezTo>
                      <a:pt x="451" y="285"/>
                      <a:pt x="453" y="285"/>
                      <a:pt x="453" y="286"/>
                    </a:cubicBezTo>
                    <a:cubicBezTo>
                      <a:pt x="454" y="286"/>
                      <a:pt x="454" y="286"/>
                      <a:pt x="454" y="287"/>
                    </a:cubicBezTo>
                    <a:cubicBezTo>
                      <a:pt x="455" y="287"/>
                      <a:pt x="456" y="288"/>
                      <a:pt x="457" y="288"/>
                    </a:cubicBezTo>
                    <a:cubicBezTo>
                      <a:pt x="463" y="289"/>
                      <a:pt x="471" y="289"/>
                      <a:pt x="477" y="288"/>
                    </a:cubicBezTo>
                    <a:cubicBezTo>
                      <a:pt x="479" y="287"/>
                      <a:pt x="481" y="286"/>
                      <a:pt x="483" y="284"/>
                    </a:cubicBezTo>
                    <a:cubicBezTo>
                      <a:pt x="483" y="283"/>
                      <a:pt x="483" y="282"/>
                      <a:pt x="484" y="281"/>
                    </a:cubicBezTo>
                    <a:cubicBezTo>
                      <a:pt x="485" y="280"/>
                      <a:pt x="486" y="280"/>
                      <a:pt x="487" y="279"/>
                    </a:cubicBezTo>
                    <a:cubicBezTo>
                      <a:pt x="488" y="278"/>
                      <a:pt x="489" y="277"/>
                      <a:pt x="490" y="276"/>
                    </a:cubicBezTo>
                    <a:cubicBezTo>
                      <a:pt x="492" y="275"/>
                      <a:pt x="493" y="275"/>
                      <a:pt x="494" y="274"/>
                    </a:cubicBezTo>
                    <a:cubicBezTo>
                      <a:pt x="496" y="273"/>
                      <a:pt x="496" y="271"/>
                      <a:pt x="497" y="270"/>
                    </a:cubicBezTo>
                    <a:cubicBezTo>
                      <a:pt x="498" y="269"/>
                      <a:pt x="499" y="270"/>
                      <a:pt x="500" y="270"/>
                    </a:cubicBezTo>
                    <a:cubicBezTo>
                      <a:pt x="502" y="269"/>
                      <a:pt x="501" y="269"/>
                      <a:pt x="502" y="268"/>
                    </a:cubicBezTo>
                    <a:cubicBezTo>
                      <a:pt x="504" y="266"/>
                      <a:pt x="504" y="266"/>
                      <a:pt x="505" y="263"/>
                    </a:cubicBezTo>
                    <a:cubicBezTo>
                      <a:pt x="505" y="262"/>
                      <a:pt x="506" y="261"/>
                      <a:pt x="506" y="260"/>
                    </a:cubicBezTo>
                    <a:cubicBezTo>
                      <a:pt x="507" y="258"/>
                      <a:pt x="506" y="258"/>
                      <a:pt x="505" y="257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23" name="Freeform 39">
                <a:extLst>
                  <a:ext uri="{FF2B5EF4-FFF2-40B4-BE49-F238E27FC236}">
                    <a16:creationId xmlns:a16="http://schemas.microsoft.com/office/drawing/2014/main" id="{3EC2E306-2771-41EB-B9E5-70A6816F92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2763" y="3159125"/>
                <a:ext cx="746125" cy="441325"/>
              </a:xfrm>
              <a:custGeom>
                <a:avLst/>
                <a:gdLst/>
                <a:ahLst/>
                <a:cxnLst>
                  <a:cxn ang="0">
                    <a:pos x="394" y="150"/>
                  </a:cxn>
                  <a:cxn ang="0">
                    <a:pos x="386" y="137"/>
                  </a:cxn>
                  <a:cxn ang="0">
                    <a:pos x="375" y="124"/>
                  </a:cxn>
                  <a:cxn ang="0">
                    <a:pos x="376" y="94"/>
                  </a:cxn>
                  <a:cxn ang="0">
                    <a:pos x="378" y="77"/>
                  </a:cxn>
                  <a:cxn ang="0">
                    <a:pos x="359" y="56"/>
                  </a:cxn>
                  <a:cxn ang="0">
                    <a:pos x="349" y="50"/>
                  </a:cxn>
                  <a:cxn ang="0">
                    <a:pos x="332" y="49"/>
                  </a:cxn>
                  <a:cxn ang="0">
                    <a:pos x="311" y="53"/>
                  </a:cxn>
                  <a:cxn ang="0">
                    <a:pos x="294" y="48"/>
                  </a:cxn>
                  <a:cxn ang="0">
                    <a:pos x="279" y="32"/>
                  </a:cxn>
                  <a:cxn ang="0">
                    <a:pos x="255" y="15"/>
                  </a:cxn>
                  <a:cxn ang="0">
                    <a:pos x="237" y="7"/>
                  </a:cxn>
                  <a:cxn ang="0">
                    <a:pos x="219" y="10"/>
                  </a:cxn>
                  <a:cxn ang="0">
                    <a:pos x="192" y="22"/>
                  </a:cxn>
                  <a:cxn ang="0">
                    <a:pos x="189" y="60"/>
                  </a:cxn>
                  <a:cxn ang="0">
                    <a:pos x="174" y="94"/>
                  </a:cxn>
                  <a:cxn ang="0">
                    <a:pos x="146" y="109"/>
                  </a:cxn>
                  <a:cxn ang="0">
                    <a:pos x="127" y="96"/>
                  </a:cxn>
                  <a:cxn ang="0">
                    <a:pos x="124" y="77"/>
                  </a:cxn>
                  <a:cxn ang="0">
                    <a:pos x="110" y="64"/>
                  </a:cxn>
                  <a:cxn ang="0">
                    <a:pos x="96" y="50"/>
                  </a:cxn>
                  <a:cxn ang="0">
                    <a:pos x="93" y="33"/>
                  </a:cxn>
                  <a:cxn ang="0">
                    <a:pos x="75" y="38"/>
                  </a:cxn>
                  <a:cxn ang="0">
                    <a:pos x="57" y="51"/>
                  </a:cxn>
                  <a:cxn ang="0">
                    <a:pos x="39" y="58"/>
                  </a:cxn>
                  <a:cxn ang="0">
                    <a:pos x="28" y="75"/>
                  </a:cxn>
                  <a:cxn ang="0">
                    <a:pos x="17" y="117"/>
                  </a:cxn>
                  <a:cxn ang="0">
                    <a:pos x="8" y="131"/>
                  </a:cxn>
                  <a:cxn ang="0">
                    <a:pos x="1" y="189"/>
                  </a:cxn>
                  <a:cxn ang="0">
                    <a:pos x="10" y="204"/>
                  </a:cxn>
                  <a:cxn ang="0">
                    <a:pos x="18" y="192"/>
                  </a:cxn>
                  <a:cxn ang="0">
                    <a:pos x="22" y="187"/>
                  </a:cxn>
                  <a:cxn ang="0">
                    <a:pos x="29" y="180"/>
                  </a:cxn>
                  <a:cxn ang="0">
                    <a:pos x="49" y="171"/>
                  </a:cxn>
                  <a:cxn ang="0">
                    <a:pos x="69" y="163"/>
                  </a:cxn>
                  <a:cxn ang="0">
                    <a:pos x="94" y="167"/>
                  </a:cxn>
                  <a:cxn ang="0">
                    <a:pos x="111" y="166"/>
                  </a:cxn>
                  <a:cxn ang="0">
                    <a:pos x="120" y="169"/>
                  </a:cxn>
                  <a:cxn ang="0">
                    <a:pos x="133" y="171"/>
                  </a:cxn>
                  <a:cxn ang="0">
                    <a:pos x="150" y="171"/>
                  </a:cxn>
                  <a:cxn ang="0">
                    <a:pos x="164" y="171"/>
                  </a:cxn>
                  <a:cxn ang="0">
                    <a:pos x="177" y="180"/>
                  </a:cxn>
                  <a:cxn ang="0">
                    <a:pos x="203" y="178"/>
                  </a:cxn>
                  <a:cxn ang="0">
                    <a:pos x="209" y="168"/>
                  </a:cxn>
                  <a:cxn ang="0">
                    <a:pos x="225" y="164"/>
                  </a:cxn>
                  <a:cxn ang="0">
                    <a:pos x="224" y="172"/>
                  </a:cxn>
                  <a:cxn ang="0">
                    <a:pos x="241" y="188"/>
                  </a:cxn>
                  <a:cxn ang="0">
                    <a:pos x="263" y="196"/>
                  </a:cxn>
                  <a:cxn ang="0">
                    <a:pos x="292" y="219"/>
                  </a:cxn>
                  <a:cxn ang="0">
                    <a:pos x="300" y="233"/>
                  </a:cxn>
                  <a:cxn ang="0">
                    <a:pos x="316" y="235"/>
                  </a:cxn>
                  <a:cxn ang="0">
                    <a:pos x="332" y="227"/>
                  </a:cxn>
                  <a:cxn ang="0">
                    <a:pos x="351" y="224"/>
                  </a:cxn>
                  <a:cxn ang="0">
                    <a:pos x="381" y="205"/>
                  </a:cxn>
                  <a:cxn ang="0">
                    <a:pos x="399" y="173"/>
                  </a:cxn>
                </a:cxnLst>
                <a:rect l="0" t="0" r="r" b="b"/>
                <a:pathLst>
                  <a:path w="399" h="236">
                    <a:moveTo>
                      <a:pt x="399" y="162"/>
                    </a:moveTo>
                    <a:cubicBezTo>
                      <a:pt x="399" y="161"/>
                      <a:pt x="398" y="161"/>
                      <a:pt x="397" y="159"/>
                    </a:cubicBezTo>
                    <a:cubicBezTo>
                      <a:pt x="396" y="157"/>
                      <a:pt x="398" y="153"/>
                      <a:pt x="397" y="151"/>
                    </a:cubicBezTo>
                    <a:cubicBezTo>
                      <a:pt x="396" y="149"/>
                      <a:pt x="396" y="150"/>
                      <a:pt x="394" y="150"/>
                    </a:cubicBezTo>
                    <a:cubicBezTo>
                      <a:pt x="392" y="149"/>
                      <a:pt x="392" y="148"/>
                      <a:pt x="391" y="146"/>
                    </a:cubicBezTo>
                    <a:cubicBezTo>
                      <a:pt x="391" y="143"/>
                      <a:pt x="392" y="143"/>
                      <a:pt x="390" y="142"/>
                    </a:cubicBezTo>
                    <a:cubicBezTo>
                      <a:pt x="389" y="141"/>
                      <a:pt x="387" y="141"/>
                      <a:pt x="387" y="140"/>
                    </a:cubicBezTo>
                    <a:cubicBezTo>
                      <a:pt x="386" y="139"/>
                      <a:pt x="386" y="138"/>
                      <a:pt x="386" y="137"/>
                    </a:cubicBezTo>
                    <a:cubicBezTo>
                      <a:pt x="385" y="135"/>
                      <a:pt x="384" y="135"/>
                      <a:pt x="384" y="133"/>
                    </a:cubicBezTo>
                    <a:cubicBezTo>
                      <a:pt x="385" y="130"/>
                      <a:pt x="387" y="129"/>
                      <a:pt x="387" y="126"/>
                    </a:cubicBezTo>
                    <a:cubicBezTo>
                      <a:pt x="382" y="126"/>
                      <a:pt x="383" y="124"/>
                      <a:pt x="383" y="121"/>
                    </a:cubicBezTo>
                    <a:cubicBezTo>
                      <a:pt x="380" y="120"/>
                      <a:pt x="378" y="123"/>
                      <a:pt x="375" y="124"/>
                    </a:cubicBezTo>
                    <a:cubicBezTo>
                      <a:pt x="373" y="124"/>
                      <a:pt x="371" y="124"/>
                      <a:pt x="369" y="125"/>
                    </a:cubicBezTo>
                    <a:cubicBezTo>
                      <a:pt x="367" y="121"/>
                      <a:pt x="373" y="118"/>
                      <a:pt x="373" y="114"/>
                    </a:cubicBezTo>
                    <a:cubicBezTo>
                      <a:pt x="374" y="110"/>
                      <a:pt x="372" y="110"/>
                      <a:pt x="371" y="107"/>
                    </a:cubicBezTo>
                    <a:cubicBezTo>
                      <a:pt x="369" y="101"/>
                      <a:pt x="374" y="98"/>
                      <a:pt x="376" y="94"/>
                    </a:cubicBezTo>
                    <a:cubicBezTo>
                      <a:pt x="377" y="94"/>
                      <a:pt x="377" y="93"/>
                      <a:pt x="377" y="93"/>
                    </a:cubicBezTo>
                    <a:cubicBezTo>
                      <a:pt x="378" y="92"/>
                      <a:pt x="380" y="91"/>
                      <a:pt x="380" y="91"/>
                    </a:cubicBezTo>
                    <a:cubicBezTo>
                      <a:pt x="381" y="90"/>
                      <a:pt x="381" y="87"/>
                      <a:pt x="381" y="86"/>
                    </a:cubicBezTo>
                    <a:cubicBezTo>
                      <a:pt x="382" y="83"/>
                      <a:pt x="381" y="79"/>
                      <a:pt x="378" y="77"/>
                    </a:cubicBezTo>
                    <a:cubicBezTo>
                      <a:pt x="376" y="75"/>
                      <a:pt x="373" y="75"/>
                      <a:pt x="370" y="73"/>
                    </a:cubicBezTo>
                    <a:cubicBezTo>
                      <a:pt x="369" y="72"/>
                      <a:pt x="368" y="70"/>
                      <a:pt x="367" y="69"/>
                    </a:cubicBezTo>
                    <a:cubicBezTo>
                      <a:pt x="364" y="66"/>
                      <a:pt x="361" y="65"/>
                      <a:pt x="358" y="63"/>
                    </a:cubicBezTo>
                    <a:cubicBezTo>
                      <a:pt x="359" y="61"/>
                      <a:pt x="359" y="58"/>
                      <a:pt x="359" y="56"/>
                    </a:cubicBezTo>
                    <a:cubicBezTo>
                      <a:pt x="357" y="56"/>
                      <a:pt x="355" y="56"/>
                      <a:pt x="354" y="56"/>
                    </a:cubicBezTo>
                    <a:cubicBezTo>
                      <a:pt x="353" y="55"/>
                      <a:pt x="353" y="55"/>
                      <a:pt x="353" y="54"/>
                    </a:cubicBezTo>
                    <a:cubicBezTo>
                      <a:pt x="351" y="52"/>
                      <a:pt x="350" y="50"/>
                      <a:pt x="349" y="47"/>
                    </a:cubicBezTo>
                    <a:cubicBezTo>
                      <a:pt x="349" y="48"/>
                      <a:pt x="349" y="49"/>
                      <a:pt x="349" y="50"/>
                    </a:cubicBezTo>
                    <a:cubicBezTo>
                      <a:pt x="349" y="53"/>
                      <a:pt x="350" y="54"/>
                      <a:pt x="350" y="56"/>
                    </a:cubicBezTo>
                    <a:cubicBezTo>
                      <a:pt x="346" y="57"/>
                      <a:pt x="343" y="56"/>
                      <a:pt x="340" y="54"/>
                    </a:cubicBezTo>
                    <a:cubicBezTo>
                      <a:pt x="338" y="53"/>
                      <a:pt x="336" y="53"/>
                      <a:pt x="334" y="52"/>
                    </a:cubicBezTo>
                    <a:cubicBezTo>
                      <a:pt x="333" y="51"/>
                      <a:pt x="333" y="50"/>
                      <a:pt x="332" y="49"/>
                    </a:cubicBezTo>
                    <a:cubicBezTo>
                      <a:pt x="331" y="48"/>
                      <a:pt x="329" y="48"/>
                      <a:pt x="327" y="48"/>
                    </a:cubicBezTo>
                    <a:cubicBezTo>
                      <a:pt x="326" y="47"/>
                      <a:pt x="327" y="47"/>
                      <a:pt x="325" y="47"/>
                    </a:cubicBezTo>
                    <a:cubicBezTo>
                      <a:pt x="324" y="46"/>
                      <a:pt x="320" y="46"/>
                      <a:pt x="319" y="47"/>
                    </a:cubicBezTo>
                    <a:cubicBezTo>
                      <a:pt x="314" y="48"/>
                      <a:pt x="315" y="52"/>
                      <a:pt x="311" y="53"/>
                    </a:cubicBezTo>
                    <a:cubicBezTo>
                      <a:pt x="310" y="53"/>
                      <a:pt x="309" y="53"/>
                      <a:pt x="308" y="53"/>
                    </a:cubicBezTo>
                    <a:cubicBezTo>
                      <a:pt x="306" y="52"/>
                      <a:pt x="303" y="52"/>
                      <a:pt x="301" y="51"/>
                    </a:cubicBezTo>
                    <a:cubicBezTo>
                      <a:pt x="300" y="51"/>
                      <a:pt x="300" y="50"/>
                      <a:pt x="299" y="50"/>
                    </a:cubicBezTo>
                    <a:cubicBezTo>
                      <a:pt x="297" y="49"/>
                      <a:pt x="296" y="48"/>
                      <a:pt x="294" y="48"/>
                    </a:cubicBezTo>
                    <a:cubicBezTo>
                      <a:pt x="294" y="48"/>
                      <a:pt x="292" y="49"/>
                      <a:pt x="291" y="48"/>
                    </a:cubicBezTo>
                    <a:cubicBezTo>
                      <a:pt x="289" y="48"/>
                      <a:pt x="288" y="45"/>
                      <a:pt x="287" y="43"/>
                    </a:cubicBezTo>
                    <a:cubicBezTo>
                      <a:pt x="285" y="41"/>
                      <a:pt x="284" y="39"/>
                      <a:pt x="282" y="36"/>
                    </a:cubicBezTo>
                    <a:cubicBezTo>
                      <a:pt x="281" y="34"/>
                      <a:pt x="281" y="33"/>
                      <a:pt x="279" y="32"/>
                    </a:cubicBezTo>
                    <a:cubicBezTo>
                      <a:pt x="276" y="31"/>
                      <a:pt x="276" y="31"/>
                      <a:pt x="276" y="28"/>
                    </a:cubicBezTo>
                    <a:cubicBezTo>
                      <a:pt x="275" y="25"/>
                      <a:pt x="277" y="24"/>
                      <a:pt x="274" y="22"/>
                    </a:cubicBezTo>
                    <a:cubicBezTo>
                      <a:pt x="271" y="21"/>
                      <a:pt x="268" y="22"/>
                      <a:pt x="266" y="20"/>
                    </a:cubicBezTo>
                    <a:cubicBezTo>
                      <a:pt x="262" y="17"/>
                      <a:pt x="262" y="13"/>
                      <a:pt x="255" y="15"/>
                    </a:cubicBezTo>
                    <a:cubicBezTo>
                      <a:pt x="256" y="10"/>
                      <a:pt x="251" y="7"/>
                      <a:pt x="247" y="5"/>
                    </a:cubicBezTo>
                    <a:cubicBezTo>
                      <a:pt x="245" y="5"/>
                      <a:pt x="244" y="4"/>
                      <a:pt x="243" y="4"/>
                    </a:cubicBezTo>
                    <a:cubicBezTo>
                      <a:pt x="241" y="2"/>
                      <a:pt x="240" y="0"/>
                      <a:pt x="237" y="0"/>
                    </a:cubicBezTo>
                    <a:cubicBezTo>
                      <a:pt x="237" y="2"/>
                      <a:pt x="237" y="5"/>
                      <a:pt x="237" y="7"/>
                    </a:cubicBezTo>
                    <a:cubicBezTo>
                      <a:pt x="232" y="8"/>
                      <a:pt x="235" y="2"/>
                      <a:pt x="233" y="1"/>
                    </a:cubicBezTo>
                    <a:cubicBezTo>
                      <a:pt x="231" y="0"/>
                      <a:pt x="226" y="4"/>
                      <a:pt x="224" y="5"/>
                    </a:cubicBezTo>
                    <a:cubicBezTo>
                      <a:pt x="223" y="6"/>
                      <a:pt x="222" y="6"/>
                      <a:pt x="221" y="7"/>
                    </a:cubicBezTo>
                    <a:cubicBezTo>
                      <a:pt x="220" y="8"/>
                      <a:pt x="219" y="9"/>
                      <a:pt x="219" y="10"/>
                    </a:cubicBezTo>
                    <a:cubicBezTo>
                      <a:pt x="215" y="13"/>
                      <a:pt x="209" y="12"/>
                      <a:pt x="204" y="13"/>
                    </a:cubicBezTo>
                    <a:cubicBezTo>
                      <a:pt x="201" y="13"/>
                      <a:pt x="202" y="13"/>
                      <a:pt x="201" y="15"/>
                    </a:cubicBezTo>
                    <a:cubicBezTo>
                      <a:pt x="199" y="17"/>
                      <a:pt x="198" y="18"/>
                      <a:pt x="196" y="20"/>
                    </a:cubicBezTo>
                    <a:cubicBezTo>
                      <a:pt x="195" y="20"/>
                      <a:pt x="193" y="22"/>
                      <a:pt x="192" y="22"/>
                    </a:cubicBezTo>
                    <a:cubicBezTo>
                      <a:pt x="189" y="23"/>
                      <a:pt x="188" y="22"/>
                      <a:pt x="188" y="21"/>
                    </a:cubicBezTo>
                    <a:cubicBezTo>
                      <a:pt x="188" y="23"/>
                      <a:pt x="188" y="25"/>
                      <a:pt x="188" y="27"/>
                    </a:cubicBezTo>
                    <a:cubicBezTo>
                      <a:pt x="188" y="30"/>
                      <a:pt x="189" y="34"/>
                      <a:pt x="189" y="37"/>
                    </a:cubicBezTo>
                    <a:cubicBezTo>
                      <a:pt x="189" y="45"/>
                      <a:pt x="189" y="52"/>
                      <a:pt x="189" y="60"/>
                    </a:cubicBezTo>
                    <a:cubicBezTo>
                      <a:pt x="189" y="68"/>
                      <a:pt x="190" y="77"/>
                      <a:pt x="189" y="85"/>
                    </a:cubicBezTo>
                    <a:cubicBezTo>
                      <a:pt x="188" y="90"/>
                      <a:pt x="185" y="91"/>
                      <a:pt x="181" y="92"/>
                    </a:cubicBezTo>
                    <a:cubicBezTo>
                      <a:pt x="179" y="93"/>
                      <a:pt x="178" y="94"/>
                      <a:pt x="176" y="94"/>
                    </a:cubicBezTo>
                    <a:cubicBezTo>
                      <a:pt x="175" y="94"/>
                      <a:pt x="174" y="94"/>
                      <a:pt x="174" y="94"/>
                    </a:cubicBezTo>
                    <a:cubicBezTo>
                      <a:pt x="173" y="93"/>
                      <a:pt x="173" y="92"/>
                      <a:pt x="172" y="92"/>
                    </a:cubicBezTo>
                    <a:cubicBezTo>
                      <a:pt x="165" y="90"/>
                      <a:pt x="163" y="102"/>
                      <a:pt x="159" y="105"/>
                    </a:cubicBezTo>
                    <a:cubicBezTo>
                      <a:pt x="158" y="106"/>
                      <a:pt x="156" y="106"/>
                      <a:pt x="154" y="107"/>
                    </a:cubicBezTo>
                    <a:cubicBezTo>
                      <a:pt x="151" y="108"/>
                      <a:pt x="148" y="109"/>
                      <a:pt x="146" y="109"/>
                    </a:cubicBezTo>
                    <a:cubicBezTo>
                      <a:pt x="142" y="110"/>
                      <a:pt x="140" y="108"/>
                      <a:pt x="140" y="104"/>
                    </a:cubicBezTo>
                    <a:cubicBezTo>
                      <a:pt x="138" y="104"/>
                      <a:pt x="135" y="105"/>
                      <a:pt x="133" y="104"/>
                    </a:cubicBezTo>
                    <a:cubicBezTo>
                      <a:pt x="131" y="103"/>
                      <a:pt x="131" y="103"/>
                      <a:pt x="131" y="101"/>
                    </a:cubicBezTo>
                    <a:cubicBezTo>
                      <a:pt x="129" y="99"/>
                      <a:pt x="128" y="98"/>
                      <a:pt x="127" y="96"/>
                    </a:cubicBezTo>
                    <a:cubicBezTo>
                      <a:pt x="127" y="96"/>
                      <a:pt x="127" y="95"/>
                      <a:pt x="127" y="95"/>
                    </a:cubicBezTo>
                    <a:cubicBezTo>
                      <a:pt x="126" y="94"/>
                      <a:pt x="125" y="93"/>
                      <a:pt x="125" y="92"/>
                    </a:cubicBezTo>
                    <a:cubicBezTo>
                      <a:pt x="124" y="91"/>
                      <a:pt x="124" y="90"/>
                      <a:pt x="124" y="88"/>
                    </a:cubicBezTo>
                    <a:cubicBezTo>
                      <a:pt x="124" y="85"/>
                      <a:pt x="124" y="81"/>
                      <a:pt x="124" y="77"/>
                    </a:cubicBezTo>
                    <a:cubicBezTo>
                      <a:pt x="124" y="73"/>
                      <a:pt x="125" y="72"/>
                      <a:pt x="121" y="71"/>
                    </a:cubicBezTo>
                    <a:cubicBezTo>
                      <a:pt x="118" y="70"/>
                      <a:pt x="114" y="70"/>
                      <a:pt x="112" y="68"/>
                    </a:cubicBezTo>
                    <a:cubicBezTo>
                      <a:pt x="111" y="67"/>
                      <a:pt x="110" y="67"/>
                      <a:pt x="110" y="66"/>
                    </a:cubicBezTo>
                    <a:cubicBezTo>
                      <a:pt x="110" y="65"/>
                      <a:pt x="110" y="64"/>
                      <a:pt x="110" y="64"/>
                    </a:cubicBezTo>
                    <a:cubicBezTo>
                      <a:pt x="110" y="63"/>
                      <a:pt x="109" y="62"/>
                      <a:pt x="108" y="62"/>
                    </a:cubicBezTo>
                    <a:cubicBezTo>
                      <a:pt x="107" y="61"/>
                      <a:pt x="105" y="59"/>
                      <a:pt x="105" y="57"/>
                    </a:cubicBezTo>
                    <a:cubicBezTo>
                      <a:pt x="103" y="57"/>
                      <a:pt x="101" y="58"/>
                      <a:pt x="99" y="56"/>
                    </a:cubicBezTo>
                    <a:cubicBezTo>
                      <a:pt x="98" y="54"/>
                      <a:pt x="98" y="52"/>
                      <a:pt x="96" y="50"/>
                    </a:cubicBezTo>
                    <a:cubicBezTo>
                      <a:pt x="96" y="49"/>
                      <a:pt x="95" y="49"/>
                      <a:pt x="94" y="48"/>
                    </a:cubicBezTo>
                    <a:cubicBezTo>
                      <a:pt x="92" y="47"/>
                      <a:pt x="92" y="48"/>
                      <a:pt x="92" y="45"/>
                    </a:cubicBezTo>
                    <a:cubicBezTo>
                      <a:pt x="92" y="43"/>
                      <a:pt x="92" y="41"/>
                      <a:pt x="92" y="39"/>
                    </a:cubicBezTo>
                    <a:cubicBezTo>
                      <a:pt x="92" y="38"/>
                      <a:pt x="93" y="35"/>
                      <a:pt x="93" y="33"/>
                    </a:cubicBezTo>
                    <a:cubicBezTo>
                      <a:pt x="92" y="32"/>
                      <a:pt x="91" y="32"/>
                      <a:pt x="91" y="30"/>
                    </a:cubicBezTo>
                    <a:cubicBezTo>
                      <a:pt x="90" y="30"/>
                      <a:pt x="88" y="32"/>
                      <a:pt x="87" y="33"/>
                    </a:cubicBezTo>
                    <a:cubicBezTo>
                      <a:pt x="85" y="35"/>
                      <a:pt x="86" y="35"/>
                      <a:pt x="84" y="35"/>
                    </a:cubicBezTo>
                    <a:cubicBezTo>
                      <a:pt x="81" y="36"/>
                      <a:pt x="78" y="37"/>
                      <a:pt x="75" y="38"/>
                    </a:cubicBezTo>
                    <a:cubicBezTo>
                      <a:pt x="73" y="39"/>
                      <a:pt x="72" y="40"/>
                      <a:pt x="70" y="41"/>
                    </a:cubicBezTo>
                    <a:cubicBezTo>
                      <a:pt x="68" y="43"/>
                      <a:pt x="67" y="42"/>
                      <a:pt x="65" y="43"/>
                    </a:cubicBezTo>
                    <a:cubicBezTo>
                      <a:pt x="61" y="45"/>
                      <a:pt x="61" y="48"/>
                      <a:pt x="61" y="51"/>
                    </a:cubicBezTo>
                    <a:cubicBezTo>
                      <a:pt x="59" y="51"/>
                      <a:pt x="58" y="51"/>
                      <a:pt x="57" y="51"/>
                    </a:cubicBezTo>
                    <a:cubicBezTo>
                      <a:pt x="57" y="51"/>
                      <a:pt x="55" y="50"/>
                      <a:pt x="55" y="50"/>
                    </a:cubicBezTo>
                    <a:cubicBezTo>
                      <a:pt x="54" y="49"/>
                      <a:pt x="52" y="49"/>
                      <a:pt x="50" y="49"/>
                    </a:cubicBezTo>
                    <a:cubicBezTo>
                      <a:pt x="47" y="49"/>
                      <a:pt x="44" y="51"/>
                      <a:pt x="42" y="53"/>
                    </a:cubicBezTo>
                    <a:cubicBezTo>
                      <a:pt x="41" y="55"/>
                      <a:pt x="40" y="56"/>
                      <a:pt x="39" y="58"/>
                    </a:cubicBezTo>
                    <a:cubicBezTo>
                      <a:pt x="37" y="59"/>
                      <a:pt x="37" y="62"/>
                      <a:pt x="36" y="64"/>
                    </a:cubicBezTo>
                    <a:cubicBezTo>
                      <a:pt x="34" y="66"/>
                      <a:pt x="33" y="67"/>
                      <a:pt x="32" y="69"/>
                    </a:cubicBezTo>
                    <a:cubicBezTo>
                      <a:pt x="31" y="70"/>
                      <a:pt x="31" y="71"/>
                      <a:pt x="30" y="72"/>
                    </a:cubicBezTo>
                    <a:cubicBezTo>
                      <a:pt x="30" y="73"/>
                      <a:pt x="28" y="74"/>
                      <a:pt x="28" y="75"/>
                    </a:cubicBezTo>
                    <a:cubicBezTo>
                      <a:pt x="27" y="77"/>
                      <a:pt x="26" y="80"/>
                      <a:pt x="25" y="83"/>
                    </a:cubicBezTo>
                    <a:cubicBezTo>
                      <a:pt x="24" y="88"/>
                      <a:pt x="26" y="94"/>
                      <a:pt x="25" y="99"/>
                    </a:cubicBezTo>
                    <a:cubicBezTo>
                      <a:pt x="24" y="103"/>
                      <a:pt x="23" y="107"/>
                      <a:pt x="22" y="110"/>
                    </a:cubicBezTo>
                    <a:cubicBezTo>
                      <a:pt x="21" y="113"/>
                      <a:pt x="19" y="115"/>
                      <a:pt x="17" y="117"/>
                    </a:cubicBezTo>
                    <a:cubicBezTo>
                      <a:pt x="17" y="117"/>
                      <a:pt x="15" y="118"/>
                      <a:pt x="15" y="119"/>
                    </a:cubicBezTo>
                    <a:cubicBezTo>
                      <a:pt x="14" y="120"/>
                      <a:pt x="14" y="120"/>
                      <a:pt x="14" y="122"/>
                    </a:cubicBezTo>
                    <a:cubicBezTo>
                      <a:pt x="13" y="123"/>
                      <a:pt x="12" y="125"/>
                      <a:pt x="11" y="126"/>
                    </a:cubicBezTo>
                    <a:cubicBezTo>
                      <a:pt x="10" y="128"/>
                      <a:pt x="9" y="130"/>
                      <a:pt x="8" y="131"/>
                    </a:cubicBezTo>
                    <a:cubicBezTo>
                      <a:pt x="7" y="135"/>
                      <a:pt x="8" y="141"/>
                      <a:pt x="6" y="146"/>
                    </a:cubicBezTo>
                    <a:cubicBezTo>
                      <a:pt x="5" y="149"/>
                      <a:pt x="2" y="152"/>
                      <a:pt x="1" y="156"/>
                    </a:cubicBezTo>
                    <a:cubicBezTo>
                      <a:pt x="0" y="160"/>
                      <a:pt x="0" y="164"/>
                      <a:pt x="0" y="168"/>
                    </a:cubicBezTo>
                    <a:cubicBezTo>
                      <a:pt x="0" y="175"/>
                      <a:pt x="0" y="182"/>
                      <a:pt x="1" y="189"/>
                    </a:cubicBezTo>
                    <a:cubicBezTo>
                      <a:pt x="1" y="191"/>
                      <a:pt x="0" y="191"/>
                      <a:pt x="2" y="193"/>
                    </a:cubicBezTo>
                    <a:cubicBezTo>
                      <a:pt x="2" y="194"/>
                      <a:pt x="3" y="194"/>
                      <a:pt x="4" y="195"/>
                    </a:cubicBezTo>
                    <a:cubicBezTo>
                      <a:pt x="5" y="196"/>
                      <a:pt x="6" y="198"/>
                      <a:pt x="6" y="199"/>
                    </a:cubicBezTo>
                    <a:cubicBezTo>
                      <a:pt x="7" y="201"/>
                      <a:pt x="9" y="202"/>
                      <a:pt x="10" y="204"/>
                    </a:cubicBezTo>
                    <a:cubicBezTo>
                      <a:pt x="11" y="203"/>
                      <a:pt x="11" y="202"/>
                      <a:pt x="11" y="201"/>
                    </a:cubicBezTo>
                    <a:cubicBezTo>
                      <a:pt x="11" y="199"/>
                      <a:pt x="11" y="196"/>
                      <a:pt x="13" y="195"/>
                    </a:cubicBezTo>
                    <a:cubicBezTo>
                      <a:pt x="14" y="194"/>
                      <a:pt x="15" y="195"/>
                      <a:pt x="16" y="195"/>
                    </a:cubicBezTo>
                    <a:cubicBezTo>
                      <a:pt x="17" y="194"/>
                      <a:pt x="17" y="193"/>
                      <a:pt x="18" y="192"/>
                    </a:cubicBezTo>
                    <a:cubicBezTo>
                      <a:pt x="18" y="192"/>
                      <a:pt x="19" y="191"/>
                      <a:pt x="19" y="190"/>
                    </a:cubicBezTo>
                    <a:cubicBezTo>
                      <a:pt x="19" y="190"/>
                      <a:pt x="20" y="190"/>
                      <a:pt x="20" y="189"/>
                    </a:cubicBezTo>
                    <a:cubicBezTo>
                      <a:pt x="20" y="189"/>
                      <a:pt x="19" y="188"/>
                      <a:pt x="20" y="188"/>
                    </a:cubicBezTo>
                    <a:cubicBezTo>
                      <a:pt x="20" y="187"/>
                      <a:pt x="22" y="187"/>
                      <a:pt x="22" y="187"/>
                    </a:cubicBezTo>
                    <a:cubicBezTo>
                      <a:pt x="22" y="187"/>
                      <a:pt x="23" y="186"/>
                      <a:pt x="23" y="186"/>
                    </a:cubicBezTo>
                    <a:cubicBezTo>
                      <a:pt x="23" y="186"/>
                      <a:pt x="24" y="185"/>
                      <a:pt x="25" y="185"/>
                    </a:cubicBezTo>
                    <a:cubicBezTo>
                      <a:pt x="26" y="185"/>
                      <a:pt x="27" y="184"/>
                      <a:pt x="28" y="184"/>
                    </a:cubicBezTo>
                    <a:cubicBezTo>
                      <a:pt x="29" y="183"/>
                      <a:pt x="29" y="181"/>
                      <a:pt x="29" y="180"/>
                    </a:cubicBezTo>
                    <a:cubicBezTo>
                      <a:pt x="30" y="178"/>
                      <a:pt x="31" y="178"/>
                      <a:pt x="33" y="178"/>
                    </a:cubicBezTo>
                    <a:cubicBezTo>
                      <a:pt x="34" y="177"/>
                      <a:pt x="36" y="175"/>
                      <a:pt x="37" y="175"/>
                    </a:cubicBezTo>
                    <a:cubicBezTo>
                      <a:pt x="39" y="173"/>
                      <a:pt x="41" y="174"/>
                      <a:pt x="44" y="174"/>
                    </a:cubicBezTo>
                    <a:cubicBezTo>
                      <a:pt x="47" y="174"/>
                      <a:pt x="47" y="173"/>
                      <a:pt x="49" y="171"/>
                    </a:cubicBezTo>
                    <a:cubicBezTo>
                      <a:pt x="50" y="170"/>
                      <a:pt x="53" y="169"/>
                      <a:pt x="55" y="169"/>
                    </a:cubicBezTo>
                    <a:cubicBezTo>
                      <a:pt x="56" y="168"/>
                      <a:pt x="57" y="168"/>
                      <a:pt x="58" y="168"/>
                    </a:cubicBezTo>
                    <a:cubicBezTo>
                      <a:pt x="62" y="168"/>
                      <a:pt x="60" y="166"/>
                      <a:pt x="61" y="164"/>
                    </a:cubicBezTo>
                    <a:cubicBezTo>
                      <a:pt x="62" y="162"/>
                      <a:pt x="68" y="162"/>
                      <a:pt x="69" y="163"/>
                    </a:cubicBezTo>
                    <a:cubicBezTo>
                      <a:pt x="70" y="163"/>
                      <a:pt x="71" y="164"/>
                      <a:pt x="72" y="164"/>
                    </a:cubicBezTo>
                    <a:cubicBezTo>
                      <a:pt x="73" y="164"/>
                      <a:pt x="74" y="165"/>
                      <a:pt x="75" y="165"/>
                    </a:cubicBezTo>
                    <a:cubicBezTo>
                      <a:pt x="79" y="166"/>
                      <a:pt x="83" y="166"/>
                      <a:pt x="86" y="166"/>
                    </a:cubicBezTo>
                    <a:cubicBezTo>
                      <a:pt x="89" y="166"/>
                      <a:pt x="91" y="166"/>
                      <a:pt x="94" y="167"/>
                    </a:cubicBezTo>
                    <a:cubicBezTo>
                      <a:pt x="97" y="168"/>
                      <a:pt x="99" y="168"/>
                      <a:pt x="102" y="168"/>
                    </a:cubicBezTo>
                    <a:cubicBezTo>
                      <a:pt x="104" y="168"/>
                      <a:pt x="105" y="168"/>
                      <a:pt x="107" y="168"/>
                    </a:cubicBezTo>
                    <a:cubicBezTo>
                      <a:pt x="107" y="168"/>
                      <a:pt x="108" y="168"/>
                      <a:pt x="109" y="168"/>
                    </a:cubicBezTo>
                    <a:cubicBezTo>
                      <a:pt x="110" y="168"/>
                      <a:pt x="110" y="167"/>
                      <a:pt x="111" y="166"/>
                    </a:cubicBezTo>
                    <a:cubicBezTo>
                      <a:pt x="112" y="166"/>
                      <a:pt x="113" y="166"/>
                      <a:pt x="114" y="166"/>
                    </a:cubicBezTo>
                    <a:cubicBezTo>
                      <a:pt x="115" y="166"/>
                      <a:pt x="117" y="166"/>
                      <a:pt x="118" y="167"/>
                    </a:cubicBezTo>
                    <a:cubicBezTo>
                      <a:pt x="118" y="167"/>
                      <a:pt x="120" y="166"/>
                      <a:pt x="120" y="167"/>
                    </a:cubicBezTo>
                    <a:cubicBezTo>
                      <a:pt x="120" y="167"/>
                      <a:pt x="120" y="168"/>
                      <a:pt x="120" y="169"/>
                    </a:cubicBezTo>
                    <a:cubicBezTo>
                      <a:pt x="120" y="169"/>
                      <a:pt x="121" y="169"/>
                      <a:pt x="121" y="170"/>
                    </a:cubicBezTo>
                    <a:cubicBezTo>
                      <a:pt x="121" y="171"/>
                      <a:pt x="121" y="174"/>
                      <a:pt x="123" y="175"/>
                    </a:cubicBezTo>
                    <a:cubicBezTo>
                      <a:pt x="125" y="175"/>
                      <a:pt x="129" y="173"/>
                      <a:pt x="129" y="171"/>
                    </a:cubicBezTo>
                    <a:cubicBezTo>
                      <a:pt x="130" y="170"/>
                      <a:pt x="132" y="171"/>
                      <a:pt x="133" y="171"/>
                    </a:cubicBezTo>
                    <a:cubicBezTo>
                      <a:pt x="135" y="171"/>
                      <a:pt x="135" y="169"/>
                      <a:pt x="136" y="168"/>
                    </a:cubicBezTo>
                    <a:cubicBezTo>
                      <a:pt x="137" y="168"/>
                      <a:pt x="139" y="169"/>
                      <a:pt x="140" y="169"/>
                    </a:cubicBezTo>
                    <a:cubicBezTo>
                      <a:pt x="142" y="169"/>
                      <a:pt x="143" y="170"/>
                      <a:pt x="145" y="171"/>
                    </a:cubicBezTo>
                    <a:cubicBezTo>
                      <a:pt x="146" y="171"/>
                      <a:pt x="148" y="171"/>
                      <a:pt x="150" y="171"/>
                    </a:cubicBezTo>
                    <a:cubicBezTo>
                      <a:pt x="151" y="171"/>
                      <a:pt x="152" y="170"/>
                      <a:pt x="153" y="170"/>
                    </a:cubicBezTo>
                    <a:cubicBezTo>
                      <a:pt x="156" y="169"/>
                      <a:pt x="158" y="169"/>
                      <a:pt x="161" y="170"/>
                    </a:cubicBezTo>
                    <a:cubicBezTo>
                      <a:pt x="161" y="171"/>
                      <a:pt x="161" y="173"/>
                      <a:pt x="162" y="174"/>
                    </a:cubicBezTo>
                    <a:cubicBezTo>
                      <a:pt x="163" y="174"/>
                      <a:pt x="162" y="171"/>
                      <a:pt x="164" y="171"/>
                    </a:cubicBezTo>
                    <a:cubicBezTo>
                      <a:pt x="165" y="171"/>
                      <a:pt x="166" y="172"/>
                      <a:pt x="167" y="173"/>
                    </a:cubicBezTo>
                    <a:cubicBezTo>
                      <a:pt x="169" y="174"/>
                      <a:pt x="171" y="175"/>
                      <a:pt x="173" y="176"/>
                    </a:cubicBezTo>
                    <a:cubicBezTo>
                      <a:pt x="174" y="176"/>
                      <a:pt x="176" y="176"/>
                      <a:pt x="176" y="177"/>
                    </a:cubicBezTo>
                    <a:cubicBezTo>
                      <a:pt x="177" y="178"/>
                      <a:pt x="176" y="179"/>
                      <a:pt x="177" y="180"/>
                    </a:cubicBezTo>
                    <a:cubicBezTo>
                      <a:pt x="177" y="181"/>
                      <a:pt x="178" y="181"/>
                      <a:pt x="179" y="181"/>
                    </a:cubicBezTo>
                    <a:cubicBezTo>
                      <a:pt x="181" y="181"/>
                      <a:pt x="182" y="179"/>
                      <a:pt x="183" y="179"/>
                    </a:cubicBezTo>
                    <a:cubicBezTo>
                      <a:pt x="187" y="176"/>
                      <a:pt x="192" y="178"/>
                      <a:pt x="197" y="179"/>
                    </a:cubicBezTo>
                    <a:cubicBezTo>
                      <a:pt x="198" y="179"/>
                      <a:pt x="201" y="179"/>
                      <a:pt x="203" y="178"/>
                    </a:cubicBezTo>
                    <a:cubicBezTo>
                      <a:pt x="204" y="177"/>
                      <a:pt x="204" y="176"/>
                      <a:pt x="205" y="175"/>
                    </a:cubicBezTo>
                    <a:cubicBezTo>
                      <a:pt x="206" y="175"/>
                      <a:pt x="207" y="175"/>
                      <a:pt x="208" y="175"/>
                    </a:cubicBezTo>
                    <a:cubicBezTo>
                      <a:pt x="208" y="174"/>
                      <a:pt x="208" y="173"/>
                      <a:pt x="208" y="172"/>
                    </a:cubicBezTo>
                    <a:cubicBezTo>
                      <a:pt x="208" y="171"/>
                      <a:pt x="208" y="169"/>
                      <a:pt x="209" y="168"/>
                    </a:cubicBezTo>
                    <a:cubicBezTo>
                      <a:pt x="210" y="167"/>
                      <a:pt x="212" y="166"/>
                      <a:pt x="213" y="165"/>
                    </a:cubicBezTo>
                    <a:cubicBezTo>
                      <a:pt x="214" y="165"/>
                      <a:pt x="215" y="165"/>
                      <a:pt x="215" y="164"/>
                    </a:cubicBezTo>
                    <a:cubicBezTo>
                      <a:pt x="216" y="164"/>
                      <a:pt x="216" y="163"/>
                      <a:pt x="216" y="163"/>
                    </a:cubicBezTo>
                    <a:cubicBezTo>
                      <a:pt x="218" y="161"/>
                      <a:pt x="225" y="161"/>
                      <a:pt x="225" y="164"/>
                    </a:cubicBezTo>
                    <a:cubicBezTo>
                      <a:pt x="222" y="166"/>
                      <a:pt x="222" y="166"/>
                      <a:pt x="222" y="166"/>
                    </a:cubicBezTo>
                    <a:cubicBezTo>
                      <a:pt x="221" y="167"/>
                      <a:pt x="222" y="167"/>
                      <a:pt x="221" y="168"/>
                    </a:cubicBezTo>
                    <a:cubicBezTo>
                      <a:pt x="221" y="169"/>
                      <a:pt x="221" y="169"/>
                      <a:pt x="221" y="170"/>
                    </a:cubicBezTo>
                    <a:cubicBezTo>
                      <a:pt x="222" y="170"/>
                      <a:pt x="223" y="171"/>
                      <a:pt x="224" y="172"/>
                    </a:cubicBezTo>
                    <a:cubicBezTo>
                      <a:pt x="225" y="175"/>
                      <a:pt x="227" y="177"/>
                      <a:pt x="229" y="180"/>
                    </a:cubicBezTo>
                    <a:cubicBezTo>
                      <a:pt x="230" y="183"/>
                      <a:pt x="231" y="185"/>
                      <a:pt x="234" y="186"/>
                    </a:cubicBezTo>
                    <a:cubicBezTo>
                      <a:pt x="234" y="187"/>
                      <a:pt x="235" y="190"/>
                      <a:pt x="237" y="190"/>
                    </a:cubicBezTo>
                    <a:cubicBezTo>
                      <a:pt x="237" y="188"/>
                      <a:pt x="240" y="187"/>
                      <a:pt x="241" y="188"/>
                    </a:cubicBezTo>
                    <a:cubicBezTo>
                      <a:pt x="242" y="188"/>
                      <a:pt x="243" y="190"/>
                      <a:pt x="244" y="190"/>
                    </a:cubicBezTo>
                    <a:cubicBezTo>
                      <a:pt x="247" y="192"/>
                      <a:pt x="251" y="191"/>
                      <a:pt x="254" y="191"/>
                    </a:cubicBezTo>
                    <a:cubicBezTo>
                      <a:pt x="256" y="191"/>
                      <a:pt x="258" y="191"/>
                      <a:pt x="260" y="193"/>
                    </a:cubicBezTo>
                    <a:cubicBezTo>
                      <a:pt x="261" y="193"/>
                      <a:pt x="262" y="195"/>
                      <a:pt x="263" y="196"/>
                    </a:cubicBezTo>
                    <a:cubicBezTo>
                      <a:pt x="266" y="197"/>
                      <a:pt x="268" y="198"/>
                      <a:pt x="270" y="200"/>
                    </a:cubicBezTo>
                    <a:cubicBezTo>
                      <a:pt x="273" y="201"/>
                      <a:pt x="275" y="203"/>
                      <a:pt x="278" y="205"/>
                    </a:cubicBezTo>
                    <a:cubicBezTo>
                      <a:pt x="281" y="207"/>
                      <a:pt x="283" y="209"/>
                      <a:pt x="286" y="211"/>
                    </a:cubicBezTo>
                    <a:cubicBezTo>
                      <a:pt x="288" y="213"/>
                      <a:pt x="291" y="216"/>
                      <a:pt x="292" y="219"/>
                    </a:cubicBezTo>
                    <a:cubicBezTo>
                      <a:pt x="292" y="220"/>
                      <a:pt x="292" y="221"/>
                      <a:pt x="293" y="221"/>
                    </a:cubicBezTo>
                    <a:cubicBezTo>
                      <a:pt x="293" y="222"/>
                      <a:pt x="294" y="223"/>
                      <a:pt x="295" y="224"/>
                    </a:cubicBezTo>
                    <a:cubicBezTo>
                      <a:pt x="296" y="226"/>
                      <a:pt x="298" y="228"/>
                      <a:pt x="299" y="230"/>
                    </a:cubicBezTo>
                    <a:cubicBezTo>
                      <a:pt x="299" y="231"/>
                      <a:pt x="299" y="232"/>
                      <a:pt x="300" y="233"/>
                    </a:cubicBezTo>
                    <a:cubicBezTo>
                      <a:pt x="301" y="234"/>
                      <a:pt x="305" y="234"/>
                      <a:pt x="307" y="235"/>
                    </a:cubicBezTo>
                    <a:cubicBezTo>
                      <a:pt x="309" y="235"/>
                      <a:pt x="311" y="236"/>
                      <a:pt x="313" y="236"/>
                    </a:cubicBezTo>
                    <a:cubicBezTo>
                      <a:pt x="313" y="236"/>
                      <a:pt x="313" y="236"/>
                      <a:pt x="314" y="236"/>
                    </a:cubicBezTo>
                    <a:cubicBezTo>
                      <a:pt x="315" y="236"/>
                      <a:pt x="315" y="236"/>
                      <a:pt x="316" y="235"/>
                    </a:cubicBezTo>
                    <a:cubicBezTo>
                      <a:pt x="317" y="235"/>
                      <a:pt x="319" y="236"/>
                      <a:pt x="321" y="236"/>
                    </a:cubicBezTo>
                    <a:cubicBezTo>
                      <a:pt x="323" y="236"/>
                      <a:pt x="324" y="236"/>
                      <a:pt x="325" y="234"/>
                    </a:cubicBezTo>
                    <a:cubicBezTo>
                      <a:pt x="326" y="233"/>
                      <a:pt x="327" y="230"/>
                      <a:pt x="329" y="229"/>
                    </a:cubicBezTo>
                    <a:cubicBezTo>
                      <a:pt x="329" y="228"/>
                      <a:pt x="331" y="227"/>
                      <a:pt x="332" y="227"/>
                    </a:cubicBezTo>
                    <a:cubicBezTo>
                      <a:pt x="333" y="226"/>
                      <a:pt x="334" y="226"/>
                      <a:pt x="335" y="226"/>
                    </a:cubicBezTo>
                    <a:cubicBezTo>
                      <a:pt x="336" y="226"/>
                      <a:pt x="336" y="224"/>
                      <a:pt x="337" y="224"/>
                    </a:cubicBezTo>
                    <a:cubicBezTo>
                      <a:pt x="339" y="222"/>
                      <a:pt x="343" y="220"/>
                      <a:pt x="346" y="222"/>
                    </a:cubicBezTo>
                    <a:cubicBezTo>
                      <a:pt x="348" y="223"/>
                      <a:pt x="348" y="223"/>
                      <a:pt x="351" y="224"/>
                    </a:cubicBezTo>
                    <a:cubicBezTo>
                      <a:pt x="353" y="224"/>
                      <a:pt x="356" y="224"/>
                      <a:pt x="359" y="224"/>
                    </a:cubicBezTo>
                    <a:cubicBezTo>
                      <a:pt x="363" y="223"/>
                      <a:pt x="366" y="228"/>
                      <a:pt x="370" y="225"/>
                    </a:cubicBezTo>
                    <a:cubicBezTo>
                      <a:pt x="374" y="222"/>
                      <a:pt x="371" y="217"/>
                      <a:pt x="372" y="213"/>
                    </a:cubicBezTo>
                    <a:cubicBezTo>
                      <a:pt x="373" y="208"/>
                      <a:pt x="376" y="206"/>
                      <a:pt x="381" y="205"/>
                    </a:cubicBezTo>
                    <a:cubicBezTo>
                      <a:pt x="385" y="205"/>
                      <a:pt x="389" y="200"/>
                      <a:pt x="392" y="197"/>
                    </a:cubicBezTo>
                    <a:cubicBezTo>
                      <a:pt x="392" y="196"/>
                      <a:pt x="393" y="195"/>
                      <a:pt x="394" y="194"/>
                    </a:cubicBezTo>
                    <a:cubicBezTo>
                      <a:pt x="394" y="191"/>
                      <a:pt x="395" y="188"/>
                      <a:pt x="395" y="187"/>
                    </a:cubicBezTo>
                    <a:cubicBezTo>
                      <a:pt x="396" y="182"/>
                      <a:pt x="398" y="177"/>
                      <a:pt x="399" y="173"/>
                    </a:cubicBezTo>
                    <a:cubicBezTo>
                      <a:pt x="399" y="170"/>
                      <a:pt x="399" y="167"/>
                      <a:pt x="399" y="165"/>
                    </a:cubicBezTo>
                    <a:cubicBezTo>
                      <a:pt x="399" y="164"/>
                      <a:pt x="399" y="162"/>
                      <a:pt x="399" y="16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24" name="Freeform 40">
                <a:extLst>
                  <a:ext uri="{FF2B5EF4-FFF2-40B4-BE49-F238E27FC236}">
                    <a16:creationId xmlns:a16="http://schemas.microsoft.com/office/drawing/2014/main" id="{DBE4CB9A-3A93-4BF9-94B0-4EDA7A75A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2950" y="2852738"/>
                <a:ext cx="508000" cy="412750"/>
              </a:xfrm>
              <a:custGeom>
                <a:avLst/>
                <a:gdLst/>
                <a:ahLst/>
                <a:cxnLst>
                  <a:cxn ang="0">
                    <a:pos x="269" y="22"/>
                  </a:cxn>
                  <a:cxn ang="0">
                    <a:pos x="268" y="32"/>
                  </a:cxn>
                  <a:cxn ang="0">
                    <a:pos x="255" y="49"/>
                  </a:cxn>
                  <a:cxn ang="0">
                    <a:pos x="252" y="66"/>
                  </a:cxn>
                  <a:cxn ang="0">
                    <a:pos x="234" y="69"/>
                  </a:cxn>
                  <a:cxn ang="0">
                    <a:pos x="209" y="77"/>
                  </a:cxn>
                  <a:cxn ang="0">
                    <a:pos x="212" y="94"/>
                  </a:cxn>
                  <a:cxn ang="0">
                    <a:pos x="219" y="119"/>
                  </a:cxn>
                  <a:cxn ang="0">
                    <a:pos x="240" y="136"/>
                  </a:cxn>
                  <a:cxn ang="0">
                    <a:pos x="237" y="157"/>
                  </a:cxn>
                  <a:cxn ang="0">
                    <a:pos x="242" y="171"/>
                  </a:cxn>
                  <a:cxn ang="0">
                    <a:pos x="248" y="184"/>
                  </a:cxn>
                  <a:cxn ang="0">
                    <a:pos x="236" y="187"/>
                  </a:cxn>
                  <a:cxn ang="0">
                    <a:pos x="232" y="195"/>
                  </a:cxn>
                  <a:cxn ang="0">
                    <a:pos x="228" y="209"/>
                  </a:cxn>
                  <a:cxn ang="0">
                    <a:pos x="217" y="218"/>
                  </a:cxn>
                  <a:cxn ang="0">
                    <a:pos x="204" y="212"/>
                  </a:cxn>
                  <a:cxn ang="0">
                    <a:pos x="188" y="217"/>
                  </a:cxn>
                  <a:cxn ang="0">
                    <a:pos x="176" y="214"/>
                  </a:cxn>
                  <a:cxn ang="0">
                    <a:pos x="164" y="207"/>
                  </a:cxn>
                  <a:cxn ang="0">
                    <a:pos x="153" y="192"/>
                  </a:cxn>
                  <a:cxn ang="0">
                    <a:pos x="132" y="179"/>
                  </a:cxn>
                  <a:cxn ang="0">
                    <a:pos x="114" y="164"/>
                  </a:cxn>
                  <a:cxn ang="0">
                    <a:pos x="101" y="169"/>
                  </a:cxn>
                  <a:cxn ang="0">
                    <a:pos x="81" y="177"/>
                  </a:cxn>
                  <a:cxn ang="0">
                    <a:pos x="69" y="186"/>
                  </a:cxn>
                  <a:cxn ang="0">
                    <a:pos x="70" y="159"/>
                  </a:cxn>
                  <a:cxn ang="0">
                    <a:pos x="78" y="138"/>
                  </a:cxn>
                  <a:cxn ang="0">
                    <a:pos x="44" y="143"/>
                  </a:cxn>
                  <a:cxn ang="0">
                    <a:pos x="23" y="119"/>
                  </a:cxn>
                  <a:cxn ang="0">
                    <a:pos x="21" y="107"/>
                  </a:cxn>
                  <a:cxn ang="0">
                    <a:pos x="28" y="96"/>
                  </a:cxn>
                  <a:cxn ang="0">
                    <a:pos x="22" y="87"/>
                  </a:cxn>
                  <a:cxn ang="0">
                    <a:pos x="20" y="68"/>
                  </a:cxn>
                  <a:cxn ang="0">
                    <a:pos x="3" y="63"/>
                  </a:cxn>
                  <a:cxn ang="0">
                    <a:pos x="13" y="59"/>
                  </a:cxn>
                  <a:cxn ang="0">
                    <a:pos x="17" y="44"/>
                  </a:cxn>
                  <a:cxn ang="0">
                    <a:pos x="29" y="39"/>
                  </a:cxn>
                  <a:cxn ang="0">
                    <a:pos x="46" y="32"/>
                  </a:cxn>
                  <a:cxn ang="0">
                    <a:pos x="58" y="25"/>
                  </a:cxn>
                  <a:cxn ang="0">
                    <a:pos x="81" y="18"/>
                  </a:cxn>
                  <a:cxn ang="0">
                    <a:pos x="97" y="8"/>
                  </a:cxn>
                  <a:cxn ang="0">
                    <a:pos x="109" y="14"/>
                  </a:cxn>
                  <a:cxn ang="0">
                    <a:pos x="128" y="5"/>
                  </a:cxn>
                  <a:cxn ang="0">
                    <a:pos x="136" y="4"/>
                  </a:cxn>
                  <a:cxn ang="0">
                    <a:pos x="153" y="6"/>
                  </a:cxn>
                  <a:cxn ang="0">
                    <a:pos x="167" y="6"/>
                  </a:cxn>
                  <a:cxn ang="0">
                    <a:pos x="183" y="12"/>
                  </a:cxn>
                  <a:cxn ang="0">
                    <a:pos x="195" y="14"/>
                  </a:cxn>
                  <a:cxn ang="0">
                    <a:pos x="227" y="23"/>
                  </a:cxn>
                  <a:cxn ang="0">
                    <a:pos x="247" y="19"/>
                  </a:cxn>
                </a:cxnLst>
                <a:rect l="0" t="0" r="r" b="b"/>
                <a:pathLst>
                  <a:path w="272" h="221">
                    <a:moveTo>
                      <a:pt x="264" y="14"/>
                    </a:moveTo>
                    <a:cubicBezTo>
                      <a:pt x="264" y="14"/>
                      <a:pt x="264" y="15"/>
                      <a:pt x="264" y="15"/>
                    </a:cubicBezTo>
                    <a:cubicBezTo>
                      <a:pt x="265" y="18"/>
                      <a:pt x="267" y="20"/>
                      <a:pt x="269" y="22"/>
                    </a:cubicBezTo>
                    <a:cubicBezTo>
                      <a:pt x="270" y="23"/>
                      <a:pt x="271" y="24"/>
                      <a:pt x="271" y="26"/>
                    </a:cubicBezTo>
                    <a:cubicBezTo>
                      <a:pt x="272" y="28"/>
                      <a:pt x="271" y="27"/>
                      <a:pt x="270" y="29"/>
                    </a:cubicBezTo>
                    <a:cubicBezTo>
                      <a:pt x="269" y="30"/>
                      <a:pt x="269" y="31"/>
                      <a:pt x="268" y="32"/>
                    </a:cubicBezTo>
                    <a:cubicBezTo>
                      <a:pt x="267" y="35"/>
                      <a:pt x="265" y="34"/>
                      <a:pt x="264" y="35"/>
                    </a:cubicBezTo>
                    <a:cubicBezTo>
                      <a:pt x="260" y="37"/>
                      <a:pt x="257" y="41"/>
                      <a:pt x="256" y="45"/>
                    </a:cubicBezTo>
                    <a:cubicBezTo>
                      <a:pt x="255" y="46"/>
                      <a:pt x="255" y="48"/>
                      <a:pt x="255" y="49"/>
                    </a:cubicBezTo>
                    <a:cubicBezTo>
                      <a:pt x="254" y="51"/>
                      <a:pt x="254" y="53"/>
                      <a:pt x="254" y="54"/>
                    </a:cubicBezTo>
                    <a:cubicBezTo>
                      <a:pt x="254" y="57"/>
                      <a:pt x="253" y="58"/>
                      <a:pt x="253" y="60"/>
                    </a:cubicBezTo>
                    <a:cubicBezTo>
                      <a:pt x="252" y="62"/>
                      <a:pt x="253" y="64"/>
                      <a:pt x="252" y="66"/>
                    </a:cubicBezTo>
                    <a:cubicBezTo>
                      <a:pt x="251" y="69"/>
                      <a:pt x="248" y="71"/>
                      <a:pt x="245" y="71"/>
                    </a:cubicBezTo>
                    <a:cubicBezTo>
                      <a:pt x="242" y="71"/>
                      <a:pt x="242" y="70"/>
                      <a:pt x="240" y="69"/>
                    </a:cubicBezTo>
                    <a:cubicBezTo>
                      <a:pt x="238" y="68"/>
                      <a:pt x="236" y="69"/>
                      <a:pt x="234" y="69"/>
                    </a:cubicBezTo>
                    <a:cubicBezTo>
                      <a:pt x="230" y="69"/>
                      <a:pt x="227" y="71"/>
                      <a:pt x="223" y="72"/>
                    </a:cubicBezTo>
                    <a:cubicBezTo>
                      <a:pt x="220" y="73"/>
                      <a:pt x="218" y="73"/>
                      <a:pt x="215" y="74"/>
                    </a:cubicBezTo>
                    <a:cubicBezTo>
                      <a:pt x="213" y="75"/>
                      <a:pt x="211" y="76"/>
                      <a:pt x="209" y="77"/>
                    </a:cubicBezTo>
                    <a:cubicBezTo>
                      <a:pt x="206" y="79"/>
                      <a:pt x="202" y="80"/>
                      <a:pt x="203" y="84"/>
                    </a:cubicBezTo>
                    <a:cubicBezTo>
                      <a:pt x="204" y="86"/>
                      <a:pt x="207" y="89"/>
                      <a:pt x="209" y="91"/>
                    </a:cubicBezTo>
                    <a:cubicBezTo>
                      <a:pt x="210" y="92"/>
                      <a:pt x="211" y="93"/>
                      <a:pt x="212" y="94"/>
                    </a:cubicBezTo>
                    <a:cubicBezTo>
                      <a:pt x="215" y="97"/>
                      <a:pt x="215" y="101"/>
                      <a:pt x="216" y="105"/>
                    </a:cubicBezTo>
                    <a:cubicBezTo>
                      <a:pt x="216" y="108"/>
                      <a:pt x="216" y="111"/>
                      <a:pt x="216" y="114"/>
                    </a:cubicBezTo>
                    <a:cubicBezTo>
                      <a:pt x="217" y="116"/>
                      <a:pt x="218" y="117"/>
                      <a:pt x="219" y="119"/>
                    </a:cubicBezTo>
                    <a:cubicBezTo>
                      <a:pt x="220" y="123"/>
                      <a:pt x="219" y="126"/>
                      <a:pt x="222" y="129"/>
                    </a:cubicBezTo>
                    <a:cubicBezTo>
                      <a:pt x="224" y="130"/>
                      <a:pt x="229" y="131"/>
                      <a:pt x="229" y="135"/>
                    </a:cubicBezTo>
                    <a:cubicBezTo>
                      <a:pt x="232" y="136"/>
                      <a:pt x="237" y="134"/>
                      <a:pt x="240" y="136"/>
                    </a:cubicBezTo>
                    <a:cubicBezTo>
                      <a:pt x="243" y="140"/>
                      <a:pt x="237" y="140"/>
                      <a:pt x="236" y="141"/>
                    </a:cubicBezTo>
                    <a:cubicBezTo>
                      <a:pt x="235" y="142"/>
                      <a:pt x="235" y="144"/>
                      <a:pt x="235" y="146"/>
                    </a:cubicBezTo>
                    <a:cubicBezTo>
                      <a:pt x="235" y="151"/>
                      <a:pt x="234" y="154"/>
                      <a:pt x="237" y="157"/>
                    </a:cubicBezTo>
                    <a:cubicBezTo>
                      <a:pt x="238" y="159"/>
                      <a:pt x="239" y="161"/>
                      <a:pt x="240" y="163"/>
                    </a:cubicBezTo>
                    <a:cubicBezTo>
                      <a:pt x="241" y="165"/>
                      <a:pt x="242" y="166"/>
                      <a:pt x="242" y="168"/>
                    </a:cubicBezTo>
                    <a:cubicBezTo>
                      <a:pt x="242" y="169"/>
                      <a:pt x="242" y="170"/>
                      <a:pt x="242" y="171"/>
                    </a:cubicBezTo>
                    <a:cubicBezTo>
                      <a:pt x="242" y="172"/>
                      <a:pt x="244" y="173"/>
                      <a:pt x="244" y="174"/>
                    </a:cubicBezTo>
                    <a:cubicBezTo>
                      <a:pt x="245" y="174"/>
                      <a:pt x="245" y="177"/>
                      <a:pt x="245" y="178"/>
                    </a:cubicBezTo>
                    <a:cubicBezTo>
                      <a:pt x="245" y="180"/>
                      <a:pt x="246" y="182"/>
                      <a:pt x="248" y="184"/>
                    </a:cubicBezTo>
                    <a:cubicBezTo>
                      <a:pt x="248" y="185"/>
                      <a:pt x="250" y="184"/>
                      <a:pt x="250" y="186"/>
                    </a:cubicBezTo>
                    <a:cubicBezTo>
                      <a:pt x="249" y="188"/>
                      <a:pt x="248" y="187"/>
                      <a:pt x="247" y="187"/>
                    </a:cubicBezTo>
                    <a:cubicBezTo>
                      <a:pt x="244" y="188"/>
                      <a:pt x="239" y="186"/>
                      <a:pt x="236" y="187"/>
                    </a:cubicBezTo>
                    <a:cubicBezTo>
                      <a:pt x="234" y="188"/>
                      <a:pt x="235" y="189"/>
                      <a:pt x="234" y="191"/>
                    </a:cubicBezTo>
                    <a:cubicBezTo>
                      <a:pt x="233" y="192"/>
                      <a:pt x="232" y="191"/>
                      <a:pt x="232" y="193"/>
                    </a:cubicBezTo>
                    <a:cubicBezTo>
                      <a:pt x="232" y="194"/>
                      <a:pt x="232" y="195"/>
                      <a:pt x="232" y="195"/>
                    </a:cubicBezTo>
                    <a:cubicBezTo>
                      <a:pt x="234" y="198"/>
                      <a:pt x="234" y="197"/>
                      <a:pt x="234" y="200"/>
                    </a:cubicBezTo>
                    <a:cubicBezTo>
                      <a:pt x="234" y="200"/>
                      <a:pt x="235" y="203"/>
                      <a:pt x="234" y="204"/>
                    </a:cubicBezTo>
                    <a:cubicBezTo>
                      <a:pt x="233" y="207"/>
                      <a:pt x="230" y="207"/>
                      <a:pt x="228" y="209"/>
                    </a:cubicBezTo>
                    <a:cubicBezTo>
                      <a:pt x="226" y="210"/>
                      <a:pt x="226" y="211"/>
                      <a:pt x="226" y="214"/>
                    </a:cubicBezTo>
                    <a:cubicBezTo>
                      <a:pt x="226" y="217"/>
                      <a:pt x="227" y="218"/>
                      <a:pt x="227" y="220"/>
                    </a:cubicBezTo>
                    <a:cubicBezTo>
                      <a:pt x="223" y="221"/>
                      <a:pt x="220" y="220"/>
                      <a:pt x="217" y="218"/>
                    </a:cubicBezTo>
                    <a:cubicBezTo>
                      <a:pt x="215" y="217"/>
                      <a:pt x="213" y="217"/>
                      <a:pt x="211" y="216"/>
                    </a:cubicBezTo>
                    <a:cubicBezTo>
                      <a:pt x="210" y="215"/>
                      <a:pt x="210" y="214"/>
                      <a:pt x="209" y="213"/>
                    </a:cubicBezTo>
                    <a:cubicBezTo>
                      <a:pt x="208" y="212"/>
                      <a:pt x="206" y="212"/>
                      <a:pt x="204" y="212"/>
                    </a:cubicBezTo>
                    <a:cubicBezTo>
                      <a:pt x="203" y="211"/>
                      <a:pt x="204" y="211"/>
                      <a:pt x="202" y="211"/>
                    </a:cubicBezTo>
                    <a:cubicBezTo>
                      <a:pt x="201" y="210"/>
                      <a:pt x="197" y="210"/>
                      <a:pt x="196" y="211"/>
                    </a:cubicBezTo>
                    <a:cubicBezTo>
                      <a:pt x="191" y="212"/>
                      <a:pt x="192" y="216"/>
                      <a:pt x="188" y="217"/>
                    </a:cubicBezTo>
                    <a:cubicBezTo>
                      <a:pt x="187" y="217"/>
                      <a:pt x="186" y="217"/>
                      <a:pt x="185" y="217"/>
                    </a:cubicBezTo>
                    <a:cubicBezTo>
                      <a:pt x="183" y="216"/>
                      <a:pt x="180" y="216"/>
                      <a:pt x="178" y="215"/>
                    </a:cubicBezTo>
                    <a:cubicBezTo>
                      <a:pt x="177" y="215"/>
                      <a:pt x="177" y="214"/>
                      <a:pt x="176" y="214"/>
                    </a:cubicBezTo>
                    <a:cubicBezTo>
                      <a:pt x="174" y="213"/>
                      <a:pt x="173" y="212"/>
                      <a:pt x="171" y="212"/>
                    </a:cubicBezTo>
                    <a:cubicBezTo>
                      <a:pt x="171" y="212"/>
                      <a:pt x="169" y="213"/>
                      <a:pt x="168" y="212"/>
                    </a:cubicBezTo>
                    <a:cubicBezTo>
                      <a:pt x="166" y="212"/>
                      <a:pt x="165" y="209"/>
                      <a:pt x="164" y="207"/>
                    </a:cubicBezTo>
                    <a:cubicBezTo>
                      <a:pt x="162" y="205"/>
                      <a:pt x="161" y="203"/>
                      <a:pt x="159" y="200"/>
                    </a:cubicBezTo>
                    <a:cubicBezTo>
                      <a:pt x="158" y="198"/>
                      <a:pt x="158" y="197"/>
                      <a:pt x="156" y="196"/>
                    </a:cubicBezTo>
                    <a:cubicBezTo>
                      <a:pt x="153" y="195"/>
                      <a:pt x="153" y="195"/>
                      <a:pt x="153" y="192"/>
                    </a:cubicBezTo>
                    <a:cubicBezTo>
                      <a:pt x="152" y="189"/>
                      <a:pt x="154" y="188"/>
                      <a:pt x="151" y="186"/>
                    </a:cubicBezTo>
                    <a:cubicBezTo>
                      <a:pt x="148" y="185"/>
                      <a:pt x="145" y="186"/>
                      <a:pt x="143" y="184"/>
                    </a:cubicBezTo>
                    <a:cubicBezTo>
                      <a:pt x="139" y="181"/>
                      <a:pt x="139" y="177"/>
                      <a:pt x="132" y="179"/>
                    </a:cubicBezTo>
                    <a:cubicBezTo>
                      <a:pt x="133" y="174"/>
                      <a:pt x="128" y="171"/>
                      <a:pt x="124" y="169"/>
                    </a:cubicBezTo>
                    <a:cubicBezTo>
                      <a:pt x="122" y="169"/>
                      <a:pt x="121" y="168"/>
                      <a:pt x="120" y="168"/>
                    </a:cubicBezTo>
                    <a:cubicBezTo>
                      <a:pt x="118" y="166"/>
                      <a:pt x="117" y="164"/>
                      <a:pt x="114" y="164"/>
                    </a:cubicBezTo>
                    <a:cubicBezTo>
                      <a:pt x="114" y="166"/>
                      <a:pt x="114" y="169"/>
                      <a:pt x="114" y="171"/>
                    </a:cubicBezTo>
                    <a:cubicBezTo>
                      <a:pt x="109" y="172"/>
                      <a:pt x="112" y="166"/>
                      <a:pt x="110" y="165"/>
                    </a:cubicBezTo>
                    <a:cubicBezTo>
                      <a:pt x="108" y="164"/>
                      <a:pt x="103" y="168"/>
                      <a:pt x="101" y="169"/>
                    </a:cubicBezTo>
                    <a:cubicBezTo>
                      <a:pt x="100" y="170"/>
                      <a:pt x="99" y="170"/>
                      <a:pt x="98" y="171"/>
                    </a:cubicBezTo>
                    <a:cubicBezTo>
                      <a:pt x="97" y="172"/>
                      <a:pt x="96" y="173"/>
                      <a:pt x="96" y="174"/>
                    </a:cubicBezTo>
                    <a:cubicBezTo>
                      <a:pt x="92" y="177"/>
                      <a:pt x="86" y="176"/>
                      <a:pt x="81" y="177"/>
                    </a:cubicBezTo>
                    <a:cubicBezTo>
                      <a:pt x="78" y="177"/>
                      <a:pt x="79" y="177"/>
                      <a:pt x="78" y="179"/>
                    </a:cubicBezTo>
                    <a:cubicBezTo>
                      <a:pt x="76" y="181"/>
                      <a:pt x="75" y="182"/>
                      <a:pt x="73" y="184"/>
                    </a:cubicBezTo>
                    <a:cubicBezTo>
                      <a:pt x="72" y="184"/>
                      <a:pt x="70" y="186"/>
                      <a:pt x="69" y="186"/>
                    </a:cubicBezTo>
                    <a:cubicBezTo>
                      <a:pt x="65" y="188"/>
                      <a:pt x="65" y="185"/>
                      <a:pt x="64" y="182"/>
                    </a:cubicBezTo>
                    <a:cubicBezTo>
                      <a:pt x="63" y="176"/>
                      <a:pt x="67" y="174"/>
                      <a:pt x="68" y="169"/>
                    </a:cubicBezTo>
                    <a:cubicBezTo>
                      <a:pt x="70" y="165"/>
                      <a:pt x="71" y="163"/>
                      <a:pt x="70" y="159"/>
                    </a:cubicBezTo>
                    <a:cubicBezTo>
                      <a:pt x="70" y="157"/>
                      <a:pt x="70" y="156"/>
                      <a:pt x="69" y="154"/>
                    </a:cubicBezTo>
                    <a:cubicBezTo>
                      <a:pt x="69" y="150"/>
                      <a:pt x="70" y="145"/>
                      <a:pt x="73" y="142"/>
                    </a:cubicBezTo>
                    <a:cubicBezTo>
                      <a:pt x="74" y="140"/>
                      <a:pt x="77" y="140"/>
                      <a:pt x="78" y="138"/>
                    </a:cubicBezTo>
                    <a:cubicBezTo>
                      <a:pt x="76" y="135"/>
                      <a:pt x="64" y="134"/>
                      <a:pt x="62" y="137"/>
                    </a:cubicBezTo>
                    <a:cubicBezTo>
                      <a:pt x="59" y="140"/>
                      <a:pt x="59" y="144"/>
                      <a:pt x="55" y="147"/>
                    </a:cubicBezTo>
                    <a:cubicBezTo>
                      <a:pt x="51" y="150"/>
                      <a:pt x="47" y="147"/>
                      <a:pt x="44" y="143"/>
                    </a:cubicBezTo>
                    <a:cubicBezTo>
                      <a:pt x="43" y="140"/>
                      <a:pt x="37" y="130"/>
                      <a:pt x="33" y="134"/>
                    </a:cubicBezTo>
                    <a:cubicBezTo>
                      <a:pt x="31" y="131"/>
                      <a:pt x="30" y="127"/>
                      <a:pt x="27" y="124"/>
                    </a:cubicBezTo>
                    <a:cubicBezTo>
                      <a:pt x="26" y="122"/>
                      <a:pt x="24" y="121"/>
                      <a:pt x="23" y="119"/>
                    </a:cubicBezTo>
                    <a:cubicBezTo>
                      <a:pt x="22" y="118"/>
                      <a:pt x="23" y="114"/>
                      <a:pt x="23" y="112"/>
                    </a:cubicBezTo>
                    <a:cubicBezTo>
                      <a:pt x="22" y="111"/>
                      <a:pt x="22" y="110"/>
                      <a:pt x="21" y="109"/>
                    </a:cubicBezTo>
                    <a:cubicBezTo>
                      <a:pt x="21" y="108"/>
                      <a:pt x="21" y="108"/>
                      <a:pt x="21" y="107"/>
                    </a:cubicBezTo>
                    <a:cubicBezTo>
                      <a:pt x="21" y="107"/>
                      <a:pt x="21" y="106"/>
                      <a:pt x="20" y="106"/>
                    </a:cubicBezTo>
                    <a:cubicBezTo>
                      <a:pt x="19" y="104"/>
                      <a:pt x="16" y="97"/>
                      <a:pt x="20" y="96"/>
                    </a:cubicBezTo>
                    <a:cubicBezTo>
                      <a:pt x="22" y="95"/>
                      <a:pt x="26" y="97"/>
                      <a:pt x="28" y="96"/>
                    </a:cubicBezTo>
                    <a:cubicBezTo>
                      <a:pt x="28" y="96"/>
                      <a:pt x="30" y="93"/>
                      <a:pt x="30" y="93"/>
                    </a:cubicBezTo>
                    <a:cubicBezTo>
                      <a:pt x="31" y="91"/>
                      <a:pt x="32" y="90"/>
                      <a:pt x="32" y="88"/>
                    </a:cubicBezTo>
                    <a:cubicBezTo>
                      <a:pt x="28" y="87"/>
                      <a:pt x="25" y="88"/>
                      <a:pt x="22" y="87"/>
                    </a:cubicBezTo>
                    <a:cubicBezTo>
                      <a:pt x="22" y="86"/>
                      <a:pt x="22" y="84"/>
                      <a:pt x="22" y="82"/>
                    </a:cubicBezTo>
                    <a:cubicBezTo>
                      <a:pt x="21" y="80"/>
                      <a:pt x="18" y="79"/>
                      <a:pt x="17" y="76"/>
                    </a:cubicBezTo>
                    <a:cubicBezTo>
                      <a:pt x="16" y="72"/>
                      <a:pt x="18" y="70"/>
                      <a:pt x="20" y="68"/>
                    </a:cubicBezTo>
                    <a:cubicBezTo>
                      <a:pt x="19" y="66"/>
                      <a:pt x="14" y="67"/>
                      <a:pt x="12" y="67"/>
                    </a:cubicBezTo>
                    <a:cubicBezTo>
                      <a:pt x="9" y="67"/>
                      <a:pt x="6" y="70"/>
                      <a:pt x="4" y="69"/>
                    </a:cubicBezTo>
                    <a:cubicBezTo>
                      <a:pt x="0" y="68"/>
                      <a:pt x="1" y="64"/>
                      <a:pt x="3" y="63"/>
                    </a:cubicBezTo>
                    <a:cubicBezTo>
                      <a:pt x="6" y="62"/>
                      <a:pt x="6" y="62"/>
                      <a:pt x="8" y="63"/>
                    </a:cubicBezTo>
                    <a:cubicBezTo>
                      <a:pt x="10" y="63"/>
                      <a:pt x="11" y="62"/>
                      <a:pt x="12" y="61"/>
                    </a:cubicBezTo>
                    <a:cubicBezTo>
                      <a:pt x="12" y="60"/>
                      <a:pt x="12" y="59"/>
                      <a:pt x="13" y="59"/>
                    </a:cubicBezTo>
                    <a:cubicBezTo>
                      <a:pt x="13" y="58"/>
                      <a:pt x="14" y="59"/>
                      <a:pt x="14" y="58"/>
                    </a:cubicBezTo>
                    <a:cubicBezTo>
                      <a:pt x="16" y="57"/>
                      <a:pt x="16" y="57"/>
                      <a:pt x="17" y="55"/>
                    </a:cubicBezTo>
                    <a:cubicBezTo>
                      <a:pt x="18" y="51"/>
                      <a:pt x="17" y="48"/>
                      <a:pt x="17" y="44"/>
                    </a:cubicBezTo>
                    <a:cubicBezTo>
                      <a:pt x="16" y="40"/>
                      <a:pt x="17" y="37"/>
                      <a:pt x="21" y="39"/>
                    </a:cubicBezTo>
                    <a:cubicBezTo>
                      <a:pt x="22" y="39"/>
                      <a:pt x="23" y="41"/>
                      <a:pt x="25" y="41"/>
                    </a:cubicBezTo>
                    <a:cubicBezTo>
                      <a:pt x="27" y="42"/>
                      <a:pt x="28" y="40"/>
                      <a:pt x="29" y="39"/>
                    </a:cubicBezTo>
                    <a:cubicBezTo>
                      <a:pt x="31" y="37"/>
                      <a:pt x="41" y="36"/>
                      <a:pt x="41" y="40"/>
                    </a:cubicBezTo>
                    <a:cubicBezTo>
                      <a:pt x="43" y="40"/>
                      <a:pt x="52" y="40"/>
                      <a:pt x="50" y="36"/>
                    </a:cubicBezTo>
                    <a:cubicBezTo>
                      <a:pt x="50" y="34"/>
                      <a:pt x="47" y="34"/>
                      <a:pt x="46" y="32"/>
                    </a:cubicBezTo>
                    <a:cubicBezTo>
                      <a:pt x="45" y="30"/>
                      <a:pt x="47" y="29"/>
                      <a:pt x="48" y="29"/>
                    </a:cubicBezTo>
                    <a:cubicBezTo>
                      <a:pt x="50" y="29"/>
                      <a:pt x="52" y="30"/>
                      <a:pt x="53" y="29"/>
                    </a:cubicBezTo>
                    <a:cubicBezTo>
                      <a:pt x="56" y="29"/>
                      <a:pt x="56" y="27"/>
                      <a:pt x="58" y="25"/>
                    </a:cubicBezTo>
                    <a:cubicBezTo>
                      <a:pt x="61" y="22"/>
                      <a:pt x="66" y="20"/>
                      <a:pt x="69" y="20"/>
                    </a:cubicBezTo>
                    <a:cubicBezTo>
                      <a:pt x="72" y="20"/>
                      <a:pt x="73" y="20"/>
                      <a:pt x="75" y="19"/>
                    </a:cubicBezTo>
                    <a:cubicBezTo>
                      <a:pt x="77" y="19"/>
                      <a:pt x="79" y="18"/>
                      <a:pt x="81" y="18"/>
                    </a:cubicBezTo>
                    <a:cubicBezTo>
                      <a:pt x="83" y="17"/>
                      <a:pt x="83" y="17"/>
                      <a:pt x="84" y="16"/>
                    </a:cubicBezTo>
                    <a:cubicBezTo>
                      <a:pt x="85" y="15"/>
                      <a:pt x="87" y="15"/>
                      <a:pt x="89" y="14"/>
                    </a:cubicBezTo>
                    <a:cubicBezTo>
                      <a:pt x="92" y="11"/>
                      <a:pt x="93" y="9"/>
                      <a:pt x="97" y="8"/>
                    </a:cubicBezTo>
                    <a:cubicBezTo>
                      <a:pt x="100" y="7"/>
                      <a:pt x="102" y="8"/>
                      <a:pt x="105" y="10"/>
                    </a:cubicBezTo>
                    <a:cubicBezTo>
                      <a:pt x="106" y="11"/>
                      <a:pt x="108" y="11"/>
                      <a:pt x="109" y="12"/>
                    </a:cubicBezTo>
                    <a:cubicBezTo>
                      <a:pt x="109" y="13"/>
                      <a:pt x="109" y="14"/>
                      <a:pt x="109" y="14"/>
                    </a:cubicBezTo>
                    <a:cubicBezTo>
                      <a:pt x="110" y="14"/>
                      <a:pt x="111" y="14"/>
                      <a:pt x="111" y="14"/>
                    </a:cubicBezTo>
                    <a:cubicBezTo>
                      <a:pt x="116" y="16"/>
                      <a:pt x="123" y="16"/>
                      <a:pt x="128" y="15"/>
                    </a:cubicBezTo>
                    <a:cubicBezTo>
                      <a:pt x="128" y="12"/>
                      <a:pt x="127" y="8"/>
                      <a:pt x="128" y="5"/>
                    </a:cubicBezTo>
                    <a:cubicBezTo>
                      <a:pt x="128" y="4"/>
                      <a:pt x="128" y="2"/>
                      <a:pt x="130" y="3"/>
                    </a:cubicBezTo>
                    <a:cubicBezTo>
                      <a:pt x="133" y="3"/>
                      <a:pt x="132" y="7"/>
                      <a:pt x="132" y="9"/>
                    </a:cubicBezTo>
                    <a:cubicBezTo>
                      <a:pt x="136" y="10"/>
                      <a:pt x="135" y="5"/>
                      <a:pt x="136" y="4"/>
                    </a:cubicBezTo>
                    <a:cubicBezTo>
                      <a:pt x="139" y="0"/>
                      <a:pt x="140" y="6"/>
                      <a:pt x="141" y="8"/>
                    </a:cubicBezTo>
                    <a:cubicBezTo>
                      <a:pt x="143" y="8"/>
                      <a:pt x="145" y="9"/>
                      <a:pt x="147" y="8"/>
                    </a:cubicBezTo>
                    <a:cubicBezTo>
                      <a:pt x="150" y="8"/>
                      <a:pt x="151" y="7"/>
                      <a:pt x="153" y="6"/>
                    </a:cubicBezTo>
                    <a:cubicBezTo>
                      <a:pt x="156" y="5"/>
                      <a:pt x="158" y="5"/>
                      <a:pt x="161" y="5"/>
                    </a:cubicBezTo>
                    <a:cubicBezTo>
                      <a:pt x="163" y="4"/>
                      <a:pt x="163" y="3"/>
                      <a:pt x="166" y="4"/>
                    </a:cubicBezTo>
                    <a:cubicBezTo>
                      <a:pt x="166" y="5"/>
                      <a:pt x="167" y="6"/>
                      <a:pt x="167" y="6"/>
                    </a:cubicBezTo>
                    <a:cubicBezTo>
                      <a:pt x="168" y="7"/>
                      <a:pt x="169" y="7"/>
                      <a:pt x="170" y="7"/>
                    </a:cubicBezTo>
                    <a:cubicBezTo>
                      <a:pt x="172" y="8"/>
                      <a:pt x="173" y="9"/>
                      <a:pt x="175" y="9"/>
                    </a:cubicBezTo>
                    <a:cubicBezTo>
                      <a:pt x="177" y="10"/>
                      <a:pt x="180" y="12"/>
                      <a:pt x="183" y="12"/>
                    </a:cubicBezTo>
                    <a:cubicBezTo>
                      <a:pt x="183" y="11"/>
                      <a:pt x="183" y="9"/>
                      <a:pt x="183" y="8"/>
                    </a:cubicBezTo>
                    <a:cubicBezTo>
                      <a:pt x="185" y="8"/>
                      <a:pt x="187" y="10"/>
                      <a:pt x="188" y="11"/>
                    </a:cubicBezTo>
                    <a:cubicBezTo>
                      <a:pt x="191" y="13"/>
                      <a:pt x="192" y="14"/>
                      <a:pt x="195" y="14"/>
                    </a:cubicBezTo>
                    <a:cubicBezTo>
                      <a:pt x="198" y="15"/>
                      <a:pt x="202" y="14"/>
                      <a:pt x="205" y="16"/>
                    </a:cubicBezTo>
                    <a:cubicBezTo>
                      <a:pt x="209" y="17"/>
                      <a:pt x="211" y="20"/>
                      <a:pt x="214" y="21"/>
                    </a:cubicBezTo>
                    <a:cubicBezTo>
                      <a:pt x="218" y="23"/>
                      <a:pt x="223" y="23"/>
                      <a:pt x="227" y="23"/>
                    </a:cubicBezTo>
                    <a:cubicBezTo>
                      <a:pt x="231" y="22"/>
                      <a:pt x="233" y="20"/>
                      <a:pt x="237" y="19"/>
                    </a:cubicBezTo>
                    <a:cubicBezTo>
                      <a:pt x="238" y="19"/>
                      <a:pt x="243" y="17"/>
                      <a:pt x="244" y="17"/>
                    </a:cubicBezTo>
                    <a:cubicBezTo>
                      <a:pt x="246" y="18"/>
                      <a:pt x="245" y="18"/>
                      <a:pt x="247" y="19"/>
                    </a:cubicBezTo>
                    <a:cubicBezTo>
                      <a:pt x="251" y="22"/>
                      <a:pt x="259" y="21"/>
                      <a:pt x="264" y="21"/>
                    </a:cubicBezTo>
                    <a:lnTo>
                      <a:pt x="264" y="14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25" name="Freeform 41">
                <a:extLst>
                  <a:ext uri="{FF2B5EF4-FFF2-40B4-BE49-F238E27FC236}">
                    <a16:creationId xmlns:a16="http://schemas.microsoft.com/office/drawing/2014/main" id="{0BD2F3D9-74F4-4EE0-B123-83EE0AB19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250" y="3044825"/>
                <a:ext cx="171450" cy="144463"/>
              </a:xfrm>
              <a:custGeom>
                <a:avLst/>
                <a:gdLst/>
                <a:ahLst/>
                <a:cxnLst>
                  <a:cxn ang="0">
                    <a:pos x="83" y="0"/>
                  </a:cxn>
                  <a:cxn ang="0">
                    <a:pos x="76" y="1"/>
                  </a:cxn>
                  <a:cxn ang="0">
                    <a:pos x="75" y="8"/>
                  </a:cxn>
                  <a:cxn ang="0">
                    <a:pos x="75" y="11"/>
                  </a:cxn>
                  <a:cxn ang="0">
                    <a:pos x="72" y="9"/>
                  </a:cxn>
                  <a:cxn ang="0">
                    <a:pos x="69" y="8"/>
                  </a:cxn>
                  <a:cxn ang="0">
                    <a:pos x="66" y="6"/>
                  </a:cxn>
                  <a:cxn ang="0">
                    <a:pos x="62" y="6"/>
                  </a:cxn>
                  <a:cxn ang="0">
                    <a:pos x="59" y="4"/>
                  </a:cxn>
                  <a:cxn ang="0">
                    <a:pos x="55" y="9"/>
                  </a:cxn>
                  <a:cxn ang="0">
                    <a:pos x="49" y="9"/>
                  </a:cxn>
                  <a:cxn ang="0">
                    <a:pos x="46" y="7"/>
                  </a:cxn>
                  <a:cxn ang="0">
                    <a:pos x="42" y="7"/>
                  </a:cxn>
                  <a:cxn ang="0">
                    <a:pos x="38" y="3"/>
                  </a:cxn>
                  <a:cxn ang="0">
                    <a:pos x="36" y="7"/>
                  </a:cxn>
                  <a:cxn ang="0">
                    <a:pos x="32" y="9"/>
                  </a:cxn>
                  <a:cxn ang="0">
                    <a:pos x="28" y="20"/>
                  </a:cxn>
                  <a:cxn ang="0">
                    <a:pos x="22" y="18"/>
                  </a:cxn>
                  <a:cxn ang="0">
                    <a:pos x="22" y="13"/>
                  </a:cxn>
                  <a:cxn ang="0">
                    <a:pos x="16" y="25"/>
                  </a:cxn>
                  <a:cxn ang="0">
                    <a:pos x="7" y="17"/>
                  </a:cxn>
                  <a:cxn ang="0">
                    <a:pos x="1" y="20"/>
                  </a:cxn>
                  <a:cxn ang="0">
                    <a:pos x="7" y="27"/>
                  </a:cxn>
                  <a:cxn ang="0">
                    <a:pos x="5" y="31"/>
                  </a:cxn>
                  <a:cxn ang="0">
                    <a:pos x="9" y="36"/>
                  </a:cxn>
                  <a:cxn ang="0">
                    <a:pos x="3" y="39"/>
                  </a:cxn>
                  <a:cxn ang="0">
                    <a:pos x="10" y="42"/>
                  </a:cxn>
                  <a:cxn ang="0">
                    <a:pos x="19" y="51"/>
                  </a:cxn>
                  <a:cxn ang="0">
                    <a:pos x="20" y="59"/>
                  </a:cxn>
                  <a:cxn ang="0">
                    <a:pos x="14" y="63"/>
                  </a:cxn>
                  <a:cxn ang="0">
                    <a:pos x="18" y="77"/>
                  </a:cxn>
                  <a:cxn ang="0">
                    <a:pos x="22" y="75"/>
                  </a:cxn>
                  <a:cxn ang="0">
                    <a:pos x="23" y="69"/>
                  </a:cxn>
                  <a:cxn ang="0">
                    <a:pos x="22" y="64"/>
                  </a:cxn>
                  <a:cxn ang="0">
                    <a:pos x="21" y="59"/>
                  </a:cxn>
                  <a:cxn ang="0">
                    <a:pos x="24" y="53"/>
                  </a:cxn>
                  <a:cxn ang="0">
                    <a:pos x="27" y="49"/>
                  </a:cxn>
                  <a:cxn ang="0">
                    <a:pos x="28" y="48"/>
                  </a:cxn>
                  <a:cxn ang="0">
                    <a:pos x="31" y="50"/>
                  </a:cxn>
                  <a:cxn ang="0">
                    <a:pos x="34" y="48"/>
                  </a:cxn>
                  <a:cxn ang="0">
                    <a:pos x="39" y="50"/>
                  </a:cxn>
                  <a:cxn ang="0">
                    <a:pos x="48" y="45"/>
                  </a:cxn>
                  <a:cxn ang="0">
                    <a:pos x="56" y="44"/>
                  </a:cxn>
                  <a:cxn ang="0">
                    <a:pos x="57" y="38"/>
                  </a:cxn>
                  <a:cxn ang="0">
                    <a:pos x="62" y="37"/>
                  </a:cxn>
                  <a:cxn ang="0">
                    <a:pos x="68" y="31"/>
                  </a:cxn>
                  <a:cxn ang="0">
                    <a:pos x="72" y="27"/>
                  </a:cxn>
                  <a:cxn ang="0">
                    <a:pos x="80" y="20"/>
                  </a:cxn>
                  <a:cxn ang="0">
                    <a:pos x="75" y="17"/>
                  </a:cxn>
                  <a:cxn ang="0">
                    <a:pos x="72" y="13"/>
                  </a:cxn>
                  <a:cxn ang="0">
                    <a:pos x="90" y="12"/>
                  </a:cxn>
                  <a:cxn ang="0">
                    <a:pos x="82" y="1"/>
                  </a:cxn>
                  <a:cxn ang="0">
                    <a:pos x="83" y="0"/>
                  </a:cxn>
                </a:cxnLst>
                <a:rect l="0" t="0" r="r" b="b"/>
                <a:pathLst>
                  <a:path w="91" h="77">
                    <a:moveTo>
                      <a:pt x="83" y="0"/>
                    </a:moveTo>
                    <a:cubicBezTo>
                      <a:pt x="81" y="0"/>
                      <a:pt x="77" y="0"/>
                      <a:pt x="76" y="1"/>
                    </a:cubicBezTo>
                    <a:cubicBezTo>
                      <a:pt x="72" y="2"/>
                      <a:pt x="74" y="5"/>
                      <a:pt x="75" y="8"/>
                    </a:cubicBezTo>
                    <a:cubicBezTo>
                      <a:pt x="75" y="9"/>
                      <a:pt x="76" y="10"/>
                      <a:pt x="75" y="11"/>
                    </a:cubicBezTo>
                    <a:cubicBezTo>
                      <a:pt x="73" y="12"/>
                      <a:pt x="73" y="10"/>
                      <a:pt x="72" y="9"/>
                    </a:cubicBezTo>
                    <a:cubicBezTo>
                      <a:pt x="70" y="8"/>
                      <a:pt x="70" y="9"/>
                      <a:pt x="69" y="8"/>
                    </a:cubicBezTo>
                    <a:cubicBezTo>
                      <a:pt x="68" y="7"/>
                      <a:pt x="68" y="7"/>
                      <a:pt x="66" y="6"/>
                    </a:cubicBezTo>
                    <a:cubicBezTo>
                      <a:pt x="65" y="6"/>
                      <a:pt x="63" y="6"/>
                      <a:pt x="62" y="6"/>
                    </a:cubicBezTo>
                    <a:cubicBezTo>
                      <a:pt x="61" y="6"/>
                      <a:pt x="60" y="4"/>
                      <a:pt x="59" y="4"/>
                    </a:cubicBezTo>
                    <a:cubicBezTo>
                      <a:pt x="56" y="4"/>
                      <a:pt x="57" y="8"/>
                      <a:pt x="55" y="9"/>
                    </a:cubicBezTo>
                    <a:cubicBezTo>
                      <a:pt x="54" y="9"/>
                      <a:pt x="50" y="9"/>
                      <a:pt x="49" y="9"/>
                    </a:cubicBezTo>
                    <a:cubicBezTo>
                      <a:pt x="48" y="8"/>
                      <a:pt x="47" y="7"/>
                      <a:pt x="46" y="7"/>
                    </a:cubicBezTo>
                    <a:cubicBezTo>
                      <a:pt x="44" y="7"/>
                      <a:pt x="43" y="7"/>
                      <a:pt x="42" y="7"/>
                    </a:cubicBezTo>
                    <a:cubicBezTo>
                      <a:pt x="41" y="5"/>
                      <a:pt x="41" y="1"/>
                      <a:pt x="38" y="3"/>
                    </a:cubicBezTo>
                    <a:cubicBezTo>
                      <a:pt x="36" y="4"/>
                      <a:pt x="37" y="6"/>
                      <a:pt x="36" y="7"/>
                    </a:cubicBezTo>
                    <a:cubicBezTo>
                      <a:pt x="34" y="9"/>
                      <a:pt x="33" y="8"/>
                      <a:pt x="32" y="9"/>
                    </a:cubicBezTo>
                    <a:cubicBezTo>
                      <a:pt x="28" y="11"/>
                      <a:pt x="31" y="17"/>
                      <a:pt x="28" y="20"/>
                    </a:cubicBezTo>
                    <a:cubicBezTo>
                      <a:pt x="27" y="21"/>
                      <a:pt x="23" y="19"/>
                      <a:pt x="22" y="18"/>
                    </a:cubicBezTo>
                    <a:cubicBezTo>
                      <a:pt x="22" y="17"/>
                      <a:pt x="23" y="15"/>
                      <a:pt x="22" y="13"/>
                    </a:cubicBezTo>
                    <a:cubicBezTo>
                      <a:pt x="16" y="12"/>
                      <a:pt x="16" y="21"/>
                      <a:pt x="16" y="25"/>
                    </a:cubicBezTo>
                    <a:cubicBezTo>
                      <a:pt x="12" y="27"/>
                      <a:pt x="9" y="18"/>
                      <a:pt x="7" y="17"/>
                    </a:cubicBezTo>
                    <a:cubicBezTo>
                      <a:pt x="5" y="15"/>
                      <a:pt x="0" y="16"/>
                      <a:pt x="1" y="20"/>
                    </a:cubicBezTo>
                    <a:cubicBezTo>
                      <a:pt x="5" y="20"/>
                      <a:pt x="7" y="24"/>
                      <a:pt x="7" y="27"/>
                    </a:cubicBezTo>
                    <a:cubicBezTo>
                      <a:pt x="6" y="28"/>
                      <a:pt x="5" y="29"/>
                      <a:pt x="5" y="31"/>
                    </a:cubicBezTo>
                    <a:cubicBezTo>
                      <a:pt x="4" y="34"/>
                      <a:pt x="7" y="34"/>
                      <a:pt x="9" y="36"/>
                    </a:cubicBezTo>
                    <a:cubicBezTo>
                      <a:pt x="8" y="38"/>
                      <a:pt x="4" y="37"/>
                      <a:pt x="3" y="39"/>
                    </a:cubicBezTo>
                    <a:cubicBezTo>
                      <a:pt x="1" y="42"/>
                      <a:pt x="8" y="42"/>
                      <a:pt x="10" y="42"/>
                    </a:cubicBezTo>
                    <a:cubicBezTo>
                      <a:pt x="10" y="48"/>
                      <a:pt x="18" y="45"/>
                      <a:pt x="19" y="51"/>
                    </a:cubicBezTo>
                    <a:cubicBezTo>
                      <a:pt x="19" y="53"/>
                      <a:pt x="21" y="57"/>
                      <a:pt x="20" y="59"/>
                    </a:cubicBezTo>
                    <a:cubicBezTo>
                      <a:pt x="19" y="60"/>
                      <a:pt x="16" y="62"/>
                      <a:pt x="14" y="63"/>
                    </a:cubicBezTo>
                    <a:cubicBezTo>
                      <a:pt x="9" y="67"/>
                      <a:pt x="10" y="77"/>
                      <a:pt x="18" y="77"/>
                    </a:cubicBezTo>
                    <a:cubicBezTo>
                      <a:pt x="21" y="77"/>
                      <a:pt x="21" y="77"/>
                      <a:pt x="22" y="75"/>
                    </a:cubicBezTo>
                    <a:cubicBezTo>
                      <a:pt x="23" y="74"/>
                      <a:pt x="24" y="70"/>
                      <a:pt x="23" y="69"/>
                    </a:cubicBezTo>
                    <a:cubicBezTo>
                      <a:pt x="23" y="67"/>
                      <a:pt x="22" y="66"/>
                      <a:pt x="22" y="64"/>
                    </a:cubicBezTo>
                    <a:cubicBezTo>
                      <a:pt x="21" y="62"/>
                      <a:pt x="22" y="61"/>
                      <a:pt x="21" y="59"/>
                    </a:cubicBezTo>
                    <a:cubicBezTo>
                      <a:pt x="23" y="59"/>
                      <a:pt x="23" y="55"/>
                      <a:pt x="24" y="53"/>
                    </a:cubicBezTo>
                    <a:cubicBezTo>
                      <a:pt x="25" y="52"/>
                      <a:pt x="25" y="50"/>
                      <a:pt x="27" y="49"/>
                    </a:cubicBezTo>
                    <a:cubicBezTo>
                      <a:pt x="28" y="48"/>
                      <a:pt x="27" y="48"/>
                      <a:pt x="28" y="48"/>
                    </a:cubicBezTo>
                    <a:cubicBezTo>
                      <a:pt x="30" y="48"/>
                      <a:pt x="30" y="50"/>
                      <a:pt x="31" y="50"/>
                    </a:cubicBezTo>
                    <a:cubicBezTo>
                      <a:pt x="33" y="51"/>
                      <a:pt x="32" y="49"/>
                      <a:pt x="34" y="48"/>
                    </a:cubicBezTo>
                    <a:cubicBezTo>
                      <a:pt x="37" y="46"/>
                      <a:pt x="38" y="49"/>
                      <a:pt x="39" y="50"/>
                    </a:cubicBezTo>
                    <a:cubicBezTo>
                      <a:pt x="44" y="53"/>
                      <a:pt x="46" y="47"/>
                      <a:pt x="48" y="45"/>
                    </a:cubicBezTo>
                    <a:cubicBezTo>
                      <a:pt x="51" y="42"/>
                      <a:pt x="53" y="45"/>
                      <a:pt x="56" y="44"/>
                    </a:cubicBezTo>
                    <a:cubicBezTo>
                      <a:pt x="56" y="42"/>
                      <a:pt x="55" y="40"/>
                      <a:pt x="57" y="38"/>
                    </a:cubicBezTo>
                    <a:cubicBezTo>
                      <a:pt x="59" y="36"/>
                      <a:pt x="60" y="37"/>
                      <a:pt x="62" y="37"/>
                    </a:cubicBezTo>
                    <a:cubicBezTo>
                      <a:pt x="66" y="36"/>
                      <a:pt x="66" y="34"/>
                      <a:pt x="68" y="31"/>
                    </a:cubicBezTo>
                    <a:cubicBezTo>
                      <a:pt x="69" y="28"/>
                      <a:pt x="69" y="28"/>
                      <a:pt x="72" y="27"/>
                    </a:cubicBezTo>
                    <a:cubicBezTo>
                      <a:pt x="76" y="25"/>
                      <a:pt x="84" y="25"/>
                      <a:pt x="80" y="20"/>
                    </a:cubicBezTo>
                    <a:cubicBezTo>
                      <a:pt x="79" y="17"/>
                      <a:pt x="77" y="17"/>
                      <a:pt x="75" y="17"/>
                    </a:cubicBezTo>
                    <a:cubicBezTo>
                      <a:pt x="72" y="16"/>
                      <a:pt x="73" y="15"/>
                      <a:pt x="72" y="13"/>
                    </a:cubicBezTo>
                    <a:cubicBezTo>
                      <a:pt x="76" y="15"/>
                      <a:pt x="87" y="17"/>
                      <a:pt x="90" y="12"/>
                    </a:cubicBezTo>
                    <a:cubicBezTo>
                      <a:pt x="91" y="8"/>
                      <a:pt x="85" y="2"/>
                      <a:pt x="82" y="1"/>
                    </a:cubicBezTo>
                    <a:lnTo>
                      <a:pt x="83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26" name="Freeform 42">
                <a:extLst>
                  <a:ext uri="{FF2B5EF4-FFF2-40B4-BE49-F238E27FC236}">
                    <a16:creationId xmlns:a16="http://schemas.microsoft.com/office/drawing/2014/main" id="{06544BCB-F194-4151-A513-0385ADCA1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413" y="2960688"/>
                <a:ext cx="101600" cy="79375"/>
              </a:xfrm>
              <a:custGeom>
                <a:avLst/>
                <a:gdLst/>
                <a:ahLst/>
                <a:cxnLst>
                  <a:cxn ang="0">
                    <a:pos x="50" y="21"/>
                  </a:cxn>
                  <a:cxn ang="0">
                    <a:pos x="53" y="27"/>
                  </a:cxn>
                  <a:cxn ang="0">
                    <a:pos x="44" y="26"/>
                  </a:cxn>
                  <a:cxn ang="0">
                    <a:pos x="36" y="25"/>
                  </a:cxn>
                  <a:cxn ang="0">
                    <a:pos x="37" y="34"/>
                  </a:cxn>
                  <a:cxn ang="0">
                    <a:pos x="38" y="39"/>
                  </a:cxn>
                  <a:cxn ang="0">
                    <a:pos x="31" y="38"/>
                  </a:cxn>
                  <a:cxn ang="0">
                    <a:pos x="29" y="36"/>
                  </a:cxn>
                  <a:cxn ang="0">
                    <a:pos x="28" y="40"/>
                  </a:cxn>
                  <a:cxn ang="0">
                    <a:pos x="23" y="41"/>
                  </a:cxn>
                  <a:cxn ang="0">
                    <a:pos x="20" y="36"/>
                  </a:cxn>
                  <a:cxn ang="0">
                    <a:pos x="14" y="25"/>
                  </a:cxn>
                  <a:cxn ang="0">
                    <a:pos x="3" y="24"/>
                  </a:cxn>
                  <a:cxn ang="0">
                    <a:pos x="1" y="19"/>
                  </a:cxn>
                  <a:cxn ang="0">
                    <a:pos x="1" y="16"/>
                  </a:cxn>
                  <a:cxn ang="0">
                    <a:pos x="10" y="17"/>
                  </a:cxn>
                  <a:cxn ang="0">
                    <a:pos x="12" y="16"/>
                  </a:cxn>
                  <a:cxn ang="0">
                    <a:pos x="16" y="17"/>
                  </a:cxn>
                  <a:cxn ang="0">
                    <a:pos x="20" y="6"/>
                  </a:cxn>
                  <a:cxn ang="0">
                    <a:pos x="28" y="4"/>
                  </a:cxn>
                  <a:cxn ang="0">
                    <a:pos x="34" y="0"/>
                  </a:cxn>
                  <a:cxn ang="0">
                    <a:pos x="35" y="9"/>
                  </a:cxn>
                  <a:cxn ang="0">
                    <a:pos x="41" y="10"/>
                  </a:cxn>
                  <a:cxn ang="0">
                    <a:pos x="43" y="15"/>
                  </a:cxn>
                  <a:cxn ang="0">
                    <a:pos x="53" y="17"/>
                  </a:cxn>
                  <a:cxn ang="0">
                    <a:pos x="53" y="23"/>
                  </a:cxn>
                  <a:cxn ang="0">
                    <a:pos x="50" y="21"/>
                  </a:cxn>
                </a:cxnLst>
                <a:rect l="0" t="0" r="r" b="b"/>
                <a:pathLst>
                  <a:path w="54" h="42">
                    <a:moveTo>
                      <a:pt x="50" y="21"/>
                    </a:moveTo>
                    <a:cubicBezTo>
                      <a:pt x="50" y="24"/>
                      <a:pt x="54" y="24"/>
                      <a:pt x="53" y="27"/>
                    </a:cubicBezTo>
                    <a:cubicBezTo>
                      <a:pt x="50" y="28"/>
                      <a:pt x="47" y="27"/>
                      <a:pt x="44" y="26"/>
                    </a:cubicBezTo>
                    <a:cubicBezTo>
                      <a:pt x="41" y="24"/>
                      <a:pt x="39" y="21"/>
                      <a:pt x="36" y="25"/>
                    </a:cubicBezTo>
                    <a:cubicBezTo>
                      <a:pt x="34" y="29"/>
                      <a:pt x="34" y="31"/>
                      <a:pt x="37" y="34"/>
                    </a:cubicBezTo>
                    <a:cubicBezTo>
                      <a:pt x="38" y="36"/>
                      <a:pt x="39" y="37"/>
                      <a:pt x="38" y="39"/>
                    </a:cubicBezTo>
                    <a:cubicBezTo>
                      <a:pt x="36" y="39"/>
                      <a:pt x="33" y="39"/>
                      <a:pt x="31" y="38"/>
                    </a:cubicBezTo>
                    <a:cubicBezTo>
                      <a:pt x="30" y="38"/>
                      <a:pt x="31" y="36"/>
                      <a:pt x="29" y="36"/>
                    </a:cubicBezTo>
                    <a:cubicBezTo>
                      <a:pt x="28" y="37"/>
                      <a:pt x="29" y="39"/>
                      <a:pt x="28" y="40"/>
                    </a:cubicBezTo>
                    <a:cubicBezTo>
                      <a:pt x="28" y="42"/>
                      <a:pt x="25" y="42"/>
                      <a:pt x="23" y="41"/>
                    </a:cubicBezTo>
                    <a:cubicBezTo>
                      <a:pt x="20" y="40"/>
                      <a:pt x="20" y="39"/>
                      <a:pt x="20" y="36"/>
                    </a:cubicBezTo>
                    <a:cubicBezTo>
                      <a:pt x="20" y="31"/>
                      <a:pt x="20" y="26"/>
                      <a:pt x="14" y="25"/>
                    </a:cubicBezTo>
                    <a:cubicBezTo>
                      <a:pt x="11" y="25"/>
                      <a:pt x="5" y="27"/>
                      <a:pt x="3" y="24"/>
                    </a:cubicBezTo>
                    <a:cubicBezTo>
                      <a:pt x="2" y="23"/>
                      <a:pt x="1" y="20"/>
                      <a:pt x="1" y="19"/>
                    </a:cubicBezTo>
                    <a:cubicBezTo>
                      <a:pt x="1" y="18"/>
                      <a:pt x="0" y="17"/>
                      <a:pt x="1" y="16"/>
                    </a:cubicBezTo>
                    <a:cubicBezTo>
                      <a:pt x="4" y="15"/>
                      <a:pt x="6" y="18"/>
                      <a:pt x="10" y="17"/>
                    </a:cubicBezTo>
                    <a:cubicBezTo>
                      <a:pt x="10" y="17"/>
                      <a:pt x="11" y="16"/>
                      <a:pt x="12" y="16"/>
                    </a:cubicBezTo>
                    <a:cubicBezTo>
                      <a:pt x="14" y="16"/>
                      <a:pt x="15" y="17"/>
                      <a:pt x="16" y="17"/>
                    </a:cubicBezTo>
                    <a:cubicBezTo>
                      <a:pt x="17" y="12"/>
                      <a:pt x="14" y="9"/>
                      <a:pt x="20" y="6"/>
                    </a:cubicBezTo>
                    <a:cubicBezTo>
                      <a:pt x="22" y="5"/>
                      <a:pt x="25" y="5"/>
                      <a:pt x="28" y="4"/>
                    </a:cubicBezTo>
                    <a:cubicBezTo>
                      <a:pt x="30" y="3"/>
                      <a:pt x="31" y="1"/>
                      <a:pt x="34" y="0"/>
                    </a:cubicBezTo>
                    <a:cubicBezTo>
                      <a:pt x="34" y="3"/>
                      <a:pt x="34" y="6"/>
                      <a:pt x="35" y="9"/>
                    </a:cubicBezTo>
                    <a:cubicBezTo>
                      <a:pt x="37" y="9"/>
                      <a:pt x="39" y="9"/>
                      <a:pt x="41" y="10"/>
                    </a:cubicBezTo>
                    <a:cubicBezTo>
                      <a:pt x="42" y="12"/>
                      <a:pt x="41" y="14"/>
                      <a:pt x="43" y="15"/>
                    </a:cubicBezTo>
                    <a:cubicBezTo>
                      <a:pt x="45" y="17"/>
                      <a:pt x="50" y="14"/>
                      <a:pt x="53" y="17"/>
                    </a:cubicBezTo>
                    <a:cubicBezTo>
                      <a:pt x="53" y="18"/>
                      <a:pt x="54" y="21"/>
                      <a:pt x="53" y="23"/>
                    </a:cubicBezTo>
                    <a:lnTo>
                      <a:pt x="50" y="2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27" name="Freeform 43">
                <a:extLst>
                  <a:ext uri="{FF2B5EF4-FFF2-40B4-BE49-F238E27FC236}">
                    <a16:creationId xmlns:a16="http://schemas.microsoft.com/office/drawing/2014/main" id="{ED5698E3-E005-40B8-BF54-647C3C3B4C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0" y="5822950"/>
                <a:ext cx="688975" cy="779463"/>
              </a:xfrm>
              <a:custGeom>
                <a:avLst/>
                <a:gdLst/>
                <a:ahLst/>
                <a:cxnLst>
                  <a:cxn ang="0">
                    <a:pos x="116" y="274"/>
                  </a:cxn>
                  <a:cxn ang="0">
                    <a:pos x="84" y="265"/>
                  </a:cxn>
                  <a:cxn ang="0">
                    <a:pos x="52" y="293"/>
                  </a:cxn>
                  <a:cxn ang="0">
                    <a:pos x="79" y="343"/>
                  </a:cxn>
                  <a:cxn ang="0">
                    <a:pos x="77" y="372"/>
                  </a:cxn>
                  <a:cxn ang="0">
                    <a:pos x="109" y="379"/>
                  </a:cxn>
                  <a:cxn ang="0">
                    <a:pos x="139" y="385"/>
                  </a:cxn>
                  <a:cxn ang="0">
                    <a:pos x="154" y="408"/>
                  </a:cxn>
                  <a:cxn ang="0">
                    <a:pos x="155" y="380"/>
                  </a:cxn>
                  <a:cxn ang="0">
                    <a:pos x="142" y="334"/>
                  </a:cxn>
                  <a:cxn ang="0">
                    <a:pos x="160" y="334"/>
                  </a:cxn>
                  <a:cxn ang="0">
                    <a:pos x="171" y="346"/>
                  </a:cxn>
                  <a:cxn ang="0">
                    <a:pos x="183" y="335"/>
                  </a:cxn>
                  <a:cxn ang="0">
                    <a:pos x="160" y="315"/>
                  </a:cxn>
                  <a:cxn ang="0">
                    <a:pos x="158" y="293"/>
                  </a:cxn>
                  <a:cxn ang="0">
                    <a:pos x="18" y="191"/>
                  </a:cxn>
                  <a:cxn ang="0">
                    <a:pos x="48" y="216"/>
                  </a:cxn>
                  <a:cxn ang="0">
                    <a:pos x="24" y="239"/>
                  </a:cxn>
                  <a:cxn ang="0">
                    <a:pos x="40" y="236"/>
                  </a:cxn>
                  <a:cxn ang="0">
                    <a:pos x="69" y="257"/>
                  </a:cxn>
                  <a:cxn ang="0">
                    <a:pos x="120" y="261"/>
                  </a:cxn>
                  <a:cxn ang="0">
                    <a:pos x="155" y="271"/>
                  </a:cxn>
                  <a:cxn ang="0">
                    <a:pos x="152" y="289"/>
                  </a:cxn>
                  <a:cxn ang="0">
                    <a:pos x="180" y="295"/>
                  </a:cxn>
                  <a:cxn ang="0">
                    <a:pos x="211" y="312"/>
                  </a:cxn>
                  <a:cxn ang="0">
                    <a:pos x="216" y="287"/>
                  </a:cxn>
                  <a:cxn ang="0">
                    <a:pos x="247" y="294"/>
                  </a:cxn>
                  <a:cxn ang="0">
                    <a:pos x="224" y="248"/>
                  </a:cxn>
                  <a:cxn ang="0">
                    <a:pos x="168" y="210"/>
                  </a:cxn>
                  <a:cxn ang="0">
                    <a:pos x="162" y="230"/>
                  </a:cxn>
                  <a:cxn ang="0">
                    <a:pos x="176" y="249"/>
                  </a:cxn>
                  <a:cxn ang="0">
                    <a:pos x="149" y="219"/>
                  </a:cxn>
                  <a:cxn ang="0">
                    <a:pos x="166" y="201"/>
                  </a:cxn>
                  <a:cxn ang="0">
                    <a:pos x="155" y="166"/>
                  </a:cxn>
                  <a:cxn ang="0">
                    <a:pos x="132" y="116"/>
                  </a:cxn>
                  <a:cxn ang="0">
                    <a:pos x="156" y="96"/>
                  </a:cxn>
                  <a:cxn ang="0">
                    <a:pos x="178" y="138"/>
                  </a:cxn>
                  <a:cxn ang="0">
                    <a:pos x="196" y="124"/>
                  </a:cxn>
                  <a:cxn ang="0">
                    <a:pos x="208" y="110"/>
                  </a:cxn>
                  <a:cxn ang="0">
                    <a:pos x="238" y="121"/>
                  </a:cxn>
                  <a:cxn ang="0">
                    <a:pos x="210" y="92"/>
                  </a:cxn>
                  <a:cxn ang="0">
                    <a:pos x="228" y="72"/>
                  </a:cxn>
                  <a:cxn ang="0">
                    <a:pos x="275" y="53"/>
                  </a:cxn>
                  <a:cxn ang="0">
                    <a:pos x="333" y="79"/>
                  </a:cxn>
                  <a:cxn ang="0">
                    <a:pos x="366" y="22"/>
                  </a:cxn>
                  <a:cxn ang="0">
                    <a:pos x="338" y="13"/>
                  </a:cxn>
                  <a:cxn ang="0">
                    <a:pos x="320" y="33"/>
                  </a:cxn>
                  <a:cxn ang="0">
                    <a:pos x="283" y="36"/>
                  </a:cxn>
                  <a:cxn ang="0">
                    <a:pos x="258" y="27"/>
                  </a:cxn>
                  <a:cxn ang="0">
                    <a:pos x="239" y="13"/>
                  </a:cxn>
                  <a:cxn ang="0">
                    <a:pos x="214" y="17"/>
                  </a:cxn>
                  <a:cxn ang="0">
                    <a:pos x="180" y="25"/>
                  </a:cxn>
                  <a:cxn ang="0">
                    <a:pos x="155" y="22"/>
                  </a:cxn>
                  <a:cxn ang="0">
                    <a:pos x="144" y="40"/>
                  </a:cxn>
                  <a:cxn ang="0">
                    <a:pos x="118" y="37"/>
                  </a:cxn>
                  <a:cxn ang="0">
                    <a:pos x="93" y="52"/>
                  </a:cxn>
                  <a:cxn ang="0">
                    <a:pos x="70" y="57"/>
                  </a:cxn>
                  <a:cxn ang="0">
                    <a:pos x="50" y="82"/>
                  </a:cxn>
                  <a:cxn ang="0">
                    <a:pos x="33" y="100"/>
                  </a:cxn>
                  <a:cxn ang="0">
                    <a:pos x="22" y="120"/>
                  </a:cxn>
                  <a:cxn ang="0">
                    <a:pos x="12" y="140"/>
                  </a:cxn>
                  <a:cxn ang="0">
                    <a:pos x="2" y="153"/>
                  </a:cxn>
                </a:cxnLst>
                <a:rect l="0" t="0" r="r" b="b"/>
                <a:pathLst>
                  <a:path w="368" h="417">
                    <a:moveTo>
                      <a:pt x="155" y="296"/>
                    </a:moveTo>
                    <a:cubicBezTo>
                      <a:pt x="155" y="296"/>
                      <a:pt x="155" y="296"/>
                      <a:pt x="155" y="296"/>
                    </a:cubicBezTo>
                    <a:cubicBezTo>
                      <a:pt x="151" y="295"/>
                      <a:pt x="146" y="291"/>
                      <a:pt x="145" y="290"/>
                    </a:cubicBezTo>
                    <a:cubicBezTo>
                      <a:pt x="144" y="289"/>
                      <a:pt x="142" y="288"/>
                      <a:pt x="141" y="287"/>
                    </a:cubicBezTo>
                    <a:cubicBezTo>
                      <a:pt x="141" y="285"/>
                      <a:pt x="140" y="283"/>
                      <a:pt x="139" y="282"/>
                    </a:cubicBezTo>
                    <a:cubicBezTo>
                      <a:pt x="137" y="281"/>
                      <a:pt x="135" y="282"/>
                      <a:pt x="134" y="281"/>
                    </a:cubicBezTo>
                    <a:cubicBezTo>
                      <a:pt x="132" y="281"/>
                      <a:pt x="131" y="280"/>
                      <a:pt x="129" y="279"/>
                    </a:cubicBezTo>
                    <a:cubicBezTo>
                      <a:pt x="125" y="277"/>
                      <a:pt x="120" y="275"/>
                      <a:pt x="116" y="274"/>
                    </a:cubicBezTo>
                    <a:cubicBezTo>
                      <a:pt x="114" y="273"/>
                      <a:pt x="112" y="272"/>
                      <a:pt x="110" y="271"/>
                    </a:cubicBezTo>
                    <a:cubicBezTo>
                      <a:pt x="109" y="271"/>
                      <a:pt x="108" y="271"/>
                      <a:pt x="107" y="270"/>
                    </a:cubicBezTo>
                    <a:cubicBezTo>
                      <a:pt x="106" y="269"/>
                      <a:pt x="107" y="268"/>
                      <a:pt x="106" y="267"/>
                    </a:cubicBezTo>
                    <a:cubicBezTo>
                      <a:pt x="104" y="265"/>
                      <a:pt x="100" y="267"/>
                      <a:pt x="98" y="264"/>
                    </a:cubicBezTo>
                    <a:cubicBezTo>
                      <a:pt x="97" y="262"/>
                      <a:pt x="97" y="261"/>
                      <a:pt x="94" y="261"/>
                    </a:cubicBezTo>
                    <a:cubicBezTo>
                      <a:pt x="92" y="261"/>
                      <a:pt x="91" y="260"/>
                      <a:pt x="89" y="261"/>
                    </a:cubicBezTo>
                    <a:cubicBezTo>
                      <a:pt x="87" y="261"/>
                      <a:pt x="87" y="262"/>
                      <a:pt x="86" y="263"/>
                    </a:cubicBezTo>
                    <a:cubicBezTo>
                      <a:pt x="85" y="264"/>
                      <a:pt x="85" y="265"/>
                      <a:pt x="84" y="265"/>
                    </a:cubicBezTo>
                    <a:cubicBezTo>
                      <a:pt x="82" y="266"/>
                      <a:pt x="81" y="267"/>
                      <a:pt x="79" y="268"/>
                    </a:cubicBezTo>
                    <a:cubicBezTo>
                      <a:pt x="78" y="268"/>
                      <a:pt x="77" y="270"/>
                      <a:pt x="77" y="270"/>
                    </a:cubicBezTo>
                    <a:cubicBezTo>
                      <a:pt x="75" y="271"/>
                      <a:pt x="73" y="270"/>
                      <a:pt x="71" y="269"/>
                    </a:cubicBezTo>
                    <a:cubicBezTo>
                      <a:pt x="70" y="269"/>
                      <a:pt x="67" y="266"/>
                      <a:pt x="65" y="266"/>
                    </a:cubicBezTo>
                    <a:cubicBezTo>
                      <a:pt x="65" y="269"/>
                      <a:pt x="66" y="274"/>
                      <a:pt x="64" y="276"/>
                    </a:cubicBezTo>
                    <a:cubicBezTo>
                      <a:pt x="63" y="277"/>
                      <a:pt x="61" y="277"/>
                      <a:pt x="60" y="278"/>
                    </a:cubicBezTo>
                    <a:cubicBezTo>
                      <a:pt x="57" y="281"/>
                      <a:pt x="55" y="288"/>
                      <a:pt x="55" y="292"/>
                    </a:cubicBezTo>
                    <a:cubicBezTo>
                      <a:pt x="54" y="292"/>
                      <a:pt x="53" y="293"/>
                      <a:pt x="52" y="293"/>
                    </a:cubicBezTo>
                    <a:cubicBezTo>
                      <a:pt x="51" y="293"/>
                      <a:pt x="49" y="292"/>
                      <a:pt x="48" y="293"/>
                    </a:cubicBezTo>
                    <a:cubicBezTo>
                      <a:pt x="45" y="294"/>
                      <a:pt x="44" y="297"/>
                      <a:pt x="46" y="299"/>
                    </a:cubicBezTo>
                    <a:cubicBezTo>
                      <a:pt x="49" y="302"/>
                      <a:pt x="54" y="301"/>
                      <a:pt x="57" y="304"/>
                    </a:cubicBezTo>
                    <a:cubicBezTo>
                      <a:pt x="60" y="307"/>
                      <a:pt x="56" y="309"/>
                      <a:pt x="57" y="312"/>
                    </a:cubicBezTo>
                    <a:cubicBezTo>
                      <a:pt x="61" y="313"/>
                      <a:pt x="65" y="314"/>
                      <a:pt x="69" y="315"/>
                    </a:cubicBezTo>
                    <a:cubicBezTo>
                      <a:pt x="74" y="316"/>
                      <a:pt x="75" y="319"/>
                      <a:pt x="75" y="325"/>
                    </a:cubicBezTo>
                    <a:cubicBezTo>
                      <a:pt x="75" y="328"/>
                      <a:pt x="74" y="331"/>
                      <a:pt x="75" y="334"/>
                    </a:cubicBezTo>
                    <a:cubicBezTo>
                      <a:pt x="76" y="337"/>
                      <a:pt x="80" y="340"/>
                      <a:pt x="79" y="343"/>
                    </a:cubicBezTo>
                    <a:cubicBezTo>
                      <a:pt x="79" y="345"/>
                      <a:pt x="76" y="345"/>
                      <a:pt x="74" y="345"/>
                    </a:cubicBezTo>
                    <a:cubicBezTo>
                      <a:pt x="70" y="346"/>
                      <a:pt x="70" y="346"/>
                      <a:pt x="71" y="349"/>
                    </a:cubicBezTo>
                    <a:cubicBezTo>
                      <a:pt x="71" y="352"/>
                      <a:pt x="71" y="355"/>
                      <a:pt x="71" y="358"/>
                    </a:cubicBezTo>
                    <a:cubicBezTo>
                      <a:pt x="72" y="359"/>
                      <a:pt x="72" y="361"/>
                      <a:pt x="72" y="361"/>
                    </a:cubicBezTo>
                    <a:cubicBezTo>
                      <a:pt x="73" y="362"/>
                      <a:pt x="74" y="362"/>
                      <a:pt x="74" y="362"/>
                    </a:cubicBezTo>
                    <a:cubicBezTo>
                      <a:pt x="75" y="363"/>
                      <a:pt x="75" y="364"/>
                      <a:pt x="76" y="364"/>
                    </a:cubicBezTo>
                    <a:cubicBezTo>
                      <a:pt x="77" y="366"/>
                      <a:pt x="77" y="368"/>
                      <a:pt x="78" y="370"/>
                    </a:cubicBezTo>
                    <a:cubicBezTo>
                      <a:pt x="78" y="371"/>
                      <a:pt x="77" y="371"/>
                      <a:pt x="77" y="372"/>
                    </a:cubicBezTo>
                    <a:cubicBezTo>
                      <a:pt x="75" y="376"/>
                      <a:pt x="76" y="380"/>
                      <a:pt x="77" y="384"/>
                    </a:cubicBezTo>
                    <a:cubicBezTo>
                      <a:pt x="80" y="384"/>
                      <a:pt x="82" y="384"/>
                      <a:pt x="84" y="386"/>
                    </a:cubicBezTo>
                    <a:cubicBezTo>
                      <a:pt x="85" y="387"/>
                      <a:pt x="86" y="388"/>
                      <a:pt x="87" y="389"/>
                    </a:cubicBezTo>
                    <a:cubicBezTo>
                      <a:pt x="88" y="390"/>
                      <a:pt x="90" y="390"/>
                      <a:pt x="90" y="390"/>
                    </a:cubicBezTo>
                    <a:cubicBezTo>
                      <a:pt x="94" y="385"/>
                      <a:pt x="90" y="377"/>
                      <a:pt x="91" y="371"/>
                    </a:cubicBezTo>
                    <a:cubicBezTo>
                      <a:pt x="92" y="364"/>
                      <a:pt x="98" y="366"/>
                      <a:pt x="103" y="367"/>
                    </a:cubicBezTo>
                    <a:cubicBezTo>
                      <a:pt x="103" y="369"/>
                      <a:pt x="103" y="372"/>
                      <a:pt x="104" y="373"/>
                    </a:cubicBezTo>
                    <a:cubicBezTo>
                      <a:pt x="105" y="375"/>
                      <a:pt x="107" y="377"/>
                      <a:pt x="109" y="379"/>
                    </a:cubicBezTo>
                    <a:cubicBezTo>
                      <a:pt x="111" y="381"/>
                      <a:pt x="112" y="383"/>
                      <a:pt x="113" y="386"/>
                    </a:cubicBezTo>
                    <a:cubicBezTo>
                      <a:pt x="114" y="389"/>
                      <a:pt x="116" y="391"/>
                      <a:pt x="117" y="394"/>
                    </a:cubicBezTo>
                    <a:cubicBezTo>
                      <a:pt x="119" y="400"/>
                      <a:pt x="113" y="411"/>
                      <a:pt x="120" y="414"/>
                    </a:cubicBezTo>
                    <a:cubicBezTo>
                      <a:pt x="126" y="417"/>
                      <a:pt x="124" y="408"/>
                      <a:pt x="124" y="405"/>
                    </a:cubicBezTo>
                    <a:cubicBezTo>
                      <a:pt x="124" y="401"/>
                      <a:pt x="123" y="399"/>
                      <a:pt x="125" y="396"/>
                    </a:cubicBezTo>
                    <a:cubicBezTo>
                      <a:pt x="126" y="393"/>
                      <a:pt x="127" y="392"/>
                      <a:pt x="129" y="390"/>
                    </a:cubicBezTo>
                    <a:cubicBezTo>
                      <a:pt x="132" y="388"/>
                      <a:pt x="131" y="385"/>
                      <a:pt x="135" y="385"/>
                    </a:cubicBezTo>
                    <a:cubicBezTo>
                      <a:pt x="136" y="385"/>
                      <a:pt x="138" y="384"/>
                      <a:pt x="139" y="385"/>
                    </a:cubicBezTo>
                    <a:cubicBezTo>
                      <a:pt x="141" y="385"/>
                      <a:pt x="140" y="386"/>
                      <a:pt x="140" y="387"/>
                    </a:cubicBezTo>
                    <a:cubicBezTo>
                      <a:pt x="141" y="389"/>
                      <a:pt x="140" y="389"/>
                      <a:pt x="141" y="391"/>
                    </a:cubicBezTo>
                    <a:cubicBezTo>
                      <a:pt x="142" y="391"/>
                      <a:pt x="143" y="391"/>
                      <a:pt x="144" y="392"/>
                    </a:cubicBezTo>
                    <a:cubicBezTo>
                      <a:pt x="145" y="393"/>
                      <a:pt x="145" y="393"/>
                      <a:pt x="145" y="394"/>
                    </a:cubicBezTo>
                    <a:cubicBezTo>
                      <a:pt x="146" y="396"/>
                      <a:pt x="145" y="398"/>
                      <a:pt x="146" y="400"/>
                    </a:cubicBezTo>
                    <a:cubicBezTo>
                      <a:pt x="146" y="402"/>
                      <a:pt x="146" y="402"/>
                      <a:pt x="147" y="403"/>
                    </a:cubicBezTo>
                    <a:cubicBezTo>
                      <a:pt x="148" y="405"/>
                      <a:pt x="148" y="406"/>
                      <a:pt x="150" y="407"/>
                    </a:cubicBezTo>
                    <a:cubicBezTo>
                      <a:pt x="151" y="407"/>
                      <a:pt x="153" y="407"/>
                      <a:pt x="154" y="408"/>
                    </a:cubicBezTo>
                    <a:cubicBezTo>
                      <a:pt x="155" y="409"/>
                      <a:pt x="155" y="410"/>
                      <a:pt x="155" y="411"/>
                    </a:cubicBezTo>
                    <a:cubicBezTo>
                      <a:pt x="156" y="412"/>
                      <a:pt x="160" y="415"/>
                      <a:pt x="162" y="415"/>
                    </a:cubicBezTo>
                    <a:cubicBezTo>
                      <a:pt x="162" y="413"/>
                      <a:pt x="160" y="412"/>
                      <a:pt x="160" y="410"/>
                    </a:cubicBezTo>
                    <a:cubicBezTo>
                      <a:pt x="159" y="408"/>
                      <a:pt x="159" y="405"/>
                      <a:pt x="157" y="404"/>
                    </a:cubicBezTo>
                    <a:cubicBezTo>
                      <a:pt x="156" y="401"/>
                      <a:pt x="155" y="402"/>
                      <a:pt x="155" y="399"/>
                    </a:cubicBezTo>
                    <a:cubicBezTo>
                      <a:pt x="155" y="397"/>
                      <a:pt x="154" y="395"/>
                      <a:pt x="155" y="393"/>
                    </a:cubicBezTo>
                    <a:cubicBezTo>
                      <a:pt x="155" y="390"/>
                      <a:pt x="157" y="389"/>
                      <a:pt x="156" y="386"/>
                    </a:cubicBezTo>
                    <a:cubicBezTo>
                      <a:pt x="156" y="384"/>
                      <a:pt x="155" y="382"/>
                      <a:pt x="155" y="380"/>
                    </a:cubicBezTo>
                    <a:cubicBezTo>
                      <a:pt x="154" y="378"/>
                      <a:pt x="155" y="375"/>
                      <a:pt x="155" y="373"/>
                    </a:cubicBezTo>
                    <a:cubicBezTo>
                      <a:pt x="155" y="371"/>
                      <a:pt x="155" y="368"/>
                      <a:pt x="155" y="367"/>
                    </a:cubicBezTo>
                    <a:cubicBezTo>
                      <a:pt x="154" y="366"/>
                      <a:pt x="152" y="365"/>
                      <a:pt x="150" y="363"/>
                    </a:cubicBezTo>
                    <a:cubicBezTo>
                      <a:pt x="149" y="362"/>
                      <a:pt x="149" y="361"/>
                      <a:pt x="149" y="359"/>
                    </a:cubicBezTo>
                    <a:cubicBezTo>
                      <a:pt x="149" y="356"/>
                      <a:pt x="150" y="352"/>
                      <a:pt x="149" y="350"/>
                    </a:cubicBezTo>
                    <a:cubicBezTo>
                      <a:pt x="148" y="349"/>
                      <a:pt x="147" y="348"/>
                      <a:pt x="146" y="347"/>
                    </a:cubicBezTo>
                    <a:cubicBezTo>
                      <a:pt x="145" y="345"/>
                      <a:pt x="144" y="342"/>
                      <a:pt x="144" y="340"/>
                    </a:cubicBezTo>
                    <a:cubicBezTo>
                      <a:pt x="143" y="338"/>
                      <a:pt x="143" y="337"/>
                      <a:pt x="142" y="334"/>
                    </a:cubicBezTo>
                    <a:cubicBezTo>
                      <a:pt x="141" y="333"/>
                      <a:pt x="141" y="332"/>
                      <a:pt x="141" y="331"/>
                    </a:cubicBezTo>
                    <a:cubicBezTo>
                      <a:pt x="140" y="330"/>
                      <a:pt x="139" y="329"/>
                      <a:pt x="139" y="329"/>
                    </a:cubicBezTo>
                    <a:cubicBezTo>
                      <a:pt x="138" y="327"/>
                      <a:pt x="138" y="323"/>
                      <a:pt x="140" y="322"/>
                    </a:cubicBezTo>
                    <a:cubicBezTo>
                      <a:pt x="141" y="322"/>
                      <a:pt x="142" y="324"/>
                      <a:pt x="143" y="325"/>
                    </a:cubicBezTo>
                    <a:cubicBezTo>
                      <a:pt x="145" y="325"/>
                      <a:pt x="147" y="324"/>
                      <a:pt x="149" y="326"/>
                    </a:cubicBezTo>
                    <a:cubicBezTo>
                      <a:pt x="149" y="326"/>
                      <a:pt x="150" y="328"/>
                      <a:pt x="150" y="328"/>
                    </a:cubicBezTo>
                    <a:cubicBezTo>
                      <a:pt x="150" y="329"/>
                      <a:pt x="152" y="330"/>
                      <a:pt x="152" y="330"/>
                    </a:cubicBezTo>
                    <a:cubicBezTo>
                      <a:pt x="154" y="332"/>
                      <a:pt x="158" y="332"/>
                      <a:pt x="160" y="334"/>
                    </a:cubicBezTo>
                    <a:cubicBezTo>
                      <a:pt x="160" y="335"/>
                      <a:pt x="159" y="337"/>
                      <a:pt x="159" y="339"/>
                    </a:cubicBezTo>
                    <a:cubicBezTo>
                      <a:pt x="159" y="341"/>
                      <a:pt x="160" y="343"/>
                      <a:pt x="158" y="345"/>
                    </a:cubicBezTo>
                    <a:cubicBezTo>
                      <a:pt x="157" y="347"/>
                      <a:pt x="155" y="347"/>
                      <a:pt x="156" y="350"/>
                    </a:cubicBezTo>
                    <a:cubicBezTo>
                      <a:pt x="156" y="352"/>
                      <a:pt x="156" y="352"/>
                      <a:pt x="158" y="352"/>
                    </a:cubicBezTo>
                    <a:cubicBezTo>
                      <a:pt x="158" y="352"/>
                      <a:pt x="160" y="352"/>
                      <a:pt x="161" y="352"/>
                    </a:cubicBezTo>
                    <a:cubicBezTo>
                      <a:pt x="163" y="351"/>
                      <a:pt x="163" y="349"/>
                      <a:pt x="165" y="349"/>
                    </a:cubicBezTo>
                    <a:cubicBezTo>
                      <a:pt x="165" y="347"/>
                      <a:pt x="165" y="346"/>
                      <a:pt x="165" y="345"/>
                    </a:cubicBezTo>
                    <a:cubicBezTo>
                      <a:pt x="167" y="345"/>
                      <a:pt x="169" y="346"/>
                      <a:pt x="171" y="346"/>
                    </a:cubicBezTo>
                    <a:cubicBezTo>
                      <a:pt x="173" y="346"/>
                      <a:pt x="180" y="347"/>
                      <a:pt x="180" y="344"/>
                    </a:cubicBezTo>
                    <a:cubicBezTo>
                      <a:pt x="179" y="344"/>
                      <a:pt x="178" y="344"/>
                      <a:pt x="177" y="344"/>
                    </a:cubicBezTo>
                    <a:cubicBezTo>
                      <a:pt x="175" y="343"/>
                      <a:pt x="174" y="343"/>
                      <a:pt x="172" y="343"/>
                    </a:cubicBezTo>
                    <a:cubicBezTo>
                      <a:pt x="170" y="343"/>
                      <a:pt x="168" y="342"/>
                      <a:pt x="170" y="339"/>
                    </a:cubicBezTo>
                    <a:cubicBezTo>
                      <a:pt x="171" y="339"/>
                      <a:pt x="172" y="340"/>
                      <a:pt x="172" y="339"/>
                    </a:cubicBezTo>
                    <a:cubicBezTo>
                      <a:pt x="172" y="339"/>
                      <a:pt x="173" y="338"/>
                      <a:pt x="173" y="338"/>
                    </a:cubicBezTo>
                    <a:cubicBezTo>
                      <a:pt x="173" y="337"/>
                      <a:pt x="174" y="336"/>
                      <a:pt x="175" y="336"/>
                    </a:cubicBezTo>
                    <a:cubicBezTo>
                      <a:pt x="177" y="334"/>
                      <a:pt x="180" y="336"/>
                      <a:pt x="183" y="335"/>
                    </a:cubicBezTo>
                    <a:cubicBezTo>
                      <a:pt x="184" y="333"/>
                      <a:pt x="184" y="331"/>
                      <a:pt x="183" y="330"/>
                    </a:cubicBezTo>
                    <a:cubicBezTo>
                      <a:pt x="182" y="329"/>
                      <a:pt x="177" y="327"/>
                      <a:pt x="176" y="327"/>
                    </a:cubicBezTo>
                    <a:cubicBezTo>
                      <a:pt x="174" y="327"/>
                      <a:pt x="172" y="329"/>
                      <a:pt x="170" y="329"/>
                    </a:cubicBezTo>
                    <a:cubicBezTo>
                      <a:pt x="169" y="328"/>
                      <a:pt x="169" y="326"/>
                      <a:pt x="167" y="325"/>
                    </a:cubicBezTo>
                    <a:cubicBezTo>
                      <a:pt x="166" y="325"/>
                      <a:pt x="166" y="326"/>
                      <a:pt x="165" y="326"/>
                    </a:cubicBezTo>
                    <a:cubicBezTo>
                      <a:pt x="164" y="326"/>
                      <a:pt x="161" y="324"/>
                      <a:pt x="161" y="323"/>
                    </a:cubicBezTo>
                    <a:cubicBezTo>
                      <a:pt x="160" y="321"/>
                      <a:pt x="161" y="319"/>
                      <a:pt x="161" y="318"/>
                    </a:cubicBezTo>
                    <a:cubicBezTo>
                      <a:pt x="161" y="317"/>
                      <a:pt x="160" y="316"/>
                      <a:pt x="160" y="315"/>
                    </a:cubicBezTo>
                    <a:cubicBezTo>
                      <a:pt x="159" y="313"/>
                      <a:pt x="160" y="313"/>
                      <a:pt x="161" y="312"/>
                    </a:cubicBezTo>
                    <a:cubicBezTo>
                      <a:pt x="162" y="310"/>
                      <a:pt x="162" y="311"/>
                      <a:pt x="162" y="309"/>
                    </a:cubicBezTo>
                    <a:cubicBezTo>
                      <a:pt x="162" y="305"/>
                      <a:pt x="162" y="304"/>
                      <a:pt x="159" y="301"/>
                    </a:cubicBezTo>
                    <a:cubicBezTo>
                      <a:pt x="157" y="300"/>
                      <a:pt x="154" y="299"/>
                      <a:pt x="155" y="296"/>
                    </a:cubicBezTo>
                    <a:moveTo>
                      <a:pt x="158" y="293"/>
                    </a:moveTo>
                    <a:cubicBezTo>
                      <a:pt x="156" y="293"/>
                      <a:pt x="155" y="294"/>
                      <a:pt x="155" y="296"/>
                    </a:cubicBezTo>
                    <a:cubicBezTo>
                      <a:pt x="156" y="296"/>
                      <a:pt x="157" y="295"/>
                      <a:pt x="158" y="294"/>
                    </a:cubicBezTo>
                    <a:cubicBezTo>
                      <a:pt x="158" y="293"/>
                      <a:pt x="158" y="293"/>
                      <a:pt x="158" y="293"/>
                    </a:cubicBezTo>
                    <a:moveTo>
                      <a:pt x="0" y="153"/>
                    </a:moveTo>
                    <a:cubicBezTo>
                      <a:pt x="0" y="154"/>
                      <a:pt x="0" y="155"/>
                      <a:pt x="0" y="156"/>
                    </a:cubicBezTo>
                    <a:cubicBezTo>
                      <a:pt x="0" y="158"/>
                      <a:pt x="1" y="159"/>
                      <a:pt x="1" y="161"/>
                    </a:cubicBezTo>
                    <a:cubicBezTo>
                      <a:pt x="2" y="163"/>
                      <a:pt x="2" y="164"/>
                      <a:pt x="2" y="165"/>
                    </a:cubicBezTo>
                    <a:cubicBezTo>
                      <a:pt x="2" y="169"/>
                      <a:pt x="2" y="171"/>
                      <a:pt x="4" y="174"/>
                    </a:cubicBezTo>
                    <a:cubicBezTo>
                      <a:pt x="6" y="176"/>
                      <a:pt x="7" y="179"/>
                      <a:pt x="8" y="181"/>
                    </a:cubicBezTo>
                    <a:cubicBezTo>
                      <a:pt x="10" y="183"/>
                      <a:pt x="13" y="182"/>
                      <a:pt x="15" y="182"/>
                    </a:cubicBezTo>
                    <a:cubicBezTo>
                      <a:pt x="18" y="184"/>
                      <a:pt x="18" y="188"/>
                      <a:pt x="18" y="191"/>
                    </a:cubicBezTo>
                    <a:cubicBezTo>
                      <a:pt x="19" y="196"/>
                      <a:pt x="23" y="197"/>
                      <a:pt x="26" y="200"/>
                    </a:cubicBezTo>
                    <a:cubicBezTo>
                      <a:pt x="28" y="202"/>
                      <a:pt x="29" y="204"/>
                      <a:pt x="30" y="207"/>
                    </a:cubicBezTo>
                    <a:cubicBezTo>
                      <a:pt x="33" y="208"/>
                      <a:pt x="33" y="202"/>
                      <a:pt x="34" y="200"/>
                    </a:cubicBezTo>
                    <a:cubicBezTo>
                      <a:pt x="35" y="199"/>
                      <a:pt x="39" y="198"/>
                      <a:pt x="41" y="199"/>
                    </a:cubicBezTo>
                    <a:cubicBezTo>
                      <a:pt x="43" y="200"/>
                      <a:pt x="42" y="204"/>
                      <a:pt x="43" y="205"/>
                    </a:cubicBezTo>
                    <a:cubicBezTo>
                      <a:pt x="45" y="207"/>
                      <a:pt x="48" y="205"/>
                      <a:pt x="51" y="206"/>
                    </a:cubicBezTo>
                    <a:cubicBezTo>
                      <a:pt x="53" y="206"/>
                      <a:pt x="53" y="207"/>
                      <a:pt x="54" y="209"/>
                    </a:cubicBezTo>
                    <a:cubicBezTo>
                      <a:pt x="57" y="214"/>
                      <a:pt x="54" y="217"/>
                      <a:pt x="48" y="216"/>
                    </a:cubicBezTo>
                    <a:cubicBezTo>
                      <a:pt x="48" y="214"/>
                      <a:pt x="49" y="211"/>
                      <a:pt x="48" y="210"/>
                    </a:cubicBezTo>
                    <a:cubicBezTo>
                      <a:pt x="47" y="208"/>
                      <a:pt x="38" y="209"/>
                      <a:pt x="36" y="210"/>
                    </a:cubicBezTo>
                    <a:cubicBezTo>
                      <a:pt x="30" y="211"/>
                      <a:pt x="32" y="215"/>
                      <a:pt x="32" y="220"/>
                    </a:cubicBezTo>
                    <a:cubicBezTo>
                      <a:pt x="30" y="219"/>
                      <a:pt x="30" y="216"/>
                      <a:pt x="28" y="215"/>
                    </a:cubicBezTo>
                    <a:cubicBezTo>
                      <a:pt x="25" y="215"/>
                      <a:pt x="23" y="218"/>
                      <a:pt x="22" y="220"/>
                    </a:cubicBezTo>
                    <a:cubicBezTo>
                      <a:pt x="21" y="222"/>
                      <a:pt x="22" y="223"/>
                      <a:pt x="20" y="224"/>
                    </a:cubicBezTo>
                    <a:cubicBezTo>
                      <a:pt x="18" y="227"/>
                      <a:pt x="14" y="230"/>
                      <a:pt x="15" y="233"/>
                    </a:cubicBezTo>
                    <a:cubicBezTo>
                      <a:pt x="19" y="234"/>
                      <a:pt x="20" y="238"/>
                      <a:pt x="24" y="239"/>
                    </a:cubicBezTo>
                    <a:cubicBezTo>
                      <a:pt x="25" y="239"/>
                      <a:pt x="28" y="238"/>
                      <a:pt x="29" y="236"/>
                    </a:cubicBezTo>
                    <a:cubicBezTo>
                      <a:pt x="31" y="233"/>
                      <a:pt x="29" y="233"/>
                      <a:pt x="28" y="231"/>
                    </a:cubicBezTo>
                    <a:cubicBezTo>
                      <a:pt x="27" y="230"/>
                      <a:pt x="28" y="227"/>
                      <a:pt x="28" y="226"/>
                    </a:cubicBezTo>
                    <a:cubicBezTo>
                      <a:pt x="29" y="226"/>
                      <a:pt x="30" y="227"/>
                      <a:pt x="32" y="226"/>
                    </a:cubicBezTo>
                    <a:cubicBezTo>
                      <a:pt x="32" y="224"/>
                      <a:pt x="32" y="223"/>
                      <a:pt x="34" y="224"/>
                    </a:cubicBezTo>
                    <a:cubicBezTo>
                      <a:pt x="34" y="225"/>
                      <a:pt x="34" y="226"/>
                      <a:pt x="34" y="227"/>
                    </a:cubicBezTo>
                    <a:cubicBezTo>
                      <a:pt x="35" y="227"/>
                      <a:pt x="36" y="227"/>
                      <a:pt x="37" y="227"/>
                    </a:cubicBezTo>
                    <a:cubicBezTo>
                      <a:pt x="40" y="230"/>
                      <a:pt x="40" y="232"/>
                      <a:pt x="40" y="236"/>
                    </a:cubicBezTo>
                    <a:cubicBezTo>
                      <a:pt x="40" y="238"/>
                      <a:pt x="39" y="240"/>
                      <a:pt x="40" y="242"/>
                    </a:cubicBezTo>
                    <a:cubicBezTo>
                      <a:pt x="41" y="243"/>
                      <a:pt x="44" y="245"/>
                      <a:pt x="46" y="246"/>
                    </a:cubicBezTo>
                    <a:cubicBezTo>
                      <a:pt x="48" y="247"/>
                      <a:pt x="49" y="247"/>
                      <a:pt x="48" y="250"/>
                    </a:cubicBezTo>
                    <a:cubicBezTo>
                      <a:pt x="47" y="252"/>
                      <a:pt x="46" y="252"/>
                      <a:pt x="46" y="254"/>
                    </a:cubicBezTo>
                    <a:cubicBezTo>
                      <a:pt x="45" y="258"/>
                      <a:pt x="46" y="261"/>
                      <a:pt x="51" y="261"/>
                    </a:cubicBezTo>
                    <a:cubicBezTo>
                      <a:pt x="54" y="262"/>
                      <a:pt x="57" y="260"/>
                      <a:pt x="59" y="258"/>
                    </a:cubicBezTo>
                    <a:cubicBezTo>
                      <a:pt x="61" y="257"/>
                      <a:pt x="63" y="256"/>
                      <a:pt x="65" y="256"/>
                    </a:cubicBezTo>
                    <a:cubicBezTo>
                      <a:pt x="67" y="256"/>
                      <a:pt x="68" y="256"/>
                      <a:pt x="69" y="257"/>
                    </a:cubicBezTo>
                    <a:cubicBezTo>
                      <a:pt x="70" y="258"/>
                      <a:pt x="69" y="260"/>
                      <a:pt x="71" y="260"/>
                    </a:cubicBezTo>
                    <a:cubicBezTo>
                      <a:pt x="71" y="255"/>
                      <a:pt x="77" y="260"/>
                      <a:pt x="79" y="260"/>
                    </a:cubicBezTo>
                    <a:cubicBezTo>
                      <a:pt x="81" y="260"/>
                      <a:pt x="83" y="258"/>
                      <a:pt x="86" y="258"/>
                    </a:cubicBezTo>
                    <a:cubicBezTo>
                      <a:pt x="88" y="258"/>
                      <a:pt x="91" y="259"/>
                      <a:pt x="91" y="256"/>
                    </a:cubicBezTo>
                    <a:cubicBezTo>
                      <a:pt x="95" y="256"/>
                      <a:pt x="100" y="256"/>
                      <a:pt x="103" y="258"/>
                    </a:cubicBezTo>
                    <a:cubicBezTo>
                      <a:pt x="107" y="259"/>
                      <a:pt x="110" y="262"/>
                      <a:pt x="115" y="262"/>
                    </a:cubicBezTo>
                    <a:cubicBezTo>
                      <a:pt x="116" y="262"/>
                      <a:pt x="117" y="262"/>
                      <a:pt x="118" y="262"/>
                    </a:cubicBezTo>
                    <a:cubicBezTo>
                      <a:pt x="119" y="262"/>
                      <a:pt x="119" y="261"/>
                      <a:pt x="120" y="261"/>
                    </a:cubicBezTo>
                    <a:cubicBezTo>
                      <a:pt x="121" y="260"/>
                      <a:pt x="123" y="259"/>
                      <a:pt x="124" y="259"/>
                    </a:cubicBezTo>
                    <a:cubicBezTo>
                      <a:pt x="126" y="259"/>
                      <a:pt x="125" y="261"/>
                      <a:pt x="126" y="263"/>
                    </a:cubicBezTo>
                    <a:cubicBezTo>
                      <a:pt x="127" y="265"/>
                      <a:pt x="129" y="267"/>
                      <a:pt x="132" y="266"/>
                    </a:cubicBezTo>
                    <a:cubicBezTo>
                      <a:pt x="133" y="264"/>
                      <a:pt x="131" y="260"/>
                      <a:pt x="134" y="259"/>
                    </a:cubicBezTo>
                    <a:cubicBezTo>
                      <a:pt x="138" y="259"/>
                      <a:pt x="137" y="267"/>
                      <a:pt x="139" y="269"/>
                    </a:cubicBezTo>
                    <a:cubicBezTo>
                      <a:pt x="139" y="266"/>
                      <a:pt x="139" y="266"/>
                      <a:pt x="141" y="266"/>
                    </a:cubicBezTo>
                    <a:cubicBezTo>
                      <a:pt x="144" y="265"/>
                      <a:pt x="146" y="267"/>
                      <a:pt x="148" y="268"/>
                    </a:cubicBezTo>
                    <a:cubicBezTo>
                      <a:pt x="150" y="270"/>
                      <a:pt x="152" y="270"/>
                      <a:pt x="155" y="271"/>
                    </a:cubicBezTo>
                    <a:cubicBezTo>
                      <a:pt x="157" y="272"/>
                      <a:pt x="159" y="274"/>
                      <a:pt x="161" y="275"/>
                    </a:cubicBezTo>
                    <a:cubicBezTo>
                      <a:pt x="164" y="276"/>
                      <a:pt x="167" y="275"/>
                      <a:pt x="170" y="275"/>
                    </a:cubicBezTo>
                    <a:cubicBezTo>
                      <a:pt x="172" y="275"/>
                      <a:pt x="173" y="275"/>
                      <a:pt x="171" y="278"/>
                    </a:cubicBezTo>
                    <a:cubicBezTo>
                      <a:pt x="171" y="279"/>
                      <a:pt x="169" y="280"/>
                      <a:pt x="168" y="281"/>
                    </a:cubicBezTo>
                    <a:cubicBezTo>
                      <a:pt x="168" y="282"/>
                      <a:pt x="166" y="283"/>
                      <a:pt x="165" y="283"/>
                    </a:cubicBezTo>
                    <a:cubicBezTo>
                      <a:pt x="163" y="284"/>
                      <a:pt x="161" y="282"/>
                      <a:pt x="158" y="282"/>
                    </a:cubicBezTo>
                    <a:cubicBezTo>
                      <a:pt x="155" y="282"/>
                      <a:pt x="149" y="282"/>
                      <a:pt x="150" y="286"/>
                    </a:cubicBezTo>
                    <a:cubicBezTo>
                      <a:pt x="151" y="288"/>
                      <a:pt x="151" y="288"/>
                      <a:pt x="152" y="289"/>
                    </a:cubicBezTo>
                    <a:cubicBezTo>
                      <a:pt x="153" y="290"/>
                      <a:pt x="152" y="290"/>
                      <a:pt x="153" y="291"/>
                    </a:cubicBezTo>
                    <a:cubicBezTo>
                      <a:pt x="154" y="292"/>
                      <a:pt x="155" y="291"/>
                      <a:pt x="155" y="291"/>
                    </a:cubicBezTo>
                    <a:cubicBezTo>
                      <a:pt x="156" y="292"/>
                      <a:pt x="157" y="292"/>
                      <a:pt x="158" y="293"/>
                    </a:cubicBezTo>
                    <a:cubicBezTo>
                      <a:pt x="159" y="292"/>
                      <a:pt x="160" y="292"/>
                      <a:pt x="161" y="292"/>
                    </a:cubicBezTo>
                    <a:cubicBezTo>
                      <a:pt x="160" y="289"/>
                      <a:pt x="162" y="290"/>
                      <a:pt x="163" y="291"/>
                    </a:cubicBezTo>
                    <a:cubicBezTo>
                      <a:pt x="165" y="291"/>
                      <a:pt x="164" y="292"/>
                      <a:pt x="166" y="292"/>
                    </a:cubicBezTo>
                    <a:cubicBezTo>
                      <a:pt x="169" y="292"/>
                      <a:pt x="171" y="288"/>
                      <a:pt x="175" y="287"/>
                    </a:cubicBezTo>
                    <a:cubicBezTo>
                      <a:pt x="179" y="287"/>
                      <a:pt x="181" y="291"/>
                      <a:pt x="180" y="295"/>
                    </a:cubicBezTo>
                    <a:cubicBezTo>
                      <a:pt x="180" y="297"/>
                      <a:pt x="178" y="299"/>
                      <a:pt x="179" y="302"/>
                    </a:cubicBezTo>
                    <a:cubicBezTo>
                      <a:pt x="181" y="303"/>
                      <a:pt x="184" y="302"/>
                      <a:pt x="187" y="301"/>
                    </a:cubicBezTo>
                    <a:cubicBezTo>
                      <a:pt x="187" y="297"/>
                      <a:pt x="186" y="292"/>
                      <a:pt x="186" y="288"/>
                    </a:cubicBezTo>
                    <a:cubicBezTo>
                      <a:pt x="188" y="287"/>
                      <a:pt x="188" y="288"/>
                      <a:pt x="190" y="289"/>
                    </a:cubicBezTo>
                    <a:cubicBezTo>
                      <a:pt x="191" y="289"/>
                      <a:pt x="194" y="289"/>
                      <a:pt x="195" y="290"/>
                    </a:cubicBezTo>
                    <a:cubicBezTo>
                      <a:pt x="199" y="293"/>
                      <a:pt x="197" y="298"/>
                      <a:pt x="198" y="302"/>
                    </a:cubicBezTo>
                    <a:cubicBezTo>
                      <a:pt x="198" y="305"/>
                      <a:pt x="201" y="309"/>
                      <a:pt x="203" y="311"/>
                    </a:cubicBezTo>
                    <a:cubicBezTo>
                      <a:pt x="206" y="313"/>
                      <a:pt x="208" y="312"/>
                      <a:pt x="211" y="312"/>
                    </a:cubicBezTo>
                    <a:cubicBezTo>
                      <a:pt x="211" y="314"/>
                      <a:pt x="211" y="315"/>
                      <a:pt x="211" y="316"/>
                    </a:cubicBezTo>
                    <a:cubicBezTo>
                      <a:pt x="212" y="317"/>
                      <a:pt x="211" y="318"/>
                      <a:pt x="211" y="320"/>
                    </a:cubicBezTo>
                    <a:cubicBezTo>
                      <a:pt x="212" y="323"/>
                      <a:pt x="213" y="323"/>
                      <a:pt x="216" y="322"/>
                    </a:cubicBezTo>
                    <a:cubicBezTo>
                      <a:pt x="217" y="319"/>
                      <a:pt x="216" y="316"/>
                      <a:pt x="216" y="312"/>
                    </a:cubicBezTo>
                    <a:cubicBezTo>
                      <a:pt x="216" y="309"/>
                      <a:pt x="216" y="306"/>
                      <a:pt x="215" y="303"/>
                    </a:cubicBezTo>
                    <a:cubicBezTo>
                      <a:pt x="215" y="301"/>
                      <a:pt x="214" y="299"/>
                      <a:pt x="214" y="297"/>
                    </a:cubicBezTo>
                    <a:cubicBezTo>
                      <a:pt x="215" y="295"/>
                      <a:pt x="216" y="294"/>
                      <a:pt x="216" y="293"/>
                    </a:cubicBezTo>
                    <a:cubicBezTo>
                      <a:pt x="216" y="291"/>
                      <a:pt x="216" y="288"/>
                      <a:pt x="216" y="287"/>
                    </a:cubicBezTo>
                    <a:cubicBezTo>
                      <a:pt x="215" y="285"/>
                      <a:pt x="214" y="285"/>
                      <a:pt x="214" y="283"/>
                    </a:cubicBezTo>
                    <a:cubicBezTo>
                      <a:pt x="213" y="281"/>
                      <a:pt x="215" y="280"/>
                      <a:pt x="216" y="278"/>
                    </a:cubicBezTo>
                    <a:cubicBezTo>
                      <a:pt x="216" y="277"/>
                      <a:pt x="220" y="272"/>
                      <a:pt x="221" y="272"/>
                    </a:cubicBezTo>
                    <a:cubicBezTo>
                      <a:pt x="223" y="272"/>
                      <a:pt x="226" y="280"/>
                      <a:pt x="227" y="282"/>
                    </a:cubicBezTo>
                    <a:cubicBezTo>
                      <a:pt x="229" y="284"/>
                      <a:pt x="230" y="286"/>
                      <a:pt x="231" y="288"/>
                    </a:cubicBezTo>
                    <a:cubicBezTo>
                      <a:pt x="232" y="291"/>
                      <a:pt x="233" y="291"/>
                      <a:pt x="235" y="293"/>
                    </a:cubicBezTo>
                    <a:cubicBezTo>
                      <a:pt x="237" y="296"/>
                      <a:pt x="238" y="298"/>
                      <a:pt x="241" y="297"/>
                    </a:cubicBezTo>
                    <a:cubicBezTo>
                      <a:pt x="244" y="297"/>
                      <a:pt x="246" y="296"/>
                      <a:pt x="247" y="294"/>
                    </a:cubicBezTo>
                    <a:cubicBezTo>
                      <a:pt x="250" y="292"/>
                      <a:pt x="250" y="286"/>
                      <a:pt x="249" y="283"/>
                    </a:cubicBezTo>
                    <a:cubicBezTo>
                      <a:pt x="247" y="279"/>
                      <a:pt x="241" y="281"/>
                      <a:pt x="238" y="280"/>
                    </a:cubicBezTo>
                    <a:cubicBezTo>
                      <a:pt x="235" y="279"/>
                      <a:pt x="233" y="279"/>
                      <a:pt x="231" y="277"/>
                    </a:cubicBezTo>
                    <a:cubicBezTo>
                      <a:pt x="230" y="276"/>
                      <a:pt x="230" y="274"/>
                      <a:pt x="229" y="273"/>
                    </a:cubicBezTo>
                    <a:cubicBezTo>
                      <a:pt x="228" y="273"/>
                      <a:pt x="226" y="272"/>
                      <a:pt x="225" y="271"/>
                    </a:cubicBezTo>
                    <a:cubicBezTo>
                      <a:pt x="223" y="270"/>
                      <a:pt x="221" y="268"/>
                      <a:pt x="220" y="265"/>
                    </a:cubicBezTo>
                    <a:cubicBezTo>
                      <a:pt x="217" y="261"/>
                      <a:pt x="216" y="258"/>
                      <a:pt x="220" y="254"/>
                    </a:cubicBezTo>
                    <a:cubicBezTo>
                      <a:pt x="222" y="252"/>
                      <a:pt x="224" y="252"/>
                      <a:pt x="224" y="248"/>
                    </a:cubicBezTo>
                    <a:cubicBezTo>
                      <a:pt x="224" y="247"/>
                      <a:pt x="224" y="246"/>
                      <a:pt x="222" y="245"/>
                    </a:cubicBezTo>
                    <a:cubicBezTo>
                      <a:pt x="217" y="242"/>
                      <a:pt x="209" y="241"/>
                      <a:pt x="204" y="238"/>
                    </a:cubicBezTo>
                    <a:cubicBezTo>
                      <a:pt x="203" y="237"/>
                      <a:pt x="203" y="236"/>
                      <a:pt x="202" y="236"/>
                    </a:cubicBezTo>
                    <a:cubicBezTo>
                      <a:pt x="201" y="235"/>
                      <a:pt x="199" y="234"/>
                      <a:pt x="198" y="234"/>
                    </a:cubicBezTo>
                    <a:cubicBezTo>
                      <a:pt x="196" y="233"/>
                      <a:pt x="195" y="232"/>
                      <a:pt x="193" y="231"/>
                    </a:cubicBezTo>
                    <a:cubicBezTo>
                      <a:pt x="190" y="228"/>
                      <a:pt x="183" y="229"/>
                      <a:pt x="182" y="224"/>
                    </a:cubicBezTo>
                    <a:cubicBezTo>
                      <a:pt x="180" y="219"/>
                      <a:pt x="182" y="214"/>
                      <a:pt x="181" y="209"/>
                    </a:cubicBezTo>
                    <a:cubicBezTo>
                      <a:pt x="177" y="210"/>
                      <a:pt x="172" y="209"/>
                      <a:pt x="168" y="210"/>
                    </a:cubicBezTo>
                    <a:cubicBezTo>
                      <a:pt x="167" y="211"/>
                      <a:pt x="165" y="211"/>
                      <a:pt x="164" y="213"/>
                    </a:cubicBezTo>
                    <a:cubicBezTo>
                      <a:pt x="163" y="214"/>
                      <a:pt x="164" y="215"/>
                      <a:pt x="163" y="216"/>
                    </a:cubicBezTo>
                    <a:cubicBezTo>
                      <a:pt x="161" y="218"/>
                      <a:pt x="157" y="218"/>
                      <a:pt x="155" y="218"/>
                    </a:cubicBezTo>
                    <a:cubicBezTo>
                      <a:pt x="151" y="218"/>
                      <a:pt x="145" y="220"/>
                      <a:pt x="145" y="224"/>
                    </a:cubicBezTo>
                    <a:cubicBezTo>
                      <a:pt x="148" y="225"/>
                      <a:pt x="148" y="225"/>
                      <a:pt x="150" y="226"/>
                    </a:cubicBezTo>
                    <a:cubicBezTo>
                      <a:pt x="152" y="228"/>
                      <a:pt x="155" y="229"/>
                      <a:pt x="157" y="229"/>
                    </a:cubicBezTo>
                    <a:cubicBezTo>
                      <a:pt x="158" y="229"/>
                      <a:pt x="159" y="229"/>
                      <a:pt x="160" y="229"/>
                    </a:cubicBezTo>
                    <a:cubicBezTo>
                      <a:pt x="161" y="229"/>
                      <a:pt x="161" y="230"/>
                      <a:pt x="162" y="230"/>
                    </a:cubicBezTo>
                    <a:cubicBezTo>
                      <a:pt x="165" y="231"/>
                      <a:pt x="167" y="230"/>
                      <a:pt x="169" y="231"/>
                    </a:cubicBezTo>
                    <a:cubicBezTo>
                      <a:pt x="170" y="232"/>
                      <a:pt x="172" y="233"/>
                      <a:pt x="172" y="234"/>
                    </a:cubicBezTo>
                    <a:cubicBezTo>
                      <a:pt x="173" y="235"/>
                      <a:pt x="172" y="237"/>
                      <a:pt x="172" y="239"/>
                    </a:cubicBezTo>
                    <a:cubicBezTo>
                      <a:pt x="173" y="241"/>
                      <a:pt x="177" y="241"/>
                      <a:pt x="180" y="242"/>
                    </a:cubicBezTo>
                    <a:cubicBezTo>
                      <a:pt x="182" y="243"/>
                      <a:pt x="189" y="246"/>
                      <a:pt x="189" y="249"/>
                    </a:cubicBezTo>
                    <a:cubicBezTo>
                      <a:pt x="189" y="250"/>
                      <a:pt x="188" y="252"/>
                      <a:pt x="186" y="253"/>
                    </a:cubicBezTo>
                    <a:cubicBezTo>
                      <a:pt x="184" y="254"/>
                      <a:pt x="178" y="254"/>
                      <a:pt x="177" y="252"/>
                    </a:cubicBezTo>
                    <a:cubicBezTo>
                      <a:pt x="176" y="252"/>
                      <a:pt x="177" y="250"/>
                      <a:pt x="176" y="249"/>
                    </a:cubicBezTo>
                    <a:cubicBezTo>
                      <a:pt x="175" y="248"/>
                      <a:pt x="175" y="247"/>
                      <a:pt x="174" y="246"/>
                    </a:cubicBezTo>
                    <a:cubicBezTo>
                      <a:pt x="170" y="244"/>
                      <a:pt x="167" y="241"/>
                      <a:pt x="164" y="239"/>
                    </a:cubicBezTo>
                    <a:cubicBezTo>
                      <a:pt x="163" y="238"/>
                      <a:pt x="161" y="237"/>
                      <a:pt x="160" y="236"/>
                    </a:cubicBezTo>
                    <a:cubicBezTo>
                      <a:pt x="158" y="234"/>
                      <a:pt x="157" y="234"/>
                      <a:pt x="154" y="233"/>
                    </a:cubicBezTo>
                    <a:cubicBezTo>
                      <a:pt x="151" y="232"/>
                      <a:pt x="148" y="229"/>
                      <a:pt x="145" y="228"/>
                    </a:cubicBezTo>
                    <a:cubicBezTo>
                      <a:pt x="142" y="228"/>
                      <a:pt x="132" y="227"/>
                      <a:pt x="133" y="223"/>
                    </a:cubicBezTo>
                    <a:cubicBezTo>
                      <a:pt x="133" y="219"/>
                      <a:pt x="139" y="221"/>
                      <a:pt x="141" y="221"/>
                    </a:cubicBezTo>
                    <a:cubicBezTo>
                      <a:pt x="145" y="222"/>
                      <a:pt x="146" y="221"/>
                      <a:pt x="149" y="219"/>
                    </a:cubicBezTo>
                    <a:cubicBezTo>
                      <a:pt x="152" y="217"/>
                      <a:pt x="157" y="217"/>
                      <a:pt x="161" y="215"/>
                    </a:cubicBezTo>
                    <a:cubicBezTo>
                      <a:pt x="157" y="216"/>
                      <a:pt x="157" y="209"/>
                      <a:pt x="157" y="207"/>
                    </a:cubicBezTo>
                    <a:cubicBezTo>
                      <a:pt x="157" y="205"/>
                      <a:pt x="156" y="205"/>
                      <a:pt x="156" y="204"/>
                    </a:cubicBezTo>
                    <a:cubicBezTo>
                      <a:pt x="155" y="202"/>
                      <a:pt x="156" y="202"/>
                      <a:pt x="155" y="200"/>
                    </a:cubicBezTo>
                    <a:cubicBezTo>
                      <a:pt x="153" y="198"/>
                      <a:pt x="150" y="196"/>
                      <a:pt x="150" y="193"/>
                    </a:cubicBezTo>
                    <a:cubicBezTo>
                      <a:pt x="151" y="191"/>
                      <a:pt x="153" y="189"/>
                      <a:pt x="154" y="188"/>
                    </a:cubicBezTo>
                    <a:cubicBezTo>
                      <a:pt x="157" y="185"/>
                      <a:pt x="161" y="186"/>
                      <a:pt x="163" y="189"/>
                    </a:cubicBezTo>
                    <a:cubicBezTo>
                      <a:pt x="165" y="192"/>
                      <a:pt x="163" y="199"/>
                      <a:pt x="166" y="201"/>
                    </a:cubicBezTo>
                    <a:cubicBezTo>
                      <a:pt x="168" y="202"/>
                      <a:pt x="174" y="199"/>
                      <a:pt x="175" y="198"/>
                    </a:cubicBezTo>
                    <a:cubicBezTo>
                      <a:pt x="178" y="197"/>
                      <a:pt x="177" y="193"/>
                      <a:pt x="175" y="192"/>
                    </a:cubicBezTo>
                    <a:cubicBezTo>
                      <a:pt x="173" y="190"/>
                      <a:pt x="171" y="189"/>
                      <a:pt x="170" y="187"/>
                    </a:cubicBezTo>
                    <a:cubicBezTo>
                      <a:pt x="169" y="185"/>
                      <a:pt x="169" y="184"/>
                      <a:pt x="168" y="182"/>
                    </a:cubicBezTo>
                    <a:cubicBezTo>
                      <a:pt x="166" y="181"/>
                      <a:pt x="164" y="179"/>
                      <a:pt x="163" y="177"/>
                    </a:cubicBezTo>
                    <a:cubicBezTo>
                      <a:pt x="161" y="175"/>
                      <a:pt x="160" y="172"/>
                      <a:pt x="158" y="170"/>
                    </a:cubicBezTo>
                    <a:cubicBezTo>
                      <a:pt x="158" y="169"/>
                      <a:pt x="157" y="169"/>
                      <a:pt x="156" y="168"/>
                    </a:cubicBezTo>
                    <a:cubicBezTo>
                      <a:pt x="156" y="167"/>
                      <a:pt x="156" y="167"/>
                      <a:pt x="155" y="166"/>
                    </a:cubicBezTo>
                    <a:cubicBezTo>
                      <a:pt x="154" y="165"/>
                      <a:pt x="151" y="166"/>
                      <a:pt x="150" y="165"/>
                    </a:cubicBezTo>
                    <a:cubicBezTo>
                      <a:pt x="149" y="165"/>
                      <a:pt x="147" y="163"/>
                      <a:pt x="146" y="162"/>
                    </a:cubicBezTo>
                    <a:cubicBezTo>
                      <a:pt x="144" y="160"/>
                      <a:pt x="143" y="158"/>
                      <a:pt x="143" y="155"/>
                    </a:cubicBezTo>
                    <a:cubicBezTo>
                      <a:pt x="142" y="152"/>
                      <a:pt x="143" y="150"/>
                      <a:pt x="143" y="148"/>
                    </a:cubicBezTo>
                    <a:cubicBezTo>
                      <a:pt x="143" y="144"/>
                      <a:pt x="143" y="143"/>
                      <a:pt x="141" y="140"/>
                    </a:cubicBezTo>
                    <a:cubicBezTo>
                      <a:pt x="139" y="138"/>
                      <a:pt x="138" y="136"/>
                      <a:pt x="137" y="133"/>
                    </a:cubicBezTo>
                    <a:cubicBezTo>
                      <a:pt x="136" y="132"/>
                      <a:pt x="135" y="131"/>
                      <a:pt x="134" y="129"/>
                    </a:cubicBezTo>
                    <a:cubicBezTo>
                      <a:pt x="131" y="126"/>
                      <a:pt x="131" y="120"/>
                      <a:pt x="132" y="116"/>
                    </a:cubicBezTo>
                    <a:cubicBezTo>
                      <a:pt x="132" y="113"/>
                      <a:pt x="135" y="111"/>
                      <a:pt x="135" y="109"/>
                    </a:cubicBezTo>
                    <a:cubicBezTo>
                      <a:pt x="135" y="107"/>
                      <a:pt x="135" y="105"/>
                      <a:pt x="135" y="104"/>
                    </a:cubicBezTo>
                    <a:cubicBezTo>
                      <a:pt x="135" y="102"/>
                      <a:pt x="136" y="97"/>
                      <a:pt x="133" y="97"/>
                    </a:cubicBezTo>
                    <a:cubicBezTo>
                      <a:pt x="135" y="91"/>
                      <a:pt x="138" y="86"/>
                      <a:pt x="144" y="83"/>
                    </a:cubicBezTo>
                    <a:cubicBezTo>
                      <a:pt x="147" y="82"/>
                      <a:pt x="155" y="79"/>
                      <a:pt x="157" y="84"/>
                    </a:cubicBezTo>
                    <a:cubicBezTo>
                      <a:pt x="157" y="86"/>
                      <a:pt x="157" y="88"/>
                      <a:pt x="157" y="90"/>
                    </a:cubicBezTo>
                    <a:cubicBezTo>
                      <a:pt x="157" y="92"/>
                      <a:pt x="158" y="93"/>
                      <a:pt x="157" y="95"/>
                    </a:cubicBezTo>
                    <a:cubicBezTo>
                      <a:pt x="157" y="95"/>
                      <a:pt x="157" y="95"/>
                      <a:pt x="156" y="96"/>
                    </a:cubicBezTo>
                    <a:cubicBezTo>
                      <a:pt x="156" y="96"/>
                      <a:pt x="155" y="96"/>
                      <a:pt x="155" y="96"/>
                    </a:cubicBezTo>
                    <a:cubicBezTo>
                      <a:pt x="153" y="101"/>
                      <a:pt x="158" y="105"/>
                      <a:pt x="162" y="106"/>
                    </a:cubicBezTo>
                    <a:cubicBezTo>
                      <a:pt x="164" y="108"/>
                      <a:pt x="166" y="108"/>
                      <a:pt x="168" y="110"/>
                    </a:cubicBezTo>
                    <a:cubicBezTo>
                      <a:pt x="170" y="112"/>
                      <a:pt x="172" y="113"/>
                      <a:pt x="173" y="115"/>
                    </a:cubicBezTo>
                    <a:cubicBezTo>
                      <a:pt x="176" y="116"/>
                      <a:pt x="177" y="116"/>
                      <a:pt x="177" y="119"/>
                    </a:cubicBezTo>
                    <a:cubicBezTo>
                      <a:pt x="177" y="123"/>
                      <a:pt x="176" y="127"/>
                      <a:pt x="175" y="131"/>
                    </a:cubicBezTo>
                    <a:cubicBezTo>
                      <a:pt x="175" y="132"/>
                      <a:pt x="175" y="135"/>
                      <a:pt x="175" y="137"/>
                    </a:cubicBezTo>
                    <a:cubicBezTo>
                      <a:pt x="176" y="138"/>
                      <a:pt x="177" y="138"/>
                      <a:pt x="178" y="138"/>
                    </a:cubicBezTo>
                    <a:cubicBezTo>
                      <a:pt x="183" y="139"/>
                      <a:pt x="189" y="140"/>
                      <a:pt x="194" y="140"/>
                    </a:cubicBezTo>
                    <a:cubicBezTo>
                      <a:pt x="194" y="136"/>
                      <a:pt x="194" y="134"/>
                      <a:pt x="190" y="133"/>
                    </a:cubicBezTo>
                    <a:cubicBezTo>
                      <a:pt x="187" y="132"/>
                      <a:pt x="186" y="132"/>
                      <a:pt x="184" y="128"/>
                    </a:cubicBezTo>
                    <a:cubicBezTo>
                      <a:pt x="183" y="125"/>
                      <a:pt x="180" y="121"/>
                      <a:pt x="180" y="118"/>
                    </a:cubicBezTo>
                    <a:cubicBezTo>
                      <a:pt x="181" y="114"/>
                      <a:pt x="183" y="116"/>
                      <a:pt x="186" y="116"/>
                    </a:cubicBezTo>
                    <a:cubicBezTo>
                      <a:pt x="187" y="117"/>
                      <a:pt x="188" y="116"/>
                      <a:pt x="190" y="117"/>
                    </a:cubicBezTo>
                    <a:cubicBezTo>
                      <a:pt x="191" y="117"/>
                      <a:pt x="192" y="119"/>
                      <a:pt x="193" y="119"/>
                    </a:cubicBezTo>
                    <a:cubicBezTo>
                      <a:pt x="195" y="121"/>
                      <a:pt x="195" y="123"/>
                      <a:pt x="196" y="124"/>
                    </a:cubicBezTo>
                    <a:cubicBezTo>
                      <a:pt x="196" y="125"/>
                      <a:pt x="197" y="126"/>
                      <a:pt x="198" y="127"/>
                    </a:cubicBezTo>
                    <a:cubicBezTo>
                      <a:pt x="200" y="130"/>
                      <a:pt x="201" y="136"/>
                      <a:pt x="204" y="137"/>
                    </a:cubicBezTo>
                    <a:cubicBezTo>
                      <a:pt x="206" y="138"/>
                      <a:pt x="212" y="137"/>
                      <a:pt x="214" y="137"/>
                    </a:cubicBezTo>
                    <a:cubicBezTo>
                      <a:pt x="215" y="136"/>
                      <a:pt x="215" y="135"/>
                      <a:pt x="214" y="134"/>
                    </a:cubicBezTo>
                    <a:cubicBezTo>
                      <a:pt x="214" y="131"/>
                      <a:pt x="214" y="132"/>
                      <a:pt x="212" y="130"/>
                    </a:cubicBezTo>
                    <a:cubicBezTo>
                      <a:pt x="210" y="128"/>
                      <a:pt x="208" y="126"/>
                      <a:pt x="205" y="123"/>
                    </a:cubicBezTo>
                    <a:cubicBezTo>
                      <a:pt x="202" y="121"/>
                      <a:pt x="194" y="118"/>
                      <a:pt x="196" y="113"/>
                    </a:cubicBezTo>
                    <a:cubicBezTo>
                      <a:pt x="199" y="107"/>
                      <a:pt x="203" y="108"/>
                      <a:pt x="208" y="110"/>
                    </a:cubicBezTo>
                    <a:cubicBezTo>
                      <a:pt x="211" y="111"/>
                      <a:pt x="214" y="111"/>
                      <a:pt x="217" y="112"/>
                    </a:cubicBezTo>
                    <a:cubicBezTo>
                      <a:pt x="219" y="112"/>
                      <a:pt x="220" y="113"/>
                      <a:pt x="221" y="114"/>
                    </a:cubicBezTo>
                    <a:cubicBezTo>
                      <a:pt x="222" y="114"/>
                      <a:pt x="222" y="115"/>
                      <a:pt x="223" y="116"/>
                    </a:cubicBezTo>
                    <a:cubicBezTo>
                      <a:pt x="225" y="117"/>
                      <a:pt x="227" y="119"/>
                      <a:pt x="228" y="121"/>
                    </a:cubicBezTo>
                    <a:cubicBezTo>
                      <a:pt x="229" y="122"/>
                      <a:pt x="230" y="125"/>
                      <a:pt x="232" y="125"/>
                    </a:cubicBezTo>
                    <a:cubicBezTo>
                      <a:pt x="232" y="126"/>
                      <a:pt x="238" y="126"/>
                      <a:pt x="238" y="125"/>
                    </a:cubicBezTo>
                    <a:cubicBezTo>
                      <a:pt x="239" y="124"/>
                      <a:pt x="239" y="123"/>
                      <a:pt x="239" y="122"/>
                    </a:cubicBezTo>
                    <a:cubicBezTo>
                      <a:pt x="238" y="122"/>
                      <a:pt x="238" y="121"/>
                      <a:pt x="238" y="121"/>
                    </a:cubicBezTo>
                    <a:cubicBezTo>
                      <a:pt x="237" y="120"/>
                      <a:pt x="237" y="119"/>
                      <a:pt x="237" y="119"/>
                    </a:cubicBezTo>
                    <a:cubicBezTo>
                      <a:pt x="235" y="116"/>
                      <a:pt x="231" y="115"/>
                      <a:pt x="229" y="113"/>
                    </a:cubicBezTo>
                    <a:cubicBezTo>
                      <a:pt x="226" y="109"/>
                      <a:pt x="223" y="107"/>
                      <a:pt x="218" y="106"/>
                    </a:cubicBezTo>
                    <a:cubicBezTo>
                      <a:pt x="215" y="105"/>
                      <a:pt x="212" y="105"/>
                      <a:pt x="210" y="104"/>
                    </a:cubicBezTo>
                    <a:cubicBezTo>
                      <a:pt x="208" y="104"/>
                      <a:pt x="208" y="103"/>
                      <a:pt x="206" y="103"/>
                    </a:cubicBezTo>
                    <a:cubicBezTo>
                      <a:pt x="205" y="101"/>
                      <a:pt x="206" y="100"/>
                      <a:pt x="207" y="98"/>
                    </a:cubicBezTo>
                    <a:cubicBezTo>
                      <a:pt x="207" y="97"/>
                      <a:pt x="207" y="96"/>
                      <a:pt x="207" y="96"/>
                    </a:cubicBezTo>
                    <a:cubicBezTo>
                      <a:pt x="207" y="94"/>
                      <a:pt x="208" y="93"/>
                      <a:pt x="210" y="92"/>
                    </a:cubicBezTo>
                    <a:cubicBezTo>
                      <a:pt x="207" y="91"/>
                      <a:pt x="208" y="88"/>
                      <a:pt x="207" y="86"/>
                    </a:cubicBezTo>
                    <a:cubicBezTo>
                      <a:pt x="205" y="84"/>
                      <a:pt x="204" y="84"/>
                      <a:pt x="202" y="83"/>
                    </a:cubicBezTo>
                    <a:cubicBezTo>
                      <a:pt x="198" y="80"/>
                      <a:pt x="203" y="75"/>
                      <a:pt x="204" y="72"/>
                    </a:cubicBezTo>
                    <a:cubicBezTo>
                      <a:pt x="205" y="70"/>
                      <a:pt x="207" y="67"/>
                      <a:pt x="209" y="68"/>
                    </a:cubicBezTo>
                    <a:cubicBezTo>
                      <a:pt x="212" y="68"/>
                      <a:pt x="212" y="70"/>
                      <a:pt x="212" y="72"/>
                    </a:cubicBezTo>
                    <a:cubicBezTo>
                      <a:pt x="213" y="75"/>
                      <a:pt x="213" y="75"/>
                      <a:pt x="217" y="76"/>
                    </a:cubicBezTo>
                    <a:cubicBezTo>
                      <a:pt x="219" y="76"/>
                      <a:pt x="220" y="76"/>
                      <a:pt x="223" y="76"/>
                    </a:cubicBezTo>
                    <a:cubicBezTo>
                      <a:pt x="225" y="75"/>
                      <a:pt x="226" y="73"/>
                      <a:pt x="228" y="72"/>
                    </a:cubicBezTo>
                    <a:cubicBezTo>
                      <a:pt x="230" y="71"/>
                      <a:pt x="232" y="70"/>
                      <a:pt x="234" y="70"/>
                    </a:cubicBezTo>
                    <a:cubicBezTo>
                      <a:pt x="237" y="68"/>
                      <a:pt x="237" y="65"/>
                      <a:pt x="239" y="62"/>
                    </a:cubicBezTo>
                    <a:cubicBezTo>
                      <a:pt x="240" y="60"/>
                      <a:pt x="241" y="59"/>
                      <a:pt x="243" y="59"/>
                    </a:cubicBezTo>
                    <a:cubicBezTo>
                      <a:pt x="245" y="59"/>
                      <a:pt x="247" y="60"/>
                      <a:pt x="249" y="61"/>
                    </a:cubicBezTo>
                    <a:cubicBezTo>
                      <a:pt x="250" y="61"/>
                      <a:pt x="251" y="61"/>
                      <a:pt x="252" y="61"/>
                    </a:cubicBezTo>
                    <a:cubicBezTo>
                      <a:pt x="255" y="61"/>
                      <a:pt x="257" y="63"/>
                      <a:pt x="259" y="63"/>
                    </a:cubicBezTo>
                    <a:cubicBezTo>
                      <a:pt x="262" y="64"/>
                      <a:pt x="267" y="63"/>
                      <a:pt x="269" y="61"/>
                    </a:cubicBezTo>
                    <a:cubicBezTo>
                      <a:pt x="271" y="59"/>
                      <a:pt x="272" y="54"/>
                      <a:pt x="275" y="53"/>
                    </a:cubicBezTo>
                    <a:cubicBezTo>
                      <a:pt x="280" y="52"/>
                      <a:pt x="279" y="56"/>
                      <a:pt x="279" y="59"/>
                    </a:cubicBezTo>
                    <a:cubicBezTo>
                      <a:pt x="278" y="62"/>
                      <a:pt x="279" y="62"/>
                      <a:pt x="282" y="63"/>
                    </a:cubicBezTo>
                    <a:cubicBezTo>
                      <a:pt x="283" y="63"/>
                      <a:pt x="284" y="65"/>
                      <a:pt x="285" y="66"/>
                    </a:cubicBezTo>
                    <a:cubicBezTo>
                      <a:pt x="288" y="68"/>
                      <a:pt x="293" y="70"/>
                      <a:pt x="297" y="70"/>
                    </a:cubicBezTo>
                    <a:cubicBezTo>
                      <a:pt x="303" y="70"/>
                      <a:pt x="309" y="70"/>
                      <a:pt x="315" y="70"/>
                    </a:cubicBezTo>
                    <a:cubicBezTo>
                      <a:pt x="317" y="70"/>
                      <a:pt x="318" y="70"/>
                      <a:pt x="320" y="71"/>
                    </a:cubicBezTo>
                    <a:cubicBezTo>
                      <a:pt x="323" y="72"/>
                      <a:pt x="326" y="73"/>
                      <a:pt x="328" y="74"/>
                    </a:cubicBezTo>
                    <a:cubicBezTo>
                      <a:pt x="329" y="75"/>
                      <a:pt x="333" y="79"/>
                      <a:pt x="333" y="79"/>
                    </a:cubicBezTo>
                    <a:cubicBezTo>
                      <a:pt x="335" y="79"/>
                      <a:pt x="335" y="77"/>
                      <a:pt x="336" y="75"/>
                    </a:cubicBezTo>
                    <a:cubicBezTo>
                      <a:pt x="338" y="72"/>
                      <a:pt x="339" y="69"/>
                      <a:pt x="342" y="67"/>
                    </a:cubicBezTo>
                    <a:cubicBezTo>
                      <a:pt x="344" y="65"/>
                      <a:pt x="348" y="63"/>
                      <a:pt x="349" y="61"/>
                    </a:cubicBezTo>
                    <a:cubicBezTo>
                      <a:pt x="350" y="59"/>
                      <a:pt x="350" y="59"/>
                      <a:pt x="350" y="57"/>
                    </a:cubicBezTo>
                    <a:cubicBezTo>
                      <a:pt x="350" y="53"/>
                      <a:pt x="351" y="50"/>
                      <a:pt x="351" y="46"/>
                    </a:cubicBezTo>
                    <a:cubicBezTo>
                      <a:pt x="351" y="42"/>
                      <a:pt x="351" y="37"/>
                      <a:pt x="355" y="35"/>
                    </a:cubicBezTo>
                    <a:cubicBezTo>
                      <a:pt x="357" y="33"/>
                      <a:pt x="362" y="35"/>
                      <a:pt x="364" y="33"/>
                    </a:cubicBezTo>
                    <a:cubicBezTo>
                      <a:pt x="368" y="31"/>
                      <a:pt x="366" y="26"/>
                      <a:pt x="366" y="22"/>
                    </a:cubicBezTo>
                    <a:cubicBezTo>
                      <a:pt x="365" y="18"/>
                      <a:pt x="365" y="15"/>
                      <a:pt x="365" y="10"/>
                    </a:cubicBezTo>
                    <a:cubicBezTo>
                      <a:pt x="365" y="6"/>
                      <a:pt x="362" y="7"/>
                      <a:pt x="359" y="6"/>
                    </a:cubicBezTo>
                    <a:cubicBezTo>
                      <a:pt x="357" y="5"/>
                      <a:pt x="356" y="3"/>
                      <a:pt x="354" y="2"/>
                    </a:cubicBezTo>
                    <a:cubicBezTo>
                      <a:pt x="354" y="3"/>
                      <a:pt x="354" y="4"/>
                      <a:pt x="354" y="5"/>
                    </a:cubicBezTo>
                    <a:cubicBezTo>
                      <a:pt x="351" y="5"/>
                      <a:pt x="348" y="3"/>
                      <a:pt x="346" y="3"/>
                    </a:cubicBezTo>
                    <a:cubicBezTo>
                      <a:pt x="344" y="2"/>
                      <a:pt x="342" y="0"/>
                      <a:pt x="340" y="0"/>
                    </a:cubicBezTo>
                    <a:cubicBezTo>
                      <a:pt x="336" y="0"/>
                      <a:pt x="333" y="2"/>
                      <a:pt x="334" y="6"/>
                    </a:cubicBezTo>
                    <a:cubicBezTo>
                      <a:pt x="335" y="9"/>
                      <a:pt x="338" y="10"/>
                      <a:pt x="338" y="13"/>
                    </a:cubicBezTo>
                    <a:cubicBezTo>
                      <a:pt x="338" y="15"/>
                      <a:pt x="339" y="16"/>
                      <a:pt x="338" y="18"/>
                    </a:cubicBezTo>
                    <a:cubicBezTo>
                      <a:pt x="338" y="19"/>
                      <a:pt x="337" y="19"/>
                      <a:pt x="337" y="21"/>
                    </a:cubicBezTo>
                    <a:cubicBezTo>
                      <a:pt x="337" y="21"/>
                      <a:pt x="337" y="22"/>
                      <a:pt x="337" y="22"/>
                    </a:cubicBezTo>
                    <a:cubicBezTo>
                      <a:pt x="337" y="25"/>
                      <a:pt x="338" y="28"/>
                      <a:pt x="336" y="30"/>
                    </a:cubicBezTo>
                    <a:cubicBezTo>
                      <a:pt x="335" y="30"/>
                      <a:pt x="334" y="30"/>
                      <a:pt x="333" y="31"/>
                    </a:cubicBezTo>
                    <a:cubicBezTo>
                      <a:pt x="332" y="31"/>
                      <a:pt x="331" y="32"/>
                      <a:pt x="330" y="33"/>
                    </a:cubicBezTo>
                    <a:cubicBezTo>
                      <a:pt x="329" y="33"/>
                      <a:pt x="327" y="34"/>
                      <a:pt x="326" y="34"/>
                    </a:cubicBezTo>
                    <a:cubicBezTo>
                      <a:pt x="323" y="35"/>
                      <a:pt x="322" y="34"/>
                      <a:pt x="320" y="33"/>
                    </a:cubicBezTo>
                    <a:cubicBezTo>
                      <a:pt x="319" y="33"/>
                      <a:pt x="318" y="32"/>
                      <a:pt x="317" y="32"/>
                    </a:cubicBezTo>
                    <a:cubicBezTo>
                      <a:pt x="316" y="32"/>
                      <a:pt x="316" y="32"/>
                      <a:pt x="315" y="33"/>
                    </a:cubicBezTo>
                    <a:cubicBezTo>
                      <a:pt x="312" y="34"/>
                      <a:pt x="310" y="30"/>
                      <a:pt x="307" y="31"/>
                    </a:cubicBezTo>
                    <a:cubicBezTo>
                      <a:pt x="309" y="32"/>
                      <a:pt x="309" y="34"/>
                      <a:pt x="309" y="36"/>
                    </a:cubicBezTo>
                    <a:cubicBezTo>
                      <a:pt x="304" y="36"/>
                      <a:pt x="298" y="37"/>
                      <a:pt x="293" y="37"/>
                    </a:cubicBezTo>
                    <a:cubicBezTo>
                      <a:pt x="291" y="37"/>
                      <a:pt x="289" y="37"/>
                      <a:pt x="287" y="37"/>
                    </a:cubicBezTo>
                    <a:cubicBezTo>
                      <a:pt x="287" y="37"/>
                      <a:pt x="286" y="37"/>
                      <a:pt x="286" y="36"/>
                    </a:cubicBezTo>
                    <a:cubicBezTo>
                      <a:pt x="285" y="36"/>
                      <a:pt x="284" y="37"/>
                      <a:pt x="283" y="36"/>
                    </a:cubicBezTo>
                    <a:cubicBezTo>
                      <a:pt x="282" y="36"/>
                      <a:pt x="281" y="34"/>
                      <a:pt x="279" y="33"/>
                    </a:cubicBezTo>
                    <a:cubicBezTo>
                      <a:pt x="279" y="33"/>
                      <a:pt x="278" y="32"/>
                      <a:pt x="277" y="32"/>
                    </a:cubicBezTo>
                    <a:cubicBezTo>
                      <a:pt x="275" y="32"/>
                      <a:pt x="274" y="33"/>
                      <a:pt x="273" y="31"/>
                    </a:cubicBezTo>
                    <a:cubicBezTo>
                      <a:pt x="272" y="31"/>
                      <a:pt x="271" y="31"/>
                      <a:pt x="270" y="30"/>
                    </a:cubicBezTo>
                    <a:cubicBezTo>
                      <a:pt x="269" y="30"/>
                      <a:pt x="269" y="29"/>
                      <a:pt x="268" y="28"/>
                    </a:cubicBezTo>
                    <a:cubicBezTo>
                      <a:pt x="266" y="28"/>
                      <a:pt x="264" y="29"/>
                      <a:pt x="262" y="29"/>
                    </a:cubicBezTo>
                    <a:cubicBezTo>
                      <a:pt x="261" y="30"/>
                      <a:pt x="261" y="31"/>
                      <a:pt x="260" y="30"/>
                    </a:cubicBezTo>
                    <a:cubicBezTo>
                      <a:pt x="259" y="29"/>
                      <a:pt x="259" y="27"/>
                      <a:pt x="258" y="27"/>
                    </a:cubicBezTo>
                    <a:cubicBezTo>
                      <a:pt x="257" y="26"/>
                      <a:pt x="257" y="26"/>
                      <a:pt x="257" y="26"/>
                    </a:cubicBezTo>
                    <a:cubicBezTo>
                      <a:pt x="256" y="25"/>
                      <a:pt x="255" y="24"/>
                      <a:pt x="255" y="23"/>
                    </a:cubicBezTo>
                    <a:cubicBezTo>
                      <a:pt x="253" y="21"/>
                      <a:pt x="251" y="21"/>
                      <a:pt x="249" y="20"/>
                    </a:cubicBezTo>
                    <a:cubicBezTo>
                      <a:pt x="248" y="20"/>
                      <a:pt x="247" y="19"/>
                      <a:pt x="247" y="18"/>
                    </a:cubicBezTo>
                    <a:cubicBezTo>
                      <a:pt x="247" y="18"/>
                      <a:pt x="246" y="17"/>
                      <a:pt x="246" y="17"/>
                    </a:cubicBezTo>
                    <a:cubicBezTo>
                      <a:pt x="245" y="16"/>
                      <a:pt x="246" y="13"/>
                      <a:pt x="245" y="12"/>
                    </a:cubicBezTo>
                    <a:cubicBezTo>
                      <a:pt x="244" y="11"/>
                      <a:pt x="242" y="12"/>
                      <a:pt x="241" y="13"/>
                    </a:cubicBezTo>
                    <a:cubicBezTo>
                      <a:pt x="241" y="11"/>
                      <a:pt x="240" y="13"/>
                      <a:pt x="239" y="13"/>
                    </a:cubicBezTo>
                    <a:cubicBezTo>
                      <a:pt x="237" y="13"/>
                      <a:pt x="238" y="11"/>
                      <a:pt x="236" y="11"/>
                    </a:cubicBezTo>
                    <a:cubicBezTo>
                      <a:pt x="236" y="12"/>
                      <a:pt x="235" y="11"/>
                      <a:pt x="235" y="12"/>
                    </a:cubicBezTo>
                    <a:cubicBezTo>
                      <a:pt x="234" y="12"/>
                      <a:pt x="234" y="13"/>
                      <a:pt x="234" y="13"/>
                    </a:cubicBezTo>
                    <a:cubicBezTo>
                      <a:pt x="232" y="14"/>
                      <a:pt x="231" y="13"/>
                      <a:pt x="229" y="13"/>
                    </a:cubicBezTo>
                    <a:cubicBezTo>
                      <a:pt x="228" y="13"/>
                      <a:pt x="226" y="13"/>
                      <a:pt x="225" y="13"/>
                    </a:cubicBezTo>
                    <a:cubicBezTo>
                      <a:pt x="224" y="13"/>
                      <a:pt x="223" y="12"/>
                      <a:pt x="222" y="11"/>
                    </a:cubicBezTo>
                    <a:cubicBezTo>
                      <a:pt x="219" y="10"/>
                      <a:pt x="220" y="14"/>
                      <a:pt x="220" y="15"/>
                    </a:cubicBezTo>
                    <a:cubicBezTo>
                      <a:pt x="219" y="18"/>
                      <a:pt x="216" y="19"/>
                      <a:pt x="214" y="17"/>
                    </a:cubicBezTo>
                    <a:cubicBezTo>
                      <a:pt x="213" y="18"/>
                      <a:pt x="212" y="19"/>
                      <a:pt x="211" y="19"/>
                    </a:cubicBezTo>
                    <a:cubicBezTo>
                      <a:pt x="211" y="19"/>
                      <a:pt x="210" y="19"/>
                      <a:pt x="209" y="19"/>
                    </a:cubicBezTo>
                    <a:cubicBezTo>
                      <a:pt x="208" y="19"/>
                      <a:pt x="208" y="20"/>
                      <a:pt x="207" y="21"/>
                    </a:cubicBezTo>
                    <a:cubicBezTo>
                      <a:pt x="206" y="22"/>
                      <a:pt x="203" y="23"/>
                      <a:pt x="201" y="23"/>
                    </a:cubicBezTo>
                    <a:cubicBezTo>
                      <a:pt x="199" y="24"/>
                      <a:pt x="197" y="23"/>
                      <a:pt x="195" y="24"/>
                    </a:cubicBezTo>
                    <a:cubicBezTo>
                      <a:pt x="194" y="24"/>
                      <a:pt x="193" y="24"/>
                      <a:pt x="191" y="24"/>
                    </a:cubicBezTo>
                    <a:cubicBezTo>
                      <a:pt x="190" y="24"/>
                      <a:pt x="189" y="23"/>
                      <a:pt x="188" y="23"/>
                    </a:cubicBezTo>
                    <a:cubicBezTo>
                      <a:pt x="186" y="22"/>
                      <a:pt x="182" y="24"/>
                      <a:pt x="180" y="25"/>
                    </a:cubicBezTo>
                    <a:cubicBezTo>
                      <a:pt x="177" y="26"/>
                      <a:pt x="175" y="26"/>
                      <a:pt x="172" y="26"/>
                    </a:cubicBezTo>
                    <a:cubicBezTo>
                      <a:pt x="170" y="26"/>
                      <a:pt x="168" y="26"/>
                      <a:pt x="167" y="26"/>
                    </a:cubicBezTo>
                    <a:cubicBezTo>
                      <a:pt x="165" y="26"/>
                      <a:pt x="164" y="27"/>
                      <a:pt x="163" y="26"/>
                    </a:cubicBezTo>
                    <a:cubicBezTo>
                      <a:pt x="162" y="25"/>
                      <a:pt x="162" y="24"/>
                      <a:pt x="161" y="24"/>
                    </a:cubicBezTo>
                    <a:cubicBezTo>
                      <a:pt x="160" y="23"/>
                      <a:pt x="159" y="22"/>
                      <a:pt x="158" y="21"/>
                    </a:cubicBezTo>
                    <a:cubicBezTo>
                      <a:pt x="158" y="21"/>
                      <a:pt x="158" y="21"/>
                      <a:pt x="158" y="21"/>
                    </a:cubicBezTo>
                    <a:cubicBezTo>
                      <a:pt x="158" y="21"/>
                      <a:pt x="157" y="21"/>
                      <a:pt x="157" y="21"/>
                    </a:cubicBezTo>
                    <a:cubicBezTo>
                      <a:pt x="157" y="22"/>
                      <a:pt x="156" y="22"/>
                      <a:pt x="155" y="22"/>
                    </a:cubicBezTo>
                    <a:cubicBezTo>
                      <a:pt x="154" y="23"/>
                      <a:pt x="154" y="23"/>
                      <a:pt x="153" y="24"/>
                    </a:cubicBezTo>
                    <a:cubicBezTo>
                      <a:pt x="152" y="24"/>
                      <a:pt x="151" y="26"/>
                      <a:pt x="150" y="26"/>
                    </a:cubicBezTo>
                    <a:cubicBezTo>
                      <a:pt x="149" y="26"/>
                      <a:pt x="147" y="25"/>
                      <a:pt x="147" y="27"/>
                    </a:cubicBezTo>
                    <a:cubicBezTo>
                      <a:pt x="146" y="27"/>
                      <a:pt x="147" y="29"/>
                      <a:pt x="147" y="29"/>
                    </a:cubicBezTo>
                    <a:cubicBezTo>
                      <a:pt x="146" y="30"/>
                      <a:pt x="146" y="30"/>
                      <a:pt x="146" y="30"/>
                    </a:cubicBezTo>
                    <a:cubicBezTo>
                      <a:pt x="146" y="31"/>
                      <a:pt x="146" y="31"/>
                      <a:pt x="146" y="32"/>
                    </a:cubicBezTo>
                    <a:cubicBezTo>
                      <a:pt x="145" y="34"/>
                      <a:pt x="145" y="35"/>
                      <a:pt x="145" y="37"/>
                    </a:cubicBezTo>
                    <a:cubicBezTo>
                      <a:pt x="145" y="38"/>
                      <a:pt x="145" y="39"/>
                      <a:pt x="144" y="40"/>
                    </a:cubicBezTo>
                    <a:cubicBezTo>
                      <a:pt x="143" y="40"/>
                      <a:pt x="143" y="38"/>
                      <a:pt x="142" y="37"/>
                    </a:cubicBezTo>
                    <a:cubicBezTo>
                      <a:pt x="141" y="37"/>
                      <a:pt x="138" y="39"/>
                      <a:pt x="138" y="40"/>
                    </a:cubicBezTo>
                    <a:cubicBezTo>
                      <a:pt x="137" y="40"/>
                      <a:pt x="136" y="40"/>
                      <a:pt x="135" y="40"/>
                    </a:cubicBezTo>
                    <a:cubicBezTo>
                      <a:pt x="133" y="40"/>
                      <a:pt x="132" y="39"/>
                      <a:pt x="131" y="39"/>
                    </a:cubicBezTo>
                    <a:cubicBezTo>
                      <a:pt x="129" y="39"/>
                      <a:pt x="127" y="39"/>
                      <a:pt x="125" y="39"/>
                    </a:cubicBezTo>
                    <a:cubicBezTo>
                      <a:pt x="125" y="39"/>
                      <a:pt x="124" y="39"/>
                      <a:pt x="124" y="39"/>
                    </a:cubicBezTo>
                    <a:cubicBezTo>
                      <a:pt x="123" y="39"/>
                      <a:pt x="123" y="39"/>
                      <a:pt x="122" y="39"/>
                    </a:cubicBezTo>
                    <a:cubicBezTo>
                      <a:pt x="121" y="38"/>
                      <a:pt x="119" y="38"/>
                      <a:pt x="118" y="37"/>
                    </a:cubicBezTo>
                    <a:cubicBezTo>
                      <a:pt x="117" y="37"/>
                      <a:pt x="116" y="37"/>
                      <a:pt x="115" y="38"/>
                    </a:cubicBezTo>
                    <a:cubicBezTo>
                      <a:pt x="115" y="38"/>
                      <a:pt x="114" y="39"/>
                      <a:pt x="113" y="39"/>
                    </a:cubicBezTo>
                    <a:cubicBezTo>
                      <a:pt x="112" y="39"/>
                      <a:pt x="110" y="38"/>
                      <a:pt x="109" y="38"/>
                    </a:cubicBezTo>
                    <a:cubicBezTo>
                      <a:pt x="108" y="37"/>
                      <a:pt x="107" y="37"/>
                      <a:pt x="107" y="37"/>
                    </a:cubicBezTo>
                    <a:cubicBezTo>
                      <a:pt x="105" y="37"/>
                      <a:pt x="103" y="39"/>
                      <a:pt x="102" y="41"/>
                    </a:cubicBezTo>
                    <a:cubicBezTo>
                      <a:pt x="101" y="42"/>
                      <a:pt x="100" y="43"/>
                      <a:pt x="99" y="44"/>
                    </a:cubicBezTo>
                    <a:cubicBezTo>
                      <a:pt x="98" y="46"/>
                      <a:pt x="95" y="47"/>
                      <a:pt x="94" y="49"/>
                    </a:cubicBezTo>
                    <a:cubicBezTo>
                      <a:pt x="93" y="50"/>
                      <a:pt x="93" y="51"/>
                      <a:pt x="93" y="52"/>
                    </a:cubicBezTo>
                    <a:cubicBezTo>
                      <a:pt x="92" y="52"/>
                      <a:pt x="91" y="54"/>
                      <a:pt x="90" y="54"/>
                    </a:cubicBezTo>
                    <a:cubicBezTo>
                      <a:pt x="89" y="55"/>
                      <a:pt x="87" y="56"/>
                      <a:pt x="86" y="56"/>
                    </a:cubicBezTo>
                    <a:cubicBezTo>
                      <a:pt x="85" y="56"/>
                      <a:pt x="83" y="56"/>
                      <a:pt x="82" y="56"/>
                    </a:cubicBezTo>
                    <a:cubicBezTo>
                      <a:pt x="81" y="57"/>
                      <a:pt x="80" y="56"/>
                      <a:pt x="79" y="56"/>
                    </a:cubicBezTo>
                    <a:cubicBezTo>
                      <a:pt x="79" y="56"/>
                      <a:pt x="78" y="56"/>
                      <a:pt x="78" y="56"/>
                    </a:cubicBezTo>
                    <a:cubicBezTo>
                      <a:pt x="77" y="57"/>
                      <a:pt x="78" y="57"/>
                      <a:pt x="77" y="58"/>
                    </a:cubicBezTo>
                    <a:cubicBezTo>
                      <a:pt x="77" y="58"/>
                      <a:pt x="76" y="58"/>
                      <a:pt x="75" y="58"/>
                    </a:cubicBezTo>
                    <a:cubicBezTo>
                      <a:pt x="73" y="58"/>
                      <a:pt x="72" y="57"/>
                      <a:pt x="70" y="57"/>
                    </a:cubicBezTo>
                    <a:cubicBezTo>
                      <a:pt x="68" y="57"/>
                      <a:pt x="67" y="57"/>
                      <a:pt x="65" y="57"/>
                    </a:cubicBezTo>
                    <a:cubicBezTo>
                      <a:pt x="64" y="57"/>
                      <a:pt x="62" y="57"/>
                      <a:pt x="60" y="57"/>
                    </a:cubicBezTo>
                    <a:cubicBezTo>
                      <a:pt x="59" y="58"/>
                      <a:pt x="57" y="59"/>
                      <a:pt x="56" y="60"/>
                    </a:cubicBezTo>
                    <a:cubicBezTo>
                      <a:pt x="54" y="60"/>
                      <a:pt x="52" y="61"/>
                      <a:pt x="51" y="62"/>
                    </a:cubicBezTo>
                    <a:cubicBezTo>
                      <a:pt x="49" y="64"/>
                      <a:pt x="47" y="66"/>
                      <a:pt x="45" y="67"/>
                    </a:cubicBezTo>
                    <a:cubicBezTo>
                      <a:pt x="46" y="69"/>
                      <a:pt x="49" y="71"/>
                      <a:pt x="50" y="73"/>
                    </a:cubicBezTo>
                    <a:cubicBezTo>
                      <a:pt x="51" y="74"/>
                      <a:pt x="53" y="79"/>
                      <a:pt x="52" y="81"/>
                    </a:cubicBezTo>
                    <a:cubicBezTo>
                      <a:pt x="51" y="81"/>
                      <a:pt x="50" y="82"/>
                      <a:pt x="50" y="82"/>
                    </a:cubicBezTo>
                    <a:cubicBezTo>
                      <a:pt x="48" y="83"/>
                      <a:pt x="48" y="83"/>
                      <a:pt x="48" y="85"/>
                    </a:cubicBezTo>
                    <a:cubicBezTo>
                      <a:pt x="47" y="87"/>
                      <a:pt x="48" y="89"/>
                      <a:pt x="46" y="90"/>
                    </a:cubicBezTo>
                    <a:cubicBezTo>
                      <a:pt x="45" y="90"/>
                      <a:pt x="43" y="90"/>
                      <a:pt x="42" y="90"/>
                    </a:cubicBezTo>
                    <a:cubicBezTo>
                      <a:pt x="42" y="90"/>
                      <a:pt x="41" y="90"/>
                      <a:pt x="41" y="90"/>
                    </a:cubicBezTo>
                    <a:cubicBezTo>
                      <a:pt x="41" y="91"/>
                      <a:pt x="40" y="91"/>
                      <a:pt x="40" y="91"/>
                    </a:cubicBezTo>
                    <a:cubicBezTo>
                      <a:pt x="39" y="92"/>
                      <a:pt x="38" y="91"/>
                      <a:pt x="37" y="91"/>
                    </a:cubicBezTo>
                    <a:cubicBezTo>
                      <a:pt x="36" y="92"/>
                      <a:pt x="36" y="93"/>
                      <a:pt x="35" y="94"/>
                    </a:cubicBezTo>
                    <a:cubicBezTo>
                      <a:pt x="34" y="96"/>
                      <a:pt x="33" y="98"/>
                      <a:pt x="33" y="100"/>
                    </a:cubicBezTo>
                    <a:cubicBezTo>
                      <a:pt x="33" y="102"/>
                      <a:pt x="33" y="103"/>
                      <a:pt x="32" y="105"/>
                    </a:cubicBezTo>
                    <a:cubicBezTo>
                      <a:pt x="31" y="106"/>
                      <a:pt x="31" y="107"/>
                      <a:pt x="31" y="108"/>
                    </a:cubicBezTo>
                    <a:cubicBezTo>
                      <a:pt x="30" y="109"/>
                      <a:pt x="29" y="110"/>
                      <a:pt x="29" y="112"/>
                    </a:cubicBezTo>
                    <a:cubicBezTo>
                      <a:pt x="28" y="112"/>
                      <a:pt x="29" y="113"/>
                      <a:pt x="29" y="113"/>
                    </a:cubicBezTo>
                    <a:cubicBezTo>
                      <a:pt x="29" y="115"/>
                      <a:pt x="28" y="115"/>
                      <a:pt x="28" y="116"/>
                    </a:cubicBezTo>
                    <a:cubicBezTo>
                      <a:pt x="27" y="117"/>
                      <a:pt x="27" y="118"/>
                      <a:pt x="27" y="119"/>
                    </a:cubicBezTo>
                    <a:cubicBezTo>
                      <a:pt x="27" y="119"/>
                      <a:pt x="26" y="121"/>
                      <a:pt x="26" y="121"/>
                    </a:cubicBezTo>
                    <a:cubicBezTo>
                      <a:pt x="25" y="121"/>
                      <a:pt x="23" y="120"/>
                      <a:pt x="22" y="120"/>
                    </a:cubicBezTo>
                    <a:cubicBezTo>
                      <a:pt x="20" y="120"/>
                      <a:pt x="19" y="120"/>
                      <a:pt x="18" y="121"/>
                    </a:cubicBezTo>
                    <a:cubicBezTo>
                      <a:pt x="16" y="122"/>
                      <a:pt x="14" y="123"/>
                      <a:pt x="13" y="125"/>
                    </a:cubicBezTo>
                    <a:cubicBezTo>
                      <a:pt x="12" y="126"/>
                      <a:pt x="12" y="126"/>
                      <a:pt x="11" y="127"/>
                    </a:cubicBezTo>
                    <a:cubicBezTo>
                      <a:pt x="11" y="128"/>
                      <a:pt x="11" y="128"/>
                      <a:pt x="10" y="129"/>
                    </a:cubicBezTo>
                    <a:cubicBezTo>
                      <a:pt x="10" y="129"/>
                      <a:pt x="9" y="131"/>
                      <a:pt x="9" y="132"/>
                    </a:cubicBezTo>
                    <a:cubicBezTo>
                      <a:pt x="9" y="133"/>
                      <a:pt x="10" y="133"/>
                      <a:pt x="10" y="134"/>
                    </a:cubicBezTo>
                    <a:cubicBezTo>
                      <a:pt x="11" y="135"/>
                      <a:pt x="11" y="136"/>
                      <a:pt x="11" y="137"/>
                    </a:cubicBezTo>
                    <a:cubicBezTo>
                      <a:pt x="12" y="138"/>
                      <a:pt x="13" y="139"/>
                      <a:pt x="12" y="140"/>
                    </a:cubicBezTo>
                    <a:cubicBezTo>
                      <a:pt x="12" y="141"/>
                      <a:pt x="11" y="141"/>
                      <a:pt x="11" y="142"/>
                    </a:cubicBezTo>
                    <a:cubicBezTo>
                      <a:pt x="10" y="142"/>
                      <a:pt x="10" y="142"/>
                      <a:pt x="10" y="142"/>
                    </a:cubicBezTo>
                    <a:cubicBezTo>
                      <a:pt x="9" y="143"/>
                      <a:pt x="9" y="143"/>
                      <a:pt x="9" y="143"/>
                    </a:cubicBezTo>
                    <a:cubicBezTo>
                      <a:pt x="8" y="143"/>
                      <a:pt x="8" y="143"/>
                      <a:pt x="8" y="143"/>
                    </a:cubicBezTo>
                    <a:cubicBezTo>
                      <a:pt x="7" y="144"/>
                      <a:pt x="7" y="145"/>
                      <a:pt x="7" y="147"/>
                    </a:cubicBezTo>
                    <a:cubicBezTo>
                      <a:pt x="6" y="148"/>
                      <a:pt x="5" y="150"/>
                      <a:pt x="4" y="150"/>
                    </a:cubicBezTo>
                    <a:cubicBezTo>
                      <a:pt x="4" y="151"/>
                      <a:pt x="3" y="151"/>
                      <a:pt x="3" y="151"/>
                    </a:cubicBezTo>
                    <a:cubicBezTo>
                      <a:pt x="2" y="152"/>
                      <a:pt x="2" y="152"/>
                      <a:pt x="2" y="153"/>
                    </a:cubicBezTo>
                    <a:cubicBezTo>
                      <a:pt x="1" y="153"/>
                      <a:pt x="0" y="153"/>
                      <a:pt x="0" y="153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28" name="Freeform 44">
                <a:extLst>
                  <a:ext uri="{FF2B5EF4-FFF2-40B4-BE49-F238E27FC236}">
                    <a16:creationId xmlns:a16="http://schemas.microsoft.com/office/drawing/2014/main" id="{267FC1BB-103B-4871-88E5-BECFE2FC7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188" y="6280150"/>
                <a:ext cx="52388" cy="61913"/>
              </a:xfrm>
              <a:custGeom>
                <a:avLst/>
                <a:gdLst/>
                <a:ahLst/>
                <a:cxnLst>
                  <a:cxn ang="0">
                    <a:pos x="23" y="23"/>
                  </a:cxn>
                  <a:cxn ang="0">
                    <a:pos x="17" y="16"/>
                  </a:cxn>
                  <a:cxn ang="0">
                    <a:pos x="17" y="8"/>
                  </a:cxn>
                  <a:cxn ang="0">
                    <a:pos x="12" y="3"/>
                  </a:cxn>
                  <a:cxn ang="0">
                    <a:pos x="12" y="12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2" y="27"/>
                  </a:cxn>
                  <a:cxn ang="0">
                    <a:pos x="6" y="22"/>
                  </a:cxn>
                  <a:cxn ang="0">
                    <a:pos x="8" y="28"/>
                  </a:cxn>
                  <a:cxn ang="0">
                    <a:pos x="13" y="31"/>
                  </a:cxn>
                  <a:cxn ang="0">
                    <a:pos x="26" y="32"/>
                  </a:cxn>
                  <a:cxn ang="0">
                    <a:pos x="25" y="23"/>
                  </a:cxn>
                  <a:cxn ang="0">
                    <a:pos x="23" y="23"/>
                  </a:cxn>
                </a:cxnLst>
                <a:rect l="0" t="0" r="r" b="b"/>
                <a:pathLst>
                  <a:path w="28" h="33">
                    <a:moveTo>
                      <a:pt x="23" y="23"/>
                    </a:moveTo>
                    <a:cubicBezTo>
                      <a:pt x="20" y="23"/>
                      <a:pt x="18" y="18"/>
                      <a:pt x="17" y="16"/>
                    </a:cubicBezTo>
                    <a:cubicBezTo>
                      <a:pt x="17" y="13"/>
                      <a:pt x="17" y="10"/>
                      <a:pt x="17" y="8"/>
                    </a:cubicBezTo>
                    <a:cubicBezTo>
                      <a:pt x="17" y="6"/>
                      <a:pt x="15" y="0"/>
                      <a:pt x="12" y="3"/>
                    </a:cubicBezTo>
                    <a:cubicBezTo>
                      <a:pt x="10" y="5"/>
                      <a:pt x="13" y="9"/>
                      <a:pt x="12" y="12"/>
                    </a:cubicBezTo>
                    <a:cubicBezTo>
                      <a:pt x="11" y="13"/>
                      <a:pt x="9" y="14"/>
                      <a:pt x="7" y="14"/>
                    </a:cubicBezTo>
                    <a:cubicBezTo>
                      <a:pt x="4" y="15"/>
                      <a:pt x="3" y="16"/>
                      <a:pt x="2" y="20"/>
                    </a:cubicBezTo>
                    <a:cubicBezTo>
                      <a:pt x="1" y="22"/>
                      <a:pt x="0" y="27"/>
                      <a:pt x="2" y="27"/>
                    </a:cubicBezTo>
                    <a:cubicBezTo>
                      <a:pt x="5" y="27"/>
                      <a:pt x="6" y="24"/>
                      <a:pt x="6" y="22"/>
                    </a:cubicBezTo>
                    <a:cubicBezTo>
                      <a:pt x="7" y="24"/>
                      <a:pt x="7" y="27"/>
                      <a:pt x="8" y="28"/>
                    </a:cubicBezTo>
                    <a:cubicBezTo>
                      <a:pt x="9" y="30"/>
                      <a:pt x="11" y="30"/>
                      <a:pt x="13" y="31"/>
                    </a:cubicBezTo>
                    <a:cubicBezTo>
                      <a:pt x="17" y="32"/>
                      <a:pt x="22" y="33"/>
                      <a:pt x="26" y="32"/>
                    </a:cubicBezTo>
                    <a:cubicBezTo>
                      <a:pt x="27" y="30"/>
                      <a:pt x="28" y="24"/>
                      <a:pt x="25" y="23"/>
                    </a:cubicBezTo>
                    <a:lnTo>
                      <a:pt x="23" y="2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29" name="Freeform 45">
                <a:extLst>
                  <a:ext uri="{FF2B5EF4-FFF2-40B4-BE49-F238E27FC236}">
                    <a16:creationId xmlns:a16="http://schemas.microsoft.com/office/drawing/2014/main" id="{79672114-8C93-47B6-B8AF-9A97EE0F9F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5763" y="6359525"/>
                <a:ext cx="38100" cy="42863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3" y="2"/>
                  </a:cxn>
                  <a:cxn ang="0">
                    <a:pos x="1" y="11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3" y="23"/>
                  </a:cxn>
                  <a:cxn ang="0">
                    <a:pos x="14" y="20"/>
                  </a:cxn>
                  <a:cxn ang="0">
                    <a:pos x="19" y="20"/>
                  </a:cxn>
                  <a:cxn ang="0">
                    <a:pos x="12" y="8"/>
                  </a:cxn>
                  <a:cxn ang="0">
                    <a:pos x="10" y="7"/>
                  </a:cxn>
                </a:cxnLst>
                <a:rect l="0" t="0" r="r" b="b"/>
                <a:pathLst>
                  <a:path w="21" h="23">
                    <a:moveTo>
                      <a:pt x="10" y="7"/>
                    </a:moveTo>
                    <a:cubicBezTo>
                      <a:pt x="8" y="5"/>
                      <a:pt x="6" y="0"/>
                      <a:pt x="3" y="2"/>
                    </a:cubicBezTo>
                    <a:cubicBezTo>
                      <a:pt x="0" y="3"/>
                      <a:pt x="1" y="9"/>
                      <a:pt x="1" y="11"/>
                    </a:cubicBezTo>
                    <a:cubicBezTo>
                      <a:pt x="2" y="13"/>
                      <a:pt x="3" y="16"/>
                      <a:pt x="4" y="18"/>
                    </a:cubicBezTo>
                    <a:cubicBezTo>
                      <a:pt x="5" y="21"/>
                      <a:pt x="5" y="21"/>
                      <a:pt x="8" y="22"/>
                    </a:cubicBezTo>
                    <a:cubicBezTo>
                      <a:pt x="9" y="22"/>
                      <a:pt x="12" y="23"/>
                      <a:pt x="13" y="23"/>
                    </a:cubicBezTo>
                    <a:cubicBezTo>
                      <a:pt x="13" y="22"/>
                      <a:pt x="13" y="21"/>
                      <a:pt x="14" y="20"/>
                    </a:cubicBezTo>
                    <a:cubicBezTo>
                      <a:pt x="16" y="20"/>
                      <a:pt x="17" y="23"/>
                      <a:pt x="19" y="20"/>
                    </a:cubicBezTo>
                    <a:cubicBezTo>
                      <a:pt x="21" y="16"/>
                      <a:pt x="15" y="10"/>
                      <a:pt x="12" y="8"/>
                    </a:cubicBezTo>
                    <a:lnTo>
                      <a:pt x="10" y="7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30" name="Freeform 46">
                <a:extLst>
                  <a:ext uri="{FF2B5EF4-FFF2-40B4-BE49-F238E27FC236}">
                    <a16:creationId xmlns:a16="http://schemas.microsoft.com/office/drawing/2014/main" id="{020762B4-C568-4BDA-9FC2-68F860017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2325" y="6384925"/>
                <a:ext cx="31750" cy="39688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1" y="1"/>
                  </a:cxn>
                  <a:cxn ang="0">
                    <a:pos x="7" y="12"/>
                  </a:cxn>
                  <a:cxn ang="0">
                    <a:pos x="16" y="21"/>
                  </a:cxn>
                  <a:cxn ang="0">
                    <a:pos x="15" y="14"/>
                  </a:cxn>
                  <a:cxn ang="0">
                    <a:pos x="10" y="7"/>
                  </a:cxn>
                  <a:cxn ang="0">
                    <a:pos x="10" y="6"/>
                  </a:cxn>
                </a:cxnLst>
                <a:rect l="0" t="0" r="r" b="b"/>
                <a:pathLst>
                  <a:path w="17" h="21">
                    <a:moveTo>
                      <a:pt x="10" y="6"/>
                    </a:moveTo>
                    <a:cubicBezTo>
                      <a:pt x="11" y="3"/>
                      <a:pt x="5" y="0"/>
                      <a:pt x="1" y="1"/>
                    </a:cubicBezTo>
                    <a:cubicBezTo>
                      <a:pt x="0" y="5"/>
                      <a:pt x="4" y="9"/>
                      <a:pt x="7" y="12"/>
                    </a:cubicBezTo>
                    <a:cubicBezTo>
                      <a:pt x="9" y="15"/>
                      <a:pt x="13" y="20"/>
                      <a:pt x="16" y="21"/>
                    </a:cubicBezTo>
                    <a:cubicBezTo>
                      <a:pt x="17" y="19"/>
                      <a:pt x="16" y="16"/>
                      <a:pt x="15" y="14"/>
                    </a:cubicBezTo>
                    <a:cubicBezTo>
                      <a:pt x="14" y="13"/>
                      <a:pt x="12" y="8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31" name="Freeform 47">
                <a:extLst>
                  <a:ext uri="{FF2B5EF4-FFF2-40B4-BE49-F238E27FC236}">
                    <a16:creationId xmlns:a16="http://schemas.microsoft.com/office/drawing/2014/main" id="{402B6C17-5A29-441A-B784-CA8877F1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0425" y="6432550"/>
                <a:ext cx="31750" cy="15875"/>
              </a:xfrm>
              <a:custGeom>
                <a:avLst/>
                <a:gdLst/>
                <a:ahLst/>
                <a:cxnLst>
                  <a:cxn ang="0">
                    <a:pos x="10" y="3"/>
                  </a:cxn>
                  <a:cxn ang="0">
                    <a:pos x="1" y="1"/>
                  </a:cxn>
                  <a:cxn ang="0">
                    <a:pos x="11" y="8"/>
                  </a:cxn>
                  <a:cxn ang="0">
                    <a:pos x="7" y="1"/>
                  </a:cxn>
                  <a:cxn ang="0">
                    <a:pos x="10" y="3"/>
                  </a:cxn>
                </a:cxnLst>
                <a:rect l="0" t="0" r="r" b="b"/>
                <a:pathLst>
                  <a:path w="17" h="9">
                    <a:moveTo>
                      <a:pt x="10" y="3"/>
                    </a:moveTo>
                    <a:cubicBezTo>
                      <a:pt x="7" y="2"/>
                      <a:pt x="4" y="0"/>
                      <a:pt x="1" y="1"/>
                    </a:cubicBezTo>
                    <a:cubicBezTo>
                      <a:pt x="0" y="6"/>
                      <a:pt x="6" y="9"/>
                      <a:pt x="11" y="8"/>
                    </a:cubicBezTo>
                    <a:cubicBezTo>
                      <a:pt x="17" y="8"/>
                      <a:pt x="11" y="1"/>
                      <a:pt x="7" y="1"/>
                    </a:cubicBezTo>
                    <a:lnTo>
                      <a:pt x="10" y="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32" name="Freeform 48">
                <a:extLst>
                  <a:ext uri="{FF2B5EF4-FFF2-40B4-BE49-F238E27FC236}">
                    <a16:creationId xmlns:a16="http://schemas.microsoft.com/office/drawing/2014/main" id="{47792B5A-586F-46EC-95EA-14C6566851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4238" y="6497638"/>
                <a:ext cx="22225" cy="36513"/>
              </a:xfrm>
              <a:custGeom>
                <a:avLst/>
                <a:gdLst/>
                <a:ahLst/>
                <a:cxnLst>
                  <a:cxn ang="0">
                    <a:pos x="12" y="1"/>
                  </a:cxn>
                  <a:cxn ang="0">
                    <a:pos x="1" y="3"/>
                  </a:cxn>
                  <a:cxn ang="0">
                    <a:pos x="1" y="10"/>
                  </a:cxn>
                  <a:cxn ang="0">
                    <a:pos x="11" y="19"/>
                  </a:cxn>
                  <a:cxn ang="0">
                    <a:pos x="12" y="5"/>
                  </a:cxn>
                  <a:cxn ang="0">
                    <a:pos x="12" y="1"/>
                  </a:cxn>
                </a:cxnLst>
                <a:rect l="0" t="0" r="r" b="b"/>
                <a:pathLst>
                  <a:path w="12" h="20">
                    <a:moveTo>
                      <a:pt x="12" y="1"/>
                    </a:moveTo>
                    <a:cubicBezTo>
                      <a:pt x="8" y="1"/>
                      <a:pt x="3" y="0"/>
                      <a:pt x="1" y="3"/>
                    </a:cubicBezTo>
                    <a:cubicBezTo>
                      <a:pt x="0" y="5"/>
                      <a:pt x="0" y="8"/>
                      <a:pt x="1" y="10"/>
                    </a:cubicBezTo>
                    <a:cubicBezTo>
                      <a:pt x="2" y="13"/>
                      <a:pt x="7" y="20"/>
                      <a:pt x="11" y="19"/>
                    </a:cubicBezTo>
                    <a:cubicBezTo>
                      <a:pt x="12" y="14"/>
                      <a:pt x="12" y="10"/>
                      <a:pt x="12" y="5"/>
                    </a:cubicBezTo>
                    <a:lnTo>
                      <a:pt x="12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33" name="Freeform 49">
                <a:extLst>
                  <a:ext uri="{FF2B5EF4-FFF2-40B4-BE49-F238E27FC236}">
                    <a16:creationId xmlns:a16="http://schemas.microsoft.com/office/drawing/2014/main" id="{A8DFC2C4-405B-4031-8C2B-BD70D0BCF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9313" y="6503988"/>
                <a:ext cx="17463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0" y="11"/>
                  </a:cxn>
                  <a:cxn ang="0">
                    <a:pos x="8" y="14"/>
                  </a:cxn>
                  <a:cxn ang="0">
                    <a:pos x="9" y="4"/>
                  </a:cxn>
                  <a:cxn ang="0">
                    <a:pos x="10" y="0"/>
                  </a:cxn>
                </a:cxnLst>
                <a:rect l="0" t="0" r="r" b="b"/>
                <a:pathLst>
                  <a:path w="10" h="15">
                    <a:moveTo>
                      <a:pt x="10" y="0"/>
                    </a:moveTo>
                    <a:cubicBezTo>
                      <a:pt x="7" y="0"/>
                      <a:pt x="0" y="8"/>
                      <a:pt x="0" y="11"/>
                    </a:cubicBezTo>
                    <a:cubicBezTo>
                      <a:pt x="0" y="15"/>
                      <a:pt x="5" y="14"/>
                      <a:pt x="8" y="14"/>
                    </a:cubicBezTo>
                    <a:cubicBezTo>
                      <a:pt x="8" y="11"/>
                      <a:pt x="9" y="7"/>
                      <a:pt x="9" y="4"/>
                    </a:cubicBezTo>
                    <a:lnTo>
                      <a:pt x="1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34" name="Freeform 50">
                <a:extLst>
                  <a:ext uri="{FF2B5EF4-FFF2-40B4-BE49-F238E27FC236}">
                    <a16:creationId xmlns:a16="http://schemas.microsoft.com/office/drawing/2014/main" id="{971AB77D-6604-4102-A96F-B631DB9DB3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0875" y="6650038"/>
                <a:ext cx="273050" cy="58738"/>
              </a:xfrm>
              <a:custGeom>
                <a:avLst/>
                <a:gdLst/>
                <a:ahLst/>
                <a:cxnLst>
                  <a:cxn ang="0">
                    <a:pos x="116" y="7"/>
                  </a:cxn>
                  <a:cxn ang="0">
                    <a:pos x="95" y="5"/>
                  </a:cxn>
                  <a:cxn ang="0">
                    <a:pos x="67" y="4"/>
                  </a:cxn>
                  <a:cxn ang="0">
                    <a:pos x="57" y="3"/>
                  </a:cxn>
                  <a:cxn ang="0">
                    <a:pos x="37" y="1"/>
                  </a:cxn>
                  <a:cxn ang="0">
                    <a:pos x="22" y="0"/>
                  </a:cxn>
                  <a:cxn ang="0">
                    <a:pos x="5" y="3"/>
                  </a:cxn>
                  <a:cxn ang="0">
                    <a:pos x="1" y="8"/>
                  </a:cxn>
                  <a:cxn ang="0">
                    <a:pos x="13" y="13"/>
                  </a:cxn>
                  <a:cxn ang="0">
                    <a:pos x="41" y="15"/>
                  </a:cxn>
                  <a:cxn ang="0">
                    <a:pos x="57" y="16"/>
                  </a:cxn>
                  <a:cxn ang="0">
                    <a:pos x="65" y="19"/>
                  </a:cxn>
                  <a:cxn ang="0">
                    <a:pos x="68" y="25"/>
                  </a:cxn>
                  <a:cxn ang="0">
                    <a:pos x="71" y="30"/>
                  </a:cxn>
                  <a:cxn ang="0">
                    <a:pos x="76" y="31"/>
                  </a:cxn>
                  <a:cxn ang="0">
                    <a:pos x="93" y="28"/>
                  </a:cxn>
                  <a:cxn ang="0">
                    <a:pos x="127" y="27"/>
                  </a:cxn>
                  <a:cxn ang="0">
                    <a:pos x="142" y="25"/>
                  </a:cxn>
                  <a:cxn ang="0">
                    <a:pos x="146" y="22"/>
                  </a:cxn>
                  <a:cxn ang="0">
                    <a:pos x="139" y="15"/>
                  </a:cxn>
                  <a:cxn ang="0">
                    <a:pos x="123" y="8"/>
                  </a:cxn>
                  <a:cxn ang="0">
                    <a:pos x="116" y="7"/>
                  </a:cxn>
                </a:cxnLst>
                <a:rect l="0" t="0" r="r" b="b"/>
                <a:pathLst>
                  <a:path w="146" h="31">
                    <a:moveTo>
                      <a:pt x="116" y="7"/>
                    </a:moveTo>
                    <a:cubicBezTo>
                      <a:pt x="109" y="5"/>
                      <a:pt x="102" y="5"/>
                      <a:pt x="95" y="5"/>
                    </a:cubicBezTo>
                    <a:cubicBezTo>
                      <a:pt x="86" y="5"/>
                      <a:pt x="77" y="4"/>
                      <a:pt x="67" y="4"/>
                    </a:cubicBezTo>
                    <a:cubicBezTo>
                      <a:pt x="64" y="3"/>
                      <a:pt x="60" y="3"/>
                      <a:pt x="57" y="3"/>
                    </a:cubicBezTo>
                    <a:cubicBezTo>
                      <a:pt x="50" y="3"/>
                      <a:pt x="44" y="1"/>
                      <a:pt x="37" y="1"/>
                    </a:cubicBezTo>
                    <a:cubicBezTo>
                      <a:pt x="32" y="0"/>
                      <a:pt x="27" y="1"/>
                      <a:pt x="22" y="0"/>
                    </a:cubicBezTo>
                    <a:cubicBezTo>
                      <a:pt x="16" y="0"/>
                      <a:pt x="10" y="0"/>
                      <a:pt x="5" y="3"/>
                    </a:cubicBezTo>
                    <a:cubicBezTo>
                      <a:pt x="3" y="4"/>
                      <a:pt x="0" y="5"/>
                      <a:pt x="1" y="8"/>
                    </a:cubicBezTo>
                    <a:cubicBezTo>
                      <a:pt x="3" y="11"/>
                      <a:pt x="11" y="12"/>
                      <a:pt x="13" y="13"/>
                    </a:cubicBezTo>
                    <a:cubicBezTo>
                      <a:pt x="22" y="14"/>
                      <a:pt x="31" y="14"/>
                      <a:pt x="41" y="15"/>
                    </a:cubicBezTo>
                    <a:cubicBezTo>
                      <a:pt x="46" y="15"/>
                      <a:pt x="52" y="15"/>
                      <a:pt x="57" y="16"/>
                    </a:cubicBezTo>
                    <a:cubicBezTo>
                      <a:pt x="59" y="17"/>
                      <a:pt x="64" y="18"/>
                      <a:pt x="65" y="19"/>
                    </a:cubicBezTo>
                    <a:cubicBezTo>
                      <a:pt x="67" y="21"/>
                      <a:pt x="67" y="23"/>
                      <a:pt x="68" y="25"/>
                    </a:cubicBezTo>
                    <a:cubicBezTo>
                      <a:pt x="68" y="27"/>
                      <a:pt x="69" y="30"/>
                      <a:pt x="71" y="30"/>
                    </a:cubicBezTo>
                    <a:cubicBezTo>
                      <a:pt x="72" y="31"/>
                      <a:pt x="75" y="31"/>
                      <a:pt x="76" y="31"/>
                    </a:cubicBezTo>
                    <a:cubicBezTo>
                      <a:pt x="82" y="30"/>
                      <a:pt x="88" y="28"/>
                      <a:pt x="93" y="28"/>
                    </a:cubicBezTo>
                    <a:cubicBezTo>
                      <a:pt x="104" y="27"/>
                      <a:pt x="116" y="27"/>
                      <a:pt x="127" y="27"/>
                    </a:cubicBezTo>
                    <a:cubicBezTo>
                      <a:pt x="132" y="27"/>
                      <a:pt x="137" y="27"/>
                      <a:pt x="142" y="25"/>
                    </a:cubicBezTo>
                    <a:cubicBezTo>
                      <a:pt x="143" y="25"/>
                      <a:pt x="145" y="23"/>
                      <a:pt x="146" y="22"/>
                    </a:cubicBezTo>
                    <a:cubicBezTo>
                      <a:pt x="146" y="19"/>
                      <a:pt x="140" y="16"/>
                      <a:pt x="139" y="15"/>
                    </a:cubicBezTo>
                    <a:cubicBezTo>
                      <a:pt x="134" y="12"/>
                      <a:pt x="129" y="10"/>
                      <a:pt x="123" y="8"/>
                    </a:cubicBezTo>
                    <a:lnTo>
                      <a:pt x="116" y="7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35" name="Freeform 51">
                <a:extLst>
                  <a:ext uri="{FF2B5EF4-FFF2-40B4-BE49-F238E27FC236}">
                    <a16:creationId xmlns:a16="http://schemas.microsoft.com/office/drawing/2014/main" id="{C9A25D11-1EAC-4A17-9E8A-48B6E651CD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2975" y="6275388"/>
                <a:ext cx="39688" cy="76200"/>
              </a:xfrm>
              <a:custGeom>
                <a:avLst/>
                <a:gdLst/>
                <a:ahLst/>
                <a:cxnLst>
                  <a:cxn ang="0">
                    <a:pos x="17" y="12"/>
                  </a:cxn>
                  <a:cxn ang="0">
                    <a:pos x="1" y="5"/>
                  </a:cxn>
                  <a:cxn ang="0">
                    <a:pos x="0" y="10"/>
                  </a:cxn>
                  <a:cxn ang="0">
                    <a:pos x="2" y="17"/>
                  </a:cxn>
                  <a:cxn ang="0">
                    <a:pos x="7" y="22"/>
                  </a:cxn>
                  <a:cxn ang="0">
                    <a:pos x="4" y="25"/>
                  </a:cxn>
                  <a:cxn ang="0">
                    <a:pos x="1" y="31"/>
                  </a:cxn>
                  <a:cxn ang="0">
                    <a:pos x="8" y="36"/>
                  </a:cxn>
                  <a:cxn ang="0">
                    <a:pos x="13" y="41"/>
                  </a:cxn>
                  <a:cxn ang="0">
                    <a:pos x="15" y="34"/>
                  </a:cxn>
                  <a:cxn ang="0">
                    <a:pos x="19" y="25"/>
                  </a:cxn>
                  <a:cxn ang="0">
                    <a:pos x="16" y="13"/>
                  </a:cxn>
                  <a:cxn ang="0">
                    <a:pos x="17" y="12"/>
                  </a:cxn>
                </a:cxnLst>
                <a:rect l="0" t="0" r="r" b="b"/>
                <a:pathLst>
                  <a:path w="22" h="41">
                    <a:moveTo>
                      <a:pt x="17" y="12"/>
                    </a:moveTo>
                    <a:cubicBezTo>
                      <a:pt x="14" y="9"/>
                      <a:pt x="6" y="0"/>
                      <a:pt x="1" y="5"/>
                    </a:cubicBezTo>
                    <a:cubicBezTo>
                      <a:pt x="0" y="7"/>
                      <a:pt x="0" y="9"/>
                      <a:pt x="0" y="10"/>
                    </a:cubicBezTo>
                    <a:cubicBezTo>
                      <a:pt x="0" y="13"/>
                      <a:pt x="1" y="15"/>
                      <a:pt x="2" y="17"/>
                    </a:cubicBezTo>
                    <a:cubicBezTo>
                      <a:pt x="3" y="18"/>
                      <a:pt x="6" y="20"/>
                      <a:pt x="7" y="22"/>
                    </a:cubicBezTo>
                    <a:cubicBezTo>
                      <a:pt x="8" y="25"/>
                      <a:pt x="6" y="24"/>
                      <a:pt x="4" y="25"/>
                    </a:cubicBezTo>
                    <a:cubicBezTo>
                      <a:pt x="1" y="26"/>
                      <a:pt x="1" y="28"/>
                      <a:pt x="1" y="31"/>
                    </a:cubicBezTo>
                    <a:cubicBezTo>
                      <a:pt x="2" y="35"/>
                      <a:pt x="5" y="34"/>
                      <a:pt x="8" y="36"/>
                    </a:cubicBezTo>
                    <a:cubicBezTo>
                      <a:pt x="10" y="38"/>
                      <a:pt x="10" y="41"/>
                      <a:pt x="13" y="41"/>
                    </a:cubicBezTo>
                    <a:cubicBezTo>
                      <a:pt x="15" y="40"/>
                      <a:pt x="15" y="36"/>
                      <a:pt x="15" y="34"/>
                    </a:cubicBezTo>
                    <a:cubicBezTo>
                      <a:pt x="15" y="29"/>
                      <a:pt x="17" y="28"/>
                      <a:pt x="19" y="25"/>
                    </a:cubicBezTo>
                    <a:cubicBezTo>
                      <a:pt x="22" y="21"/>
                      <a:pt x="22" y="14"/>
                      <a:pt x="16" y="13"/>
                    </a:cubicBezTo>
                    <a:lnTo>
                      <a:pt x="17" y="1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36" name="Freeform 52">
                <a:extLst>
                  <a:ext uri="{FF2B5EF4-FFF2-40B4-BE49-F238E27FC236}">
                    <a16:creationId xmlns:a16="http://schemas.microsoft.com/office/drawing/2014/main" id="{1E7142BA-A6F3-4E65-9BCE-4E62B76463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2975" y="6175375"/>
                <a:ext cx="87313" cy="68263"/>
              </a:xfrm>
              <a:custGeom>
                <a:avLst/>
                <a:gdLst/>
                <a:ahLst/>
                <a:cxnLst>
                  <a:cxn ang="0">
                    <a:pos x="39" y="6"/>
                  </a:cxn>
                  <a:cxn ang="0">
                    <a:pos x="35" y="5"/>
                  </a:cxn>
                  <a:cxn ang="0">
                    <a:pos x="25" y="0"/>
                  </a:cxn>
                  <a:cxn ang="0">
                    <a:pos x="19" y="3"/>
                  </a:cxn>
                  <a:cxn ang="0">
                    <a:pos x="16" y="5"/>
                  </a:cxn>
                  <a:cxn ang="0">
                    <a:pos x="5" y="9"/>
                  </a:cxn>
                  <a:cxn ang="0">
                    <a:pos x="0" y="14"/>
                  </a:cxn>
                  <a:cxn ang="0">
                    <a:pos x="6" y="20"/>
                  </a:cxn>
                  <a:cxn ang="0">
                    <a:pos x="10" y="23"/>
                  </a:cxn>
                  <a:cxn ang="0">
                    <a:pos x="12" y="22"/>
                  </a:cxn>
                  <a:cxn ang="0">
                    <a:pos x="31" y="22"/>
                  </a:cxn>
                  <a:cxn ang="0">
                    <a:pos x="20" y="30"/>
                  </a:cxn>
                  <a:cxn ang="0">
                    <a:pos x="33" y="33"/>
                  </a:cxn>
                  <a:cxn ang="0">
                    <a:pos x="39" y="34"/>
                  </a:cxn>
                  <a:cxn ang="0">
                    <a:pos x="43" y="35"/>
                  </a:cxn>
                  <a:cxn ang="0">
                    <a:pos x="45" y="27"/>
                  </a:cxn>
                  <a:cxn ang="0">
                    <a:pos x="40" y="25"/>
                  </a:cxn>
                  <a:cxn ang="0">
                    <a:pos x="39" y="21"/>
                  </a:cxn>
                  <a:cxn ang="0">
                    <a:pos x="37" y="16"/>
                  </a:cxn>
                  <a:cxn ang="0">
                    <a:pos x="34" y="11"/>
                  </a:cxn>
                  <a:cxn ang="0">
                    <a:pos x="34" y="5"/>
                  </a:cxn>
                  <a:cxn ang="0">
                    <a:pos x="39" y="6"/>
                  </a:cxn>
                </a:cxnLst>
                <a:rect l="0" t="0" r="r" b="b"/>
                <a:pathLst>
                  <a:path w="47" h="36">
                    <a:moveTo>
                      <a:pt x="39" y="6"/>
                    </a:moveTo>
                    <a:cubicBezTo>
                      <a:pt x="38" y="6"/>
                      <a:pt x="37" y="6"/>
                      <a:pt x="35" y="5"/>
                    </a:cubicBezTo>
                    <a:cubicBezTo>
                      <a:pt x="32" y="2"/>
                      <a:pt x="29" y="1"/>
                      <a:pt x="25" y="0"/>
                    </a:cubicBezTo>
                    <a:cubicBezTo>
                      <a:pt x="22" y="0"/>
                      <a:pt x="21" y="1"/>
                      <a:pt x="19" y="3"/>
                    </a:cubicBezTo>
                    <a:cubicBezTo>
                      <a:pt x="18" y="4"/>
                      <a:pt x="17" y="5"/>
                      <a:pt x="16" y="5"/>
                    </a:cubicBezTo>
                    <a:cubicBezTo>
                      <a:pt x="13" y="8"/>
                      <a:pt x="8" y="9"/>
                      <a:pt x="5" y="9"/>
                    </a:cubicBezTo>
                    <a:cubicBezTo>
                      <a:pt x="1" y="10"/>
                      <a:pt x="0" y="10"/>
                      <a:pt x="0" y="14"/>
                    </a:cubicBezTo>
                    <a:cubicBezTo>
                      <a:pt x="0" y="18"/>
                      <a:pt x="2" y="19"/>
                      <a:pt x="6" y="20"/>
                    </a:cubicBezTo>
                    <a:cubicBezTo>
                      <a:pt x="7" y="21"/>
                      <a:pt x="8" y="23"/>
                      <a:pt x="10" y="23"/>
                    </a:cubicBezTo>
                    <a:cubicBezTo>
                      <a:pt x="11" y="23"/>
                      <a:pt x="11" y="23"/>
                      <a:pt x="12" y="22"/>
                    </a:cubicBezTo>
                    <a:cubicBezTo>
                      <a:pt x="17" y="19"/>
                      <a:pt x="27" y="16"/>
                      <a:pt x="31" y="22"/>
                    </a:cubicBezTo>
                    <a:cubicBezTo>
                      <a:pt x="26" y="24"/>
                      <a:pt x="20" y="23"/>
                      <a:pt x="20" y="30"/>
                    </a:cubicBezTo>
                    <a:cubicBezTo>
                      <a:pt x="25" y="32"/>
                      <a:pt x="28" y="33"/>
                      <a:pt x="33" y="33"/>
                    </a:cubicBezTo>
                    <a:cubicBezTo>
                      <a:pt x="35" y="33"/>
                      <a:pt x="37" y="33"/>
                      <a:pt x="39" y="34"/>
                    </a:cubicBezTo>
                    <a:cubicBezTo>
                      <a:pt x="40" y="35"/>
                      <a:pt x="40" y="36"/>
                      <a:pt x="43" y="35"/>
                    </a:cubicBezTo>
                    <a:cubicBezTo>
                      <a:pt x="46" y="34"/>
                      <a:pt x="47" y="29"/>
                      <a:pt x="45" y="27"/>
                    </a:cubicBezTo>
                    <a:cubicBezTo>
                      <a:pt x="43" y="25"/>
                      <a:pt x="41" y="26"/>
                      <a:pt x="40" y="25"/>
                    </a:cubicBezTo>
                    <a:cubicBezTo>
                      <a:pt x="39" y="24"/>
                      <a:pt x="39" y="22"/>
                      <a:pt x="39" y="21"/>
                    </a:cubicBezTo>
                    <a:cubicBezTo>
                      <a:pt x="39" y="19"/>
                      <a:pt x="37" y="18"/>
                      <a:pt x="37" y="16"/>
                    </a:cubicBezTo>
                    <a:cubicBezTo>
                      <a:pt x="36" y="14"/>
                      <a:pt x="35" y="13"/>
                      <a:pt x="34" y="11"/>
                    </a:cubicBezTo>
                    <a:cubicBezTo>
                      <a:pt x="33" y="9"/>
                      <a:pt x="34" y="7"/>
                      <a:pt x="34" y="5"/>
                    </a:cubicBezTo>
                    <a:lnTo>
                      <a:pt x="39" y="6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37" name="Freeform 53">
                <a:extLst>
                  <a:ext uri="{FF2B5EF4-FFF2-40B4-BE49-F238E27FC236}">
                    <a16:creationId xmlns:a16="http://schemas.microsoft.com/office/drawing/2014/main" id="{2B80D974-2FEA-4C9C-A582-C6B9F275E6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475" y="6632575"/>
                <a:ext cx="69850" cy="68263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15" y="7"/>
                  </a:cxn>
                  <a:cxn ang="0">
                    <a:pos x="12" y="11"/>
                  </a:cxn>
                  <a:cxn ang="0">
                    <a:pos x="12" y="13"/>
                  </a:cxn>
                  <a:cxn ang="0">
                    <a:pos x="3" y="21"/>
                  </a:cxn>
                  <a:cxn ang="0">
                    <a:pos x="7" y="24"/>
                  </a:cxn>
                  <a:cxn ang="0">
                    <a:pos x="11" y="28"/>
                  </a:cxn>
                  <a:cxn ang="0">
                    <a:pos x="12" y="31"/>
                  </a:cxn>
                  <a:cxn ang="0">
                    <a:pos x="14" y="31"/>
                  </a:cxn>
                  <a:cxn ang="0">
                    <a:pos x="17" y="35"/>
                  </a:cxn>
                  <a:cxn ang="0">
                    <a:pos x="22" y="23"/>
                  </a:cxn>
                  <a:cxn ang="0">
                    <a:pos x="33" y="11"/>
                  </a:cxn>
                  <a:cxn ang="0">
                    <a:pos x="33" y="3"/>
                  </a:cxn>
                  <a:cxn ang="0">
                    <a:pos x="23" y="6"/>
                  </a:cxn>
                  <a:cxn ang="0">
                    <a:pos x="27" y="0"/>
                  </a:cxn>
                </a:cxnLst>
                <a:rect l="0" t="0" r="r" b="b"/>
                <a:pathLst>
                  <a:path w="38" h="37">
                    <a:moveTo>
                      <a:pt x="27" y="0"/>
                    </a:moveTo>
                    <a:cubicBezTo>
                      <a:pt x="23" y="2"/>
                      <a:pt x="18" y="4"/>
                      <a:pt x="15" y="7"/>
                    </a:cubicBezTo>
                    <a:cubicBezTo>
                      <a:pt x="14" y="8"/>
                      <a:pt x="13" y="9"/>
                      <a:pt x="12" y="11"/>
                    </a:cubicBezTo>
                    <a:cubicBezTo>
                      <a:pt x="12" y="12"/>
                      <a:pt x="13" y="12"/>
                      <a:pt x="12" y="13"/>
                    </a:cubicBezTo>
                    <a:cubicBezTo>
                      <a:pt x="11" y="16"/>
                      <a:pt x="0" y="17"/>
                      <a:pt x="3" y="21"/>
                    </a:cubicBezTo>
                    <a:cubicBezTo>
                      <a:pt x="4" y="22"/>
                      <a:pt x="6" y="23"/>
                      <a:pt x="7" y="24"/>
                    </a:cubicBezTo>
                    <a:cubicBezTo>
                      <a:pt x="9" y="25"/>
                      <a:pt x="9" y="25"/>
                      <a:pt x="11" y="28"/>
                    </a:cubicBezTo>
                    <a:cubicBezTo>
                      <a:pt x="11" y="29"/>
                      <a:pt x="12" y="30"/>
                      <a:pt x="12" y="31"/>
                    </a:cubicBezTo>
                    <a:cubicBezTo>
                      <a:pt x="13" y="31"/>
                      <a:pt x="14" y="31"/>
                      <a:pt x="14" y="31"/>
                    </a:cubicBezTo>
                    <a:cubicBezTo>
                      <a:pt x="15" y="33"/>
                      <a:pt x="15" y="35"/>
                      <a:pt x="17" y="35"/>
                    </a:cubicBezTo>
                    <a:cubicBezTo>
                      <a:pt x="20" y="37"/>
                      <a:pt x="22" y="25"/>
                      <a:pt x="22" y="23"/>
                    </a:cubicBezTo>
                    <a:cubicBezTo>
                      <a:pt x="24" y="18"/>
                      <a:pt x="30" y="15"/>
                      <a:pt x="33" y="11"/>
                    </a:cubicBezTo>
                    <a:cubicBezTo>
                      <a:pt x="35" y="8"/>
                      <a:pt x="38" y="4"/>
                      <a:pt x="33" y="3"/>
                    </a:cubicBezTo>
                    <a:cubicBezTo>
                      <a:pt x="31" y="2"/>
                      <a:pt x="22" y="1"/>
                      <a:pt x="23" y="6"/>
                    </a:cubicBezTo>
                    <a:lnTo>
                      <a:pt x="27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38" name="Freeform 54">
                <a:extLst>
                  <a:ext uri="{FF2B5EF4-FFF2-40B4-BE49-F238E27FC236}">
                    <a16:creationId xmlns:a16="http://schemas.microsoft.com/office/drawing/2014/main" id="{AEEA1565-8141-4139-A26E-DF4C2BE5E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5688" y="6553200"/>
                <a:ext cx="42863" cy="31750"/>
              </a:xfrm>
              <a:custGeom>
                <a:avLst/>
                <a:gdLst/>
                <a:ahLst/>
                <a:cxnLst>
                  <a:cxn ang="0">
                    <a:pos x="21" y="2"/>
                  </a:cxn>
                  <a:cxn ang="0">
                    <a:pos x="5" y="7"/>
                  </a:cxn>
                  <a:cxn ang="0">
                    <a:pos x="3" y="15"/>
                  </a:cxn>
                  <a:cxn ang="0">
                    <a:pos x="18" y="5"/>
                  </a:cxn>
                  <a:cxn ang="0">
                    <a:pos x="22" y="3"/>
                  </a:cxn>
                  <a:cxn ang="0">
                    <a:pos x="23" y="0"/>
                  </a:cxn>
                  <a:cxn ang="0">
                    <a:pos x="21" y="2"/>
                  </a:cxn>
                </a:cxnLst>
                <a:rect l="0" t="0" r="r" b="b"/>
                <a:pathLst>
                  <a:path w="23" h="17">
                    <a:moveTo>
                      <a:pt x="21" y="2"/>
                    </a:moveTo>
                    <a:cubicBezTo>
                      <a:pt x="16" y="1"/>
                      <a:pt x="8" y="4"/>
                      <a:pt x="5" y="7"/>
                    </a:cubicBezTo>
                    <a:cubicBezTo>
                      <a:pt x="3" y="9"/>
                      <a:pt x="0" y="13"/>
                      <a:pt x="3" y="15"/>
                    </a:cubicBezTo>
                    <a:cubicBezTo>
                      <a:pt x="8" y="17"/>
                      <a:pt x="16" y="8"/>
                      <a:pt x="18" y="5"/>
                    </a:cubicBezTo>
                    <a:cubicBezTo>
                      <a:pt x="19" y="4"/>
                      <a:pt x="22" y="4"/>
                      <a:pt x="22" y="3"/>
                    </a:cubicBezTo>
                    <a:cubicBezTo>
                      <a:pt x="23" y="2"/>
                      <a:pt x="23" y="1"/>
                      <a:pt x="23" y="0"/>
                    </a:cubicBezTo>
                    <a:lnTo>
                      <a:pt x="21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39" name="Freeform 55">
                <a:extLst>
                  <a:ext uri="{FF2B5EF4-FFF2-40B4-BE49-F238E27FC236}">
                    <a16:creationId xmlns:a16="http://schemas.microsoft.com/office/drawing/2014/main" id="{B3ED5D74-3FAA-46B9-9FB3-AD459DB5D2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7263" y="6432550"/>
                <a:ext cx="42863" cy="22225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4" y="7"/>
                  </a:cxn>
                  <a:cxn ang="0">
                    <a:pos x="2" y="11"/>
                  </a:cxn>
                  <a:cxn ang="0">
                    <a:pos x="9" y="11"/>
                  </a:cxn>
                  <a:cxn ang="0">
                    <a:pos x="19" y="9"/>
                  </a:cxn>
                  <a:cxn ang="0">
                    <a:pos x="23" y="0"/>
                  </a:cxn>
                  <a:cxn ang="0">
                    <a:pos x="17" y="0"/>
                  </a:cxn>
                </a:cxnLst>
                <a:rect l="0" t="0" r="r" b="b"/>
                <a:pathLst>
                  <a:path w="23" h="12">
                    <a:moveTo>
                      <a:pt x="17" y="0"/>
                    </a:moveTo>
                    <a:cubicBezTo>
                      <a:pt x="11" y="0"/>
                      <a:pt x="8" y="4"/>
                      <a:pt x="4" y="7"/>
                    </a:cubicBezTo>
                    <a:cubicBezTo>
                      <a:pt x="3" y="8"/>
                      <a:pt x="0" y="9"/>
                      <a:pt x="2" y="11"/>
                    </a:cubicBezTo>
                    <a:cubicBezTo>
                      <a:pt x="3" y="12"/>
                      <a:pt x="7" y="11"/>
                      <a:pt x="9" y="11"/>
                    </a:cubicBezTo>
                    <a:cubicBezTo>
                      <a:pt x="13" y="11"/>
                      <a:pt x="16" y="12"/>
                      <a:pt x="19" y="9"/>
                    </a:cubicBezTo>
                    <a:cubicBezTo>
                      <a:pt x="23" y="7"/>
                      <a:pt x="23" y="4"/>
                      <a:pt x="23" y="0"/>
                    </a:cubicBezTo>
                    <a:lnTo>
                      <a:pt x="17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40" name="Freeform 56">
                <a:extLst>
                  <a:ext uri="{FF2B5EF4-FFF2-40B4-BE49-F238E27FC236}">
                    <a16:creationId xmlns:a16="http://schemas.microsoft.com/office/drawing/2014/main" id="{EFF60D3C-C1D8-499F-9A9C-CD41F7882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4075" y="6078538"/>
                <a:ext cx="42863" cy="39688"/>
              </a:xfrm>
              <a:custGeom>
                <a:avLst/>
                <a:gdLst/>
                <a:ahLst/>
                <a:cxnLst>
                  <a:cxn ang="0">
                    <a:pos x="19" y="5"/>
                  </a:cxn>
                  <a:cxn ang="0">
                    <a:pos x="20" y="3"/>
                  </a:cxn>
                  <a:cxn ang="0">
                    <a:pos x="17" y="1"/>
                  </a:cxn>
                  <a:cxn ang="0">
                    <a:pos x="14" y="1"/>
                  </a:cxn>
                  <a:cxn ang="0">
                    <a:pos x="13" y="3"/>
                  </a:cxn>
                  <a:cxn ang="0">
                    <a:pos x="6" y="1"/>
                  </a:cxn>
                  <a:cxn ang="0">
                    <a:pos x="3" y="3"/>
                  </a:cxn>
                  <a:cxn ang="0">
                    <a:pos x="2" y="13"/>
                  </a:cxn>
                  <a:cxn ang="0">
                    <a:pos x="14" y="11"/>
                  </a:cxn>
                  <a:cxn ang="0">
                    <a:pos x="21" y="17"/>
                  </a:cxn>
                  <a:cxn ang="0">
                    <a:pos x="22" y="9"/>
                  </a:cxn>
                  <a:cxn ang="0">
                    <a:pos x="18" y="5"/>
                  </a:cxn>
                  <a:cxn ang="0">
                    <a:pos x="19" y="5"/>
                  </a:cxn>
                </a:cxnLst>
                <a:rect l="0" t="0" r="r" b="b"/>
                <a:pathLst>
                  <a:path w="23" h="21">
                    <a:moveTo>
                      <a:pt x="19" y="5"/>
                    </a:moveTo>
                    <a:cubicBezTo>
                      <a:pt x="20" y="5"/>
                      <a:pt x="20" y="4"/>
                      <a:pt x="20" y="3"/>
                    </a:cubicBezTo>
                    <a:cubicBezTo>
                      <a:pt x="20" y="1"/>
                      <a:pt x="19" y="1"/>
                      <a:pt x="17" y="1"/>
                    </a:cubicBezTo>
                    <a:cubicBezTo>
                      <a:pt x="16" y="1"/>
                      <a:pt x="15" y="1"/>
                      <a:pt x="14" y="1"/>
                    </a:cubicBezTo>
                    <a:cubicBezTo>
                      <a:pt x="13" y="1"/>
                      <a:pt x="14" y="2"/>
                      <a:pt x="13" y="3"/>
                    </a:cubicBezTo>
                    <a:cubicBezTo>
                      <a:pt x="10" y="4"/>
                      <a:pt x="8" y="0"/>
                      <a:pt x="6" y="1"/>
                    </a:cubicBezTo>
                    <a:cubicBezTo>
                      <a:pt x="4" y="1"/>
                      <a:pt x="4" y="1"/>
                      <a:pt x="3" y="3"/>
                    </a:cubicBezTo>
                    <a:cubicBezTo>
                      <a:pt x="2" y="6"/>
                      <a:pt x="0" y="11"/>
                      <a:pt x="2" y="13"/>
                    </a:cubicBezTo>
                    <a:cubicBezTo>
                      <a:pt x="5" y="16"/>
                      <a:pt x="11" y="13"/>
                      <a:pt x="14" y="11"/>
                    </a:cubicBezTo>
                    <a:cubicBezTo>
                      <a:pt x="15" y="15"/>
                      <a:pt x="16" y="21"/>
                      <a:pt x="21" y="17"/>
                    </a:cubicBezTo>
                    <a:cubicBezTo>
                      <a:pt x="23" y="15"/>
                      <a:pt x="22" y="12"/>
                      <a:pt x="22" y="9"/>
                    </a:cubicBezTo>
                    <a:cubicBezTo>
                      <a:pt x="22" y="5"/>
                      <a:pt x="21" y="4"/>
                      <a:pt x="18" y="5"/>
                    </a:cubicBezTo>
                    <a:lnTo>
                      <a:pt x="19" y="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41" name="Freeform 57">
                <a:extLst>
                  <a:ext uri="{FF2B5EF4-FFF2-40B4-BE49-F238E27FC236}">
                    <a16:creationId xmlns:a16="http://schemas.microsoft.com/office/drawing/2014/main" id="{9B06E421-1AA8-40E0-8526-8BC19A9ECF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3275" y="5954713"/>
                <a:ext cx="38100" cy="39688"/>
              </a:xfrm>
              <a:custGeom>
                <a:avLst/>
                <a:gdLst/>
                <a:ahLst/>
                <a:cxnLst>
                  <a:cxn ang="0">
                    <a:pos x="16" y="2"/>
                  </a:cxn>
                  <a:cxn ang="0">
                    <a:pos x="5" y="1"/>
                  </a:cxn>
                  <a:cxn ang="0">
                    <a:pos x="1" y="12"/>
                  </a:cxn>
                  <a:cxn ang="0">
                    <a:pos x="15" y="17"/>
                  </a:cxn>
                  <a:cxn ang="0">
                    <a:pos x="14" y="4"/>
                  </a:cxn>
                  <a:cxn ang="0">
                    <a:pos x="16" y="2"/>
                  </a:cxn>
                </a:cxnLst>
                <a:rect l="0" t="0" r="r" b="b"/>
                <a:pathLst>
                  <a:path w="20" h="21">
                    <a:moveTo>
                      <a:pt x="16" y="2"/>
                    </a:moveTo>
                    <a:cubicBezTo>
                      <a:pt x="12" y="3"/>
                      <a:pt x="9" y="0"/>
                      <a:pt x="5" y="1"/>
                    </a:cubicBezTo>
                    <a:cubicBezTo>
                      <a:pt x="1" y="2"/>
                      <a:pt x="0" y="8"/>
                      <a:pt x="1" y="12"/>
                    </a:cubicBezTo>
                    <a:cubicBezTo>
                      <a:pt x="4" y="17"/>
                      <a:pt x="10" y="21"/>
                      <a:pt x="15" y="17"/>
                    </a:cubicBezTo>
                    <a:cubicBezTo>
                      <a:pt x="20" y="14"/>
                      <a:pt x="16" y="8"/>
                      <a:pt x="14" y="4"/>
                    </a:cubicBezTo>
                    <a:lnTo>
                      <a:pt x="16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42" name="Freeform 58">
                <a:extLst>
                  <a:ext uri="{FF2B5EF4-FFF2-40B4-BE49-F238E27FC236}">
                    <a16:creationId xmlns:a16="http://schemas.microsoft.com/office/drawing/2014/main" id="{5A0EE3EC-B1CF-4520-BA57-AD31D8EFC7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1700" y="5995988"/>
                <a:ext cx="34925" cy="20638"/>
              </a:xfrm>
              <a:custGeom>
                <a:avLst/>
                <a:gdLst/>
                <a:ahLst/>
                <a:cxnLst>
                  <a:cxn ang="0">
                    <a:pos x="17" y="7"/>
                  </a:cxn>
                  <a:cxn ang="0">
                    <a:pos x="5" y="2"/>
                  </a:cxn>
                  <a:cxn ang="0">
                    <a:pos x="0" y="8"/>
                  </a:cxn>
                  <a:cxn ang="0">
                    <a:pos x="8" y="11"/>
                  </a:cxn>
                  <a:cxn ang="0">
                    <a:pos x="19" y="11"/>
                  </a:cxn>
                  <a:cxn ang="0">
                    <a:pos x="16" y="9"/>
                  </a:cxn>
                  <a:cxn ang="0">
                    <a:pos x="17" y="7"/>
                  </a:cxn>
                </a:cxnLst>
                <a:rect l="0" t="0" r="r" b="b"/>
                <a:pathLst>
                  <a:path w="19" h="11">
                    <a:moveTo>
                      <a:pt x="17" y="7"/>
                    </a:moveTo>
                    <a:cubicBezTo>
                      <a:pt x="14" y="4"/>
                      <a:pt x="9" y="0"/>
                      <a:pt x="5" y="2"/>
                    </a:cubicBezTo>
                    <a:cubicBezTo>
                      <a:pt x="3" y="2"/>
                      <a:pt x="0" y="5"/>
                      <a:pt x="0" y="8"/>
                    </a:cubicBezTo>
                    <a:cubicBezTo>
                      <a:pt x="1" y="11"/>
                      <a:pt x="6" y="11"/>
                      <a:pt x="8" y="11"/>
                    </a:cubicBezTo>
                    <a:cubicBezTo>
                      <a:pt x="12" y="11"/>
                      <a:pt x="15" y="11"/>
                      <a:pt x="19" y="11"/>
                    </a:cubicBezTo>
                    <a:cubicBezTo>
                      <a:pt x="18" y="10"/>
                      <a:pt x="18" y="9"/>
                      <a:pt x="16" y="9"/>
                    </a:cubicBezTo>
                    <a:lnTo>
                      <a:pt x="17" y="7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43" name="Freeform 59">
                <a:extLst>
                  <a:ext uri="{FF2B5EF4-FFF2-40B4-BE49-F238E27FC236}">
                    <a16:creationId xmlns:a16="http://schemas.microsoft.com/office/drawing/2014/main" id="{7B294045-83FD-40BD-921B-45B666AEE5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1863" y="5770563"/>
                <a:ext cx="2187575" cy="968375"/>
              </a:xfrm>
              <a:custGeom>
                <a:avLst/>
                <a:gdLst/>
                <a:ahLst/>
                <a:cxnLst>
                  <a:cxn ang="0">
                    <a:pos x="135" y="37"/>
                  </a:cxn>
                  <a:cxn ang="0">
                    <a:pos x="102" y="10"/>
                  </a:cxn>
                  <a:cxn ang="0">
                    <a:pos x="53" y="16"/>
                  </a:cxn>
                  <a:cxn ang="0">
                    <a:pos x="54" y="38"/>
                  </a:cxn>
                  <a:cxn ang="0">
                    <a:pos x="19" y="104"/>
                  </a:cxn>
                  <a:cxn ang="0">
                    <a:pos x="59" y="122"/>
                  </a:cxn>
                  <a:cxn ang="0">
                    <a:pos x="74" y="124"/>
                  </a:cxn>
                  <a:cxn ang="0">
                    <a:pos x="113" y="111"/>
                  </a:cxn>
                  <a:cxn ang="0">
                    <a:pos x="104" y="96"/>
                  </a:cxn>
                  <a:cxn ang="0">
                    <a:pos x="141" y="88"/>
                  </a:cxn>
                  <a:cxn ang="0">
                    <a:pos x="187" y="95"/>
                  </a:cxn>
                  <a:cxn ang="0">
                    <a:pos x="311" y="435"/>
                  </a:cxn>
                  <a:cxn ang="0">
                    <a:pos x="1149" y="410"/>
                  </a:cxn>
                  <a:cxn ang="0">
                    <a:pos x="1131" y="343"/>
                  </a:cxn>
                  <a:cxn ang="0">
                    <a:pos x="1139" y="238"/>
                  </a:cxn>
                  <a:cxn ang="0">
                    <a:pos x="1079" y="167"/>
                  </a:cxn>
                  <a:cxn ang="0">
                    <a:pos x="1047" y="94"/>
                  </a:cxn>
                  <a:cxn ang="0">
                    <a:pos x="986" y="83"/>
                  </a:cxn>
                  <a:cxn ang="0">
                    <a:pos x="925" y="97"/>
                  </a:cxn>
                  <a:cxn ang="0">
                    <a:pos x="812" y="112"/>
                  </a:cxn>
                  <a:cxn ang="0">
                    <a:pos x="739" y="118"/>
                  </a:cxn>
                  <a:cxn ang="0">
                    <a:pos x="663" y="97"/>
                  </a:cxn>
                  <a:cxn ang="0">
                    <a:pos x="612" y="65"/>
                  </a:cxn>
                  <a:cxn ang="0">
                    <a:pos x="550" y="27"/>
                  </a:cxn>
                  <a:cxn ang="0">
                    <a:pos x="477" y="22"/>
                  </a:cxn>
                  <a:cxn ang="0">
                    <a:pos x="367" y="43"/>
                  </a:cxn>
                  <a:cxn ang="0">
                    <a:pos x="321" y="86"/>
                  </a:cxn>
                  <a:cxn ang="0">
                    <a:pos x="208" y="75"/>
                  </a:cxn>
                  <a:cxn ang="0">
                    <a:pos x="194" y="88"/>
                  </a:cxn>
                  <a:cxn ang="0">
                    <a:pos x="199" y="100"/>
                  </a:cxn>
                  <a:cxn ang="0">
                    <a:pos x="242" y="115"/>
                  </a:cxn>
                  <a:cxn ang="0">
                    <a:pos x="208" y="119"/>
                  </a:cxn>
                  <a:cxn ang="0">
                    <a:pos x="178" y="135"/>
                  </a:cxn>
                  <a:cxn ang="0">
                    <a:pos x="141" y="140"/>
                  </a:cxn>
                  <a:cxn ang="0">
                    <a:pos x="119" y="137"/>
                  </a:cxn>
                  <a:cxn ang="0">
                    <a:pos x="86" y="135"/>
                  </a:cxn>
                  <a:cxn ang="0">
                    <a:pos x="59" y="130"/>
                  </a:cxn>
                  <a:cxn ang="0">
                    <a:pos x="1" y="158"/>
                  </a:cxn>
                  <a:cxn ang="0">
                    <a:pos x="29" y="171"/>
                  </a:cxn>
                  <a:cxn ang="0">
                    <a:pos x="60" y="208"/>
                  </a:cxn>
                  <a:cxn ang="0">
                    <a:pos x="67" y="265"/>
                  </a:cxn>
                  <a:cxn ang="0">
                    <a:pos x="41" y="277"/>
                  </a:cxn>
                  <a:cxn ang="0">
                    <a:pos x="86" y="340"/>
                  </a:cxn>
                  <a:cxn ang="0">
                    <a:pos x="65" y="361"/>
                  </a:cxn>
                  <a:cxn ang="0">
                    <a:pos x="98" y="400"/>
                  </a:cxn>
                  <a:cxn ang="0">
                    <a:pos x="146" y="416"/>
                  </a:cxn>
                  <a:cxn ang="0">
                    <a:pos x="125" y="439"/>
                  </a:cxn>
                  <a:cxn ang="0">
                    <a:pos x="187" y="443"/>
                  </a:cxn>
                  <a:cxn ang="0">
                    <a:pos x="272" y="477"/>
                  </a:cxn>
                  <a:cxn ang="0">
                    <a:pos x="345" y="445"/>
                  </a:cxn>
                  <a:cxn ang="0">
                    <a:pos x="381" y="481"/>
                  </a:cxn>
                  <a:cxn ang="0">
                    <a:pos x="492" y="491"/>
                  </a:cxn>
                  <a:cxn ang="0">
                    <a:pos x="542" y="456"/>
                  </a:cxn>
                  <a:cxn ang="0">
                    <a:pos x="595" y="462"/>
                  </a:cxn>
                  <a:cxn ang="0">
                    <a:pos x="617" y="517"/>
                  </a:cxn>
                  <a:cxn ang="0">
                    <a:pos x="669" y="462"/>
                  </a:cxn>
                  <a:cxn ang="0">
                    <a:pos x="764" y="454"/>
                  </a:cxn>
                  <a:cxn ang="0">
                    <a:pos x="882" y="455"/>
                  </a:cxn>
                  <a:cxn ang="0">
                    <a:pos x="983" y="447"/>
                  </a:cxn>
                  <a:cxn ang="0">
                    <a:pos x="1079" y="436"/>
                  </a:cxn>
                </a:cxnLst>
                <a:rect l="0" t="0" r="r" b="b"/>
                <a:pathLst>
                  <a:path w="1171" h="518">
                    <a:moveTo>
                      <a:pt x="197" y="70"/>
                    </a:moveTo>
                    <a:cubicBezTo>
                      <a:pt x="193" y="69"/>
                      <a:pt x="188" y="67"/>
                      <a:pt x="184" y="66"/>
                    </a:cubicBezTo>
                    <a:cubicBezTo>
                      <a:pt x="181" y="65"/>
                      <a:pt x="178" y="66"/>
                      <a:pt x="175" y="65"/>
                    </a:cubicBezTo>
                    <a:cubicBezTo>
                      <a:pt x="172" y="65"/>
                      <a:pt x="171" y="64"/>
                      <a:pt x="168" y="63"/>
                    </a:cubicBezTo>
                    <a:cubicBezTo>
                      <a:pt x="165" y="61"/>
                      <a:pt x="164" y="62"/>
                      <a:pt x="162" y="59"/>
                    </a:cubicBezTo>
                    <a:cubicBezTo>
                      <a:pt x="161" y="58"/>
                      <a:pt x="160" y="56"/>
                      <a:pt x="159" y="55"/>
                    </a:cubicBezTo>
                    <a:cubicBezTo>
                      <a:pt x="158" y="53"/>
                      <a:pt x="156" y="54"/>
                      <a:pt x="154" y="54"/>
                    </a:cubicBezTo>
                    <a:cubicBezTo>
                      <a:pt x="152" y="53"/>
                      <a:pt x="150" y="51"/>
                      <a:pt x="148" y="49"/>
                    </a:cubicBezTo>
                    <a:cubicBezTo>
                      <a:pt x="145" y="47"/>
                      <a:pt x="142" y="48"/>
                      <a:pt x="140" y="47"/>
                    </a:cubicBezTo>
                    <a:cubicBezTo>
                      <a:pt x="135" y="45"/>
                      <a:pt x="137" y="41"/>
                      <a:pt x="135" y="37"/>
                    </a:cubicBezTo>
                    <a:cubicBezTo>
                      <a:pt x="135" y="36"/>
                      <a:pt x="134" y="35"/>
                      <a:pt x="134" y="34"/>
                    </a:cubicBezTo>
                    <a:cubicBezTo>
                      <a:pt x="134" y="32"/>
                      <a:pt x="134" y="30"/>
                      <a:pt x="134" y="28"/>
                    </a:cubicBezTo>
                    <a:cubicBezTo>
                      <a:pt x="133" y="24"/>
                      <a:pt x="131" y="23"/>
                      <a:pt x="131" y="19"/>
                    </a:cubicBezTo>
                    <a:cubicBezTo>
                      <a:pt x="131" y="16"/>
                      <a:pt x="130" y="14"/>
                      <a:pt x="128" y="11"/>
                    </a:cubicBezTo>
                    <a:cubicBezTo>
                      <a:pt x="128" y="11"/>
                      <a:pt x="127" y="11"/>
                      <a:pt x="126" y="11"/>
                    </a:cubicBezTo>
                    <a:cubicBezTo>
                      <a:pt x="123" y="12"/>
                      <a:pt x="121" y="13"/>
                      <a:pt x="118" y="13"/>
                    </a:cubicBezTo>
                    <a:cubicBezTo>
                      <a:pt x="116" y="13"/>
                      <a:pt x="114" y="14"/>
                      <a:pt x="112" y="15"/>
                    </a:cubicBezTo>
                    <a:cubicBezTo>
                      <a:pt x="111" y="15"/>
                      <a:pt x="110" y="16"/>
                      <a:pt x="108" y="16"/>
                    </a:cubicBezTo>
                    <a:cubicBezTo>
                      <a:pt x="106" y="16"/>
                      <a:pt x="107" y="16"/>
                      <a:pt x="106" y="14"/>
                    </a:cubicBezTo>
                    <a:cubicBezTo>
                      <a:pt x="105" y="13"/>
                      <a:pt x="103" y="11"/>
                      <a:pt x="102" y="10"/>
                    </a:cubicBezTo>
                    <a:cubicBezTo>
                      <a:pt x="101" y="8"/>
                      <a:pt x="101" y="8"/>
                      <a:pt x="99" y="8"/>
                    </a:cubicBezTo>
                    <a:cubicBezTo>
                      <a:pt x="98" y="7"/>
                      <a:pt x="98" y="6"/>
                      <a:pt x="97" y="6"/>
                    </a:cubicBezTo>
                    <a:cubicBezTo>
                      <a:pt x="96" y="5"/>
                      <a:pt x="95" y="6"/>
                      <a:pt x="93" y="6"/>
                    </a:cubicBezTo>
                    <a:cubicBezTo>
                      <a:pt x="90" y="6"/>
                      <a:pt x="88" y="3"/>
                      <a:pt x="86" y="2"/>
                    </a:cubicBezTo>
                    <a:cubicBezTo>
                      <a:pt x="83" y="0"/>
                      <a:pt x="82" y="3"/>
                      <a:pt x="80" y="4"/>
                    </a:cubicBezTo>
                    <a:cubicBezTo>
                      <a:pt x="76" y="6"/>
                      <a:pt x="74" y="8"/>
                      <a:pt x="71" y="10"/>
                    </a:cubicBezTo>
                    <a:cubicBezTo>
                      <a:pt x="69" y="11"/>
                      <a:pt x="69" y="11"/>
                      <a:pt x="67" y="10"/>
                    </a:cubicBezTo>
                    <a:cubicBezTo>
                      <a:pt x="66" y="10"/>
                      <a:pt x="65" y="11"/>
                      <a:pt x="64" y="11"/>
                    </a:cubicBezTo>
                    <a:cubicBezTo>
                      <a:pt x="62" y="12"/>
                      <a:pt x="60" y="12"/>
                      <a:pt x="58" y="12"/>
                    </a:cubicBezTo>
                    <a:cubicBezTo>
                      <a:pt x="57" y="13"/>
                      <a:pt x="55" y="14"/>
                      <a:pt x="53" y="16"/>
                    </a:cubicBezTo>
                    <a:cubicBezTo>
                      <a:pt x="53" y="16"/>
                      <a:pt x="53" y="17"/>
                      <a:pt x="53" y="17"/>
                    </a:cubicBezTo>
                    <a:cubicBezTo>
                      <a:pt x="52" y="18"/>
                      <a:pt x="52" y="18"/>
                      <a:pt x="51" y="19"/>
                    </a:cubicBezTo>
                    <a:cubicBezTo>
                      <a:pt x="51" y="19"/>
                      <a:pt x="50" y="19"/>
                      <a:pt x="50" y="20"/>
                    </a:cubicBezTo>
                    <a:cubicBezTo>
                      <a:pt x="50" y="20"/>
                      <a:pt x="49" y="20"/>
                      <a:pt x="50" y="21"/>
                    </a:cubicBezTo>
                    <a:cubicBezTo>
                      <a:pt x="47" y="21"/>
                      <a:pt x="47" y="21"/>
                      <a:pt x="45" y="23"/>
                    </a:cubicBezTo>
                    <a:cubicBezTo>
                      <a:pt x="44" y="24"/>
                      <a:pt x="44" y="25"/>
                      <a:pt x="43" y="27"/>
                    </a:cubicBezTo>
                    <a:cubicBezTo>
                      <a:pt x="43" y="29"/>
                      <a:pt x="43" y="31"/>
                      <a:pt x="43" y="33"/>
                    </a:cubicBezTo>
                    <a:cubicBezTo>
                      <a:pt x="43" y="32"/>
                      <a:pt x="43" y="31"/>
                      <a:pt x="43" y="30"/>
                    </a:cubicBezTo>
                    <a:cubicBezTo>
                      <a:pt x="45" y="31"/>
                      <a:pt x="46" y="33"/>
                      <a:pt x="48" y="34"/>
                    </a:cubicBezTo>
                    <a:cubicBezTo>
                      <a:pt x="51" y="35"/>
                      <a:pt x="54" y="34"/>
                      <a:pt x="54" y="38"/>
                    </a:cubicBezTo>
                    <a:cubicBezTo>
                      <a:pt x="54" y="43"/>
                      <a:pt x="54" y="46"/>
                      <a:pt x="55" y="50"/>
                    </a:cubicBezTo>
                    <a:cubicBezTo>
                      <a:pt x="55" y="54"/>
                      <a:pt x="57" y="59"/>
                      <a:pt x="53" y="61"/>
                    </a:cubicBezTo>
                    <a:cubicBezTo>
                      <a:pt x="51" y="63"/>
                      <a:pt x="46" y="61"/>
                      <a:pt x="44" y="63"/>
                    </a:cubicBezTo>
                    <a:cubicBezTo>
                      <a:pt x="40" y="65"/>
                      <a:pt x="40" y="70"/>
                      <a:pt x="40" y="74"/>
                    </a:cubicBezTo>
                    <a:cubicBezTo>
                      <a:pt x="40" y="78"/>
                      <a:pt x="39" y="81"/>
                      <a:pt x="39" y="85"/>
                    </a:cubicBezTo>
                    <a:cubicBezTo>
                      <a:pt x="39" y="87"/>
                      <a:pt x="39" y="87"/>
                      <a:pt x="38" y="89"/>
                    </a:cubicBezTo>
                    <a:cubicBezTo>
                      <a:pt x="37" y="91"/>
                      <a:pt x="33" y="93"/>
                      <a:pt x="31" y="95"/>
                    </a:cubicBezTo>
                    <a:cubicBezTo>
                      <a:pt x="28" y="97"/>
                      <a:pt x="27" y="100"/>
                      <a:pt x="25" y="103"/>
                    </a:cubicBezTo>
                    <a:cubicBezTo>
                      <a:pt x="24" y="105"/>
                      <a:pt x="24" y="107"/>
                      <a:pt x="22" y="107"/>
                    </a:cubicBezTo>
                    <a:cubicBezTo>
                      <a:pt x="22" y="107"/>
                      <a:pt x="21" y="106"/>
                      <a:pt x="19" y="104"/>
                    </a:cubicBezTo>
                    <a:cubicBezTo>
                      <a:pt x="19" y="105"/>
                      <a:pt x="19" y="106"/>
                      <a:pt x="19" y="107"/>
                    </a:cubicBezTo>
                    <a:cubicBezTo>
                      <a:pt x="20" y="108"/>
                      <a:pt x="21" y="109"/>
                      <a:pt x="21" y="111"/>
                    </a:cubicBezTo>
                    <a:cubicBezTo>
                      <a:pt x="22" y="116"/>
                      <a:pt x="22" y="120"/>
                      <a:pt x="29" y="121"/>
                    </a:cubicBezTo>
                    <a:cubicBezTo>
                      <a:pt x="35" y="122"/>
                      <a:pt x="42" y="121"/>
                      <a:pt x="48" y="121"/>
                    </a:cubicBezTo>
                    <a:cubicBezTo>
                      <a:pt x="50" y="121"/>
                      <a:pt x="51" y="121"/>
                      <a:pt x="52" y="122"/>
                    </a:cubicBezTo>
                    <a:cubicBezTo>
                      <a:pt x="51" y="121"/>
                      <a:pt x="56" y="124"/>
                      <a:pt x="56" y="123"/>
                    </a:cubicBezTo>
                    <a:cubicBezTo>
                      <a:pt x="57" y="124"/>
                      <a:pt x="57" y="126"/>
                      <a:pt x="58" y="126"/>
                    </a:cubicBezTo>
                    <a:cubicBezTo>
                      <a:pt x="58" y="126"/>
                      <a:pt x="59" y="126"/>
                      <a:pt x="59" y="126"/>
                    </a:cubicBezTo>
                    <a:cubicBezTo>
                      <a:pt x="59" y="126"/>
                      <a:pt x="59" y="126"/>
                      <a:pt x="59" y="125"/>
                    </a:cubicBezTo>
                    <a:cubicBezTo>
                      <a:pt x="59" y="124"/>
                      <a:pt x="58" y="123"/>
                      <a:pt x="59" y="122"/>
                    </a:cubicBezTo>
                    <a:cubicBezTo>
                      <a:pt x="59" y="121"/>
                      <a:pt x="59" y="121"/>
                      <a:pt x="59" y="121"/>
                    </a:cubicBezTo>
                    <a:cubicBezTo>
                      <a:pt x="60" y="122"/>
                      <a:pt x="60" y="123"/>
                      <a:pt x="61" y="123"/>
                    </a:cubicBezTo>
                    <a:cubicBezTo>
                      <a:pt x="61" y="124"/>
                      <a:pt x="61" y="125"/>
                      <a:pt x="61" y="126"/>
                    </a:cubicBezTo>
                    <a:cubicBezTo>
                      <a:pt x="62" y="126"/>
                      <a:pt x="62" y="126"/>
                      <a:pt x="62" y="126"/>
                    </a:cubicBezTo>
                    <a:cubicBezTo>
                      <a:pt x="62" y="127"/>
                      <a:pt x="62" y="127"/>
                      <a:pt x="62" y="128"/>
                    </a:cubicBezTo>
                    <a:cubicBezTo>
                      <a:pt x="62" y="128"/>
                      <a:pt x="63" y="128"/>
                      <a:pt x="63" y="128"/>
                    </a:cubicBezTo>
                    <a:cubicBezTo>
                      <a:pt x="64" y="128"/>
                      <a:pt x="64" y="128"/>
                      <a:pt x="65" y="128"/>
                    </a:cubicBezTo>
                    <a:cubicBezTo>
                      <a:pt x="66" y="128"/>
                      <a:pt x="67" y="128"/>
                      <a:pt x="68" y="128"/>
                    </a:cubicBezTo>
                    <a:cubicBezTo>
                      <a:pt x="69" y="127"/>
                      <a:pt x="70" y="126"/>
                      <a:pt x="71" y="126"/>
                    </a:cubicBezTo>
                    <a:cubicBezTo>
                      <a:pt x="72" y="125"/>
                      <a:pt x="73" y="124"/>
                      <a:pt x="74" y="124"/>
                    </a:cubicBezTo>
                    <a:cubicBezTo>
                      <a:pt x="75" y="124"/>
                      <a:pt x="76" y="124"/>
                      <a:pt x="76" y="124"/>
                    </a:cubicBezTo>
                    <a:cubicBezTo>
                      <a:pt x="77" y="123"/>
                      <a:pt x="78" y="122"/>
                      <a:pt x="79" y="121"/>
                    </a:cubicBezTo>
                    <a:cubicBezTo>
                      <a:pt x="81" y="120"/>
                      <a:pt x="84" y="119"/>
                      <a:pt x="85" y="117"/>
                    </a:cubicBezTo>
                    <a:cubicBezTo>
                      <a:pt x="85" y="116"/>
                      <a:pt x="85" y="115"/>
                      <a:pt x="86" y="114"/>
                    </a:cubicBezTo>
                    <a:cubicBezTo>
                      <a:pt x="87" y="113"/>
                      <a:pt x="90" y="112"/>
                      <a:pt x="92" y="112"/>
                    </a:cubicBezTo>
                    <a:cubicBezTo>
                      <a:pt x="93" y="112"/>
                      <a:pt x="94" y="112"/>
                      <a:pt x="95" y="112"/>
                    </a:cubicBezTo>
                    <a:cubicBezTo>
                      <a:pt x="97" y="112"/>
                      <a:pt x="100" y="112"/>
                      <a:pt x="103" y="112"/>
                    </a:cubicBezTo>
                    <a:cubicBezTo>
                      <a:pt x="104" y="112"/>
                      <a:pt x="105" y="112"/>
                      <a:pt x="106" y="112"/>
                    </a:cubicBezTo>
                    <a:cubicBezTo>
                      <a:pt x="107" y="111"/>
                      <a:pt x="107" y="111"/>
                      <a:pt x="108" y="111"/>
                    </a:cubicBezTo>
                    <a:cubicBezTo>
                      <a:pt x="109" y="110"/>
                      <a:pt x="111" y="111"/>
                      <a:pt x="113" y="111"/>
                    </a:cubicBezTo>
                    <a:cubicBezTo>
                      <a:pt x="113" y="111"/>
                      <a:pt x="114" y="111"/>
                      <a:pt x="115" y="111"/>
                    </a:cubicBezTo>
                    <a:cubicBezTo>
                      <a:pt x="117" y="113"/>
                      <a:pt x="119" y="114"/>
                      <a:pt x="121" y="115"/>
                    </a:cubicBezTo>
                    <a:cubicBezTo>
                      <a:pt x="124" y="116"/>
                      <a:pt x="127" y="117"/>
                      <a:pt x="129" y="114"/>
                    </a:cubicBezTo>
                    <a:cubicBezTo>
                      <a:pt x="130" y="112"/>
                      <a:pt x="132" y="109"/>
                      <a:pt x="132" y="107"/>
                    </a:cubicBezTo>
                    <a:cubicBezTo>
                      <a:pt x="131" y="106"/>
                      <a:pt x="130" y="105"/>
                      <a:pt x="129" y="104"/>
                    </a:cubicBezTo>
                    <a:cubicBezTo>
                      <a:pt x="128" y="104"/>
                      <a:pt x="128" y="103"/>
                      <a:pt x="127" y="102"/>
                    </a:cubicBezTo>
                    <a:cubicBezTo>
                      <a:pt x="126" y="101"/>
                      <a:pt x="125" y="101"/>
                      <a:pt x="124" y="101"/>
                    </a:cubicBezTo>
                    <a:cubicBezTo>
                      <a:pt x="121" y="101"/>
                      <a:pt x="119" y="101"/>
                      <a:pt x="117" y="100"/>
                    </a:cubicBezTo>
                    <a:cubicBezTo>
                      <a:pt x="115" y="100"/>
                      <a:pt x="113" y="99"/>
                      <a:pt x="111" y="98"/>
                    </a:cubicBezTo>
                    <a:cubicBezTo>
                      <a:pt x="109" y="98"/>
                      <a:pt x="105" y="98"/>
                      <a:pt x="104" y="96"/>
                    </a:cubicBezTo>
                    <a:cubicBezTo>
                      <a:pt x="103" y="95"/>
                      <a:pt x="104" y="94"/>
                      <a:pt x="104" y="93"/>
                    </a:cubicBezTo>
                    <a:cubicBezTo>
                      <a:pt x="105" y="92"/>
                      <a:pt x="107" y="92"/>
                      <a:pt x="108" y="92"/>
                    </a:cubicBezTo>
                    <a:cubicBezTo>
                      <a:pt x="110" y="91"/>
                      <a:pt x="112" y="91"/>
                      <a:pt x="114" y="91"/>
                    </a:cubicBezTo>
                    <a:cubicBezTo>
                      <a:pt x="116" y="91"/>
                      <a:pt x="118" y="91"/>
                      <a:pt x="120" y="91"/>
                    </a:cubicBezTo>
                    <a:cubicBezTo>
                      <a:pt x="123" y="91"/>
                      <a:pt x="125" y="92"/>
                      <a:pt x="128" y="92"/>
                    </a:cubicBezTo>
                    <a:cubicBezTo>
                      <a:pt x="129" y="92"/>
                      <a:pt x="129" y="92"/>
                      <a:pt x="130" y="91"/>
                    </a:cubicBezTo>
                    <a:cubicBezTo>
                      <a:pt x="131" y="91"/>
                      <a:pt x="132" y="90"/>
                      <a:pt x="132" y="89"/>
                    </a:cubicBezTo>
                    <a:cubicBezTo>
                      <a:pt x="132" y="88"/>
                      <a:pt x="131" y="87"/>
                      <a:pt x="132" y="87"/>
                    </a:cubicBezTo>
                    <a:cubicBezTo>
                      <a:pt x="133" y="86"/>
                      <a:pt x="135" y="87"/>
                      <a:pt x="136" y="87"/>
                    </a:cubicBezTo>
                    <a:cubicBezTo>
                      <a:pt x="138" y="87"/>
                      <a:pt x="140" y="87"/>
                      <a:pt x="141" y="88"/>
                    </a:cubicBezTo>
                    <a:cubicBezTo>
                      <a:pt x="143" y="88"/>
                      <a:pt x="145" y="88"/>
                      <a:pt x="146" y="88"/>
                    </a:cubicBezTo>
                    <a:cubicBezTo>
                      <a:pt x="150" y="87"/>
                      <a:pt x="153" y="87"/>
                      <a:pt x="156" y="88"/>
                    </a:cubicBezTo>
                    <a:cubicBezTo>
                      <a:pt x="157" y="89"/>
                      <a:pt x="158" y="90"/>
                      <a:pt x="159" y="90"/>
                    </a:cubicBezTo>
                    <a:cubicBezTo>
                      <a:pt x="160" y="91"/>
                      <a:pt x="161" y="91"/>
                      <a:pt x="162" y="92"/>
                    </a:cubicBezTo>
                    <a:cubicBezTo>
                      <a:pt x="164" y="92"/>
                      <a:pt x="166" y="93"/>
                      <a:pt x="168" y="94"/>
                    </a:cubicBezTo>
                    <a:cubicBezTo>
                      <a:pt x="171" y="95"/>
                      <a:pt x="173" y="95"/>
                      <a:pt x="175" y="96"/>
                    </a:cubicBezTo>
                    <a:cubicBezTo>
                      <a:pt x="177" y="97"/>
                      <a:pt x="178" y="96"/>
                      <a:pt x="179" y="95"/>
                    </a:cubicBezTo>
                    <a:cubicBezTo>
                      <a:pt x="180" y="95"/>
                      <a:pt x="181" y="94"/>
                      <a:pt x="183" y="94"/>
                    </a:cubicBezTo>
                    <a:cubicBezTo>
                      <a:pt x="183" y="94"/>
                      <a:pt x="184" y="95"/>
                      <a:pt x="185" y="95"/>
                    </a:cubicBezTo>
                    <a:cubicBezTo>
                      <a:pt x="185" y="95"/>
                      <a:pt x="187" y="95"/>
                      <a:pt x="187" y="95"/>
                    </a:cubicBezTo>
                    <a:cubicBezTo>
                      <a:pt x="188" y="95"/>
                      <a:pt x="188" y="94"/>
                      <a:pt x="189" y="94"/>
                    </a:cubicBezTo>
                    <a:cubicBezTo>
                      <a:pt x="189" y="93"/>
                      <a:pt x="190" y="92"/>
                      <a:pt x="191" y="92"/>
                    </a:cubicBezTo>
                    <a:cubicBezTo>
                      <a:pt x="191" y="91"/>
                      <a:pt x="191" y="91"/>
                      <a:pt x="191" y="91"/>
                    </a:cubicBezTo>
                    <a:cubicBezTo>
                      <a:pt x="192" y="90"/>
                      <a:pt x="191" y="88"/>
                      <a:pt x="191" y="87"/>
                    </a:cubicBezTo>
                    <a:cubicBezTo>
                      <a:pt x="191" y="85"/>
                      <a:pt x="192" y="84"/>
                      <a:pt x="193" y="82"/>
                    </a:cubicBezTo>
                    <a:cubicBezTo>
                      <a:pt x="194" y="80"/>
                      <a:pt x="195" y="77"/>
                      <a:pt x="195" y="75"/>
                    </a:cubicBezTo>
                    <a:cubicBezTo>
                      <a:pt x="195" y="74"/>
                      <a:pt x="196" y="72"/>
                      <a:pt x="197" y="71"/>
                    </a:cubicBezTo>
                    <a:cubicBezTo>
                      <a:pt x="197" y="71"/>
                      <a:pt x="197" y="70"/>
                      <a:pt x="197" y="70"/>
                    </a:cubicBezTo>
                    <a:moveTo>
                      <a:pt x="312" y="435"/>
                    </a:moveTo>
                    <a:cubicBezTo>
                      <a:pt x="312" y="435"/>
                      <a:pt x="311" y="435"/>
                      <a:pt x="311" y="435"/>
                    </a:cubicBezTo>
                    <a:cubicBezTo>
                      <a:pt x="311" y="435"/>
                      <a:pt x="312" y="435"/>
                      <a:pt x="312" y="435"/>
                    </a:cubicBezTo>
                    <a:moveTo>
                      <a:pt x="668" y="97"/>
                    </a:moveTo>
                    <a:cubicBezTo>
                      <a:pt x="669" y="97"/>
                      <a:pt x="670" y="97"/>
                      <a:pt x="671" y="97"/>
                    </a:cubicBezTo>
                    <a:cubicBezTo>
                      <a:pt x="670" y="97"/>
                      <a:pt x="669" y="97"/>
                      <a:pt x="668" y="97"/>
                    </a:cubicBezTo>
                    <a:cubicBezTo>
                      <a:pt x="668" y="97"/>
                      <a:pt x="668" y="97"/>
                      <a:pt x="668" y="97"/>
                    </a:cubicBezTo>
                    <a:moveTo>
                      <a:pt x="1170" y="445"/>
                    </a:moveTo>
                    <a:cubicBezTo>
                      <a:pt x="1169" y="442"/>
                      <a:pt x="1168" y="441"/>
                      <a:pt x="1165" y="439"/>
                    </a:cubicBezTo>
                    <a:cubicBezTo>
                      <a:pt x="1161" y="437"/>
                      <a:pt x="1159" y="436"/>
                      <a:pt x="1156" y="432"/>
                    </a:cubicBezTo>
                    <a:cubicBezTo>
                      <a:pt x="1151" y="428"/>
                      <a:pt x="1148" y="425"/>
                      <a:pt x="1149" y="419"/>
                    </a:cubicBezTo>
                    <a:cubicBezTo>
                      <a:pt x="1149" y="416"/>
                      <a:pt x="1149" y="413"/>
                      <a:pt x="1149" y="410"/>
                    </a:cubicBezTo>
                    <a:cubicBezTo>
                      <a:pt x="1149" y="407"/>
                      <a:pt x="1151" y="399"/>
                      <a:pt x="1149" y="396"/>
                    </a:cubicBezTo>
                    <a:cubicBezTo>
                      <a:pt x="1149" y="396"/>
                      <a:pt x="1145" y="394"/>
                      <a:pt x="1144" y="394"/>
                    </a:cubicBezTo>
                    <a:cubicBezTo>
                      <a:pt x="1142" y="393"/>
                      <a:pt x="1139" y="391"/>
                      <a:pt x="1137" y="390"/>
                    </a:cubicBezTo>
                    <a:cubicBezTo>
                      <a:pt x="1133" y="389"/>
                      <a:pt x="1131" y="391"/>
                      <a:pt x="1130" y="387"/>
                    </a:cubicBezTo>
                    <a:cubicBezTo>
                      <a:pt x="1129" y="384"/>
                      <a:pt x="1130" y="382"/>
                      <a:pt x="1132" y="380"/>
                    </a:cubicBezTo>
                    <a:cubicBezTo>
                      <a:pt x="1134" y="378"/>
                      <a:pt x="1134" y="380"/>
                      <a:pt x="1136" y="376"/>
                    </a:cubicBezTo>
                    <a:cubicBezTo>
                      <a:pt x="1138" y="372"/>
                      <a:pt x="1141" y="368"/>
                      <a:pt x="1142" y="363"/>
                    </a:cubicBezTo>
                    <a:cubicBezTo>
                      <a:pt x="1142" y="361"/>
                      <a:pt x="1143" y="354"/>
                      <a:pt x="1141" y="352"/>
                    </a:cubicBezTo>
                    <a:cubicBezTo>
                      <a:pt x="1140" y="350"/>
                      <a:pt x="1136" y="351"/>
                      <a:pt x="1134" y="351"/>
                    </a:cubicBezTo>
                    <a:cubicBezTo>
                      <a:pt x="1130" y="350"/>
                      <a:pt x="1131" y="347"/>
                      <a:pt x="1131" y="343"/>
                    </a:cubicBezTo>
                    <a:cubicBezTo>
                      <a:pt x="1131" y="339"/>
                      <a:pt x="1131" y="335"/>
                      <a:pt x="1131" y="331"/>
                    </a:cubicBezTo>
                    <a:cubicBezTo>
                      <a:pt x="1131" y="322"/>
                      <a:pt x="1128" y="312"/>
                      <a:pt x="1124" y="302"/>
                    </a:cubicBezTo>
                    <a:cubicBezTo>
                      <a:pt x="1123" y="299"/>
                      <a:pt x="1120" y="295"/>
                      <a:pt x="1119" y="291"/>
                    </a:cubicBezTo>
                    <a:cubicBezTo>
                      <a:pt x="1116" y="283"/>
                      <a:pt x="1122" y="275"/>
                      <a:pt x="1120" y="268"/>
                    </a:cubicBezTo>
                    <a:cubicBezTo>
                      <a:pt x="1118" y="267"/>
                      <a:pt x="1114" y="268"/>
                      <a:pt x="1111" y="266"/>
                    </a:cubicBezTo>
                    <a:cubicBezTo>
                      <a:pt x="1106" y="263"/>
                      <a:pt x="1111" y="262"/>
                      <a:pt x="1115" y="261"/>
                    </a:cubicBezTo>
                    <a:cubicBezTo>
                      <a:pt x="1119" y="261"/>
                      <a:pt x="1126" y="261"/>
                      <a:pt x="1128" y="257"/>
                    </a:cubicBezTo>
                    <a:cubicBezTo>
                      <a:pt x="1129" y="256"/>
                      <a:pt x="1129" y="255"/>
                      <a:pt x="1129" y="253"/>
                    </a:cubicBezTo>
                    <a:cubicBezTo>
                      <a:pt x="1130" y="252"/>
                      <a:pt x="1132" y="250"/>
                      <a:pt x="1133" y="248"/>
                    </a:cubicBezTo>
                    <a:cubicBezTo>
                      <a:pt x="1135" y="245"/>
                      <a:pt x="1136" y="241"/>
                      <a:pt x="1139" y="238"/>
                    </a:cubicBezTo>
                    <a:cubicBezTo>
                      <a:pt x="1140" y="237"/>
                      <a:pt x="1142" y="236"/>
                      <a:pt x="1144" y="235"/>
                    </a:cubicBezTo>
                    <a:cubicBezTo>
                      <a:pt x="1146" y="234"/>
                      <a:pt x="1149" y="232"/>
                      <a:pt x="1151" y="230"/>
                    </a:cubicBezTo>
                    <a:cubicBezTo>
                      <a:pt x="1147" y="228"/>
                      <a:pt x="1144" y="226"/>
                      <a:pt x="1140" y="224"/>
                    </a:cubicBezTo>
                    <a:cubicBezTo>
                      <a:pt x="1140" y="224"/>
                      <a:pt x="1133" y="222"/>
                      <a:pt x="1133" y="221"/>
                    </a:cubicBezTo>
                    <a:cubicBezTo>
                      <a:pt x="1131" y="220"/>
                      <a:pt x="1131" y="218"/>
                      <a:pt x="1130" y="216"/>
                    </a:cubicBezTo>
                    <a:cubicBezTo>
                      <a:pt x="1125" y="213"/>
                      <a:pt x="1119" y="214"/>
                      <a:pt x="1113" y="214"/>
                    </a:cubicBezTo>
                    <a:cubicBezTo>
                      <a:pt x="1104" y="213"/>
                      <a:pt x="1096" y="206"/>
                      <a:pt x="1090" y="201"/>
                    </a:cubicBezTo>
                    <a:cubicBezTo>
                      <a:pt x="1084" y="195"/>
                      <a:pt x="1083" y="190"/>
                      <a:pt x="1081" y="181"/>
                    </a:cubicBezTo>
                    <a:cubicBezTo>
                      <a:pt x="1080" y="178"/>
                      <a:pt x="1079" y="177"/>
                      <a:pt x="1078" y="175"/>
                    </a:cubicBezTo>
                    <a:cubicBezTo>
                      <a:pt x="1077" y="172"/>
                      <a:pt x="1078" y="169"/>
                      <a:pt x="1079" y="167"/>
                    </a:cubicBezTo>
                    <a:cubicBezTo>
                      <a:pt x="1081" y="161"/>
                      <a:pt x="1085" y="154"/>
                      <a:pt x="1084" y="148"/>
                    </a:cubicBezTo>
                    <a:cubicBezTo>
                      <a:pt x="1084" y="146"/>
                      <a:pt x="1083" y="144"/>
                      <a:pt x="1082" y="142"/>
                    </a:cubicBezTo>
                    <a:cubicBezTo>
                      <a:pt x="1082" y="141"/>
                      <a:pt x="1079" y="138"/>
                      <a:pt x="1078" y="136"/>
                    </a:cubicBezTo>
                    <a:cubicBezTo>
                      <a:pt x="1077" y="134"/>
                      <a:pt x="1072" y="133"/>
                      <a:pt x="1072" y="131"/>
                    </a:cubicBezTo>
                    <a:cubicBezTo>
                      <a:pt x="1068" y="125"/>
                      <a:pt x="1082" y="122"/>
                      <a:pt x="1080" y="116"/>
                    </a:cubicBezTo>
                    <a:cubicBezTo>
                      <a:pt x="1072" y="114"/>
                      <a:pt x="1065" y="111"/>
                      <a:pt x="1057" y="108"/>
                    </a:cubicBezTo>
                    <a:cubicBezTo>
                      <a:pt x="1056" y="107"/>
                      <a:pt x="1054" y="107"/>
                      <a:pt x="1052" y="107"/>
                    </a:cubicBezTo>
                    <a:cubicBezTo>
                      <a:pt x="1051" y="106"/>
                      <a:pt x="1051" y="106"/>
                      <a:pt x="1049" y="105"/>
                    </a:cubicBezTo>
                    <a:cubicBezTo>
                      <a:pt x="1047" y="104"/>
                      <a:pt x="1045" y="104"/>
                      <a:pt x="1045" y="101"/>
                    </a:cubicBezTo>
                    <a:cubicBezTo>
                      <a:pt x="1045" y="98"/>
                      <a:pt x="1047" y="96"/>
                      <a:pt x="1047" y="94"/>
                    </a:cubicBezTo>
                    <a:cubicBezTo>
                      <a:pt x="1044" y="93"/>
                      <a:pt x="1039" y="96"/>
                      <a:pt x="1037" y="94"/>
                    </a:cubicBezTo>
                    <a:cubicBezTo>
                      <a:pt x="1036" y="93"/>
                      <a:pt x="1035" y="90"/>
                      <a:pt x="1034" y="89"/>
                    </a:cubicBezTo>
                    <a:cubicBezTo>
                      <a:pt x="1032" y="87"/>
                      <a:pt x="1028" y="87"/>
                      <a:pt x="1027" y="85"/>
                    </a:cubicBezTo>
                    <a:cubicBezTo>
                      <a:pt x="1025" y="84"/>
                      <a:pt x="1026" y="82"/>
                      <a:pt x="1025" y="80"/>
                    </a:cubicBezTo>
                    <a:cubicBezTo>
                      <a:pt x="1023" y="77"/>
                      <a:pt x="1017" y="76"/>
                      <a:pt x="1014" y="75"/>
                    </a:cubicBezTo>
                    <a:cubicBezTo>
                      <a:pt x="1012" y="74"/>
                      <a:pt x="1008" y="72"/>
                      <a:pt x="1006" y="73"/>
                    </a:cubicBezTo>
                    <a:cubicBezTo>
                      <a:pt x="1005" y="75"/>
                      <a:pt x="1006" y="80"/>
                      <a:pt x="1006" y="81"/>
                    </a:cubicBezTo>
                    <a:cubicBezTo>
                      <a:pt x="1003" y="82"/>
                      <a:pt x="1000" y="81"/>
                      <a:pt x="996" y="81"/>
                    </a:cubicBezTo>
                    <a:cubicBezTo>
                      <a:pt x="995" y="81"/>
                      <a:pt x="992" y="81"/>
                      <a:pt x="990" y="81"/>
                    </a:cubicBezTo>
                    <a:cubicBezTo>
                      <a:pt x="988" y="82"/>
                      <a:pt x="988" y="83"/>
                      <a:pt x="986" y="83"/>
                    </a:cubicBezTo>
                    <a:cubicBezTo>
                      <a:pt x="985" y="82"/>
                      <a:pt x="983" y="82"/>
                      <a:pt x="982" y="81"/>
                    </a:cubicBezTo>
                    <a:cubicBezTo>
                      <a:pt x="981" y="81"/>
                      <a:pt x="979" y="79"/>
                      <a:pt x="978" y="79"/>
                    </a:cubicBezTo>
                    <a:cubicBezTo>
                      <a:pt x="976" y="78"/>
                      <a:pt x="973" y="79"/>
                      <a:pt x="970" y="79"/>
                    </a:cubicBezTo>
                    <a:cubicBezTo>
                      <a:pt x="969" y="79"/>
                      <a:pt x="968" y="79"/>
                      <a:pt x="967" y="79"/>
                    </a:cubicBezTo>
                    <a:cubicBezTo>
                      <a:pt x="965" y="79"/>
                      <a:pt x="966" y="80"/>
                      <a:pt x="964" y="80"/>
                    </a:cubicBezTo>
                    <a:cubicBezTo>
                      <a:pt x="962" y="82"/>
                      <a:pt x="959" y="83"/>
                      <a:pt x="955" y="83"/>
                    </a:cubicBezTo>
                    <a:cubicBezTo>
                      <a:pt x="953" y="82"/>
                      <a:pt x="951" y="81"/>
                      <a:pt x="949" y="81"/>
                    </a:cubicBezTo>
                    <a:cubicBezTo>
                      <a:pt x="945" y="80"/>
                      <a:pt x="942" y="81"/>
                      <a:pt x="938" y="81"/>
                    </a:cubicBezTo>
                    <a:cubicBezTo>
                      <a:pt x="939" y="86"/>
                      <a:pt x="930" y="93"/>
                      <a:pt x="926" y="96"/>
                    </a:cubicBezTo>
                    <a:cubicBezTo>
                      <a:pt x="926" y="97"/>
                      <a:pt x="926" y="97"/>
                      <a:pt x="925" y="97"/>
                    </a:cubicBezTo>
                    <a:cubicBezTo>
                      <a:pt x="923" y="98"/>
                      <a:pt x="921" y="98"/>
                      <a:pt x="920" y="99"/>
                    </a:cubicBezTo>
                    <a:cubicBezTo>
                      <a:pt x="919" y="99"/>
                      <a:pt x="918" y="101"/>
                      <a:pt x="917" y="102"/>
                    </a:cubicBezTo>
                    <a:cubicBezTo>
                      <a:pt x="916" y="102"/>
                      <a:pt x="914" y="103"/>
                      <a:pt x="913" y="104"/>
                    </a:cubicBezTo>
                    <a:cubicBezTo>
                      <a:pt x="910" y="105"/>
                      <a:pt x="907" y="106"/>
                      <a:pt x="904" y="107"/>
                    </a:cubicBezTo>
                    <a:cubicBezTo>
                      <a:pt x="901" y="109"/>
                      <a:pt x="897" y="110"/>
                      <a:pt x="893" y="110"/>
                    </a:cubicBezTo>
                    <a:cubicBezTo>
                      <a:pt x="886" y="110"/>
                      <a:pt x="879" y="110"/>
                      <a:pt x="874" y="115"/>
                    </a:cubicBezTo>
                    <a:cubicBezTo>
                      <a:pt x="870" y="119"/>
                      <a:pt x="866" y="120"/>
                      <a:pt x="862" y="122"/>
                    </a:cubicBezTo>
                    <a:cubicBezTo>
                      <a:pt x="854" y="125"/>
                      <a:pt x="848" y="121"/>
                      <a:pt x="841" y="118"/>
                    </a:cubicBezTo>
                    <a:cubicBezTo>
                      <a:pt x="833" y="115"/>
                      <a:pt x="824" y="117"/>
                      <a:pt x="816" y="115"/>
                    </a:cubicBezTo>
                    <a:cubicBezTo>
                      <a:pt x="814" y="114"/>
                      <a:pt x="813" y="113"/>
                      <a:pt x="812" y="112"/>
                    </a:cubicBezTo>
                    <a:cubicBezTo>
                      <a:pt x="810" y="112"/>
                      <a:pt x="809" y="113"/>
                      <a:pt x="808" y="113"/>
                    </a:cubicBezTo>
                    <a:cubicBezTo>
                      <a:pt x="806" y="112"/>
                      <a:pt x="804" y="111"/>
                      <a:pt x="802" y="111"/>
                    </a:cubicBezTo>
                    <a:cubicBezTo>
                      <a:pt x="801" y="111"/>
                      <a:pt x="800" y="111"/>
                      <a:pt x="799" y="111"/>
                    </a:cubicBezTo>
                    <a:cubicBezTo>
                      <a:pt x="798" y="111"/>
                      <a:pt x="798" y="113"/>
                      <a:pt x="796" y="113"/>
                    </a:cubicBezTo>
                    <a:cubicBezTo>
                      <a:pt x="794" y="114"/>
                      <a:pt x="789" y="113"/>
                      <a:pt x="786" y="113"/>
                    </a:cubicBezTo>
                    <a:cubicBezTo>
                      <a:pt x="780" y="113"/>
                      <a:pt x="777" y="114"/>
                      <a:pt x="771" y="116"/>
                    </a:cubicBezTo>
                    <a:cubicBezTo>
                      <a:pt x="768" y="118"/>
                      <a:pt x="765" y="117"/>
                      <a:pt x="762" y="118"/>
                    </a:cubicBezTo>
                    <a:cubicBezTo>
                      <a:pt x="759" y="118"/>
                      <a:pt x="757" y="121"/>
                      <a:pt x="754" y="121"/>
                    </a:cubicBezTo>
                    <a:cubicBezTo>
                      <a:pt x="753" y="121"/>
                      <a:pt x="752" y="121"/>
                      <a:pt x="752" y="121"/>
                    </a:cubicBezTo>
                    <a:cubicBezTo>
                      <a:pt x="748" y="120"/>
                      <a:pt x="743" y="119"/>
                      <a:pt x="739" y="118"/>
                    </a:cubicBezTo>
                    <a:cubicBezTo>
                      <a:pt x="736" y="116"/>
                      <a:pt x="735" y="114"/>
                      <a:pt x="731" y="113"/>
                    </a:cubicBezTo>
                    <a:cubicBezTo>
                      <a:pt x="729" y="112"/>
                      <a:pt x="726" y="113"/>
                      <a:pt x="723" y="112"/>
                    </a:cubicBezTo>
                    <a:cubicBezTo>
                      <a:pt x="720" y="112"/>
                      <a:pt x="719" y="111"/>
                      <a:pt x="717" y="108"/>
                    </a:cubicBezTo>
                    <a:cubicBezTo>
                      <a:pt x="714" y="105"/>
                      <a:pt x="710" y="100"/>
                      <a:pt x="706" y="99"/>
                    </a:cubicBezTo>
                    <a:cubicBezTo>
                      <a:pt x="704" y="98"/>
                      <a:pt x="701" y="99"/>
                      <a:pt x="698" y="99"/>
                    </a:cubicBezTo>
                    <a:cubicBezTo>
                      <a:pt x="695" y="98"/>
                      <a:pt x="692" y="97"/>
                      <a:pt x="689" y="97"/>
                    </a:cubicBezTo>
                    <a:cubicBezTo>
                      <a:pt x="683" y="97"/>
                      <a:pt x="677" y="97"/>
                      <a:pt x="671" y="97"/>
                    </a:cubicBezTo>
                    <a:cubicBezTo>
                      <a:pt x="672" y="98"/>
                      <a:pt x="673" y="98"/>
                      <a:pt x="674" y="99"/>
                    </a:cubicBezTo>
                    <a:cubicBezTo>
                      <a:pt x="672" y="99"/>
                      <a:pt x="670" y="98"/>
                      <a:pt x="668" y="97"/>
                    </a:cubicBezTo>
                    <a:cubicBezTo>
                      <a:pt x="666" y="97"/>
                      <a:pt x="665" y="97"/>
                      <a:pt x="663" y="97"/>
                    </a:cubicBezTo>
                    <a:cubicBezTo>
                      <a:pt x="665" y="97"/>
                      <a:pt x="666" y="97"/>
                      <a:pt x="668" y="97"/>
                    </a:cubicBezTo>
                    <a:cubicBezTo>
                      <a:pt x="665" y="96"/>
                      <a:pt x="662" y="94"/>
                      <a:pt x="659" y="92"/>
                    </a:cubicBezTo>
                    <a:cubicBezTo>
                      <a:pt x="655" y="90"/>
                      <a:pt x="653" y="89"/>
                      <a:pt x="653" y="84"/>
                    </a:cubicBezTo>
                    <a:cubicBezTo>
                      <a:pt x="652" y="80"/>
                      <a:pt x="652" y="80"/>
                      <a:pt x="648" y="81"/>
                    </a:cubicBezTo>
                    <a:cubicBezTo>
                      <a:pt x="646" y="81"/>
                      <a:pt x="640" y="81"/>
                      <a:pt x="640" y="84"/>
                    </a:cubicBezTo>
                    <a:cubicBezTo>
                      <a:pt x="638" y="84"/>
                      <a:pt x="634" y="84"/>
                      <a:pt x="632" y="84"/>
                    </a:cubicBezTo>
                    <a:cubicBezTo>
                      <a:pt x="629" y="83"/>
                      <a:pt x="625" y="81"/>
                      <a:pt x="623" y="80"/>
                    </a:cubicBezTo>
                    <a:cubicBezTo>
                      <a:pt x="618" y="79"/>
                      <a:pt x="620" y="80"/>
                      <a:pt x="619" y="78"/>
                    </a:cubicBezTo>
                    <a:cubicBezTo>
                      <a:pt x="617" y="76"/>
                      <a:pt x="618" y="71"/>
                      <a:pt x="616" y="69"/>
                    </a:cubicBezTo>
                    <a:cubicBezTo>
                      <a:pt x="615" y="67"/>
                      <a:pt x="613" y="68"/>
                      <a:pt x="612" y="65"/>
                    </a:cubicBezTo>
                    <a:cubicBezTo>
                      <a:pt x="611" y="64"/>
                      <a:pt x="610" y="62"/>
                      <a:pt x="610" y="60"/>
                    </a:cubicBezTo>
                    <a:cubicBezTo>
                      <a:pt x="610" y="55"/>
                      <a:pt x="612" y="46"/>
                      <a:pt x="609" y="41"/>
                    </a:cubicBezTo>
                    <a:cubicBezTo>
                      <a:pt x="606" y="38"/>
                      <a:pt x="602" y="38"/>
                      <a:pt x="598" y="38"/>
                    </a:cubicBezTo>
                    <a:cubicBezTo>
                      <a:pt x="596" y="39"/>
                      <a:pt x="596" y="39"/>
                      <a:pt x="594" y="40"/>
                    </a:cubicBezTo>
                    <a:cubicBezTo>
                      <a:pt x="592" y="41"/>
                      <a:pt x="591" y="42"/>
                      <a:pt x="589" y="43"/>
                    </a:cubicBezTo>
                    <a:cubicBezTo>
                      <a:pt x="588" y="44"/>
                      <a:pt x="587" y="45"/>
                      <a:pt x="586" y="46"/>
                    </a:cubicBezTo>
                    <a:cubicBezTo>
                      <a:pt x="582" y="49"/>
                      <a:pt x="571" y="46"/>
                      <a:pt x="566" y="46"/>
                    </a:cubicBezTo>
                    <a:cubicBezTo>
                      <a:pt x="564" y="46"/>
                      <a:pt x="563" y="46"/>
                      <a:pt x="561" y="46"/>
                    </a:cubicBezTo>
                    <a:cubicBezTo>
                      <a:pt x="559" y="44"/>
                      <a:pt x="557" y="38"/>
                      <a:pt x="555" y="36"/>
                    </a:cubicBezTo>
                    <a:cubicBezTo>
                      <a:pt x="552" y="33"/>
                      <a:pt x="549" y="32"/>
                      <a:pt x="550" y="27"/>
                    </a:cubicBezTo>
                    <a:cubicBezTo>
                      <a:pt x="550" y="24"/>
                      <a:pt x="552" y="22"/>
                      <a:pt x="550" y="20"/>
                    </a:cubicBezTo>
                    <a:cubicBezTo>
                      <a:pt x="548" y="19"/>
                      <a:pt x="543" y="19"/>
                      <a:pt x="541" y="19"/>
                    </a:cubicBezTo>
                    <a:cubicBezTo>
                      <a:pt x="539" y="20"/>
                      <a:pt x="538" y="23"/>
                      <a:pt x="536" y="24"/>
                    </a:cubicBezTo>
                    <a:cubicBezTo>
                      <a:pt x="533" y="25"/>
                      <a:pt x="527" y="27"/>
                      <a:pt x="523" y="27"/>
                    </a:cubicBezTo>
                    <a:cubicBezTo>
                      <a:pt x="520" y="27"/>
                      <a:pt x="519" y="26"/>
                      <a:pt x="516" y="25"/>
                    </a:cubicBezTo>
                    <a:cubicBezTo>
                      <a:pt x="513" y="25"/>
                      <a:pt x="510" y="25"/>
                      <a:pt x="508" y="24"/>
                    </a:cubicBezTo>
                    <a:cubicBezTo>
                      <a:pt x="505" y="24"/>
                      <a:pt x="502" y="22"/>
                      <a:pt x="499" y="23"/>
                    </a:cubicBezTo>
                    <a:cubicBezTo>
                      <a:pt x="496" y="23"/>
                      <a:pt x="495" y="24"/>
                      <a:pt x="491" y="25"/>
                    </a:cubicBezTo>
                    <a:cubicBezTo>
                      <a:pt x="490" y="25"/>
                      <a:pt x="487" y="25"/>
                      <a:pt x="486" y="25"/>
                    </a:cubicBezTo>
                    <a:cubicBezTo>
                      <a:pt x="482" y="25"/>
                      <a:pt x="480" y="23"/>
                      <a:pt x="477" y="22"/>
                    </a:cubicBezTo>
                    <a:cubicBezTo>
                      <a:pt x="469" y="21"/>
                      <a:pt x="462" y="20"/>
                      <a:pt x="454" y="20"/>
                    </a:cubicBezTo>
                    <a:cubicBezTo>
                      <a:pt x="447" y="20"/>
                      <a:pt x="437" y="19"/>
                      <a:pt x="430" y="21"/>
                    </a:cubicBezTo>
                    <a:cubicBezTo>
                      <a:pt x="426" y="22"/>
                      <a:pt x="422" y="23"/>
                      <a:pt x="418" y="25"/>
                    </a:cubicBezTo>
                    <a:cubicBezTo>
                      <a:pt x="416" y="27"/>
                      <a:pt x="413" y="27"/>
                      <a:pt x="411" y="28"/>
                    </a:cubicBezTo>
                    <a:cubicBezTo>
                      <a:pt x="411" y="28"/>
                      <a:pt x="408" y="29"/>
                      <a:pt x="408" y="29"/>
                    </a:cubicBezTo>
                    <a:cubicBezTo>
                      <a:pt x="406" y="30"/>
                      <a:pt x="403" y="30"/>
                      <a:pt x="400" y="30"/>
                    </a:cubicBezTo>
                    <a:cubicBezTo>
                      <a:pt x="398" y="31"/>
                      <a:pt x="395" y="30"/>
                      <a:pt x="393" y="31"/>
                    </a:cubicBezTo>
                    <a:cubicBezTo>
                      <a:pt x="389" y="32"/>
                      <a:pt x="386" y="34"/>
                      <a:pt x="383" y="35"/>
                    </a:cubicBezTo>
                    <a:cubicBezTo>
                      <a:pt x="380" y="36"/>
                      <a:pt x="378" y="37"/>
                      <a:pt x="375" y="39"/>
                    </a:cubicBezTo>
                    <a:cubicBezTo>
                      <a:pt x="373" y="41"/>
                      <a:pt x="370" y="41"/>
                      <a:pt x="367" y="43"/>
                    </a:cubicBezTo>
                    <a:cubicBezTo>
                      <a:pt x="365" y="45"/>
                      <a:pt x="365" y="45"/>
                      <a:pt x="362" y="46"/>
                    </a:cubicBezTo>
                    <a:cubicBezTo>
                      <a:pt x="361" y="46"/>
                      <a:pt x="360" y="46"/>
                      <a:pt x="358" y="46"/>
                    </a:cubicBezTo>
                    <a:cubicBezTo>
                      <a:pt x="355" y="47"/>
                      <a:pt x="356" y="47"/>
                      <a:pt x="354" y="49"/>
                    </a:cubicBezTo>
                    <a:cubicBezTo>
                      <a:pt x="353" y="51"/>
                      <a:pt x="351" y="52"/>
                      <a:pt x="350" y="55"/>
                    </a:cubicBezTo>
                    <a:cubicBezTo>
                      <a:pt x="348" y="59"/>
                      <a:pt x="351" y="63"/>
                      <a:pt x="347" y="66"/>
                    </a:cubicBezTo>
                    <a:cubicBezTo>
                      <a:pt x="346" y="67"/>
                      <a:pt x="343" y="67"/>
                      <a:pt x="341" y="68"/>
                    </a:cubicBezTo>
                    <a:cubicBezTo>
                      <a:pt x="340" y="69"/>
                      <a:pt x="340" y="71"/>
                      <a:pt x="339" y="72"/>
                    </a:cubicBezTo>
                    <a:cubicBezTo>
                      <a:pt x="338" y="74"/>
                      <a:pt x="336" y="74"/>
                      <a:pt x="335" y="76"/>
                    </a:cubicBezTo>
                    <a:cubicBezTo>
                      <a:pt x="333" y="78"/>
                      <a:pt x="335" y="81"/>
                      <a:pt x="334" y="84"/>
                    </a:cubicBezTo>
                    <a:cubicBezTo>
                      <a:pt x="332" y="88"/>
                      <a:pt x="324" y="86"/>
                      <a:pt x="321" y="86"/>
                    </a:cubicBezTo>
                    <a:cubicBezTo>
                      <a:pt x="319" y="86"/>
                      <a:pt x="314" y="85"/>
                      <a:pt x="312" y="86"/>
                    </a:cubicBezTo>
                    <a:cubicBezTo>
                      <a:pt x="310" y="87"/>
                      <a:pt x="309" y="89"/>
                      <a:pt x="307" y="89"/>
                    </a:cubicBezTo>
                    <a:cubicBezTo>
                      <a:pt x="304" y="91"/>
                      <a:pt x="302" y="91"/>
                      <a:pt x="299" y="90"/>
                    </a:cubicBezTo>
                    <a:cubicBezTo>
                      <a:pt x="295" y="88"/>
                      <a:pt x="292" y="86"/>
                      <a:pt x="288" y="85"/>
                    </a:cubicBezTo>
                    <a:cubicBezTo>
                      <a:pt x="282" y="83"/>
                      <a:pt x="274" y="85"/>
                      <a:pt x="269" y="81"/>
                    </a:cubicBezTo>
                    <a:cubicBezTo>
                      <a:pt x="266" y="79"/>
                      <a:pt x="266" y="78"/>
                      <a:pt x="262" y="80"/>
                    </a:cubicBezTo>
                    <a:cubicBezTo>
                      <a:pt x="259" y="82"/>
                      <a:pt x="255" y="81"/>
                      <a:pt x="251" y="81"/>
                    </a:cubicBezTo>
                    <a:cubicBezTo>
                      <a:pt x="243" y="81"/>
                      <a:pt x="234" y="83"/>
                      <a:pt x="226" y="81"/>
                    </a:cubicBezTo>
                    <a:cubicBezTo>
                      <a:pt x="223" y="81"/>
                      <a:pt x="221" y="79"/>
                      <a:pt x="218" y="77"/>
                    </a:cubicBezTo>
                    <a:cubicBezTo>
                      <a:pt x="214" y="76"/>
                      <a:pt x="211" y="76"/>
                      <a:pt x="208" y="75"/>
                    </a:cubicBezTo>
                    <a:cubicBezTo>
                      <a:pt x="205" y="74"/>
                      <a:pt x="202" y="72"/>
                      <a:pt x="200" y="71"/>
                    </a:cubicBezTo>
                    <a:cubicBezTo>
                      <a:pt x="200" y="71"/>
                      <a:pt x="200" y="71"/>
                      <a:pt x="200" y="72"/>
                    </a:cubicBezTo>
                    <a:cubicBezTo>
                      <a:pt x="200" y="72"/>
                      <a:pt x="199" y="73"/>
                      <a:pt x="199" y="74"/>
                    </a:cubicBezTo>
                    <a:cubicBezTo>
                      <a:pt x="198" y="74"/>
                      <a:pt x="198" y="75"/>
                      <a:pt x="198" y="76"/>
                    </a:cubicBezTo>
                    <a:cubicBezTo>
                      <a:pt x="197" y="78"/>
                      <a:pt x="197" y="80"/>
                      <a:pt x="195" y="82"/>
                    </a:cubicBezTo>
                    <a:cubicBezTo>
                      <a:pt x="195" y="82"/>
                      <a:pt x="195" y="82"/>
                      <a:pt x="194" y="83"/>
                    </a:cubicBezTo>
                    <a:cubicBezTo>
                      <a:pt x="194" y="83"/>
                      <a:pt x="195" y="83"/>
                      <a:pt x="195" y="83"/>
                    </a:cubicBezTo>
                    <a:cubicBezTo>
                      <a:pt x="194" y="84"/>
                      <a:pt x="194" y="84"/>
                      <a:pt x="194" y="84"/>
                    </a:cubicBezTo>
                    <a:cubicBezTo>
                      <a:pt x="194" y="85"/>
                      <a:pt x="194" y="85"/>
                      <a:pt x="194" y="86"/>
                    </a:cubicBezTo>
                    <a:cubicBezTo>
                      <a:pt x="194" y="87"/>
                      <a:pt x="194" y="87"/>
                      <a:pt x="194" y="88"/>
                    </a:cubicBezTo>
                    <a:cubicBezTo>
                      <a:pt x="194" y="90"/>
                      <a:pt x="194" y="92"/>
                      <a:pt x="194" y="94"/>
                    </a:cubicBezTo>
                    <a:cubicBezTo>
                      <a:pt x="194" y="95"/>
                      <a:pt x="194" y="96"/>
                      <a:pt x="194" y="96"/>
                    </a:cubicBezTo>
                    <a:cubicBezTo>
                      <a:pt x="195" y="98"/>
                      <a:pt x="198" y="99"/>
                      <a:pt x="199" y="100"/>
                    </a:cubicBezTo>
                    <a:cubicBezTo>
                      <a:pt x="199" y="100"/>
                      <a:pt x="200" y="100"/>
                      <a:pt x="201" y="101"/>
                    </a:cubicBezTo>
                    <a:cubicBezTo>
                      <a:pt x="199" y="100"/>
                      <a:pt x="199" y="100"/>
                      <a:pt x="199" y="100"/>
                    </a:cubicBezTo>
                    <a:cubicBezTo>
                      <a:pt x="199" y="99"/>
                      <a:pt x="199" y="99"/>
                      <a:pt x="198" y="99"/>
                    </a:cubicBezTo>
                    <a:cubicBezTo>
                      <a:pt x="198" y="99"/>
                      <a:pt x="198" y="99"/>
                      <a:pt x="197" y="98"/>
                    </a:cubicBezTo>
                    <a:cubicBezTo>
                      <a:pt x="197" y="98"/>
                      <a:pt x="196" y="98"/>
                      <a:pt x="196" y="97"/>
                    </a:cubicBezTo>
                    <a:cubicBezTo>
                      <a:pt x="196" y="97"/>
                      <a:pt x="196" y="97"/>
                      <a:pt x="195" y="97"/>
                    </a:cubicBezTo>
                    <a:cubicBezTo>
                      <a:pt x="199" y="100"/>
                      <a:pt x="199" y="100"/>
                      <a:pt x="199" y="100"/>
                    </a:cubicBezTo>
                    <a:cubicBezTo>
                      <a:pt x="200" y="100"/>
                      <a:pt x="200" y="100"/>
                      <a:pt x="201" y="100"/>
                    </a:cubicBezTo>
                    <a:cubicBezTo>
                      <a:pt x="204" y="100"/>
                      <a:pt x="206" y="103"/>
                      <a:pt x="209" y="105"/>
                    </a:cubicBezTo>
                    <a:cubicBezTo>
                      <a:pt x="209" y="106"/>
                      <a:pt x="210" y="106"/>
                      <a:pt x="211" y="106"/>
                    </a:cubicBezTo>
                    <a:cubicBezTo>
                      <a:pt x="212" y="106"/>
                      <a:pt x="213" y="106"/>
                      <a:pt x="215" y="107"/>
                    </a:cubicBezTo>
                    <a:cubicBezTo>
                      <a:pt x="216" y="107"/>
                      <a:pt x="218" y="108"/>
                      <a:pt x="219" y="108"/>
                    </a:cubicBezTo>
                    <a:cubicBezTo>
                      <a:pt x="222" y="110"/>
                      <a:pt x="225" y="112"/>
                      <a:pt x="228" y="113"/>
                    </a:cubicBezTo>
                    <a:cubicBezTo>
                      <a:pt x="230" y="114"/>
                      <a:pt x="231" y="114"/>
                      <a:pt x="233" y="114"/>
                    </a:cubicBezTo>
                    <a:cubicBezTo>
                      <a:pt x="237" y="114"/>
                      <a:pt x="241" y="113"/>
                      <a:pt x="245" y="113"/>
                    </a:cubicBezTo>
                    <a:cubicBezTo>
                      <a:pt x="246" y="114"/>
                      <a:pt x="247" y="114"/>
                      <a:pt x="248" y="115"/>
                    </a:cubicBezTo>
                    <a:cubicBezTo>
                      <a:pt x="246" y="115"/>
                      <a:pt x="244" y="115"/>
                      <a:pt x="242" y="115"/>
                    </a:cubicBezTo>
                    <a:cubicBezTo>
                      <a:pt x="241" y="115"/>
                      <a:pt x="240" y="115"/>
                      <a:pt x="239" y="115"/>
                    </a:cubicBezTo>
                    <a:cubicBezTo>
                      <a:pt x="237" y="115"/>
                      <a:pt x="235" y="115"/>
                      <a:pt x="233" y="116"/>
                    </a:cubicBezTo>
                    <a:cubicBezTo>
                      <a:pt x="232" y="117"/>
                      <a:pt x="232" y="118"/>
                      <a:pt x="232" y="119"/>
                    </a:cubicBezTo>
                    <a:cubicBezTo>
                      <a:pt x="231" y="122"/>
                      <a:pt x="227" y="119"/>
                      <a:pt x="225" y="118"/>
                    </a:cubicBezTo>
                    <a:cubicBezTo>
                      <a:pt x="225" y="118"/>
                      <a:pt x="224" y="117"/>
                      <a:pt x="224" y="117"/>
                    </a:cubicBezTo>
                    <a:cubicBezTo>
                      <a:pt x="223" y="118"/>
                      <a:pt x="222" y="118"/>
                      <a:pt x="222" y="118"/>
                    </a:cubicBezTo>
                    <a:cubicBezTo>
                      <a:pt x="221" y="118"/>
                      <a:pt x="220" y="119"/>
                      <a:pt x="219" y="118"/>
                    </a:cubicBezTo>
                    <a:cubicBezTo>
                      <a:pt x="217" y="118"/>
                      <a:pt x="216" y="118"/>
                      <a:pt x="214" y="118"/>
                    </a:cubicBezTo>
                    <a:cubicBezTo>
                      <a:pt x="212" y="117"/>
                      <a:pt x="212" y="116"/>
                      <a:pt x="210" y="117"/>
                    </a:cubicBezTo>
                    <a:cubicBezTo>
                      <a:pt x="210" y="117"/>
                      <a:pt x="208" y="118"/>
                      <a:pt x="208" y="119"/>
                    </a:cubicBezTo>
                    <a:cubicBezTo>
                      <a:pt x="208" y="119"/>
                      <a:pt x="208" y="120"/>
                      <a:pt x="208" y="120"/>
                    </a:cubicBezTo>
                    <a:cubicBezTo>
                      <a:pt x="207" y="121"/>
                      <a:pt x="208" y="121"/>
                      <a:pt x="207" y="121"/>
                    </a:cubicBezTo>
                    <a:cubicBezTo>
                      <a:pt x="206" y="121"/>
                      <a:pt x="206" y="121"/>
                      <a:pt x="205" y="121"/>
                    </a:cubicBezTo>
                    <a:cubicBezTo>
                      <a:pt x="201" y="120"/>
                      <a:pt x="195" y="119"/>
                      <a:pt x="191" y="122"/>
                    </a:cubicBezTo>
                    <a:cubicBezTo>
                      <a:pt x="191" y="122"/>
                      <a:pt x="191" y="122"/>
                      <a:pt x="191" y="122"/>
                    </a:cubicBezTo>
                    <a:cubicBezTo>
                      <a:pt x="192" y="123"/>
                      <a:pt x="191" y="124"/>
                      <a:pt x="191" y="125"/>
                    </a:cubicBezTo>
                    <a:cubicBezTo>
                      <a:pt x="191" y="126"/>
                      <a:pt x="189" y="126"/>
                      <a:pt x="188" y="126"/>
                    </a:cubicBezTo>
                    <a:cubicBezTo>
                      <a:pt x="186" y="127"/>
                      <a:pt x="183" y="126"/>
                      <a:pt x="181" y="127"/>
                    </a:cubicBezTo>
                    <a:cubicBezTo>
                      <a:pt x="178" y="128"/>
                      <a:pt x="182" y="131"/>
                      <a:pt x="183" y="132"/>
                    </a:cubicBezTo>
                    <a:cubicBezTo>
                      <a:pt x="183" y="134"/>
                      <a:pt x="179" y="135"/>
                      <a:pt x="178" y="135"/>
                    </a:cubicBezTo>
                    <a:cubicBezTo>
                      <a:pt x="176" y="135"/>
                      <a:pt x="176" y="134"/>
                      <a:pt x="175" y="134"/>
                    </a:cubicBezTo>
                    <a:cubicBezTo>
                      <a:pt x="173" y="133"/>
                      <a:pt x="170" y="134"/>
                      <a:pt x="168" y="133"/>
                    </a:cubicBezTo>
                    <a:cubicBezTo>
                      <a:pt x="167" y="132"/>
                      <a:pt x="166" y="131"/>
                      <a:pt x="166" y="130"/>
                    </a:cubicBezTo>
                    <a:cubicBezTo>
                      <a:pt x="166" y="130"/>
                      <a:pt x="164" y="127"/>
                      <a:pt x="163" y="127"/>
                    </a:cubicBezTo>
                    <a:cubicBezTo>
                      <a:pt x="163" y="127"/>
                      <a:pt x="161" y="128"/>
                      <a:pt x="161" y="129"/>
                    </a:cubicBezTo>
                    <a:cubicBezTo>
                      <a:pt x="159" y="130"/>
                      <a:pt x="157" y="131"/>
                      <a:pt x="156" y="133"/>
                    </a:cubicBezTo>
                    <a:cubicBezTo>
                      <a:pt x="153" y="134"/>
                      <a:pt x="152" y="136"/>
                      <a:pt x="150" y="137"/>
                    </a:cubicBezTo>
                    <a:cubicBezTo>
                      <a:pt x="149" y="138"/>
                      <a:pt x="148" y="138"/>
                      <a:pt x="148" y="138"/>
                    </a:cubicBezTo>
                    <a:cubicBezTo>
                      <a:pt x="147" y="139"/>
                      <a:pt x="146" y="139"/>
                      <a:pt x="145" y="140"/>
                    </a:cubicBezTo>
                    <a:cubicBezTo>
                      <a:pt x="143" y="140"/>
                      <a:pt x="143" y="140"/>
                      <a:pt x="141" y="140"/>
                    </a:cubicBezTo>
                    <a:cubicBezTo>
                      <a:pt x="140" y="139"/>
                      <a:pt x="140" y="139"/>
                      <a:pt x="138" y="140"/>
                    </a:cubicBezTo>
                    <a:cubicBezTo>
                      <a:pt x="137" y="140"/>
                      <a:pt x="136" y="140"/>
                      <a:pt x="134" y="140"/>
                    </a:cubicBezTo>
                    <a:cubicBezTo>
                      <a:pt x="134" y="140"/>
                      <a:pt x="133" y="140"/>
                      <a:pt x="133" y="140"/>
                    </a:cubicBezTo>
                    <a:cubicBezTo>
                      <a:pt x="132" y="140"/>
                      <a:pt x="132" y="138"/>
                      <a:pt x="132" y="138"/>
                    </a:cubicBezTo>
                    <a:cubicBezTo>
                      <a:pt x="133" y="136"/>
                      <a:pt x="134" y="134"/>
                      <a:pt x="133" y="132"/>
                    </a:cubicBezTo>
                    <a:cubicBezTo>
                      <a:pt x="133" y="130"/>
                      <a:pt x="131" y="129"/>
                      <a:pt x="129" y="129"/>
                    </a:cubicBezTo>
                    <a:cubicBezTo>
                      <a:pt x="127" y="129"/>
                      <a:pt x="126" y="129"/>
                      <a:pt x="125" y="129"/>
                    </a:cubicBezTo>
                    <a:cubicBezTo>
                      <a:pt x="122" y="129"/>
                      <a:pt x="118" y="127"/>
                      <a:pt x="115" y="128"/>
                    </a:cubicBezTo>
                    <a:cubicBezTo>
                      <a:pt x="113" y="129"/>
                      <a:pt x="113" y="132"/>
                      <a:pt x="114" y="134"/>
                    </a:cubicBezTo>
                    <a:cubicBezTo>
                      <a:pt x="115" y="136"/>
                      <a:pt x="116" y="136"/>
                      <a:pt x="119" y="137"/>
                    </a:cubicBezTo>
                    <a:cubicBezTo>
                      <a:pt x="121" y="137"/>
                      <a:pt x="125" y="140"/>
                      <a:pt x="126" y="143"/>
                    </a:cubicBezTo>
                    <a:cubicBezTo>
                      <a:pt x="126" y="145"/>
                      <a:pt x="123" y="146"/>
                      <a:pt x="121" y="147"/>
                    </a:cubicBezTo>
                    <a:cubicBezTo>
                      <a:pt x="118" y="147"/>
                      <a:pt x="114" y="145"/>
                      <a:pt x="111" y="144"/>
                    </a:cubicBezTo>
                    <a:cubicBezTo>
                      <a:pt x="110" y="144"/>
                      <a:pt x="109" y="143"/>
                      <a:pt x="107" y="143"/>
                    </a:cubicBezTo>
                    <a:cubicBezTo>
                      <a:pt x="105" y="143"/>
                      <a:pt x="102" y="144"/>
                      <a:pt x="100" y="143"/>
                    </a:cubicBezTo>
                    <a:cubicBezTo>
                      <a:pt x="98" y="143"/>
                      <a:pt x="95" y="141"/>
                      <a:pt x="93" y="140"/>
                    </a:cubicBezTo>
                    <a:cubicBezTo>
                      <a:pt x="93" y="139"/>
                      <a:pt x="92" y="138"/>
                      <a:pt x="92" y="137"/>
                    </a:cubicBezTo>
                    <a:cubicBezTo>
                      <a:pt x="91" y="136"/>
                      <a:pt x="92" y="136"/>
                      <a:pt x="91" y="135"/>
                    </a:cubicBezTo>
                    <a:cubicBezTo>
                      <a:pt x="91" y="135"/>
                      <a:pt x="90" y="133"/>
                      <a:pt x="89" y="132"/>
                    </a:cubicBezTo>
                    <a:cubicBezTo>
                      <a:pt x="88" y="132"/>
                      <a:pt x="87" y="134"/>
                      <a:pt x="86" y="135"/>
                    </a:cubicBezTo>
                    <a:cubicBezTo>
                      <a:pt x="86" y="135"/>
                      <a:pt x="85" y="135"/>
                      <a:pt x="85" y="135"/>
                    </a:cubicBezTo>
                    <a:cubicBezTo>
                      <a:pt x="84" y="135"/>
                      <a:pt x="84" y="135"/>
                      <a:pt x="83" y="135"/>
                    </a:cubicBezTo>
                    <a:cubicBezTo>
                      <a:pt x="81" y="136"/>
                      <a:pt x="78" y="136"/>
                      <a:pt x="76" y="136"/>
                    </a:cubicBezTo>
                    <a:cubicBezTo>
                      <a:pt x="74" y="135"/>
                      <a:pt x="72" y="135"/>
                      <a:pt x="71" y="135"/>
                    </a:cubicBezTo>
                    <a:cubicBezTo>
                      <a:pt x="69" y="135"/>
                      <a:pt x="68" y="136"/>
                      <a:pt x="66" y="136"/>
                    </a:cubicBezTo>
                    <a:cubicBezTo>
                      <a:pt x="64" y="137"/>
                      <a:pt x="63" y="138"/>
                      <a:pt x="60" y="137"/>
                    </a:cubicBezTo>
                    <a:cubicBezTo>
                      <a:pt x="59" y="137"/>
                      <a:pt x="58" y="138"/>
                      <a:pt x="58" y="136"/>
                    </a:cubicBezTo>
                    <a:cubicBezTo>
                      <a:pt x="58" y="136"/>
                      <a:pt x="58" y="135"/>
                      <a:pt x="58" y="134"/>
                    </a:cubicBezTo>
                    <a:cubicBezTo>
                      <a:pt x="58" y="134"/>
                      <a:pt x="59" y="133"/>
                      <a:pt x="59" y="132"/>
                    </a:cubicBezTo>
                    <a:cubicBezTo>
                      <a:pt x="59" y="132"/>
                      <a:pt x="59" y="131"/>
                      <a:pt x="59" y="130"/>
                    </a:cubicBezTo>
                    <a:cubicBezTo>
                      <a:pt x="59" y="130"/>
                      <a:pt x="59" y="130"/>
                      <a:pt x="59" y="129"/>
                    </a:cubicBezTo>
                    <a:cubicBezTo>
                      <a:pt x="57" y="130"/>
                      <a:pt x="55" y="130"/>
                      <a:pt x="54" y="131"/>
                    </a:cubicBezTo>
                    <a:cubicBezTo>
                      <a:pt x="52" y="132"/>
                      <a:pt x="51" y="132"/>
                      <a:pt x="49" y="133"/>
                    </a:cubicBezTo>
                    <a:cubicBezTo>
                      <a:pt x="48" y="134"/>
                      <a:pt x="47" y="136"/>
                      <a:pt x="46" y="136"/>
                    </a:cubicBezTo>
                    <a:cubicBezTo>
                      <a:pt x="42" y="138"/>
                      <a:pt x="34" y="136"/>
                      <a:pt x="30" y="136"/>
                    </a:cubicBezTo>
                    <a:cubicBezTo>
                      <a:pt x="27" y="136"/>
                      <a:pt x="20" y="135"/>
                      <a:pt x="17" y="137"/>
                    </a:cubicBezTo>
                    <a:cubicBezTo>
                      <a:pt x="15" y="138"/>
                      <a:pt x="16" y="139"/>
                      <a:pt x="16" y="140"/>
                    </a:cubicBezTo>
                    <a:cubicBezTo>
                      <a:pt x="15" y="142"/>
                      <a:pt x="15" y="145"/>
                      <a:pt x="14" y="147"/>
                    </a:cubicBezTo>
                    <a:cubicBezTo>
                      <a:pt x="11" y="150"/>
                      <a:pt x="8" y="150"/>
                      <a:pt x="5" y="151"/>
                    </a:cubicBezTo>
                    <a:cubicBezTo>
                      <a:pt x="2" y="152"/>
                      <a:pt x="0" y="155"/>
                      <a:pt x="1" y="158"/>
                    </a:cubicBezTo>
                    <a:cubicBezTo>
                      <a:pt x="4" y="164"/>
                      <a:pt x="6" y="158"/>
                      <a:pt x="8" y="156"/>
                    </a:cubicBezTo>
                    <a:cubicBezTo>
                      <a:pt x="9" y="155"/>
                      <a:pt x="11" y="154"/>
                      <a:pt x="12" y="154"/>
                    </a:cubicBezTo>
                    <a:cubicBezTo>
                      <a:pt x="14" y="153"/>
                      <a:pt x="19" y="150"/>
                      <a:pt x="21" y="150"/>
                    </a:cubicBezTo>
                    <a:cubicBezTo>
                      <a:pt x="21" y="151"/>
                      <a:pt x="23" y="152"/>
                      <a:pt x="25" y="153"/>
                    </a:cubicBezTo>
                    <a:cubicBezTo>
                      <a:pt x="26" y="153"/>
                      <a:pt x="29" y="153"/>
                      <a:pt x="30" y="154"/>
                    </a:cubicBezTo>
                    <a:cubicBezTo>
                      <a:pt x="32" y="156"/>
                      <a:pt x="28" y="161"/>
                      <a:pt x="29" y="163"/>
                    </a:cubicBezTo>
                    <a:cubicBezTo>
                      <a:pt x="32" y="165"/>
                      <a:pt x="39" y="157"/>
                      <a:pt x="38" y="166"/>
                    </a:cubicBezTo>
                    <a:cubicBezTo>
                      <a:pt x="37" y="169"/>
                      <a:pt x="37" y="167"/>
                      <a:pt x="34" y="168"/>
                    </a:cubicBezTo>
                    <a:cubicBezTo>
                      <a:pt x="33" y="169"/>
                      <a:pt x="32" y="169"/>
                      <a:pt x="32" y="170"/>
                    </a:cubicBezTo>
                    <a:cubicBezTo>
                      <a:pt x="31" y="171"/>
                      <a:pt x="30" y="171"/>
                      <a:pt x="29" y="171"/>
                    </a:cubicBezTo>
                    <a:cubicBezTo>
                      <a:pt x="27" y="172"/>
                      <a:pt x="27" y="170"/>
                      <a:pt x="26" y="173"/>
                    </a:cubicBezTo>
                    <a:cubicBezTo>
                      <a:pt x="26" y="175"/>
                      <a:pt x="26" y="180"/>
                      <a:pt x="27" y="182"/>
                    </a:cubicBezTo>
                    <a:cubicBezTo>
                      <a:pt x="27" y="187"/>
                      <a:pt x="29" y="194"/>
                      <a:pt x="26" y="198"/>
                    </a:cubicBezTo>
                    <a:cubicBezTo>
                      <a:pt x="25" y="201"/>
                      <a:pt x="25" y="201"/>
                      <a:pt x="24" y="204"/>
                    </a:cubicBezTo>
                    <a:cubicBezTo>
                      <a:pt x="24" y="205"/>
                      <a:pt x="25" y="207"/>
                      <a:pt x="24" y="208"/>
                    </a:cubicBezTo>
                    <a:cubicBezTo>
                      <a:pt x="26" y="209"/>
                      <a:pt x="29" y="209"/>
                      <a:pt x="31" y="209"/>
                    </a:cubicBezTo>
                    <a:cubicBezTo>
                      <a:pt x="34" y="210"/>
                      <a:pt x="35" y="211"/>
                      <a:pt x="38" y="211"/>
                    </a:cubicBezTo>
                    <a:cubicBezTo>
                      <a:pt x="41" y="211"/>
                      <a:pt x="46" y="212"/>
                      <a:pt x="48" y="211"/>
                    </a:cubicBezTo>
                    <a:cubicBezTo>
                      <a:pt x="51" y="210"/>
                      <a:pt x="51" y="209"/>
                      <a:pt x="53" y="208"/>
                    </a:cubicBezTo>
                    <a:cubicBezTo>
                      <a:pt x="55" y="208"/>
                      <a:pt x="58" y="208"/>
                      <a:pt x="60" y="208"/>
                    </a:cubicBezTo>
                    <a:cubicBezTo>
                      <a:pt x="64" y="208"/>
                      <a:pt x="68" y="208"/>
                      <a:pt x="73" y="208"/>
                    </a:cubicBezTo>
                    <a:cubicBezTo>
                      <a:pt x="74" y="213"/>
                      <a:pt x="61" y="217"/>
                      <a:pt x="58" y="220"/>
                    </a:cubicBezTo>
                    <a:cubicBezTo>
                      <a:pt x="55" y="222"/>
                      <a:pt x="52" y="226"/>
                      <a:pt x="54" y="229"/>
                    </a:cubicBezTo>
                    <a:cubicBezTo>
                      <a:pt x="55" y="232"/>
                      <a:pt x="60" y="233"/>
                      <a:pt x="61" y="235"/>
                    </a:cubicBezTo>
                    <a:cubicBezTo>
                      <a:pt x="62" y="237"/>
                      <a:pt x="63" y="239"/>
                      <a:pt x="63" y="241"/>
                    </a:cubicBezTo>
                    <a:cubicBezTo>
                      <a:pt x="65" y="244"/>
                      <a:pt x="63" y="248"/>
                      <a:pt x="64" y="252"/>
                    </a:cubicBezTo>
                    <a:cubicBezTo>
                      <a:pt x="65" y="253"/>
                      <a:pt x="66" y="256"/>
                      <a:pt x="66" y="256"/>
                    </a:cubicBezTo>
                    <a:cubicBezTo>
                      <a:pt x="68" y="257"/>
                      <a:pt x="69" y="256"/>
                      <a:pt x="70" y="257"/>
                    </a:cubicBezTo>
                    <a:cubicBezTo>
                      <a:pt x="71" y="258"/>
                      <a:pt x="72" y="259"/>
                      <a:pt x="72" y="261"/>
                    </a:cubicBezTo>
                    <a:cubicBezTo>
                      <a:pt x="72" y="265"/>
                      <a:pt x="70" y="264"/>
                      <a:pt x="67" y="265"/>
                    </a:cubicBezTo>
                    <a:cubicBezTo>
                      <a:pt x="66" y="266"/>
                      <a:pt x="65" y="268"/>
                      <a:pt x="64" y="269"/>
                    </a:cubicBezTo>
                    <a:cubicBezTo>
                      <a:pt x="62" y="270"/>
                      <a:pt x="60" y="270"/>
                      <a:pt x="59" y="273"/>
                    </a:cubicBezTo>
                    <a:cubicBezTo>
                      <a:pt x="58" y="277"/>
                      <a:pt x="64" y="286"/>
                      <a:pt x="66" y="288"/>
                    </a:cubicBezTo>
                    <a:cubicBezTo>
                      <a:pt x="68" y="290"/>
                      <a:pt x="69" y="290"/>
                      <a:pt x="70" y="291"/>
                    </a:cubicBezTo>
                    <a:cubicBezTo>
                      <a:pt x="70" y="292"/>
                      <a:pt x="72" y="296"/>
                      <a:pt x="72" y="297"/>
                    </a:cubicBezTo>
                    <a:cubicBezTo>
                      <a:pt x="72" y="303"/>
                      <a:pt x="60" y="299"/>
                      <a:pt x="57" y="299"/>
                    </a:cubicBezTo>
                    <a:cubicBezTo>
                      <a:pt x="52" y="299"/>
                      <a:pt x="50" y="298"/>
                      <a:pt x="49" y="293"/>
                    </a:cubicBezTo>
                    <a:cubicBezTo>
                      <a:pt x="48" y="291"/>
                      <a:pt x="49" y="289"/>
                      <a:pt x="49" y="287"/>
                    </a:cubicBezTo>
                    <a:cubicBezTo>
                      <a:pt x="48" y="285"/>
                      <a:pt x="47" y="284"/>
                      <a:pt x="46" y="283"/>
                    </a:cubicBezTo>
                    <a:cubicBezTo>
                      <a:pt x="45" y="280"/>
                      <a:pt x="46" y="275"/>
                      <a:pt x="41" y="277"/>
                    </a:cubicBezTo>
                    <a:cubicBezTo>
                      <a:pt x="35" y="280"/>
                      <a:pt x="37" y="289"/>
                      <a:pt x="39" y="293"/>
                    </a:cubicBezTo>
                    <a:cubicBezTo>
                      <a:pt x="40" y="295"/>
                      <a:pt x="41" y="297"/>
                      <a:pt x="40" y="299"/>
                    </a:cubicBezTo>
                    <a:cubicBezTo>
                      <a:pt x="40" y="302"/>
                      <a:pt x="36" y="301"/>
                      <a:pt x="35" y="302"/>
                    </a:cubicBezTo>
                    <a:cubicBezTo>
                      <a:pt x="34" y="305"/>
                      <a:pt x="37" y="310"/>
                      <a:pt x="40" y="310"/>
                    </a:cubicBezTo>
                    <a:cubicBezTo>
                      <a:pt x="40" y="314"/>
                      <a:pt x="48" y="315"/>
                      <a:pt x="51" y="315"/>
                    </a:cubicBezTo>
                    <a:cubicBezTo>
                      <a:pt x="54" y="315"/>
                      <a:pt x="56" y="315"/>
                      <a:pt x="58" y="316"/>
                    </a:cubicBezTo>
                    <a:cubicBezTo>
                      <a:pt x="60" y="317"/>
                      <a:pt x="60" y="320"/>
                      <a:pt x="62" y="320"/>
                    </a:cubicBezTo>
                    <a:cubicBezTo>
                      <a:pt x="67" y="322"/>
                      <a:pt x="71" y="321"/>
                      <a:pt x="75" y="326"/>
                    </a:cubicBezTo>
                    <a:cubicBezTo>
                      <a:pt x="78" y="329"/>
                      <a:pt x="81" y="332"/>
                      <a:pt x="82" y="336"/>
                    </a:cubicBezTo>
                    <a:cubicBezTo>
                      <a:pt x="85" y="336"/>
                      <a:pt x="85" y="337"/>
                      <a:pt x="86" y="340"/>
                    </a:cubicBezTo>
                    <a:cubicBezTo>
                      <a:pt x="87" y="343"/>
                      <a:pt x="90" y="347"/>
                      <a:pt x="89" y="350"/>
                    </a:cubicBezTo>
                    <a:cubicBezTo>
                      <a:pt x="86" y="357"/>
                      <a:pt x="73" y="350"/>
                      <a:pt x="70" y="348"/>
                    </a:cubicBezTo>
                    <a:cubicBezTo>
                      <a:pt x="67" y="346"/>
                      <a:pt x="68" y="344"/>
                      <a:pt x="63" y="344"/>
                    </a:cubicBezTo>
                    <a:cubicBezTo>
                      <a:pt x="62" y="344"/>
                      <a:pt x="59" y="344"/>
                      <a:pt x="57" y="344"/>
                    </a:cubicBezTo>
                    <a:cubicBezTo>
                      <a:pt x="57" y="345"/>
                      <a:pt x="56" y="346"/>
                      <a:pt x="55" y="347"/>
                    </a:cubicBezTo>
                    <a:cubicBezTo>
                      <a:pt x="55" y="347"/>
                      <a:pt x="53" y="348"/>
                      <a:pt x="52" y="348"/>
                    </a:cubicBezTo>
                    <a:cubicBezTo>
                      <a:pt x="51" y="349"/>
                      <a:pt x="47" y="351"/>
                      <a:pt x="48" y="353"/>
                    </a:cubicBezTo>
                    <a:cubicBezTo>
                      <a:pt x="50" y="356"/>
                      <a:pt x="52" y="354"/>
                      <a:pt x="54" y="355"/>
                    </a:cubicBezTo>
                    <a:cubicBezTo>
                      <a:pt x="56" y="355"/>
                      <a:pt x="57" y="358"/>
                      <a:pt x="59" y="359"/>
                    </a:cubicBezTo>
                    <a:cubicBezTo>
                      <a:pt x="61" y="360"/>
                      <a:pt x="62" y="361"/>
                      <a:pt x="65" y="361"/>
                    </a:cubicBezTo>
                    <a:cubicBezTo>
                      <a:pt x="68" y="362"/>
                      <a:pt x="69" y="362"/>
                      <a:pt x="71" y="364"/>
                    </a:cubicBezTo>
                    <a:cubicBezTo>
                      <a:pt x="73" y="365"/>
                      <a:pt x="74" y="366"/>
                      <a:pt x="75" y="367"/>
                    </a:cubicBezTo>
                    <a:cubicBezTo>
                      <a:pt x="77" y="368"/>
                      <a:pt x="78" y="370"/>
                      <a:pt x="79" y="371"/>
                    </a:cubicBezTo>
                    <a:cubicBezTo>
                      <a:pt x="80" y="371"/>
                      <a:pt x="81" y="371"/>
                      <a:pt x="82" y="371"/>
                    </a:cubicBezTo>
                    <a:cubicBezTo>
                      <a:pt x="83" y="371"/>
                      <a:pt x="84" y="374"/>
                      <a:pt x="84" y="375"/>
                    </a:cubicBezTo>
                    <a:cubicBezTo>
                      <a:pt x="86" y="380"/>
                      <a:pt x="82" y="386"/>
                      <a:pt x="89" y="387"/>
                    </a:cubicBezTo>
                    <a:cubicBezTo>
                      <a:pt x="94" y="388"/>
                      <a:pt x="96" y="382"/>
                      <a:pt x="101" y="384"/>
                    </a:cubicBezTo>
                    <a:cubicBezTo>
                      <a:pt x="104" y="385"/>
                      <a:pt x="108" y="392"/>
                      <a:pt x="108" y="396"/>
                    </a:cubicBezTo>
                    <a:cubicBezTo>
                      <a:pt x="107" y="400"/>
                      <a:pt x="102" y="405"/>
                      <a:pt x="98" y="402"/>
                    </a:cubicBezTo>
                    <a:cubicBezTo>
                      <a:pt x="98" y="402"/>
                      <a:pt x="98" y="401"/>
                      <a:pt x="98" y="400"/>
                    </a:cubicBezTo>
                    <a:cubicBezTo>
                      <a:pt x="97" y="399"/>
                      <a:pt x="95" y="401"/>
                      <a:pt x="94" y="400"/>
                    </a:cubicBezTo>
                    <a:cubicBezTo>
                      <a:pt x="93" y="400"/>
                      <a:pt x="93" y="399"/>
                      <a:pt x="93" y="398"/>
                    </a:cubicBezTo>
                    <a:cubicBezTo>
                      <a:pt x="91" y="397"/>
                      <a:pt x="90" y="397"/>
                      <a:pt x="88" y="398"/>
                    </a:cubicBezTo>
                    <a:cubicBezTo>
                      <a:pt x="85" y="399"/>
                      <a:pt x="86" y="401"/>
                      <a:pt x="85" y="403"/>
                    </a:cubicBezTo>
                    <a:cubicBezTo>
                      <a:pt x="84" y="406"/>
                      <a:pt x="82" y="404"/>
                      <a:pt x="85" y="407"/>
                    </a:cubicBezTo>
                    <a:cubicBezTo>
                      <a:pt x="88" y="410"/>
                      <a:pt x="92" y="412"/>
                      <a:pt x="96" y="412"/>
                    </a:cubicBezTo>
                    <a:cubicBezTo>
                      <a:pt x="105" y="412"/>
                      <a:pt x="114" y="411"/>
                      <a:pt x="123" y="412"/>
                    </a:cubicBezTo>
                    <a:cubicBezTo>
                      <a:pt x="125" y="412"/>
                      <a:pt x="128" y="412"/>
                      <a:pt x="130" y="413"/>
                    </a:cubicBezTo>
                    <a:cubicBezTo>
                      <a:pt x="133" y="413"/>
                      <a:pt x="137" y="412"/>
                      <a:pt x="140" y="413"/>
                    </a:cubicBezTo>
                    <a:cubicBezTo>
                      <a:pt x="142" y="414"/>
                      <a:pt x="144" y="416"/>
                      <a:pt x="146" y="416"/>
                    </a:cubicBezTo>
                    <a:cubicBezTo>
                      <a:pt x="147" y="417"/>
                      <a:pt x="149" y="416"/>
                      <a:pt x="150" y="416"/>
                    </a:cubicBezTo>
                    <a:cubicBezTo>
                      <a:pt x="149" y="422"/>
                      <a:pt x="139" y="415"/>
                      <a:pt x="139" y="423"/>
                    </a:cubicBezTo>
                    <a:cubicBezTo>
                      <a:pt x="138" y="423"/>
                      <a:pt x="138" y="424"/>
                      <a:pt x="137" y="424"/>
                    </a:cubicBezTo>
                    <a:cubicBezTo>
                      <a:pt x="135" y="425"/>
                      <a:pt x="134" y="425"/>
                      <a:pt x="132" y="425"/>
                    </a:cubicBezTo>
                    <a:cubicBezTo>
                      <a:pt x="129" y="426"/>
                      <a:pt x="126" y="425"/>
                      <a:pt x="124" y="425"/>
                    </a:cubicBezTo>
                    <a:cubicBezTo>
                      <a:pt x="121" y="426"/>
                      <a:pt x="121" y="428"/>
                      <a:pt x="118" y="429"/>
                    </a:cubicBezTo>
                    <a:cubicBezTo>
                      <a:pt x="112" y="432"/>
                      <a:pt x="106" y="425"/>
                      <a:pt x="101" y="427"/>
                    </a:cubicBezTo>
                    <a:cubicBezTo>
                      <a:pt x="98" y="428"/>
                      <a:pt x="96" y="431"/>
                      <a:pt x="96" y="433"/>
                    </a:cubicBezTo>
                    <a:cubicBezTo>
                      <a:pt x="97" y="439"/>
                      <a:pt x="102" y="438"/>
                      <a:pt x="106" y="438"/>
                    </a:cubicBezTo>
                    <a:cubicBezTo>
                      <a:pt x="113" y="438"/>
                      <a:pt x="119" y="440"/>
                      <a:pt x="125" y="439"/>
                    </a:cubicBezTo>
                    <a:cubicBezTo>
                      <a:pt x="127" y="438"/>
                      <a:pt x="134" y="436"/>
                      <a:pt x="134" y="440"/>
                    </a:cubicBezTo>
                    <a:cubicBezTo>
                      <a:pt x="133" y="442"/>
                      <a:pt x="130" y="442"/>
                      <a:pt x="128" y="444"/>
                    </a:cubicBezTo>
                    <a:cubicBezTo>
                      <a:pt x="130" y="448"/>
                      <a:pt x="143" y="452"/>
                      <a:pt x="147" y="448"/>
                    </a:cubicBezTo>
                    <a:cubicBezTo>
                      <a:pt x="150" y="444"/>
                      <a:pt x="144" y="435"/>
                      <a:pt x="149" y="433"/>
                    </a:cubicBezTo>
                    <a:cubicBezTo>
                      <a:pt x="150" y="432"/>
                      <a:pt x="156" y="433"/>
                      <a:pt x="157" y="434"/>
                    </a:cubicBezTo>
                    <a:cubicBezTo>
                      <a:pt x="159" y="434"/>
                      <a:pt x="160" y="436"/>
                      <a:pt x="162" y="436"/>
                    </a:cubicBezTo>
                    <a:cubicBezTo>
                      <a:pt x="164" y="436"/>
                      <a:pt x="165" y="435"/>
                      <a:pt x="166" y="436"/>
                    </a:cubicBezTo>
                    <a:cubicBezTo>
                      <a:pt x="170" y="438"/>
                      <a:pt x="169" y="443"/>
                      <a:pt x="174" y="443"/>
                    </a:cubicBezTo>
                    <a:cubicBezTo>
                      <a:pt x="176" y="443"/>
                      <a:pt x="180" y="441"/>
                      <a:pt x="181" y="439"/>
                    </a:cubicBezTo>
                    <a:cubicBezTo>
                      <a:pt x="183" y="439"/>
                      <a:pt x="186" y="441"/>
                      <a:pt x="187" y="443"/>
                    </a:cubicBezTo>
                    <a:cubicBezTo>
                      <a:pt x="190" y="445"/>
                      <a:pt x="189" y="446"/>
                      <a:pt x="190" y="449"/>
                    </a:cubicBezTo>
                    <a:cubicBezTo>
                      <a:pt x="191" y="456"/>
                      <a:pt x="195" y="458"/>
                      <a:pt x="200" y="462"/>
                    </a:cubicBezTo>
                    <a:cubicBezTo>
                      <a:pt x="202" y="463"/>
                      <a:pt x="204" y="464"/>
                      <a:pt x="206" y="466"/>
                    </a:cubicBezTo>
                    <a:cubicBezTo>
                      <a:pt x="207" y="467"/>
                      <a:pt x="207" y="468"/>
                      <a:pt x="208" y="470"/>
                    </a:cubicBezTo>
                    <a:cubicBezTo>
                      <a:pt x="211" y="475"/>
                      <a:pt x="213" y="481"/>
                      <a:pt x="217" y="486"/>
                    </a:cubicBezTo>
                    <a:cubicBezTo>
                      <a:pt x="221" y="492"/>
                      <a:pt x="225" y="494"/>
                      <a:pt x="232" y="495"/>
                    </a:cubicBezTo>
                    <a:cubicBezTo>
                      <a:pt x="236" y="495"/>
                      <a:pt x="240" y="495"/>
                      <a:pt x="243" y="495"/>
                    </a:cubicBezTo>
                    <a:cubicBezTo>
                      <a:pt x="248" y="494"/>
                      <a:pt x="250" y="491"/>
                      <a:pt x="254" y="489"/>
                    </a:cubicBezTo>
                    <a:cubicBezTo>
                      <a:pt x="257" y="487"/>
                      <a:pt x="259" y="485"/>
                      <a:pt x="262" y="483"/>
                    </a:cubicBezTo>
                    <a:cubicBezTo>
                      <a:pt x="265" y="481"/>
                      <a:pt x="269" y="479"/>
                      <a:pt x="272" y="477"/>
                    </a:cubicBezTo>
                    <a:cubicBezTo>
                      <a:pt x="274" y="476"/>
                      <a:pt x="272" y="474"/>
                      <a:pt x="275" y="475"/>
                    </a:cubicBezTo>
                    <a:cubicBezTo>
                      <a:pt x="277" y="475"/>
                      <a:pt x="279" y="480"/>
                      <a:pt x="282" y="477"/>
                    </a:cubicBezTo>
                    <a:cubicBezTo>
                      <a:pt x="286" y="475"/>
                      <a:pt x="283" y="463"/>
                      <a:pt x="283" y="459"/>
                    </a:cubicBezTo>
                    <a:cubicBezTo>
                      <a:pt x="284" y="452"/>
                      <a:pt x="288" y="444"/>
                      <a:pt x="291" y="438"/>
                    </a:cubicBezTo>
                    <a:cubicBezTo>
                      <a:pt x="293" y="433"/>
                      <a:pt x="295" y="431"/>
                      <a:pt x="300" y="433"/>
                    </a:cubicBezTo>
                    <a:cubicBezTo>
                      <a:pt x="304" y="435"/>
                      <a:pt x="307" y="435"/>
                      <a:pt x="311" y="435"/>
                    </a:cubicBezTo>
                    <a:cubicBezTo>
                      <a:pt x="309" y="435"/>
                      <a:pt x="307" y="434"/>
                      <a:pt x="307" y="432"/>
                    </a:cubicBezTo>
                    <a:cubicBezTo>
                      <a:pt x="312" y="431"/>
                      <a:pt x="313" y="433"/>
                      <a:pt x="316" y="436"/>
                    </a:cubicBezTo>
                    <a:cubicBezTo>
                      <a:pt x="319" y="438"/>
                      <a:pt x="323" y="439"/>
                      <a:pt x="327" y="440"/>
                    </a:cubicBezTo>
                    <a:cubicBezTo>
                      <a:pt x="333" y="441"/>
                      <a:pt x="339" y="444"/>
                      <a:pt x="345" y="445"/>
                    </a:cubicBezTo>
                    <a:cubicBezTo>
                      <a:pt x="349" y="447"/>
                      <a:pt x="351" y="449"/>
                      <a:pt x="355" y="451"/>
                    </a:cubicBezTo>
                    <a:cubicBezTo>
                      <a:pt x="359" y="453"/>
                      <a:pt x="362" y="454"/>
                      <a:pt x="365" y="457"/>
                    </a:cubicBezTo>
                    <a:cubicBezTo>
                      <a:pt x="368" y="459"/>
                      <a:pt x="368" y="461"/>
                      <a:pt x="369" y="464"/>
                    </a:cubicBezTo>
                    <a:cubicBezTo>
                      <a:pt x="369" y="464"/>
                      <a:pt x="371" y="466"/>
                      <a:pt x="371" y="467"/>
                    </a:cubicBezTo>
                    <a:cubicBezTo>
                      <a:pt x="371" y="467"/>
                      <a:pt x="371" y="468"/>
                      <a:pt x="371" y="468"/>
                    </a:cubicBezTo>
                    <a:cubicBezTo>
                      <a:pt x="371" y="470"/>
                      <a:pt x="372" y="470"/>
                      <a:pt x="373" y="471"/>
                    </a:cubicBezTo>
                    <a:cubicBezTo>
                      <a:pt x="372" y="470"/>
                      <a:pt x="375" y="474"/>
                      <a:pt x="374" y="473"/>
                    </a:cubicBezTo>
                    <a:cubicBezTo>
                      <a:pt x="375" y="475"/>
                      <a:pt x="377" y="474"/>
                      <a:pt x="378" y="476"/>
                    </a:cubicBezTo>
                    <a:cubicBezTo>
                      <a:pt x="378" y="476"/>
                      <a:pt x="378" y="477"/>
                      <a:pt x="379" y="478"/>
                    </a:cubicBezTo>
                    <a:cubicBezTo>
                      <a:pt x="379" y="479"/>
                      <a:pt x="380" y="480"/>
                      <a:pt x="381" y="481"/>
                    </a:cubicBezTo>
                    <a:cubicBezTo>
                      <a:pt x="383" y="483"/>
                      <a:pt x="384" y="484"/>
                      <a:pt x="385" y="486"/>
                    </a:cubicBezTo>
                    <a:cubicBezTo>
                      <a:pt x="387" y="487"/>
                      <a:pt x="390" y="489"/>
                      <a:pt x="392" y="491"/>
                    </a:cubicBezTo>
                    <a:cubicBezTo>
                      <a:pt x="394" y="493"/>
                      <a:pt x="394" y="496"/>
                      <a:pt x="398" y="497"/>
                    </a:cubicBezTo>
                    <a:cubicBezTo>
                      <a:pt x="403" y="499"/>
                      <a:pt x="408" y="501"/>
                      <a:pt x="413" y="502"/>
                    </a:cubicBezTo>
                    <a:cubicBezTo>
                      <a:pt x="417" y="504"/>
                      <a:pt x="419" y="504"/>
                      <a:pt x="424" y="503"/>
                    </a:cubicBezTo>
                    <a:cubicBezTo>
                      <a:pt x="429" y="502"/>
                      <a:pt x="433" y="500"/>
                      <a:pt x="438" y="500"/>
                    </a:cubicBezTo>
                    <a:cubicBezTo>
                      <a:pt x="447" y="500"/>
                      <a:pt x="456" y="500"/>
                      <a:pt x="465" y="500"/>
                    </a:cubicBezTo>
                    <a:cubicBezTo>
                      <a:pt x="472" y="500"/>
                      <a:pt x="479" y="501"/>
                      <a:pt x="486" y="500"/>
                    </a:cubicBezTo>
                    <a:cubicBezTo>
                      <a:pt x="490" y="500"/>
                      <a:pt x="490" y="498"/>
                      <a:pt x="491" y="495"/>
                    </a:cubicBezTo>
                    <a:cubicBezTo>
                      <a:pt x="492" y="493"/>
                      <a:pt x="491" y="493"/>
                      <a:pt x="492" y="491"/>
                    </a:cubicBezTo>
                    <a:cubicBezTo>
                      <a:pt x="492" y="490"/>
                      <a:pt x="495" y="489"/>
                      <a:pt x="496" y="488"/>
                    </a:cubicBezTo>
                    <a:cubicBezTo>
                      <a:pt x="498" y="485"/>
                      <a:pt x="500" y="483"/>
                      <a:pt x="501" y="480"/>
                    </a:cubicBezTo>
                    <a:cubicBezTo>
                      <a:pt x="503" y="478"/>
                      <a:pt x="502" y="479"/>
                      <a:pt x="504" y="477"/>
                    </a:cubicBezTo>
                    <a:cubicBezTo>
                      <a:pt x="505" y="476"/>
                      <a:pt x="507" y="474"/>
                      <a:pt x="508" y="473"/>
                    </a:cubicBezTo>
                    <a:cubicBezTo>
                      <a:pt x="512" y="470"/>
                      <a:pt x="519" y="473"/>
                      <a:pt x="520" y="465"/>
                    </a:cubicBezTo>
                    <a:cubicBezTo>
                      <a:pt x="520" y="463"/>
                      <a:pt x="519" y="459"/>
                      <a:pt x="521" y="457"/>
                    </a:cubicBezTo>
                    <a:cubicBezTo>
                      <a:pt x="522" y="455"/>
                      <a:pt x="523" y="455"/>
                      <a:pt x="525" y="454"/>
                    </a:cubicBezTo>
                    <a:cubicBezTo>
                      <a:pt x="527" y="453"/>
                      <a:pt x="526" y="452"/>
                      <a:pt x="528" y="451"/>
                    </a:cubicBezTo>
                    <a:cubicBezTo>
                      <a:pt x="531" y="450"/>
                      <a:pt x="535" y="452"/>
                      <a:pt x="537" y="454"/>
                    </a:cubicBezTo>
                    <a:cubicBezTo>
                      <a:pt x="539" y="455"/>
                      <a:pt x="540" y="456"/>
                      <a:pt x="542" y="456"/>
                    </a:cubicBezTo>
                    <a:cubicBezTo>
                      <a:pt x="544" y="457"/>
                      <a:pt x="546" y="456"/>
                      <a:pt x="547" y="456"/>
                    </a:cubicBezTo>
                    <a:cubicBezTo>
                      <a:pt x="550" y="457"/>
                      <a:pt x="551" y="459"/>
                      <a:pt x="554" y="461"/>
                    </a:cubicBezTo>
                    <a:cubicBezTo>
                      <a:pt x="558" y="464"/>
                      <a:pt x="561" y="464"/>
                      <a:pt x="565" y="466"/>
                    </a:cubicBezTo>
                    <a:cubicBezTo>
                      <a:pt x="565" y="466"/>
                      <a:pt x="568" y="467"/>
                      <a:pt x="568" y="467"/>
                    </a:cubicBezTo>
                    <a:cubicBezTo>
                      <a:pt x="570" y="468"/>
                      <a:pt x="571" y="468"/>
                      <a:pt x="573" y="469"/>
                    </a:cubicBezTo>
                    <a:cubicBezTo>
                      <a:pt x="574" y="469"/>
                      <a:pt x="575" y="470"/>
                      <a:pt x="576" y="470"/>
                    </a:cubicBezTo>
                    <a:cubicBezTo>
                      <a:pt x="579" y="471"/>
                      <a:pt x="582" y="470"/>
                      <a:pt x="585" y="470"/>
                    </a:cubicBezTo>
                    <a:cubicBezTo>
                      <a:pt x="588" y="470"/>
                      <a:pt x="589" y="470"/>
                      <a:pt x="591" y="468"/>
                    </a:cubicBezTo>
                    <a:cubicBezTo>
                      <a:pt x="592" y="467"/>
                      <a:pt x="591" y="465"/>
                      <a:pt x="592" y="464"/>
                    </a:cubicBezTo>
                    <a:cubicBezTo>
                      <a:pt x="593" y="462"/>
                      <a:pt x="594" y="463"/>
                      <a:pt x="595" y="462"/>
                    </a:cubicBezTo>
                    <a:cubicBezTo>
                      <a:pt x="598" y="462"/>
                      <a:pt x="600" y="461"/>
                      <a:pt x="602" y="459"/>
                    </a:cubicBezTo>
                    <a:cubicBezTo>
                      <a:pt x="605" y="458"/>
                      <a:pt x="607" y="457"/>
                      <a:pt x="610" y="456"/>
                    </a:cubicBezTo>
                    <a:cubicBezTo>
                      <a:pt x="614" y="455"/>
                      <a:pt x="621" y="451"/>
                      <a:pt x="624" y="457"/>
                    </a:cubicBezTo>
                    <a:cubicBezTo>
                      <a:pt x="625" y="460"/>
                      <a:pt x="623" y="462"/>
                      <a:pt x="621" y="464"/>
                    </a:cubicBezTo>
                    <a:cubicBezTo>
                      <a:pt x="619" y="467"/>
                      <a:pt x="619" y="470"/>
                      <a:pt x="616" y="472"/>
                    </a:cubicBezTo>
                    <a:cubicBezTo>
                      <a:pt x="612" y="474"/>
                      <a:pt x="608" y="475"/>
                      <a:pt x="605" y="477"/>
                    </a:cubicBezTo>
                    <a:cubicBezTo>
                      <a:pt x="601" y="479"/>
                      <a:pt x="601" y="480"/>
                      <a:pt x="601" y="484"/>
                    </a:cubicBezTo>
                    <a:cubicBezTo>
                      <a:pt x="601" y="491"/>
                      <a:pt x="605" y="495"/>
                      <a:pt x="608" y="500"/>
                    </a:cubicBezTo>
                    <a:cubicBezTo>
                      <a:pt x="609" y="503"/>
                      <a:pt x="611" y="507"/>
                      <a:pt x="613" y="510"/>
                    </a:cubicBezTo>
                    <a:cubicBezTo>
                      <a:pt x="614" y="512"/>
                      <a:pt x="614" y="515"/>
                      <a:pt x="617" y="517"/>
                    </a:cubicBezTo>
                    <a:cubicBezTo>
                      <a:pt x="619" y="518"/>
                      <a:pt x="624" y="518"/>
                      <a:pt x="627" y="518"/>
                    </a:cubicBezTo>
                    <a:cubicBezTo>
                      <a:pt x="631" y="518"/>
                      <a:pt x="632" y="514"/>
                      <a:pt x="634" y="511"/>
                    </a:cubicBezTo>
                    <a:cubicBezTo>
                      <a:pt x="636" y="508"/>
                      <a:pt x="637" y="504"/>
                      <a:pt x="640" y="503"/>
                    </a:cubicBezTo>
                    <a:cubicBezTo>
                      <a:pt x="643" y="502"/>
                      <a:pt x="646" y="503"/>
                      <a:pt x="648" y="503"/>
                    </a:cubicBezTo>
                    <a:cubicBezTo>
                      <a:pt x="650" y="502"/>
                      <a:pt x="654" y="502"/>
                      <a:pt x="655" y="500"/>
                    </a:cubicBezTo>
                    <a:cubicBezTo>
                      <a:pt x="657" y="497"/>
                      <a:pt x="652" y="493"/>
                      <a:pt x="651" y="490"/>
                    </a:cubicBezTo>
                    <a:cubicBezTo>
                      <a:pt x="650" y="488"/>
                      <a:pt x="650" y="483"/>
                      <a:pt x="651" y="481"/>
                    </a:cubicBezTo>
                    <a:cubicBezTo>
                      <a:pt x="651" y="477"/>
                      <a:pt x="654" y="475"/>
                      <a:pt x="655" y="472"/>
                    </a:cubicBezTo>
                    <a:cubicBezTo>
                      <a:pt x="657" y="469"/>
                      <a:pt x="657" y="466"/>
                      <a:pt x="661" y="464"/>
                    </a:cubicBezTo>
                    <a:cubicBezTo>
                      <a:pt x="663" y="463"/>
                      <a:pt x="666" y="462"/>
                      <a:pt x="669" y="462"/>
                    </a:cubicBezTo>
                    <a:cubicBezTo>
                      <a:pt x="672" y="462"/>
                      <a:pt x="675" y="462"/>
                      <a:pt x="678" y="462"/>
                    </a:cubicBezTo>
                    <a:cubicBezTo>
                      <a:pt x="679" y="463"/>
                      <a:pt x="680" y="464"/>
                      <a:pt x="682" y="464"/>
                    </a:cubicBezTo>
                    <a:cubicBezTo>
                      <a:pt x="683" y="465"/>
                      <a:pt x="685" y="464"/>
                      <a:pt x="686" y="464"/>
                    </a:cubicBezTo>
                    <a:cubicBezTo>
                      <a:pt x="689" y="465"/>
                      <a:pt x="691" y="465"/>
                      <a:pt x="694" y="466"/>
                    </a:cubicBezTo>
                    <a:cubicBezTo>
                      <a:pt x="696" y="466"/>
                      <a:pt x="698" y="467"/>
                      <a:pt x="701" y="467"/>
                    </a:cubicBezTo>
                    <a:cubicBezTo>
                      <a:pt x="703" y="467"/>
                      <a:pt x="706" y="467"/>
                      <a:pt x="708" y="467"/>
                    </a:cubicBezTo>
                    <a:cubicBezTo>
                      <a:pt x="714" y="467"/>
                      <a:pt x="719" y="465"/>
                      <a:pt x="724" y="464"/>
                    </a:cubicBezTo>
                    <a:cubicBezTo>
                      <a:pt x="730" y="464"/>
                      <a:pt x="735" y="460"/>
                      <a:pt x="741" y="459"/>
                    </a:cubicBezTo>
                    <a:cubicBezTo>
                      <a:pt x="744" y="457"/>
                      <a:pt x="749" y="457"/>
                      <a:pt x="752" y="456"/>
                    </a:cubicBezTo>
                    <a:cubicBezTo>
                      <a:pt x="756" y="455"/>
                      <a:pt x="759" y="453"/>
                      <a:pt x="764" y="454"/>
                    </a:cubicBezTo>
                    <a:cubicBezTo>
                      <a:pt x="767" y="454"/>
                      <a:pt x="771" y="457"/>
                      <a:pt x="774" y="459"/>
                    </a:cubicBezTo>
                    <a:cubicBezTo>
                      <a:pt x="780" y="462"/>
                      <a:pt x="786" y="466"/>
                      <a:pt x="793" y="467"/>
                    </a:cubicBezTo>
                    <a:cubicBezTo>
                      <a:pt x="799" y="468"/>
                      <a:pt x="806" y="468"/>
                      <a:pt x="813" y="468"/>
                    </a:cubicBezTo>
                    <a:cubicBezTo>
                      <a:pt x="824" y="468"/>
                      <a:pt x="834" y="467"/>
                      <a:pt x="845" y="467"/>
                    </a:cubicBezTo>
                    <a:cubicBezTo>
                      <a:pt x="850" y="467"/>
                      <a:pt x="852" y="466"/>
                      <a:pt x="857" y="465"/>
                    </a:cubicBezTo>
                    <a:cubicBezTo>
                      <a:pt x="859" y="464"/>
                      <a:pt x="861" y="463"/>
                      <a:pt x="863" y="462"/>
                    </a:cubicBezTo>
                    <a:cubicBezTo>
                      <a:pt x="865" y="462"/>
                      <a:pt x="866" y="462"/>
                      <a:pt x="868" y="462"/>
                    </a:cubicBezTo>
                    <a:cubicBezTo>
                      <a:pt x="869" y="462"/>
                      <a:pt x="871" y="461"/>
                      <a:pt x="872" y="460"/>
                    </a:cubicBezTo>
                    <a:cubicBezTo>
                      <a:pt x="873" y="459"/>
                      <a:pt x="874" y="459"/>
                      <a:pt x="875" y="459"/>
                    </a:cubicBezTo>
                    <a:cubicBezTo>
                      <a:pt x="878" y="458"/>
                      <a:pt x="880" y="456"/>
                      <a:pt x="882" y="455"/>
                    </a:cubicBezTo>
                    <a:cubicBezTo>
                      <a:pt x="886" y="452"/>
                      <a:pt x="888" y="449"/>
                      <a:pt x="893" y="449"/>
                    </a:cubicBezTo>
                    <a:cubicBezTo>
                      <a:pt x="901" y="449"/>
                      <a:pt x="909" y="449"/>
                      <a:pt x="917" y="448"/>
                    </a:cubicBezTo>
                    <a:cubicBezTo>
                      <a:pt x="925" y="448"/>
                      <a:pt x="937" y="447"/>
                      <a:pt x="945" y="448"/>
                    </a:cubicBezTo>
                    <a:cubicBezTo>
                      <a:pt x="947" y="449"/>
                      <a:pt x="948" y="450"/>
                      <a:pt x="950" y="451"/>
                    </a:cubicBezTo>
                    <a:cubicBezTo>
                      <a:pt x="952" y="452"/>
                      <a:pt x="954" y="451"/>
                      <a:pt x="957" y="451"/>
                    </a:cubicBezTo>
                    <a:cubicBezTo>
                      <a:pt x="959" y="451"/>
                      <a:pt x="961" y="451"/>
                      <a:pt x="962" y="451"/>
                    </a:cubicBezTo>
                    <a:cubicBezTo>
                      <a:pt x="963" y="449"/>
                      <a:pt x="964" y="449"/>
                      <a:pt x="965" y="449"/>
                    </a:cubicBezTo>
                    <a:cubicBezTo>
                      <a:pt x="964" y="450"/>
                      <a:pt x="963" y="450"/>
                      <a:pt x="962" y="451"/>
                    </a:cubicBezTo>
                    <a:cubicBezTo>
                      <a:pt x="962" y="452"/>
                      <a:pt x="962" y="455"/>
                      <a:pt x="963" y="456"/>
                    </a:cubicBezTo>
                    <a:cubicBezTo>
                      <a:pt x="970" y="455"/>
                      <a:pt x="976" y="450"/>
                      <a:pt x="983" y="447"/>
                    </a:cubicBezTo>
                    <a:cubicBezTo>
                      <a:pt x="985" y="446"/>
                      <a:pt x="988" y="445"/>
                      <a:pt x="990" y="444"/>
                    </a:cubicBezTo>
                    <a:cubicBezTo>
                      <a:pt x="992" y="443"/>
                      <a:pt x="994" y="441"/>
                      <a:pt x="996" y="441"/>
                    </a:cubicBezTo>
                    <a:cubicBezTo>
                      <a:pt x="1001" y="440"/>
                      <a:pt x="999" y="442"/>
                      <a:pt x="1001" y="445"/>
                    </a:cubicBezTo>
                    <a:cubicBezTo>
                      <a:pt x="1003" y="448"/>
                      <a:pt x="1008" y="448"/>
                      <a:pt x="1011" y="449"/>
                    </a:cubicBezTo>
                    <a:cubicBezTo>
                      <a:pt x="1013" y="449"/>
                      <a:pt x="1016" y="450"/>
                      <a:pt x="1018" y="449"/>
                    </a:cubicBezTo>
                    <a:cubicBezTo>
                      <a:pt x="1021" y="448"/>
                      <a:pt x="1026" y="444"/>
                      <a:pt x="1026" y="441"/>
                    </a:cubicBezTo>
                    <a:cubicBezTo>
                      <a:pt x="1029" y="441"/>
                      <a:pt x="1032" y="439"/>
                      <a:pt x="1035" y="437"/>
                    </a:cubicBezTo>
                    <a:cubicBezTo>
                      <a:pt x="1038" y="436"/>
                      <a:pt x="1039" y="435"/>
                      <a:pt x="1043" y="435"/>
                    </a:cubicBezTo>
                    <a:cubicBezTo>
                      <a:pt x="1050" y="435"/>
                      <a:pt x="1057" y="435"/>
                      <a:pt x="1064" y="435"/>
                    </a:cubicBezTo>
                    <a:cubicBezTo>
                      <a:pt x="1068" y="435"/>
                      <a:pt x="1074" y="435"/>
                      <a:pt x="1079" y="436"/>
                    </a:cubicBezTo>
                    <a:cubicBezTo>
                      <a:pt x="1081" y="436"/>
                      <a:pt x="1082" y="438"/>
                      <a:pt x="1084" y="439"/>
                    </a:cubicBezTo>
                    <a:cubicBezTo>
                      <a:pt x="1087" y="441"/>
                      <a:pt x="1089" y="441"/>
                      <a:pt x="1092" y="441"/>
                    </a:cubicBezTo>
                    <a:cubicBezTo>
                      <a:pt x="1098" y="440"/>
                      <a:pt x="1103" y="441"/>
                      <a:pt x="1109" y="441"/>
                    </a:cubicBezTo>
                    <a:cubicBezTo>
                      <a:pt x="1113" y="441"/>
                      <a:pt x="1118" y="440"/>
                      <a:pt x="1122" y="441"/>
                    </a:cubicBezTo>
                    <a:cubicBezTo>
                      <a:pt x="1128" y="442"/>
                      <a:pt x="1130" y="447"/>
                      <a:pt x="1132" y="452"/>
                    </a:cubicBezTo>
                    <a:cubicBezTo>
                      <a:pt x="1135" y="457"/>
                      <a:pt x="1137" y="469"/>
                      <a:pt x="1144" y="468"/>
                    </a:cubicBezTo>
                    <a:cubicBezTo>
                      <a:pt x="1149" y="467"/>
                      <a:pt x="1151" y="462"/>
                      <a:pt x="1154" y="459"/>
                    </a:cubicBezTo>
                    <a:cubicBezTo>
                      <a:pt x="1157" y="457"/>
                      <a:pt x="1159" y="455"/>
                      <a:pt x="1162" y="453"/>
                    </a:cubicBezTo>
                    <a:cubicBezTo>
                      <a:pt x="1167" y="451"/>
                      <a:pt x="1171" y="453"/>
                      <a:pt x="1170" y="44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44" name="Freeform 60">
                <a:extLst>
                  <a:ext uri="{FF2B5EF4-FFF2-40B4-BE49-F238E27FC236}">
                    <a16:creationId xmlns:a16="http://schemas.microsoft.com/office/drawing/2014/main" id="{992D2266-5BB8-4802-B5F4-35E55E0CCA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338" y="623888"/>
                <a:ext cx="1301750" cy="3043238"/>
              </a:xfrm>
              <a:custGeom>
                <a:avLst/>
                <a:gdLst/>
                <a:ahLst/>
                <a:cxnLst>
                  <a:cxn ang="0">
                    <a:pos x="16" y="1348"/>
                  </a:cxn>
                  <a:cxn ang="0">
                    <a:pos x="39" y="1406"/>
                  </a:cxn>
                  <a:cxn ang="0">
                    <a:pos x="65" y="1460"/>
                  </a:cxn>
                  <a:cxn ang="0">
                    <a:pos x="92" y="1509"/>
                  </a:cxn>
                  <a:cxn ang="0">
                    <a:pos x="77" y="1543"/>
                  </a:cxn>
                  <a:cxn ang="0">
                    <a:pos x="98" y="1574"/>
                  </a:cxn>
                  <a:cxn ang="0">
                    <a:pos x="94" y="1619"/>
                  </a:cxn>
                  <a:cxn ang="0">
                    <a:pos x="174" y="1598"/>
                  </a:cxn>
                  <a:cxn ang="0">
                    <a:pos x="197" y="1550"/>
                  </a:cxn>
                  <a:cxn ang="0">
                    <a:pos x="256" y="1552"/>
                  </a:cxn>
                  <a:cxn ang="0">
                    <a:pos x="290" y="1530"/>
                  </a:cxn>
                  <a:cxn ang="0">
                    <a:pos x="323" y="1440"/>
                  </a:cxn>
                  <a:cxn ang="0">
                    <a:pos x="291" y="1465"/>
                  </a:cxn>
                  <a:cxn ang="0">
                    <a:pos x="306" y="1384"/>
                  </a:cxn>
                  <a:cxn ang="0">
                    <a:pos x="313" y="1309"/>
                  </a:cxn>
                  <a:cxn ang="0">
                    <a:pos x="368" y="1274"/>
                  </a:cxn>
                  <a:cxn ang="0">
                    <a:pos x="405" y="1223"/>
                  </a:cxn>
                  <a:cxn ang="0">
                    <a:pos x="423" y="1177"/>
                  </a:cxn>
                  <a:cxn ang="0">
                    <a:pos x="411" y="1135"/>
                  </a:cxn>
                  <a:cxn ang="0">
                    <a:pos x="374" y="1103"/>
                  </a:cxn>
                  <a:cxn ang="0">
                    <a:pos x="335" y="1060"/>
                  </a:cxn>
                  <a:cxn ang="0">
                    <a:pos x="330" y="993"/>
                  </a:cxn>
                  <a:cxn ang="0">
                    <a:pos x="343" y="889"/>
                  </a:cxn>
                  <a:cxn ang="0">
                    <a:pos x="385" y="832"/>
                  </a:cxn>
                  <a:cxn ang="0">
                    <a:pos x="390" y="802"/>
                  </a:cxn>
                  <a:cxn ang="0">
                    <a:pos x="466" y="744"/>
                  </a:cxn>
                  <a:cxn ang="0">
                    <a:pos x="529" y="678"/>
                  </a:cxn>
                  <a:cxn ang="0">
                    <a:pos x="535" y="588"/>
                  </a:cxn>
                  <a:cxn ang="0">
                    <a:pos x="570" y="518"/>
                  </a:cxn>
                  <a:cxn ang="0">
                    <a:pos x="603" y="480"/>
                  </a:cxn>
                  <a:cxn ang="0">
                    <a:pos x="665" y="465"/>
                  </a:cxn>
                  <a:cxn ang="0">
                    <a:pos x="684" y="410"/>
                  </a:cxn>
                  <a:cxn ang="0">
                    <a:pos x="669" y="276"/>
                  </a:cxn>
                  <a:cxn ang="0">
                    <a:pos x="664" y="221"/>
                  </a:cxn>
                  <a:cxn ang="0">
                    <a:pos x="642" y="140"/>
                  </a:cxn>
                  <a:cxn ang="0">
                    <a:pos x="591" y="84"/>
                  </a:cxn>
                  <a:cxn ang="0">
                    <a:pos x="525" y="28"/>
                  </a:cxn>
                  <a:cxn ang="0">
                    <a:pos x="485" y="12"/>
                  </a:cxn>
                  <a:cxn ang="0">
                    <a:pos x="478" y="95"/>
                  </a:cxn>
                  <a:cxn ang="0">
                    <a:pos x="379" y="78"/>
                  </a:cxn>
                  <a:cxn ang="0">
                    <a:pos x="349" y="151"/>
                  </a:cxn>
                  <a:cxn ang="0">
                    <a:pos x="288" y="188"/>
                  </a:cxn>
                  <a:cxn ang="0">
                    <a:pos x="267" y="249"/>
                  </a:cxn>
                  <a:cxn ang="0">
                    <a:pos x="250" y="327"/>
                  </a:cxn>
                  <a:cxn ang="0">
                    <a:pos x="178" y="415"/>
                  </a:cxn>
                  <a:cxn ang="0">
                    <a:pos x="174" y="490"/>
                  </a:cxn>
                  <a:cxn ang="0">
                    <a:pos x="151" y="582"/>
                  </a:cxn>
                  <a:cxn ang="0">
                    <a:pos x="155" y="665"/>
                  </a:cxn>
                  <a:cxn ang="0">
                    <a:pos x="76" y="696"/>
                  </a:cxn>
                  <a:cxn ang="0">
                    <a:pos x="46" y="775"/>
                  </a:cxn>
                  <a:cxn ang="0">
                    <a:pos x="45" y="822"/>
                  </a:cxn>
                  <a:cxn ang="0">
                    <a:pos x="54" y="944"/>
                  </a:cxn>
                  <a:cxn ang="0">
                    <a:pos x="90" y="1011"/>
                  </a:cxn>
                  <a:cxn ang="0">
                    <a:pos x="61" y="1039"/>
                  </a:cxn>
                  <a:cxn ang="0">
                    <a:pos x="70" y="1128"/>
                  </a:cxn>
                  <a:cxn ang="0">
                    <a:pos x="36" y="1187"/>
                  </a:cxn>
                  <a:cxn ang="0">
                    <a:pos x="16" y="1270"/>
                  </a:cxn>
                </a:cxnLst>
                <a:rect l="0" t="0" r="r" b="b"/>
                <a:pathLst>
                  <a:path w="696" h="1628">
                    <a:moveTo>
                      <a:pt x="2" y="1255"/>
                    </a:moveTo>
                    <a:cubicBezTo>
                      <a:pt x="1" y="1264"/>
                      <a:pt x="0" y="1275"/>
                      <a:pt x="2" y="1284"/>
                    </a:cubicBezTo>
                    <a:cubicBezTo>
                      <a:pt x="3" y="1292"/>
                      <a:pt x="5" y="1298"/>
                      <a:pt x="4" y="1306"/>
                    </a:cubicBezTo>
                    <a:cubicBezTo>
                      <a:pt x="4" y="1308"/>
                      <a:pt x="4" y="1310"/>
                      <a:pt x="5" y="1312"/>
                    </a:cubicBezTo>
                    <a:cubicBezTo>
                      <a:pt x="6" y="1314"/>
                      <a:pt x="8" y="1315"/>
                      <a:pt x="9" y="1317"/>
                    </a:cubicBezTo>
                    <a:cubicBezTo>
                      <a:pt x="10" y="1319"/>
                      <a:pt x="9" y="1321"/>
                      <a:pt x="8" y="1324"/>
                    </a:cubicBezTo>
                    <a:cubicBezTo>
                      <a:pt x="8" y="1327"/>
                      <a:pt x="8" y="1330"/>
                      <a:pt x="8" y="1333"/>
                    </a:cubicBezTo>
                    <a:cubicBezTo>
                      <a:pt x="9" y="1339"/>
                      <a:pt x="14" y="1342"/>
                      <a:pt x="16" y="1348"/>
                    </a:cubicBezTo>
                    <a:cubicBezTo>
                      <a:pt x="18" y="1350"/>
                      <a:pt x="19" y="1357"/>
                      <a:pt x="20" y="1359"/>
                    </a:cubicBezTo>
                    <a:cubicBezTo>
                      <a:pt x="20" y="1357"/>
                      <a:pt x="20" y="1356"/>
                      <a:pt x="21" y="1354"/>
                    </a:cubicBezTo>
                    <a:cubicBezTo>
                      <a:pt x="23" y="1353"/>
                      <a:pt x="30" y="1355"/>
                      <a:pt x="32" y="1356"/>
                    </a:cubicBezTo>
                    <a:cubicBezTo>
                      <a:pt x="36" y="1358"/>
                      <a:pt x="33" y="1360"/>
                      <a:pt x="30" y="1361"/>
                    </a:cubicBezTo>
                    <a:cubicBezTo>
                      <a:pt x="28" y="1362"/>
                      <a:pt x="27" y="1362"/>
                      <a:pt x="27" y="1365"/>
                    </a:cubicBezTo>
                    <a:cubicBezTo>
                      <a:pt x="25" y="1372"/>
                      <a:pt x="27" y="1379"/>
                      <a:pt x="31" y="1384"/>
                    </a:cubicBezTo>
                    <a:cubicBezTo>
                      <a:pt x="34" y="1388"/>
                      <a:pt x="34" y="1394"/>
                      <a:pt x="35" y="1398"/>
                    </a:cubicBezTo>
                    <a:cubicBezTo>
                      <a:pt x="36" y="1401"/>
                      <a:pt x="37" y="1404"/>
                      <a:pt x="39" y="1406"/>
                    </a:cubicBezTo>
                    <a:cubicBezTo>
                      <a:pt x="40" y="1407"/>
                      <a:pt x="40" y="1407"/>
                      <a:pt x="41" y="1407"/>
                    </a:cubicBezTo>
                    <a:cubicBezTo>
                      <a:pt x="43" y="1408"/>
                      <a:pt x="44" y="1410"/>
                      <a:pt x="47" y="1410"/>
                    </a:cubicBezTo>
                    <a:cubicBezTo>
                      <a:pt x="48" y="1415"/>
                      <a:pt x="49" y="1420"/>
                      <a:pt x="49" y="1425"/>
                    </a:cubicBezTo>
                    <a:cubicBezTo>
                      <a:pt x="51" y="1426"/>
                      <a:pt x="54" y="1426"/>
                      <a:pt x="55" y="1427"/>
                    </a:cubicBezTo>
                    <a:cubicBezTo>
                      <a:pt x="57" y="1429"/>
                      <a:pt x="56" y="1432"/>
                      <a:pt x="57" y="1434"/>
                    </a:cubicBezTo>
                    <a:cubicBezTo>
                      <a:pt x="57" y="1438"/>
                      <a:pt x="59" y="1441"/>
                      <a:pt x="60" y="1445"/>
                    </a:cubicBezTo>
                    <a:cubicBezTo>
                      <a:pt x="61" y="1448"/>
                      <a:pt x="60" y="1452"/>
                      <a:pt x="62" y="1455"/>
                    </a:cubicBezTo>
                    <a:cubicBezTo>
                      <a:pt x="63" y="1457"/>
                      <a:pt x="64" y="1459"/>
                      <a:pt x="65" y="1460"/>
                    </a:cubicBezTo>
                    <a:cubicBezTo>
                      <a:pt x="67" y="1462"/>
                      <a:pt x="67" y="1464"/>
                      <a:pt x="68" y="1466"/>
                    </a:cubicBezTo>
                    <a:cubicBezTo>
                      <a:pt x="70" y="1470"/>
                      <a:pt x="73" y="1474"/>
                      <a:pt x="75" y="1479"/>
                    </a:cubicBezTo>
                    <a:cubicBezTo>
                      <a:pt x="75" y="1474"/>
                      <a:pt x="79" y="1474"/>
                      <a:pt x="81" y="1478"/>
                    </a:cubicBezTo>
                    <a:cubicBezTo>
                      <a:pt x="82" y="1479"/>
                      <a:pt x="82" y="1483"/>
                      <a:pt x="83" y="1484"/>
                    </a:cubicBezTo>
                    <a:cubicBezTo>
                      <a:pt x="83" y="1487"/>
                      <a:pt x="83" y="1490"/>
                      <a:pt x="85" y="1493"/>
                    </a:cubicBezTo>
                    <a:cubicBezTo>
                      <a:pt x="86" y="1495"/>
                      <a:pt x="88" y="1497"/>
                      <a:pt x="89" y="1498"/>
                    </a:cubicBezTo>
                    <a:cubicBezTo>
                      <a:pt x="91" y="1501"/>
                      <a:pt x="89" y="1500"/>
                      <a:pt x="91" y="1500"/>
                    </a:cubicBezTo>
                    <a:cubicBezTo>
                      <a:pt x="91" y="1503"/>
                      <a:pt x="90" y="1507"/>
                      <a:pt x="92" y="1509"/>
                    </a:cubicBezTo>
                    <a:cubicBezTo>
                      <a:pt x="93" y="1510"/>
                      <a:pt x="101" y="1514"/>
                      <a:pt x="97" y="1517"/>
                    </a:cubicBezTo>
                    <a:cubicBezTo>
                      <a:pt x="93" y="1512"/>
                      <a:pt x="87" y="1515"/>
                      <a:pt x="85" y="1521"/>
                    </a:cubicBezTo>
                    <a:cubicBezTo>
                      <a:pt x="84" y="1523"/>
                      <a:pt x="84" y="1525"/>
                      <a:pt x="85" y="1527"/>
                    </a:cubicBezTo>
                    <a:cubicBezTo>
                      <a:pt x="86" y="1531"/>
                      <a:pt x="95" y="1535"/>
                      <a:pt x="92" y="1540"/>
                    </a:cubicBezTo>
                    <a:cubicBezTo>
                      <a:pt x="90" y="1540"/>
                      <a:pt x="87" y="1541"/>
                      <a:pt x="85" y="1540"/>
                    </a:cubicBezTo>
                    <a:cubicBezTo>
                      <a:pt x="82" y="1539"/>
                      <a:pt x="83" y="1537"/>
                      <a:pt x="82" y="1534"/>
                    </a:cubicBezTo>
                    <a:cubicBezTo>
                      <a:pt x="81" y="1533"/>
                      <a:pt x="76" y="1535"/>
                      <a:pt x="75" y="1537"/>
                    </a:cubicBezTo>
                    <a:cubicBezTo>
                      <a:pt x="74" y="1539"/>
                      <a:pt x="76" y="1541"/>
                      <a:pt x="77" y="1543"/>
                    </a:cubicBezTo>
                    <a:cubicBezTo>
                      <a:pt x="78" y="1545"/>
                      <a:pt x="79" y="1547"/>
                      <a:pt x="81" y="1549"/>
                    </a:cubicBezTo>
                    <a:cubicBezTo>
                      <a:pt x="82" y="1550"/>
                      <a:pt x="83" y="1551"/>
                      <a:pt x="83" y="1551"/>
                    </a:cubicBezTo>
                    <a:cubicBezTo>
                      <a:pt x="84" y="1553"/>
                      <a:pt x="85" y="1554"/>
                      <a:pt x="86" y="1555"/>
                    </a:cubicBezTo>
                    <a:cubicBezTo>
                      <a:pt x="88" y="1556"/>
                      <a:pt x="92" y="1554"/>
                      <a:pt x="91" y="1558"/>
                    </a:cubicBezTo>
                    <a:cubicBezTo>
                      <a:pt x="90" y="1560"/>
                      <a:pt x="88" y="1559"/>
                      <a:pt x="88" y="1562"/>
                    </a:cubicBezTo>
                    <a:cubicBezTo>
                      <a:pt x="87" y="1563"/>
                      <a:pt x="88" y="1566"/>
                      <a:pt x="89" y="1568"/>
                    </a:cubicBezTo>
                    <a:cubicBezTo>
                      <a:pt x="90" y="1570"/>
                      <a:pt x="88" y="1569"/>
                      <a:pt x="91" y="1571"/>
                    </a:cubicBezTo>
                    <a:cubicBezTo>
                      <a:pt x="93" y="1572"/>
                      <a:pt x="96" y="1573"/>
                      <a:pt x="98" y="1574"/>
                    </a:cubicBezTo>
                    <a:cubicBezTo>
                      <a:pt x="104" y="1578"/>
                      <a:pt x="99" y="1583"/>
                      <a:pt x="98" y="1589"/>
                    </a:cubicBezTo>
                    <a:cubicBezTo>
                      <a:pt x="98" y="1591"/>
                      <a:pt x="98" y="1594"/>
                      <a:pt x="99" y="1596"/>
                    </a:cubicBezTo>
                    <a:cubicBezTo>
                      <a:pt x="100" y="1598"/>
                      <a:pt x="101" y="1598"/>
                      <a:pt x="102" y="1601"/>
                    </a:cubicBezTo>
                    <a:cubicBezTo>
                      <a:pt x="103" y="1606"/>
                      <a:pt x="98" y="1606"/>
                      <a:pt x="94" y="1606"/>
                    </a:cubicBezTo>
                    <a:cubicBezTo>
                      <a:pt x="91" y="1606"/>
                      <a:pt x="89" y="1605"/>
                      <a:pt x="88" y="1609"/>
                    </a:cubicBezTo>
                    <a:cubicBezTo>
                      <a:pt x="87" y="1611"/>
                      <a:pt x="87" y="1615"/>
                      <a:pt x="89" y="1617"/>
                    </a:cubicBezTo>
                    <a:cubicBezTo>
                      <a:pt x="90" y="1617"/>
                      <a:pt x="91" y="1617"/>
                      <a:pt x="92" y="1617"/>
                    </a:cubicBezTo>
                    <a:cubicBezTo>
                      <a:pt x="93" y="1617"/>
                      <a:pt x="93" y="1618"/>
                      <a:pt x="94" y="1619"/>
                    </a:cubicBezTo>
                    <a:cubicBezTo>
                      <a:pt x="95" y="1620"/>
                      <a:pt x="99" y="1620"/>
                      <a:pt x="100" y="1621"/>
                    </a:cubicBezTo>
                    <a:cubicBezTo>
                      <a:pt x="107" y="1623"/>
                      <a:pt x="114" y="1624"/>
                      <a:pt x="121" y="1626"/>
                    </a:cubicBezTo>
                    <a:cubicBezTo>
                      <a:pt x="123" y="1627"/>
                      <a:pt x="125" y="1628"/>
                      <a:pt x="127" y="1627"/>
                    </a:cubicBezTo>
                    <a:cubicBezTo>
                      <a:pt x="131" y="1626"/>
                      <a:pt x="133" y="1624"/>
                      <a:pt x="138" y="1624"/>
                    </a:cubicBezTo>
                    <a:cubicBezTo>
                      <a:pt x="143" y="1624"/>
                      <a:pt x="148" y="1625"/>
                      <a:pt x="153" y="1624"/>
                    </a:cubicBezTo>
                    <a:cubicBezTo>
                      <a:pt x="157" y="1624"/>
                      <a:pt x="160" y="1622"/>
                      <a:pt x="163" y="1619"/>
                    </a:cubicBezTo>
                    <a:cubicBezTo>
                      <a:pt x="167" y="1616"/>
                      <a:pt x="172" y="1611"/>
                      <a:pt x="173" y="1606"/>
                    </a:cubicBezTo>
                    <a:cubicBezTo>
                      <a:pt x="174" y="1605"/>
                      <a:pt x="174" y="1599"/>
                      <a:pt x="174" y="1598"/>
                    </a:cubicBezTo>
                    <a:cubicBezTo>
                      <a:pt x="173" y="1595"/>
                      <a:pt x="172" y="1595"/>
                      <a:pt x="170" y="1594"/>
                    </a:cubicBezTo>
                    <a:cubicBezTo>
                      <a:pt x="166" y="1592"/>
                      <a:pt x="162" y="1591"/>
                      <a:pt x="164" y="1585"/>
                    </a:cubicBezTo>
                    <a:cubicBezTo>
                      <a:pt x="165" y="1581"/>
                      <a:pt x="168" y="1577"/>
                      <a:pt x="171" y="1575"/>
                    </a:cubicBezTo>
                    <a:cubicBezTo>
                      <a:pt x="174" y="1572"/>
                      <a:pt x="179" y="1572"/>
                      <a:pt x="180" y="1568"/>
                    </a:cubicBezTo>
                    <a:cubicBezTo>
                      <a:pt x="181" y="1566"/>
                      <a:pt x="180" y="1564"/>
                      <a:pt x="180" y="1562"/>
                    </a:cubicBezTo>
                    <a:cubicBezTo>
                      <a:pt x="180" y="1560"/>
                      <a:pt x="183" y="1553"/>
                      <a:pt x="185" y="1553"/>
                    </a:cubicBezTo>
                    <a:cubicBezTo>
                      <a:pt x="185" y="1556"/>
                      <a:pt x="196" y="1562"/>
                      <a:pt x="198" y="1559"/>
                    </a:cubicBezTo>
                    <a:cubicBezTo>
                      <a:pt x="200" y="1556"/>
                      <a:pt x="195" y="1553"/>
                      <a:pt x="197" y="1550"/>
                    </a:cubicBezTo>
                    <a:cubicBezTo>
                      <a:pt x="199" y="1547"/>
                      <a:pt x="203" y="1547"/>
                      <a:pt x="206" y="1546"/>
                    </a:cubicBezTo>
                    <a:cubicBezTo>
                      <a:pt x="206" y="1545"/>
                      <a:pt x="206" y="1545"/>
                      <a:pt x="207" y="1545"/>
                    </a:cubicBezTo>
                    <a:cubicBezTo>
                      <a:pt x="208" y="1545"/>
                      <a:pt x="209" y="1545"/>
                      <a:pt x="209" y="1545"/>
                    </a:cubicBezTo>
                    <a:cubicBezTo>
                      <a:pt x="212" y="1545"/>
                      <a:pt x="213" y="1545"/>
                      <a:pt x="216" y="1544"/>
                    </a:cubicBezTo>
                    <a:cubicBezTo>
                      <a:pt x="220" y="1543"/>
                      <a:pt x="224" y="1543"/>
                      <a:pt x="228" y="1542"/>
                    </a:cubicBezTo>
                    <a:cubicBezTo>
                      <a:pt x="233" y="1540"/>
                      <a:pt x="236" y="1539"/>
                      <a:pt x="240" y="1544"/>
                    </a:cubicBezTo>
                    <a:cubicBezTo>
                      <a:pt x="243" y="1549"/>
                      <a:pt x="243" y="1556"/>
                      <a:pt x="250" y="1554"/>
                    </a:cubicBezTo>
                    <a:cubicBezTo>
                      <a:pt x="252" y="1554"/>
                      <a:pt x="254" y="1553"/>
                      <a:pt x="256" y="1552"/>
                    </a:cubicBezTo>
                    <a:cubicBezTo>
                      <a:pt x="257" y="1552"/>
                      <a:pt x="259" y="1553"/>
                      <a:pt x="261" y="1552"/>
                    </a:cubicBezTo>
                    <a:cubicBezTo>
                      <a:pt x="261" y="1550"/>
                      <a:pt x="263" y="1548"/>
                      <a:pt x="264" y="1546"/>
                    </a:cubicBezTo>
                    <a:cubicBezTo>
                      <a:pt x="265" y="1545"/>
                      <a:pt x="267" y="1543"/>
                      <a:pt x="268" y="1540"/>
                    </a:cubicBezTo>
                    <a:cubicBezTo>
                      <a:pt x="270" y="1536"/>
                      <a:pt x="272" y="1533"/>
                      <a:pt x="274" y="1529"/>
                    </a:cubicBezTo>
                    <a:cubicBezTo>
                      <a:pt x="276" y="1524"/>
                      <a:pt x="277" y="1519"/>
                      <a:pt x="278" y="1515"/>
                    </a:cubicBezTo>
                    <a:cubicBezTo>
                      <a:pt x="279" y="1512"/>
                      <a:pt x="282" y="1502"/>
                      <a:pt x="286" y="1502"/>
                    </a:cubicBezTo>
                    <a:cubicBezTo>
                      <a:pt x="289" y="1503"/>
                      <a:pt x="289" y="1512"/>
                      <a:pt x="290" y="1515"/>
                    </a:cubicBezTo>
                    <a:cubicBezTo>
                      <a:pt x="291" y="1520"/>
                      <a:pt x="291" y="1524"/>
                      <a:pt x="290" y="1530"/>
                    </a:cubicBezTo>
                    <a:cubicBezTo>
                      <a:pt x="290" y="1533"/>
                      <a:pt x="288" y="1543"/>
                      <a:pt x="290" y="1545"/>
                    </a:cubicBezTo>
                    <a:cubicBezTo>
                      <a:pt x="292" y="1543"/>
                      <a:pt x="294" y="1541"/>
                      <a:pt x="295" y="1539"/>
                    </a:cubicBezTo>
                    <a:cubicBezTo>
                      <a:pt x="296" y="1536"/>
                      <a:pt x="296" y="1533"/>
                      <a:pt x="297" y="1530"/>
                    </a:cubicBezTo>
                    <a:cubicBezTo>
                      <a:pt x="298" y="1524"/>
                      <a:pt x="300" y="1520"/>
                      <a:pt x="301" y="1514"/>
                    </a:cubicBezTo>
                    <a:cubicBezTo>
                      <a:pt x="303" y="1507"/>
                      <a:pt x="306" y="1500"/>
                      <a:pt x="309" y="1493"/>
                    </a:cubicBezTo>
                    <a:cubicBezTo>
                      <a:pt x="313" y="1485"/>
                      <a:pt x="317" y="1476"/>
                      <a:pt x="320" y="1467"/>
                    </a:cubicBezTo>
                    <a:cubicBezTo>
                      <a:pt x="321" y="1462"/>
                      <a:pt x="322" y="1456"/>
                      <a:pt x="323" y="1451"/>
                    </a:cubicBezTo>
                    <a:cubicBezTo>
                      <a:pt x="323" y="1448"/>
                      <a:pt x="323" y="1444"/>
                      <a:pt x="323" y="1440"/>
                    </a:cubicBezTo>
                    <a:cubicBezTo>
                      <a:pt x="323" y="1438"/>
                      <a:pt x="324" y="1430"/>
                      <a:pt x="320" y="1433"/>
                    </a:cubicBezTo>
                    <a:cubicBezTo>
                      <a:pt x="318" y="1434"/>
                      <a:pt x="317" y="1439"/>
                      <a:pt x="316" y="1441"/>
                    </a:cubicBezTo>
                    <a:cubicBezTo>
                      <a:pt x="315" y="1444"/>
                      <a:pt x="314" y="1446"/>
                      <a:pt x="312" y="1449"/>
                    </a:cubicBezTo>
                    <a:cubicBezTo>
                      <a:pt x="310" y="1454"/>
                      <a:pt x="308" y="1458"/>
                      <a:pt x="306" y="1462"/>
                    </a:cubicBezTo>
                    <a:cubicBezTo>
                      <a:pt x="304" y="1465"/>
                      <a:pt x="303" y="1469"/>
                      <a:pt x="303" y="1473"/>
                    </a:cubicBezTo>
                    <a:cubicBezTo>
                      <a:pt x="302" y="1475"/>
                      <a:pt x="302" y="1480"/>
                      <a:pt x="300" y="1482"/>
                    </a:cubicBezTo>
                    <a:cubicBezTo>
                      <a:pt x="299" y="1483"/>
                      <a:pt x="294" y="1486"/>
                      <a:pt x="293" y="1485"/>
                    </a:cubicBezTo>
                    <a:cubicBezTo>
                      <a:pt x="289" y="1484"/>
                      <a:pt x="290" y="1469"/>
                      <a:pt x="291" y="1465"/>
                    </a:cubicBezTo>
                    <a:cubicBezTo>
                      <a:pt x="292" y="1460"/>
                      <a:pt x="293" y="1456"/>
                      <a:pt x="293" y="1451"/>
                    </a:cubicBezTo>
                    <a:cubicBezTo>
                      <a:pt x="292" y="1450"/>
                      <a:pt x="292" y="1449"/>
                      <a:pt x="292" y="1447"/>
                    </a:cubicBezTo>
                    <a:cubicBezTo>
                      <a:pt x="292" y="1444"/>
                      <a:pt x="293" y="1440"/>
                      <a:pt x="295" y="1437"/>
                    </a:cubicBezTo>
                    <a:cubicBezTo>
                      <a:pt x="297" y="1435"/>
                      <a:pt x="299" y="1436"/>
                      <a:pt x="300" y="1433"/>
                    </a:cubicBezTo>
                    <a:cubicBezTo>
                      <a:pt x="301" y="1430"/>
                      <a:pt x="301" y="1426"/>
                      <a:pt x="302" y="1423"/>
                    </a:cubicBezTo>
                    <a:cubicBezTo>
                      <a:pt x="302" y="1414"/>
                      <a:pt x="301" y="1406"/>
                      <a:pt x="302" y="1397"/>
                    </a:cubicBezTo>
                    <a:cubicBezTo>
                      <a:pt x="303" y="1394"/>
                      <a:pt x="303" y="1391"/>
                      <a:pt x="304" y="1388"/>
                    </a:cubicBezTo>
                    <a:cubicBezTo>
                      <a:pt x="304" y="1387"/>
                      <a:pt x="305" y="1386"/>
                      <a:pt x="306" y="1384"/>
                    </a:cubicBezTo>
                    <a:cubicBezTo>
                      <a:pt x="306" y="1382"/>
                      <a:pt x="306" y="1379"/>
                      <a:pt x="307" y="1376"/>
                    </a:cubicBezTo>
                    <a:cubicBezTo>
                      <a:pt x="308" y="1369"/>
                      <a:pt x="310" y="1363"/>
                      <a:pt x="309" y="1356"/>
                    </a:cubicBezTo>
                    <a:cubicBezTo>
                      <a:pt x="309" y="1353"/>
                      <a:pt x="308" y="1349"/>
                      <a:pt x="309" y="1345"/>
                    </a:cubicBezTo>
                    <a:cubicBezTo>
                      <a:pt x="310" y="1341"/>
                      <a:pt x="317" y="1337"/>
                      <a:pt x="312" y="1332"/>
                    </a:cubicBezTo>
                    <a:cubicBezTo>
                      <a:pt x="310" y="1329"/>
                      <a:pt x="308" y="1330"/>
                      <a:pt x="309" y="1326"/>
                    </a:cubicBezTo>
                    <a:cubicBezTo>
                      <a:pt x="309" y="1325"/>
                      <a:pt x="310" y="1322"/>
                      <a:pt x="311" y="1321"/>
                    </a:cubicBezTo>
                    <a:cubicBezTo>
                      <a:pt x="313" y="1318"/>
                      <a:pt x="318" y="1317"/>
                      <a:pt x="316" y="1313"/>
                    </a:cubicBezTo>
                    <a:cubicBezTo>
                      <a:pt x="315" y="1311"/>
                      <a:pt x="313" y="1310"/>
                      <a:pt x="313" y="1309"/>
                    </a:cubicBezTo>
                    <a:cubicBezTo>
                      <a:pt x="312" y="1307"/>
                      <a:pt x="314" y="1306"/>
                      <a:pt x="314" y="1304"/>
                    </a:cubicBezTo>
                    <a:cubicBezTo>
                      <a:pt x="316" y="1300"/>
                      <a:pt x="315" y="1298"/>
                      <a:pt x="319" y="1298"/>
                    </a:cubicBezTo>
                    <a:cubicBezTo>
                      <a:pt x="322" y="1297"/>
                      <a:pt x="323" y="1297"/>
                      <a:pt x="325" y="1296"/>
                    </a:cubicBezTo>
                    <a:cubicBezTo>
                      <a:pt x="328" y="1294"/>
                      <a:pt x="330" y="1290"/>
                      <a:pt x="333" y="1288"/>
                    </a:cubicBezTo>
                    <a:cubicBezTo>
                      <a:pt x="336" y="1285"/>
                      <a:pt x="342" y="1286"/>
                      <a:pt x="346" y="1283"/>
                    </a:cubicBezTo>
                    <a:cubicBezTo>
                      <a:pt x="351" y="1280"/>
                      <a:pt x="352" y="1271"/>
                      <a:pt x="357" y="1268"/>
                    </a:cubicBezTo>
                    <a:cubicBezTo>
                      <a:pt x="357" y="1271"/>
                      <a:pt x="357" y="1277"/>
                      <a:pt x="361" y="1278"/>
                    </a:cubicBezTo>
                    <a:cubicBezTo>
                      <a:pt x="363" y="1278"/>
                      <a:pt x="367" y="1275"/>
                      <a:pt x="368" y="1274"/>
                    </a:cubicBezTo>
                    <a:cubicBezTo>
                      <a:pt x="369" y="1271"/>
                      <a:pt x="367" y="1267"/>
                      <a:pt x="368" y="1264"/>
                    </a:cubicBezTo>
                    <a:cubicBezTo>
                      <a:pt x="376" y="1264"/>
                      <a:pt x="387" y="1267"/>
                      <a:pt x="393" y="1262"/>
                    </a:cubicBezTo>
                    <a:cubicBezTo>
                      <a:pt x="394" y="1262"/>
                      <a:pt x="394" y="1260"/>
                      <a:pt x="395" y="1260"/>
                    </a:cubicBezTo>
                    <a:cubicBezTo>
                      <a:pt x="397" y="1259"/>
                      <a:pt x="399" y="1258"/>
                      <a:pt x="401" y="1257"/>
                    </a:cubicBezTo>
                    <a:cubicBezTo>
                      <a:pt x="403" y="1256"/>
                      <a:pt x="409" y="1254"/>
                      <a:pt x="407" y="1250"/>
                    </a:cubicBezTo>
                    <a:cubicBezTo>
                      <a:pt x="403" y="1249"/>
                      <a:pt x="399" y="1250"/>
                      <a:pt x="395" y="1248"/>
                    </a:cubicBezTo>
                    <a:cubicBezTo>
                      <a:pt x="395" y="1240"/>
                      <a:pt x="386" y="1235"/>
                      <a:pt x="388" y="1226"/>
                    </a:cubicBezTo>
                    <a:cubicBezTo>
                      <a:pt x="392" y="1225"/>
                      <a:pt x="407" y="1233"/>
                      <a:pt x="405" y="1223"/>
                    </a:cubicBezTo>
                    <a:cubicBezTo>
                      <a:pt x="398" y="1220"/>
                      <a:pt x="389" y="1218"/>
                      <a:pt x="392" y="1208"/>
                    </a:cubicBezTo>
                    <a:cubicBezTo>
                      <a:pt x="393" y="1204"/>
                      <a:pt x="401" y="1205"/>
                      <a:pt x="405" y="1206"/>
                    </a:cubicBezTo>
                    <a:cubicBezTo>
                      <a:pt x="412" y="1207"/>
                      <a:pt x="408" y="1204"/>
                      <a:pt x="410" y="1199"/>
                    </a:cubicBezTo>
                    <a:cubicBezTo>
                      <a:pt x="411" y="1196"/>
                      <a:pt x="411" y="1196"/>
                      <a:pt x="414" y="1195"/>
                    </a:cubicBezTo>
                    <a:cubicBezTo>
                      <a:pt x="416" y="1194"/>
                      <a:pt x="420" y="1194"/>
                      <a:pt x="423" y="1192"/>
                    </a:cubicBezTo>
                    <a:cubicBezTo>
                      <a:pt x="425" y="1190"/>
                      <a:pt x="426" y="1190"/>
                      <a:pt x="424" y="1187"/>
                    </a:cubicBezTo>
                    <a:cubicBezTo>
                      <a:pt x="424" y="1186"/>
                      <a:pt x="422" y="1185"/>
                      <a:pt x="421" y="1185"/>
                    </a:cubicBezTo>
                    <a:cubicBezTo>
                      <a:pt x="421" y="1183"/>
                      <a:pt x="422" y="1178"/>
                      <a:pt x="423" y="1177"/>
                    </a:cubicBezTo>
                    <a:cubicBezTo>
                      <a:pt x="425" y="1176"/>
                      <a:pt x="428" y="1178"/>
                      <a:pt x="430" y="1176"/>
                    </a:cubicBezTo>
                    <a:cubicBezTo>
                      <a:pt x="434" y="1174"/>
                      <a:pt x="433" y="1169"/>
                      <a:pt x="432" y="1166"/>
                    </a:cubicBezTo>
                    <a:cubicBezTo>
                      <a:pt x="431" y="1163"/>
                      <a:pt x="430" y="1161"/>
                      <a:pt x="428" y="1159"/>
                    </a:cubicBezTo>
                    <a:cubicBezTo>
                      <a:pt x="427" y="1159"/>
                      <a:pt x="426" y="1158"/>
                      <a:pt x="426" y="1157"/>
                    </a:cubicBezTo>
                    <a:cubicBezTo>
                      <a:pt x="422" y="1155"/>
                      <a:pt x="419" y="1155"/>
                      <a:pt x="417" y="1151"/>
                    </a:cubicBezTo>
                    <a:cubicBezTo>
                      <a:pt x="416" y="1148"/>
                      <a:pt x="417" y="1145"/>
                      <a:pt x="416" y="1143"/>
                    </a:cubicBezTo>
                    <a:cubicBezTo>
                      <a:pt x="416" y="1142"/>
                      <a:pt x="414" y="1141"/>
                      <a:pt x="413" y="1140"/>
                    </a:cubicBezTo>
                    <a:cubicBezTo>
                      <a:pt x="412" y="1139"/>
                      <a:pt x="412" y="1137"/>
                      <a:pt x="411" y="1135"/>
                    </a:cubicBezTo>
                    <a:cubicBezTo>
                      <a:pt x="410" y="1134"/>
                      <a:pt x="408" y="1134"/>
                      <a:pt x="408" y="1133"/>
                    </a:cubicBezTo>
                    <a:cubicBezTo>
                      <a:pt x="407" y="1131"/>
                      <a:pt x="408" y="1127"/>
                      <a:pt x="407" y="1125"/>
                    </a:cubicBezTo>
                    <a:cubicBezTo>
                      <a:pt x="407" y="1122"/>
                      <a:pt x="406" y="1122"/>
                      <a:pt x="404" y="1120"/>
                    </a:cubicBezTo>
                    <a:cubicBezTo>
                      <a:pt x="403" y="1119"/>
                      <a:pt x="400" y="1118"/>
                      <a:pt x="399" y="1117"/>
                    </a:cubicBezTo>
                    <a:cubicBezTo>
                      <a:pt x="399" y="1116"/>
                      <a:pt x="399" y="1114"/>
                      <a:pt x="399" y="1113"/>
                    </a:cubicBezTo>
                    <a:cubicBezTo>
                      <a:pt x="398" y="1108"/>
                      <a:pt x="394" y="1099"/>
                      <a:pt x="389" y="1098"/>
                    </a:cubicBezTo>
                    <a:cubicBezTo>
                      <a:pt x="389" y="1102"/>
                      <a:pt x="390" y="1109"/>
                      <a:pt x="385" y="1110"/>
                    </a:cubicBezTo>
                    <a:cubicBezTo>
                      <a:pt x="381" y="1111"/>
                      <a:pt x="377" y="1106"/>
                      <a:pt x="374" y="1103"/>
                    </a:cubicBezTo>
                    <a:cubicBezTo>
                      <a:pt x="371" y="1099"/>
                      <a:pt x="368" y="1096"/>
                      <a:pt x="366" y="1091"/>
                    </a:cubicBezTo>
                    <a:cubicBezTo>
                      <a:pt x="365" y="1089"/>
                      <a:pt x="364" y="1087"/>
                      <a:pt x="361" y="1088"/>
                    </a:cubicBezTo>
                    <a:cubicBezTo>
                      <a:pt x="361" y="1089"/>
                      <a:pt x="361" y="1093"/>
                      <a:pt x="360" y="1094"/>
                    </a:cubicBezTo>
                    <a:cubicBezTo>
                      <a:pt x="357" y="1095"/>
                      <a:pt x="354" y="1089"/>
                      <a:pt x="353" y="1088"/>
                    </a:cubicBezTo>
                    <a:cubicBezTo>
                      <a:pt x="351" y="1084"/>
                      <a:pt x="353" y="1083"/>
                      <a:pt x="348" y="1083"/>
                    </a:cubicBezTo>
                    <a:cubicBezTo>
                      <a:pt x="344" y="1083"/>
                      <a:pt x="338" y="1081"/>
                      <a:pt x="336" y="1076"/>
                    </a:cubicBezTo>
                    <a:cubicBezTo>
                      <a:pt x="334" y="1070"/>
                      <a:pt x="341" y="1072"/>
                      <a:pt x="341" y="1068"/>
                    </a:cubicBezTo>
                    <a:cubicBezTo>
                      <a:pt x="341" y="1064"/>
                      <a:pt x="336" y="1063"/>
                      <a:pt x="335" y="1060"/>
                    </a:cubicBezTo>
                    <a:cubicBezTo>
                      <a:pt x="334" y="1057"/>
                      <a:pt x="334" y="1054"/>
                      <a:pt x="334" y="1051"/>
                    </a:cubicBezTo>
                    <a:cubicBezTo>
                      <a:pt x="334" y="1047"/>
                      <a:pt x="333" y="1044"/>
                      <a:pt x="332" y="1041"/>
                    </a:cubicBezTo>
                    <a:cubicBezTo>
                      <a:pt x="331" y="1040"/>
                      <a:pt x="331" y="1040"/>
                      <a:pt x="330" y="1039"/>
                    </a:cubicBezTo>
                    <a:cubicBezTo>
                      <a:pt x="330" y="1038"/>
                      <a:pt x="330" y="1037"/>
                      <a:pt x="330" y="1036"/>
                    </a:cubicBezTo>
                    <a:cubicBezTo>
                      <a:pt x="330" y="1034"/>
                      <a:pt x="330" y="1032"/>
                      <a:pt x="330" y="1029"/>
                    </a:cubicBezTo>
                    <a:cubicBezTo>
                      <a:pt x="330" y="1024"/>
                      <a:pt x="330" y="1018"/>
                      <a:pt x="330" y="1013"/>
                    </a:cubicBezTo>
                    <a:cubicBezTo>
                      <a:pt x="330" y="1009"/>
                      <a:pt x="330" y="1006"/>
                      <a:pt x="329" y="1003"/>
                    </a:cubicBezTo>
                    <a:cubicBezTo>
                      <a:pt x="329" y="1000"/>
                      <a:pt x="330" y="996"/>
                      <a:pt x="330" y="993"/>
                    </a:cubicBezTo>
                    <a:cubicBezTo>
                      <a:pt x="331" y="988"/>
                      <a:pt x="330" y="983"/>
                      <a:pt x="330" y="979"/>
                    </a:cubicBezTo>
                    <a:cubicBezTo>
                      <a:pt x="330" y="977"/>
                      <a:pt x="330" y="974"/>
                      <a:pt x="330" y="973"/>
                    </a:cubicBezTo>
                    <a:cubicBezTo>
                      <a:pt x="331" y="969"/>
                      <a:pt x="336" y="969"/>
                      <a:pt x="338" y="966"/>
                    </a:cubicBezTo>
                    <a:cubicBezTo>
                      <a:pt x="343" y="960"/>
                      <a:pt x="342" y="946"/>
                      <a:pt x="342" y="938"/>
                    </a:cubicBezTo>
                    <a:cubicBezTo>
                      <a:pt x="342" y="930"/>
                      <a:pt x="340" y="920"/>
                      <a:pt x="342" y="912"/>
                    </a:cubicBezTo>
                    <a:cubicBezTo>
                      <a:pt x="343" y="909"/>
                      <a:pt x="344" y="907"/>
                      <a:pt x="344" y="903"/>
                    </a:cubicBezTo>
                    <a:cubicBezTo>
                      <a:pt x="344" y="901"/>
                      <a:pt x="343" y="899"/>
                      <a:pt x="342" y="897"/>
                    </a:cubicBezTo>
                    <a:cubicBezTo>
                      <a:pt x="342" y="895"/>
                      <a:pt x="342" y="890"/>
                      <a:pt x="343" y="889"/>
                    </a:cubicBezTo>
                    <a:cubicBezTo>
                      <a:pt x="345" y="887"/>
                      <a:pt x="350" y="888"/>
                      <a:pt x="352" y="888"/>
                    </a:cubicBezTo>
                    <a:cubicBezTo>
                      <a:pt x="356" y="887"/>
                      <a:pt x="356" y="886"/>
                      <a:pt x="358" y="882"/>
                    </a:cubicBezTo>
                    <a:cubicBezTo>
                      <a:pt x="360" y="877"/>
                      <a:pt x="362" y="872"/>
                      <a:pt x="365" y="867"/>
                    </a:cubicBezTo>
                    <a:cubicBezTo>
                      <a:pt x="365" y="865"/>
                      <a:pt x="366" y="861"/>
                      <a:pt x="368" y="860"/>
                    </a:cubicBezTo>
                    <a:cubicBezTo>
                      <a:pt x="368" y="859"/>
                      <a:pt x="369" y="859"/>
                      <a:pt x="370" y="858"/>
                    </a:cubicBezTo>
                    <a:cubicBezTo>
                      <a:pt x="372" y="857"/>
                      <a:pt x="374" y="853"/>
                      <a:pt x="374" y="851"/>
                    </a:cubicBezTo>
                    <a:cubicBezTo>
                      <a:pt x="375" y="848"/>
                      <a:pt x="375" y="845"/>
                      <a:pt x="377" y="841"/>
                    </a:cubicBezTo>
                    <a:cubicBezTo>
                      <a:pt x="378" y="839"/>
                      <a:pt x="382" y="834"/>
                      <a:pt x="385" y="832"/>
                    </a:cubicBezTo>
                    <a:cubicBezTo>
                      <a:pt x="387" y="832"/>
                      <a:pt x="388" y="833"/>
                      <a:pt x="389" y="832"/>
                    </a:cubicBezTo>
                    <a:cubicBezTo>
                      <a:pt x="389" y="831"/>
                      <a:pt x="391" y="828"/>
                      <a:pt x="391" y="827"/>
                    </a:cubicBezTo>
                    <a:cubicBezTo>
                      <a:pt x="392" y="825"/>
                      <a:pt x="393" y="822"/>
                      <a:pt x="393" y="819"/>
                    </a:cubicBezTo>
                    <a:cubicBezTo>
                      <a:pt x="393" y="817"/>
                      <a:pt x="391" y="815"/>
                      <a:pt x="392" y="812"/>
                    </a:cubicBezTo>
                    <a:cubicBezTo>
                      <a:pt x="392" y="811"/>
                      <a:pt x="393" y="812"/>
                      <a:pt x="393" y="811"/>
                    </a:cubicBezTo>
                    <a:cubicBezTo>
                      <a:pt x="393" y="809"/>
                      <a:pt x="393" y="809"/>
                      <a:pt x="393" y="808"/>
                    </a:cubicBezTo>
                    <a:cubicBezTo>
                      <a:pt x="392" y="806"/>
                      <a:pt x="392" y="804"/>
                      <a:pt x="391" y="803"/>
                    </a:cubicBezTo>
                    <a:cubicBezTo>
                      <a:pt x="391" y="802"/>
                      <a:pt x="390" y="802"/>
                      <a:pt x="390" y="802"/>
                    </a:cubicBezTo>
                    <a:cubicBezTo>
                      <a:pt x="395" y="801"/>
                      <a:pt x="400" y="800"/>
                      <a:pt x="404" y="798"/>
                    </a:cubicBezTo>
                    <a:cubicBezTo>
                      <a:pt x="407" y="796"/>
                      <a:pt x="407" y="795"/>
                      <a:pt x="409" y="793"/>
                    </a:cubicBezTo>
                    <a:cubicBezTo>
                      <a:pt x="415" y="783"/>
                      <a:pt x="422" y="775"/>
                      <a:pt x="431" y="768"/>
                    </a:cubicBezTo>
                    <a:cubicBezTo>
                      <a:pt x="434" y="766"/>
                      <a:pt x="437" y="764"/>
                      <a:pt x="440" y="761"/>
                    </a:cubicBezTo>
                    <a:cubicBezTo>
                      <a:pt x="443" y="759"/>
                      <a:pt x="445" y="756"/>
                      <a:pt x="448" y="753"/>
                    </a:cubicBezTo>
                    <a:cubicBezTo>
                      <a:pt x="451" y="750"/>
                      <a:pt x="452" y="750"/>
                      <a:pt x="456" y="752"/>
                    </a:cubicBezTo>
                    <a:cubicBezTo>
                      <a:pt x="458" y="752"/>
                      <a:pt x="459" y="753"/>
                      <a:pt x="461" y="753"/>
                    </a:cubicBezTo>
                    <a:cubicBezTo>
                      <a:pt x="464" y="752"/>
                      <a:pt x="464" y="746"/>
                      <a:pt x="466" y="744"/>
                    </a:cubicBezTo>
                    <a:cubicBezTo>
                      <a:pt x="471" y="740"/>
                      <a:pt x="476" y="739"/>
                      <a:pt x="481" y="736"/>
                    </a:cubicBezTo>
                    <a:cubicBezTo>
                      <a:pt x="484" y="735"/>
                      <a:pt x="487" y="731"/>
                      <a:pt x="490" y="730"/>
                    </a:cubicBezTo>
                    <a:cubicBezTo>
                      <a:pt x="493" y="729"/>
                      <a:pt x="497" y="731"/>
                      <a:pt x="500" y="732"/>
                    </a:cubicBezTo>
                    <a:cubicBezTo>
                      <a:pt x="503" y="732"/>
                      <a:pt x="507" y="732"/>
                      <a:pt x="510" y="732"/>
                    </a:cubicBezTo>
                    <a:cubicBezTo>
                      <a:pt x="513" y="732"/>
                      <a:pt x="514" y="733"/>
                      <a:pt x="515" y="729"/>
                    </a:cubicBezTo>
                    <a:cubicBezTo>
                      <a:pt x="517" y="725"/>
                      <a:pt x="518" y="719"/>
                      <a:pt x="518" y="715"/>
                    </a:cubicBezTo>
                    <a:cubicBezTo>
                      <a:pt x="519" y="706"/>
                      <a:pt x="520" y="697"/>
                      <a:pt x="523" y="689"/>
                    </a:cubicBezTo>
                    <a:cubicBezTo>
                      <a:pt x="525" y="685"/>
                      <a:pt x="527" y="681"/>
                      <a:pt x="529" y="678"/>
                    </a:cubicBezTo>
                    <a:cubicBezTo>
                      <a:pt x="530" y="675"/>
                      <a:pt x="530" y="672"/>
                      <a:pt x="532" y="670"/>
                    </a:cubicBezTo>
                    <a:cubicBezTo>
                      <a:pt x="533" y="668"/>
                      <a:pt x="535" y="667"/>
                      <a:pt x="536" y="665"/>
                    </a:cubicBezTo>
                    <a:cubicBezTo>
                      <a:pt x="538" y="663"/>
                      <a:pt x="538" y="661"/>
                      <a:pt x="540" y="659"/>
                    </a:cubicBezTo>
                    <a:cubicBezTo>
                      <a:pt x="544" y="655"/>
                      <a:pt x="548" y="651"/>
                      <a:pt x="552" y="647"/>
                    </a:cubicBezTo>
                    <a:cubicBezTo>
                      <a:pt x="557" y="641"/>
                      <a:pt x="556" y="634"/>
                      <a:pt x="554" y="627"/>
                    </a:cubicBezTo>
                    <a:cubicBezTo>
                      <a:pt x="553" y="624"/>
                      <a:pt x="551" y="618"/>
                      <a:pt x="547" y="619"/>
                    </a:cubicBezTo>
                    <a:cubicBezTo>
                      <a:pt x="546" y="612"/>
                      <a:pt x="540" y="605"/>
                      <a:pt x="537" y="599"/>
                    </a:cubicBezTo>
                    <a:cubicBezTo>
                      <a:pt x="536" y="595"/>
                      <a:pt x="535" y="592"/>
                      <a:pt x="535" y="588"/>
                    </a:cubicBezTo>
                    <a:cubicBezTo>
                      <a:pt x="536" y="581"/>
                      <a:pt x="541" y="575"/>
                      <a:pt x="544" y="569"/>
                    </a:cubicBezTo>
                    <a:cubicBezTo>
                      <a:pt x="546" y="566"/>
                      <a:pt x="551" y="563"/>
                      <a:pt x="551" y="559"/>
                    </a:cubicBezTo>
                    <a:cubicBezTo>
                      <a:pt x="552" y="558"/>
                      <a:pt x="551" y="556"/>
                      <a:pt x="552" y="555"/>
                    </a:cubicBezTo>
                    <a:cubicBezTo>
                      <a:pt x="552" y="551"/>
                      <a:pt x="553" y="547"/>
                      <a:pt x="554" y="543"/>
                    </a:cubicBezTo>
                    <a:cubicBezTo>
                      <a:pt x="556" y="540"/>
                      <a:pt x="558" y="537"/>
                      <a:pt x="558" y="533"/>
                    </a:cubicBezTo>
                    <a:cubicBezTo>
                      <a:pt x="558" y="531"/>
                      <a:pt x="558" y="529"/>
                      <a:pt x="559" y="527"/>
                    </a:cubicBezTo>
                    <a:cubicBezTo>
                      <a:pt x="559" y="526"/>
                      <a:pt x="562" y="524"/>
                      <a:pt x="563" y="523"/>
                    </a:cubicBezTo>
                    <a:cubicBezTo>
                      <a:pt x="565" y="521"/>
                      <a:pt x="566" y="518"/>
                      <a:pt x="570" y="518"/>
                    </a:cubicBezTo>
                    <a:cubicBezTo>
                      <a:pt x="571" y="518"/>
                      <a:pt x="572" y="518"/>
                      <a:pt x="573" y="518"/>
                    </a:cubicBezTo>
                    <a:cubicBezTo>
                      <a:pt x="576" y="517"/>
                      <a:pt x="582" y="517"/>
                      <a:pt x="584" y="516"/>
                    </a:cubicBezTo>
                    <a:cubicBezTo>
                      <a:pt x="586" y="514"/>
                      <a:pt x="584" y="509"/>
                      <a:pt x="587" y="507"/>
                    </a:cubicBezTo>
                    <a:cubicBezTo>
                      <a:pt x="588" y="506"/>
                      <a:pt x="589" y="507"/>
                      <a:pt x="590" y="507"/>
                    </a:cubicBezTo>
                    <a:cubicBezTo>
                      <a:pt x="592" y="507"/>
                      <a:pt x="592" y="506"/>
                      <a:pt x="593" y="505"/>
                    </a:cubicBezTo>
                    <a:cubicBezTo>
                      <a:pt x="596" y="503"/>
                      <a:pt x="598" y="502"/>
                      <a:pt x="599" y="499"/>
                    </a:cubicBezTo>
                    <a:cubicBezTo>
                      <a:pt x="599" y="498"/>
                      <a:pt x="599" y="495"/>
                      <a:pt x="600" y="494"/>
                    </a:cubicBezTo>
                    <a:cubicBezTo>
                      <a:pt x="601" y="489"/>
                      <a:pt x="603" y="485"/>
                      <a:pt x="603" y="480"/>
                    </a:cubicBezTo>
                    <a:cubicBezTo>
                      <a:pt x="604" y="474"/>
                      <a:pt x="602" y="468"/>
                      <a:pt x="603" y="462"/>
                    </a:cubicBezTo>
                    <a:cubicBezTo>
                      <a:pt x="606" y="461"/>
                      <a:pt x="607" y="465"/>
                      <a:pt x="610" y="465"/>
                    </a:cubicBezTo>
                    <a:cubicBezTo>
                      <a:pt x="615" y="465"/>
                      <a:pt x="612" y="460"/>
                      <a:pt x="615" y="460"/>
                    </a:cubicBezTo>
                    <a:cubicBezTo>
                      <a:pt x="621" y="469"/>
                      <a:pt x="632" y="472"/>
                      <a:pt x="642" y="467"/>
                    </a:cubicBezTo>
                    <a:cubicBezTo>
                      <a:pt x="643" y="467"/>
                      <a:pt x="643" y="467"/>
                      <a:pt x="644" y="467"/>
                    </a:cubicBezTo>
                    <a:cubicBezTo>
                      <a:pt x="645" y="466"/>
                      <a:pt x="645" y="465"/>
                      <a:pt x="646" y="464"/>
                    </a:cubicBezTo>
                    <a:cubicBezTo>
                      <a:pt x="648" y="462"/>
                      <a:pt x="651" y="463"/>
                      <a:pt x="653" y="463"/>
                    </a:cubicBezTo>
                    <a:cubicBezTo>
                      <a:pt x="657" y="463"/>
                      <a:pt x="661" y="464"/>
                      <a:pt x="665" y="465"/>
                    </a:cubicBezTo>
                    <a:cubicBezTo>
                      <a:pt x="668" y="466"/>
                      <a:pt x="670" y="467"/>
                      <a:pt x="672" y="468"/>
                    </a:cubicBezTo>
                    <a:cubicBezTo>
                      <a:pt x="676" y="468"/>
                      <a:pt x="675" y="467"/>
                      <a:pt x="677" y="465"/>
                    </a:cubicBezTo>
                    <a:cubicBezTo>
                      <a:pt x="676" y="465"/>
                      <a:pt x="680" y="463"/>
                      <a:pt x="680" y="463"/>
                    </a:cubicBezTo>
                    <a:cubicBezTo>
                      <a:pt x="682" y="462"/>
                      <a:pt x="685" y="460"/>
                      <a:pt x="687" y="460"/>
                    </a:cubicBezTo>
                    <a:cubicBezTo>
                      <a:pt x="690" y="459"/>
                      <a:pt x="692" y="460"/>
                      <a:pt x="694" y="459"/>
                    </a:cubicBezTo>
                    <a:cubicBezTo>
                      <a:pt x="694" y="458"/>
                      <a:pt x="695" y="456"/>
                      <a:pt x="695" y="455"/>
                    </a:cubicBezTo>
                    <a:cubicBezTo>
                      <a:pt x="696" y="450"/>
                      <a:pt x="695" y="444"/>
                      <a:pt x="694" y="439"/>
                    </a:cubicBezTo>
                    <a:cubicBezTo>
                      <a:pt x="691" y="429"/>
                      <a:pt x="690" y="419"/>
                      <a:pt x="684" y="410"/>
                    </a:cubicBezTo>
                    <a:cubicBezTo>
                      <a:pt x="682" y="406"/>
                      <a:pt x="679" y="405"/>
                      <a:pt x="677" y="401"/>
                    </a:cubicBezTo>
                    <a:cubicBezTo>
                      <a:pt x="676" y="398"/>
                      <a:pt x="677" y="394"/>
                      <a:pt x="677" y="391"/>
                    </a:cubicBezTo>
                    <a:cubicBezTo>
                      <a:pt x="677" y="387"/>
                      <a:pt x="676" y="384"/>
                      <a:pt x="677" y="380"/>
                    </a:cubicBezTo>
                    <a:cubicBezTo>
                      <a:pt x="677" y="376"/>
                      <a:pt x="679" y="374"/>
                      <a:pt x="681" y="371"/>
                    </a:cubicBezTo>
                    <a:cubicBezTo>
                      <a:pt x="684" y="365"/>
                      <a:pt x="683" y="359"/>
                      <a:pt x="684" y="353"/>
                    </a:cubicBezTo>
                    <a:cubicBezTo>
                      <a:pt x="686" y="345"/>
                      <a:pt x="689" y="337"/>
                      <a:pt x="687" y="328"/>
                    </a:cubicBezTo>
                    <a:cubicBezTo>
                      <a:pt x="686" y="320"/>
                      <a:pt x="682" y="312"/>
                      <a:pt x="677" y="305"/>
                    </a:cubicBezTo>
                    <a:cubicBezTo>
                      <a:pt x="672" y="296"/>
                      <a:pt x="669" y="286"/>
                      <a:pt x="669" y="276"/>
                    </a:cubicBezTo>
                    <a:cubicBezTo>
                      <a:pt x="669" y="273"/>
                      <a:pt x="668" y="267"/>
                      <a:pt x="670" y="265"/>
                    </a:cubicBezTo>
                    <a:cubicBezTo>
                      <a:pt x="671" y="263"/>
                      <a:pt x="673" y="264"/>
                      <a:pt x="673" y="262"/>
                    </a:cubicBezTo>
                    <a:cubicBezTo>
                      <a:pt x="674" y="259"/>
                      <a:pt x="673" y="255"/>
                      <a:pt x="672" y="253"/>
                    </a:cubicBezTo>
                    <a:cubicBezTo>
                      <a:pt x="672" y="249"/>
                      <a:pt x="671" y="246"/>
                      <a:pt x="670" y="243"/>
                    </a:cubicBezTo>
                    <a:cubicBezTo>
                      <a:pt x="670" y="241"/>
                      <a:pt x="670" y="240"/>
                      <a:pt x="669" y="239"/>
                    </a:cubicBezTo>
                    <a:cubicBezTo>
                      <a:pt x="667" y="238"/>
                      <a:pt x="663" y="239"/>
                      <a:pt x="661" y="237"/>
                    </a:cubicBezTo>
                    <a:cubicBezTo>
                      <a:pt x="659" y="236"/>
                      <a:pt x="658" y="233"/>
                      <a:pt x="657" y="230"/>
                    </a:cubicBezTo>
                    <a:cubicBezTo>
                      <a:pt x="656" y="225"/>
                      <a:pt x="661" y="224"/>
                      <a:pt x="664" y="221"/>
                    </a:cubicBezTo>
                    <a:cubicBezTo>
                      <a:pt x="666" y="218"/>
                      <a:pt x="666" y="214"/>
                      <a:pt x="666" y="211"/>
                    </a:cubicBezTo>
                    <a:cubicBezTo>
                      <a:pt x="665" y="204"/>
                      <a:pt x="662" y="199"/>
                      <a:pt x="662" y="192"/>
                    </a:cubicBezTo>
                    <a:cubicBezTo>
                      <a:pt x="662" y="188"/>
                      <a:pt x="662" y="184"/>
                      <a:pt x="662" y="180"/>
                    </a:cubicBezTo>
                    <a:cubicBezTo>
                      <a:pt x="662" y="178"/>
                      <a:pt x="663" y="176"/>
                      <a:pt x="663" y="174"/>
                    </a:cubicBezTo>
                    <a:cubicBezTo>
                      <a:pt x="665" y="169"/>
                      <a:pt x="668" y="167"/>
                      <a:pt x="667" y="162"/>
                    </a:cubicBezTo>
                    <a:cubicBezTo>
                      <a:pt x="660" y="161"/>
                      <a:pt x="659" y="153"/>
                      <a:pt x="656" y="148"/>
                    </a:cubicBezTo>
                    <a:cubicBezTo>
                      <a:pt x="654" y="145"/>
                      <a:pt x="653" y="143"/>
                      <a:pt x="649" y="142"/>
                    </a:cubicBezTo>
                    <a:cubicBezTo>
                      <a:pt x="647" y="141"/>
                      <a:pt x="645" y="140"/>
                      <a:pt x="642" y="140"/>
                    </a:cubicBezTo>
                    <a:cubicBezTo>
                      <a:pt x="641" y="137"/>
                      <a:pt x="642" y="133"/>
                      <a:pt x="641" y="129"/>
                    </a:cubicBezTo>
                    <a:cubicBezTo>
                      <a:pt x="641" y="128"/>
                      <a:pt x="642" y="125"/>
                      <a:pt x="641" y="123"/>
                    </a:cubicBezTo>
                    <a:cubicBezTo>
                      <a:pt x="639" y="122"/>
                      <a:pt x="634" y="121"/>
                      <a:pt x="632" y="120"/>
                    </a:cubicBezTo>
                    <a:cubicBezTo>
                      <a:pt x="629" y="119"/>
                      <a:pt x="628" y="120"/>
                      <a:pt x="627" y="117"/>
                    </a:cubicBezTo>
                    <a:cubicBezTo>
                      <a:pt x="626" y="115"/>
                      <a:pt x="625" y="114"/>
                      <a:pt x="624" y="112"/>
                    </a:cubicBezTo>
                    <a:cubicBezTo>
                      <a:pt x="621" y="106"/>
                      <a:pt x="616" y="100"/>
                      <a:pt x="613" y="95"/>
                    </a:cubicBezTo>
                    <a:cubicBezTo>
                      <a:pt x="609" y="90"/>
                      <a:pt x="607" y="89"/>
                      <a:pt x="602" y="86"/>
                    </a:cubicBezTo>
                    <a:cubicBezTo>
                      <a:pt x="598" y="85"/>
                      <a:pt x="595" y="84"/>
                      <a:pt x="591" y="84"/>
                    </a:cubicBezTo>
                    <a:cubicBezTo>
                      <a:pt x="589" y="84"/>
                      <a:pt x="588" y="84"/>
                      <a:pt x="587" y="83"/>
                    </a:cubicBezTo>
                    <a:cubicBezTo>
                      <a:pt x="585" y="82"/>
                      <a:pt x="583" y="80"/>
                      <a:pt x="582" y="78"/>
                    </a:cubicBezTo>
                    <a:cubicBezTo>
                      <a:pt x="579" y="76"/>
                      <a:pt x="577" y="74"/>
                      <a:pt x="574" y="72"/>
                    </a:cubicBezTo>
                    <a:cubicBezTo>
                      <a:pt x="570" y="69"/>
                      <a:pt x="568" y="69"/>
                      <a:pt x="563" y="68"/>
                    </a:cubicBezTo>
                    <a:cubicBezTo>
                      <a:pt x="559" y="67"/>
                      <a:pt x="555" y="62"/>
                      <a:pt x="552" y="59"/>
                    </a:cubicBezTo>
                    <a:cubicBezTo>
                      <a:pt x="549" y="54"/>
                      <a:pt x="547" y="50"/>
                      <a:pt x="542" y="47"/>
                    </a:cubicBezTo>
                    <a:cubicBezTo>
                      <a:pt x="538" y="44"/>
                      <a:pt x="537" y="39"/>
                      <a:pt x="534" y="35"/>
                    </a:cubicBezTo>
                    <a:cubicBezTo>
                      <a:pt x="531" y="32"/>
                      <a:pt x="528" y="30"/>
                      <a:pt x="525" y="28"/>
                    </a:cubicBezTo>
                    <a:cubicBezTo>
                      <a:pt x="523" y="26"/>
                      <a:pt x="522" y="24"/>
                      <a:pt x="519" y="22"/>
                    </a:cubicBezTo>
                    <a:cubicBezTo>
                      <a:pt x="516" y="19"/>
                      <a:pt x="513" y="17"/>
                      <a:pt x="510" y="14"/>
                    </a:cubicBezTo>
                    <a:cubicBezTo>
                      <a:pt x="508" y="11"/>
                      <a:pt x="505" y="8"/>
                      <a:pt x="504" y="5"/>
                    </a:cubicBezTo>
                    <a:cubicBezTo>
                      <a:pt x="503" y="4"/>
                      <a:pt x="503" y="2"/>
                      <a:pt x="502" y="1"/>
                    </a:cubicBezTo>
                    <a:cubicBezTo>
                      <a:pt x="502" y="1"/>
                      <a:pt x="502" y="0"/>
                      <a:pt x="502" y="0"/>
                    </a:cubicBezTo>
                    <a:cubicBezTo>
                      <a:pt x="500" y="0"/>
                      <a:pt x="498" y="0"/>
                      <a:pt x="497" y="1"/>
                    </a:cubicBezTo>
                    <a:cubicBezTo>
                      <a:pt x="494" y="1"/>
                      <a:pt x="481" y="1"/>
                      <a:pt x="480" y="4"/>
                    </a:cubicBezTo>
                    <a:cubicBezTo>
                      <a:pt x="482" y="6"/>
                      <a:pt x="483" y="10"/>
                      <a:pt x="485" y="12"/>
                    </a:cubicBezTo>
                    <a:cubicBezTo>
                      <a:pt x="487" y="17"/>
                      <a:pt x="490" y="22"/>
                      <a:pt x="493" y="26"/>
                    </a:cubicBezTo>
                    <a:cubicBezTo>
                      <a:pt x="498" y="33"/>
                      <a:pt x="500" y="39"/>
                      <a:pt x="500" y="47"/>
                    </a:cubicBezTo>
                    <a:cubicBezTo>
                      <a:pt x="500" y="54"/>
                      <a:pt x="497" y="56"/>
                      <a:pt x="492" y="60"/>
                    </a:cubicBezTo>
                    <a:cubicBezTo>
                      <a:pt x="487" y="64"/>
                      <a:pt x="483" y="67"/>
                      <a:pt x="478" y="70"/>
                    </a:cubicBezTo>
                    <a:cubicBezTo>
                      <a:pt x="475" y="72"/>
                      <a:pt x="470" y="73"/>
                      <a:pt x="468" y="76"/>
                    </a:cubicBezTo>
                    <a:cubicBezTo>
                      <a:pt x="471" y="78"/>
                      <a:pt x="484" y="81"/>
                      <a:pt x="484" y="85"/>
                    </a:cubicBezTo>
                    <a:cubicBezTo>
                      <a:pt x="484" y="86"/>
                      <a:pt x="481" y="88"/>
                      <a:pt x="481" y="89"/>
                    </a:cubicBezTo>
                    <a:cubicBezTo>
                      <a:pt x="480" y="91"/>
                      <a:pt x="480" y="92"/>
                      <a:pt x="478" y="95"/>
                    </a:cubicBezTo>
                    <a:cubicBezTo>
                      <a:pt x="478" y="96"/>
                      <a:pt x="475" y="100"/>
                      <a:pt x="474" y="101"/>
                    </a:cubicBezTo>
                    <a:cubicBezTo>
                      <a:pt x="472" y="102"/>
                      <a:pt x="471" y="101"/>
                      <a:pt x="469" y="101"/>
                    </a:cubicBezTo>
                    <a:cubicBezTo>
                      <a:pt x="462" y="100"/>
                      <a:pt x="456" y="98"/>
                      <a:pt x="449" y="94"/>
                    </a:cubicBezTo>
                    <a:cubicBezTo>
                      <a:pt x="444" y="91"/>
                      <a:pt x="438" y="92"/>
                      <a:pt x="432" y="91"/>
                    </a:cubicBezTo>
                    <a:cubicBezTo>
                      <a:pt x="423" y="89"/>
                      <a:pt x="414" y="87"/>
                      <a:pt x="405" y="84"/>
                    </a:cubicBezTo>
                    <a:cubicBezTo>
                      <a:pt x="403" y="83"/>
                      <a:pt x="399" y="83"/>
                      <a:pt x="397" y="82"/>
                    </a:cubicBezTo>
                    <a:cubicBezTo>
                      <a:pt x="394" y="81"/>
                      <a:pt x="393" y="80"/>
                      <a:pt x="391" y="80"/>
                    </a:cubicBezTo>
                    <a:cubicBezTo>
                      <a:pt x="387" y="80"/>
                      <a:pt x="382" y="81"/>
                      <a:pt x="379" y="78"/>
                    </a:cubicBezTo>
                    <a:cubicBezTo>
                      <a:pt x="380" y="83"/>
                      <a:pt x="380" y="89"/>
                      <a:pt x="380" y="94"/>
                    </a:cubicBezTo>
                    <a:cubicBezTo>
                      <a:pt x="380" y="117"/>
                      <a:pt x="380" y="117"/>
                      <a:pt x="380" y="117"/>
                    </a:cubicBezTo>
                    <a:cubicBezTo>
                      <a:pt x="380" y="119"/>
                      <a:pt x="380" y="123"/>
                      <a:pt x="380" y="124"/>
                    </a:cubicBezTo>
                    <a:cubicBezTo>
                      <a:pt x="379" y="126"/>
                      <a:pt x="378" y="128"/>
                      <a:pt x="378" y="129"/>
                    </a:cubicBezTo>
                    <a:cubicBezTo>
                      <a:pt x="377" y="132"/>
                      <a:pt x="375" y="134"/>
                      <a:pt x="373" y="137"/>
                    </a:cubicBezTo>
                    <a:cubicBezTo>
                      <a:pt x="371" y="142"/>
                      <a:pt x="368" y="147"/>
                      <a:pt x="366" y="151"/>
                    </a:cubicBezTo>
                    <a:cubicBezTo>
                      <a:pt x="365" y="153"/>
                      <a:pt x="365" y="155"/>
                      <a:pt x="364" y="157"/>
                    </a:cubicBezTo>
                    <a:cubicBezTo>
                      <a:pt x="359" y="155"/>
                      <a:pt x="354" y="152"/>
                      <a:pt x="349" y="151"/>
                    </a:cubicBezTo>
                    <a:cubicBezTo>
                      <a:pt x="345" y="149"/>
                      <a:pt x="343" y="147"/>
                      <a:pt x="340" y="146"/>
                    </a:cubicBezTo>
                    <a:cubicBezTo>
                      <a:pt x="336" y="144"/>
                      <a:pt x="329" y="144"/>
                      <a:pt x="325" y="145"/>
                    </a:cubicBezTo>
                    <a:cubicBezTo>
                      <a:pt x="322" y="146"/>
                      <a:pt x="319" y="149"/>
                      <a:pt x="317" y="151"/>
                    </a:cubicBezTo>
                    <a:cubicBezTo>
                      <a:pt x="313" y="153"/>
                      <a:pt x="311" y="155"/>
                      <a:pt x="308" y="159"/>
                    </a:cubicBezTo>
                    <a:cubicBezTo>
                      <a:pt x="305" y="163"/>
                      <a:pt x="302" y="168"/>
                      <a:pt x="299" y="172"/>
                    </a:cubicBezTo>
                    <a:cubicBezTo>
                      <a:pt x="298" y="173"/>
                      <a:pt x="295" y="175"/>
                      <a:pt x="295" y="177"/>
                    </a:cubicBezTo>
                    <a:cubicBezTo>
                      <a:pt x="292" y="178"/>
                      <a:pt x="292" y="181"/>
                      <a:pt x="291" y="183"/>
                    </a:cubicBezTo>
                    <a:cubicBezTo>
                      <a:pt x="290" y="185"/>
                      <a:pt x="289" y="186"/>
                      <a:pt x="288" y="188"/>
                    </a:cubicBezTo>
                    <a:cubicBezTo>
                      <a:pt x="289" y="187"/>
                      <a:pt x="290" y="187"/>
                      <a:pt x="290" y="187"/>
                    </a:cubicBezTo>
                    <a:cubicBezTo>
                      <a:pt x="289" y="188"/>
                      <a:pt x="289" y="190"/>
                      <a:pt x="288" y="192"/>
                    </a:cubicBezTo>
                    <a:cubicBezTo>
                      <a:pt x="287" y="195"/>
                      <a:pt x="285" y="199"/>
                      <a:pt x="284" y="202"/>
                    </a:cubicBezTo>
                    <a:cubicBezTo>
                      <a:pt x="282" y="207"/>
                      <a:pt x="280" y="211"/>
                      <a:pt x="279" y="216"/>
                    </a:cubicBezTo>
                    <a:cubicBezTo>
                      <a:pt x="279" y="220"/>
                      <a:pt x="278" y="223"/>
                      <a:pt x="274" y="224"/>
                    </a:cubicBezTo>
                    <a:cubicBezTo>
                      <a:pt x="269" y="227"/>
                      <a:pt x="268" y="229"/>
                      <a:pt x="267" y="234"/>
                    </a:cubicBezTo>
                    <a:cubicBezTo>
                      <a:pt x="266" y="237"/>
                      <a:pt x="266" y="239"/>
                      <a:pt x="266" y="243"/>
                    </a:cubicBezTo>
                    <a:cubicBezTo>
                      <a:pt x="266" y="245"/>
                      <a:pt x="266" y="247"/>
                      <a:pt x="267" y="249"/>
                    </a:cubicBezTo>
                    <a:cubicBezTo>
                      <a:pt x="268" y="253"/>
                      <a:pt x="268" y="256"/>
                      <a:pt x="269" y="259"/>
                    </a:cubicBezTo>
                    <a:cubicBezTo>
                      <a:pt x="269" y="261"/>
                      <a:pt x="271" y="263"/>
                      <a:pt x="272" y="265"/>
                    </a:cubicBezTo>
                    <a:cubicBezTo>
                      <a:pt x="272" y="266"/>
                      <a:pt x="272" y="268"/>
                      <a:pt x="272" y="270"/>
                    </a:cubicBezTo>
                    <a:cubicBezTo>
                      <a:pt x="272" y="272"/>
                      <a:pt x="274" y="275"/>
                      <a:pt x="275" y="278"/>
                    </a:cubicBezTo>
                    <a:cubicBezTo>
                      <a:pt x="276" y="282"/>
                      <a:pt x="277" y="294"/>
                      <a:pt x="273" y="297"/>
                    </a:cubicBezTo>
                    <a:cubicBezTo>
                      <a:pt x="269" y="299"/>
                      <a:pt x="265" y="300"/>
                      <a:pt x="261" y="303"/>
                    </a:cubicBezTo>
                    <a:cubicBezTo>
                      <a:pt x="258" y="306"/>
                      <a:pt x="256" y="310"/>
                      <a:pt x="256" y="314"/>
                    </a:cubicBezTo>
                    <a:cubicBezTo>
                      <a:pt x="255" y="319"/>
                      <a:pt x="252" y="323"/>
                      <a:pt x="250" y="327"/>
                    </a:cubicBezTo>
                    <a:cubicBezTo>
                      <a:pt x="247" y="335"/>
                      <a:pt x="243" y="344"/>
                      <a:pt x="239" y="352"/>
                    </a:cubicBezTo>
                    <a:cubicBezTo>
                      <a:pt x="237" y="357"/>
                      <a:pt x="236" y="360"/>
                      <a:pt x="231" y="363"/>
                    </a:cubicBezTo>
                    <a:cubicBezTo>
                      <a:pt x="227" y="366"/>
                      <a:pt x="224" y="368"/>
                      <a:pt x="225" y="374"/>
                    </a:cubicBezTo>
                    <a:cubicBezTo>
                      <a:pt x="225" y="379"/>
                      <a:pt x="233" y="388"/>
                      <a:pt x="230" y="394"/>
                    </a:cubicBezTo>
                    <a:cubicBezTo>
                      <a:pt x="228" y="397"/>
                      <a:pt x="223" y="396"/>
                      <a:pt x="220" y="398"/>
                    </a:cubicBezTo>
                    <a:cubicBezTo>
                      <a:pt x="215" y="401"/>
                      <a:pt x="215" y="408"/>
                      <a:pt x="209" y="410"/>
                    </a:cubicBezTo>
                    <a:cubicBezTo>
                      <a:pt x="206" y="412"/>
                      <a:pt x="201" y="413"/>
                      <a:pt x="197" y="414"/>
                    </a:cubicBezTo>
                    <a:cubicBezTo>
                      <a:pt x="193" y="415"/>
                      <a:pt x="181" y="412"/>
                      <a:pt x="178" y="415"/>
                    </a:cubicBezTo>
                    <a:cubicBezTo>
                      <a:pt x="178" y="415"/>
                      <a:pt x="178" y="416"/>
                      <a:pt x="178" y="416"/>
                    </a:cubicBezTo>
                    <a:cubicBezTo>
                      <a:pt x="178" y="418"/>
                      <a:pt x="178" y="422"/>
                      <a:pt x="178" y="422"/>
                    </a:cubicBezTo>
                    <a:cubicBezTo>
                      <a:pt x="179" y="428"/>
                      <a:pt x="180" y="435"/>
                      <a:pt x="181" y="441"/>
                    </a:cubicBezTo>
                    <a:cubicBezTo>
                      <a:pt x="182" y="449"/>
                      <a:pt x="186" y="456"/>
                      <a:pt x="184" y="463"/>
                    </a:cubicBezTo>
                    <a:cubicBezTo>
                      <a:pt x="184" y="466"/>
                      <a:pt x="184" y="467"/>
                      <a:pt x="183" y="469"/>
                    </a:cubicBezTo>
                    <a:cubicBezTo>
                      <a:pt x="182" y="470"/>
                      <a:pt x="181" y="471"/>
                      <a:pt x="180" y="471"/>
                    </a:cubicBezTo>
                    <a:cubicBezTo>
                      <a:pt x="179" y="473"/>
                      <a:pt x="179" y="475"/>
                      <a:pt x="178" y="477"/>
                    </a:cubicBezTo>
                    <a:cubicBezTo>
                      <a:pt x="177" y="481"/>
                      <a:pt x="174" y="485"/>
                      <a:pt x="174" y="490"/>
                    </a:cubicBezTo>
                    <a:cubicBezTo>
                      <a:pt x="173" y="496"/>
                      <a:pt x="174" y="502"/>
                      <a:pt x="175" y="508"/>
                    </a:cubicBezTo>
                    <a:cubicBezTo>
                      <a:pt x="175" y="513"/>
                      <a:pt x="175" y="518"/>
                      <a:pt x="175" y="524"/>
                    </a:cubicBezTo>
                    <a:cubicBezTo>
                      <a:pt x="175" y="530"/>
                      <a:pt x="175" y="531"/>
                      <a:pt x="171" y="534"/>
                    </a:cubicBezTo>
                    <a:cubicBezTo>
                      <a:pt x="168" y="536"/>
                      <a:pt x="166" y="540"/>
                      <a:pt x="165" y="543"/>
                    </a:cubicBezTo>
                    <a:cubicBezTo>
                      <a:pt x="163" y="547"/>
                      <a:pt x="162" y="552"/>
                      <a:pt x="160" y="556"/>
                    </a:cubicBezTo>
                    <a:cubicBezTo>
                      <a:pt x="157" y="561"/>
                      <a:pt x="157" y="567"/>
                      <a:pt x="154" y="570"/>
                    </a:cubicBezTo>
                    <a:cubicBezTo>
                      <a:pt x="153" y="572"/>
                      <a:pt x="153" y="574"/>
                      <a:pt x="152" y="576"/>
                    </a:cubicBezTo>
                    <a:cubicBezTo>
                      <a:pt x="151" y="578"/>
                      <a:pt x="151" y="580"/>
                      <a:pt x="151" y="582"/>
                    </a:cubicBezTo>
                    <a:cubicBezTo>
                      <a:pt x="150" y="586"/>
                      <a:pt x="149" y="590"/>
                      <a:pt x="147" y="593"/>
                    </a:cubicBezTo>
                    <a:cubicBezTo>
                      <a:pt x="145" y="598"/>
                      <a:pt x="142" y="602"/>
                      <a:pt x="139" y="606"/>
                    </a:cubicBezTo>
                    <a:cubicBezTo>
                      <a:pt x="137" y="609"/>
                      <a:pt x="135" y="612"/>
                      <a:pt x="134" y="615"/>
                    </a:cubicBezTo>
                    <a:cubicBezTo>
                      <a:pt x="137" y="616"/>
                      <a:pt x="138" y="618"/>
                      <a:pt x="140" y="620"/>
                    </a:cubicBezTo>
                    <a:cubicBezTo>
                      <a:pt x="143" y="621"/>
                      <a:pt x="145" y="622"/>
                      <a:pt x="148" y="624"/>
                    </a:cubicBezTo>
                    <a:cubicBezTo>
                      <a:pt x="153" y="628"/>
                      <a:pt x="151" y="636"/>
                      <a:pt x="151" y="642"/>
                    </a:cubicBezTo>
                    <a:cubicBezTo>
                      <a:pt x="151" y="646"/>
                      <a:pt x="151" y="650"/>
                      <a:pt x="151" y="653"/>
                    </a:cubicBezTo>
                    <a:cubicBezTo>
                      <a:pt x="152" y="657"/>
                      <a:pt x="154" y="661"/>
                      <a:pt x="155" y="665"/>
                    </a:cubicBezTo>
                    <a:cubicBezTo>
                      <a:pt x="155" y="669"/>
                      <a:pt x="154" y="672"/>
                      <a:pt x="152" y="676"/>
                    </a:cubicBezTo>
                    <a:cubicBezTo>
                      <a:pt x="151" y="679"/>
                      <a:pt x="150" y="684"/>
                      <a:pt x="148" y="687"/>
                    </a:cubicBezTo>
                    <a:cubicBezTo>
                      <a:pt x="144" y="685"/>
                      <a:pt x="138" y="685"/>
                      <a:pt x="134" y="684"/>
                    </a:cubicBezTo>
                    <a:cubicBezTo>
                      <a:pt x="128" y="684"/>
                      <a:pt x="123" y="683"/>
                      <a:pt x="117" y="682"/>
                    </a:cubicBezTo>
                    <a:cubicBezTo>
                      <a:pt x="112" y="682"/>
                      <a:pt x="108" y="683"/>
                      <a:pt x="103" y="683"/>
                    </a:cubicBezTo>
                    <a:cubicBezTo>
                      <a:pt x="98" y="683"/>
                      <a:pt x="94" y="684"/>
                      <a:pt x="89" y="686"/>
                    </a:cubicBezTo>
                    <a:cubicBezTo>
                      <a:pt x="85" y="688"/>
                      <a:pt x="84" y="692"/>
                      <a:pt x="81" y="694"/>
                    </a:cubicBezTo>
                    <a:cubicBezTo>
                      <a:pt x="80" y="695"/>
                      <a:pt x="78" y="695"/>
                      <a:pt x="76" y="696"/>
                    </a:cubicBezTo>
                    <a:cubicBezTo>
                      <a:pt x="74" y="697"/>
                      <a:pt x="73" y="699"/>
                      <a:pt x="71" y="700"/>
                    </a:cubicBezTo>
                    <a:cubicBezTo>
                      <a:pt x="70" y="702"/>
                      <a:pt x="70" y="703"/>
                      <a:pt x="68" y="705"/>
                    </a:cubicBezTo>
                    <a:cubicBezTo>
                      <a:pt x="67" y="706"/>
                      <a:pt x="67" y="708"/>
                      <a:pt x="67" y="710"/>
                    </a:cubicBezTo>
                    <a:cubicBezTo>
                      <a:pt x="66" y="712"/>
                      <a:pt x="65" y="715"/>
                      <a:pt x="64" y="718"/>
                    </a:cubicBezTo>
                    <a:cubicBezTo>
                      <a:pt x="63" y="722"/>
                      <a:pt x="60" y="727"/>
                      <a:pt x="57" y="731"/>
                    </a:cubicBezTo>
                    <a:cubicBezTo>
                      <a:pt x="54" y="736"/>
                      <a:pt x="49" y="738"/>
                      <a:pt x="48" y="745"/>
                    </a:cubicBezTo>
                    <a:cubicBezTo>
                      <a:pt x="48" y="749"/>
                      <a:pt x="48" y="753"/>
                      <a:pt x="48" y="757"/>
                    </a:cubicBezTo>
                    <a:cubicBezTo>
                      <a:pt x="48" y="762"/>
                      <a:pt x="49" y="770"/>
                      <a:pt x="46" y="775"/>
                    </a:cubicBezTo>
                    <a:cubicBezTo>
                      <a:pt x="45" y="777"/>
                      <a:pt x="44" y="778"/>
                      <a:pt x="44" y="780"/>
                    </a:cubicBezTo>
                    <a:cubicBezTo>
                      <a:pt x="44" y="782"/>
                      <a:pt x="45" y="784"/>
                      <a:pt x="45" y="786"/>
                    </a:cubicBezTo>
                    <a:cubicBezTo>
                      <a:pt x="47" y="789"/>
                      <a:pt x="48" y="792"/>
                      <a:pt x="49" y="795"/>
                    </a:cubicBezTo>
                    <a:cubicBezTo>
                      <a:pt x="50" y="799"/>
                      <a:pt x="50" y="803"/>
                      <a:pt x="52" y="807"/>
                    </a:cubicBezTo>
                    <a:cubicBezTo>
                      <a:pt x="53" y="809"/>
                      <a:pt x="54" y="810"/>
                      <a:pt x="53" y="812"/>
                    </a:cubicBezTo>
                    <a:cubicBezTo>
                      <a:pt x="53" y="814"/>
                      <a:pt x="50" y="816"/>
                      <a:pt x="49" y="817"/>
                    </a:cubicBezTo>
                    <a:cubicBezTo>
                      <a:pt x="48" y="818"/>
                      <a:pt x="48" y="820"/>
                      <a:pt x="47" y="821"/>
                    </a:cubicBezTo>
                    <a:cubicBezTo>
                      <a:pt x="47" y="822"/>
                      <a:pt x="45" y="821"/>
                      <a:pt x="45" y="822"/>
                    </a:cubicBezTo>
                    <a:cubicBezTo>
                      <a:pt x="44" y="824"/>
                      <a:pt x="45" y="828"/>
                      <a:pt x="45" y="830"/>
                    </a:cubicBezTo>
                    <a:cubicBezTo>
                      <a:pt x="45" y="836"/>
                      <a:pt x="45" y="841"/>
                      <a:pt x="45" y="847"/>
                    </a:cubicBezTo>
                    <a:cubicBezTo>
                      <a:pt x="45" y="851"/>
                      <a:pt x="44" y="855"/>
                      <a:pt x="43" y="860"/>
                    </a:cubicBezTo>
                    <a:cubicBezTo>
                      <a:pt x="43" y="863"/>
                      <a:pt x="44" y="863"/>
                      <a:pt x="45" y="866"/>
                    </a:cubicBezTo>
                    <a:cubicBezTo>
                      <a:pt x="49" y="872"/>
                      <a:pt x="52" y="879"/>
                      <a:pt x="55" y="886"/>
                    </a:cubicBezTo>
                    <a:cubicBezTo>
                      <a:pt x="56" y="888"/>
                      <a:pt x="57" y="890"/>
                      <a:pt x="57" y="892"/>
                    </a:cubicBezTo>
                    <a:cubicBezTo>
                      <a:pt x="58" y="896"/>
                      <a:pt x="57" y="900"/>
                      <a:pt x="57" y="904"/>
                    </a:cubicBezTo>
                    <a:cubicBezTo>
                      <a:pt x="57" y="918"/>
                      <a:pt x="57" y="931"/>
                      <a:pt x="54" y="944"/>
                    </a:cubicBezTo>
                    <a:cubicBezTo>
                      <a:pt x="53" y="950"/>
                      <a:pt x="48" y="958"/>
                      <a:pt x="51" y="964"/>
                    </a:cubicBezTo>
                    <a:cubicBezTo>
                      <a:pt x="53" y="968"/>
                      <a:pt x="58" y="969"/>
                      <a:pt x="61" y="971"/>
                    </a:cubicBezTo>
                    <a:cubicBezTo>
                      <a:pt x="64" y="973"/>
                      <a:pt x="65" y="976"/>
                      <a:pt x="68" y="979"/>
                    </a:cubicBezTo>
                    <a:cubicBezTo>
                      <a:pt x="72" y="983"/>
                      <a:pt x="80" y="979"/>
                      <a:pt x="84" y="985"/>
                    </a:cubicBezTo>
                    <a:cubicBezTo>
                      <a:pt x="85" y="985"/>
                      <a:pt x="84" y="987"/>
                      <a:pt x="85" y="987"/>
                    </a:cubicBezTo>
                    <a:cubicBezTo>
                      <a:pt x="86" y="989"/>
                      <a:pt x="87" y="989"/>
                      <a:pt x="88" y="990"/>
                    </a:cubicBezTo>
                    <a:cubicBezTo>
                      <a:pt x="90" y="992"/>
                      <a:pt x="93" y="998"/>
                      <a:pt x="96" y="999"/>
                    </a:cubicBezTo>
                    <a:cubicBezTo>
                      <a:pt x="97" y="1003"/>
                      <a:pt x="92" y="1008"/>
                      <a:pt x="90" y="1011"/>
                    </a:cubicBezTo>
                    <a:cubicBezTo>
                      <a:pt x="88" y="1016"/>
                      <a:pt x="86" y="1021"/>
                      <a:pt x="84" y="1026"/>
                    </a:cubicBezTo>
                    <a:cubicBezTo>
                      <a:pt x="82" y="1029"/>
                      <a:pt x="82" y="1028"/>
                      <a:pt x="82" y="1030"/>
                    </a:cubicBezTo>
                    <a:cubicBezTo>
                      <a:pt x="81" y="1032"/>
                      <a:pt x="82" y="1032"/>
                      <a:pt x="81" y="1034"/>
                    </a:cubicBezTo>
                    <a:cubicBezTo>
                      <a:pt x="80" y="1034"/>
                      <a:pt x="79" y="1035"/>
                      <a:pt x="77" y="1035"/>
                    </a:cubicBezTo>
                    <a:cubicBezTo>
                      <a:pt x="76" y="1035"/>
                      <a:pt x="76" y="1035"/>
                      <a:pt x="76" y="1036"/>
                    </a:cubicBezTo>
                    <a:cubicBezTo>
                      <a:pt x="75" y="1036"/>
                      <a:pt x="74" y="1036"/>
                      <a:pt x="73" y="1037"/>
                    </a:cubicBezTo>
                    <a:cubicBezTo>
                      <a:pt x="71" y="1038"/>
                      <a:pt x="69" y="1039"/>
                      <a:pt x="66" y="1039"/>
                    </a:cubicBezTo>
                    <a:cubicBezTo>
                      <a:pt x="64" y="1040"/>
                      <a:pt x="63" y="1039"/>
                      <a:pt x="61" y="1039"/>
                    </a:cubicBezTo>
                    <a:cubicBezTo>
                      <a:pt x="60" y="1042"/>
                      <a:pt x="62" y="1048"/>
                      <a:pt x="62" y="1051"/>
                    </a:cubicBezTo>
                    <a:cubicBezTo>
                      <a:pt x="63" y="1055"/>
                      <a:pt x="64" y="1059"/>
                      <a:pt x="65" y="1063"/>
                    </a:cubicBezTo>
                    <a:cubicBezTo>
                      <a:pt x="68" y="1075"/>
                      <a:pt x="76" y="1084"/>
                      <a:pt x="78" y="1096"/>
                    </a:cubicBezTo>
                    <a:cubicBezTo>
                      <a:pt x="78" y="1099"/>
                      <a:pt x="79" y="1102"/>
                      <a:pt x="78" y="1105"/>
                    </a:cubicBezTo>
                    <a:cubicBezTo>
                      <a:pt x="78" y="1107"/>
                      <a:pt x="77" y="1108"/>
                      <a:pt x="75" y="1111"/>
                    </a:cubicBezTo>
                    <a:cubicBezTo>
                      <a:pt x="72" y="1116"/>
                      <a:pt x="67" y="1122"/>
                      <a:pt x="65" y="1129"/>
                    </a:cubicBezTo>
                    <a:cubicBezTo>
                      <a:pt x="66" y="1128"/>
                      <a:pt x="67" y="1128"/>
                      <a:pt x="67" y="1128"/>
                    </a:cubicBezTo>
                    <a:cubicBezTo>
                      <a:pt x="68" y="1127"/>
                      <a:pt x="69" y="1126"/>
                      <a:pt x="70" y="1128"/>
                    </a:cubicBezTo>
                    <a:cubicBezTo>
                      <a:pt x="69" y="1128"/>
                      <a:pt x="68" y="1128"/>
                      <a:pt x="67" y="1128"/>
                    </a:cubicBezTo>
                    <a:cubicBezTo>
                      <a:pt x="67" y="1129"/>
                      <a:pt x="67" y="1131"/>
                      <a:pt x="67" y="1131"/>
                    </a:cubicBezTo>
                    <a:cubicBezTo>
                      <a:pt x="66" y="1134"/>
                      <a:pt x="64" y="1135"/>
                      <a:pt x="63" y="1138"/>
                    </a:cubicBezTo>
                    <a:cubicBezTo>
                      <a:pt x="61" y="1143"/>
                      <a:pt x="62" y="1150"/>
                      <a:pt x="60" y="1154"/>
                    </a:cubicBezTo>
                    <a:cubicBezTo>
                      <a:pt x="57" y="1158"/>
                      <a:pt x="52" y="1161"/>
                      <a:pt x="49" y="1162"/>
                    </a:cubicBezTo>
                    <a:cubicBezTo>
                      <a:pt x="44" y="1164"/>
                      <a:pt x="41" y="1169"/>
                      <a:pt x="35" y="1169"/>
                    </a:cubicBezTo>
                    <a:cubicBezTo>
                      <a:pt x="34" y="1173"/>
                      <a:pt x="39" y="1177"/>
                      <a:pt x="39" y="1181"/>
                    </a:cubicBezTo>
                    <a:cubicBezTo>
                      <a:pt x="38" y="1184"/>
                      <a:pt x="38" y="1185"/>
                      <a:pt x="36" y="1187"/>
                    </a:cubicBezTo>
                    <a:cubicBezTo>
                      <a:pt x="35" y="1189"/>
                      <a:pt x="31" y="1192"/>
                      <a:pt x="30" y="1195"/>
                    </a:cubicBezTo>
                    <a:cubicBezTo>
                      <a:pt x="30" y="1197"/>
                      <a:pt x="30" y="1200"/>
                      <a:pt x="30" y="1202"/>
                    </a:cubicBezTo>
                    <a:cubicBezTo>
                      <a:pt x="30" y="1210"/>
                      <a:pt x="33" y="1218"/>
                      <a:pt x="33" y="1226"/>
                    </a:cubicBezTo>
                    <a:cubicBezTo>
                      <a:pt x="33" y="1235"/>
                      <a:pt x="33" y="1244"/>
                      <a:pt x="30" y="1253"/>
                    </a:cubicBezTo>
                    <a:cubicBezTo>
                      <a:pt x="29" y="1258"/>
                      <a:pt x="30" y="1262"/>
                      <a:pt x="29" y="1266"/>
                    </a:cubicBezTo>
                    <a:cubicBezTo>
                      <a:pt x="28" y="1270"/>
                      <a:pt x="26" y="1274"/>
                      <a:pt x="21" y="1273"/>
                    </a:cubicBezTo>
                    <a:cubicBezTo>
                      <a:pt x="20" y="1273"/>
                      <a:pt x="21" y="1271"/>
                      <a:pt x="19" y="1271"/>
                    </a:cubicBezTo>
                    <a:cubicBezTo>
                      <a:pt x="18" y="1270"/>
                      <a:pt x="17" y="1270"/>
                      <a:pt x="16" y="1270"/>
                    </a:cubicBezTo>
                    <a:cubicBezTo>
                      <a:pt x="13" y="1268"/>
                      <a:pt x="13" y="1265"/>
                      <a:pt x="12" y="1262"/>
                    </a:cubicBezTo>
                    <a:cubicBezTo>
                      <a:pt x="11" y="1259"/>
                      <a:pt x="11" y="1253"/>
                      <a:pt x="8" y="1252"/>
                    </a:cubicBezTo>
                    <a:cubicBezTo>
                      <a:pt x="6" y="1251"/>
                      <a:pt x="3" y="1253"/>
                      <a:pt x="2" y="1254"/>
                    </a:cubicBezTo>
                    <a:cubicBezTo>
                      <a:pt x="2" y="1254"/>
                      <a:pt x="2" y="1255"/>
                      <a:pt x="2" y="125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45" name="Freeform 61">
                <a:extLst>
                  <a:ext uri="{FF2B5EF4-FFF2-40B4-BE49-F238E27FC236}">
                    <a16:creationId xmlns:a16="http://schemas.microsoft.com/office/drawing/2014/main" id="{3E6194A0-8047-478A-B7F5-A739DA864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0188" y="3175000"/>
                <a:ext cx="106363" cy="204788"/>
              </a:xfrm>
              <a:custGeom>
                <a:avLst/>
                <a:gdLst/>
                <a:ahLst/>
                <a:cxnLst>
                  <a:cxn ang="0">
                    <a:pos x="55" y="10"/>
                  </a:cxn>
                  <a:cxn ang="0">
                    <a:pos x="55" y="23"/>
                  </a:cxn>
                  <a:cxn ang="0">
                    <a:pos x="49" y="25"/>
                  </a:cxn>
                  <a:cxn ang="0">
                    <a:pos x="46" y="27"/>
                  </a:cxn>
                  <a:cxn ang="0">
                    <a:pos x="43" y="28"/>
                  </a:cxn>
                  <a:cxn ang="0">
                    <a:pos x="42" y="39"/>
                  </a:cxn>
                  <a:cxn ang="0">
                    <a:pos x="42" y="51"/>
                  </a:cxn>
                  <a:cxn ang="0">
                    <a:pos x="46" y="54"/>
                  </a:cxn>
                  <a:cxn ang="0">
                    <a:pos x="44" y="61"/>
                  </a:cxn>
                  <a:cxn ang="0">
                    <a:pos x="39" y="64"/>
                  </a:cxn>
                  <a:cxn ang="0">
                    <a:pos x="39" y="68"/>
                  </a:cxn>
                  <a:cxn ang="0">
                    <a:pos x="38" y="72"/>
                  </a:cxn>
                  <a:cxn ang="0">
                    <a:pos x="35" y="79"/>
                  </a:cxn>
                  <a:cxn ang="0">
                    <a:pos x="29" y="84"/>
                  </a:cxn>
                  <a:cxn ang="0">
                    <a:pos x="24" y="87"/>
                  </a:cxn>
                  <a:cxn ang="0">
                    <a:pos x="18" y="92"/>
                  </a:cxn>
                  <a:cxn ang="0">
                    <a:pos x="15" y="98"/>
                  </a:cxn>
                  <a:cxn ang="0">
                    <a:pos x="6" y="107"/>
                  </a:cxn>
                  <a:cxn ang="0">
                    <a:pos x="4" y="105"/>
                  </a:cxn>
                  <a:cxn ang="0">
                    <a:pos x="5" y="101"/>
                  </a:cxn>
                  <a:cxn ang="0">
                    <a:pos x="7" y="94"/>
                  </a:cxn>
                  <a:cxn ang="0">
                    <a:pos x="4" y="86"/>
                  </a:cxn>
                  <a:cxn ang="0">
                    <a:pos x="1" y="77"/>
                  </a:cxn>
                  <a:cxn ang="0">
                    <a:pos x="1" y="67"/>
                  </a:cxn>
                  <a:cxn ang="0">
                    <a:pos x="3" y="59"/>
                  </a:cxn>
                  <a:cxn ang="0">
                    <a:pos x="2" y="45"/>
                  </a:cxn>
                  <a:cxn ang="0">
                    <a:pos x="7" y="41"/>
                  </a:cxn>
                  <a:cxn ang="0">
                    <a:pos x="13" y="35"/>
                  </a:cxn>
                  <a:cxn ang="0">
                    <a:pos x="13" y="22"/>
                  </a:cxn>
                  <a:cxn ang="0">
                    <a:pos x="37" y="5"/>
                  </a:cxn>
                  <a:cxn ang="0">
                    <a:pos x="42" y="6"/>
                  </a:cxn>
                  <a:cxn ang="0">
                    <a:pos x="47" y="3"/>
                  </a:cxn>
                  <a:cxn ang="0">
                    <a:pos x="55" y="6"/>
                  </a:cxn>
                  <a:cxn ang="0">
                    <a:pos x="55" y="10"/>
                  </a:cxn>
                </a:cxnLst>
                <a:rect l="0" t="0" r="r" b="b"/>
                <a:pathLst>
                  <a:path w="57" h="109">
                    <a:moveTo>
                      <a:pt x="55" y="10"/>
                    </a:moveTo>
                    <a:cubicBezTo>
                      <a:pt x="55" y="13"/>
                      <a:pt x="57" y="20"/>
                      <a:pt x="55" y="23"/>
                    </a:cubicBezTo>
                    <a:cubicBezTo>
                      <a:pt x="54" y="26"/>
                      <a:pt x="51" y="24"/>
                      <a:pt x="49" y="25"/>
                    </a:cubicBezTo>
                    <a:cubicBezTo>
                      <a:pt x="48" y="26"/>
                      <a:pt x="46" y="27"/>
                      <a:pt x="46" y="27"/>
                    </a:cubicBezTo>
                    <a:cubicBezTo>
                      <a:pt x="44" y="27"/>
                      <a:pt x="45" y="26"/>
                      <a:pt x="43" y="28"/>
                    </a:cubicBezTo>
                    <a:cubicBezTo>
                      <a:pt x="39" y="31"/>
                      <a:pt x="42" y="36"/>
                      <a:pt x="42" y="39"/>
                    </a:cubicBezTo>
                    <a:cubicBezTo>
                      <a:pt x="42" y="43"/>
                      <a:pt x="40" y="47"/>
                      <a:pt x="42" y="51"/>
                    </a:cubicBezTo>
                    <a:cubicBezTo>
                      <a:pt x="43" y="53"/>
                      <a:pt x="45" y="52"/>
                      <a:pt x="46" y="54"/>
                    </a:cubicBezTo>
                    <a:cubicBezTo>
                      <a:pt x="48" y="55"/>
                      <a:pt x="45" y="59"/>
                      <a:pt x="44" y="61"/>
                    </a:cubicBezTo>
                    <a:cubicBezTo>
                      <a:pt x="43" y="62"/>
                      <a:pt x="40" y="62"/>
                      <a:pt x="39" y="64"/>
                    </a:cubicBezTo>
                    <a:cubicBezTo>
                      <a:pt x="38" y="65"/>
                      <a:pt x="39" y="67"/>
                      <a:pt x="39" y="68"/>
                    </a:cubicBezTo>
                    <a:cubicBezTo>
                      <a:pt x="39" y="69"/>
                      <a:pt x="38" y="70"/>
                      <a:pt x="38" y="72"/>
                    </a:cubicBezTo>
                    <a:cubicBezTo>
                      <a:pt x="37" y="74"/>
                      <a:pt x="37" y="77"/>
                      <a:pt x="35" y="79"/>
                    </a:cubicBezTo>
                    <a:cubicBezTo>
                      <a:pt x="34" y="81"/>
                      <a:pt x="31" y="83"/>
                      <a:pt x="29" y="84"/>
                    </a:cubicBezTo>
                    <a:cubicBezTo>
                      <a:pt x="27" y="86"/>
                      <a:pt x="26" y="86"/>
                      <a:pt x="24" y="87"/>
                    </a:cubicBezTo>
                    <a:cubicBezTo>
                      <a:pt x="21" y="88"/>
                      <a:pt x="20" y="90"/>
                      <a:pt x="18" y="92"/>
                    </a:cubicBezTo>
                    <a:cubicBezTo>
                      <a:pt x="14" y="94"/>
                      <a:pt x="15" y="94"/>
                      <a:pt x="15" y="98"/>
                    </a:cubicBezTo>
                    <a:cubicBezTo>
                      <a:pt x="15" y="102"/>
                      <a:pt x="12" y="109"/>
                      <a:pt x="6" y="107"/>
                    </a:cubicBezTo>
                    <a:cubicBezTo>
                      <a:pt x="4" y="106"/>
                      <a:pt x="5" y="108"/>
                      <a:pt x="4" y="105"/>
                    </a:cubicBezTo>
                    <a:cubicBezTo>
                      <a:pt x="3" y="103"/>
                      <a:pt x="4" y="102"/>
                      <a:pt x="5" y="101"/>
                    </a:cubicBezTo>
                    <a:cubicBezTo>
                      <a:pt x="6" y="98"/>
                      <a:pt x="7" y="97"/>
                      <a:pt x="7" y="94"/>
                    </a:cubicBezTo>
                    <a:cubicBezTo>
                      <a:pt x="8" y="91"/>
                      <a:pt x="6" y="89"/>
                      <a:pt x="4" y="86"/>
                    </a:cubicBezTo>
                    <a:cubicBezTo>
                      <a:pt x="3" y="83"/>
                      <a:pt x="2" y="80"/>
                      <a:pt x="1" y="77"/>
                    </a:cubicBezTo>
                    <a:cubicBezTo>
                      <a:pt x="1" y="74"/>
                      <a:pt x="0" y="71"/>
                      <a:pt x="1" y="67"/>
                    </a:cubicBezTo>
                    <a:cubicBezTo>
                      <a:pt x="1" y="64"/>
                      <a:pt x="3" y="62"/>
                      <a:pt x="3" y="59"/>
                    </a:cubicBezTo>
                    <a:cubicBezTo>
                      <a:pt x="2" y="55"/>
                      <a:pt x="0" y="48"/>
                      <a:pt x="2" y="45"/>
                    </a:cubicBezTo>
                    <a:cubicBezTo>
                      <a:pt x="4" y="43"/>
                      <a:pt x="6" y="42"/>
                      <a:pt x="7" y="41"/>
                    </a:cubicBezTo>
                    <a:cubicBezTo>
                      <a:pt x="9" y="39"/>
                      <a:pt x="11" y="37"/>
                      <a:pt x="13" y="35"/>
                    </a:cubicBezTo>
                    <a:cubicBezTo>
                      <a:pt x="16" y="32"/>
                      <a:pt x="14" y="27"/>
                      <a:pt x="13" y="22"/>
                    </a:cubicBezTo>
                    <a:cubicBezTo>
                      <a:pt x="7" y="8"/>
                      <a:pt x="37" y="17"/>
                      <a:pt x="37" y="5"/>
                    </a:cubicBezTo>
                    <a:cubicBezTo>
                      <a:pt x="39" y="4"/>
                      <a:pt x="40" y="6"/>
                      <a:pt x="42" y="6"/>
                    </a:cubicBezTo>
                    <a:cubicBezTo>
                      <a:pt x="45" y="6"/>
                      <a:pt x="45" y="5"/>
                      <a:pt x="47" y="3"/>
                    </a:cubicBezTo>
                    <a:cubicBezTo>
                      <a:pt x="51" y="0"/>
                      <a:pt x="55" y="1"/>
                      <a:pt x="55" y="6"/>
                    </a:cubicBezTo>
                    <a:lnTo>
                      <a:pt x="55" y="1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46" name="Freeform 62">
                <a:extLst>
                  <a:ext uri="{FF2B5EF4-FFF2-40B4-BE49-F238E27FC236}">
                    <a16:creationId xmlns:a16="http://schemas.microsoft.com/office/drawing/2014/main" id="{35C57055-37A5-47BB-9C7D-6DE30CB583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4025" y="330200"/>
                <a:ext cx="1131888" cy="2497138"/>
              </a:xfrm>
              <a:custGeom>
                <a:avLst/>
                <a:gdLst/>
                <a:ahLst/>
                <a:cxnLst>
                  <a:cxn ang="0">
                    <a:pos x="479" y="128"/>
                  </a:cxn>
                  <a:cxn ang="0">
                    <a:pos x="589" y="963"/>
                  </a:cxn>
                  <a:cxn ang="0">
                    <a:pos x="528" y="880"/>
                  </a:cxn>
                  <a:cxn ang="0">
                    <a:pos x="530" y="815"/>
                  </a:cxn>
                  <a:cxn ang="0">
                    <a:pos x="520" y="761"/>
                  </a:cxn>
                  <a:cxn ang="0">
                    <a:pos x="501" y="712"/>
                  </a:cxn>
                  <a:cxn ang="0">
                    <a:pos x="502" y="654"/>
                  </a:cxn>
                  <a:cxn ang="0">
                    <a:pos x="513" y="378"/>
                  </a:cxn>
                  <a:cxn ang="0">
                    <a:pos x="491" y="323"/>
                  </a:cxn>
                  <a:cxn ang="0">
                    <a:pos x="441" y="261"/>
                  </a:cxn>
                  <a:cxn ang="0">
                    <a:pos x="437" y="185"/>
                  </a:cxn>
                  <a:cxn ang="0">
                    <a:pos x="458" y="162"/>
                  </a:cxn>
                  <a:cxn ang="0">
                    <a:pos x="452" y="133"/>
                  </a:cxn>
                  <a:cxn ang="0">
                    <a:pos x="471" y="84"/>
                  </a:cxn>
                  <a:cxn ang="0">
                    <a:pos x="434" y="45"/>
                  </a:cxn>
                  <a:cxn ang="0">
                    <a:pos x="414" y="17"/>
                  </a:cxn>
                  <a:cxn ang="0">
                    <a:pos x="393" y="3"/>
                  </a:cxn>
                  <a:cxn ang="0">
                    <a:pos x="374" y="14"/>
                  </a:cxn>
                  <a:cxn ang="0">
                    <a:pos x="339" y="26"/>
                  </a:cxn>
                  <a:cxn ang="0">
                    <a:pos x="306" y="64"/>
                  </a:cxn>
                  <a:cxn ang="0">
                    <a:pos x="292" y="86"/>
                  </a:cxn>
                  <a:cxn ang="0">
                    <a:pos x="287" y="167"/>
                  </a:cxn>
                  <a:cxn ang="0">
                    <a:pos x="271" y="186"/>
                  </a:cxn>
                  <a:cxn ang="0">
                    <a:pos x="256" y="203"/>
                  </a:cxn>
                  <a:cxn ang="0">
                    <a:pos x="248" y="210"/>
                  </a:cxn>
                  <a:cxn ang="0">
                    <a:pos x="232" y="220"/>
                  </a:cxn>
                  <a:cxn ang="0">
                    <a:pos x="200" y="203"/>
                  </a:cxn>
                  <a:cxn ang="0">
                    <a:pos x="172" y="215"/>
                  </a:cxn>
                  <a:cxn ang="0">
                    <a:pos x="142" y="217"/>
                  </a:cxn>
                  <a:cxn ang="0">
                    <a:pos x="105" y="211"/>
                  </a:cxn>
                  <a:cxn ang="0">
                    <a:pos x="93" y="174"/>
                  </a:cxn>
                  <a:cxn ang="0">
                    <a:pos x="67" y="135"/>
                  </a:cxn>
                  <a:cxn ang="0">
                    <a:pos x="34" y="151"/>
                  </a:cxn>
                  <a:cxn ang="0">
                    <a:pos x="0" y="158"/>
                  </a:cxn>
                  <a:cxn ang="0">
                    <a:pos x="22" y="179"/>
                  </a:cxn>
                  <a:cxn ang="0">
                    <a:pos x="66" y="225"/>
                  </a:cxn>
                  <a:cxn ang="0">
                    <a:pos x="105" y="243"/>
                  </a:cxn>
                  <a:cxn ang="0">
                    <a:pos x="144" y="280"/>
                  </a:cxn>
                  <a:cxn ang="0">
                    <a:pos x="170" y="319"/>
                  </a:cxn>
                  <a:cxn ang="0">
                    <a:pos x="167" y="378"/>
                  </a:cxn>
                  <a:cxn ang="0">
                    <a:pos x="175" y="410"/>
                  </a:cxn>
                  <a:cxn ang="0">
                    <a:pos x="190" y="485"/>
                  </a:cxn>
                  <a:cxn ang="0">
                    <a:pos x="180" y="558"/>
                  </a:cxn>
                  <a:cxn ang="0">
                    <a:pos x="196" y="616"/>
                  </a:cxn>
                  <a:cxn ang="0">
                    <a:pos x="262" y="666"/>
                  </a:cxn>
                  <a:cxn ang="0">
                    <a:pos x="261" y="726"/>
                  </a:cxn>
                  <a:cxn ang="0">
                    <a:pos x="222" y="758"/>
                  </a:cxn>
                  <a:cxn ang="0">
                    <a:pos x="164" y="841"/>
                  </a:cxn>
                  <a:cxn ang="0">
                    <a:pos x="124" y="871"/>
                  </a:cxn>
                  <a:cxn ang="0">
                    <a:pos x="96" y="932"/>
                  </a:cxn>
                  <a:cxn ang="0">
                    <a:pos x="50" y="969"/>
                  </a:cxn>
                  <a:cxn ang="0">
                    <a:pos x="43" y="1013"/>
                  </a:cxn>
                  <a:cxn ang="0">
                    <a:pos x="60" y="1098"/>
                  </a:cxn>
                  <a:cxn ang="0">
                    <a:pos x="61" y="1178"/>
                  </a:cxn>
                  <a:cxn ang="0">
                    <a:pos x="50" y="1251"/>
                  </a:cxn>
                  <a:cxn ang="0">
                    <a:pos x="87" y="1294"/>
                  </a:cxn>
                  <a:cxn ang="0">
                    <a:pos x="130" y="1311"/>
                  </a:cxn>
                  <a:cxn ang="0">
                    <a:pos x="167" y="1328"/>
                  </a:cxn>
                  <a:cxn ang="0">
                    <a:pos x="210" y="1302"/>
                  </a:cxn>
                  <a:cxn ang="0">
                    <a:pos x="282" y="1292"/>
                  </a:cxn>
                  <a:cxn ang="0">
                    <a:pos x="347" y="1265"/>
                  </a:cxn>
                  <a:cxn ang="0">
                    <a:pos x="401" y="1244"/>
                  </a:cxn>
                  <a:cxn ang="0">
                    <a:pos x="494" y="1162"/>
                  </a:cxn>
                </a:cxnLst>
                <a:rect l="0" t="0" r="r" b="b"/>
                <a:pathLst>
                  <a:path w="605" h="1336">
                    <a:moveTo>
                      <a:pt x="477" y="135"/>
                    </a:moveTo>
                    <a:cubicBezTo>
                      <a:pt x="480" y="130"/>
                      <a:pt x="483" y="125"/>
                      <a:pt x="486" y="120"/>
                    </a:cubicBezTo>
                    <a:cubicBezTo>
                      <a:pt x="484" y="120"/>
                      <a:pt x="483" y="120"/>
                      <a:pt x="481" y="121"/>
                    </a:cubicBezTo>
                    <a:cubicBezTo>
                      <a:pt x="480" y="122"/>
                      <a:pt x="479" y="123"/>
                      <a:pt x="478" y="124"/>
                    </a:cubicBezTo>
                    <a:cubicBezTo>
                      <a:pt x="478" y="125"/>
                      <a:pt x="479" y="127"/>
                      <a:pt x="479" y="128"/>
                    </a:cubicBezTo>
                    <a:cubicBezTo>
                      <a:pt x="478" y="130"/>
                      <a:pt x="478" y="133"/>
                      <a:pt x="477" y="135"/>
                    </a:cubicBezTo>
                    <a:moveTo>
                      <a:pt x="603" y="991"/>
                    </a:moveTo>
                    <a:cubicBezTo>
                      <a:pt x="603" y="988"/>
                      <a:pt x="602" y="986"/>
                      <a:pt x="600" y="983"/>
                    </a:cubicBezTo>
                    <a:cubicBezTo>
                      <a:pt x="598" y="979"/>
                      <a:pt x="595" y="976"/>
                      <a:pt x="594" y="972"/>
                    </a:cubicBezTo>
                    <a:cubicBezTo>
                      <a:pt x="592" y="968"/>
                      <a:pt x="592" y="967"/>
                      <a:pt x="589" y="963"/>
                    </a:cubicBezTo>
                    <a:cubicBezTo>
                      <a:pt x="586" y="959"/>
                      <a:pt x="584" y="953"/>
                      <a:pt x="583" y="949"/>
                    </a:cubicBezTo>
                    <a:cubicBezTo>
                      <a:pt x="580" y="942"/>
                      <a:pt x="576" y="936"/>
                      <a:pt x="573" y="929"/>
                    </a:cubicBezTo>
                    <a:cubicBezTo>
                      <a:pt x="566" y="917"/>
                      <a:pt x="553" y="908"/>
                      <a:pt x="544" y="898"/>
                    </a:cubicBezTo>
                    <a:cubicBezTo>
                      <a:pt x="541" y="893"/>
                      <a:pt x="537" y="891"/>
                      <a:pt x="533" y="887"/>
                    </a:cubicBezTo>
                    <a:cubicBezTo>
                      <a:pt x="530" y="885"/>
                      <a:pt x="528" y="884"/>
                      <a:pt x="528" y="880"/>
                    </a:cubicBezTo>
                    <a:cubicBezTo>
                      <a:pt x="527" y="878"/>
                      <a:pt x="529" y="874"/>
                      <a:pt x="529" y="872"/>
                    </a:cubicBezTo>
                    <a:cubicBezTo>
                      <a:pt x="529" y="868"/>
                      <a:pt x="529" y="865"/>
                      <a:pt x="530" y="862"/>
                    </a:cubicBezTo>
                    <a:cubicBezTo>
                      <a:pt x="533" y="852"/>
                      <a:pt x="530" y="841"/>
                      <a:pt x="535" y="832"/>
                    </a:cubicBezTo>
                    <a:cubicBezTo>
                      <a:pt x="540" y="821"/>
                      <a:pt x="535" y="834"/>
                      <a:pt x="532" y="823"/>
                    </a:cubicBezTo>
                    <a:cubicBezTo>
                      <a:pt x="531" y="821"/>
                      <a:pt x="531" y="818"/>
                      <a:pt x="530" y="815"/>
                    </a:cubicBezTo>
                    <a:cubicBezTo>
                      <a:pt x="526" y="806"/>
                      <a:pt x="519" y="800"/>
                      <a:pt x="514" y="792"/>
                    </a:cubicBezTo>
                    <a:cubicBezTo>
                      <a:pt x="513" y="791"/>
                      <a:pt x="513" y="789"/>
                      <a:pt x="512" y="788"/>
                    </a:cubicBezTo>
                    <a:cubicBezTo>
                      <a:pt x="511" y="786"/>
                      <a:pt x="510" y="789"/>
                      <a:pt x="510" y="786"/>
                    </a:cubicBezTo>
                    <a:cubicBezTo>
                      <a:pt x="509" y="783"/>
                      <a:pt x="513" y="780"/>
                      <a:pt x="514" y="778"/>
                    </a:cubicBezTo>
                    <a:cubicBezTo>
                      <a:pt x="517" y="772"/>
                      <a:pt x="518" y="766"/>
                      <a:pt x="520" y="761"/>
                    </a:cubicBezTo>
                    <a:cubicBezTo>
                      <a:pt x="521" y="759"/>
                      <a:pt x="524" y="758"/>
                      <a:pt x="522" y="755"/>
                    </a:cubicBezTo>
                    <a:cubicBezTo>
                      <a:pt x="519" y="750"/>
                      <a:pt x="509" y="749"/>
                      <a:pt x="504" y="746"/>
                    </a:cubicBezTo>
                    <a:cubicBezTo>
                      <a:pt x="500" y="742"/>
                      <a:pt x="497" y="738"/>
                      <a:pt x="495" y="733"/>
                    </a:cubicBezTo>
                    <a:cubicBezTo>
                      <a:pt x="493" y="729"/>
                      <a:pt x="492" y="719"/>
                      <a:pt x="494" y="714"/>
                    </a:cubicBezTo>
                    <a:cubicBezTo>
                      <a:pt x="495" y="710"/>
                      <a:pt x="497" y="713"/>
                      <a:pt x="501" y="712"/>
                    </a:cubicBezTo>
                    <a:cubicBezTo>
                      <a:pt x="505" y="711"/>
                      <a:pt x="503" y="710"/>
                      <a:pt x="505" y="708"/>
                    </a:cubicBezTo>
                    <a:cubicBezTo>
                      <a:pt x="509" y="703"/>
                      <a:pt x="510" y="699"/>
                      <a:pt x="505" y="693"/>
                    </a:cubicBezTo>
                    <a:cubicBezTo>
                      <a:pt x="502" y="691"/>
                      <a:pt x="500" y="691"/>
                      <a:pt x="499" y="688"/>
                    </a:cubicBezTo>
                    <a:cubicBezTo>
                      <a:pt x="497" y="685"/>
                      <a:pt x="499" y="679"/>
                      <a:pt x="499" y="676"/>
                    </a:cubicBezTo>
                    <a:cubicBezTo>
                      <a:pt x="499" y="668"/>
                      <a:pt x="498" y="661"/>
                      <a:pt x="502" y="654"/>
                    </a:cubicBezTo>
                    <a:cubicBezTo>
                      <a:pt x="504" y="651"/>
                      <a:pt x="504" y="652"/>
                      <a:pt x="505" y="649"/>
                    </a:cubicBezTo>
                    <a:cubicBezTo>
                      <a:pt x="505" y="646"/>
                      <a:pt x="504" y="643"/>
                      <a:pt x="506" y="640"/>
                    </a:cubicBezTo>
                    <a:cubicBezTo>
                      <a:pt x="512" y="633"/>
                      <a:pt x="530" y="647"/>
                      <a:pt x="516" y="607"/>
                    </a:cubicBezTo>
                    <a:cubicBezTo>
                      <a:pt x="514" y="599"/>
                      <a:pt x="460" y="469"/>
                      <a:pt x="462" y="461"/>
                    </a:cubicBezTo>
                    <a:cubicBezTo>
                      <a:pt x="464" y="455"/>
                      <a:pt x="508" y="393"/>
                      <a:pt x="513" y="378"/>
                    </a:cubicBezTo>
                    <a:cubicBezTo>
                      <a:pt x="515" y="372"/>
                      <a:pt x="519" y="366"/>
                      <a:pt x="515" y="359"/>
                    </a:cubicBezTo>
                    <a:cubicBezTo>
                      <a:pt x="514" y="357"/>
                      <a:pt x="511" y="355"/>
                      <a:pt x="509" y="353"/>
                    </a:cubicBezTo>
                    <a:cubicBezTo>
                      <a:pt x="507" y="351"/>
                      <a:pt x="506" y="349"/>
                      <a:pt x="504" y="346"/>
                    </a:cubicBezTo>
                    <a:cubicBezTo>
                      <a:pt x="503" y="343"/>
                      <a:pt x="500" y="340"/>
                      <a:pt x="498" y="337"/>
                    </a:cubicBezTo>
                    <a:cubicBezTo>
                      <a:pt x="496" y="332"/>
                      <a:pt x="493" y="327"/>
                      <a:pt x="491" y="323"/>
                    </a:cubicBezTo>
                    <a:cubicBezTo>
                      <a:pt x="488" y="316"/>
                      <a:pt x="484" y="312"/>
                      <a:pt x="479" y="307"/>
                    </a:cubicBezTo>
                    <a:cubicBezTo>
                      <a:pt x="476" y="304"/>
                      <a:pt x="477" y="304"/>
                      <a:pt x="472" y="302"/>
                    </a:cubicBezTo>
                    <a:cubicBezTo>
                      <a:pt x="470" y="301"/>
                      <a:pt x="468" y="299"/>
                      <a:pt x="466" y="297"/>
                    </a:cubicBezTo>
                    <a:cubicBezTo>
                      <a:pt x="458" y="292"/>
                      <a:pt x="449" y="293"/>
                      <a:pt x="444" y="284"/>
                    </a:cubicBezTo>
                    <a:cubicBezTo>
                      <a:pt x="440" y="277"/>
                      <a:pt x="441" y="269"/>
                      <a:pt x="441" y="261"/>
                    </a:cubicBezTo>
                    <a:cubicBezTo>
                      <a:pt x="441" y="252"/>
                      <a:pt x="441" y="243"/>
                      <a:pt x="441" y="235"/>
                    </a:cubicBezTo>
                    <a:cubicBezTo>
                      <a:pt x="441" y="226"/>
                      <a:pt x="443" y="219"/>
                      <a:pt x="444" y="211"/>
                    </a:cubicBezTo>
                    <a:cubicBezTo>
                      <a:pt x="446" y="203"/>
                      <a:pt x="445" y="194"/>
                      <a:pt x="449" y="188"/>
                    </a:cubicBezTo>
                    <a:cubicBezTo>
                      <a:pt x="447" y="188"/>
                      <a:pt x="447" y="188"/>
                      <a:pt x="447" y="188"/>
                    </a:cubicBezTo>
                    <a:cubicBezTo>
                      <a:pt x="443" y="188"/>
                      <a:pt x="434" y="189"/>
                      <a:pt x="437" y="185"/>
                    </a:cubicBezTo>
                    <a:cubicBezTo>
                      <a:pt x="436" y="185"/>
                      <a:pt x="442" y="181"/>
                      <a:pt x="442" y="181"/>
                    </a:cubicBezTo>
                    <a:cubicBezTo>
                      <a:pt x="446" y="180"/>
                      <a:pt x="445" y="182"/>
                      <a:pt x="448" y="178"/>
                    </a:cubicBezTo>
                    <a:cubicBezTo>
                      <a:pt x="452" y="174"/>
                      <a:pt x="457" y="171"/>
                      <a:pt x="460" y="166"/>
                    </a:cubicBezTo>
                    <a:cubicBezTo>
                      <a:pt x="461" y="165"/>
                      <a:pt x="462" y="164"/>
                      <a:pt x="462" y="163"/>
                    </a:cubicBezTo>
                    <a:cubicBezTo>
                      <a:pt x="461" y="163"/>
                      <a:pt x="459" y="164"/>
                      <a:pt x="458" y="162"/>
                    </a:cubicBezTo>
                    <a:cubicBezTo>
                      <a:pt x="456" y="161"/>
                      <a:pt x="455" y="159"/>
                      <a:pt x="454" y="158"/>
                    </a:cubicBezTo>
                    <a:cubicBezTo>
                      <a:pt x="453" y="156"/>
                      <a:pt x="452" y="154"/>
                      <a:pt x="451" y="152"/>
                    </a:cubicBezTo>
                    <a:cubicBezTo>
                      <a:pt x="450" y="150"/>
                      <a:pt x="450" y="148"/>
                      <a:pt x="449" y="147"/>
                    </a:cubicBezTo>
                    <a:cubicBezTo>
                      <a:pt x="447" y="143"/>
                      <a:pt x="448" y="140"/>
                      <a:pt x="450" y="136"/>
                    </a:cubicBezTo>
                    <a:cubicBezTo>
                      <a:pt x="450" y="135"/>
                      <a:pt x="451" y="134"/>
                      <a:pt x="452" y="133"/>
                    </a:cubicBezTo>
                    <a:cubicBezTo>
                      <a:pt x="454" y="130"/>
                      <a:pt x="455" y="127"/>
                      <a:pt x="456" y="125"/>
                    </a:cubicBezTo>
                    <a:cubicBezTo>
                      <a:pt x="460" y="118"/>
                      <a:pt x="463" y="112"/>
                      <a:pt x="467" y="107"/>
                    </a:cubicBezTo>
                    <a:cubicBezTo>
                      <a:pt x="469" y="104"/>
                      <a:pt x="470" y="102"/>
                      <a:pt x="472" y="100"/>
                    </a:cubicBezTo>
                    <a:cubicBezTo>
                      <a:pt x="473" y="98"/>
                      <a:pt x="474" y="96"/>
                      <a:pt x="474" y="94"/>
                    </a:cubicBezTo>
                    <a:cubicBezTo>
                      <a:pt x="474" y="91"/>
                      <a:pt x="472" y="87"/>
                      <a:pt x="471" y="84"/>
                    </a:cubicBezTo>
                    <a:cubicBezTo>
                      <a:pt x="469" y="80"/>
                      <a:pt x="468" y="77"/>
                      <a:pt x="467" y="73"/>
                    </a:cubicBezTo>
                    <a:cubicBezTo>
                      <a:pt x="466" y="72"/>
                      <a:pt x="466" y="70"/>
                      <a:pt x="466" y="69"/>
                    </a:cubicBezTo>
                    <a:cubicBezTo>
                      <a:pt x="465" y="67"/>
                      <a:pt x="464" y="66"/>
                      <a:pt x="462" y="65"/>
                    </a:cubicBezTo>
                    <a:cubicBezTo>
                      <a:pt x="458" y="63"/>
                      <a:pt x="456" y="59"/>
                      <a:pt x="452" y="56"/>
                    </a:cubicBezTo>
                    <a:cubicBezTo>
                      <a:pt x="447" y="51"/>
                      <a:pt x="441" y="48"/>
                      <a:pt x="434" y="45"/>
                    </a:cubicBezTo>
                    <a:cubicBezTo>
                      <a:pt x="432" y="43"/>
                      <a:pt x="431" y="42"/>
                      <a:pt x="430" y="40"/>
                    </a:cubicBezTo>
                    <a:cubicBezTo>
                      <a:pt x="429" y="39"/>
                      <a:pt x="428" y="37"/>
                      <a:pt x="428" y="36"/>
                    </a:cubicBezTo>
                    <a:cubicBezTo>
                      <a:pt x="426" y="34"/>
                      <a:pt x="425" y="32"/>
                      <a:pt x="423" y="29"/>
                    </a:cubicBezTo>
                    <a:cubicBezTo>
                      <a:pt x="422" y="26"/>
                      <a:pt x="419" y="24"/>
                      <a:pt x="417" y="21"/>
                    </a:cubicBezTo>
                    <a:cubicBezTo>
                      <a:pt x="417" y="21"/>
                      <a:pt x="415" y="18"/>
                      <a:pt x="414" y="17"/>
                    </a:cubicBezTo>
                    <a:cubicBezTo>
                      <a:pt x="412" y="16"/>
                      <a:pt x="410" y="17"/>
                      <a:pt x="409" y="14"/>
                    </a:cubicBezTo>
                    <a:cubicBezTo>
                      <a:pt x="408" y="13"/>
                      <a:pt x="409" y="10"/>
                      <a:pt x="409" y="9"/>
                    </a:cubicBezTo>
                    <a:cubicBezTo>
                      <a:pt x="409" y="8"/>
                      <a:pt x="408" y="5"/>
                      <a:pt x="407" y="5"/>
                    </a:cubicBezTo>
                    <a:cubicBezTo>
                      <a:pt x="405" y="2"/>
                      <a:pt x="408" y="4"/>
                      <a:pt x="404" y="3"/>
                    </a:cubicBezTo>
                    <a:cubicBezTo>
                      <a:pt x="401" y="3"/>
                      <a:pt x="397" y="5"/>
                      <a:pt x="393" y="3"/>
                    </a:cubicBezTo>
                    <a:cubicBezTo>
                      <a:pt x="392" y="2"/>
                      <a:pt x="392" y="1"/>
                      <a:pt x="390" y="0"/>
                    </a:cubicBezTo>
                    <a:cubicBezTo>
                      <a:pt x="389" y="1"/>
                      <a:pt x="388" y="1"/>
                      <a:pt x="387" y="1"/>
                    </a:cubicBezTo>
                    <a:cubicBezTo>
                      <a:pt x="386" y="1"/>
                      <a:pt x="385" y="2"/>
                      <a:pt x="385" y="2"/>
                    </a:cubicBezTo>
                    <a:cubicBezTo>
                      <a:pt x="382" y="4"/>
                      <a:pt x="381" y="7"/>
                      <a:pt x="379" y="9"/>
                    </a:cubicBezTo>
                    <a:cubicBezTo>
                      <a:pt x="377" y="11"/>
                      <a:pt x="375" y="12"/>
                      <a:pt x="374" y="14"/>
                    </a:cubicBezTo>
                    <a:cubicBezTo>
                      <a:pt x="371" y="17"/>
                      <a:pt x="372" y="21"/>
                      <a:pt x="371" y="25"/>
                    </a:cubicBezTo>
                    <a:cubicBezTo>
                      <a:pt x="368" y="26"/>
                      <a:pt x="365" y="26"/>
                      <a:pt x="362" y="27"/>
                    </a:cubicBezTo>
                    <a:cubicBezTo>
                      <a:pt x="359" y="27"/>
                      <a:pt x="355" y="29"/>
                      <a:pt x="352" y="28"/>
                    </a:cubicBezTo>
                    <a:cubicBezTo>
                      <a:pt x="352" y="28"/>
                      <a:pt x="352" y="26"/>
                      <a:pt x="352" y="26"/>
                    </a:cubicBezTo>
                    <a:cubicBezTo>
                      <a:pt x="348" y="25"/>
                      <a:pt x="343" y="26"/>
                      <a:pt x="339" y="26"/>
                    </a:cubicBezTo>
                    <a:cubicBezTo>
                      <a:pt x="335" y="26"/>
                      <a:pt x="330" y="25"/>
                      <a:pt x="326" y="27"/>
                    </a:cubicBezTo>
                    <a:cubicBezTo>
                      <a:pt x="321" y="30"/>
                      <a:pt x="315" y="36"/>
                      <a:pt x="312" y="41"/>
                    </a:cubicBezTo>
                    <a:cubicBezTo>
                      <a:pt x="311" y="43"/>
                      <a:pt x="311" y="46"/>
                      <a:pt x="309" y="48"/>
                    </a:cubicBezTo>
                    <a:cubicBezTo>
                      <a:pt x="308" y="49"/>
                      <a:pt x="307" y="50"/>
                      <a:pt x="307" y="52"/>
                    </a:cubicBezTo>
                    <a:cubicBezTo>
                      <a:pt x="306" y="56"/>
                      <a:pt x="309" y="61"/>
                      <a:pt x="306" y="64"/>
                    </a:cubicBezTo>
                    <a:cubicBezTo>
                      <a:pt x="303" y="67"/>
                      <a:pt x="297" y="65"/>
                      <a:pt x="295" y="69"/>
                    </a:cubicBezTo>
                    <a:cubicBezTo>
                      <a:pt x="294" y="70"/>
                      <a:pt x="294" y="71"/>
                      <a:pt x="294" y="72"/>
                    </a:cubicBezTo>
                    <a:cubicBezTo>
                      <a:pt x="293" y="73"/>
                      <a:pt x="293" y="73"/>
                      <a:pt x="293" y="74"/>
                    </a:cubicBezTo>
                    <a:cubicBezTo>
                      <a:pt x="292" y="75"/>
                      <a:pt x="293" y="77"/>
                      <a:pt x="293" y="78"/>
                    </a:cubicBezTo>
                    <a:cubicBezTo>
                      <a:pt x="293" y="80"/>
                      <a:pt x="292" y="83"/>
                      <a:pt x="292" y="86"/>
                    </a:cubicBezTo>
                    <a:cubicBezTo>
                      <a:pt x="291" y="91"/>
                      <a:pt x="292" y="97"/>
                      <a:pt x="290" y="102"/>
                    </a:cubicBezTo>
                    <a:cubicBezTo>
                      <a:pt x="289" y="107"/>
                      <a:pt x="288" y="110"/>
                      <a:pt x="288" y="115"/>
                    </a:cubicBezTo>
                    <a:cubicBezTo>
                      <a:pt x="288" y="121"/>
                      <a:pt x="288" y="128"/>
                      <a:pt x="288" y="135"/>
                    </a:cubicBezTo>
                    <a:cubicBezTo>
                      <a:pt x="288" y="143"/>
                      <a:pt x="288" y="152"/>
                      <a:pt x="288" y="160"/>
                    </a:cubicBezTo>
                    <a:cubicBezTo>
                      <a:pt x="288" y="164"/>
                      <a:pt x="288" y="165"/>
                      <a:pt x="287" y="167"/>
                    </a:cubicBezTo>
                    <a:cubicBezTo>
                      <a:pt x="286" y="169"/>
                      <a:pt x="285" y="169"/>
                      <a:pt x="284" y="170"/>
                    </a:cubicBezTo>
                    <a:cubicBezTo>
                      <a:pt x="283" y="172"/>
                      <a:pt x="282" y="175"/>
                      <a:pt x="281" y="177"/>
                    </a:cubicBezTo>
                    <a:cubicBezTo>
                      <a:pt x="280" y="178"/>
                      <a:pt x="279" y="180"/>
                      <a:pt x="278" y="183"/>
                    </a:cubicBezTo>
                    <a:cubicBezTo>
                      <a:pt x="278" y="184"/>
                      <a:pt x="279" y="185"/>
                      <a:pt x="278" y="187"/>
                    </a:cubicBezTo>
                    <a:cubicBezTo>
                      <a:pt x="275" y="187"/>
                      <a:pt x="274" y="186"/>
                      <a:pt x="271" y="186"/>
                    </a:cubicBezTo>
                    <a:cubicBezTo>
                      <a:pt x="268" y="185"/>
                      <a:pt x="268" y="185"/>
                      <a:pt x="266" y="189"/>
                    </a:cubicBezTo>
                    <a:cubicBezTo>
                      <a:pt x="265" y="192"/>
                      <a:pt x="265" y="194"/>
                      <a:pt x="263" y="196"/>
                    </a:cubicBezTo>
                    <a:cubicBezTo>
                      <a:pt x="263" y="196"/>
                      <a:pt x="260" y="198"/>
                      <a:pt x="260" y="198"/>
                    </a:cubicBezTo>
                    <a:cubicBezTo>
                      <a:pt x="260" y="199"/>
                      <a:pt x="259" y="200"/>
                      <a:pt x="258" y="201"/>
                    </a:cubicBezTo>
                    <a:cubicBezTo>
                      <a:pt x="257" y="202"/>
                      <a:pt x="256" y="201"/>
                      <a:pt x="256" y="203"/>
                    </a:cubicBezTo>
                    <a:cubicBezTo>
                      <a:pt x="255" y="203"/>
                      <a:pt x="255" y="202"/>
                      <a:pt x="255" y="201"/>
                    </a:cubicBezTo>
                    <a:cubicBezTo>
                      <a:pt x="254" y="201"/>
                      <a:pt x="254" y="199"/>
                      <a:pt x="252" y="198"/>
                    </a:cubicBezTo>
                    <a:cubicBezTo>
                      <a:pt x="249" y="195"/>
                      <a:pt x="244" y="196"/>
                      <a:pt x="241" y="195"/>
                    </a:cubicBezTo>
                    <a:cubicBezTo>
                      <a:pt x="243" y="198"/>
                      <a:pt x="250" y="201"/>
                      <a:pt x="254" y="201"/>
                    </a:cubicBezTo>
                    <a:cubicBezTo>
                      <a:pt x="252" y="203"/>
                      <a:pt x="249" y="207"/>
                      <a:pt x="248" y="210"/>
                    </a:cubicBezTo>
                    <a:cubicBezTo>
                      <a:pt x="247" y="214"/>
                      <a:pt x="255" y="224"/>
                      <a:pt x="249" y="227"/>
                    </a:cubicBezTo>
                    <a:cubicBezTo>
                      <a:pt x="247" y="228"/>
                      <a:pt x="245" y="226"/>
                      <a:pt x="243" y="228"/>
                    </a:cubicBezTo>
                    <a:cubicBezTo>
                      <a:pt x="241" y="229"/>
                      <a:pt x="241" y="231"/>
                      <a:pt x="239" y="232"/>
                    </a:cubicBezTo>
                    <a:cubicBezTo>
                      <a:pt x="236" y="232"/>
                      <a:pt x="237" y="226"/>
                      <a:pt x="235" y="224"/>
                    </a:cubicBezTo>
                    <a:cubicBezTo>
                      <a:pt x="234" y="223"/>
                      <a:pt x="234" y="221"/>
                      <a:pt x="232" y="220"/>
                    </a:cubicBezTo>
                    <a:cubicBezTo>
                      <a:pt x="229" y="219"/>
                      <a:pt x="225" y="217"/>
                      <a:pt x="222" y="216"/>
                    </a:cubicBezTo>
                    <a:cubicBezTo>
                      <a:pt x="220" y="215"/>
                      <a:pt x="218" y="215"/>
                      <a:pt x="217" y="214"/>
                    </a:cubicBezTo>
                    <a:cubicBezTo>
                      <a:pt x="216" y="213"/>
                      <a:pt x="215" y="213"/>
                      <a:pt x="214" y="213"/>
                    </a:cubicBezTo>
                    <a:cubicBezTo>
                      <a:pt x="214" y="212"/>
                      <a:pt x="213" y="212"/>
                      <a:pt x="213" y="211"/>
                    </a:cubicBezTo>
                    <a:cubicBezTo>
                      <a:pt x="209" y="208"/>
                      <a:pt x="204" y="206"/>
                      <a:pt x="200" y="203"/>
                    </a:cubicBezTo>
                    <a:cubicBezTo>
                      <a:pt x="195" y="200"/>
                      <a:pt x="190" y="196"/>
                      <a:pt x="184" y="196"/>
                    </a:cubicBezTo>
                    <a:cubicBezTo>
                      <a:pt x="183" y="198"/>
                      <a:pt x="183" y="200"/>
                      <a:pt x="182" y="202"/>
                    </a:cubicBezTo>
                    <a:cubicBezTo>
                      <a:pt x="181" y="203"/>
                      <a:pt x="179" y="205"/>
                      <a:pt x="178" y="206"/>
                    </a:cubicBezTo>
                    <a:cubicBezTo>
                      <a:pt x="176" y="209"/>
                      <a:pt x="176" y="212"/>
                      <a:pt x="175" y="214"/>
                    </a:cubicBezTo>
                    <a:cubicBezTo>
                      <a:pt x="174" y="215"/>
                      <a:pt x="172" y="214"/>
                      <a:pt x="172" y="215"/>
                    </a:cubicBezTo>
                    <a:cubicBezTo>
                      <a:pt x="172" y="216"/>
                      <a:pt x="172" y="217"/>
                      <a:pt x="172" y="217"/>
                    </a:cubicBezTo>
                    <a:cubicBezTo>
                      <a:pt x="170" y="220"/>
                      <a:pt x="172" y="220"/>
                      <a:pt x="169" y="220"/>
                    </a:cubicBezTo>
                    <a:cubicBezTo>
                      <a:pt x="167" y="220"/>
                      <a:pt x="165" y="220"/>
                      <a:pt x="163" y="220"/>
                    </a:cubicBezTo>
                    <a:cubicBezTo>
                      <a:pt x="159" y="220"/>
                      <a:pt x="154" y="224"/>
                      <a:pt x="150" y="223"/>
                    </a:cubicBezTo>
                    <a:cubicBezTo>
                      <a:pt x="146" y="222"/>
                      <a:pt x="146" y="219"/>
                      <a:pt x="142" y="217"/>
                    </a:cubicBezTo>
                    <a:cubicBezTo>
                      <a:pt x="140" y="217"/>
                      <a:pt x="137" y="217"/>
                      <a:pt x="135" y="217"/>
                    </a:cubicBezTo>
                    <a:cubicBezTo>
                      <a:pt x="133" y="217"/>
                      <a:pt x="132" y="216"/>
                      <a:pt x="130" y="215"/>
                    </a:cubicBezTo>
                    <a:cubicBezTo>
                      <a:pt x="125" y="213"/>
                      <a:pt x="121" y="212"/>
                      <a:pt x="115" y="211"/>
                    </a:cubicBezTo>
                    <a:cubicBezTo>
                      <a:pt x="114" y="210"/>
                      <a:pt x="112" y="210"/>
                      <a:pt x="110" y="210"/>
                    </a:cubicBezTo>
                    <a:cubicBezTo>
                      <a:pt x="108" y="210"/>
                      <a:pt x="107" y="211"/>
                      <a:pt x="105" y="211"/>
                    </a:cubicBezTo>
                    <a:cubicBezTo>
                      <a:pt x="104" y="204"/>
                      <a:pt x="105" y="196"/>
                      <a:pt x="104" y="189"/>
                    </a:cubicBezTo>
                    <a:cubicBezTo>
                      <a:pt x="103" y="186"/>
                      <a:pt x="103" y="188"/>
                      <a:pt x="101" y="186"/>
                    </a:cubicBezTo>
                    <a:cubicBezTo>
                      <a:pt x="100" y="185"/>
                      <a:pt x="100" y="184"/>
                      <a:pt x="99" y="183"/>
                    </a:cubicBezTo>
                    <a:cubicBezTo>
                      <a:pt x="99" y="181"/>
                      <a:pt x="97" y="180"/>
                      <a:pt x="96" y="178"/>
                    </a:cubicBezTo>
                    <a:cubicBezTo>
                      <a:pt x="95" y="177"/>
                      <a:pt x="94" y="175"/>
                      <a:pt x="93" y="174"/>
                    </a:cubicBezTo>
                    <a:cubicBezTo>
                      <a:pt x="91" y="171"/>
                      <a:pt x="88" y="167"/>
                      <a:pt x="85" y="164"/>
                    </a:cubicBezTo>
                    <a:cubicBezTo>
                      <a:pt x="83" y="162"/>
                      <a:pt x="81" y="160"/>
                      <a:pt x="79" y="157"/>
                    </a:cubicBezTo>
                    <a:cubicBezTo>
                      <a:pt x="76" y="153"/>
                      <a:pt x="74" y="148"/>
                      <a:pt x="73" y="144"/>
                    </a:cubicBezTo>
                    <a:cubicBezTo>
                      <a:pt x="72" y="142"/>
                      <a:pt x="72" y="141"/>
                      <a:pt x="71" y="139"/>
                    </a:cubicBezTo>
                    <a:cubicBezTo>
                      <a:pt x="70" y="138"/>
                      <a:pt x="68" y="137"/>
                      <a:pt x="67" y="135"/>
                    </a:cubicBezTo>
                    <a:cubicBezTo>
                      <a:pt x="66" y="133"/>
                      <a:pt x="66" y="129"/>
                      <a:pt x="64" y="127"/>
                    </a:cubicBezTo>
                    <a:cubicBezTo>
                      <a:pt x="62" y="125"/>
                      <a:pt x="57" y="126"/>
                      <a:pt x="55" y="126"/>
                    </a:cubicBezTo>
                    <a:cubicBezTo>
                      <a:pt x="49" y="126"/>
                      <a:pt x="44" y="129"/>
                      <a:pt x="39" y="130"/>
                    </a:cubicBezTo>
                    <a:cubicBezTo>
                      <a:pt x="34" y="132"/>
                      <a:pt x="27" y="134"/>
                      <a:pt x="30" y="141"/>
                    </a:cubicBezTo>
                    <a:cubicBezTo>
                      <a:pt x="31" y="144"/>
                      <a:pt x="33" y="146"/>
                      <a:pt x="34" y="151"/>
                    </a:cubicBezTo>
                    <a:cubicBezTo>
                      <a:pt x="34" y="154"/>
                      <a:pt x="34" y="158"/>
                      <a:pt x="34" y="161"/>
                    </a:cubicBezTo>
                    <a:cubicBezTo>
                      <a:pt x="31" y="160"/>
                      <a:pt x="28" y="158"/>
                      <a:pt x="25" y="157"/>
                    </a:cubicBezTo>
                    <a:cubicBezTo>
                      <a:pt x="23" y="156"/>
                      <a:pt x="19" y="153"/>
                      <a:pt x="17" y="154"/>
                    </a:cubicBezTo>
                    <a:cubicBezTo>
                      <a:pt x="17" y="154"/>
                      <a:pt x="17" y="155"/>
                      <a:pt x="17" y="156"/>
                    </a:cubicBezTo>
                    <a:cubicBezTo>
                      <a:pt x="11" y="157"/>
                      <a:pt x="5" y="157"/>
                      <a:pt x="0" y="158"/>
                    </a:cubicBezTo>
                    <a:cubicBezTo>
                      <a:pt x="1" y="157"/>
                      <a:pt x="3" y="157"/>
                      <a:pt x="5" y="157"/>
                    </a:cubicBezTo>
                    <a:cubicBezTo>
                      <a:pt x="5" y="157"/>
                      <a:pt x="5" y="158"/>
                      <a:pt x="5" y="158"/>
                    </a:cubicBezTo>
                    <a:cubicBezTo>
                      <a:pt x="6" y="159"/>
                      <a:pt x="6" y="161"/>
                      <a:pt x="7" y="162"/>
                    </a:cubicBezTo>
                    <a:cubicBezTo>
                      <a:pt x="8" y="165"/>
                      <a:pt x="11" y="168"/>
                      <a:pt x="13" y="171"/>
                    </a:cubicBezTo>
                    <a:cubicBezTo>
                      <a:pt x="16" y="174"/>
                      <a:pt x="19" y="176"/>
                      <a:pt x="22" y="179"/>
                    </a:cubicBezTo>
                    <a:cubicBezTo>
                      <a:pt x="25" y="181"/>
                      <a:pt x="26" y="183"/>
                      <a:pt x="28" y="185"/>
                    </a:cubicBezTo>
                    <a:cubicBezTo>
                      <a:pt x="31" y="187"/>
                      <a:pt x="34" y="189"/>
                      <a:pt x="37" y="192"/>
                    </a:cubicBezTo>
                    <a:cubicBezTo>
                      <a:pt x="40" y="196"/>
                      <a:pt x="41" y="201"/>
                      <a:pt x="45" y="204"/>
                    </a:cubicBezTo>
                    <a:cubicBezTo>
                      <a:pt x="50" y="207"/>
                      <a:pt x="52" y="211"/>
                      <a:pt x="55" y="216"/>
                    </a:cubicBezTo>
                    <a:cubicBezTo>
                      <a:pt x="58" y="219"/>
                      <a:pt x="62" y="224"/>
                      <a:pt x="66" y="225"/>
                    </a:cubicBezTo>
                    <a:cubicBezTo>
                      <a:pt x="71" y="226"/>
                      <a:pt x="73" y="226"/>
                      <a:pt x="77" y="229"/>
                    </a:cubicBezTo>
                    <a:cubicBezTo>
                      <a:pt x="80" y="231"/>
                      <a:pt x="82" y="233"/>
                      <a:pt x="85" y="235"/>
                    </a:cubicBezTo>
                    <a:cubicBezTo>
                      <a:pt x="86" y="237"/>
                      <a:pt x="88" y="239"/>
                      <a:pt x="90" y="240"/>
                    </a:cubicBezTo>
                    <a:cubicBezTo>
                      <a:pt x="91" y="241"/>
                      <a:pt x="92" y="241"/>
                      <a:pt x="94" y="241"/>
                    </a:cubicBezTo>
                    <a:cubicBezTo>
                      <a:pt x="98" y="241"/>
                      <a:pt x="101" y="242"/>
                      <a:pt x="105" y="243"/>
                    </a:cubicBezTo>
                    <a:cubicBezTo>
                      <a:pt x="110" y="246"/>
                      <a:pt x="112" y="247"/>
                      <a:pt x="116" y="252"/>
                    </a:cubicBezTo>
                    <a:cubicBezTo>
                      <a:pt x="119" y="257"/>
                      <a:pt x="124" y="263"/>
                      <a:pt x="127" y="269"/>
                    </a:cubicBezTo>
                    <a:cubicBezTo>
                      <a:pt x="128" y="271"/>
                      <a:pt x="129" y="272"/>
                      <a:pt x="130" y="274"/>
                    </a:cubicBezTo>
                    <a:cubicBezTo>
                      <a:pt x="131" y="277"/>
                      <a:pt x="132" y="276"/>
                      <a:pt x="135" y="277"/>
                    </a:cubicBezTo>
                    <a:cubicBezTo>
                      <a:pt x="137" y="278"/>
                      <a:pt x="142" y="279"/>
                      <a:pt x="144" y="280"/>
                    </a:cubicBezTo>
                    <a:cubicBezTo>
                      <a:pt x="145" y="282"/>
                      <a:pt x="144" y="285"/>
                      <a:pt x="144" y="286"/>
                    </a:cubicBezTo>
                    <a:cubicBezTo>
                      <a:pt x="145" y="290"/>
                      <a:pt x="144" y="294"/>
                      <a:pt x="145" y="297"/>
                    </a:cubicBezTo>
                    <a:cubicBezTo>
                      <a:pt x="148" y="297"/>
                      <a:pt x="150" y="298"/>
                      <a:pt x="152" y="299"/>
                    </a:cubicBezTo>
                    <a:cubicBezTo>
                      <a:pt x="156" y="300"/>
                      <a:pt x="157" y="302"/>
                      <a:pt x="159" y="305"/>
                    </a:cubicBezTo>
                    <a:cubicBezTo>
                      <a:pt x="162" y="310"/>
                      <a:pt x="163" y="318"/>
                      <a:pt x="170" y="319"/>
                    </a:cubicBezTo>
                    <a:cubicBezTo>
                      <a:pt x="171" y="324"/>
                      <a:pt x="168" y="326"/>
                      <a:pt x="166" y="331"/>
                    </a:cubicBezTo>
                    <a:cubicBezTo>
                      <a:pt x="166" y="333"/>
                      <a:pt x="165" y="335"/>
                      <a:pt x="165" y="337"/>
                    </a:cubicBezTo>
                    <a:cubicBezTo>
                      <a:pt x="165" y="341"/>
                      <a:pt x="165" y="345"/>
                      <a:pt x="165" y="349"/>
                    </a:cubicBezTo>
                    <a:cubicBezTo>
                      <a:pt x="165" y="356"/>
                      <a:pt x="168" y="361"/>
                      <a:pt x="169" y="368"/>
                    </a:cubicBezTo>
                    <a:cubicBezTo>
                      <a:pt x="169" y="371"/>
                      <a:pt x="169" y="375"/>
                      <a:pt x="167" y="378"/>
                    </a:cubicBezTo>
                    <a:cubicBezTo>
                      <a:pt x="164" y="381"/>
                      <a:pt x="159" y="382"/>
                      <a:pt x="160" y="387"/>
                    </a:cubicBezTo>
                    <a:cubicBezTo>
                      <a:pt x="161" y="390"/>
                      <a:pt x="162" y="393"/>
                      <a:pt x="164" y="394"/>
                    </a:cubicBezTo>
                    <a:cubicBezTo>
                      <a:pt x="166" y="396"/>
                      <a:pt x="170" y="395"/>
                      <a:pt x="172" y="396"/>
                    </a:cubicBezTo>
                    <a:cubicBezTo>
                      <a:pt x="173" y="397"/>
                      <a:pt x="173" y="398"/>
                      <a:pt x="173" y="400"/>
                    </a:cubicBezTo>
                    <a:cubicBezTo>
                      <a:pt x="174" y="403"/>
                      <a:pt x="175" y="406"/>
                      <a:pt x="175" y="410"/>
                    </a:cubicBezTo>
                    <a:cubicBezTo>
                      <a:pt x="176" y="412"/>
                      <a:pt x="177" y="416"/>
                      <a:pt x="176" y="419"/>
                    </a:cubicBezTo>
                    <a:cubicBezTo>
                      <a:pt x="176" y="421"/>
                      <a:pt x="174" y="420"/>
                      <a:pt x="173" y="422"/>
                    </a:cubicBezTo>
                    <a:cubicBezTo>
                      <a:pt x="171" y="424"/>
                      <a:pt x="172" y="430"/>
                      <a:pt x="172" y="433"/>
                    </a:cubicBezTo>
                    <a:cubicBezTo>
                      <a:pt x="172" y="443"/>
                      <a:pt x="175" y="453"/>
                      <a:pt x="180" y="462"/>
                    </a:cubicBezTo>
                    <a:cubicBezTo>
                      <a:pt x="185" y="469"/>
                      <a:pt x="189" y="477"/>
                      <a:pt x="190" y="485"/>
                    </a:cubicBezTo>
                    <a:cubicBezTo>
                      <a:pt x="192" y="494"/>
                      <a:pt x="189" y="502"/>
                      <a:pt x="187" y="510"/>
                    </a:cubicBezTo>
                    <a:cubicBezTo>
                      <a:pt x="186" y="516"/>
                      <a:pt x="187" y="522"/>
                      <a:pt x="184" y="528"/>
                    </a:cubicBezTo>
                    <a:cubicBezTo>
                      <a:pt x="182" y="531"/>
                      <a:pt x="180" y="533"/>
                      <a:pt x="180" y="537"/>
                    </a:cubicBezTo>
                    <a:cubicBezTo>
                      <a:pt x="179" y="541"/>
                      <a:pt x="180" y="544"/>
                      <a:pt x="180" y="548"/>
                    </a:cubicBezTo>
                    <a:cubicBezTo>
                      <a:pt x="180" y="551"/>
                      <a:pt x="179" y="555"/>
                      <a:pt x="180" y="558"/>
                    </a:cubicBezTo>
                    <a:cubicBezTo>
                      <a:pt x="182" y="562"/>
                      <a:pt x="185" y="563"/>
                      <a:pt x="187" y="567"/>
                    </a:cubicBezTo>
                    <a:cubicBezTo>
                      <a:pt x="193" y="576"/>
                      <a:pt x="194" y="586"/>
                      <a:pt x="197" y="596"/>
                    </a:cubicBezTo>
                    <a:cubicBezTo>
                      <a:pt x="198" y="601"/>
                      <a:pt x="199" y="607"/>
                      <a:pt x="198" y="612"/>
                    </a:cubicBezTo>
                    <a:cubicBezTo>
                      <a:pt x="198" y="613"/>
                      <a:pt x="197" y="615"/>
                      <a:pt x="197" y="616"/>
                    </a:cubicBezTo>
                    <a:cubicBezTo>
                      <a:pt x="197" y="616"/>
                      <a:pt x="197" y="616"/>
                      <a:pt x="196" y="616"/>
                    </a:cubicBezTo>
                    <a:cubicBezTo>
                      <a:pt x="199" y="619"/>
                      <a:pt x="202" y="620"/>
                      <a:pt x="205" y="620"/>
                    </a:cubicBezTo>
                    <a:cubicBezTo>
                      <a:pt x="205" y="630"/>
                      <a:pt x="221" y="632"/>
                      <a:pt x="228" y="634"/>
                    </a:cubicBezTo>
                    <a:cubicBezTo>
                      <a:pt x="234" y="636"/>
                      <a:pt x="242" y="639"/>
                      <a:pt x="247" y="644"/>
                    </a:cubicBezTo>
                    <a:cubicBezTo>
                      <a:pt x="252" y="648"/>
                      <a:pt x="255" y="654"/>
                      <a:pt x="258" y="659"/>
                    </a:cubicBezTo>
                    <a:cubicBezTo>
                      <a:pt x="259" y="661"/>
                      <a:pt x="260" y="664"/>
                      <a:pt x="262" y="666"/>
                    </a:cubicBezTo>
                    <a:cubicBezTo>
                      <a:pt x="263" y="667"/>
                      <a:pt x="265" y="667"/>
                      <a:pt x="266" y="667"/>
                    </a:cubicBezTo>
                    <a:cubicBezTo>
                      <a:pt x="270" y="674"/>
                      <a:pt x="265" y="686"/>
                      <a:pt x="264" y="693"/>
                    </a:cubicBezTo>
                    <a:cubicBezTo>
                      <a:pt x="264" y="698"/>
                      <a:pt x="264" y="702"/>
                      <a:pt x="267" y="706"/>
                    </a:cubicBezTo>
                    <a:cubicBezTo>
                      <a:pt x="269" y="711"/>
                      <a:pt x="276" y="716"/>
                      <a:pt x="274" y="723"/>
                    </a:cubicBezTo>
                    <a:cubicBezTo>
                      <a:pt x="271" y="723"/>
                      <a:pt x="263" y="723"/>
                      <a:pt x="261" y="726"/>
                    </a:cubicBezTo>
                    <a:cubicBezTo>
                      <a:pt x="264" y="728"/>
                      <a:pt x="271" y="735"/>
                      <a:pt x="267" y="738"/>
                    </a:cubicBezTo>
                    <a:cubicBezTo>
                      <a:pt x="263" y="735"/>
                      <a:pt x="261" y="733"/>
                      <a:pt x="256" y="735"/>
                    </a:cubicBezTo>
                    <a:cubicBezTo>
                      <a:pt x="251" y="737"/>
                      <a:pt x="250" y="741"/>
                      <a:pt x="246" y="743"/>
                    </a:cubicBezTo>
                    <a:cubicBezTo>
                      <a:pt x="239" y="746"/>
                      <a:pt x="228" y="739"/>
                      <a:pt x="224" y="749"/>
                    </a:cubicBezTo>
                    <a:cubicBezTo>
                      <a:pt x="223" y="752"/>
                      <a:pt x="224" y="755"/>
                      <a:pt x="222" y="758"/>
                    </a:cubicBezTo>
                    <a:cubicBezTo>
                      <a:pt x="221" y="763"/>
                      <a:pt x="217" y="763"/>
                      <a:pt x="214" y="767"/>
                    </a:cubicBezTo>
                    <a:cubicBezTo>
                      <a:pt x="208" y="774"/>
                      <a:pt x="201" y="783"/>
                      <a:pt x="195" y="791"/>
                    </a:cubicBezTo>
                    <a:cubicBezTo>
                      <a:pt x="187" y="802"/>
                      <a:pt x="180" y="816"/>
                      <a:pt x="171" y="826"/>
                    </a:cubicBezTo>
                    <a:cubicBezTo>
                      <a:pt x="169" y="828"/>
                      <a:pt x="167" y="830"/>
                      <a:pt x="166" y="833"/>
                    </a:cubicBezTo>
                    <a:cubicBezTo>
                      <a:pt x="165" y="836"/>
                      <a:pt x="168" y="840"/>
                      <a:pt x="164" y="841"/>
                    </a:cubicBezTo>
                    <a:cubicBezTo>
                      <a:pt x="160" y="843"/>
                      <a:pt x="158" y="839"/>
                      <a:pt x="155" y="841"/>
                    </a:cubicBezTo>
                    <a:cubicBezTo>
                      <a:pt x="151" y="844"/>
                      <a:pt x="146" y="853"/>
                      <a:pt x="145" y="857"/>
                    </a:cubicBezTo>
                    <a:cubicBezTo>
                      <a:pt x="144" y="862"/>
                      <a:pt x="147" y="868"/>
                      <a:pt x="140" y="869"/>
                    </a:cubicBezTo>
                    <a:cubicBezTo>
                      <a:pt x="134" y="870"/>
                      <a:pt x="133" y="864"/>
                      <a:pt x="128" y="863"/>
                    </a:cubicBezTo>
                    <a:cubicBezTo>
                      <a:pt x="127" y="866"/>
                      <a:pt x="125" y="868"/>
                      <a:pt x="124" y="871"/>
                    </a:cubicBezTo>
                    <a:cubicBezTo>
                      <a:pt x="124" y="874"/>
                      <a:pt x="125" y="877"/>
                      <a:pt x="124" y="881"/>
                    </a:cubicBezTo>
                    <a:cubicBezTo>
                      <a:pt x="124" y="884"/>
                      <a:pt x="124" y="885"/>
                      <a:pt x="122" y="887"/>
                    </a:cubicBezTo>
                    <a:cubicBezTo>
                      <a:pt x="119" y="890"/>
                      <a:pt x="112" y="890"/>
                      <a:pt x="109" y="893"/>
                    </a:cubicBezTo>
                    <a:cubicBezTo>
                      <a:pt x="105" y="898"/>
                      <a:pt x="109" y="905"/>
                      <a:pt x="111" y="910"/>
                    </a:cubicBezTo>
                    <a:cubicBezTo>
                      <a:pt x="116" y="919"/>
                      <a:pt x="105" y="929"/>
                      <a:pt x="96" y="932"/>
                    </a:cubicBezTo>
                    <a:cubicBezTo>
                      <a:pt x="93" y="930"/>
                      <a:pt x="89" y="931"/>
                      <a:pt x="86" y="931"/>
                    </a:cubicBezTo>
                    <a:cubicBezTo>
                      <a:pt x="82" y="931"/>
                      <a:pt x="78" y="929"/>
                      <a:pt x="75" y="929"/>
                    </a:cubicBezTo>
                    <a:cubicBezTo>
                      <a:pt x="65" y="928"/>
                      <a:pt x="66" y="935"/>
                      <a:pt x="66" y="943"/>
                    </a:cubicBezTo>
                    <a:cubicBezTo>
                      <a:pt x="66" y="949"/>
                      <a:pt x="67" y="964"/>
                      <a:pt x="62" y="967"/>
                    </a:cubicBezTo>
                    <a:cubicBezTo>
                      <a:pt x="58" y="970"/>
                      <a:pt x="54" y="967"/>
                      <a:pt x="50" y="969"/>
                    </a:cubicBezTo>
                    <a:cubicBezTo>
                      <a:pt x="43" y="972"/>
                      <a:pt x="42" y="986"/>
                      <a:pt x="43" y="994"/>
                    </a:cubicBezTo>
                    <a:cubicBezTo>
                      <a:pt x="43" y="994"/>
                      <a:pt x="43" y="994"/>
                      <a:pt x="43" y="995"/>
                    </a:cubicBezTo>
                    <a:cubicBezTo>
                      <a:pt x="43" y="994"/>
                      <a:pt x="43" y="994"/>
                      <a:pt x="43" y="994"/>
                    </a:cubicBezTo>
                    <a:cubicBezTo>
                      <a:pt x="43" y="993"/>
                      <a:pt x="42" y="993"/>
                      <a:pt x="42" y="993"/>
                    </a:cubicBezTo>
                    <a:cubicBezTo>
                      <a:pt x="39" y="997"/>
                      <a:pt x="41" y="1008"/>
                      <a:pt x="43" y="1013"/>
                    </a:cubicBezTo>
                    <a:cubicBezTo>
                      <a:pt x="46" y="1025"/>
                      <a:pt x="59" y="1035"/>
                      <a:pt x="55" y="1049"/>
                    </a:cubicBezTo>
                    <a:cubicBezTo>
                      <a:pt x="53" y="1054"/>
                      <a:pt x="51" y="1056"/>
                      <a:pt x="52" y="1061"/>
                    </a:cubicBezTo>
                    <a:cubicBezTo>
                      <a:pt x="53" y="1066"/>
                      <a:pt x="54" y="1070"/>
                      <a:pt x="54" y="1075"/>
                    </a:cubicBezTo>
                    <a:cubicBezTo>
                      <a:pt x="54" y="1082"/>
                      <a:pt x="52" y="1095"/>
                      <a:pt x="56" y="1101"/>
                    </a:cubicBezTo>
                    <a:cubicBezTo>
                      <a:pt x="58" y="1101"/>
                      <a:pt x="60" y="1099"/>
                      <a:pt x="60" y="1098"/>
                    </a:cubicBezTo>
                    <a:cubicBezTo>
                      <a:pt x="58" y="1105"/>
                      <a:pt x="54" y="1112"/>
                      <a:pt x="55" y="1120"/>
                    </a:cubicBezTo>
                    <a:cubicBezTo>
                      <a:pt x="56" y="1127"/>
                      <a:pt x="61" y="1131"/>
                      <a:pt x="64" y="1137"/>
                    </a:cubicBezTo>
                    <a:cubicBezTo>
                      <a:pt x="68" y="1142"/>
                      <a:pt x="70" y="1145"/>
                      <a:pt x="68" y="1152"/>
                    </a:cubicBezTo>
                    <a:cubicBezTo>
                      <a:pt x="67" y="1156"/>
                      <a:pt x="64" y="1158"/>
                      <a:pt x="62" y="1162"/>
                    </a:cubicBezTo>
                    <a:cubicBezTo>
                      <a:pt x="60" y="1166"/>
                      <a:pt x="61" y="1173"/>
                      <a:pt x="61" y="1178"/>
                    </a:cubicBezTo>
                    <a:cubicBezTo>
                      <a:pt x="61" y="1180"/>
                      <a:pt x="62" y="1183"/>
                      <a:pt x="61" y="1185"/>
                    </a:cubicBezTo>
                    <a:cubicBezTo>
                      <a:pt x="60" y="1192"/>
                      <a:pt x="55" y="1197"/>
                      <a:pt x="55" y="1204"/>
                    </a:cubicBezTo>
                    <a:cubicBezTo>
                      <a:pt x="55" y="1210"/>
                      <a:pt x="57" y="1216"/>
                      <a:pt x="56" y="1221"/>
                    </a:cubicBezTo>
                    <a:cubicBezTo>
                      <a:pt x="55" y="1228"/>
                      <a:pt x="49" y="1232"/>
                      <a:pt x="47" y="1238"/>
                    </a:cubicBezTo>
                    <a:cubicBezTo>
                      <a:pt x="46" y="1243"/>
                      <a:pt x="47" y="1247"/>
                      <a:pt x="50" y="1251"/>
                    </a:cubicBezTo>
                    <a:cubicBezTo>
                      <a:pt x="53" y="1257"/>
                      <a:pt x="54" y="1254"/>
                      <a:pt x="59" y="1251"/>
                    </a:cubicBezTo>
                    <a:cubicBezTo>
                      <a:pt x="64" y="1249"/>
                      <a:pt x="68" y="1248"/>
                      <a:pt x="70" y="1253"/>
                    </a:cubicBezTo>
                    <a:cubicBezTo>
                      <a:pt x="73" y="1260"/>
                      <a:pt x="66" y="1266"/>
                      <a:pt x="65" y="1272"/>
                    </a:cubicBezTo>
                    <a:cubicBezTo>
                      <a:pt x="71" y="1275"/>
                      <a:pt x="76" y="1277"/>
                      <a:pt x="80" y="1282"/>
                    </a:cubicBezTo>
                    <a:cubicBezTo>
                      <a:pt x="84" y="1285"/>
                      <a:pt x="84" y="1292"/>
                      <a:pt x="87" y="1294"/>
                    </a:cubicBezTo>
                    <a:cubicBezTo>
                      <a:pt x="92" y="1288"/>
                      <a:pt x="97" y="1281"/>
                      <a:pt x="106" y="1280"/>
                    </a:cubicBezTo>
                    <a:cubicBezTo>
                      <a:pt x="113" y="1279"/>
                      <a:pt x="112" y="1282"/>
                      <a:pt x="114" y="1288"/>
                    </a:cubicBezTo>
                    <a:cubicBezTo>
                      <a:pt x="114" y="1291"/>
                      <a:pt x="117" y="1310"/>
                      <a:pt x="122" y="1309"/>
                    </a:cubicBezTo>
                    <a:cubicBezTo>
                      <a:pt x="125" y="1308"/>
                      <a:pt x="126" y="1302"/>
                      <a:pt x="129" y="1303"/>
                    </a:cubicBezTo>
                    <a:cubicBezTo>
                      <a:pt x="130" y="1306"/>
                      <a:pt x="129" y="1309"/>
                      <a:pt x="130" y="1311"/>
                    </a:cubicBezTo>
                    <a:cubicBezTo>
                      <a:pt x="134" y="1308"/>
                      <a:pt x="141" y="1303"/>
                      <a:pt x="146" y="1303"/>
                    </a:cubicBezTo>
                    <a:cubicBezTo>
                      <a:pt x="144" y="1307"/>
                      <a:pt x="134" y="1311"/>
                      <a:pt x="134" y="1316"/>
                    </a:cubicBezTo>
                    <a:cubicBezTo>
                      <a:pt x="135" y="1318"/>
                      <a:pt x="139" y="1322"/>
                      <a:pt x="140" y="1325"/>
                    </a:cubicBezTo>
                    <a:cubicBezTo>
                      <a:pt x="145" y="1336"/>
                      <a:pt x="151" y="1324"/>
                      <a:pt x="157" y="1319"/>
                    </a:cubicBezTo>
                    <a:cubicBezTo>
                      <a:pt x="161" y="1323"/>
                      <a:pt x="162" y="1327"/>
                      <a:pt x="167" y="1328"/>
                    </a:cubicBezTo>
                    <a:cubicBezTo>
                      <a:pt x="173" y="1328"/>
                      <a:pt x="175" y="1322"/>
                      <a:pt x="180" y="1319"/>
                    </a:cubicBezTo>
                    <a:cubicBezTo>
                      <a:pt x="186" y="1314"/>
                      <a:pt x="191" y="1311"/>
                      <a:pt x="199" y="1310"/>
                    </a:cubicBezTo>
                    <a:cubicBezTo>
                      <a:pt x="203" y="1309"/>
                      <a:pt x="209" y="1306"/>
                      <a:pt x="210" y="1302"/>
                    </a:cubicBezTo>
                    <a:cubicBezTo>
                      <a:pt x="210" y="1301"/>
                      <a:pt x="210" y="1301"/>
                      <a:pt x="211" y="1301"/>
                    </a:cubicBezTo>
                    <a:cubicBezTo>
                      <a:pt x="211" y="1301"/>
                      <a:pt x="210" y="1301"/>
                      <a:pt x="210" y="1302"/>
                    </a:cubicBezTo>
                    <a:cubicBezTo>
                      <a:pt x="213" y="1303"/>
                      <a:pt x="233" y="1303"/>
                      <a:pt x="240" y="1295"/>
                    </a:cubicBezTo>
                    <a:cubicBezTo>
                      <a:pt x="244" y="1296"/>
                      <a:pt x="249" y="1299"/>
                      <a:pt x="253" y="1297"/>
                    </a:cubicBezTo>
                    <a:cubicBezTo>
                      <a:pt x="257" y="1296"/>
                      <a:pt x="259" y="1289"/>
                      <a:pt x="263" y="1288"/>
                    </a:cubicBezTo>
                    <a:cubicBezTo>
                      <a:pt x="265" y="1287"/>
                      <a:pt x="266" y="1289"/>
                      <a:pt x="268" y="1290"/>
                    </a:cubicBezTo>
                    <a:cubicBezTo>
                      <a:pt x="272" y="1291"/>
                      <a:pt x="277" y="1291"/>
                      <a:pt x="282" y="1292"/>
                    </a:cubicBezTo>
                    <a:cubicBezTo>
                      <a:pt x="284" y="1293"/>
                      <a:pt x="291" y="1294"/>
                      <a:pt x="293" y="1291"/>
                    </a:cubicBezTo>
                    <a:cubicBezTo>
                      <a:pt x="295" y="1288"/>
                      <a:pt x="293" y="1275"/>
                      <a:pt x="293" y="1272"/>
                    </a:cubicBezTo>
                    <a:cubicBezTo>
                      <a:pt x="293" y="1267"/>
                      <a:pt x="292" y="1265"/>
                      <a:pt x="297" y="1263"/>
                    </a:cubicBezTo>
                    <a:cubicBezTo>
                      <a:pt x="303" y="1261"/>
                      <a:pt x="309" y="1266"/>
                      <a:pt x="314" y="1268"/>
                    </a:cubicBezTo>
                    <a:cubicBezTo>
                      <a:pt x="323" y="1270"/>
                      <a:pt x="338" y="1269"/>
                      <a:pt x="347" y="1265"/>
                    </a:cubicBezTo>
                    <a:cubicBezTo>
                      <a:pt x="352" y="1264"/>
                      <a:pt x="355" y="1259"/>
                      <a:pt x="359" y="1257"/>
                    </a:cubicBezTo>
                    <a:cubicBezTo>
                      <a:pt x="363" y="1256"/>
                      <a:pt x="370" y="1257"/>
                      <a:pt x="374" y="1257"/>
                    </a:cubicBezTo>
                    <a:cubicBezTo>
                      <a:pt x="382" y="1256"/>
                      <a:pt x="390" y="1255"/>
                      <a:pt x="398" y="1253"/>
                    </a:cubicBezTo>
                    <a:cubicBezTo>
                      <a:pt x="397" y="1251"/>
                      <a:pt x="399" y="1250"/>
                      <a:pt x="400" y="1248"/>
                    </a:cubicBezTo>
                    <a:cubicBezTo>
                      <a:pt x="401" y="1247"/>
                      <a:pt x="400" y="1246"/>
                      <a:pt x="401" y="1244"/>
                    </a:cubicBezTo>
                    <a:cubicBezTo>
                      <a:pt x="404" y="1242"/>
                      <a:pt x="409" y="1240"/>
                      <a:pt x="412" y="1239"/>
                    </a:cubicBezTo>
                    <a:cubicBezTo>
                      <a:pt x="423" y="1233"/>
                      <a:pt x="430" y="1223"/>
                      <a:pt x="439" y="1216"/>
                    </a:cubicBezTo>
                    <a:cubicBezTo>
                      <a:pt x="445" y="1211"/>
                      <a:pt x="451" y="1207"/>
                      <a:pt x="456" y="1201"/>
                    </a:cubicBezTo>
                    <a:cubicBezTo>
                      <a:pt x="462" y="1196"/>
                      <a:pt x="467" y="1190"/>
                      <a:pt x="472" y="1184"/>
                    </a:cubicBezTo>
                    <a:cubicBezTo>
                      <a:pt x="480" y="1177"/>
                      <a:pt x="488" y="1170"/>
                      <a:pt x="494" y="1162"/>
                    </a:cubicBezTo>
                    <a:cubicBezTo>
                      <a:pt x="498" y="1156"/>
                      <a:pt x="501" y="1149"/>
                      <a:pt x="505" y="1143"/>
                    </a:cubicBezTo>
                    <a:cubicBezTo>
                      <a:pt x="520" y="1121"/>
                      <a:pt x="533" y="1097"/>
                      <a:pt x="546" y="1073"/>
                    </a:cubicBezTo>
                    <a:cubicBezTo>
                      <a:pt x="555" y="1054"/>
                      <a:pt x="569" y="1034"/>
                      <a:pt x="586" y="1019"/>
                    </a:cubicBezTo>
                    <a:cubicBezTo>
                      <a:pt x="594" y="1012"/>
                      <a:pt x="605" y="1004"/>
                      <a:pt x="603" y="99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47" name="Freeform 63">
                <a:extLst>
                  <a:ext uri="{FF2B5EF4-FFF2-40B4-BE49-F238E27FC236}">
                    <a16:creationId xmlns:a16="http://schemas.microsoft.com/office/drawing/2014/main" id="{AA186475-5028-4D6E-BCB7-2478976F16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0500" y="3097213"/>
                <a:ext cx="850900" cy="1528763"/>
              </a:xfrm>
              <a:custGeom>
                <a:avLst/>
                <a:gdLst/>
                <a:ahLst/>
                <a:cxnLst>
                  <a:cxn ang="0">
                    <a:pos x="416" y="555"/>
                  </a:cxn>
                  <a:cxn ang="0">
                    <a:pos x="363" y="502"/>
                  </a:cxn>
                  <a:cxn ang="0">
                    <a:pos x="302" y="396"/>
                  </a:cxn>
                  <a:cxn ang="0">
                    <a:pos x="260" y="298"/>
                  </a:cxn>
                  <a:cxn ang="0">
                    <a:pos x="170" y="270"/>
                  </a:cxn>
                  <a:cxn ang="0">
                    <a:pos x="230" y="236"/>
                  </a:cxn>
                  <a:cxn ang="0">
                    <a:pos x="246" y="155"/>
                  </a:cxn>
                  <a:cxn ang="0">
                    <a:pos x="184" y="99"/>
                  </a:cxn>
                  <a:cxn ang="0">
                    <a:pos x="139" y="117"/>
                  </a:cxn>
                  <a:cxn ang="0">
                    <a:pos x="157" y="88"/>
                  </a:cxn>
                  <a:cxn ang="0">
                    <a:pos x="158" y="69"/>
                  </a:cxn>
                  <a:cxn ang="0">
                    <a:pos x="198" y="27"/>
                  </a:cxn>
                  <a:cxn ang="0">
                    <a:pos x="183" y="3"/>
                  </a:cxn>
                  <a:cxn ang="0">
                    <a:pos x="136" y="16"/>
                  </a:cxn>
                  <a:cxn ang="0">
                    <a:pos x="109" y="24"/>
                  </a:cxn>
                  <a:cxn ang="0">
                    <a:pos x="89" y="25"/>
                  </a:cxn>
                  <a:cxn ang="0">
                    <a:pos x="78" y="63"/>
                  </a:cxn>
                  <a:cxn ang="0">
                    <a:pos x="72" y="84"/>
                  </a:cxn>
                  <a:cxn ang="0">
                    <a:pos x="50" y="91"/>
                  </a:cxn>
                  <a:cxn ang="0">
                    <a:pos x="59" y="121"/>
                  </a:cxn>
                  <a:cxn ang="0">
                    <a:pos x="66" y="137"/>
                  </a:cxn>
                  <a:cxn ang="0">
                    <a:pos x="46" y="148"/>
                  </a:cxn>
                  <a:cxn ang="0">
                    <a:pos x="33" y="129"/>
                  </a:cxn>
                  <a:cxn ang="0">
                    <a:pos x="9" y="116"/>
                  </a:cxn>
                  <a:cxn ang="0">
                    <a:pos x="12" y="136"/>
                  </a:cxn>
                  <a:cxn ang="0">
                    <a:pos x="42" y="159"/>
                  </a:cxn>
                  <a:cxn ang="0">
                    <a:pos x="64" y="164"/>
                  </a:cxn>
                  <a:cxn ang="0">
                    <a:pos x="48" y="183"/>
                  </a:cxn>
                  <a:cxn ang="0">
                    <a:pos x="32" y="205"/>
                  </a:cxn>
                  <a:cxn ang="0">
                    <a:pos x="50" y="220"/>
                  </a:cxn>
                  <a:cxn ang="0">
                    <a:pos x="26" y="221"/>
                  </a:cxn>
                  <a:cxn ang="0">
                    <a:pos x="18" y="239"/>
                  </a:cxn>
                  <a:cxn ang="0">
                    <a:pos x="67" y="218"/>
                  </a:cxn>
                  <a:cxn ang="0">
                    <a:pos x="79" y="206"/>
                  </a:cxn>
                  <a:cxn ang="0">
                    <a:pos x="64" y="258"/>
                  </a:cxn>
                  <a:cxn ang="0">
                    <a:pos x="73" y="277"/>
                  </a:cxn>
                  <a:cxn ang="0">
                    <a:pos x="98" y="290"/>
                  </a:cxn>
                  <a:cxn ang="0">
                    <a:pos x="84" y="377"/>
                  </a:cxn>
                  <a:cxn ang="0">
                    <a:pos x="156" y="388"/>
                  </a:cxn>
                  <a:cxn ang="0">
                    <a:pos x="180" y="380"/>
                  </a:cxn>
                  <a:cxn ang="0">
                    <a:pos x="195" y="451"/>
                  </a:cxn>
                  <a:cxn ang="0">
                    <a:pos x="194" y="504"/>
                  </a:cxn>
                  <a:cxn ang="0">
                    <a:pos x="136" y="525"/>
                  </a:cxn>
                  <a:cxn ang="0">
                    <a:pos x="107" y="574"/>
                  </a:cxn>
                  <a:cxn ang="0">
                    <a:pos x="137" y="614"/>
                  </a:cxn>
                  <a:cxn ang="0">
                    <a:pos x="85" y="655"/>
                  </a:cxn>
                  <a:cxn ang="0">
                    <a:pos x="134" y="682"/>
                  </a:cxn>
                  <a:cxn ang="0">
                    <a:pos x="205" y="682"/>
                  </a:cxn>
                  <a:cxn ang="0">
                    <a:pos x="165" y="708"/>
                  </a:cxn>
                  <a:cxn ang="0">
                    <a:pos x="91" y="770"/>
                  </a:cxn>
                  <a:cxn ang="0">
                    <a:pos x="67" y="795"/>
                  </a:cxn>
                  <a:cxn ang="0">
                    <a:pos x="57" y="810"/>
                  </a:cxn>
                  <a:cxn ang="0">
                    <a:pos x="86" y="815"/>
                  </a:cxn>
                  <a:cxn ang="0">
                    <a:pos x="107" y="784"/>
                  </a:cxn>
                  <a:cxn ang="0">
                    <a:pos x="141" y="787"/>
                  </a:cxn>
                  <a:cxn ang="0">
                    <a:pos x="172" y="789"/>
                  </a:cxn>
                  <a:cxn ang="0">
                    <a:pos x="187" y="755"/>
                  </a:cxn>
                  <a:cxn ang="0">
                    <a:pos x="259" y="751"/>
                  </a:cxn>
                  <a:cxn ang="0">
                    <a:pos x="341" y="743"/>
                  </a:cxn>
                  <a:cxn ang="0">
                    <a:pos x="415" y="731"/>
                  </a:cxn>
                  <a:cxn ang="0">
                    <a:pos x="370" y="685"/>
                  </a:cxn>
                  <a:cxn ang="0">
                    <a:pos x="444" y="635"/>
                  </a:cxn>
                </a:cxnLst>
                <a:rect l="0" t="0" r="r" b="b"/>
                <a:pathLst>
                  <a:path w="455" h="818">
                    <a:moveTo>
                      <a:pt x="126" y="139"/>
                    </a:moveTo>
                    <a:cubicBezTo>
                      <a:pt x="126" y="141"/>
                      <a:pt x="126" y="142"/>
                      <a:pt x="125" y="144"/>
                    </a:cubicBezTo>
                    <a:cubicBezTo>
                      <a:pt x="124" y="145"/>
                      <a:pt x="117" y="155"/>
                      <a:pt x="116" y="157"/>
                    </a:cubicBezTo>
                    <a:cubicBezTo>
                      <a:pt x="114" y="159"/>
                      <a:pt x="111" y="160"/>
                      <a:pt x="110" y="163"/>
                    </a:cubicBezTo>
                    <a:cubicBezTo>
                      <a:pt x="106" y="164"/>
                      <a:pt x="109" y="162"/>
                      <a:pt x="109" y="161"/>
                    </a:cubicBezTo>
                    <a:cubicBezTo>
                      <a:pt x="110" y="160"/>
                      <a:pt x="112" y="159"/>
                      <a:pt x="112" y="157"/>
                    </a:cubicBezTo>
                    <a:cubicBezTo>
                      <a:pt x="113" y="154"/>
                      <a:pt x="117" y="148"/>
                      <a:pt x="118" y="147"/>
                    </a:cubicBezTo>
                    <a:cubicBezTo>
                      <a:pt x="119" y="146"/>
                      <a:pt x="119" y="145"/>
                      <a:pt x="120" y="144"/>
                    </a:cubicBezTo>
                    <a:cubicBezTo>
                      <a:pt x="120" y="144"/>
                      <a:pt x="122" y="142"/>
                      <a:pt x="122" y="141"/>
                    </a:cubicBezTo>
                    <a:cubicBezTo>
                      <a:pt x="123" y="140"/>
                      <a:pt x="124" y="139"/>
                      <a:pt x="124" y="138"/>
                    </a:cubicBezTo>
                    <a:cubicBezTo>
                      <a:pt x="126" y="137"/>
                      <a:pt x="126" y="138"/>
                      <a:pt x="126" y="139"/>
                    </a:cubicBezTo>
                    <a:moveTo>
                      <a:pt x="452" y="569"/>
                    </a:moveTo>
                    <a:cubicBezTo>
                      <a:pt x="450" y="566"/>
                      <a:pt x="446" y="568"/>
                      <a:pt x="443" y="567"/>
                    </a:cubicBezTo>
                    <a:cubicBezTo>
                      <a:pt x="441" y="566"/>
                      <a:pt x="441" y="564"/>
                      <a:pt x="440" y="563"/>
                    </a:cubicBezTo>
                    <a:cubicBezTo>
                      <a:pt x="439" y="562"/>
                      <a:pt x="436" y="561"/>
                      <a:pt x="434" y="560"/>
                    </a:cubicBezTo>
                    <a:cubicBezTo>
                      <a:pt x="432" y="559"/>
                      <a:pt x="431" y="559"/>
                      <a:pt x="429" y="558"/>
                    </a:cubicBezTo>
                    <a:cubicBezTo>
                      <a:pt x="427" y="558"/>
                      <a:pt x="425" y="555"/>
                      <a:pt x="422" y="555"/>
                    </a:cubicBezTo>
                    <a:cubicBezTo>
                      <a:pt x="420" y="554"/>
                      <a:pt x="418" y="555"/>
                      <a:pt x="416" y="555"/>
                    </a:cubicBezTo>
                    <a:cubicBezTo>
                      <a:pt x="413" y="556"/>
                      <a:pt x="410" y="555"/>
                      <a:pt x="407" y="555"/>
                    </a:cubicBezTo>
                    <a:cubicBezTo>
                      <a:pt x="402" y="555"/>
                      <a:pt x="398" y="554"/>
                      <a:pt x="393" y="554"/>
                    </a:cubicBezTo>
                    <a:cubicBezTo>
                      <a:pt x="388" y="554"/>
                      <a:pt x="387" y="555"/>
                      <a:pt x="385" y="559"/>
                    </a:cubicBezTo>
                    <a:cubicBezTo>
                      <a:pt x="384" y="561"/>
                      <a:pt x="383" y="562"/>
                      <a:pt x="382" y="563"/>
                    </a:cubicBezTo>
                    <a:cubicBezTo>
                      <a:pt x="380" y="565"/>
                      <a:pt x="380" y="567"/>
                      <a:pt x="378" y="568"/>
                    </a:cubicBezTo>
                    <a:cubicBezTo>
                      <a:pt x="376" y="570"/>
                      <a:pt x="375" y="570"/>
                      <a:pt x="373" y="569"/>
                    </a:cubicBezTo>
                    <a:cubicBezTo>
                      <a:pt x="370" y="568"/>
                      <a:pt x="371" y="565"/>
                      <a:pt x="368" y="563"/>
                    </a:cubicBezTo>
                    <a:cubicBezTo>
                      <a:pt x="366" y="561"/>
                      <a:pt x="364" y="562"/>
                      <a:pt x="364" y="558"/>
                    </a:cubicBezTo>
                    <a:cubicBezTo>
                      <a:pt x="364" y="556"/>
                      <a:pt x="364" y="555"/>
                      <a:pt x="365" y="553"/>
                    </a:cubicBezTo>
                    <a:cubicBezTo>
                      <a:pt x="367" y="550"/>
                      <a:pt x="372" y="551"/>
                      <a:pt x="375" y="549"/>
                    </a:cubicBezTo>
                    <a:cubicBezTo>
                      <a:pt x="377" y="547"/>
                      <a:pt x="377" y="545"/>
                      <a:pt x="378" y="543"/>
                    </a:cubicBezTo>
                    <a:cubicBezTo>
                      <a:pt x="378" y="540"/>
                      <a:pt x="380" y="538"/>
                      <a:pt x="380" y="536"/>
                    </a:cubicBezTo>
                    <a:cubicBezTo>
                      <a:pt x="382" y="532"/>
                      <a:pt x="381" y="528"/>
                      <a:pt x="380" y="524"/>
                    </a:cubicBezTo>
                    <a:cubicBezTo>
                      <a:pt x="379" y="522"/>
                      <a:pt x="379" y="519"/>
                      <a:pt x="378" y="518"/>
                    </a:cubicBezTo>
                    <a:cubicBezTo>
                      <a:pt x="377" y="517"/>
                      <a:pt x="376" y="518"/>
                      <a:pt x="375" y="517"/>
                    </a:cubicBezTo>
                    <a:cubicBezTo>
                      <a:pt x="373" y="517"/>
                      <a:pt x="372" y="514"/>
                      <a:pt x="370" y="513"/>
                    </a:cubicBezTo>
                    <a:cubicBezTo>
                      <a:pt x="368" y="511"/>
                      <a:pt x="368" y="508"/>
                      <a:pt x="367" y="506"/>
                    </a:cubicBezTo>
                    <a:cubicBezTo>
                      <a:pt x="366" y="505"/>
                      <a:pt x="365" y="502"/>
                      <a:pt x="363" y="502"/>
                    </a:cubicBezTo>
                    <a:cubicBezTo>
                      <a:pt x="362" y="501"/>
                      <a:pt x="358" y="501"/>
                      <a:pt x="358" y="499"/>
                    </a:cubicBezTo>
                    <a:cubicBezTo>
                      <a:pt x="360" y="498"/>
                      <a:pt x="365" y="498"/>
                      <a:pt x="367" y="499"/>
                    </a:cubicBezTo>
                    <a:cubicBezTo>
                      <a:pt x="370" y="499"/>
                      <a:pt x="371" y="501"/>
                      <a:pt x="375" y="501"/>
                    </a:cubicBezTo>
                    <a:cubicBezTo>
                      <a:pt x="376" y="498"/>
                      <a:pt x="374" y="498"/>
                      <a:pt x="372" y="497"/>
                    </a:cubicBezTo>
                    <a:cubicBezTo>
                      <a:pt x="371" y="496"/>
                      <a:pt x="370" y="495"/>
                      <a:pt x="369" y="495"/>
                    </a:cubicBezTo>
                    <a:cubicBezTo>
                      <a:pt x="368" y="489"/>
                      <a:pt x="364" y="485"/>
                      <a:pt x="361" y="481"/>
                    </a:cubicBezTo>
                    <a:cubicBezTo>
                      <a:pt x="359" y="476"/>
                      <a:pt x="358" y="470"/>
                      <a:pt x="354" y="466"/>
                    </a:cubicBezTo>
                    <a:cubicBezTo>
                      <a:pt x="352" y="464"/>
                      <a:pt x="350" y="459"/>
                      <a:pt x="349" y="456"/>
                    </a:cubicBezTo>
                    <a:cubicBezTo>
                      <a:pt x="348" y="452"/>
                      <a:pt x="354" y="451"/>
                      <a:pt x="354" y="447"/>
                    </a:cubicBezTo>
                    <a:cubicBezTo>
                      <a:pt x="350" y="445"/>
                      <a:pt x="347" y="443"/>
                      <a:pt x="345" y="439"/>
                    </a:cubicBezTo>
                    <a:cubicBezTo>
                      <a:pt x="344" y="437"/>
                      <a:pt x="343" y="434"/>
                      <a:pt x="341" y="432"/>
                    </a:cubicBezTo>
                    <a:cubicBezTo>
                      <a:pt x="340" y="430"/>
                      <a:pt x="338" y="429"/>
                      <a:pt x="337" y="427"/>
                    </a:cubicBezTo>
                    <a:cubicBezTo>
                      <a:pt x="335" y="424"/>
                      <a:pt x="333" y="419"/>
                      <a:pt x="330" y="417"/>
                    </a:cubicBezTo>
                    <a:cubicBezTo>
                      <a:pt x="327" y="414"/>
                      <a:pt x="323" y="414"/>
                      <a:pt x="319" y="412"/>
                    </a:cubicBezTo>
                    <a:cubicBezTo>
                      <a:pt x="317" y="410"/>
                      <a:pt x="315" y="408"/>
                      <a:pt x="313" y="407"/>
                    </a:cubicBezTo>
                    <a:cubicBezTo>
                      <a:pt x="312" y="406"/>
                      <a:pt x="310" y="406"/>
                      <a:pt x="308" y="405"/>
                    </a:cubicBezTo>
                    <a:cubicBezTo>
                      <a:pt x="306" y="403"/>
                      <a:pt x="304" y="403"/>
                      <a:pt x="304" y="400"/>
                    </a:cubicBezTo>
                    <a:cubicBezTo>
                      <a:pt x="304" y="397"/>
                      <a:pt x="305" y="397"/>
                      <a:pt x="302" y="396"/>
                    </a:cubicBezTo>
                    <a:cubicBezTo>
                      <a:pt x="299" y="396"/>
                      <a:pt x="292" y="397"/>
                      <a:pt x="292" y="392"/>
                    </a:cubicBezTo>
                    <a:cubicBezTo>
                      <a:pt x="291" y="388"/>
                      <a:pt x="293" y="391"/>
                      <a:pt x="295" y="390"/>
                    </a:cubicBezTo>
                    <a:cubicBezTo>
                      <a:pt x="296" y="389"/>
                      <a:pt x="297" y="386"/>
                      <a:pt x="295" y="385"/>
                    </a:cubicBezTo>
                    <a:cubicBezTo>
                      <a:pt x="297" y="385"/>
                      <a:pt x="299" y="382"/>
                      <a:pt x="299" y="380"/>
                    </a:cubicBezTo>
                    <a:cubicBezTo>
                      <a:pt x="299" y="378"/>
                      <a:pt x="297" y="377"/>
                      <a:pt x="295" y="376"/>
                    </a:cubicBezTo>
                    <a:cubicBezTo>
                      <a:pt x="292" y="374"/>
                      <a:pt x="290" y="373"/>
                      <a:pt x="290" y="368"/>
                    </a:cubicBezTo>
                    <a:cubicBezTo>
                      <a:pt x="290" y="364"/>
                      <a:pt x="292" y="360"/>
                      <a:pt x="288" y="357"/>
                    </a:cubicBezTo>
                    <a:cubicBezTo>
                      <a:pt x="286" y="356"/>
                      <a:pt x="284" y="356"/>
                      <a:pt x="282" y="358"/>
                    </a:cubicBezTo>
                    <a:cubicBezTo>
                      <a:pt x="282" y="359"/>
                      <a:pt x="282" y="359"/>
                      <a:pt x="280" y="360"/>
                    </a:cubicBezTo>
                    <a:cubicBezTo>
                      <a:pt x="281" y="359"/>
                      <a:pt x="282" y="358"/>
                      <a:pt x="282" y="358"/>
                    </a:cubicBezTo>
                    <a:cubicBezTo>
                      <a:pt x="284" y="353"/>
                      <a:pt x="279" y="343"/>
                      <a:pt x="278" y="341"/>
                    </a:cubicBezTo>
                    <a:cubicBezTo>
                      <a:pt x="277" y="338"/>
                      <a:pt x="276" y="336"/>
                      <a:pt x="276" y="332"/>
                    </a:cubicBezTo>
                    <a:cubicBezTo>
                      <a:pt x="276" y="327"/>
                      <a:pt x="277" y="324"/>
                      <a:pt x="283" y="328"/>
                    </a:cubicBezTo>
                    <a:cubicBezTo>
                      <a:pt x="279" y="323"/>
                      <a:pt x="277" y="318"/>
                      <a:pt x="274" y="312"/>
                    </a:cubicBezTo>
                    <a:cubicBezTo>
                      <a:pt x="272" y="310"/>
                      <a:pt x="272" y="310"/>
                      <a:pt x="270" y="309"/>
                    </a:cubicBezTo>
                    <a:cubicBezTo>
                      <a:pt x="268" y="308"/>
                      <a:pt x="267" y="308"/>
                      <a:pt x="267" y="306"/>
                    </a:cubicBezTo>
                    <a:cubicBezTo>
                      <a:pt x="266" y="303"/>
                      <a:pt x="269" y="302"/>
                      <a:pt x="266" y="300"/>
                    </a:cubicBezTo>
                    <a:cubicBezTo>
                      <a:pt x="265" y="299"/>
                      <a:pt x="262" y="298"/>
                      <a:pt x="260" y="298"/>
                    </a:cubicBezTo>
                    <a:cubicBezTo>
                      <a:pt x="256" y="297"/>
                      <a:pt x="251" y="294"/>
                      <a:pt x="250" y="290"/>
                    </a:cubicBezTo>
                    <a:cubicBezTo>
                      <a:pt x="249" y="286"/>
                      <a:pt x="252" y="283"/>
                      <a:pt x="252" y="279"/>
                    </a:cubicBezTo>
                    <a:cubicBezTo>
                      <a:pt x="251" y="277"/>
                      <a:pt x="250" y="275"/>
                      <a:pt x="249" y="273"/>
                    </a:cubicBezTo>
                    <a:cubicBezTo>
                      <a:pt x="248" y="273"/>
                      <a:pt x="245" y="271"/>
                      <a:pt x="243" y="271"/>
                    </a:cubicBezTo>
                    <a:cubicBezTo>
                      <a:pt x="239" y="271"/>
                      <a:pt x="239" y="277"/>
                      <a:pt x="233" y="273"/>
                    </a:cubicBezTo>
                    <a:cubicBezTo>
                      <a:pt x="233" y="273"/>
                      <a:pt x="233" y="272"/>
                      <a:pt x="232" y="272"/>
                    </a:cubicBezTo>
                    <a:cubicBezTo>
                      <a:pt x="231" y="271"/>
                      <a:pt x="229" y="271"/>
                      <a:pt x="229" y="271"/>
                    </a:cubicBezTo>
                    <a:cubicBezTo>
                      <a:pt x="227" y="270"/>
                      <a:pt x="227" y="267"/>
                      <a:pt x="224" y="268"/>
                    </a:cubicBezTo>
                    <a:cubicBezTo>
                      <a:pt x="225" y="272"/>
                      <a:pt x="222" y="269"/>
                      <a:pt x="221" y="268"/>
                    </a:cubicBezTo>
                    <a:cubicBezTo>
                      <a:pt x="220" y="266"/>
                      <a:pt x="220" y="266"/>
                      <a:pt x="217" y="266"/>
                    </a:cubicBezTo>
                    <a:cubicBezTo>
                      <a:pt x="214" y="266"/>
                      <a:pt x="209" y="265"/>
                      <a:pt x="207" y="268"/>
                    </a:cubicBezTo>
                    <a:cubicBezTo>
                      <a:pt x="207" y="269"/>
                      <a:pt x="208" y="271"/>
                      <a:pt x="206" y="272"/>
                    </a:cubicBezTo>
                    <a:cubicBezTo>
                      <a:pt x="204" y="273"/>
                      <a:pt x="203" y="271"/>
                      <a:pt x="202" y="270"/>
                    </a:cubicBezTo>
                    <a:cubicBezTo>
                      <a:pt x="198" y="270"/>
                      <a:pt x="195" y="274"/>
                      <a:pt x="192" y="275"/>
                    </a:cubicBezTo>
                    <a:cubicBezTo>
                      <a:pt x="190" y="276"/>
                      <a:pt x="187" y="275"/>
                      <a:pt x="185" y="274"/>
                    </a:cubicBezTo>
                    <a:cubicBezTo>
                      <a:pt x="184" y="274"/>
                      <a:pt x="183" y="274"/>
                      <a:pt x="183" y="274"/>
                    </a:cubicBezTo>
                    <a:cubicBezTo>
                      <a:pt x="182" y="274"/>
                      <a:pt x="181" y="273"/>
                      <a:pt x="180" y="272"/>
                    </a:cubicBezTo>
                    <a:cubicBezTo>
                      <a:pt x="177" y="270"/>
                      <a:pt x="174" y="271"/>
                      <a:pt x="170" y="270"/>
                    </a:cubicBezTo>
                    <a:cubicBezTo>
                      <a:pt x="167" y="270"/>
                      <a:pt x="163" y="270"/>
                      <a:pt x="160" y="269"/>
                    </a:cubicBezTo>
                    <a:cubicBezTo>
                      <a:pt x="158" y="269"/>
                      <a:pt x="156" y="268"/>
                      <a:pt x="154" y="268"/>
                    </a:cubicBezTo>
                    <a:cubicBezTo>
                      <a:pt x="152" y="268"/>
                      <a:pt x="152" y="269"/>
                      <a:pt x="150" y="269"/>
                    </a:cubicBezTo>
                    <a:cubicBezTo>
                      <a:pt x="149" y="268"/>
                      <a:pt x="149" y="268"/>
                      <a:pt x="150" y="267"/>
                    </a:cubicBezTo>
                    <a:cubicBezTo>
                      <a:pt x="156" y="266"/>
                      <a:pt x="163" y="267"/>
                      <a:pt x="170" y="267"/>
                    </a:cubicBezTo>
                    <a:cubicBezTo>
                      <a:pt x="173" y="267"/>
                      <a:pt x="176" y="267"/>
                      <a:pt x="179" y="267"/>
                    </a:cubicBezTo>
                    <a:cubicBezTo>
                      <a:pt x="182" y="267"/>
                      <a:pt x="185" y="268"/>
                      <a:pt x="188" y="268"/>
                    </a:cubicBezTo>
                    <a:cubicBezTo>
                      <a:pt x="188" y="264"/>
                      <a:pt x="191" y="266"/>
                      <a:pt x="193" y="265"/>
                    </a:cubicBezTo>
                    <a:cubicBezTo>
                      <a:pt x="196" y="264"/>
                      <a:pt x="194" y="261"/>
                      <a:pt x="195" y="258"/>
                    </a:cubicBezTo>
                    <a:cubicBezTo>
                      <a:pt x="196" y="256"/>
                      <a:pt x="200" y="256"/>
                      <a:pt x="202" y="255"/>
                    </a:cubicBezTo>
                    <a:cubicBezTo>
                      <a:pt x="204" y="254"/>
                      <a:pt x="205" y="254"/>
                      <a:pt x="206" y="253"/>
                    </a:cubicBezTo>
                    <a:cubicBezTo>
                      <a:pt x="207" y="252"/>
                      <a:pt x="208" y="251"/>
                      <a:pt x="210" y="251"/>
                    </a:cubicBezTo>
                    <a:cubicBezTo>
                      <a:pt x="210" y="252"/>
                      <a:pt x="210" y="253"/>
                      <a:pt x="210" y="254"/>
                    </a:cubicBezTo>
                    <a:cubicBezTo>
                      <a:pt x="212" y="255"/>
                      <a:pt x="214" y="254"/>
                      <a:pt x="216" y="254"/>
                    </a:cubicBezTo>
                    <a:cubicBezTo>
                      <a:pt x="216" y="252"/>
                      <a:pt x="216" y="249"/>
                      <a:pt x="217" y="247"/>
                    </a:cubicBezTo>
                    <a:cubicBezTo>
                      <a:pt x="218" y="243"/>
                      <a:pt x="222" y="243"/>
                      <a:pt x="225" y="243"/>
                    </a:cubicBezTo>
                    <a:cubicBezTo>
                      <a:pt x="228" y="243"/>
                      <a:pt x="230" y="243"/>
                      <a:pt x="232" y="241"/>
                    </a:cubicBezTo>
                    <a:cubicBezTo>
                      <a:pt x="234" y="239"/>
                      <a:pt x="233" y="237"/>
                      <a:pt x="230" y="236"/>
                    </a:cubicBezTo>
                    <a:cubicBezTo>
                      <a:pt x="227" y="236"/>
                      <a:pt x="226" y="237"/>
                      <a:pt x="224" y="237"/>
                    </a:cubicBezTo>
                    <a:cubicBezTo>
                      <a:pt x="221" y="237"/>
                      <a:pt x="219" y="234"/>
                      <a:pt x="217" y="233"/>
                    </a:cubicBezTo>
                    <a:cubicBezTo>
                      <a:pt x="215" y="232"/>
                      <a:pt x="213" y="231"/>
                      <a:pt x="212" y="230"/>
                    </a:cubicBezTo>
                    <a:cubicBezTo>
                      <a:pt x="210" y="228"/>
                      <a:pt x="212" y="225"/>
                      <a:pt x="209" y="224"/>
                    </a:cubicBezTo>
                    <a:cubicBezTo>
                      <a:pt x="213" y="223"/>
                      <a:pt x="215" y="219"/>
                      <a:pt x="220" y="219"/>
                    </a:cubicBezTo>
                    <a:cubicBezTo>
                      <a:pt x="221" y="219"/>
                      <a:pt x="222" y="219"/>
                      <a:pt x="223" y="219"/>
                    </a:cubicBezTo>
                    <a:cubicBezTo>
                      <a:pt x="224" y="219"/>
                      <a:pt x="224" y="217"/>
                      <a:pt x="225" y="217"/>
                    </a:cubicBezTo>
                    <a:cubicBezTo>
                      <a:pt x="225" y="216"/>
                      <a:pt x="226" y="216"/>
                      <a:pt x="227" y="216"/>
                    </a:cubicBezTo>
                    <a:cubicBezTo>
                      <a:pt x="228" y="215"/>
                      <a:pt x="230" y="210"/>
                      <a:pt x="230" y="209"/>
                    </a:cubicBezTo>
                    <a:cubicBezTo>
                      <a:pt x="231" y="205"/>
                      <a:pt x="230" y="202"/>
                      <a:pt x="227" y="201"/>
                    </a:cubicBezTo>
                    <a:cubicBezTo>
                      <a:pt x="227" y="198"/>
                      <a:pt x="228" y="196"/>
                      <a:pt x="230" y="195"/>
                    </a:cubicBezTo>
                    <a:cubicBezTo>
                      <a:pt x="231" y="194"/>
                      <a:pt x="232" y="194"/>
                      <a:pt x="233" y="194"/>
                    </a:cubicBezTo>
                    <a:cubicBezTo>
                      <a:pt x="235" y="193"/>
                      <a:pt x="235" y="192"/>
                      <a:pt x="237" y="191"/>
                    </a:cubicBezTo>
                    <a:cubicBezTo>
                      <a:pt x="239" y="190"/>
                      <a:pt x="240" y="188"/>
                      <a:pt x="242" y="186"/>
                    </a:cubicBezTo>
                    <a:cubicBezTo>
                      <a:pt x="245" y="183"/>
                      <a:pt x="247" y="183"/>
                      <a:pt x="246" y="179"/>
                    </a:cubicBezTo>
                    <a:cubicBezTo>
                      <a:pt x="246" y="177"/>
                      <a:pt x="245" y="174"/>
                      <a:pt x="245" y="172"/>
                    </a:cubicBezTo>
                    <a:cubicBezTo>
                      <a:pt x="246" y="169"/>
                      <a:pt x="248" y="169"/>
                      <a:pt x="250" y="167"/>
                    </a:cubicBezTo>
                    <a:cubicBezTo>
                      <a:pt x="251" y="164"/>
                      <a:pt x="250" y="151"/>
                      <a:pt x="246" y="155"/>
                    </a:cubicBezTo>
                    <a:cubicBezTo>
                      <a:pt x="249" y="154"/>
                      <a:pt x="251" y="151"/>
                      <a:pt x="252" y="149"/>
                    </a:cubicBezTo>
                    <a:cubicBezTo>
                      <a:pt x="253" y="145"/>
                      <a:pt x="255" y="145"/>
                      <a:pt x="258" y="142"/>
                    </a:cubicBezTo>
                    <a:cubicBezTo>
                      <a:pt x="261" y="140"/>
                      <a:pt x="265" y="138"/>
                      <a:pt x="266" y="134"/>
                    </a:cubicBezTo>
                    <a:cubicBezTo>
                      <a:pt x="266" y="130"/>
                      <a:pt x="266" y="126"/>
                      <a:pt x="266" y="123"/>
                    </a:cubicBezTo>
                    <a:cubicBezTo>
                      <a:pt x="266" y="120"/>
                      <a:pt x="267" y="115"/>
                      <a:pt x="266" y="112"/>
                    </a:cubicBezTo>
                    <a:cubicBezTo>
                      <a:pt x="264" y="109"/>
                      <a:pt x="261" y="107"/>
                      <a:pt x="258" y="106"/>
                    </a:cubicBezTo>
                    <a:cubicBezTo>
                      <a:pt x="257" y="106"/>
                      <a:pt x="254" y="104"/>
                      <a:pt x="253" y="104"/>
                    </a:cubicBezTo>
                    <a:cubicBezTo>
                      <a:pt x="252" y="102"/>
                      <a:pt x="252" y="100"/>
                      <a:pt x="250" y="100"/>
                    </a:cubicBezTo>
                    <a:cubicBezTo>
                      <a:pt x="247" y="99"/>
                      <a:pt x="243" y="103"/>
                      <a:pt x="242" y="105"/>
                    </a:cubicBezTo>
                    <a:cubicBezTo>
                      <a:pt x="238" y="106"/>
                      <a:pt x="236" y="104"/>
                      <a:pt x="232" y="106"/>
                    </a:cubicBezTo>
                    <a:cubicBezTo>
                      <a:pt x="231" y="107"/>
                      <a:pt x="230" y="108"/>
                      <a:pt x="228" y="108"/>
                    </a:cubicBezTo>
                    <a:cubicBezTo>
                      <a:pt x="228" y="107"/>
                      <a:pt x="227" y="106"/>
                      <a:pt x="226" y="105"/>
                    </a:cubicBezTo>
                    <a:cubicBezTo>
                      <a:pt x="225" y="105"/>
                      <a:pt x="225" y="105"/>
                      <a:pt x="224" y="105"/>
                    </a:cubicBezTo>
                    <a:cubicBezTo>
                      <a:pt x="222" y="104"/>
                      <a:pt x="222" y="102"/>
                      <a:pt x="220" y="102"/>
                    </a:cubicBezTo>
                    <a:cubicBezTo>
                      <a:pt x="219" y="101"/>
                      <a:pt x="215" y="102"/>
                      <a:pt x="213" y="102"/>
                    </a:cubicBezTo>
                    <a:cubicBezTo>
                      <a:pt x="210" y="102"/>
                      <a:pt x="206" y="101"/>
                      <a:pt x="203" y="102"/>
                    </a:cubicBezTo>
                    <a:cubicBezTo>
                      <a:pt x="202" y="107"/>
                      <a:pt x="197" y="105"/>
                      <a:pt x="194" y="104"/>
                    </a:cubicBezTo>
                    <a:cubicBezTo>
                      <a:pt x="191" y="101"/>
                      <a:pt x="188" y="99"/>
                      <a:pt x="184" y="99"/>
                    </a:cubicBezTo>
                    <a:cubicBezTo>
                      <a:pt x="182" y="99"/>
                      <a:pt x="177" y="99"/>
                      <a:pt x="176" y="101"/>
                    </a:cubicBezTo>
                    <a:cubicBezTo>
                      <a:pt x="174" y="103"/>
                      <a:pt x="175" y="105"/>
                      <a:pt x="174" y="106"/>
                    </a:cubicBezTo>
                    <a:cubicBezTo>
                      <a:pt x="173" y="107"/>
                      <a:pt x="171" y="106"/>
                      <a:pt x="169" y="106"/>
                    </a:cubicBezTo>
                    <a:cubicBezTo>
                      <a:pt x="167" y="107"/>
                      <a:pt x="165" y="108"/>
                      <a:pt x="162" y="109"/>
                    </a:cubicBezTo>
                    <a:cubicBezTo>
                      <a:pt x="161" y="110"/>
                      <a:pt x="159" y="111"/>
                      <a:pt x="157" y="112"/>
                    </a:cubicBezTo>
                    <a:cubicBezTo>
                      <a:pt x="157" y="113"/>
                      <a:pt x="157" y="113"/>
                      <a:pt x="157" y="114"/>
                    </a:cubicBezTo>
                    <a:cubicBezTo>
                      <a:pt x="157" y="114"/>
                      <a:pt x="157" y="115"/>
                      <a:pt x="156" y="115"/>
                    </a:cubicBezTo>
                    <a:cubicBezTo>
                      <a:pt x="156" y="115"/>
                      <a:pt x="153" y="117"/>
                      <a:pt x="153" y="117"/>
                    </a:cubicBezTo>
                    <a:cubicBezTo>
                      <a:pt x="150" y="117"/>
                      <a:pt x="147" y="116"/>
                      <a:pt x="144" y="117"/>
                    </a:cubicBezTo>
                    <a:cubicBezTo>
                      <a:pt x="142" y="118"/>
                      <a:pt x="143" y="118"/>
                      <a:pt x="141" y="120"/>
                    </a:cubicBezTo>
                    <a:cubicBezTo>
                      <a:pt x="140" y="122"/>
                      <a:pt x="139" y="122"/>
                      <a:pt x="136" y="123"/>
                    </a:cubicBezTo>
                    <a:cubicBezTo>
                      <a:pt x="134" y="125"/>
                      <a:pt x="134" y="126"/>
                      <a:pt x="132" y="128"/>
                    </a:cubicBezTo>
                    <a:cubicBezTo>
                      <a:pt x="130" y="129"/>
                      <a:pt x="129" y="132"/>
                      <a:pt x="130" y="128"/>
                    </a:cubicBezTo>
                    <a:cubicBezTo>
                      <a:pt x="131" y="127"/>
                      <a:pt x="132" y="125"/>
                      <a:pt x="131" y="126"/>
                    </a:cubicBezTo>
                    <a:cubicBezTo>
                      <a:pt x="132" y="125"/>
                      <a:pt x="132" y="125"/>
                      <a:pt x="132" y="124"/>
                    </a:cubicBezTo>
                    <a:cubicBezTo>
                      <a:pt x="133" y="123"/>
                      <a:pt x="134" y="122"/>
                      <a:pt x="135" y="121"/>
                    </a:cubicBezTo>
                    <a:cubicBezTo>
                      <a:pt x="136" y="120"/>
                      <a:pt x="136" y="120"/>
                      <a:pt x="137" y="119"/>
                    </a:cubicBezTo>
                    <a:cubicBezTo>
                      <a:pt x="137" y="118"/>
                      <a:pt x="138" y="118"/>
                      <a:pt x="139" y="117"/>
                    </a:cubicBezTo>
                    <a:cubicBezTo>
                      <a:pt x="141" y="115"/>
                      <a:pt x="143" y="111"/>
                      <a:pt x="145" y="109"/>
                    </a:cubicBezTo>
                    <a:cubicBezTo>
                      <a:pt x="145" y="108"/>
                      <a:pt x="146" y="108"/>
                      <a:pt x="146" y="107"/>
                    </a:cubicBezTo>
                    <a:cubicBezTo>
                      <a:pt x="146" y="106"/>
                      <a:pt x="143" y="105"/>
                      <a:pt x="142" y="105"/>
                    </a:cubicBezTo>
                    <a:cubicBezTo>
                      <a:pt x="139" y="104"/>
                      <a:pt x="136" y="107"/>
                      <a:pt x="134" y="108"/>
                    </a:cubicBezTo>
                    <a:cubicBezTo>
                      <a:pt x="132" y="109"/>
                      <a:pt x="130" y="111"/>
                      <a:pt x="128" y="112"/>
                    </a:cubicBezTo>
                    <a:cubicBezTo>
                      <a:pt x="128" y="113"/>
                      <a:pt x="127" y="113"/>
                      <a:pt x="127" y="114"/>
                    </a:cubicBezTo>
                    <a:cubicBezTo>
                      <a:pt x="125" y="114"/>
                      <a:pt x="124" y="114"/>
                      <a:pt x="125" y="112"/>
                    </a:cubicBezTo>
                    <a:cubicBezTo>
                      <a:pt x="126" y="111"/>
                      <a:pt x="127" y="110"/>
                      <a:pt x="128" y="108"/>
                    </a:cubicBezTo>
                    <a:cubicBezTo>
                      <a:pt x="129" y="107"/>
                      <a:pt x="130" y="106"/>
                      <a:pt x="132" y="105"/>
                    </a:cubicBezTo>
                    <a:cubicBezTo>
                      <a:pt x="135" y="103"/>
                      <a:pt x="138" y="102"/>
                      <a:pt x="141" y="101"/>
                    </a:cubicBezTo>
                    <a:cubicBezTo>
                      <a:pt x="142" y="100"/>
                      <a:pt x="143" y="100"/>
                      <a:pt x="144" y="100"/>
                    </a:cubicBezTo>
                    <a:cubicBezTo>
                      <a:pt x="146" y="100"/>
                      <a:pt x="145" y="102"/>
                      <a:pt x="146" y="102"/>
                    </a:cubicBezTo>
                    <a:cubicBezTo>
                      <a:pt x="147" y="103"/>
                      <a:pt x="147" y="103"/>
                      <a:pt x="148" y="103"/>
                    </a:cubicBezTo>
                    <a:cubicBezTo>
                      <a:pt x="149" y="102"/>
                      <a:pt x="150" y="102"/>
                      <a:pt x="150" y="101"/>
                    </a:cubicBezTo>
                    <a:cubicBezTo>
                      <a:pt x="151" y="98"/>
                      <a:pt x="152" y="96"/>
                      <a:pt x="154" y="94"/>
                    </a:cubicBezTo>
                    <a:cubicBezTo>
                      <a:pt x="155" y="92"/>
                      <a:pt x="157" y="90"/>
                      <a:pt x="159" y="88"/>
                    </a:cubicBezTo>
                    <a:cubicBezTo>
                      <a:pt x="160" y="87"/>
                      <a:pt x="161" y="86"/>
                      <a:pt x="161" y="85"/>
                    </a:cubicBezTo>
                    <a:cubicBezTo>
                      <a:pt x="159" y="85"/>
                      <a:pt x="158" y="87"/>
                      <a:pt x="157" y="88"/>
                    </a:cubicBezTo>
                    <a:cubicBezTo>
                      <a:pt x="157" y="89"/>
                      <a:pt x="156" y="89"/>
                      <a:pt x="155" y="89"/>
                    </a:cubicBezTo>
                    <a:cubicBezTo>
                      <a:pt x="154" y="90"/>
                      <a:pt x="153" y="89"/>
                      <a:pt x="152" y="89"/>
                    </a:cubicBezTo>
                    <a:cubicBezTo>
                      <a:pt x="150" y="89"/>
                      <a:pt x="148" y="87"/>
                      <a:pt x="147" y="88"/>
                    </a:cubicBezTo>
                    <a:cubicBezTo>
                      <a:pt x="145" y="88"/>
                      <a:pt x="143" y="90"/>
                      <a:pt x="141" y="89"/>
                    </a:cubicBezTo>
                    <a:cubicBezTo>
                      <a:pt x="139" y="89"/>
                      <a:pt x="138" y="88"/>
                      <a:pt x="136" y="87"/>
                    </a:cubicBezTo>
                    <a:cubicBezTo>
                      <a:pt x="134" y="85"/>
                      <a:pt x="131" y="85"/>
                      <a:pt x="129" y="85"/>
                    </a:cubicBezTo>
                    <a:cubicBezTo>
                      <a:pt x="128" y="85"/>
                      <a:pt x="123" y="86"/>
                      <a:pt x="123" y="84"/>
                    </a:cubicBezTo>
                    <a:cubicBezTo>
                      <a:pt x="124" y="83"/>
                      <a:pt x="128" y="83"/>
                      <a:pt x="130" y="83"/>
                    </a:cubicBezTo>
                    <a:cubicBezTo>
                      <a:pt x="131" y="83"/>
                      <a:pt x="132" y="84"/>
                      <a:pt x="133" y="84"/>
                    </a:cubicBezTo>
                    <a:cubicBezTo>
                      <a:pt x="135" y="84"/>
                      <a:pt x="139" y="83"/>
                      <a:pt x="141" y="84"/>
                    </a:cubicBezTo>
                    <a:cubicBezTo>
                      <a:pt x="143" y="84"/>
                      <a:pt x="144" y="85"/>
                      <a:pt x="146" y="84"/>
                    </a:cubicBezTo>
                    <a:cubicBezTo>
                      <a:pt x="147" y="84"/>
                      <a:pt x="147" y="83"/>
                      <a:pt x="147" y="81"/>
                    </a:cubicBezTo>
                    <a:cubicBezTo>
                      <a:pt x="147" y="80"/>
                      <a:pt x="147" y="79"/>
                      <a:pt x="148" y="78"/>
                    </a:cubicBezTo>
                    <a:cubicBezTo>
                      <a:pt x="148" y="77"/>
                      <a:pt x="149" y="76"/>
                      <a:pt x="150" y="76"/>
                    </a:cubicBezTo>
                    <a:cubicBezTo>
                      <a:pt x="152" y="75"/>
                      <a:pt x="154" y="74"/>
                      <a:pt x="155" y="73"/>
                    </a:cubicBezTo>
                    <a:cubicBezTo>
                      <a:pt x="156" y="72"/>
                      <a:pt x="156" y="73"/>
                      <a:pt x="156" y="72"/>
                    </a:cubicBezTo>
                    <a:cubicBezTo>
                      <a:pt x="157" y="72"/>
                      <a:pt x="157" y="71"/>
                      <a:pt x="157" y="71"/>
                    </a:cubicBezTo>
                    <a:cubicBezTo>
                      <a:pt x="157" y="70"/>
                      <a:pt x="157" y="70"/>
                      <a:pt x="158" y="69"/>
                    </a:cubicBezTo>
                    <a:cubicBezTo>
                      <a:pt x="158" y="68"/>
                      <a:pt x="159" y="68"/>
                      <a:pt x="159" y="68"/>
                    </a:cubicBezTo>
                    <a:cubicBezTo>
                      <a:pt x="160" y="67"/>
                      <a:pt x="161" y="66"/>
                      <a:pt x="161" y="65"/>
                    </a:cubicBezTo>
                    <a:cubicBezTo>
                      <a:pt x="162" y="64"/>
                      <a:pt x="164" y="63"/>
                      <a:pt x="164" y="62"/>
                    </a:cubicBezTo>
                    <a:cubicBezTo>
                      <a:pt x="166" y="61"/>
                      <a:pt x="166" y="59"/>
                      <a:pt x="168" y="58"/>
                    </a:cubicBezTo>
                    <a:cubicBezTo>
                      <a:pt x="168" y="58"/>
                      <a:pt x="169" y="58"/>
                      <a:pt x="169" y="58"/>
                    </a:cubicBezTo>
                    <a:cubicBezTo>
                      <a:pt x="170" y="57"/>
                      <a:pt x="169" y="57"/>
                      <a:pt x="170" y="57"/>
                    </a:cubicBezTo>
                    <a:cubicBezTo>
                      <a:pt x="170" y="56"/>
                      <a:pt x="171" y="56"/>
                      <a:pt x="172" y="56"/>
                    </a:cubicBezTo>
                    <a:cubicBezTo>
                      <a:pt x="175" y="54"/>
                      <a:pt x="177" y="53"/>
                      <a:pt x="179" y="50"/>
                    </a:cubicBezTo>
                    <a:cubicBezTo>
                      <a:pt x="180" y="48"/>
                      <a:pt x="180" y="47"/>
                      <a:pt x="181" y="45"/>
                    </a:cubicBezTo>
                    <a:cubicBezTo>
                      <a:pt x="182" y="45"/>
                      <a:pt x="182" y="44"/>
                      <a:pt x="182" y="43"/>
                    </a:cubicBezTo>
                    <a:cubicBezTo>
                      <a:pt x="183" y="43"/>
                      <a:pt x="186" y="44"/>
                      <a:pt x="187" y="43"/>
                    </a:cubicBezTo>
                    <a:cubicBezTo>
                      <a:pt x="187" y="42"/>
                      <a:pt x="187" y="42"/>
                      <a:pt x="188" y="41"/>
                    </a:cubicBezTo>
                    <a:cubicBezTo>
                      <a:pt x="188" y="40"/>
                      <a:pt x="190" y="40"/>
                      <a:pt x="190" y="39"/>
                    </a:cubicBezTo>
                    <a:cubicBezTo>
                      <a:pt x="191" y="38"/>
                      <a:pt x="191" y="37"/>
                      <a:pt x="192" y="36"/>
                    </a:cubicBezTo>
                    <a:cubicBezTo>
                      <a:pt x="192" y="35"/>
                      <a:pt x="193" y="35"/>
                      <a:pt x="194" y="34"/>
                    </a:cubicBezTo>
                    <a:cubicBezTo>
                      <a:pt x="194" y="33"/>
                      <a:pt x="195" y="32"/>
                      <a:pt x="195" y="31"/>
                    </a:cubicBezTo>
                    <a:cubicBezTo>
                      <a:pt x="196" y="30"/>
                      <a:pt x="197" y="30"/>
                      <a:pt x="197" y="29"/>
                    </a:cubicBezTo>
                    <a:cubicBezTo>
                      <a:pt x="197" y="28"/>
                      <a:pt x="197" y="28"/>
                      <a:pt x="198" y="27"/>
                    </a:cubicBezTo>
                    <a:cubicBezTo>
                      <a:pt x="198" y="26"/>
                      <a:pt x="198" y="26"/>
                      <a:pt x="199" y="25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8" y="23"/>
                      <a:pt x="195" y="23"/>
                      <a:pt x="194" y="22"/>
                    </a:cubicBezTo>
                    <a:cubicBezTo>
                      <a:pt x="194" y="22"/>
                      <a:pt x="194" y="21"/>
                      <a:pt x="193" y="21"/>
                    </a:cubicBezTo>
                    <a:cubicBezTo>
                      <a:pt x="193" y="20"/>
                      <a:pt x="193" y="20"/>
                      <a:pt x="192" y="19"/>
                    </a:cubicBezTo>
                    <a:cubicBezTo>
                      <a:pt x="192" y="18"/>
                      <a:pt x="193" y="17"/>
                      <a:pt x="194" y="15"/>
                    </a:cubicBezTo>
                    <a:cubicBezTo>
                      <a:pt x="195" y="15"/>
                      <a:pt x="195" y="14"/>
                      <a:pt x="196" y="13"/>
                    </a:cubicBezTo>
                    <a:cubicBezTo>
                      <a:pt x="196" y="13"/>
                      <a:pt x="197" y="13"/>
                      <a:pt x="198" y="12"/>
                    </a:cubicBezTo>
                    <a:cubicBezTo>
                      <a:pt x="198" y="12"/>
                      <a:pt x="198" y="11"/>
                      <a:pt x="199" y="11"/>
                    </a:cubicBezTo>
                    <a:cubicBezTo>
                      <a:pt x="200" y="9"/>
                      <a:pt x="202" y="8"/>
                      <a:pt x="201" y="6"/>
                    </a:cubicBezTo>
                    <a:cubicBezTo>
                      <a:pt x="201" y="6"/>
                      <a:pt x="199" y="5"/>
                      <a:pt x="199" y="4"/>
                    </a:cubicBezTo>
                    <a:cubicBezTo>
                      <a:pt x="198" y="4"/>
                      <a:pt x="197" y="4"/>
                      <a:pt x="196" y="4"/>
                    </a:cubicBezTo>
                    <a:cubicBezTo>
                      <a:pt x="195" y="4"/>
                      <a:pt x="194" y="3"/>
                      <a:pt x="193" y="4"/>
                    </a:cubicBezTo>
                    <a:cubicBezTo>
                      <a:pt x="193" y="4"/>
                      <a:pt x="192" y="5"/>
                      <a:pt x="191" y="5"/>
                    </a:cubicBezTo>
                    <a:cubicBezTo>
                      <a:pt x="191" y="5"/>
                      <a:pt x="190" y="4"/>
                      <a:pt x="189" y="4"/>
                    </a:cubicBezTo>
                    <a:cubicBezTo>
                      <a:pt x="188" y="4"/>
                      <a:pt x="188" y="4"/>
                      <a:pt x="187" y="4"/>
                    </a:cubicBezTo>
                    <a:cubicBezTo>
                      <a:pt x="186" y="4"/>
                      <a:pt x="186" y="4"/>
                      <a:pt x="185" y="4"/>
                    </a:cubicBezTo>
                    <a:cubicBezTo>
                      <a:pt x="184" y="4"/>
                      <a:pt x="184" y="3"/>
                      <a:pt x="183" y="3"/>
                    </a:cubicBezTo>
                    <a:cubicBezTo>
                      <a:pt x="183" y="3"/>
                      <a:pt x="182" y="3"/>
                      <a:pt x="182" y="3"/>
                    </a:cubicBezTo>
                    <a:cubicBezTo>
                      <a:pt x="182" y="2"/>
                      <a:pt x="181" y="2"/>
                      <a:pt x="181" y="2"/>
                    </a:cubicBezTo>
                    <a:cubicBezTo>
                      <a:pt x="181" y="1"/>
                      <a:pt x="181" y="0"/>
                      <a:pt x="180" y="1"/>
                    </a:cubicBezTo>
                    <a:cubicBezTo>
                      <a:pt x="179" y="1"/>
                      <a:pt x="179" y="4"/>
                      <a:pt x="179" y="5"/>
                    </a:cubicBezTo>
                    <a:cubicBezTo>
                      <a:pt x="180" y="7"/>
                      <a:pt x="182" y="5"/>
                      <a:pt x="183" y="7"/>
                    </a:cubicBezTo>
                    <a:cubicBezTo>
                      <a:pt x="184" y="8"/>
                      <a:pt x="180" y="10"/>
                      <a:pt x="179" y="11"/>
                    </a:cubicBezTo>
                    <a:cubicBezTo>
                      <a:pt x="178" y="11"/>
                      <a:pt x="176" y="11"/>
                      <a:pt x="175" y="11"/>
                    </a:cubicBezTo>
                    <a:cubicBezTo>
                      <a:pt x="173" y="10"/>
                      <a:pt x="169" y="6"/>
                      <a:pt x="167" y="9"/>
                    </a:cubicBezTo>
                    <a:cubicBezTo>
                      <a:pt x="166" y="9"/>
                      <a:pt x="164" y="9"/>
                      <a:pt x="163" y="10"/>
                    </a:cubicBezTo>
                    <a:cubicBezTo>
                      <a:pt x="162" y="11"/>
                      <a:pt x="162" y="12"/>
                      <a:pt x="162" y="12"/>
                    </a:cubicBezTo>
                    <a:cubicBezTo>
                      <a:pt x="160" y="13"/>
                      <a:pt x="157" y="12"/>
                      <a:pt x="156" y="12"/>
                    </a:cubicBezTo>
                    <a:cubicBezTo>
                      <a:pt x="154" y="13"/>
                      <a:pt x="152" y="13"/>
                      <a:pt x="151" y="13"/>
                    </a:cubicBezTo>
                    <a:cubicBezTo>
                      <a:pt x="149" y="13"/>
                      <a:pt x="149" y="11"/>
                      <a:pt x="147" y="11"/>
                    </a:cubicBezTo>
                    <a:cubicBezTo>
                      <a:pt x="146" y="11"/>
                      <a:pt x="146" y="11"/>
                      <a:pt x="145" y="12"/>
                    </a:cubicBezTo>
                    <a:cubicBezTo>
                      <a:pt x="143" y="13"/>
                      <a:pt x="142" y="12"/>
                      <a:pt x="141" y="13"/>
                    </a:cubicBezTo>
                    <a:cubicBezTo>
                      <a:pt x="140" y="13"/>
                      <a:pt x="139" y="13"/>
                      <a:pt x="139" y="13"/>
                    </a:cubicBezTo>
                    <a:cubicBezTo>
                      <a:pt x="139" y="14"/>
                      <a:pt x="139" y="14"/>
                      <a:pt x="139" y="15"/>
                    </a:cubicBezTo>
                    <a:cubicBezTo>
                      <a:pt x="138" y="15"/>
                      <a:pt x="137" y="16"/>
                      <a:pt x="136" y="16"/>
                    </a:cubicBezTo>
                    <a:cubicBezTo>
                      <a:pt x="136" y="17"/>
                      <a:pt x="135" y="17"/>
                      <a:pt x="134" y="17"/>
                    </a:cubicBezTo>
                    <a:cubicBezTo>
                      <a:pt x="134" y="17"/>
                      <a:pt x="133" y="17"/>
                      <a:pt x="132" y="17"/>
                    </a:cubicBezTo>
                    <a:cubicBezTo>
                      <a:pt x="131" y="17"/>
                      <a:pt x="131" y="18"/>
                      <a:pt x="131" y="18"/>
                    </a:cubicBezTo>
                    <a:cubicBezTo>
                      <a:pt x="130" y="19"/>
                      <a:pt x="129" y="18"/>
                      <a:pt x="129" y="18"/>
                    </a:cubicBezTo>
                    <a:cubicBezTo>
                      <a:pt x="129" y="20"/>
                      <a:pt x="127" y="22"/>
                      <a:pt x="126" y="23"/>
                    </a:cubicBezTo>
                    <a:cubicBezTo>
                      <a:pt x="125" y="25"/>
                      <a:pt x="124" y="27"/>
                      <a:pt x="122" y="28"/>
                    </a:cubicBezTo>
                    <a:cubicBezTo>
                      <a:pt x="121" y="27"/>
                      <a:pt x="122" y="25"/>
                      <a:pt x="122" y="24"/>
                    </a:cubicBezTo>
                    <a:cubicBezTo>
                      <a:pt x="122" y="24"/>
                      <a:pt x="122" y="23"/>
                      <a:pt x="122" y="22"/>
                    </a:cubicBezTo>
                    <a:cubicBezTo>
                      <a:pt x="122" y="21"/>
                      <a:pt x="122" y="20"/>
                      <a:pt x="123" y="19"/>
                    </a:cubicBezTo>
                    <a:cubicBezTo>
                      <a:pt x="123" y="18"/>
                      <a:pt x="123" y="17"/>
                      <a:pt x="123" y="16"/>
                    </a:cubicBezTo>
                    <a:cubicBezTo>
                      <a:pt x="123" y="15"/>
                      <a:pt x="123" y="15"/>
                      <a:pt x="123" y="14"/>
                    </a:cubicBezTo>
                    <a:cubicBezTo>
                      <a:pt x="122" y="14"/>
                      <a:pt x="123" y="14"/>
                      <a:pt x="122" y="13"/>
                    </a:cubicBezTo>
                    <a:cubicBezTo>
                      <a:pt x="121" y="12"/>
                      <a:pt x="117" y="13"/>
                      <a:pt x="116" y="14"/>
                    </a:cubicBezTo>
                    <a:cubicBezTo>
                      <a:pt x="115" y="15"/>
                      <a:pt x="115" y="17"/>
                      <a:pt x="115" y="18"/>
                    </a:cubicBezTo>
                    <a:cubicBezTo>
                      <a:pt x="114" y="19"/>
                      <a:pt x="114" y="20"/>
                      <a:pt x="113" y="20"/>
                    </a:cubicBezTo>
                    <a:cubicBezTo>
                      <a:pt x="112" y="21"/>
                      <a:pt x="112" y="21"/>
                      <a:pt x="112" y="21"/>
                    </a:cubicBezTo>
                    <a:cubicBezTo>
                      <a:pt x="111" y="21"/>
                      <a:pt x="111" y="22"/>
                      <a:pt x="111" y="23"/>
                    </a:cubicBezTo>
                    <a:cubicBezTo>
                      <a:pt x="110" y="23"/>
                      <a:pt x="110" y="23"/>
                      <a:pt x="109" y="24"/>
                    </a:cubicBezTo>
                    <a:cubicBezTo>
                      <a:pt x="109" y="24"/>
                      <a:pt x="108" y="25"/>
                      <a:pt x="107" y="25"/>
                    </a:cubicBezTo>
                    <a:cubicBezTo>
                      <a:pt x="105" y="25"/>
                      <a:pt x="107" y="23"/>
                      <a:pt x="108" y="22"/>
                    </a:cubicBezTo>
                    <a:cubicBezTo>
                      <a:pt x="109" y="20"/>
                      <a:pt x="111" y="20"/>
                      <a:pt x="111" y="18"/>
                    </a:cubicBezTo>
                    <a:cubicBezTo>
                      <a:pt x="111" y="16"/>
                      <a:pt x="109" y="14"/>
                      <a:pt x="107" y="13"/>
                    </a:cubicBezTo>
                    <a:cubicBezTo>
                      <a:pt x="106" y="13"/>
                      <a:pt x="106" y="14"/>
                      <a:pt x="106" y="15"/>
                    </a:cubicBezTo>
                    <a:cubicBezTo>
                      <a:pt x="106" y="15"/>
                      <a:pt x="105" y="15"/>
                      <a:pt x="105" y="15"/>
                    </a:cubicBezTo>
                    <a:cubicBezTo>
                      <a:pt x="105" y="15"/>
                      <a:pt x="105" y="16"/>
                      <a:pt x="105" y="16"/>
                    </a:cubicBezTo>
                    <a:cubicBezTo>
                      <a:pt x="105" y="16"/>
                      <a:pt x="105" y="17"/>
                      <a:pt x="105" y="17"/>
                    </a:cubicBezTo>
                    <a:cubicBezTo>
                      <a:pt x="104" y="17"/>
                      <a:pt x="103" y="14"/>
                      <a:pt x="103" y="13"/>
                    </a:cubicBezTo>
                    <a:cubicBezTo>
                      <a:pt x="103" y="11"/>
                      <a:pt x="104" y="10"/>
                      <a:pt x="102" y="9"/>
                    </a:cubicBezTo>
                    <a:cubicBezTo>
                      <a:pt x="101" y="8"/>
                      <a:pt x="100" y="7"/>
                      <a:pt x="98" y="8"/>
                    </a:cubicBezTo>
                    <a:cubicBezTo>
                      <a:pt x="98" y="8"/>
                      <a:pt x="96" y="8"/>
                      <a:pt x="96" y="9"/>
                    </a:cubicBezTo>
                    <a:cubicBezTo>
                      <a:pt x="95" y="10"/>
                      <a:pt x="95" y="12"/>
                      <a:pt x="94" y="13"/>
                    </a:cubicBezTo>
                    <a:cubicBezTo>
                      <a:pt x="94" y="14"/>
                      <a:pt x="93" y="15"/>
                      <a:pt x="92" y="16"/>
                    </a:cubicBezTo>
                    <a:cubicBezTo>
                      <a:pt x="90" y="18"/>
                      <a:pt x="88" y="20"/>
                      <a:pt x="88" y="22"/>
                    </a:cubicBezTo>
                    <a:cubicBezTo>
                      <a:pt x="89" y="22"/>
                      <a:pt x="89" y="23"/>
                      <a:pt x="89" y="23"/>
                    </a:cubicBezTo>
                    <a:cubicBezTo>
                      <a:pt x="90" y="23"/>
                      <a:pt x="90" y="24"/>
                      <a:pt x="90" y="24"/>
                    </a:cubicBezTo>
                    <a:cubicBezTo>
                      <a:pt x="89" y="25"/>
                      <a:pt x="89" y="25"/>
                      <a:pt x="89" y="25"/>
                    </a:cubicBezTo>
                    <a:cubicBezTo>
                      <a:pt x="87" y="28"/>
                      <a:pt x="92" y="28"/>
                      <a:pt x="89" y="30"/>
                    </a:cubicBezTo>
                    <a:cubicBezTo>
                      <a:pt x="87" y="31"/>
                      <a:pt x="85" y="34"/>
                      <a:pt x="84" y="37"/>
                    </a:cubicBezTo>
                    <a:cubicBezTo>
                      <a:pt x="84" y="38"/>
                      <a:pt x="85" y="38"/>
                      <a:pt x="86" y="39"/>
                    </a:cubicBezTo>
                    <a:cubicBezTo>
                      <a:pt x="87" y="40"/>
                      <a:pt x="87" y="40"/>
                      <a:pt x="87" y="42"/>
                    </a:cubicBezTo>
                    <a:cubicBezTo>
                      <a:pt x="87" y="43"/>
                      <a:pt x="87" y="43"/>
                      <a:pt x="89" y="43"/>
                    </a:cubicBezTo>
                    <a:cubicBezTo>
                      <a:pt x="89" y="43"/>
                      <a:pt x="90" y="43"/>
                      <a:pt x="90" y="44"/>
                    </a:cubicBezTo>
                    <a:cubicBezTo>
                      <a:pt x="91" y="45"/>
                      <a:pt x="89" y="45"/>
                      <a:pt x="89" y="45"/>
                    </a:cubicBezTo>
                    <a:cubicBezTo>
                      <a:pt x="86" y="46"/>
                      <a:pt x="84" y="45"/>
                      <a:pt x="81" y="45"/>
                    </a:cubicBezTo>
                    <a:cubicBezTo>
                      <a:pt x="80" y="45"/>
                      <a:pt x="79" y="45"/>
                      <a:pt x="77" y="46"/>
                    </a:cubicBezTo>
                    <a:cubicBezTo>
                      <a:pt x="76" y="46"/>
                      <a:pt x="75" y="45"/>
                      <a:pt x="74" y="46"/>
                    </a:cubicBezTo>
                    <a:cubicBezTo>
                      <a:pt x="74" y="47"/>
                      <a:pt x="73" y="50"/>
                      <a:pt x="74" y="50"/>
                    </a:cubicBezTo>
                    <a:cubicBezTo>
                      <a:pt x="74" y="51"/>
                      <a:pt x="75" y="52"/>
                      <a:pt x="76" y="52"/>
                    </a:cubicBezTo>
                    <a:cubicBezTo>
                      <a:pt x="76" y="53"/>
                      <a:pt x="76" y="54"/>
                      <a:pt x="76" y="55"/>
                    </a:cubicBezTo>
                    <a:cubicBezTo>
                      <a:pt x="76" y="56"/>
                      <a:pt x="76" y="57"/>
                      <a:pt x="76" y="58"/>
                    </a:cubicBezTo>
                    <a:cubicBezTo>
                      <a:pt x="76" y="60"/>
                      <a:pt x="77" y="61"/>
                      <a:pt x="77" y="62"/>
                    </a:cubicBezTo>
                    <a:cubicBezTo>
                      <a:pt x="78" y="62"/>
                      <a:pt x="77" y="59"/>
                      <a:pt x="78" y="59"/>
                    </a:cubicBezTo>
                    <a:cubicBezTo>
                      <a:pt x="79" y="59"/>
                      <a:pt x="79" y="61"/>
                      <a:pt x="79" y="61"/>
                    </a:cubicBezTo>
                    <a:cubicBezTo>
                      <a:pt x="78" y="62"/>
                      <a:pt x="78" y="62"/>
                      <a:pt x="78" y="63"/>
                    </a:cubicBezTo>
                    <a:cubicBezTo>
                      <a:pt x="77" y="64"/>
                      <a:pt x="77" y="67"/>
                      <a:pt x="78" y="67"/>
                    </a:cubicBezTo>
                    <a:cubicBezTo>
                      <a:pt x="76" y="68"/>
                      <a:pt x="75" y="66"/>
                      <a:pt x="73" y="65"/>
                    </a:cubicBezTo>
                    <a:cubicBezTo>
                      <a:pt x="73" y="65"/>
                      <a:pt x="70" y="63"/>
                      <a:pt x="69" y="64"/>
                    </a:cubicBezTo>
                    <a:cubicBezTo>
                      <a:pt x="67" y="67"/>
                      <a:pt x="72" y="70"/>
                      <a:pt x="73" y="71"/>
                    </a:cubicBezTo>
                    <a:cubicBezTo>
                      <a:pt x="74" y="72"/>
                      <a:pt x="75" y="73"/>
                      <a:pt x="76" y="74"/>
                    </a:cubicBezTo>
                    <a:cubicBezTo>
                      <a:pt x="77" y="74"/>
                      <a:pt x="78" y="74"/>
                      <a:pt x="78" y="75"/>
                    </a:cubicBezTo>
                    <a:cubicBezTo>
                      <a:pt x="79" y="75"/>
                      <a:pt x="79" y="76"/>
                      <a:pt x="80" y="76"/>
                    </a:cubicBezTo>
                    <a:cubicBezTo>
                      <a:pt x="81" y="78"/>
                      <a:pt x="83" y="77"/>
                      <a:pt x="84" y="79"/>
                    </a:cubicBezTo>
                    <a:cubicBezTo>
                      <a:pt x="86" y="80"/>
                      <a:pt x="84" y="82"/>
                      <a:pt x="84" y="84"/>
                    </a:cubicBezTo>
                    <a:cubicBezTo>
                      <a:pt x="84" y="86"/>
                      <a:pt x="86" y="86"/>
                      <a:pt x="87" y="88"/>
                    </a:cubicBezTo>
                    <a:cubicBezTo>
                      <a:pt x="86" y="86"/>
                      <a:pt x="84" y="85"/>
                      <a:pt x="82" y="84"/>
                    </a:cubicBezTo>
                    <a:cubicBezTo>
                      <a:pt x="81" y="84"/>
                      <a:pt x="79" y="83"/>
                      <a:pt x="77" y="82"/>
                    </a:cubicBezTo>
                    <a:cubicBezTo>
                      <a:pt x="76" y="81"/>
                      <a:pt x="75" y="81"/>
                      <a:pt x="75" y="81"/>
                    </a:cubicBezTo>
                    <a:cubicBezTo>
                      <a:pt x="74" y="83"/>
                      <a:pt x="76" y="84"/>
                      <a:pt x="77" y="85"/>
                    </a:cubicBezTo>
                    <a:cubicBezTo>
                      <a:pt x="78" y="86"/>
                      <a:pt x="79" y="87"/>
                      <a:pt x="80" y="89"/>
                    </a:cubicBezTo>
                    <a:cubicBezTo>
                      <a:pt x="78" y="88"/>
                      <a:pt x="77" y="87"/>
                      <a:pt x="75" y="86"/>
                    </a:cubicBezTo>
                    <a:cubicBezTo>
                      <a:pt x="75" y="85"/>
                      <a:pt x="74" y="85"/>
                      <a:pt x="74" y="84"/>
                    </a:cubicBezTo>
                    <a:cubicBezTo>
                      <a:pt x="73" y="84"/>
                      <a:pt x="73" y="84"/>
                      <a:pt x="72" y="84"/>
                    </a:cubicBezTo>
                    <a:cubicBezTo>
                      <a:pt x="72" y="83"/>
                      <a:pt x="71" y="82"/>
                      <a:pt x="70" y="83"/>
                    </a:cubicBezTo>
                    <a:cubicBezTo>
                      <a:pt x="70" y="83"/>
                      <a:pt x="69" y="85"/>
                      <a:pt x="69" y="86"/>
                    </a:cubicBezTo>
                    <a:cubicBezTo>
                      <a:pt x="69" y="86"/>
                      <a:pt x="68" y="88"/>
                      <a:pt x="67" y="87"/>
                    </a:cubicBezTo>
                    <a:cubicBezTo>
                      <a:pt x="66" y="87"/>
                      <a:pt x="66" y="86"/>
                      <a:pt x="66" y="85"/>
                    </a:cubicBezTo>
                    <a:cubicBezTo>
                      <a:pt x="65" y="84"/>
                      <a:pt x="66" y="84"/>
                      <a:pt x="65" y="83"/>
                    </a:cubicBezTo>
                    <a:cubicBezTo>
                      <a:pt x="65" y="83"/>
                      <a:pt x="64" y="83"/>
                      <a:pt x="64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63" y="82"/>
                      <a:pt x="62" y="82"/>
                      <a:pt x="62" y="82"/>
                    </a:cubicBezTo>
                    <a:cubicBezTo>
                      <a:pt x="61" y="82"/>
                      <a:pt x="60" y="82"/>
                      <a:pt x="60" y="83"/>
                    </a:cubicBezTo>
                    <a:cubicBezTo>
                      <a:pt x="60" y="84"/>
                      <a:pt x="60" y="86"/>
                      <a:pt x="60" y="86"/>
                    </a:cubicBezTo>
                    <a:cubicBezTo>
                      <a:pt x="60" y="89"/>
                      <a:pt x="60" y="91"/>
                      <a:pt x="60" y="93"/>
                    </a:cubicBezTo>
                    <a:cubicBezTo>
                      <a:pt x="60" y="94"/>
                      <a:pt x="60" y="96"/>
                      <a:pt x="59" y="96"/>
                    </a:cubicBezTo>
                    <a:cubicBezTo>
                      <a:pt x="58" y="96"/>
                      <a:pt x="57" y="92"/>
                      <a:pt x="57" y="91"/>
                    </a:cubicBezTo>
                    <a:cubicBezTo>
                      <a:pt x="57" y="90"/>
                      <a:pt x="57" y="88"/>
                      <a:pt x="56" y="87"/>
                    </a:cubicBezTo>
                    <a:cubicBezTo>
                      <a:pt x="54" y="85"/>
                      <a:pt x="52" y="87"/>
                      <a:pt x="51" y="88"/>
                    </a:cubicBezTo>
                    <a:cubicBezTo>
                      <a:pt x="50" y="88"/>
                      <a:pt x="49" y="89"/>
                      <a:pt x="49" y="90"/>
                    </a:cubicBezTo>
                    <a:cubicBezTo>
                      <a:pt x="49" y="90"/>
                      <a:pt x="50" y="90"/>
                      <a:pt x="50" y="90"/>
                    </a:cubicBezTo>
                    <a:cubicBezTo>
                      <a:pt x="50" y="90"/>
                      <a:pt x="50" y="91"/>
                      <a:pt x="50" y="91"/>
                    </a:cubicBezTo>
                    <a:cubicBezTo>
                      <a:pt x="50" y="92"/>
                      <a:pt x="50" y="92"/>
                      <a:pt x="50" y="93"/>
                    </a:cubicBezTo>
                    <a:cubicBezTo>
                      <a:pt x="50" y="95"/>
                      <a:pt x="50" y="97"/>
                      <a:pt x="51" y="100"/>
                    </a:cubicBezTo>
                    <a:cubicBezTo>
                      <a:pt x="51" y="101"/>
                      <a:pt x="52" y="101"/>
                      <a:pt x="52" y="101"/>
                    </a:cubicBezTo>
                    <a:cubicBezTo>
                      <a:pt x="53" y="102"/>
                      <a:pt x="53" y="102"/>
                      <a:pt x="53" y="102"/>
                    </a:cubicBezTo>
                    <a:cubicBezTo>
                      <a:pt x="54" y="102"/>
                      <a:pt x="56" y="103"/>
                      <a:pt x="55" y="104"/>
                    </a:cubicBezTo>
                    <a:cubicBezTo>
                      <a:pt x="54" y="104"/>
                      <a:pt x="52" y="104"/>
                      <a:pt x="51" y="105"/>
                    </a:cubicBezTo>
                    <a:cubicBezTo>
                      <a:pt x="52" y="105"/>
                      <a:pt x="53" y="106"/>
                      <a:pt x="53" y="106"/>
                    </a:cubicBezTo>
                    <a:cubicBezTo>
                      <a:pt x="53" y="106"/>
                      <a:pt x="53" y="107"/>
                      <a:pt x="52" y="107"/>
                    </a:cubicBezTo>
                    <a:cubicBezTo>
                      <a:pt x="52" y="108"/>
                      <a:pt x="51" y="107"/>
                      <a:pt x="51" y="108"/>
                    </a:cubicBezTo>
                    <a:cubicBezTo>
                      <a:pt x="51" y="109"/>
                      <a:pt x="50" y="109"/>
                      <a:pt x="50" y="110"/>
                    </a:cubicBezTo>
                    <a:cubicBezTo>
                      <a:pt x="51" y="111"/>
                      <a:pt x="51" y="110"/>
                      <a:pt x="52" y="111"/>
                    </a:cubicBezTo>
                    <a:cubicBezTo>
                      <a:pt x="52" y="111"/>
                      <a:pt x="53" y="112"/>
                      <a:pt x="54" y="112"/>
                    </a:cubicBezTo>
                    <a:cubicBezTo>
                      <a:pt x="54" y="113"/>
                      <a:pt x="54" y="114"/>
                      <a:pt x="55" y="114"/>
                    </a:cubicBezTo>
                    <a:cubicBezTo>
                      <a:pt x="55" y="115"/>
                      <a:pt x="56" y="116"/>
                      <a:pt x="57" y="117"/>
                    </a:cubicBezTo>
                    <a:cubicBezTo>
                      <a:pt x="57" y="117"/>
                      <a:pt x="57" y="118"/>
                      <a:pt x="57" y="119"/>
                    </a:cubicBezTo>
                    <a:cubicBezTo>
                      <a:pt x="59" y="120"/>
                      <a:pt x="61" y="117"/>
                      <a:pt x="62" y="118"/>
                    </a:cubicBezTo>
                    <a:cubicBezTo>
                      <a:pt x="63" y="118"/>
                      <a:pt x="64" y="119"/>
                      <a:pt x="64" y="120"/>
                    </a:cubicBezTo>
                    <a:cubicBezTo>
                      <a:pt x="63" y="121"/>
                      <a:pt x="60" y="121"/>
                      <a:pt x="59" y="121"/>
                    </a:cubicBezTo>
                    <a:cubicBezTo>
                      <a:pt x="58" y="121"/>
                      <a:pt x="58" y="121"/>
                      <a:pt x="58" y="122"/>
                    </a:cubicBezTo>
                    <a:cubicBezTo>
                      <a:pt x="55" y="121"/>
                      <a:pt x="53" y="118"/>
                      <a:pt x="50" y="117"/>
                    </a:cubicBezTo>
                    <a:cubicBezTo>
                      <a:pt x="50" y="117"/>
                      <a:pt x="48" y="117"/>
                      <a:pt x="48" y="117"/>
                    </a:cubicBezTo>
                    <a:cubicBezTo>
                      <a:pt x="47" y="118"/>
                      <a:pt x="47" y="121"/>
                      <a:pt x="47" y="122"/>
                    </a:cubicBezTo>
                    <a:cubicBezTo>
                      <a:pt x="47" y="123"/>
                      <a:pt x="47" y="124"/>
                      <a:pt x="47" y="125"/>
                    </a:cubicBezTo>
                    <a:cubicBezTo>
                      <a:pt x="48" y="126"/>
                      <a:pt x="48" y="127"/>
                      <a:pt x="49" y="129"/>
                    </a:cubicBezTo>
                    <a:cubicBezTo>
                      <a:pt x="49" y="130"/>
                      <a:pt x="49" y="131"/>
                      <a:pt x="49" y="132"/>
                    </a:cubicBezTo>
                    <a:cubicBezTo>
                      <a:pt x="49" y="133"/>
                      <a:pt x="49" y="133"/>
                      <a:pt x="49" y="134"/>
                    </a:cubicBezTo>
                    <a:cubicBezTo>
                      <a:pt x="49" y="135"/>
                      <a:pt x="49" y="136"/>
                      <a:pt x="49" y="137"/>
                    </a:cubicBezTo>
                    <a:cubicBezTo>
                      <a:pt x="49" y="139"/>
                      <a:pt x="50" y="140"/>
                      <a:pt x="51" y="140"/>
                    </a:cubicBezTo>
                    <a:cubicBezTo>
                      <a:pt x="51" y="140"/>
                      <a:pt x="52" y="140"/>
                      <a:pt x="52" y="140"/>
                    </a:cubicBezTo>
                    <a:cubicBezTo>
                      <a:pt x="53" y="139"/>
                      <a:pt x="53" y="139"/>
                      <a:pt x="53" y="138"/>
                    </a:cubicBezTo>
                    <a:cubicBezTo>
                      <a:pt x="54" y="137"/>
                      <a:pt x="55" y="137"/>
                      <a:pt x="56" y="136"/>
                    </a:cubicBezTo>
                    <a:cubicBezTo>
                      <a:pt x="57" y="136"/>
                      <a:pt x="59" y="135"/>
                      <a:pt x="60" y="135"/>
                    </a:cubicBezTo>
                    <a:cubicBezTo>
                      <a:pt x="61" y="135"/>
                      <a:pt x="61" y="135"/>
                      <a:pt x="61" y="136"/>
                    </a:cubicBezTo>
                    <a:cubicBezTo>
                      <a:pt x="61" y="137"/>
                      <a:pt x="61" y="137"/>
                      <a:pt x="61" y="137"/>
                    </a:cubicBezTo>
                    <a:cubicBezTo>
                      <a:pt x="61" y="138"/>
                      <a:pt x="63" y="138"/>
                      <a:pt x="63" y="138"/>
                    </a:cubicBezTo>
                    <a:cubicBezTo>
                      <a:pt x="65" y="138"/>
                      <a:pt x="65" y="138"/>
                      <a:pt x="66" y="137"/>
                    </a:cubicBezTo>
                    <a:cubicBezTo>
                      <a:pt x="67" y="136"/>
                      <a:pt x="66" y="135"/>
                      <a:pt x="67" y="134"/>
                    </a:cubicBezTo>
                    <a:cubicBezTo>
                      <a:pt x="68" y="134"/>
                      <a:pt x="70" y="134"/>
                      <a:pt x="71" y="134"/>
                    </a:cubicBezTo>
                    <a:cubicBezTo>
                      <a:pt x="72" y="136"/>
                      <a:pt x="70" y="137"/>
                      <a:pt x="69" y="138"/>
                    </a:cubicBezTo>
                    <a:cubicBezTo>
                      <a:pt x="68" y="139"/>
                      <a:pt x="67" y="140"/>
                      <a:pt x="66" y="140"/>
                    </a:cubicBezTo>
                    <a:cubicBezTo>
                      <a:pt x="64" y="141"/>
                      <a:pt x="62" y="141"/>
                      <a:pt x="61" y="142"/>
                    </a:cubicBezTo>
                    <a:cubicBezTo>
                      <a:pt x="60" y="142"/>
                      <a:pt x="58" y="141"/>
                      <a:pt x="57" y="142"/>
                    </a:cubicBezTo>
                    <a:cubicBezTo>
                      <a:pt x="56" y="142"/>
                      <a:pt x="56" y="144"/>
                      <a:pt x="55" y="144"/>
                    </a:cubicBezTo>
                    <a:cubicBezTo>
                      <a:pt x="56" y="144"/>
                      <a:pt x="58" y="145"/>
                      <a:pt x="59" y="145"/>
                    </a:cubicBezTo>
                    <a:cubicBezTo>
                      <a:pt x="59" y="146"/>
                      <a:pt x="61" y="146"/>
                      <a:pt x="62" y="146"/>
                    </a:cubicBezTo>
                    <a:cubicBezTo>
                      <a:pt x="63" y="146"/>
                      <a:pt x="65" y="146"/>
                      <a:pt x="64" y="147"/>
                    </a:cubicBezTo>
                    <a:cubicBezTo>
                      <a:pt x="64" y="148"/>
                      <a:pt x="62" y="148"/>
                      <a:pt x="61" y="149"/>
                    </a:cubicBezTo>
                    <a:cubicBezTo>
                      <a:pt x="60" y="149"/>
                      <a:pt x="60" y="150"/>
                      <a:pt x="60" y="151"/>
                    </a:cubicBezTo>
                    <a:cubicBezTo>
                      <a:pt x="59" y="152"/>
                      <a:pt x="59" y="151"/>
                      <a:pt x="59" y="150"/>
                    </a:cubicBezTo>
                    <a:cubicBezTo>
                      <a:pt x="58" y="150"/>
                      <a:pt x="58" y="149"/>
                      <a:pt x="58" y="148"/>
                    </a:cubicBezTo>
                    <a:cubicBezTo>
                      <a:pt x="58" y="147"/>
                      <a:pt x="55" y="147"/>
                      <a:pt x="55" y="148"/>
                    </a:cubicBezTo>
                    <a:cubicBezTo>
                      <a:pt x="54" y="148"/>
                      <a:pt x="54" y="149"/>
                      <a:pt x="54" y="149"/>
                    </a:cubicBezTo>
                    <a:cubicBezTo>
                      <a:pt x="53" y="149"/>
                      <a:pt x="52" y="149"/>
                      <a:pt x="51" y="149"/>
                    </a:cubicBezTo>
                    <a:cubicBezTo>
                      <a:pt x="49" y="149"/>
                      <a:pt x="48" y="149"/>
                      <a:pt x="46" y="148"/>
                    </a:cubicBezTo>
                    <a:cubicBezTo>
                      <a:pt x="46" y="148"/>
                      <a:pt x="46" y="147"/>
                      <a:pt x="45" y="146"/>
                    </a:cubicBezTo>
                    <a:cubicBezTo>
                      <a:pt x="45" y="146"/>
                      <a:pt x="45" y="144"/>
                      <a:pt x="45" y="143"/>
                    </a:cubicBezTo>
                    <a:cubicBezTo>
                      <a:pt x="44" y="142"/>
                      <a:pt x="42" y="141"/>
                      <a:pt x="41" y="141"/>
                    </a:cubicBezTo>
                    <a:cubicBezTo>
                      <a:pt x="41" y="141"/>
                      <a:pt x="40" y="141"/>
                      <a:pt x="40" y="141"/>
                    </a:cubicBezTo>
                    <a:cubicBezTo>
                      <a:pt x="39" y="140"/>
                      <a:pt x="39" y="139"/>
                      <a:pt x="39" y="138"/>
                    </a:cubicBezTo>
                    <a:cubicBezTo>
                      <a:pt x="39" y="137"/>
                      <a:pt x="39" y="136"/>
                      <a:pt x="39" y="134"/>
                    </a:cubicBezTo>
                    <a:cubicBezTo>
                      <a:pt x="40" y="133"/>
                      <a:pt x="40" y="131"/>
                      <a:pt x="41" y="130"/>
                    </a:cubicBezTo>
                    <a:cubicBezTo>
                      <a:pt x="41" y="129"/>
                      <a:pt x="41" y="128"/>
                      <a:pt x="42" y="126"/>
                    </a:cubicBezTo>
                    <a:cubicBezTo>
                      <a:pt x="43" y="124"/>
                      <a:pt x="43" y="122"/>
                      <a:pt x="43" y="119"/>
                    </a:cubicBezTo>
                    <a:cubicBezTo>
                      <a:pt x="43" y="119"/>
                      <a:pt x="43" y="118"/>
                      <a:pt x="43" y="117"/>
                    </a:cubicBezTo>
                    <a:cubicBezTo>
                      <a:pt x="42" y="115"/>
                      <a:pt x="40" y="116"/>
                      <a:pt x="40" y="117"/>
                    </a:cubicBezTo>
                    <a:cubicBezTo>
                      <a:pt x="39" y="119"/>
                      <a:pt x="39" y="121"/>
                      <a:pt x="39" y="122"/>
                    </a:cubicBezTo>
                    <a:cubicBezTo>
                      <a:pt x="40" y="124"/>
                      <a:pt x="39" y="124"/>
                      <a:pt x="38" y="125"/>
                    </a:cubicBezTo>
                    <a:cubicBezTo>
                      <a:pt x="37" y="127"/>
                      <a:pt x="37" y="130"/>
                      <a:pt x="36" y="132"/>
                    </a:cubicBezTo>
                    <a:cubicBezTo>
                      <a:pt x="36" y="134"/>
                      <a:pt x="36" y="134"/>
                      <a:pt x="36" y="136"/>
                    </a:cubicBezTo>
                    <a:cubicBezTo>
                      <a:pt x="36" y="136"/>
                      <a:pt x="37" y="138"/>
                      <a:pt x="36" y="139"/>
                    </a:cubicBezTo>
                    <a:cubicBezTo>
                      <a:pt x="35" y="138"/>
                      <a:pt x="34" y="135"/>
                      <a:pt x="33" y="133"/>
                    </a:cubicBezTo>
                    <a:cubicBezTo>
                      <a:pt x="33" y="132"/>
                      <a:pt x="33" y="130"/>
                      <a:pt x="33" y="129"/>
                    </a:cubicBezTo>
                    <a:cubicBezTo>
                      <a:pt x="33" y="126"/>
                      <a:pt x="33" y="124"/>
                      <a:pt x="33" y="121"/>
                    </a:cubicBezTo>
                    <a:cubicBezTo>
                      <a:pt x="33" y="118"/>
                      <a:pt x="31" y="114"/>
                      <a:pt x="30" y="112"/>
                    </a:cubicBezTo>
                    <a:cubicBezTo>
                      <a:pt x="29" y="111"/>
                      <a:pt x="28" y="110"/>
                      <a:pt x="28" y="109"/>
                    </a:cubicBezTo>
                    <a:cubicBezTo>
                      <a:pt x="27" y="108"/>
                      <a:pt x="26" y="107"/>
                      <a:pt x="26" y="106"/>
                    </a:cubicBezTo>
                    <a:cubicBezTo>
                      <a:pt x="24" y="104"/>
                      <a:pt x="22" y="103"/>
                      <a:pt x="20" y="105"/>
                    </a:cubicBezTo>
                    <a:cubicBezTo>
                      <a:pt x="19" y="107"/>
                      <a:pt x="18" y="109"/>
                      <a:pt x="17" y="110"/>
                    </a:cubicBezTo>
                    <a:cubicBezTo>
                      <a:pt x="17" y="112"/>
                      <a:pt x="18" y="114"/>
                      <a:pt x="18" y="115"/>
                    </a:cubicBezTo>
                    <a:cubicBezTo>
                      <a:pt x="18" y="117"/>
                      <a:pt x="18" y="118"/>
                      <a:pt x="20" y="119"/>
                    </a:cubicBezTo>
                    <a:cubicBezTo>
                      <a:pt x="20" y="119"/>
                      <a:pt x="21" y="120"/>
                      <a:pt x="21" y="121"/>
                    </a:cubicBezTo>
                    <a:cubicBezTo>
                      <a:pt x="21" y="121"/>
                      <a:pt x="21" y="122"/>
                      <a:pt x="21" y="123"/>
                    </a:cubicBezTo>
                    <a:cubicBezTo>
                      <a:pt x="21" y="123"/>
                      <a:pt x="23" y="124"/>
                      <a:pt x="22" y="125"/>
                    </a:cubicBezTo>
                    <a:cubicBezTo>
                      <a:pt x="22" y="125"/>
                      <a:pt x="21" y="124"/>
                      <a:pt x="20" y="123"/>
                    </a:cubicBezTo>
                    <a:cubicBezTo>
                      <a:pt x="20" y="123"/>
                      <a:pt x="20" y="123"/>
                      <a:pt x="19" y="123"/>
                    </a:cubicBezTo>
                    <a:cubicBezTo>
                      <a:pt x="18" y="123"/>
                      <a:pt x="17" y="124"/>
                      <a:pt x="16" y="123"/>
                    </a:cubicBezTo>
                    <a:cubicBezTo>
                      <a:pt x="15" y="123"/>
                      <a:pt x="14" y="122"/>
                      <a:pt x="14" y="121"/>
                    </a:cubicBezTo>
                    <a:cubicBezTo>
                      <a:pt x="13" y="120"/>
                      <a:pt x="12" y="120"/>
                      <a:pt x="11" y="119"/>
                    </a:cubicBezTo>
                    <a:cubicBezTo>
                      <a:pt x="11" y="119"/>
                      <a:pt x="10" y="118"/>
                      <a:pt x="10" y="118"/>
                    </a:cubicBezTo>
                    <a:cubicBezTo>
                      <a:pt x="9" y="117"/>
                      <a:pt x="9" y="117"/>
                      <a:pt x="9" y="116"/>
                    </a:cubicBezTo>
                    <a:cubicBezTo>
                      <a:pt x="8" y="115"/>
                      <a:pt x="8" y="113"/>
                      <a:pt x="7" y="113"/>
                    </a:cubicBezTo>
                    <a:cubicBezTo>
                      <a:pt x="6" y="114"/>
                      <a:pt x="6" y="116"/>
                      <a:pt x="6" y="117"/>
                    </a:cubicBezTo>
                    <a:cubicBezTo>
                      <a:pt x="7" y="118"/>
                      <a:pt x="7" y="119"/>
                      <a:pt x="8" y="120"/>
                    </a:cubicBezTo>
                    <a:cubicBezTo>
                      <a:pt x="8" y="121"/>
                      <a:pt x="7" y="123"/>
                      <a:pt x="8" y="123"/>
                    </a:cubicBezTo>
                    <a:cubicBezTo>
                      <a:pt x="8" y="123"/>
                      <a:pt x="8" y="123"/>
                      <a:pt x="8" y="123"/>
                    </a:cubicBezTo>
                    <a:cubicBezTo>
                      <a:pt x="7" y="124"/>
                      <a:pt x="8" y="126"/>
                      <a:pt x="8" y="127"/>
                    </a:cubicBezTo>
                    <a:cubicBezTo>
                      <a:pt x="8" y="127"/>
                      <a:pt x="8" y="128"/>
                      <a:pt x="8" y="129"/>
                    </a:cubicBezTo>
                    <a:cubicBezTo>
                      <a:pt x="8" y="129"/>
                      <a:pt x="9" y="130"/>
                      <a:pt x="8" y="131"/>
                    </a:cubicBezTo>
                    <a:cubicBezTo>
                      <a:pt x="7" y="132"/>
                      <a:pt x="5" y="128"/>
                      <a:pt x="4" y="127"/>
                    </a:cubicBezTo>
                    <a:cubicBezTo>
                      <a:pt x="4" y="126"/>
                      <a:pt x="3" y="123"/>
                      <a:pt x="1" y="123"/>
                    </a:cubicBezTo>
                    <a:cubicBezTo>
                      <a:pt x="1" y="124"/>
                      <a:pt x="1" y="124"/>
                      <a:pt x="1" y="125"/>
                    </a:cubicBezTo>
                    <a:cubicBezTo>
                      <a:pt x="1" y="125"/>
                      <a:pt x="0" y="126"/>
                      <a:pt x="0" y="126"/>
                    </a:cubicBezTo>
                    <a:cubicBezTo>
                      <a:pt x="0" y="129"/>
                      <a:pt x="0" y="131"/>
                      <a:pt x="0" y="133"/>
                    </a:cubicBezTo>
                    <a:cubicBezTo>
                      <a:pt x="0" y="135"/>
                      <a:pt x="0" y="136"/>
                      <a:pt x="2" y="137"/>
                    </a:cubicBezTo>
                    <a:cubicBezTo>
                      <a:pt x="2" y="138"/>
                      <a:pt x="3" y="139"/>
                      <a:pt x="4" y="139"/>
                    </a:cubicBezTo>
                    <a:cubicBezTo>
                      <a:pt x="5" y="140"/>
                      <a:pt x="6" y="140"/>
                      <a:pt x="7" y="140"/>
                    </a:cubicBezTo>
                    <a:cubicBezTo>
                      <a:pt x="8" y="140"/>
                      <a:pt x="8" y="140"/>
                      <a:pt x="9" y="139"/>
                    </a:cubicBezTo>
                    <a:cubicBezTo>
                      <a:pt x="9" y="138"/>
                      <a:pt x="10" y="136"/>
                      <a:pt x="12" y="136"/>
                    </a:cubicBezTo>
                    <a:cubicBezTo>
                      <a:pt x="13" y="136"/>
                      <a:pt x="15" y="137"/>
                      <a:pt x="16" y="138"/>
                    </a:cubicBezTo>
                    <a:cubicBezTo>
                      <a:pt x="16" y="138"/>
                      <a:pt x="16" y="139"/>
                      <a:pt x="16" y="139"/>
                    </a:cubicBezTo>
                    <a:cubicBezTo>
                      <a:pt x="17" y="139"/>
                      <a:pt x="17" y="139"/>
                      <a:pt x="18" y="140"/>
                    </a:cubicBezTo>
                    <a:cubicBezTo>
                      <a:pt x="19" y="141"/>
                      <a:pt x="21" y="142"/>
                      <a:pt x="22" y="144"/>
                    </a:cubicBezTo>
                    <a:cubicBezTo>
                      <a:pt x="20" y="144"/>
                      <a:pt x="19" y="143"/>
                      <a:pt x="17" y="143"/>
                    </a:cubicBezTo>
                    <a:cubicBezTo>
                      <a:pt x="17" y="143"/>
                      <a:pt x="14" y="141"/>
                      <a:pt x="13" y="141"/>
                    </a:cubicBezTo>
                    <a:cubicBezTo>
                      <a:pt x="12" y="141"/>
                      <a:pt x="12" y="143"/>
                      <a:pt x="12" y="144"/>
                    </a:cubicBezTo>
                    <a:cubicBezTo>
                      <a:pt x="11" y="148"/>
                      <a:pt x="14" y="150"/>
                      <a:pt x="17" y="153"/>
                    </a:cubicBezTo>
                    <a:cubicBezTo>
                      <a:pt x="18" y="154"/>
                      <a:pt x="19" y="155"/>
                      <a:pt x="20" y="156"/>
                    </a:cubicBezTo>
                    <a:cubicBezTo>
                      <a:pt x="20" y="157"/>
                      <a:pt x="21" y="157"/>
                      <a:pt x="21" y="158"/>
                    </a:cubicBezTo>
                    <a:cubicBezTo>
                      <a:pt x="22" y="159"/>
                      <a:pt x="23" y="160"/>
                      <a:pt x="26" y="160"/>
                    </a:cubicBezTo>
                    <a:cubicBezTo>
                      <a:pt x="27" y="160"/>
                      <a:pt x="27" y="160"/>
                      <a:pt x="28" y="159"/>
                    </a:cubicBezTo>
                    <a:cubicBezTo>
                      <a:pt x="28" y="159"/>
                      <a:pt x="29" y="159"/>
                      <a:pt x="30" y="159"/>
                    </a:cubicBezTo>
                    <a:cubicBezTo>
                      <a:pt x="30" y="159"/>
                      <a:pt x="30" y="158"/>
                      <a:pt x="31" y="158"/>
                    </a:cubicBezTo>
                    <a:cubicBezTo>
                      <a:pt x="32" y="158"/>
                      <a:pt x="32" y="158"/>
                      <a:pt x="33" y="159"/>
                    </a:cubicBezTo>
                    <a:cubicBezTo>
                      <a:pt x="33" y="159"/>
                      <a:pt x="33" y="160"/>
                      <a:pt x="33" y="160"/>
                    </a:cubicBezTo>
                    <a:cubicBezTo>
                      <a:pt x="34" y="160"/>
                      <a:pt x="35" y="160"/>
                      <a:pt x="36" y="160"/>
                    </a:cubicBezTo>
                    <a:cubicBezTo>
                      <a:pt x="37" y="159"/>
                      <a:pt x="40" y="158"/>
                      <a:pt x="42" y="159"/>
                    </a:cubicBezTo>
                    <a:cubicBezTo>
                      <a:pt x="44" y="160"/>
                      <a:pt x="38" y="165"/>
                      <a:pt x="38" y="167"/>
                    </a:cubicBezTo>
                    <a:cubicBezTo>
                      <a:pt x="38" y="168"/>
                      <a:pt x="38" y="169"/>
                      <a:pt x="39" y="170"/>
                    </a:cubicBezTo>
                    <a:cubicBezTo>
                      <a:pt x="40" y="170"/>
                      <a:pt x="40" y="171"/>
                      <a:pt x="41" y="171"/>
                    </a:cubicBezTo>
                    <a:cubicBezTo>
                      <a:pt x="42" y="172"/>
                      <a:pt x="43" y="171"/>
                      <a:pt x="44" y="171"/>
                    </a:cubicBezTo>
                    <a:cubicBezTo>
                      <a:pt x="46" y="170"/>
                      <a:pt x="47" y="169"/>
                      <a:pt x="48" y="168"/>
                    </a:cubicBezTo>
                    <a:cubicBezTo>
                      <a:pt x="50" y="167"/>
                      <a:pt x="49" y="166"/>
                      <a:pt x="50" y="164"/>
                    </a:cubicBezTo>
                    <a:cubicBezTo>
                      <a:pt x="50" y="163"/>
                      <a:pt x="51" y="161"/>
                      <a:pt x="52" y="160"/>
                    </a:cubicBezTo>
                    <a:cubicBezTo>
                      <a:pt x="53" y="159"/>
                      <a:pt x="53" y="159"/>
                      <a:pt x="54" y="158"/>
                    </a:cubicBezTo>
                    <a:cubicBezTo>
                      <a:pt x="54" y="158"/>
                      <a:pt x="55" y="157"/>
                      <a:pt x="55" y="156"/>
                    </a:cubicBezTo>
                    <a:cubicBezTo>
                      <a:pt x="56" y="155"/>
                      <a:pt x="58" y="154"/>
                      <a:pt x="59" y="154"/>
                    </a:cubicBezTo>
                    <a:cubicBezTo>
                      <a:pt x="59" y="154"/>
                      <a:pt x="59" y="154"/>
                      <a:pt x="59" y="154"/>
                    </a:cubicBezTo>
                    <a:cubicBezTo>
                      <a:pt x="60" y="156"/>
                      <a:pt x="56" y="157"/>
                      <a:pt x="58" y="159"/>
                    </a:cubicBezTo>
                    <a:cubicBezTo>
                      <a:pt x="59" y="159"/>
                      <a:pt x="60" y="159"/>
                      <a:pt x="60" y="160"/>
                    </a:cubicBezTo>
                    <a:cubicBezTo>
                      <a:pt x="61" y="160"/>
                      <a:pt x="61" y="161"/>
                      <a:pt x="62" y="162"/>
                    </a:cubicBezTo>
                    <a:cubicBezTo>
                      <a:pt x="63" y="163"/>
                      <a:pt x="64" y="163"/>
                      <a:pt x="66" y="163"/>
                    </a:cubicBezTo>
                    <a:cubicBezTo>
                      <a:pt x="67" y="163"/>
                      <a:pt x="67" y="163"/>
                      <a:pt x="68" y="164"/>
                    </a:cubicBezTo>
                    <a:cubicBezTo>
                      <a:pt x="69" y="166"/>
                      <a:pt x="66" y="165"/>
                      <a:pt x="65" y="165"/>
                    </a:cubicBezTo>
                    <a:cubicBezTo>
                      <a:pt x="64" y="165"/>
                      <a:pt x="64" y="165"/>
                      <a:pt x="64" y="164"/>
                    </a:cubicBezTo>
                    <a:cubicBezTo>
                      <a:pt x="62" y="164"/>
                      <a:pt x="62" y="163"/>
                      <a:pt x="60" y="163"/>
                    </a:cubicBezTo>
                    <a:cubicBezTo>
                      <a:pt x="60" y="163"/>
                      <a:pt x="59" y="163"/>
                      <a:pt x="59" y="163"/>
                    </a:cubicBezTo>
                    <a:cubicBezTo>
                      <a:pt x="58" y="163"/>
                      <a:pt x="57" y="162"/>
                      <a:pt x="56" y="162"/>
                    </a:cubicBezTo>
                    <a:cubicBezTo>
                      <a:pt x="56" y="163"/>
                      <a:pt x="55" y="164"/>
                      <a:pt x="55" y="165"/>
                    </a:cubicBezTo>
                    <a:cubicBezTo>
                      <a:pt x="54" y="166"/>
                      <a:pt x="54" y="167"/>
                      <a:pt x="54" y="168"/>
                    </a:cubicBezTo>
                    <a:cubicBezTo>
                      <a:pt x="54" y="171"/>
                      <a:pt x="57" y="171"/>
                      <a:pt x="59" y="172"/>
                    </a:cubicBezTo>
                    <a:cubicBezTo>
                      <a:pt x="59" y="173"/>
                      <a:pt x="60" y="173"/>
                      <a:pt x="60" y="174"/>
                    </a:cubicBezTo>
                    <a:cubicBezTo>
                      <a:pt x="61" y="174"/>
                      <a:pt x="61" y="175"/>
                      <a:pt x="61" y="175"/>
                    </a:cubicBezTo>
                    <a:cubicBezTo>
                      <a:pt x="60" y="175"/>
                      <a:pt x="59" y="175"/>
                      <a:pt x="58" y="175"/>
                    </a:cubicBezTo>
                    <a:cubicBezTo>
                      <a:pt x="57" y="174"/>
                      <a:pt x="57" y="173"/>
                      <a:pt x="55" y="173"/>
                    </a:cubicBezTo>
                    <a:cubicBezTo>
                      <a:pt x="53" y="173"/>
                      <a:pt x="51" y="174"/>
                      <a:pt x="49" y="174"/>
                    </a:cubicBezTo>
                    <a:cubicBezTo>
                      <a:pt x="49" y="175"/>
                      <a:pt x="48" y="175"/>
                      <a:pt x="48" y="176"/>
                    </a:cubicBezTo>
                    <a:cubicBezTo>
                      <a:pt x="47" y="177"/>
                      <a:pt x="48" y="177"/>
                      <a:pt x="49" y="178"/>
                    </a:cubicBezTo>
                    <a:cubicBezTo>
                      <a:pt x="50" y="178"/>
                      <a:pt x="52" y="179"/>
                      <a:pt x="50" y="180"/>
                    </a:cubicBezTo>
                    <a:cubicBezTo>
                      <a:pt x="50" y="180"/>
                      <a:pt x="49" y="179"/>
                      <a:pt x="49" y="180"/>
                    </a:cubicBezTo>
                    <a:cubicBezTo>
                      <a:pt x="49" y="180"/>
                      <a:pt x="49" y="180"/>
                      <a:pt x="49" y="181"/>
                    </a:cubicBezTo>
                    <a:cubicBezTo>
                      <a:pt x="48" y="181"/>
                      <a:pt x="48" y="181"/>
                      <a:pt x="48" y="182"/>
                    </a:cubicBezTo>
                    <a:cubicBezTo>
                      <a:pt x="48" y="182"/>
                      <a:pt x="48" y="182"/>
                      <a:pt x="48" y="183"/>
                    </a:cubicBezTo>
                    <a:cubicBezTo>
                      <a:pt x="48" y="184"/>
                      <a:pt x="47" y="183"/>
                      <a:pt x="46" y="183"/>
                    </a:cubicBezTo>
                    <a:cubicBezTo>
                      <a:pt x="45" y="184"/>
                      <a:pt x="43" y="186"/>
                      <a:pt x="44" y="187"/>
                    </a:cubicBezTo>
                    <a:cubicBezTo>
                      <a:pt x="45" y="188"/>
                      <a:pt x="47" y="186"/>
                      <a:pt x="47" y="186"/>
                    </a:cubicBezTo>
                    <a:cubicBezTo>
                      <a:pt x="48" y="186"/>
                      <a:pt x="50" y="185"/>
                      <a:pt x="51" y="185"/>
                    </a:cubicBezTo>
                    <a:cubicBezTo>
                      <a:pt x="53" y="186"/>
                      <a:pt x="54" y="188"/>
                      <a:pt x="54" y="189"/>
                    </a:cubicBezTo>
                    <a:cubicBezTo>
                      <a:pt x="52" y="190"/>
                      <a:pt x="49" y="189"/>
                      <a:pt x="48" y="190"/>
                    </a:cubicBezTo>
                    <a:cubicBezTo>
                      <a:pt x="47" y="191"/>
                      <a:pt x="47" y="192"/>
                      <a:pt x="47" y="192"/>
                    </a:cubicBezTo>
                    <a:cubicBezTo>
                      <a:pt x="46" y="194"/>
                      <a:pt x="47" y="195"/>
                      <a:pt x="46" y="196"/>
                    </a:cubicBezTo>
                    <a:cubicBezTo>
                      <a:pt x="45" y="196"/>
                      <a:pt x="44" y="197"/>
                      <a:pt x="44" y="198"/>
                    </a:cubicBezTo>
                    <a:cubicBezTo>
                      <a:pt x="44" y="198"/>
                      <a:pt x="44" y="196"/>
                      <a:pt x="43" y="196"/>
                    </a:cubicBezTo>
                    <a:cubicBezTo>
                      <a:pt x="42" y="196"/>
                      <a:pt x="42" y="197"/>
                      <a:pt x="41" y="197"/>
                    </a:cubicBezTo>
                    <a:cubicBezTo>
                      <a:pt x="40" y="197"/>
                      <a:pt x="39" y="197"/>
                      <a:pt x="39" y="197"/>
                    </a:cubicBezTo>
                    <a:cubicBezTo>
                      <a:pt x="38" y="198"/>
                      <a:pt x="38" y="198"/>
                      <a:pt x="38" y="198"/>
                    </a:cubicBezTo>
                    <a:cubicBezTo>
                      <a:pt x="37" y="198"/>
                      <a:pt x="35" y="198"/>
                      <a:pt x="34" y="198"/>
                    </a:cubicBezTo>
                    <a:cubicBezTo>
                      <a:pt x="33" y="198"/>
                      <a:pt x="33" y="198"/>
                      <a:pt x="32" y="198"/>
                    </a:cubicBezTo>
                    <a:cubicBezTo>
                      <a:pt x="30" y="197"/>
                      <a:pt x="28" y="200"/>
                      <a:pt x="26" y="201"/>
                    </a:cubicBezTo>
                    <a:cubicBezTo>
                      <a:pt x="24" y="203"/>
                      <a:pt x="24" y="203"/>
                      <a:pt x="26" y="204"/>
                    </a:cubicBezTo>
                    <a:cubicBezTo>
                      <a:pt x="28" y="204"/>
                      <a:pt x="30" y="204"/>
                      <a:pt x="32" y="205"/>
                    </a:cubicBezTo>
                    <a:cubicBezTo>
                      <a:pt x="32" y="207"/>
                      <a:pt x="35" y="205"/>
                      <a:pt x="36" y="205"/>
                    </a:cubicBezTo>
                    <a:cubicBezTo>
                      <a:pt x="36" y="207"/>
                      <a:pt x="39" y="207"/>
                      <a:pt x="40" y="207"/>
                    </a:cubicBezTo>
                    <a:cubicBezTo>
                      <a:pt x="42" y="207"/>
                      <a:pt x="44" y="207"/>
                      <a:pt x="45" y="207"/>
                    </a:cubicBezTo>
                    <a:cubicBezTo>
                      <a:pt x="46" y="206"/>
                      <a:pt x="46" y="206"/>
                      <a:pt x="47" y="206"/>
                    </a:cubicBezTo>
                    <a:cubicBezTo>
                      <a:pt x="49" y="207"/>
                      <a:pt x="51" y="206"/>
                      <a:pt x="52" y="206"/>
                    </a:cubicBezTo>
                    <a:cubicBezTo>
                      <a:pt x="55" y="206"/>
                      <a:pt x="57" y="207"/>
                      <a:pt x="59" y="207"/>
                    </a:cubicBezTo>
                    <a:cubicBezTo>
                      <a:pt x="58" y="209"/>
                      <a:pt x="52" y="208"/>
                      <a:pt x="50" y="208"/>
                    </a:cubicBezTo>
                    <a:cubicBezTo>
                      <a:pt x="49" y="208"/>
                      <a:pt x="48" y="207"/>
                      <a:pt x="46" y="207"/>
                    </a:cubicBezTo>
                    <a:cubicBezTo>
                      <a:pt x="45" y="208"/>
                      <a:pt x="44" y="209"/>
                      <a:pt x="43" y="209"/>
                    </a:cubicBezTo>
                    <a:cubicBezTo>
                      <a:pt x="43" y="210"/>
                      <a:pt x="42" y="210"/>
                      <a:pt x="42" y="210"/>
                    </a:cubicBezTo>
                    <a:cubicBezTo>
                      <a:pt x="41" y="211"/>
                      <a:pt x="40" y="210"/>
                      <a:pt x="39" y="210"/>
                    </a:cubicBezTo>
                    <a:cubicBezTo>
                      <a:pt x="38" y="211"/>
                      <a:pt x="38" y="213"/>
                      <a:pt x="39" y="213"/>
                    </a:cubicBezTo>
                    <a:cubicBezTo>
                      <a:pt x="40" y="214"/>
                      <a:pt x="40" y="214"/>
                      <a:pt x="41" y="214"/>
                    </a:cubicBezTo>
                    <a:cubicBezTo>
                      <a:pt x="42" y="215"/>
                      <a:pt x="42" y="214"/>
                      <a:pt x="42" y="216"/>
                    </a:cubicBezTo>
                    <a:cubicBezTo>
                      <a:pt x="42" y="216"/>
                      <a:pt x="42" y="217"/>
                      <a:pt x="43" y="217"/>
                    </a:cubicBezTo>
                    <a:cubicBezTo>
                      <a:pt x="44" y="218"/>
                      <a:pt x="44" y="218"/>
                      <a:pt x="45" y="218"/>
                    </a:cubicBezTo>
                    <a:cubicBezTo>
                      <a:pt x="46" y="218"/>
                      <a:pt x="47" y="219"/>
                      <a:pt x="48" y="219"/>
                    </a:cubicBezTo>
                    <a:cubicBezTo>
                      <a:pt x="49" y="220"/>
                      <a:pt x="50" y="220"/>
                      <a:pt x="50" y="220"/>
                    </a:cubicBezTo>
                    <a:cubicBezTo>
                      <a:pt x="51" y="220"/>
                      <a:pt x="52" y="221"/>
                      <a:pt x="52" y="220"/>
                    </a:cubicBezTo>
                    <a:cubicBezTo>
                      <a:pt x="54" y="221"/>
                      <a:pt x="54" y="222"/>
                      <a:pt x="56" y="222"/>
                    </a:cubicBezTo>
                    <a:cubicBezTo>
                      <a:pt x="57" y="222"/>
                      <a:pt x="58" y="222"/>
                      <a:pt x="58" y="223"/>
                    </a:cubicBezTo>
                    <a:cubicBezTo>
                      <a:pt x="59" y="224"/>
                      <a:pt x="59" y="225"/>
                      <a:pt x="57" y="225"/>
                    </a:cubicBezTo>
                    <a:cubicBezTo>
                      <a:pt x="57" y="225"/>
                      <a:pt x="56" y="225"/>
                      <a:pt x="55" y="224"/>
                    </a:cubicBezTo>
                    <a:cubicBezTo>
                      <a:pt x="54" y="224"/>
                      <a:pt x="54" y="224"/>
                      <a:pt x="53" y="223"/>
                    </a:cubicBezTo>
                    <a:cubicBezTo>
                      <a:pt x="52" y="222"/>
                      <a:pt x="50" y="222"/>
                      <a:pt x="49" y="221"/>
                    </a:cubicBezTo>
                    <a:cubicBezTo>
                      <a:pt x="47" y="220"/>
                      <a:pt x="46" y="220"/>
                      <a:pt x="44" y="219"/>
                    </a:cubicBezTo>
                    <a:cubicBezTo>
                      <a:pt x="43" y="218"/>
                      <a:pt x="43" y="218"/>
                      <a:pt x="42" y="218"/>
                    </a:cubicBezTo>
                    <a:cubicBezTo>
                      <a:pt x="41" y="217"/>
                      <a:pt x="41" y="217"/>
                      <a:pt x="41" y="217"/>
                    </a:cubicBezTo>
                    <a:cubicBezTo>
                      <a:pt x="41" y="217"/>
                      <a:pt x="41" y="216"/>
                      <a:pt x="40" y="215"/>
                    </a:cubicBezTo>
                    <a:cubicBezTo>
                      <a:pt x="39" y="214"/>
                      <a:pt x="38" y="214"/>
                      <a:pt x="38" y="213"/>
                    </a:cubicBezTo>
                    <a:cubicBezTo>
                      <a:pt x="37" y="212"/>
                      <a:pt x="37" y="211"/>
                      <a:pt x="36" y="211"/>
                    </a:cubicBezTo>
                    <a:cubicBezTo>
                      <a:pt x="35" y="210"/>
                      <a:pt x="34" y="210"/>
                      <a:pt x="33" y="210"/>
                    </a:cubicBezTo>
                    <a:cubicBezTo>
                      <a:pt x="30" y="209"/>
                      <a:pt x="28" y="212"/>
                      <a:pt x="26" y="213"/>
                    </a:cubicBezTo>
                    <a:cubicBezTo>
                      <a:pt x="25" y="214"/>
                      <a:pt x="24" y="215"/>
                      <a:pt x="23" y="216"/>
                    </a:cubicBezTo>
                    <a:cubicBezTo>
                      <a:pt x="23" y="216"/>
                      <a:pt x="22" y="218"/>
                      <a:pt x="23" y="219"/>
                    </a:cubicBezTo>
                    <a:cubicBezTo>
                      <a:pt x="23" y="220"/>
                      <a:pt x="25" y="221"/>
                      <a:pt x="26" y="221"/>
                    </a:cubicBezTo>
                    <a:cubicBezTo>
                      <a:pt x="27" y="222"/>
                      <a:pt x="29" y="221"/>
                      <a:pt x="30" y="222"/>
                    </a:cubicBezTo>
                    <a:cubicBezTo>
                      <a:pt x="31" y="222"/>
                      <a:pt x="30" y="223"/>
                      <a:pt x="31" y="222"/>
                    </a:cubicBezTo>
                    <a:cubicBezTo>
                      <a:pt x="31" y="223"/>
                      <a:pt x="31" y="225"/>
                      <a:pt x="30" y="225"/>
                    </a:cubicBezTo>
                    <a:cubicBezTo>
                      <a:pt x="30" y="225"/>
                      <a:pt x="28" y="225"/>
                      <a:pt x="27" y="225"/>
                    </a:cubicBezTo>
                    <a:cubicBezTo>
                      <a:pt x="25" y="225"/>
                      <a:pt x="22" y="225"/>
                      <a:pt x="22" y="228"/>
                    </a:cubicBezTo>
                    <a:cubicBezTo>
                      <a:pt x="23" y="228"/>
                      <a:pt x="25" y="228"/>
                      <a:pt x="26" y="228"/>
                    </a:cubicBezTo>
                    <a:cubicBezTo>
                      <a:pt x="26" y="228"/>
                      <a:pt x="26" y="228"/>
                      <a:pt x="27" y="229"/>
                    </a:cubicBezTo>
                    <a:cubicBezTo>
                      <a:pt x="27" y="229"/>
                      <a:pt x="28" y="229"/>
                      <a:pt x="28" y="229"/>
                    </a:cubicBezTo>
                    <a:cubicBezTo>
                      <a:pt x="29" y="229"/>
                      <a:pt x="30" y="229"/>
                      <a:pt x="31" y="229"/>
                    </a:cubicBezTo>
                    <a:cubicBezTo>
                      <a:pt x="33" y="228"/>
                      <a:pt x="34" y="227"/>
                      <a:pt x="35" y="226"/>
                    </a:cubicBezTo>
                    <a:cubicBezTo>
                      <a:pt x="36" y="226"/>
                      <a:pt x="39" y="225"/>
                      <a:pt x="39" y="226"/>
                    </a:cubicBezTo>
                    <a:cubicBezTo>
                      <a:pt x="40" y="229"/>
                      <a:pt x="35" y="231"/>
                      <a:pt x="33" y="232"/>
                    </a:cubicBezTo>
                    <a:cubicBezTo>
                      <a:pt x="32" y="233"/>
                      <a:pt x="26" y="237"/>
                      <a:pt x="30" y="238"/>
                    </a:cubicBezTo>
                    <a:cubicBezTo>
                      <a:pt x="31" y="238"/>
                      <a:pt x="34" y="238"/>
                      <a:pt x="36" y="238"/>
                    </a:cubicBezTo>
                    <a:cubicBezTo>
                      <a:pt x="38" y="238"/>
                      <a:pt x="39" y="236"/>
                      <a:pt x="41" y="236"/>
                    </a:cubicBezTo>
                    <a:cubicBezTo>
                      <a:pt x="42" y="240"/>
                      <a:pt x="35" y="240"/>
                      <a:pt x="33" y="240"/>
                    </a:cubicBezTo>
                    <a:cubicBezTo>
                      <a:pt x="30" y="240"/>
                      <a:pt x="26" y="240"/>
                      <a:pt x="23" y="239"/>
                    </a:cubicBezTo>
                    <a:cubicBezTo>
                      <a:pt x="22" y="239"/>
                      <a:pt x="20" y="239"/>
                      <a:pt x="18" y="239"/>
                    </a:cubicBezTo>
                    <a:cubicBezTo>
                      <a:pt x="17" y="240"/>
                      <a:pt x="17" y="242"/>
                      <a:pt x="18" y="243"/>
                    </a:cubicBezTo>
                    <a:cubicBezTo>
                      <a:pt x="22" y="245"/>
                      <a:pt x="25" y="247"/>
                      <a:pt x="29" y="247"/>
                    </a:cubicBezTo>
                    <a:cubicBezTo>
                      <a:pt x="30" y="247"/>
                      <a:pt x="32" y="247"/>
                      <a:pt x="34" y="247"/>
                    </a:cubicBezTo>
                    <a:cubicBezTo>
                      <a:pt x="34" y="247"/>
                      <a:pt x="35" y="246"/>
                      <a:pt x="35" y="246"/>
                    </a:cubicBezTo>
                    <a:cubicBezTo>
                      <a:pt x="37" y="245"/>
                      <a:pt x="39" y="245"/>
                      <a:pt x="40" y="244"/>
                    </a:cubicBezTo>
                    <a:cubicBezTo>
                      <a:pt x="43" y="243"/>
                      <a:pt x="47" y="244"/>
                      <a:pt x="50" y="243"/>
                    </a:cubicBezTo>
                    <a:cubicBezTo>
                      <a:pt x="51" y="242"/>
                      <a:pt x="53" y="241"/>
                      <a:pt x="54" y="241"/>
                    </a:cubicBezTo>
                    <a:cubicBezTo>
                      <a:pt x="56" y="240"/>
                      <a:pt x="58" y="239"/>
                      <a:pt x="59" y="236"/>
                    </a:cubicBezTo>
                    <a:cubicBezTo>
                      <a:pt x="59" y="234"/>
                      <a:pt x="58" y="233"/>
                      <a:pt x="58" y="231"/>
                    </a:cubicBezTo>
                    <a:cubicBezTo>
                      <a:pt x="58" y="230"/>
                      <a:pt x="58" y="228"/>
                      <a:pt x="57" y="228"/>
                    </a:cubicBezTo>
                    <a:cubicBezTo>
                      <a:pt x="57" y="228"/>
                      <a:pt x="56" y="227"/>
                      <a:pt x="56" y="227"/>
                    </a:cubicBezTo>
                    <a:cubicBezTo>
                      <a:pt x="57" y="227"/>
                      <a:pt x="57" y="227"/>
                      <a:pt x="58" y="226"/>
                    </a:cubicBezTo>
                    <a:cubicBezTo>
                      <a:pt x="58" y="226"/>
                      <a:pt x="60" y="226"/>
                      <a:pt x="60" y="226"/>
                    </a:cubicBezTo>
                    <a:cubicBezTo>
                      <a:pt x="60" y="226"/>
                      <a:pt x="61" y="225"/>
                      <a:pt x="61" y="225"/>
                    </a:cubicBezTo>
                    <a:cubicBezTo>
                      <a:pt x="62" y="224"/>
                      <a:pt x="62" y="223"/>
                      <a:pt x="62" y="223"/>
                    </a:cubicBezTo>
                    <a:cubicBezTo>
                      <a:pt x="62" y="222"/>
                      <a:pt x="62" y="222"/>
                      <a:pt x="63" y="221"/>
                    </a:cubicBezTo>
                    <a:cubicBezTo>
                      <a:pt x="64" y="221"/>
                      <a:pt x="64" y="220"/>
                      <a:pt x="64" y="220"/>
                    </a:cubicBezTo>
                    <a:cubicBezTo>
                      <a:pt x="65" y="219"/>
                      <a:pt x="66" y="219"/>
                      <a:pt x="67" y="218"/>
                    </a:cubicBezTo>
                    <a:cubicBezTo>
                      <a:pt x="67" y="217"/>
                      <a:pt x="67" y="215"/>
                      <a:pt x="68" y="214"/>
                    </a:cubicBezTo>
                    <a:cubicBezTo>
                      <a:pt x="69" y="213"/>
                      <a:pt x="70" y="213"/>
                      <a:pt x="71" y="212"/>
                    </a:cubicBezTo>
                    <a:cubicBezTo>
                      <a:pt x="71" y="211"/>
                      <a:pt x="72" y="211"/>
                      <a:pt x="72" y="210"/>
                    </a:cubicBezTo>
                    <a:cubicBezTo>
                      <a:pt x="72" y="210"/>
                      <a:pt x="73" y="209"/>
                      <a:pt x="73" y="209"/>
                    </a:cubicBezTo>
                    <a:cubicBezTo>
                      <a:pt x="73" y="209"/>
                      <a:pt x="73" y="209"/>
                      <a:pt x="74" y="208"/>
                    </a:cubicBezTo>
                    <a:cubicBezTo>
                      <a:pt x="74" y="208"/>
                      <a:pt x="74" y="208"/>
                      <a:pt x="74" y="208"/>
                    </a:cubicBezTo>
                    <a:cubicBezTo>
                      <a:pt x="75" y="207"/>
                      <a:pt x="76" y="207"/>
                      <a:pt x="76" y="206"/>
                    </a:cubicBezTo>
                    <a:cubicBezTo>
                      <a:pt x="78" y="204"/>
                      <a:pt x="84" y="196"/>
                      <a:pt x="85" y="195"/>
                    </a:cubicBezTo>
                    <a:cubicBezTo>
                      <a:pt x="85" y="194"/>
                      <a:pt x="86" y="193"/>
                      <a:pt x="86" y="193"/>
                    </a:cubicBezTo>
                    <a:cubicBezTo>
                      <a:pt x="86" y="193"/>
                      <a:pt x="87" y="193"/>
                      <a:pt x="87" y="192"/>
                    </a:cubicBezTo>
                    <a:cubicBezTo>
                      <a:pt x="87" y="192"/>
                      <a:pt x="87" y="191"/>
                      <a:pt x="87" y="191"/>
                    </a:cubicBezTo>
                    <a:cubicBezTo>
                      <a:pt x="88" y="189"/>
                      <a:pt x="98" y="179"/>
                      <a:pt x="99" y="177"/>
                    </a:cubicBezTo>
                    <a:cubicBezTo>
                      <a:pt x="99" y="176"/>
                      <a:pt x="100" y="176"/>
                      <a:pt x="100" y="175"/>
                    </a:cubicBezTo>
                    <a:cubicBezTo>
                      <a:pt x="101" y="174"/>
                      <a:pt x="102" y="172"/>
                      <a:pt x="101" y="175"/>
                    </a:cubicBezTo>
                    <a:cubicBezTo>
                      <a:pt x="100" y="177"/>
                      <a:pt x="92" y="189"/>
                      <a:pt x="92" y="189"/>
                    </a:cubicBezTo>
                    <a:cubicBezTo>
                      <a:pt x="90" y="190"/>
                      <a:pt x="90" y="191"/>
                      <a:pt x="89" y="192"/>
                    </a:cubicBezTo>
                    <a:cubicBezTo>
                      <a:pt x="86" y="195"/>
                      <a:pt x="85" y="198"/>
                      <a:pt x="82" y="202"/>
                    </a:cubicBezTo>
                    <a:cubicBezTo>
                      <a:pt x="81" y="203"/>
                      <a:pt x="81" y="204"/>
                      <a:pt x="79" y="206"/>
                    </a:cubicBezTo>
                    <a:cubicBezTo>
                      <a:pt x="78" y="208"/>
                      <a:pt x="76" y="209"/>
                      <a:pt x="75" y="211"/>
                    </a:cubicBezTo>
                    <a:cubicBezTo>
                      <a:pt x="72" y="214"/>
                      <a:pt x="72" y="218"/>
                      <a:pt x="70" y="222"/>
                    </a:cubicBezTo>
                    <a:cubicBezTo>
                      <a:pt x="70" y="223"/>
                      <a:pt x="69" y="222"/>
                      <a:pt x="69" y="223"/>
                    </a:cubicBezTo>
                    <a:cubicBezTo>
                      <a:pt x="68" y="224"/>
                      <a:pt x="69" y="226"/>
                      <a:pt x="68" y="226"/>
                    </a:cubicBezTo>
                    <a:cubicBezTo>
                      <a:pt x="68" y="227"/>
                      <a:pt x="68" y="229"/>
                      <a:pt x="68" y="230"/>
                    </a:cubicBezTo>
                    <a:cubicBezTo>
                      <a:pt x="70" y="229"/>
                      <a:pt x="73" y="229"/>
                      <a:pt x="75" y="229"/>
                    </a:cubicBezTo>
                    <a:cubicBezTo>
                      <a:pt x="68" y="231"/>
                      <a:pt x="68" y="231"/>
                      <a:pt x="68" y="231"/>
                    </a:cubicBezTo>
                    <a:cubicBezTo>
                      <a:pt x="68" y="231"/>
                      <a:pt x="68" y="232"/>
                      <a:pt x="68" y="232"/>
                    </a:cubicBezTo>
                    <a:cubicBezTo>
                      <a:pt x="67" y="232"/>
                      <a:pt x="67" y="232"/>
                      <a:pt x="66" y="232"/>
                    </a:cubicBezTo>
                    <a:cubicBezTo>
                      <a:pt x="68" y="231"/>
                      <a:pt x="68" y="231"/>
                      <a:pt x="68" y="231"/>
                    </a:cubicBezTo>
                    <a:cubicBezTo>
                      <a:pt x="68" y="231"/>
                      <a:pt x="68" y="230"/>
                      <a:pt x="68" y="230"/>
                    </a:cubicBezTo>
                    <a:cubicBezTo>
                      <a:pt x="68" y="230"/>
                      <a:pt x="67" y="230"/>
                      <a:pt x="67" y="231"/>
                    </a:cubicBezTo>
                    <a:cubicBezTo>
                      <a:pt x="65" y="232"/>
                      <a:pt x="66" y="233"/>
                      <a:pt x="66" y="236"/>
                    </a:cubicBezTo>
                    <a:cubicBezTo>
                      <a:pt x="62" y="237"/>
                      <a:pt x="63" y="239"/>
                      <a:pt x="61" y="243"/>
                    </a:cubicBezTo>
                    <a:cubicBezTo>
                      <a:pt x="60" y="245"/>
                      <a:pt x="59" y="245"/>
                      <a:pt x="59" y="248"/>
                    </a:cubicBezTo>
                    <a:cubicBezTo>
                      <a:pt x="59" y="250"/>
                      <a:pt x="59" y="252"/>
                      <a:pt x="59" y="254"/>
                    </a:cubicBezTo>
                    <a:cubicBezTo>
                      <a:pt x="60" y="254"/>
                      <a:pt x="64" y="244"/>
                      <a:pt x="67" y="250"/>
                    </a:cubicBezTo>
                    <a:cubicBezTo>
                      <a:pt x="63" y="252"/>
                      <a:pt x="65" y="255"/>
                      <a:pt x="64" y="258"/>
                    </a:cubicBezTo>
                    <a:cubicBezTo>
                      <a:pt x="64" y="258"/>
                      <a:pt x="63" y="258"/>
                      <a:pt x="63" y="258"/>
                    </a:cubicBezTo>
                    <a:cubicBezTo>
                      <a:pt x="62" y="259"/>
                      <a:pt x="62" y="260"/>
                      <a:pt x="63" y="261"/>
                    </a:cubicBezTo>
                    <a:cubicBezTo>
                      <a:pt x="63" y="262"/>
                      <a:pt x="64" y="262"/>
                      <a:pt x="64" y="262"/>
                    </a:cubicBezTo>
                    <a:cubicBezTo>
                      <a:pt x="64" y="262"/>
                      <a:pt x="64" y="263"/>
                      <a:pt x="64" y="264"/>
                    </a:cubicBezTo>
                    <a:cubicBezTo>
                      <a:pt x="61" y="263"/>
                      <a:pt x="62" y="270"/>
                      <a:pt x="62" y="272"/>
                    </a:cubicBezTo>
                    <a:cubicBezTo>
                      <a:pt x="62" y="275"/>
                      <a:pt x="60" y="277"/>
                      <a:pt x="60" y="280"/>
                    </a:cubicBezTo>
                    <a:cubicBezTo>
                      <a:pt x="60" y="283"/>
                      <a:pt x="60" y="286"/>
                      <a:pt x="60" y="288"/>
                    </a:cubicBezTo>
                    <a:cubicBezTo>
                      <a:pt x="59" y="289"/>
                      <a:pt x="60" y="291"/>
                      <a:pt x="60" y="291"/>
                    </a:cubicBezTo>
                    <a:cubicBezTo>
                      <a:pt x="59" y="292"/>
                      <a:pt x="58" y="292"/>
                      <a:pt x="58" y="293"/>
                    </a:cubicBezTo>
                    <a:cubicBezTo>
                      <a:pt x="57" y="294"/>
                      <a:pt x="57" y="294"/>
                      <a:pt x="57" y="296"/>
                    </a:cubicBezTo>
                    <a:cubicBezTo>
                      <a:pt x="62" y="297"/>
                      <a:pt x="63" y="295"/>
                      <a:pt x="65" y="291"/>
                    </a:cubicBezTo>
                    <a:cubicBezTo>
                      <a:pt x="68" y="287"/>
                      <a:pt x="71" y="285"/>
                      <a:pt x="71" y="280"/>
                    </a:cubicBezTo>
                    <a:cubicBezTo>
                      <a:pt x="71" y="277"/>
                      <a:pt x="70" y="271"/>
                      <a:pt x="71" y="268"/>
                    </a:cubicBezTo>
                    <a:cubicBezTo>
                      <a:pt x="73" y="267"/>
                      <a:pt x="75" y="268"/>
                      <a:pt x="77" y="267"/>
                    </a:cubicBezTo>
                    <a:cubicBezTo>
                      <a:pt x="78" y="267"/>
                      <a:pt x="80" y="266"/>
                      <a:pt x="81" y="265"/>
                    </a:cubicBezTo>
                    <a:cubicBezTo>
                      <a:pt x="83" y="269"/>
                      <a:pt x="78" y="270"/>
                      <a:pt x="76" y="273"/>
                    </a:cubicBezTo>
                    <a:cubicBezTo>
                      <a:pt x="75" y="274"/>
                      <a:pt x="76" y="275"/>
                      <a:pt x="75" y="275"/>
                    </a:cubicBezTo>
                    <a:cubicBezTo>
                      <a:pt x="75" y="276"/>
                      <a:pt x="73" y="276"/>
                      <a:pt x="73" y="277"/>
                    </a:cubicBezTo>
                    <a:cubicBezTo>
                      <a:pt x="72" y="278"/>
                      <a:pt x="72" y="281"/>
                      <a:pt x="72" y="282"/>
                    </a:cubicBezTo>
                    <a:cubicBezTo>
                      <a:pt x="73" y="286"/>
                      <a:pt x="75" y="291"/>
                      <a:pt x="79" y="290"/>
                    </a:cubicBezTo>
                    <a:cubicBezTo>
                      <a:pt x="82" y="289"/>
                      <a:pt x="81" y="290"/>
                      <a:pt x="81" y="286"/>
                    </a:cubicBezTo>
                    <a:cubicBezTo>
                      <a:pt x="82" y="284"/>
                      <a:pt x="83" y="283"/>
                      <a:pt x="86" y="284"/>
                    </a:cubicBezTo>
                    <a:cubicBezTo>
                      <a:pt x="86" y="287"/>
                      <a:pt x="86" y="288"/>
                      <a:pt x="88" y="290"/>
                    </a:cubicBezTo>
                    <a:cubicBezTo>
                      <a:pt x="90" y="292"/>
                      <a:pt x="91" y="294"/>
                      <a:pt x="92" y="296"/>
                    </a:cubicBezTo>
                    <a:cubicBezTo>
                      <a:pt x="93" y="298"/>
                      <a:pt x="94" y="301"/>
                      <a:pt x="95" y="298"/>
                    </a:cubicBezTo>
                    <a:cubicBezTo>
                      <a:pt x="95" y="297"/>
                      <a:pt x="95" y="294"/>
                      <a:pt x="95" y="293"/>
                    </a:cubicBezTo>
                    <a:cubicBezTo>
                      <a:pt x="95" y="291"/>
                      <a:pt x="93" y="290"/>
                      <a:pt x="94" y="288"/>
                    </a:cubicBezTo>
                    <a:cubicBezTo>
                      <a:pt x="95" y="288"/>
                      <a:pt x="96" y="288"/>
                      <a:pt x="98" y="288"/>
                    </a:cubicBezTo>
                    <a:cubicBezTo>
                      <a:pt x="98" y="287"/>
                      <a:pt x="98" y="285"/>
                      <a:pt x="98" y="283"/>
                    </a:cubicBezTo>
                    <a:cubicBezTo>
                      <a:pt x="98" y="280"/>
                      <a:pt x="98" y="279"/>
                      <a:pt x="99" y="277"/>
                    </a:cubicBezTo>
                    <a:cubicBezTo>
                      <a:pt x="100" y="276"/>
                      <a:pt x="100" y="273"/>
                      <a:pt x="101" y="272"/>
                    </a:cubicBezTo>
                    <a:cubicBezTo>
                      <a:pt x="104" y="272"/>
                      <a:pt x="103" y="275"/>
                      <a:pt x="103" y="277"/>
                    </a:cubicBezTo>
                    <a:cubicBezTo>
                      <a:pt x="106" y="277"/>
                      <a:pt x="112" y="275"/>
                      <a:pt x="110" y="279"/>
                    </a:cubicBezTo>
                    <a:cubicBezTo>
                      <a:pt x="108" y="280"/>
                      <a:pt x="105" y="279"/>
                      <a:pt x="103" y="280"/>
                    </a:cubicBezTo>
                    <a:cubicBezTo>
                      <a:pt x="101" y="281"/>
                      <a:pt x="102" y="283"/>
                      <a:pt x="102" y="285"/>
                    </a:cubicBezTo>
                    <a:cubicBezTo>
                      <a:pt x="101" y="288"/>
                      <a:pt x="99" y="288"/>
                      <a:pt x="98" y="290"/>
                    </a:cubicBezTo>
                    <a:cubicBezTo>
                      <a:pt x="97" y="292"/>
                      <a:pt x="97" y="294"/>
                      <a:pt x="97" y="296"/>
                    </a:cubicBezTo>
                    <a:cubicBezTo>
                      <a:pt x="98" y="297"/>
                      <a:pt x="98" y="298"/>
                      <a:pt x="99" y="299"/>
                    </a:cubicBezTo>
                    <a:cubicBezTo>
                      <a:pt x="99" y="300"/>
                      <a:pt x="98" y="301"/>
                      <a:pt x="99" y="301"/>
                    </a:cubicBezTo>
                    <a:cubicBezTo>
                      <a:pt x="99" y="302"/>
                      <a:pt x="100" y="302"/>
                      <a:pt x="100" y="302"/>
                    </a:cubicBezTo>
                    <a:cubicBezTo>
                      <a:pt x="101" y="303"/>
                      <a:pt x="102" y="305"/>
                      <a:pt x="103" y="306"/>
                    </a:cubicBezTo>
                    <a:cubicBezTo>
                      <a:pt x="103" y="307"/>
                      <a:pt x="105" y="307"/>
                      <a:pt x="106" y="308"/>
                    </a:cubicBezTo>
                    <a:cubicBezTo>
                      <a:pt x="107" y="308"/>
                      <a:pt x="108" y="310"/>
                      <a:pt x="110" y="310"/>
                    </a:cubicBezTo>
                    <a:cubicBezTo>
                      <a:pt x="111" y="310"/>
                      <a:pt x="112" y="310"/>
                      <a:pt x="113" y="311"/>
                    </a:cubicBezTo>
                    <a:cubicBezTo>
                      <a:pt x="114" y="312"/>
                      <a:pt x="114" y="319"/>
                      <a:pt x="113" y="320"/>
                    </a:cubicBezTo>
                    <a:cubicBezTo>
                      <a:pt x="110" y="320"/>
                      <a:pt x="109" y="324"/>
                      <a:pt x="108" y="327"/>
                    </a:cubicBezTo>
                    <a:cubicBezTo>
                      <a:pt x="107" y="330"/>
                      <a:pt x="107" y="332"/>
                      <a:pt x="106" y="336"/>
                    </a:cubicBezTo>
                    <a:cubicBezTo>
                      <a:pt x="105" y="341"/>
                      <a:pt x="102" y="347"/>
                      <a:pt x="98" y="351"/>
                    </a:cubicBezTo>
                    <a:cubicBezTo>
                      <a:pt x="97" y="353"/>
                      <a:pt x="95" y="355"/>
                      <a:pt x="93" y="356"/>
                    </a:cubicBezTo>
                    <a:cubicBezTo>
                      <a:pt x="91" y="359"/>
                      <a:pt x="91" y="362"/>
                      <a:pt x="91" y="365"/>
                    </a:cubicBezTo>
                    <a:cubicBezTo>
                      <a:pt x="91" y="369"/>
                      <a:pt x="92" y="377"/>
                      <a:pt x="96" y="379"/>
                    </a:cubicBezTo>
                    <a:cubicBezTo>
                      <a:pt x="93" y="380"/>
                      <a:pt x="92" y="373"/>
                      <a:pt x="91" y="372"/>
                    </a:cubicBezTo>
                    <a:cubicBezTo>
                      <a:pt x="90" y="368"/>
                      <a:pt x="88" y="367"/>
                      <a:pt x="84" y="368"/>
                    </a:cubicBezTo>
                    <a:cubicBezTo>
                      <a:pt x="83" y="371"/>
                      <a:pt x="83" y="374"/>
                      <a:pt x="84" y="377"/>
                    </a:cubicBezTo>
                    <a:cubicBezTo>
                      <a:pt x="85" y="380"/>
                      <a:pt x="87" y="383"/>
                      <a:pt x="89" y="385"/>
                    </a:cubicBezTo>
                    <a:cubicBezTo>
                      <a:pt x="90" y="386"/>
                      <a:pt x="92" y="387"/>
                      <a:pt x="93" y="388"/>
                    </a:cubicBezTo>
                    <a:cubicBezTo>
                      <a:pt x="94" y="390"/>
                      <a:pt x="97" y="405"/>
                      <a:pt x="101" y="403"/>
                    </a:cubicBezTo>
                    <a:cubicBezTo>
                      <a:pt x="102" y="398"/>
                      <a:pt x="99" y="392"/>
                      <a:pt x="99" y="387"/>
                    </a:cubicBezTo>
                    <a:cubicBezTo>
                      <a:pt x="99" y="383"/>
                      <a:pt x="98" y="380"/>
                      <a:pt x="102" y="378"/>
                    </a:cubicBezTo>
                    <a:cubicBezTo>
                      <a:pt x="105" y="377"/>
                      <a:pt x="105" y="378"/>
                      <a:pt x="107" y="381"/>
                    </a:cubicBezTo>
                    <a:cubicBezTo>
                      <a:pt x="107" y="382"/>
                      <a:pt x="109" y="382"/>
                      <a:pt x="109" y="382"/>
                    </a:cubicBezTo>
                    <a:cubicBezTo>
                      <a:pt x="110" y="384"/>
                      <a:pt x="111" y="385"/>
                      <a:pt x="112" y="386"/>
                    </a:cubicBezTo>
                    <a:cubicBezTo>
                      <a:pt x="113" y="388"/>
                      <a:pt x="115" y="389"/>
                      <a:pt x="117" y="390"/>
                    </a:cubicBezTo>
                    <a:cubicBezTo>
                      <a:pt x="121" y="394"/>
                      <a:pt x="123" y="399"/>
                      <a:pt x="130" y="399"/>
                    </a:cubicBezTo>
                    <a:cubicBezTo>
                      <a:pt x="131" y="395"/>
                      <a:pt x="130" y="395"/>
                      <a:pt x="128" y="391"/>
                    </a:cubicBezTo>
                    <a:cubicBezTo>
                      <a:pt x="127" y="388"/>
                      <a:pt x="127" y="385"/>
                      <a:pt x="127" y="381"/>
                    </a:cubicBezTo>
                    <a:cubicBezTo>
                      <a:pt x="127" y="376"/>
                      <a:pt x="130" y="380"/>
                      <a:pt x="133" y="382"/>
                    </a:cubicBezTo>
                    <a:cubicBezTo>
                      <a:pt x="137" y="384"/>
                      <a:pt x="136" y="385"/>
                      <a:pt x="137" y="390"/>
                    </a:cubicBezTo>
                    <a:cubicBezTo>
                      <a:pt x="139" y="390"/>
                      <a:pt x="142" y="391"/>
                      <a:pt x="145" y="391"/>
                    </a:cubicBezTo>
                    <a:cubicBezTo>
                      <a:pt x="145" y="391"/>
                      <a:pt x="147" y="392"/>
                      <a:pt x="147" y="392"/>
                    </a:cubicBezTo>
                    <a:cubicBezTo>
                      <a:pt x="148" y="392"/>
                      <a:pt x="149" y="390"/>
                      <a:pt x="150" y="390"/>
                    </a:cubicBezTo>
                    <a:cubicBezTo>
                      <a:pt x="153" y="389"/>
                      <a:pt x="154" y="390"/>
                      <a:pt x="156" y="388"/>
                    </a:cubicBezTo>
                    <a:cubicBezTo>
                      <a:pt x="158" y="386"/>
                      <a:pt x="158" y="385"/>
                      <a:pt x="160" y="383"/>
                    </a:cubicBezTo>
                    <a:cubicBezTo>
                      <a:pt x="162" y="381"/>
                      <a:pt x="162" y="380"/>
                      <a:pt x="165" y="381"/>
                    </a:cubicBezTo>
                    <a:cubicBezTo>
                      <a:pt x="166" y="381"/>
                      <a:pt x="166" y="382"/>
                      <a:pt x="166" y="383"/>
                    </a:cubicBezTo>
                    <a:cubicBezTo>
                      <a:pt x="167" y="383"/>
                      <a:pt x="168" y="382"/>
                      <a:pt x="168" y="383"/>
                    </a:cubicBezTo>
                    <a:cubicBezTo>
                      <a:pt x="169" y="383"/>
                      <a:pt x="170" y="383"/>
                      <a:pt x="171" y="383"/>
                    </a:cubicBezTo>
                    <a:cubicBezTo>
                      <a:pt x="174" y="382"/>
                      <a:pt x="175" y="381"/>
                      <a:pt x="174" y="378"/>
                    </a:cubicBezTo>
                    <a:cubicBezTo>
                      <a:pt x="174" y="377"/>
                      <a:pt x="172" y="376"/>
                      <a:pt x="171" y="375"/>
                    </a:cubicBezTo>
                    <a:cubicBezTo>
                      <a:pt x="171" y="374"/>
                      <a:pt x="171" y="373"/>
                      <a:pt x="172" y="372"/>
                    </a:cubicBezTo>
                    <a:cubicBezTo>
                      <a:pt x="175" y="371"/>
                      <a:pt x="177" y="372"/>
                      <a:pt x="180" y="372"/>
                    </a:cubicBezTo>
                    <a:cubicBezTo>
                      <a:pt x="183" y="372"/>
                      <a:pt x="185" y="372"/>
                      <a:pt x="187" y="372"/>
                    </a:cubicBezTo>
                    <a:cubicBezTo>
                      <a:pt x="189" y="371"/>
                      <a:pt x="191" y="370"/>
                      <a:pt x="193" y="369"/>
                    </a:cubicBezTo>
                    <a:cubicBezTo>
                      <a:pt x="196" y="368"/>
                      <a:pt x="197" y="366"/>
                      <a:pt x="201" y="367"/>
                    </a:cubicBezTo>
                    <a:cubicBezTo>
                      <a:pt x="201" y="368"/>
                      <a:pt x="201" y="369"/>
                      <a:pt x="201" y="371"/>
                    </a:cubicBezTo>
                    <a:cubicBezTo>
                      <a:pt x="197" y="370"/>
                      <a:pt x="195" y="375"/>
                      <a:pt x="192" y="375"/>
                    </a:cubicBezTo>
                    <a:cubicBezTo>
                      <a:pt x="190" y="376"/>
                      <a:pt x="189" y="373"/>
                      <a:pt x="187" y="374"/>
                    </a:cubicBezTo>
                    <a:cubicBezTo>
                      <a:pt x="186" y="375"/>
                      <a:pt x="186" y="377"/>
                      <a:pt x="186" y="378"/>
                    </a:cubicBezTo>
                    <a:cubicBezTo>
                      <a:pt x="185" y="378"/>
                      <a:pt x="183" y="378"/>
                      <a:pt x="182" y="378"/>
                    </a:cubicBezTo>
                    <a:cubicBezTo>
                      <a:pt x="180" y="379"/>
                      <a:pt x="182" y="378"/>
                      <a:pt x="180" y="380"/>
                    </a:cubicBezTo>
                    <a:cubicBezTo>
                      <a:pt x="179" y="382"/>
                      <a:pt x="178" y="385"/>
                      <a:pt x="176" y="388"/>
                    </a:cubicBezTo>
                    <a:cubicBezTo>
                      <a:pt x="175" y="389"/>
                      <a:pt x="175" y="390"/>
                      <a:pt x="174" y="391"/>
                    </a:cubicBezTo>
                    <a:cubicBezTo>
                      <a:pt x="174" y="391"/>
                      <a:pt x="174" y="392"/>
                      <a:pt x="173" y="392"/>
                    </a:cubicBezTo>
                    <a:cubicBezTo>
                      <a:pt x="173" y="392"/>
                      <a:pt x="172" y="392"/>
                      <a:pt x="171" y="392"/>
                    </a:cubicBezTo>
                    <a:cubicBezTo>
                      <a:pt x="170" y="393"/>
                      <a:pt x="170" y="394"/>
                      <a:pt x="169" y="395"/>
                    </a:cubicBezTo>
                    <a:cubicBezTo>
                      <a:pt x="169" y="396"/>
                      <a:pt x="169" y="397"/>
                      <a:pt x="169" y="397"/>
                    </a:cubicBezTo>
                    <a:cubicBezTo>
                      <a:pt x="169" y="398"/>
                      <a:pt x="168" y="398"/>
                      <a:pt x="168" y="399"/>
                    </a:cubicBezTo>
                    <a:cubicBezTo>
                      <a:pt x="165" y="402"/>
                      <a:pt x="164" y="409"/>
                      <a:pt x="165" y="414"/>
                    </a:cubicBezTo>
                    <a:cubicBezTo>
                      <a:pt x="166" y="418"/>
                      <a:pt x="171" y="422"/>
                      <a:pt x="172" y="425"/>
                    </a:cubicBezTo>
                    <a:cubicBezTo>
                      <a:pt x="173" y="427"/>
                      <a:pt x="173" y="429"/>
                      <a:pt x="174" y="430"/>
                    </a:cubicBezTo>
                    <a:cubicBezTo>
                      <a:pt x="174" y="431"/>
                      <a:pt x="175" y="432"/>
                      <a:pt x="176" y="433"/>
                    </a:cubicBezTo>
                    <a:cubicBezTo>
                      <a:pt x="176" y="434"/>
                      <a:pt x="177" y="434"/>
                      <a:pt x="177" y="435"/>
                    </a:cubicBezTo>
                    <a:cubicBezTo>
                      <a:pt x="178" y="435"/>
                      <a:pt x="177" y="436"/>
                      <a:pt x="177" y="437"/>
                    </a:cubicBezTo>
                    <a:cubicBezTo>
                      <a:pt x="180" y="441"/>
                      <a:pt x="186" y="442"/>
                      <a:pt x="185" y="448"/>
                    </a:cubicBezTo>
                    <a:cubicBezTo>
                      <a:pt x="184" y="450"/>
                      <a:pt x="182" y="452"/>
                      <a:pt x="185" y="454"/>
                    </a:cubicBezTo>
                    <a:cubicBezTo>
                      <a:pt x="185" y="455"/>
                      <a:pt x="187" y="456"/>
                      <a:pt x="188" y="456"/>
                    </a:cubicBezTo>
                    <a:cubicBezTo>
                      <a:pt x="190" y="455"/>
                      <a:pt x="189" y="454"/>
                      <a:pt x="190" y="453"/>
                    </a:cubicBezTo>
                    <a:cubicBezTo>
                      <a:pt x="192" y="452"/>
                      <a:pt x="193" y="453"/>
                      <a:pt x="195" y="451"/>
                    </a:cubicBezTo>
                    <a:cubicBezTo>
                      <a:pt x="196" y="449"/>
                      <a:pt x="196" y="447"/>
                      <a:pt x="199" y="448"/>
                    </a:cubicBezTo>
                    <a:cubicBezTo>
                      <a:pt x="202" y="449"/>
                      <a:pt x="203" y="452"/>
                      <a:pt x="205" y="448"/>
                    </a:cubicBezTo>
                    <a:cubicBezTo>
                      <a:pt x="206" y="446"/>
                      <a:pt x="206" y="442"/>
                      <a:pt x="209" y="443"/>
                    </a:cubicBezTo>
                    <a:cubicBezTo>
                      <a:pt x="212" y="443"/>
                      <a:pt x="213" y="447"/>
                      <a:pt x="212" y="449"/>
                    </a:cubicBezTo>
                    <a:cubicBezTo>
                      <a:pt x="212" y="452"/>
                      <a:pt x="209" y="452"/>
                      <a:pt x="208" y="455"/>
                    </a:cubicBezTo>
                    <a:cubicBezTo>
                      <a:pt x="206" y="455"/>
                      <a:pt x="205" y="459"/>
                      <a:pt x="205" y="461"/>
                    </a:cubicBezTo>
                    <a:cubicBezTo>
                      <a:pt x="205" y="461"/>
                      <a:pt x="206" y="462"/>
                      <a:pt x="206" y="462"/>
                    </a:cubicBezTo>
                    <a:cubicBezTo>
                      <a:pt x="206" y="463"/>
                      <a:pt x="206" y="464"/>
                      <a:pt x="206" y="465"/>
                    </a:cubicBezTo>
                    <a:cubicBezTo>
                      <a:pt x="205" y="466"/>
                      <a:pt x="205" y="466"/>
                      <a:pt x="204" y="468"/>
                    </a:cubicBezTo>
                    <a:cubicBezTo>
                      <a:pt x="204" y="468"/>
                      <a:pt x="203" y="467"/>
                      <a:pt x="203" y="467"/>
                    </a:cubicBezTo>
                    <a:cubicBezTo>
                      <a:pt x="202" y="468"/>
                      <a:pt x="202" y="468"/>
                      <a:pt x="202" y="469"/>
                    </a:cubicBezTo>
                    <a:cubicBezTo>
                      <a:pt x="201" y="469"/>
                      <a:pt x="200" y="470"/>
                      <a:pt x="200" y="471"/>
                    </a:cubicBezTo>
                    <a:cubicBezTo>
                      <a:pt x="198" y="473"/>
                      <a:pt x="197" y="474"/>
                      <a:pt x="199" y="476"/>
                    </a:cubicBezTo>
                    <a:cubicBezTo>
                      <a:pt x="198" y="478"/>
                      <a:pt x="196" y="478"/>
                      <a:pt x="195" y="480"/>
                    </a:cubicBezTo>
                    <a:cubicBezTo>
                      <a:pt x="193" y="483"/>
                      <a:pt x="195" y="483"/>
                      <a:pt x="196" y="485"/>
                    </a:cubicBezTo>
                    <a:cubicBezTo>
                      <a:pt x="197" y="487"/>
                      <a:pt x="198" y="490"/>
                      <a:pt x="197" y="492"/>
                    </a:cubicBezTo>
                    <a:cubicBezTo>
                      <a:pt x="196" y="494"/>
                      <a:pt x="194" y="494"/>
                      <a:pt x="194" y="498"/>
                    </a:cubicBezTo>
                    <a:cubicBezTo>
                      <a:pt x="194" y="500"/>
                      <a:pt x="195" y="502"/>
                      <a:pt x="194" y="504"/>
                    </a:cubicBezTo>
                    <a:cubicBezTo>
                      <a:pt x="194" y="506"/>
                      <a:pt x="195" y="510"/>
                      <a:pt x="194" y="511"/>
                    </a:cubicBezTo>
                    <a:cubicBezTo>
                      <a:pt x="193" y="515"/>
                      <a:pt x="187" y="512"/>
                      <a:pt x="188" y="516"/>
                    </a:cubicBezTo>
                    <a:cubicBezTo>
                      <a:pt x="188" y="517"/>
                      <a:pt x="190" y="518"/>
                      <a:pt x="190" y="519"/>
                    </a:cubicBezTo>
                    <a:cubicBezTo>
                      <a:pt x="190" y="520"/>
                      <a:pt x="189" y="521"/>
                      <a:pt x="189" y="522"/>
                    </a:cubicBezTo>
                    <a:cubicBezTo>
                      <a:pt x="187" y="523"/>
                      <a:pt x="186" y="521"/>
                      <a:pt x="185" y="519"/>
                    </a:cubicBezTo>
                    <a:cubicBezTo>
                      <a:pt x="184" y="518"/>
                      <a:pt x="182" y="518"/>
                      <a:pt x="181" y="517"/>
                    </a:cubicBezTo>
                    <a:cubicBezTo>
                      <a:pt x="180" y="516"/>
                      <a:pt x="179" y="514"/>
                      <a:pt x="178" y="514"/>
                    </a:cubicBezTo>
                    <a:cubicBezTo>
                      <a:pt x="176" y="513"/>
                      <a:pt x="173" y="515"/>
                      <a:pt x="174" y="517"/>
                    </a:cubicBezTo>
                    <a:cubicBezTo>
                      <a:pt x="169" y="518"/>
                      <a:pt x="161" y="511"/>
                      <a:pt x="157" y="514"/>
                    </a:cubicBezTo>
                    <a:cubicBezTo>
                      <a:pt x="163" y="515"/>
                      <a:pt x="160" y="523"/>
                      <a:pt x="163" y="525"/>
                    </a:cubicBezTo>
                    <a:cubicBezTo>
                      <a:pt x="160" y="525"/>
                      <a:pt x="155" y="524"/>
                      <a:pt x="152" y="525"/>
                    </a:cubicBezTo>
                    <a:cubicBezTo>
                      <a:pt x="150" y="526"/>
                      <a:pt x="151" y="530"/>
                      <a:pt x="148" y="531"/>
                    </a:cubicBezTo>
                    <a:cubicBezTo>
                      <a:pt x="148" y="531"/>
                      <a:pt x="146" y="532"/>
                      <a:pt x="146" y="532"/>
                    </a:cubicBezTo>
                    <a:cubicBezTo>
                      <a:pt x="144" y="533"/>
                      <a:pt x="143" y="533"/>
                      <a:pt x="142" y="531"/>
                    </a:cubicBezTo>
                    <a:cubicBezTo>
                      <a:pt x="141" y="529"/>
                      <a:pt x="143" y="529"/>
                      <a:pt x="143" y="528"/>
                    </a:cubicBezTo>
                    <a:cubicBezTo>
                      <a:pt x="144" y="526"/>
                      <a:pt x="144" y="526"/>
                      <a:pt x="144" y="523"/>
                    </a:cubicBezTo>
                    <a:cubicBezTo>
                      <a:pt x="142" y="522"/>
                      <a:pt x="142" y="524"/>
                      <a:pt x="141" y="525"/>
                    </a:cubicBezTo>
                    <a:cubicBezTo>
                      <a:pt x="139" y="525"/>
                      <a:pt x="138" y="525"/>
                      <a:pt x="136" y="525"/>
                    </a:cubicBezTo>
                    <a:cubicBezTo>
                      <a:pt x="136" y="523"/>
                      <a:pt x="136" y="522"/>
                      <a:pt x="135" y="520"/>
                    </a:cubicBezTo>
                    <a:cubicBezTo>
                      <a:pt x="134" y="518"/>
                      <a:pt x="132" y="515"/>
                      <a:pt x="130" y="514"/>
                    </a:cubicBezTo>
                    <a:cubicBezTo>
                      <a:pt x="128" y="512"/>
                      <a:pt x="123" y="513"/>
                      <a:pt x="120" y="513"/>
                    </a:cubicBezTo>
                    <a:cubicBezTo>
                      <a:pt x="116" y="513"/>
                      <a:pt x="112" y="516"/>
                      <a:pt x="114" y="521"/>
                    </a:cubicBezTo>
                    <a:cubicBezTo>
                      <a:pt x="115" y="523"/>
                      <a:pt x="119" y="525"/>
                      <a:pt x="118" y="526"/>
                    </a:cubicBezTo>
                    <a:cubicBezTo>
                      <a:pt x="116" y="529"/>
                      <a:pt x="109" y="520"/>
                      <a:pt x="107" y="521"/>
                    </a:cubicBezTo>
                    <a:cubicBezTo>
                      <a:pt x="109" y="525"/>
                      <a:pt x="112" y="529"/>
                      <a:pt x="115" y="531"/>
                    </a:cubicBezTo>
                    <a:cubicBezTo>
                      <a:pt x="118" y="534"/>
                      <a:pt x="121" y="532"/>
                      <a:pt x="122" y="537"/>
                    </a:cubicBezTo>
                    <a:cubicBezTo>
                      <a:pt x="125" y="537"/>
                      <a:pt x="124" y="539"/>
                      <a:pt x="126" y="541"/>
                    </a:cubicBezTo>
                    <a:cubicBezTo>
                      <a:pt x="127" y="543"/>
                      <a:pt x="129" y="543"/>
                      <a:pt x="130" y="545"/>
                    </a:cubicBezTo>
                    <a:cubicBezTo>
                      <a:pt x="129" y="545"/>
                      <a:pt x="128" y="548"/>
                      <a:pt x="127" y="549"/>
                    </a:cubicBezTo>
                    <a:cubicBezTo>
                      <a:pt x="125" y="552"/>
                      <a:pt x="124" y="556"/>
                      <a:pt x="123" y="560"/>
                    </a:cubicBezTo>
                    <a:cubicBezTo>
                      <a:pt x="123" y="559"/>
                      <a:pt x="123" y="559"/>
                      <a:pt x="123" y="558"/>
                    </a:cubicBezTo>
                    <a:cubicBezTo>
                      <a:pt x="122" y="560"/>
                      <a:pt x="120" y="562"/>
                      <a:pt x="118" y="563"/>
                    </a:cubicBezTo>
                    <a:cubicBezTo>
                      <a:pt x="117" y="564"/>
                      <a:pt x="114" y="563"/>
                      <a:pt x="112" y="564"/>
                    </a:cubicBezTo>
                    <a:cubicBezTo>
                      <a:pt x="112" y="564"/>
                      <a:pt x="111" y="565"/>
                      <a:pt x="110" y="566"/>
                    </a:cubicBezTo>
                    <a:cubicBezTo>
                      <a:pt x="109" y="567"/>
                      <a:pt x="109" y="566"/>
                      <a:pt x="108" y="568"/>
                    </a:cubicBezTo>
                    <a:cubicBezTo>
                      <a:pt x="106" y="570"/>
                      <a:pt x="106" y="572"/>
                      <a:pt x="107" y="574"/>
                    </a:cubicBezTo>
                    <a:cubicBezTo>
                      <a:pt x="108" y="574"/>
                      <a:pt x="110" y="574"/>
                      <a:pt x="112" y="574"/>
                    </a:cubicBezTo>
                    <a:cubicBezTo>
                      <a:pt x="113" y="574"/>
                      <a:pt x="112" y="575"/>
                      <a:pt x="113" y="576"/>
                    </a:cubicBezTo>
                    <a:cubicBezTo>
                      <a:pt x="114" y="576"/>
                      <a:pt x="116" y="576"/>
                      <a:pt x="117" y="576"/>
                    </a:cubicBezTo>
                    <a:cubicBezTo>
                      <a:pt x="122" y="577"/>
                      <a:pt x="121" y="570"/>
                      <a:pt x="124" y="567"/>
                    </a:cubicBezTo>
                    <a:cubicBezTo>
                      <a:pt x="126" y="564"/>
                      <a:pt x="129" y="563"/>
                      <a:pt x="132" y="561"/>
                    </a:cubicBezTo>
                    <a:cubicBezTo>
                      <a:pt x="135" y="559"/>
                      <a:pt x="141" y="558"/>
                      <a:pt x="144" y="559"/>
                    </a:cubicBezTo>
                    <a:cubicBezTo>
                      <a:pt x="144" y="561"/>
                      <a:pt x="143" y="562"/>
                      <a:pt x="143" y="563"/>
                    </a:cubicBezTo>
                    <a:cubicBezTo>
                      <a:pt x="142" y="565"/>
                      <a:pt x="142" y="565"/>
                      <a:pt x="142" y="567"/>
                    </a:cubicBezTo>
                    <a:cubicBezTo>
                      <a:pt x="142" y="570"/>
                      <a:pt x="146" y="574"/>
                      <a:pt x="142" y="574"/>
                    </a:cubicBezTo>
                    <a:cubicBezTo>
                      <a:pt x="142" y="576"/>
                      <a:pt x="141" y="577"/>
                      <a:pt x="141" y="578"/>
                    </a:cubicBezTo>
                    <a:cubicBezTo>
                      <a:pt x="141" y="580"/>
                      <a:pt x="143" y="582"/>
                      <a:pt x="143" y="584"/>
                    </a:cubicBezTo>
                    <a:cubicBezTo>
                      <a:pt x="143" y="585"/>
                      <a:pt x="139" y="589"/>
                      <a:pt x="143" y="590"/>
                    </a:cubicBezTo>
                    <a:cubicBezTo>
                      <a:pt x="143" y="592"/>
                      <a:pt x="145" y="595"/>
                      <a:pt x="144" y="597"/>
                    </a:cubicBezTo>
                    <a:cubicBezTo>
                      <a:pt x="144" y="598"/>
                      <a:pt x="143" y="598"/>
                      <a:pt x="142" y="600"/>
                    </a:cubicBezTo>
                    <a:cubicBezTo>
                      <a:pt x="141" y="601"/>
                      <a:pt x="141" y="602"/>
                      <a:pt x="141" y="603"/>
                    </a:cubicBezTo>
                    <a:cubicBezTo>
                      <a:pt x="141" y="605"/>
                      <a:pt x="140" y="606"/>
                      <a:pt x="139" y="608"/>
                    </a:cubicBezTo>
                    <a:cubicBezTo>
                      <a:pt x="139" y="609"/>
                      <a:pt x="140" y="611"/>
                      <a:pt x="139" y="612"/>
                    </a:cubicBezTo>
                    <a:cubicBezTo>
                      <a:pt x="139" y="613"/>
                      <a:pt x="137" y="613"/>
                      <a:pt x="137" y="614"/>
                    </a:cubicBezTo>
                    <a:cubicBezTo>
                      <a:pt x="136" y="615"/>
                      <a:pt x="136" y="616"/>
                      <a:pt x="136" y="617"/>
                    </a:cubicBezTo>
                    <a:cubicBezTo>
                      <a:pt x="134" y="621"/>
                      <a:pt x="134" y="619"/>
                      <a:pt x="132" y="620"/>
                    </a:cubicBezTo>
                    <a:cubicBezTo>
                      <a:pt x="130" y="621"/>
                      <a:pt x="129" y="623"/>
                      <a:pt x="128" y="624"/>
                    </a:cubicBezTo>
                    <a:cubicBezTo>
                      <a:pt x="127" y="624"/>
                      <a:pt x="126" y="625"/>
                      <a:pt x="125" y="625"/>
                    </a:cubicBezTo>
                    <a:cubicBezTo>
                      <a:pt x="125" y="626"/>
                      <a:pt x="124" y="625"/>
                      <a:pt x="123" y="626"/>
                    </a:cubicBezTo>
                    <a:cubicBezTo>
                      <a:pt x="122" y="626"/>
                      <a:pt x="121" y="629"/>
                      <a:pt x="120" y="630"/>
                    </a:cubicBezTo>
                    <a:cubicBezTo>
                      <a:pt x="118" y="631"/>
                      <a:pt x="115" y="629"/>
                      <a:pt x="113" y="630"/>
                    </a:cubicBezTo>
                    <a:cubicBezTo>
                      <a:pt x="113" y="630"/>
                      <a:pt x="112" y="631"/>
                      <a:pt x="112" y="631"/>
                    </a:cubicBezTo>
                    <a:cubicBezTo>
                      <a:pt x="111" y="631"/>
                      <a:pt x="109" y="631"/>
                      <a:pt x="109" y="631"/>
                    </a:cubicBezTo>
                    <a:cubicBezTo>
                      <a:pt x="108" y="632"/>
                      <a:pt x="106" y="633"/>
                      <a:pt x="105" y="634"/>
                    </a:cubicBezTo>
                    <a:cubicBezTo>
                      <a:pt x="104" y="635"/>
                      <a:pt x="104" y="637"/>
                      <a:pt x="103" y="638"/>
                    </a:cubicBezTo>
                    <a:cubicBezTo>
                      <a:pt x="101" y="640"/>
                      <a:pt x="95" y="639"/>
                      <a:pt x="93" y="637"/>
                    </a:cubicBezTo>
                    <a:cubicBezTo>
                      <a:pt x="91" y="636"/>
                      <a:pt x="92" y="635"/>
                      <a:pt x="89" y="636"/>
                    </a:cubicBezTo>
                    <a:cubicBezTo>
                      <a:pt x="87" y="638"/>
                      <a:pt x="88" y="639"/>
                      <a:pt x="87" y="642"/>
                    </a:cubicBezTo>
                    <a:cubicBezTo>
                      <a:pt x="86" y="643"/>
                      <a:pt x="82" y="642"/>
                      <a:pt x="82" y="643"/>
                    </a:cubicBezTo>
                    <a:cubicBezTo>
                      <a:pt x="81" y="644"/>
                      <a:pt x="82" y="648"/>
                      <a:pt x="81" y="650"/>
                    </a:cubicBezTo>
                    <a:cubicBezTo>
                      <a:pt x="79" y="653"/>
                      <a:pt x="76" y="651"/>
                      <a:pt x="75" y="655"/>
                    </a:cubicBezTo>
                    <a:cubicBezTo>
                      <a:pt x="77" y="655"/>
                      <a:pt x="82" y="654"/>
                      <a:pt x="85" y="655"/>
                    </a:cubicBezTo>
                    <a:cubicBezTo>
                      <a:pt x="88" y="656"/>
                      <a:pt x="86" y="658"/>
                      <a:pt x="85" y="660"/>
                    </a:cubicBezTo>
                    <a:cubicBezTo>
                      <a:pt x="83" y="662"/>
                      <a:pt x="82" y="663"/>
                      <a:pt x="79" y="664"/>
                    </a:cubicBezTo>
                    <a:cubicBezTo>
                      <a:pt x="78" y="665"/>
                      <a:pt x="77" y="664"/>
                      <a:pt x="76" y="666"/>
                    </a:cubicBezTo>
                    <a:cubicBezTo>
                      <a:pt x="76" y="669"/>
                      <a:pt x="77" y="669"/>
                      <a:pt x="79" y="670"/>
                    </a:cubicBezTo>
                    <a:cubicBezTo>
                      <a:pt x="82" y="672"/>
                      <a:pt x="84" y="672"/>
                      <a:pt x="87" y="672"/>
                    </a:cubicBezTo>
                    <a:cubicBezTo>
                      <a:pt x="88" y="672"/>
                      <a:pt x="89" y="672"/>
                      <a:pt x="89" y="672"/>
                    </a:cubicBezTo>
                    <a:cubicBezTo>
                      <a:pt x="90" y="673"/>
                      <a:pt x="90" y="674"/>
                      <a:pt x="90" y="674"/>
                    </a:cubicBezTo>
                    <a:cubicBezTo>
                      <a:pt x="92" y="675"/>
                      <a:pt x="93" y="675"/>
                      <a:pt x="95" y="675"/>
                    </a:cubicBezTo>
                    <a:cubicBezTo>
                      <a:pt x="97" y="675"/>
                      <a:pt x="100" y="675"/>
                      <a:pt x="102" y="675"/>
                    </a:cubicBezTo>
                    <a:cubicBezTo>
                      <a:pt x="104" y="676"/>
                      <a:pt x="103" y="676"/>
                      <a:pt x="105" y="677"/>
                    </a:cubicBezTo>
                    <a:cubicBezTo>
                      <a:pt x="105" y="678"/>
                      <a:pt x="105" y="679"/>
                      <a:pt x="107" y="678"/>
                    </a:cubicBezTo>
                    <a:cubicBezTo>
                      <a:pt x="110" y="677"/>
                      <a:pt x="107" y="674"/>
                      <a:pt x="108" y="672"/>
                    </a:cubicBezTo>
                    <a:cubicBezTo>
                      <a:pt x="111" y="671"/>
                      <a:pt x="113" y="671"/>
                      <a:pt x="116" y="671"/>
                    </a:cubicBezTo>
                    <a:cubicBezTo>
                      <a:pt x="119" y="671"/>
                      <a:pt x="119" y="669"/>
                      <a:pt x="122" y="669"/>
                    </a:cubicBezTo>
                    <a:cubicBezTo>
                      <a:pt x="125" y="668"/>
                      <a:pt x="127" y="668"/>
                      <a:pt x="128" y="671"/>
                    </a:cubicBezTo>
                    <a:cubicBezTo>
                      <a:pt x="128" y="673"/>
                      <a:pt x="127" y="677"/>
                      <a:pt x="128" y="678"/>
                    </a:cubicBezTo>
                    <a:cubicBezTo>
                      <a:pt x="129" y="679"/>
                      <a:pt x="131" y="679"/>
                      <a:pt x="131" y="679"/>
                    </a:cubicBezTo>
                    <a:cubicBezTo>
                      <a:pt x="133" y="680"/>
                      <a:pt x="133" y="682"/>
                      <a:pt x="134" y="682"/>
                    </a:cubicBezTo>
                    <a:cubicBezTo>
                      <a:pt x="135" y="683"/>
                      <a:pt x="139" y="682"/>
                      <a:pt x="140" y="682"/>
                    </a:cubicBezTo>
                    <a:cubicBezTo>
                      <a:pt x="143" y="682"/>
                      <a:pt x="143" y="682"/>
                      <a:pt x="145" y="680"/>
                    </a:cubicBezTo>
                    <a:cubicBezTo>
                      <a:pt x="148" y="678"/>
                      <a:pt x="147" y="678"/>
                      <a:pt x="147" y="675"/>
                    </a:cubicBezTo>
                    <a:cubicBezTo>
                      <a:pt x="148" y="672"/>
                      <a:pt x="148" y="671"/>
                      <a:pt x="151" y="672"/>
                    </a:cubicBezTo>
                    <a:cubicBezTo>
                      <a:pt x="153" y="672"/>
                      <a:pt x="154" y="672"/>
                      <a:pt x="155" y="675"/>
                    </a:cubicBezTo>
                    <a:cubicBezTo>
                      <a:pt x="155" y="676"/>
                      <a:pt x="154" y="678"/>
                      <a:pt x="155" y="678"/>
                    </a:cubicBezTo>
                    <a:cubicBezTo>
                      <a:pt x="156" y="680"/>
                      <a:pt x="158" y="680"/>
                      <a:pt x="160" y="681"/>
                    </a:cubicBezTo>
                    <a:cubicBezTo>
                      <a:pt x="162" y="682"/>
                      <a:pt x="163" y="684"/>
                      <a:pt x="165" y="686"/>
                    </a:cubicBezTo>
                    <a:cubicBezTo>
                      <a:pt x="166" y="689"/>
                      <a:pt x="167" y="691"/>
                      <a:pt x="169" y="691"/>
                    </a:cubicBezTo>
                    <a:cubicBezTo>
                      <a:pt x="171" y="692"/>
                      <a:pt x="172" y="691"/>
                      <a:pt x="173" y="692"/>
                    </a:cubicBezTo>
                    <a:cubicBezTo>
                      <a:pt x="176" y="693"/>
                      <a:pt x="176" y="694"/>
                      <a:pt x="179" y="695"/>
                    </a:cubicBezTo>
                    <a:cubicBezTo>
                      <a:pt x="182" y="696"/>
                      <a:pt x="185" y="697"/>
                      <a:pt x="189" y="697"/>
                    </a:cubicBezTo>
                    <a:cubicBezTo>
                      <a:pt x="191" y="697"/>
                      <a:pt x="193" y="696"/>
                      <a:pt x="194" y="694"/>
                    </a:cubicBezTo>
                    <a:cubicBezTo>
                      <a:pt x="195" y="691"/>
                      <a:pt x="192" y="689"/>
                      <a:pt x="194" y="687"/>
                    </a:cubicBezTo>
                    <a:cubicBezTo>
                      <a:pt x="196" y="685"/>
                      <a:pt x="196" y="685"/>
                      <a:pt x="198" y="685"/>
                    </a:cubicBezTo>
                    <a:cubicBezTo>
                      <a:pt x="198" y="685"/>
                      <a:pt x="199" y="685"/>
                      <a:pt x="200" y="685"/>
                    </a:cubicBezTo>
                    <a:cubicBezTo>
                      <a:pt x="201" y="685"/>
                      <a:pt x="201" y="684"/>
                      <a:pt x="202" y="683"/>
                    </a:cubicBezTo>
                    <a:cubicBezTo>
                      <a:pt x="203" y="683"/>
                      <a:pt x="204" y="683"/>
                      <a:pt x="205" y="682"/>
                    </a:cubicBezTo>
                    <a:cubicBezTo>
                      <a:pt x="206" y="682"/>
                      <a:pt x="208" y="680"/>
                      <a:pt x="209" y="679"/>
                    </a:cubicBezTo>
                    <a:cubicBezTo>
                      <a:pt x="211" y="678"/>
                      <a:pt x="214" y="680"/>
                      <a:pt x="216" y="678"/>
                    </a:cubicBezTo>
                    <a:cubicBezTo>
                      <a:pt x="218" y="677"/>
                      <a:pt x="218" y="676"/>
                      <a:pt x="219" y="675"/>
                    </a:cubicBezTo>
                    <a:cubicBezTo>
                      <a:pt x="220" y="674"/>
                      <a:pt x="221" y="675"/>
                      <a:pt x="222" y="675"/>
                    </a:cubicBezTo>
                    <a:cubicBezTo>
                      <a:pt x="223" y="674"/>
                      <a:pt x="223" y="673"/>
                      <a:pt x="224" y="673"/>
                    </a:cubicBezTo>
                    <a:cubicBezTo>
                      <a:pt x="225" y="674"/>
                      <a:pt x="218" y="677"/>
                      <a:pt x="217" y="679"/>
                    </a:cubicBezTo>
                    <a:cubicBezTo>
                      <a:pt x="215" y="680"/>
                      <a:pt x="216" y="682"/>
                      <a:pt x="215" y="683"/>
                    </a:cubicBezTo>
                    <a:cubicBezTo>
                      <a:pt x="214" y="686"/>
                      <a:pt x="212" y="686"/>
                      <a:pt x="210" y="687"/>
                    </a:cubicBezTo>
                    <a:cubicBezTo>
                      <a:pt x="208" y="689"/>
                      <a:pt x="206" y="690"/>
                      <a:pt x="204" y="692"/>
                    </a:cubicBezTo>
                    <a:cubicBezTo>
                      <a:pt x="204" y="693"/>
                      <a:pt x="203" y="695"/>
                      <a:pt x="202" y="696"/>
                    </a:cubicBezTo>
                    <a:cubicBezTo>
                      <a:pt x="202" y="696"/>
                      <a:pt x="202" y="697"/>
                      <a:pt x="202" y="698"/>
                    </a:cubicBezTo>
                    <a:cubicBezTo>
                      <a:pt x="201" y="698"/>
                      <a:pt x="200" y="700"/>
                      <a:pt x="200" y="700"/>
                    </a:cubicBezTo>
                    <a:cubicBezTo>
                      <a:pt x="199" y="704"/>
                      <a:pt x="200" y="708"/>
                      <a:pt x="195" y="709"/>
                    </a:cubicBezTo>
                    <a:cubicBezTo>
                      <a:pt x="193" y="709"/>
                      <a:pt x="192" y="709"/>
                      <a:pt x="190" y="709"/>
                    </a:cubicBezTo>
                    <a:cubicBezTo>
                      <a:pt x="190" y="709"/>
                      <a:pt x="188" y="708"/>
                      <a:pt x="187" y="709"/>
                    </a:cubicBezTo>
                    <a:cubicBezTo>
                      <a:pt x="186" y="709"/>
                      <a:pt x="186" y="710"/>
                      <a:pt x="185" y="711"/>
                    </a:cubicBezTo>
                    <a:cubicBezTo>
                      <a:pt x="182" y="713"/>
                      <a:pt x="179" y="711"/>
                      <a:pt x="177" y="709"/>
                    </a:cubicBezTo>
                    <a:cubicBezTo>
                      <a:pt x="174" y="707"/>
                      <a:pt x="169" y="708"/>
                      <a:pt x="165" y="708"/>
                    </a:cubicBezTo>
                    <a:cubicBezTo>
                      <a:pt x="161" y="708"/>
                      <a:pt x="157" y="707"/>
                      <a:pt x="152" y="707"/>
                    </a:cubicBezTo>
                    <a:cubicBezTo>
                      <a:pt x="149" y="707"/>
                      <a:pt x="145" y="708"/>
                      <a:pt x="141" y="708"/>
                    </a:cubicBezTo>
                    <a:cubicBezTo>
                      <a:pt x="137" y="708"/>
                      <a:pt x="134" y="707"/>
                      <a:pt x="134" y="712"/>
                    </a:cubicBezTo>
                    <a:cubicBezTo>
                      <a:pt x="134" y="714"/>
                      <a:pt x="134" y="715"/>
                      <a:pt x="133" y="717"/>
                    </a:cubicBezTo>
                    <a:cubicBezTo>
                      <a:pt x="133" y="717"/>
                      <a:pt x="132" y="718"/>
                      <a:pt x="132" y="719"/>
                    </a:cubicBezTo>
                    <a:cubicBezTo>
                      <a:pt x="132" y="720"/>
                      <a:pt x="132" y="722"/>
                      <a:pt x="132" y="724"/>
                    </a:cubicBezTo>
                    <a:cubicBezTo>
                      <a:pt x="132" y="726"/>
                      <a:pt x="132" y="727"/>
                      <a:pt x="130" y="728"/>
                    </a:cubicBezTo>
                    <a:cubicBezTo>
                      <a:pt x="129" y="729"/>
                      <a:pt x="125" y="729"/>
                      <a:pt x="124" y="728"/>
                    </a:cubicBezTo>
                    <a:cubicBezTo>
                      <a:pt x="123" y="727"/>
                      <a:pt x="122" y="721"/>
                      <a:pt x="118" y="724"/>
                    </a:cubicBezTo>
                    <a:cubicBezTo>
                      <a:pt x="116" y="727"/>
                      <a:pt x="117" y="733"/>
                      <a:pt x="117" y="736"/>
                    </a:cubicBezTo>
                    <a:cubicBezTo>
                      <a:pt x="117" y="738"/>
                      <a:pt x="117" y="740"/>
                      <a:pt x="116" y="742"/>
                    </a:cubicBezTo>
                    <a:cubicBezTo>
                      <a:pt x="115" y="744"/>
                      <a:pt x="114" y="746"/>
                      <a:pt x="114" y="748"/>
                    </a:cubicBezTo>
                    <a:cubicBezTo>
                      <a:pt x="113" y="749"/>
                      <a:pt x="110" y="750"/>
                      <a:pt x="109" y="751"/>
                    </a:cubicBezTo>
                    <a:cubicBezTo>
                      <a:pt x="108" y="753"/>
                      <a:pt x="107" y="755"/>
                      <a:pt x="106" y="756"/>
                    </a:cubicBezTo>
                    <a:cubicBezTo>
                      <a:pt x="105" y="758"/>
                      <a:pt x="105" y="760"/>
                      <a:pt x="104" y="761"/>
                    </a:cubicBezTo>
                    <a:cubicBezTo>
                      <a:pt x="103" y="763"/>
                      <a:pt x="101" y="762"/>
                      <a:pt x="100" y="762"/>
                    </a:cubicBezTo>
                    <a:cubicBezTo>
                      <a:pt x="96" y="763"/>
                      <a:pt x="96" y="763"/>
                      <a:pt x="94" y="766"/>
                    </a:cubicBezTo>
                    <a:cubicBezTo>
                      <a:pt x="94" y="767"/>
                      <a:pt x="92" y="769"/>
                      <a:pt x="91" y="770"/>
                    </a:cubicBezTo>
                    <a:cubicBezTo>
                      <a:pt x="91" y="771"/>
                      <a:pt x="91" y="771"/>
                      <a:pt x="92" y="772"/>
                    </a:cubicBezTo>
                    <a:cubicBezTo>
                      <a:pt x="91" y="773"/>
                      <a:pt x="91" y="774"/>
                      <a:pt x="90" y="775"/>
                    </a:cubicBezTo>
                    <a:cubicBezTo>
                      <a:pt x="83" y="781"/>
                      <a:pt x="83" y="781"/>
                      <a:pt x="83" y="781"/>
                    </a:cubicBezTo>
                    <a:cubicBezTo>
                      <a:pt x="83" y="782"/>
                      <a:pt x="82" y="782"/>
                      <a:pt x="82" y="783"/>
                    </a:cubicBezTo>
                    <a:cubicBezTo>
                      <a:pt x="82" y="783"/>
                      <a:pt x="82" y="783"/>
                      <a:pt x="81" y="784"/>
                    </a:cubicBezTo>
                    <a:cubicBezTo>
                      <a:pt x="81" y="784"/>
                      <a:pt x="81" y="784"/>
                      <a:pt x="81" y="784"/>
                    </a:cubicBezTo>
                    <a:cubicBezTo>
                      <a:pt x="80" y="784"/>
                      <a:pt x="81" y="785"/>
                      <a:pt x="81" y="785"/>
                    </a:cubicBezTo>
                    <a:cubicBezTo>
                      <a:pt x="81" y="786"/>
                      <a:pt x="81" y="786"/>
                      <a:pt x="81" y="787"/>
                    </a:cubicBezTo>
                    <a:cubicBezTo>
                      <a:pt x="81" y="787"/>
                      <a:pt x="81" y="787"/>
                      <a:pt x="80" y="787"/>
                    </a:cubicBezTo>
                    <a:cubicBezTo>
                      <a:pt x="80" y="787"/>
                      <a:pt x="80" y="788"/>
                      <a:pt x="79" y="788"/>
                    </a:cubicBezTo>
                    <a:cubicBezTo>
                      <a:pt x="79" y="788"/>
                      <a:pt x="78" y="788"/>
                      <a:pt x="78" y="788"/>
                    </a:cubicBezTo>
                    <a:cubicBezTo>
                      <a:pt x="77" y="789"/>
                      <a:pt x="77" y="790"/>
                      <a:pt x="76" y="791"/>
                    </a:cubicBezTo>
                    <a:cubicBezTo>
                      <a:pt x="75" y="792"/>
                      <a:pt x="74" y="793"/>
                      <a:pt x="73" y="793"/>
                    </a:cubicBezTo>
                    <a:cubicBezTo>
                      <a:pt x="73" y="793"/>
                      <a:pt x="73" y="793"/>
                      <a:pt x="73" y="793"/>
                    </a:cubicBezTo>
                    <a:cubicBezTo>
                      <a:pt x="72" y="794"/>
                      <a:pt x="72" y="794"/>
                      <a:pt x="72" y="794"/>
                    </a:cubicBezTo>
                    <a:cubicBezTo>
                      <a:pt x="71" y="795"/>
                      <a:pt x="71" y="795"/>
                      <a:pt x="70" y="796"/>
                    </a:cubicBezTo>
                    <a:cubicBezTo>
                      <a:pt x="70" y="796"/>
                      <a:pt x="70" y="796"/>
                      <a:pt x="70" y="796"/>
                    </a:cubicBezTo>
                    <a:cubicBezTo>
                      <a:pt x="69" y="796"/>
                      <a:pt x="67" y="795"/>
                      <a:pt x="67" y="795"/>
                    </a:cubicBezTo>
                    <a:cubicBezTo>
                      <a:pt x="67" y="795"/>
                      <a:pt x="66" y="794"/>
                      <a:pt x="66" y="794"/>
                    </a:cubicBezTo>
                    <a:cubicBezTo>
                      <a:pt x="66" y="794"/>
                      <a:pt x="66" y="793"/>
                      <a:pt x="65" y="793"/>
                    </a:cubicBezTo>
                    <a:cubicBezTo>
                      <a:pt x="65" y="793"/>
                      <a:pt x="64" y="794"/>
                      <a:pt x="64" y="794"/>
                    </a:cubicBezTo>
                    <a:cubicBezTo>
                      <a:pt x="63" y="794"/>
                      <a:pt x="63" y="794"/>
                      <a:pt x="63" y="795"/>
                    </a:cubicBezTo>
                    <a:cubicBezTo>
                      <a:pt x="62" y="795"/>
                      <a:pt x="62" y="795"/>
                      <a:pt x="62" y="796"/>
                    </a:cubicBezTo>
                    <a:cubicBezTo>
                      <a:pt x="62" y="796"/>
                      <a:pt x="62" y="796"/>
                      <a:pt x="62" y="796"/>
                    </a:cubicBezTo>
                    <a:cubicBezTo>
                      <a:pt x="62" y="796"/>
                      <a:pt x="61" y="796"/>
                      <a:pt x="61" y="796"/>
                    </a:cubicBezTo>
                    <a:cubicBezTo>
                      <a:pt x="60" y="796"/>
                      <a:pt x="59" y="796"/>
                      <a:pt x="59" y="796"/>
                    </a:cubicBezTo>
                    <a:cubicBezTo>
                      <a:pt x="58" y="797"/>
                      <a:pt x="57" y="797"/>
                      <a:pt x="57" y="798"/>
                    </a:cubicBezTo>
                    <a:cubicBezTo>
                      <a:pt x="56" y="799"/>
                      <a:pt x="56" y="800"/>
                      <a:pt x="55" y="801"/>
                    </a:cubicBezTo>
                    <a:cubicBezTo>
                      <a:pt x="55" y="802"/>
                      <a:pt x="54" y="802"/>
                      <a:pt x="54" y="803"/>
                    </a:cubicBezTo>
                    <a:cubicBezTo>
                      <a:pt x="54" y="804"/>
                      <a:pt x="54" y="804"/>
                      <a:pt x="54" y="805"/>
                    </a:cubicBezTo>
                    <a:cubicBezTo>
                      <a:pt x="54" y="805"/>
                      <a:pt x="53" y="806"/>
                      <a:pt x="54" y="806"/>
                    </a:cubicBezTo>
                    <a:cubicBezTo>
                      <a:pt x="54" y="807"/>
                      <a:pt x="54" y="808"/>
                      <a:pt x="55" y="808"/>
                    </a:cubicBezTo>
                    <a:cubicBezTo>
                      <a:pt x="55" y="808"/>
                      <a:pt x="55" y="809"/>
                      <a:pt x="55" y="809"/>
                    </a:cubicBezTo>
                    <a:cubicBezTo>
                      <a:pt x="56" y="809"/>
                      <a:pt x="56" y="809"/>
                      <a:pt x="56" y="809"/>
                    </a:cubicBezTo>
                    <a:cubicBezTo>
                      <a:pt x="56" y="809"/>
                      <a:pt x="56" y="809"/>
                      <a:pt x="57" y="810"/>
                    </a:cubicBezTo>
                    <a:cubicBezTo>
                      <a:pt x="57" y="810"/>
                      <a:pt x="57" y="810"/>
                      <a:pt x="57" y="810"/>
                    </a:cubicBezTo>
                    <a:cubicBezTo>
                      <a:pt x="58" y="810"/>
                      <a:pt x="58" y="810"/>
                      <a:pt x="59" y="811"/>
                    </a:cubicBezTo>
                    <a:cubicBezTo>
                      <a:pt x="60" y="811"/>
                      <a:pt x="60" y="811"/>
                      <a:pt x="61" y="810"/>
                    </a:cubicBezTo>
                    <a:cubicBezTo>
                      <a:pt x="62" y="810"/>
                      <a:pt x="62" y="810"/>
                      <a:pt x="63" y="809"/>
                    </a:cubicBezTo>
                    <a:cubicBezTo>
                      <a:pt x="63" y="809"/>
                      <a:pt x="64" y="809"/>
                      <a:pt x="64" y="808"/>
                    </a:cubicBezTo>
                    <a:cubicBezTo>
                      <a:pt x="65" y="808"/>
                      <a:pt x="65" y="807"/>
                      <a:pt x="65" y="806"/>
                    </a:cubicBezTo>
                    <a:cubicBezTo>
                      <a:pt x="65" y="806"/>
                      <a:pt x="66" y="805"/>
                      <a:pt x="66" y="804"/>
                    </a:cubicBezTo>
                    <a:cubicBezTo>
                      <a:pt x="67" y="804"/>
                      <a:pt x="67" y="804"/>
                      <a:pt x="68" y="804"/>
                    </a:cubicBezTo>
                    <a:cubicBezTo>
                      <a:pt x="69" y="804"/>
                      <a:pt x="70" y="805"/>
                      <a:pt x="70" y="805"/>
                    </a:cubicBezTo>
                    <a:cubicBezTo>
                      <a:pt x="71" y="805"/>
                      <a:pt x="72" y="806"/>
                      <a:pt x="73" y="806"/>
                    </a:cubicBezTo>
                    <a:cubicBezTo>
                      <a:pt x="73" y="806"/>
                      <a:pt x="74" y="807"/>
                      <a:pt x="74" y="807"/>
                    </a:cubicBezTo>
                    <a:cubicBezTo>
                      <a:pt x="74" y="807"/>
                      <a:pt x="74" y="808"/>
                      <a:pt x="74" y="808"/>
                    </a:cubicBezTo>
                    <a:cubicBezTo>
                      <a:pt x="74" y="808"/>
                      <a:pt x="75" y="809"/>
                      <a:pt x="75" y="810"/>
                    </a:cubicBezTo>
                    <a:cubicBezTo>
                      <a:pt x="76" y="811"/>
                      <a:pt x="77" y="811"/>
                      <a:pt x="77" y="812"/>
                    </a:cubicBezTo>
                    <a:cubicBezTo>
                      <a:pt x="78" y="813"/>
                      <a:pt x="78" y="814"/>
                      <a:pt x="78" y="815"/>
                    </a:cubicBezTo>
                    <a:cubicBezTo>
                      <a:pt x="79" y="817"/>
                      <a:pt x="81" y="818"/>
                      <a:pt x="83" y="818"/>
                    </a:cubicBezTo>
                    <a:cubicBezTo>
                      <a:pt x="83" y="818"/>
                      <a:pt x="84" y="818"/>
                      <a:pt x="85" y="817"/>
                    </a:cubicBezTo>
                    <a:cubicBezTo>
                      <a:pt x="85" y="817"/>
                      <a:pt x="85" y="817"/>
                      <a:pt x="85" y="817"/>
                    </a:cubicBezTo>
                    <a:cubicBezTo>
                      <a:pt x="85" y="816"/>
                      <a:pt x="85" y="816"/>
                      <a:pt x="86" y="815"/>
                    </a:cubicBezTo>
                    <a:cubicBezTo>
                      <a:pt x="87" y="814"/>
                      <a:pt x="88" y="813"/>
                      <a:pt x="88" y="811"/>
                    </a:cubicBezTo>
                    <a:cubicBezTo>
                      <a:pt x="89" y="811"/>
                      <a:pt x="89" y="811"/>
                      <a:pt x="89" y="810"/>
                    </a:cubicBezTo>
                    <a:cubicBezTo>
                      <a:pt x="90" y="810"/>
                      <a:pt x="90" y="809"/>
                      <a:pt x="90" y="809"/>
                    </a:cubicBezTo>
                    <a:cubicBezTo>
                      <a:pt x="91" y="807"/>
                      <a:pt x="90" y="806"/>
                      <a:pt x="89" y="805"/>
                    </a:cubicBezTo>
                    <a:cubicBezTo>
                      <a:pt x="89" y="804"/>
                      <a:pt x="89" y="804"/>
                      <a:pt x="89" y="803"/>
                    </a:cubicBezTo>
                    <a:cubicBezTo>
                      <a:pt x="89" y="802"/>
                      <a:pt x="89" y="802"/>
                      <a:pt x="90" y="802"/>
                    </a:cubicBezTo>
                    <a:cubicBezTo>
                      <a:pt x="91" y="802"/>
                      <a:pt x="91" y="802"/>
                      <a:pt x="91" y="802"/>
                    </a:cubicBezTo>
                    <a:cubicBezTo>
                      <a:pt x="91" y="801"/>
                      <a:pt x="92" y="801"/>
                      <a:pt x="92" y="801"/>
                    </a:cubicBezTo>
                    <a:cubicBezTo>
                      <a:pt x="93" y="800"/>
                      <a:pt x="93" y="800"/>
                      <a:pt x="94" y="800"/>
                    </a:cubicBezTo>
                    <a:cubicBezTo>
                      <a:pt x="94" y="799"/>
                      <a:pt x="95" y="799"/>
                      <a:pt x="96" y="799"/>
                    </a:cubicBezTo>
                    <a:cubicBezTo>
                      <a:pt x="97" y="798"/>
                      <a:pt x="98" y="798"/>
                      <a:pt x="99" y="797"/>
                    </a:cubicBezTo>
                    <a:cubicBezTo>
                      <a:pt x="100" y="797"/>
                      <a:pt x="101" y="796"/>
                      <a:pt x="103" y="795"/>
                    </a:cubicBezTo>
                    <a:cubicBezTo>
                      <a:pt x="104" y="794"/>
                      <a:pt x="105" y="793"/>
                      <a:pt x="105" y="792"/>
                    </a:cubicBezTo>
                    <a:cubicBezTo>
                      <a:pt x="105" y="791"/>
                      <a:pt x="105" y="791"/>
                      <a:pt x="105" y="791"/>
                    </a:cubicBezTo>
                    <a:cubicBezTo>
                      <a:pt x="105" y="790"/>
                      <a:pt x="106" y="789"/>
                      <a:pt x="106" y="788"/>
                    </a:cubicBezTo>
                    <a:cubicBezTo>
                      <a:pt x="106" y="788"/>
                      <a:pt x="106" y="787"/>
                      <a:pt x="106" y="786"/>
                    </a:cubicBezTo>
                    <a:cubicBezTo>
                      <a:pt x="106" y="786"/>
                      <a:pt x="106" y="786"/>
                      <a:pt x="106" y="785"/>
                    </a:cubicBezTo>
                    <a:cubicBezTo>
                      <a:pt x="107" y="785"/>
                      <a:pt x="106" y="784"/>
                      <a:pt x="107" y="784"/>
                    </a:cubicBezTo>
                    <a:cubicBezTo>
                      <a:pt x="107" y="783"/>
                      <a:pt x="107" y="783"/>
                      <a:pt x="108" y="783"/>
                    </a:cubicBezTo>
                    <a:cubicBezTo>
                      <a:pt x="108" y="783"/>
                      <a:pt x="108" y="783"/>
                      <a:pt x="109" y="783"/>
                    </a:cubicBezTo>
                    <a:cubicBezTo>
                      <a:pt x="109" y="784"/>
                      <a:pt x="109" y="785"/>
                      <a:pt x="109" y="785"/>
                    </a:cubicBezTo>
                    <a:cubicBezTo>
                      <a:pt x="111" y="787"/>
                      <a:pt x="112" y="787"/>
                      <a:pt x="114" y="786"/>
                    </a:cubicBezTo>
                    <a:cubicBezTo>
                      <a:pt x="115" y="786"/>
                      <a:pt x="116" y="786"/>
                      <a:pt x="117" y="786"/>
                    </a:cubicBezTo>
                    <a:cubicBezTo>
                      <a:pt x="118" y="785"/>
                      <a:pt x="119" y="786"/>
                      <a:pt x="120" y="786"/>
                    </a:cubicBezTo>
                    <a:cubicBezTo>
                      <a:pt x="121" y="785"/>
                      <a:pt x="122" y="785"/>
                      <a:pt x="124" y="784"/>
                    </a:cubicBezTo>
                    <a:cubicBezTo>
                      <a:pt x="124" y="783"/>
                      <a:pt x="124" y="783"/>
                      <a:pt x="125" y="783"/>
                    </a:cubicBezTo>
                    <a:cubicBezTo>
                      <a:pt x="125" y="783"/>
                      <a:pt x="126" y="783"/>
                      <a:pt x="127" y="783"/>
                    </a:cubicBezTo>
                    <a:cubicBezTo>
                      <a:pt x="128" y="782"/>
                      <a:pt x="128" y="782"/>
                      <a:pt x="129" y="781"/>
                    </a:cubicBezTo>
                    <a:cubicBezTo>
                      <a:pt x="129" y="781"/>
                      <a:pt x="130" y="780"/>
                      <a:pt x="130" y="780"/>
                    </a:cubicBezTo>
                    <a:cubicBezTo>
                      <a:pt x="131" y="779"/>
                      <a:pt x="131" y="780"/>
                      <a:pt x="132" y="780"/>
                    </a:cubicBezTo>
                    <a:cubicBezTo>
                      <a:pt x="133" y="780"/>
                      <a:pt x="133" y="780"/>
                      <a:pt x="134" y="781"/>
                    </a:cubicBezTo>
                    <a:cubicBezTo>
                      <a:pt x="134" y="781"/>
                      <a:pt x="134" y="781"/>
                      <a:pt x="134" y="781"/>
                    </a:cubicBezTo>
                    <a:cubicBezTo>
                      <a:pt x="134" y="782"/>
                      <a:pt x="134" y="782"/>
                      <a:pt x="135" y="783"/>
                    </a:cubicBezTo>
                    <a:cubicBezTo>
                      <a:pt x="135" y="784"/>
                      <a:pt x="135" y="785"/>
                      <a:pt x="136" y="786"/>
                    </a:cubicBezTo>
                    <a:cubicBezTo>
                      <a:pt x="136" y="786"/>
                      <a:pt x="138" y="786"/>
                      <a:pt x="138" y="786"/>
                    </a:cubicBezTo>
                    <a:cubicBezTo>
                      <a:pt x="139" y="786"/>
                      <a:pt x="140" y="787"/>
                      <a:pt x="141" y="787"/>
                    </a:cubicBezTo>
                    <a:cubicBezTo>
                      <a:pt x="141" y="788"/>
                      <a:pt x="141" y="787"/>
                      <a:pt x="142" y="788"/>
                    </a:cubicBezTo>
                    <a:cubicBezTo>
                      <a:pt x="142" y="788"/>
                      <a:pt x="143" y="788"/>
                      <a:pt x="144" y="788"/>
                    </a:cubicBezTo>
                    <a:cubicBezTo>
                      <a:pt x="145" y="788"/>
                      <a:pt x="146" y="789"/>
                      <a:pt x="147" y="788"/>
                    </a:cubicBezTo>
                    <a:cubicBezTo>
                      <a:pt x="147" y="787"/>
                      <a:pt x="147" y="787"/>
                      <a:pt x="148" y="787"/>
                    </a:cubicBezTo>
                    <a:cubicBezTo>
                      <a:pt x="148" y="788"/>
                      <a:pt x="149" y="788"/>
                      <a:pt x="149" y="788"/>
                    </a:cubicBezTo>
                    <a:cubicBezTo>
                      <a:pt x="150" y="788"/>
                      <a:pt x="151" y="789"/>
                      <a:pt x="151" y="790"/>
                    </a:cubicBezTo>
                    <a:cubicBezTo>
                      <a:pt x="151" y="791"/>
                      <a:pt x="151" y="791"/>
                      <a:pt x="151" y="792"/>
                    </a:cubicBezTo>
                    <a:cubicBezTo>
                      <a:pt x="152" y="793"/>
                      <a:pt x="152" y="793"/>
                      <a:pt x="153" y="793"/>
                    </a:cubicBezTo>
                    <a:cubicBezTo>
                      <a:pt x="153" y="794"/>
                      <a:pt x="154" y="794"/>
                      <a:pt x="154" y="795"/>
                    </a:cubicBezTo>
                    <a:cubicBezTo>
                      <a:pt x="156" y="795"/>
                      <a:pt x="157" y="796"/>
                      <a:pt x="158" y="796"/>
                    </a:cubicBezTo>
                    <a:cubicBezTo>
                      <a:pt x="159" y="796"/>
                      <a:pt x="160" y="796"/>
                      <a:pt x="160" y="796"/>
                    </a:cubicBezTo>
                    <a:cubicBezTo>
                      <a:pt x="161" y="796"/>
                      <a:pt x="163" y="797"/>
                      <a:pt x="163" y="796"/>
                    </a:cubicBezTo>
                    <a:cubicBezTo>
                      <a:pt x="165" y="796"/>
                      <a:pt x="164" y="795"/>
                      <a:pt x="165" y="794"/>
                    </a:cubicBezTo>
                    <a:cubicBezTo>
                      <a:pt x="165" y="793"/>
                      <a:pt x="165" y="793"/>
                      <a:pt x="165" y="792"/>
                    </a:cubicBezTo>
                    <a:cubicBezTo>
                      <a:pt x="165" y="791"/>
                      <a:pt x="165" y="790"/>
                      <a:pt x="165" y="789"/>
                    </a:cubicBezTo>
                    <a:cubicBezTo>
                      <a:pt x="166" y="789"/>
                      <a:pt x="166" y="789"/>
                      <a:pt x="166" y="789"/>
                    </a:cubicBezTo>
                    <a:cubicBezTo>
                      <a:pt x="167" y="789"/>
                      <a:pt x="168" y="789"/>
                      <a:pt x="169" y="789"/>
                    </a:cubicBezTo>
                    <a:cubicBezTo>
                      <a:pt x="170" y="789"/>
                      <a:pt x="171" y="789"/>
                      <a:pt x="172" y="789"/>
                    </a:cubicBezTo>
                    <a:cubicBezTo>
                      <a:pt x="173" y="789"/>
                      <a:pt x="174" y="789"/>
                      <a:pt x="176" y="789"/>
                    </a:cubicBezTo>
                    <a:cubicBezTo>
                      <a:pt x="176" y="789"/>
                      <a:pt x="177" y="789"/>
                      <a:pt x="178" y="789"/>
                    </a:cubicBezTo>
                    <a:cubicBezTo>
                      <a:pt x="180" y="789"/>
                      <a:pt x="181" y="788"/>
                      <a:pt x="183" y="788"/>
                    </a:cubicBezTo>
                    <a:cubicBezTo>
                      <a:pt x="187" y="787"/>
                      <a:pt x="193" y="788"/>
                      <a:pt x="193" y="786"/>
                    </a:cubicBezTo>
                    <a:cubicBezTo>
                      <a:pt x="195" y="780"/>
                      <a:pt x="191" y="779"/>
                      <a:pt x="191" y="778"/>
                    </a:cubicBezTo>
                    <a:cubicBezTo>
                      <a:pt x="189" y="777"/>
                      <a:pt x="182" y="777"/>
                      <a:pt x="180" y="777"/>
                    </a:cubicBezTo>
                    <a:cubicBezTo>
                      <a:pt x="177" y="777"/>
                      <a:pt x="174" y="777"/>
                      <a:pt x="172" y="777"/>
                    </a:cubicBezTo>
                    <a:cubicBezTo>
                      <a:pt x="171" y="777"/>
                      <a:pt x="169" y="777"/>
                      <a:pt x="169" y="776"/>
                    </a:cubicBezTo>
                    <a:cubicBezTo>
                      <a:pt x="169" y="775"/>
                      <a:pt x="170" y="773"/>
                      <a:pt x="171" y="773"/>
                    </a:cubicBezTo>
                    <a:cubicBezTo>
                      <a:pt x="172" y="771"/>
                      <a:pt x="174" y="769"/>
                      <a:pt x="175" y="767"/>
                    </a:cubicBezTo>
                    <a:cubicBezTo>
                      <a:pt x="176" y="766"/>
                      <a:pt x="176" y="764"/>
                      <a:pt x="177" y="763"/>
                    </a:cubicBezTo>
                    <a:cubicBezTo>
                      <a:pt x="178" y="762"/>
                      <a:pt x="178" y="761"/>
                      <a:pt x="178" y="760"/>
                    </a:cubicBezTo>
                    <a:cubicBezTo>
                      <a:pt x="179" y="760"/>
                      <a:pt x="179" y="760"/>
                      <a:pt x="180" y="759"/>
                    </a:cubicBezTo>
                    <a:cubicBezTo>
                      <a:pt x="181" y="759"/>
                      <a:pt x="181" y="759"/>
                      <a:pt x="181" y="759"/>
                    </a:cubicBezTo>
                    <a:cubicBezTo>
                      <a:pt x="182" y="759"/>
                      <a:pt x="182" y="759"/>
                      <a:pt x="183" y="759"/>
                    </a:cubicBezTo>
                    <a:cubicBezTo>
                      <a:pt x="183" y="759"/>
                      <a:pt x="183" y="759"/>
                      <a:pt x="183" y="759"/>
                    </a:cubicBezTo>
                    <a:cubicBezTo>
                      <a:pt x="184" y="758"/>
                      <a:pt x="184" y="758"/>
                      <a:pt x="185" y="757"/>
                    </a:cubicBezTo>
                    <a:cubicBezTo>
                      <a:pt x="185" y="756"/>
                      <a:pt x="186" y="755"/>
                      <a:pt x="187" y="755"/>
                    </a:cubicBezTo>
                    <a:cubicBezTo>
                      <a:pt x="188" y="755"/>
                      <a:pt x="189" y="754"/>
                      <a:pt x="190" y="754"/>
                    </a:cubicBezTo>
                    <a:cubicBezTo>
                      <a:pt x="191" y="754"/>
                      <a:pt x="192" y="754"/>
                      <a:pt x="192" y="754"/>
                    </a:cubicBezTo>
                    <a:cubicBezTo>
                      <a:pt x="194" y="754"/>
                      <a:pt x="195" y="755"/>
                      <a:pt x="196" y="755"/>
                    </a:cubicBezTo>
                    <a:cubicBezTo>
                      <a:pt x="196" y="755"/>
                      <a:pt x="196" y="755"/>
                      <a:pt x="196" y="755"/>
                    </a:cubicBezTo>
                    <a:cubicBezTo>
                      <a:pt x="198" y="754"/>
                      <a:pt x="199" y="755"/>
                      <a:pt x="200" y="754"/>
                    </a:cubicBezTo>
                    <a:cubicBezTo>
                      <a:pt x="201" y="754"/>
                      <a:pt x="200" y="753"/>
                      <a:pt x="201" y="752"/>
                    </a:cubicBezTo>
                    <a:cubicBezTo>
                      <a:pt x="201" y="752"/>
                      <a:pt x="202" y="751"/>
                      <a:pt x="202" y="751"/>
                    </a:cubicBezTo>
                    <a:cubicBezTo>
                      <a:pt x="203" y="749"/>
                      <a:pt x="202" y="748"/>
                      <a:pt x="204" y="747"/>
                    </a:cubicBezTo>
                    <a:cubicBezTo>
                      <a:pt x="205" y="747"/>
                      <a:pt x="209" y="748"/>
                      <a:pt x="210" y="749"/>
                    </a:cubicBezTo>
                    <a:cubicBezTo>
                      <a:pt x="211" y="750"/>
                      <a:pt x="211" y="752"/>
                      <a:pt x="211" y="754"/>
                    </a:cubicBezTo>
                    <a:cubicBezTo>
                      <a:pt x="213" y="755"/>
                      <a:pt x="216" y="754"/>
                      <a:pt x="218" y="755"/>
                    </a:cubicBezTo>
                    <a:cubicBezTo>
                      <a:pt x="220" y="756"/>
                      <a:pt x="222" y="757"/>
                      <a:pt x="225" y="759"/>
                    </a:cubicBezTo>
                    <a:cubicBezTo>
                      <a:pt x="228" y="760"/>
                      <a:pt x="231" y="763"/>
                      <a:pt x="235" y="763"/>
                    </a:cubicBezTo>
                    <a:cubicBezTo>
                      <a:pt x="238" y="763"/>
                      <a:pt x="240" y="762"/>
                      <a:pt x="243" y="762"/>
                    </a:cubicBezTo>
                    <a:cubicBezTo>
                      <a:pt x="246" y="762"/>
                      <a:pt x="250" y="762"/>
                      <a:pt x="254" y="762"/>
                    </a:cubicBezTo>
                    <a:cubicBezTo>
                      <a:pt x="256" y="762"/>
                      <a:pt x="257" y="763"/>
                      <a:pt x="258" y="760"/>
                    </a:cubicBezTo>
                    <a:cubicBezTo>
                      <a:pt x="258" y="759"/>
                      <a:pt x="255" y="755"/>
                      <a:pt x="253" y="755"/>
                    </a:cubicBezTo>
                    <a:cubicBezTo>
                      <a:pt x="252" y="750"/>
                      <a:pt x="257" y="751"/>
                      <a:pt x="259" y="751"/>
                    </a:cubicBezTo>
                    <a:cubicBezTo>
                      <a:pt x="261" y="752"/>
                      <a:pt x="264" y="752"/>
                      <a:pt x="266" y="753"/>
                    </a:cubicBezTo>
                    <a:cubicBezTo>
                      <a:pt x="268" y="753"/>
                      <a:pt x="268" y="753"/>
                      <a:pt x="269" y="754"/>
                    </a:cubicBezTo>
                    <a:cubicBezTo>
                      <a:pt x="269" y="754"/>
                      <a:pt x="270" y="754"/>
                      <a:pt x="270" y="754"/>
                    </a:cubicBezTo>
                    <a:cubicBezTo>
                      <a:pt x="271" y="753"/>
                      <a:pt x="272" y="752"/>
                      <a:pt x="273" y="752"/>
                    </a:cubicBezTo>
                    <a:cubicBezTo>
                      <a:pt x="274" y="751"/>
                      <a:pt x="274" y="751"/>
                      <a:pt x="275" y="751"/>
                    </a:cubicBezTo>
                    <a:cubicBezTo>
                      <a:pt x="276" y="750"/>
                      <a:pt x="276" y="750"/>
                      <a:pt x="277" y="750"/>
                    </a:cubicBezTo>
                    <a:cubicBezTo>
                      <a:pt x="279" y="750"/>
                      <a:pt x="280" y="750"/>
                      <a:pt x="281" y="749"/>
                    </a:cubicBezTo>
                    <a:cubicBezTo>
                      <a:pt x="282" y="749"/>
                      <a:pt x="282" y="749"/>
                      <a:pt x="282" y="749"/>
                    </a:cubicBezTo>
                    <a:cubicBezTo>
                      <a:pt x="282" y="748"/>
                      <a:pt x="282" y="746"/>
                      <a:pt x="283" y="746"/>
                    </a:cubicBezTo>
                    <a:cubicBezTo>
                      <a:pt x="285" y="742"/>
                      <a:pt x="287" y="744"/>
                      <a:pt x="289" y="745"/>
                    </a:cubicBezTo>
                    <a:cubicBezTo>
                      <a:pt x="290" y="746"/>
                      <a:pt x="292" y="745"/>
                      <a:pt x="293" y="745"/>
                    </a:cubicBezTo>
                    <a:cubicBezTo>
                      <a:pt x="296" y="745"/>
                      <a:pt x="297" y="746"/>
                      <a:pt x="299" y="747"/>
                    </a:cubicBezTo>
                    <a:cubicBezTo>
                      <a:pt x="303" y="749"/>
                      <a:pt x="307" y="746"/>
                      <a:pt x="310" y="748"/>
                    </a:cubicBezTo>
                    <a:cubicBezTo>
                      <a:pt x="312" y="749"/>
                      <a:pt x="312" y="750"/>
                      <a:pt x="314" y="751"/>
                    </a:cubicBezTo>
                    <a:cubicBezTo>
                      <a:pt x="316" y="751"/>
                      <a:pt x="318" y="751"/>
                      <a:pt x="319" y="751"/>
                    </a:cubicBezTo>
                    <a:cubicBezTo>
                      <a:pt x="324" y="751"/>
                      <a:pt x="325" y="748"/>
                      <a:pt x="329" y="748"/>
                    </a:cubicBezTo>
                    <a:cubicBezTo>
                      <a:pt x="332" y="748"/>
                      <a:pt x="334" y="748"/>
                      <a:pt x="336" y="747"/>
                    </a:cubicBezTo>
                    <a:cubicBezTo>
                      <a:pt x="338" y="746"/>
                      <a:pt x="340" y="745"/>
                      <a:pt x="341" y="743"/>
                    </a:cubicBezTo>
                    <a:cubicBezTo>
                      <a:pt x="342" y="743"/>
                      <a:pt x="343" y="743"/>
                      <a:pt x="344" y="743"/>
                    </a:cubicBezTo>
                    <a:cubicBezTo>
                      <a:pt x="344" y="742"/>
                      <a:pt x="344" y="742"/>
                      <a:pt x="345" y="741"/>
                    </a:cubicBezTo>
                    <a:cubicBezTo>
                      <a:pt x="346" y="740"/>
                      <a:pt x="347" y="739"/>
                      <a:pt x="349" y="740"/>
                    </a:cubicBezTo>
                    <a:cubicBezTo>
                      <a:pt x="350" y="740"/>
                      <a:pt x="352" y="742"/>
                      <a:pt x="353" y="743"/>
                    </a:cubicBezTo>
                    <a:cubicBezTo>
                      <a:pt x="355" y="744"/>
                      <a:pt x="356" y="745"/>
                      <a:pt x="358" y="745"/>
                    </a:cubicBezTo>
                    <a:cubicBezTo>
                      <a:pt x="360" y="746"/>
                      <a:pt x="361" y="745"/>
                      <a:pt x="364" y="748"/>
                    </a:cubicBezTo>
                    <a:cubicBezTo>
                      <a:pt x="366" y="750"/>
                      <a:pt x="366" y="751"/>
                      <a:pt x="369" y="750"/>
                    </a:cubicBezTo>
                    <a:cubicBezTo>
                      <a:pt x="371" y="750"/>
                      <a:pt x="372" y="749"/>
                      <a:pt x="374" y="748"/>
                    </a:cubicBezTo>
                    <a:cubicBezTo>
                      <a:pt x="374" y="748"/>
                      <a:pt x="377" y="747"/>
                      <a:pt x="377" y="747"/>
                    </a:cubicBezTo>
                    <a:cubicBezTo>
                      <a:pt x="378" y="746"/>
                      <a:pt x="378" y="744"/>
                      <a:pt x="378" y="743"/>
                    </a:cubicBezTo>
                    <a:cubicBezTo>
                      <a:pt x="380" y="743"/>
                      <a:pt x="383" y="743"/>
                      <a:pt x="385" y="743"/>
                    </a:cubicBezTo>
                    <a:cubicBezTo>
                      <a:pt x="386" y="742"/>
                      <a:pt x="387" y="741"/>
                      <a:pt x="388" y="740"/>
                    </a:cubicBezTo>
                    <a:cubicBezTo>
                      <a:pt x="390" y="738"/>
                      <a:pt x="394" y="738"/>
                      <a:pt x="397" y="737"/>
                    </a:cubicBezTo>
                    <a:cubicBezTo>
                      <a:pt x="400" y="737"/>
                      <a:pt x="403" y="738"/>
                      <a:pt x="406" y="737"/>
                    </a:cubicBezTo>
                    <a:cubicBezTo>
                      <a:pt x="407" y="737"/>
                      <a:pt x="408" y="736"/>
                      <a:pt x="410" y="736"/>
                    </a:cubicBezTo>
                    <a:cubicBezTo>
                      <a:pt x="411" y="736"/>
                      <a:pt x="413" y="736"/>
                      <a:pt x="414" y="736"/>
                    </a:cubicBezTo>
                    <a:cubicBezTo>
                      <a:pt x="415" y="736"/>
                      <a:pt x="417" y="735"/>
                      <a:pt x="417" y="735"/>
                    </a:cubicBezTo>
                    <a:cubicBezTo>
                      <a:pt x="419" y="732"/>
                      <a:pt x="417" y="733"/>
                      <a:pt x="415" y="731"/>
                    </a:cubicBezTo>
                    <a:cubicBezTo>
                      <a:pt x="413" y="728"/>
                      <a:pt x="416" y="726"/>
                      <a:pt x="418" y="724"/>
                    </a:cubicBezTo>
                    <a:cubicBezTo>
                      <a:pt x="420" y="722"/>
                      <a:pt x="423" y="722"/>
                      <a:pt x="426" y="722"/>
                    </a:cubicBezTo>
                    <a:cubicBezTo>
                      <a:pt x="430" y="722"/>
                      <a:pt x="431" y="722"/>
                      <a:pt x="432" y="718"/>
                    </a:cubicBezTo>
                    <a:cubicBezTo>
                      <a:pt x="435" y="717"/>
                      <a:pt x="440" y="719"/>
                      <a:pt x="443" y="717"/>
                    </a:cubicBezTo>
                    <a:cubicBezTo>
                      <a:pt x="445" y="716"/>
                      <a:pt x="446" y="713"/>
                      <a:pt x="447" y="712"/>
                    </a:cubicBezTo>
                    <a:cubicBezTo>
                      <a:pt x="448" y="711"/>
                      <a:pt x="451" y="709"/>
                      <a:pt x="451" y="708"/>
                    </a:cubicBezTo>
                    <a:cubicBezTo>
                      <a:pt x="450" y="707"/>
                      <a:pt x="448" y="707"/>
                      <a:pt x="448" y="706"/>
                    </a:cubicBezTo>
                    <a:cubicBezTo>
                      <a:pt x="446" y="705"/>
                      <a:pt x="444" y="704"/>
                      <a:pt x="442" y="703"/>
                    </a:cubicBezTo>
                    <a:cubicBezTo>
                      <a:pt x="439" y="702"/>
                      <a:pt x="433" y="703"/>
                      <a:pt x="433" y="700"/>
                    </a:cubicBezTo>
                    <a:cubicBezTo>
                      <a:pt x="433" y="698"/>
                      <a:pt x="437" y="697"/>
                      <a:pt x="436" y="694"/>
                    </a:cubicBezTo>
                    <a:cubicBezTo>
                      <a:pt x="434" y="692"/>
                      <a:pt x="424" y="694"/>
                      <a:pt x="422" y="694"/>
                    </a:cubicBezTo>
                    <a:cubicBezTo>
                      <a:pt x="418" y="695"/>
                      <a:pt x="417" y="695"/>
                      <a:pt x="413" y="694"/>
                    </a:cubicBezTo>
                    <a:cubicBezTo>
                      <a:pt x="412" y="693"/>
                      <a:pt x="410" y="692"/>
                      <a:pt x="408" y="691"/>
                    </a:cubicBezTo>
                    <a:cubicBezTo>
                      <a:pt x="405" y="690"/>
                      <a:pt x="403" y="693"/>
                      <a:pt x="401" y="693"/>
                    </a:cubicBezTo>
                    <a:cubicBezTo>
                      <a:pt x="399" y="693"/>
                      <a:pt x="397" y="690"/>
                      <a:pt x="395" y="690"/>
                    </a:cubicBezTo>
                    <a:cubicBezTo>
                      <a:pt x="391" y="689"/>
                      <a:pt x="387" y="690"/>
                      <a:pt x="383" y="690"/>
                    </a:cubicBezTo>
                    <a:cubicBezTo>
                      <a:pt x="381" y="689"/>
                      <a:pt x="378" y="689"/>
                      <a:pt x="375" y="688"/>
                    </a:cubicBezTo>
                    <a:cubicBezTo>
                      <a:pt x="373" y="688"/>
                      <a:pt x="371" y="687"/>
                      <a:pt x="370" y="685"/>
                    </a:cubicBezTo>
                    <a:cubicBezTo>
                      <a:pt x="375" y="684"/>
                      <a:pt x="381" y="685"/>
                      <a:pt x="385" y="685"/>
                    </a:cubicBezTo>
                    <a:cubicBezTo>
                      <a:pt x="391" y="685"/>
                      <a:pt x="399" y="687"/>
                      <a:pt x="403" y="682"/>
                    </a:cubicBezTo>
                    <a:cubicBezTo>
                      <a:pt x="404" y="681"/>
                      <a:pt x="405" y="679"/>
                      <a:pt x="406" y="677"/>
                    </a:cubicBezTo>
                    <a:cubicBezTo>
                      <a:pt x="406" y="676"/>
                      <a:pt x="406" y="675"/>
                      <a:pt x="407" y="674"/>
                    </a:cubicBezTo>
                    <a:cubicBezTo>
                      <a:pt x="409" y="672"/>
                      <a:pt x="412" y="674"/>
                      <a:pt x="413" y="672"/>
                    </a:cubicBezTo>
                    <a:cubicBezTo>
                      <a:pt x="414" y="669"/>
                      <a:pt x="412" y="665"/>
                      <a:pt x="410" y="664"/>
                    </a:cubicBezTo>
                    <a:cubicBezTo>
                      <a:pt x="408" y="663"/>
                      <a:pt x="405" y="663"/>
                      <a:pt x="403" y="664"/>
                    </a:cubicBezTo>
                    <a:cubicBezTo>
                      <a:pt x="403" y="660"/>
                      <a:pt x="407" y="661"/>
                      <a:pt x="410" y="661"/>
                    </a:cubicBezTo>
                    <a:cubicBezTo>
                      <a:pt x="411" y="660"/>
                      <a:pt x="413" y="660"/>
                      <a:pt x="414" y="660"/>
                    </a:cubicBezTo>
                    <a:cubicBezTo>
                      <a:pt x="417" y="660"/>
                      <a:pt x="415" y="661"/>
                      <a:pt x="417" y="661"/>
                    </a:cubicBezTo>
                    <a:cubicBezTo>
                      <a:pt x="419" y="662"/>
                      <a:pt x="420" y="662"/>
                      <a:pt x="422" y="661"/>
                    </a:cubicBezTo>
                    <a:cubicBezTo>
                      <a:pt x="423" y="661"/>
                      <a:pt x="424" y="659"/>
                      <a:pt x="425" y="658"/>
                    </a:cubicBezTo>
                    <a:cubicBezTo>
                      <a:pt x="426" y="657"/>
                      <a:pt x="426" y="657"/>
                      <a:pt x="427" y="656"/>
                    </a:cubicBezTo>
                    <a:cubicBezTo>
                      <a:pt x="427" y="655"/>
                      <a:pt x="429" y="655"/>
                      <a:pt x="429" y="655"/>
                    </a:cubicBezTo>
                    <a:cubicBezTo>
                      <a:pt x="431" y="654"/>
                      <a:pt x="433" y="651"/>
                      <a:pt x="434" y="649"/>
                    </a:cubicBezTo>
                    <a:cubicBezTo>
                      <a:pt x="434" y="648"/>
                      <a:pt x="433" y="644"/>
                      <a:pt x="432" y="644"/>
                    </a:cubicBezTo>
                    <a:cubicBezTo>
                      <a:pt x="433" y="640"/>
                      <a:pt x="435" y="640"/>
                      <a:pt x="439" y="639"/>
                    </a:cubicBezTo>
                    <a:cubicBezTo>
                      <a:pt x="442" y="639"/>
                      <a:pt x="443" y="638"/>
                      <a:pt x="444" y="635"/>
                    </a:cubicBezTo>
                    <a:cubicBezTo>
                      <a:pt x="445" y="631"/>
                      <a:pt x="447" y="627"/>
                      <a:pt x="447" y="622"/>
                    </a:cubicBezTo>
                    <a:cubicBezTo>
                      <a:pt x="448" y="620"/>
                      <a:pt x="448" y="619"/>
                      <a:pt x="449" y="617"/>
                    </a:cubicBezTo>
                    <a:cubicBezTo>
                      <a:pt x="450" y="614"/>
                      <a:pt x="451" y="613"/>
                      <a:pt x="451" y="611"/>
                    </a:cubicBezTo>
                    <a:cubicBezTo>
                      <a:pt x="451" y="609"/>
                      <a:pt x="452" y="607"/>
                      <a:pt x="452" y="604"/>
                    </a:cubicBezTo>
                    <a:cubicBezTo>
                      <a:pt x="452" y="601"/>
                      <a:pt x="453" y="599"/>
                      <a:pt x="453" y="596"/>
                    </a:cubicBezTo>
                    <a:cubicBezTo>
                      <a:pt x="454" y="592"/>
                      <a:pt x="453" y="587"/>
                      <a:pt x="453" y="583"/>
                    </a:cubicBezTo>
                    <a:cubicBezTo>
                      <a:pt x="453" y="579"/>
                      <a:pt x="455" y="572"/>
                      <a:pt x="452" y="569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48" name="Freeform 64">
                <a:extLst>
                  <a:ext uri="{FF2B5EF4-FFF2-40B4-BE49-F238E27FC236}">
                    <a16:creationId xmlns:a16="http://schemas.microsoft.com/office/drawing/2014/main" id="{6028E73C-2CEE-40B0-ADD1-90A697BE0F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8763" y="3584575"/>
                <a:ext cx="41275" cy="63500"/>
              </a:xfrm>
              <a:custGeom>
                <a:avLst/>
                <a:gdLst/>
                <a:ahLst/>
                <a:cxnLst>
                  <a:cxn ang="0">
                    <a:pos x="18" y="2"/>
                  </a:cxn>
                  <a:cxn ang="0">
                    <a:pos x="22" y="1"/>
                  </a:cxn>
                  <a:cxn ang="0">
                    <a:pos x="17" y="10"/>
                  </a:cxn>
                  <a:cxn ang="0">
                    <a:pos x="12" y="15"/>
                  </a:cxn>
                  <a:cxn ang="0">
                    <a:pos x="10" y="19"/>
                  </a:cxn>
                  <a:cxn ang="0">
                    <a:pos x="10" y="23"/>
                  </a:cxn>
                  <a:cxn ang="0">
                    <a:pos x="6" y="32"/>
                  </a:cxn>
                  <a:cxn ang="0">
                    <a:pos x="5" y="34"/>
                  </a:cxn>
                  <a:cxn ang="0">
                    <a:pos x="2" y="32"/>
                  </a:cxn>
                  <a:cxn ang="0">
                    <a:pos x="1" y="25"/>
                  </a:cxn>
                  <a:cxn ang="0">
                    <a:pos x="1" y="21"/>
                  </a:cxn>
                  <a:cxn ang="0">
                    <a:pos x="3" y="19"/>
                  </a:cxn>
                  <a:cxn ang="0">
                    <a:pos x="9" y="15"/>
                  </a:cxn>
                  <a:cxn ang="0">
                    <a:pos x="3" y="14"/>
                  </a:cxn>
                  <a:cxn ang="0">
                    <a:pos x="5" y="13"/>
                  </a:cxn>
                  <a:cxn ang="0">
                    <a:pos x="6" y="9"/>
                  </a:cxn>
                  <a:cxn ang="0">
                    <a:pos x="10" y="5"/>
                  </a:cxn>
                  <a:cxn ang="0">
                    <a:pos x="18" y="0"/>
                  </a:cxn>
                  <a:cxn ang="0">
                    <a:pos x="18" y="2"/>
                  </a:cxn>
                </a:cxnLst>
                <a:rect l="0" t="0" r="r" b="b"/>
                <a:pathLst>
                  <a:path w="22" h="34">
                    <a:moveTo>
                      <a:pt x="18" y="2"/>
                    </a:moveTo>
                    <a:cubicBezTo>
                      <a:pt x="19" y="1"/>
                      <a:pt x="21" y="1"/>
                      <a:pt x="22" y="1"/>
                    </a:cubicBezTo>
                    <a:cubicBezTo>
                      <a:pt x="22" y="4"/>
                      <a:pt x="19" y="7"/>
                      <a:pt x="17" y="10"/>
                    </a:cubicBezTo>
                    <a:cubicBezTo>
                      <a:pt x="16" y="11"/>
                      <a:pt x="14" y="13"/>
                      <a:pt x="12" y="15"/>
                    </a:cubicBezTo>
                    <a:cubicBezTo>
                      <a:pt x="12" y="16"/>
                      <a:pt x="11" y="17"/>
                      <a:pt x="10" y="19"/>
                    </a:cubicBezTo>
                    <a:cubicBezTo>
                      <a:pt x="10" y="20"/>
                      <a:pt x="10" y="21"/>
                      <a:pt x="10" y="23"/>
                    </a:cubicBezTo>
                    <a:cubicBezTo>
                      <a:pt x="10" y="26"/>
                      <a:pt x="8" y="29"/>
                      <a:pt x="6" y="32"/>
                    </a:cubicBezTo>
                    <a:cubicBezTo>
                      <a:pt x="6" y="32"/>
                      <a:pt x="6" y="33"/>
                      <a:pt x="5" y="34"/>
                    </a:cubicBezTo>
                    <a:cubicBezTo>
                      <a:pt x="4" y="34"/>
                      <a:pt x="3" y="32"/>
                      <a:pt x="2" y="32"/>
                    </a:cubicBezTo>
                    <a:cubicBezTo>
                      <a:pt x="1" y="29"/>
                      <a:pt x="2" y="27"/>
                      <a:pt x="1" y="25"/>
                    </a:cubicBezTo>
                    <a:cubicBezTo>
                      <a:pt x="1" y="23"/>
                      <a:pt x="0" y="23"/>
                      <a:pt x="1" y="21"/>
                    </a:cubicBezTo>
                    <a:cubicBezTo>
                      <a:pt x="1" y="20"/>
                      <a:pt x="2" y="19"/>
                      <a:pt x="3" y="19"/>
                    </a:cubicBezTo>
                    <a:cubicBezTo>
                      <a:pt x="5" y="17"/>
                      <a:pt x="8" y="17"/>
                      <a:pt x="9" y="15"/>
                    </a:cubicBezTo>
                    <a:cubicBezTo>
                      <a:pt x="8" y="13"/>
                      <a:pt x="2" y="18"/>
                      <a:pt x="3" y="14"/>
                    </a:cubicBezTo>
                    <a:cubicBezTo>
                      <a:pt x="3" y="14"/>
                      <a:pt x="4" y="13"/>
                      <a:pt x="5" y="13"/>
                    </a:cubicBezTo>
                    <a:cubicBezTo>
                      <a:pt x="5" y="12"/>
                      <a:pt x="5" y="10"/>
                      <a:pt x="6" y="9"/>
                    </a:cubicBezTo>
                    <a:cubicBezTo>
                      <a:pt x="7" y="7"/>
                      <a:pt x="8" y="7"/>
                      <a:pt x="10" y="5"/>
                    </a:cubicBezTo>
                    <a:cubicBezTo>
                      <a:pt x="13" y="4"/>
                      <a:pt x="15" y="0"/>
                      <a:pt x="18" y="0"/>
                    </a:cubicBezTo>
                    <a:lnTo>
                      <a:pt x="18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49" name="Freeform 65">
                <a:extLst>
                  <a:ext uri="{FF2B5EF4-FFF2-40B4-BE49-F238E27FC236}">
                    <a16:creationId xmlns:a16="http://schemas.microsoft.com/office/drawing/2014/main" id="{B0F8B450-A133-4E1C-AE8F-04933ADBC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100" y="3638550"/>
                <a:ext cx="44450" cy="92075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9" y="11"/>
                  </a:cxn>
                  <a:cxn ang="0">
                    <a:pos x="6" y="13"/>
                  </a:cxn>
                  <a:cxn ang="0">
                    <a:pos x="5" y="13"/>
                  </a:cxn>
                  <a:cxn ang="0">
                    <a:pos x="3" y="16"/>
                  </a:cxn>
                  <a:cxn ang="0">
                    <a:pos x="3" y="23"/>
                  </a:cxn>
                  <a:cxn ang="0">
                    <a:pos x="4" y="28"/>
                  </a:cxn>
                  <a:cxn ang="0">
                    <a:pos x="6" y="32"/>
                  </a:cxn>
                  <a:cxn ang="0">
                    <a:pos x="5" y="34"/>
                  </a:cxn>
                  <a:cxn ang="0">
                    <a:pos x="6" y="38"/>
                  </a:cxn>
                  <a:cxn ang="0">
                    <a:pos x="7" y="38"/>
                  </a:cxn>
                  <a:cxn ang="0">
                    <a:pos x="8" y="40"/>
                  </a:cxn>
                  <a:cxn ang="0">
                    <a:pos x="1" y="40"/>
                  </a:cxn>
                  <a:cxn ang="0">
                    <a:pos x="0" y="44"/>
                  </a:cxn>
                  <a:cxn ang="0">
                    <a:pos x="2" y="48"/>
                  </a:cxn>
                  <a:cxn ang="0">
                    <a:pos x="7" y="47"/>
                  </a:cxn>
                  <a:cxn ang="0">
                    <a:pos x="11" y="44"/>
                  </a:cxn>
                  <a:cxn ang="0">
                    <a:pos x="12" y="41"/>
                  </a:cxn>
                  <a:cxn ang="0">
                    <a:pos x="10" y="37"/>
                  </a:cxn>
                  <a:cxn ang="0">
                    <a:pos x="11" y="34"/>
                  </a:cxn>
                  <a:cxn ang="0">
                    <a:pos x="12" y="31"/>
                  </a:cxn>
                  <a:cxn ang="0">
                    <a:pos x="14" y="29"/>
                  </a:cxn>
                  <a:cxn ang="0">
                    <a:pos x="13" y="25"/>
                  </a:cxn>
                  <a:cxn ang="0">
                    <a:pos x="13" y="19"/>
                  </a:cxn>
                  <a:cxn ang="0">
                    <a:pos x="14" y="13"/>
                  </a:cxn>
                  <a:cxn ang="0">
                    <a:pos x="17" y="9"/>
                  </a:cxn>
                  <a:cxn ang="0">
                    <a:pos x="22" y="6"/>
                  </a:cxn>
                  <a:cxn ang="0">
                    <a:pos x="19" y="2"/>
                  </a:cxn>
                  <a:cxn ang="0">
                    <a:pos x="19" y="0"/>
                  </a:cxn>
                </a:cxnLst>
                <a:rect l="0" t="0" r="r" b="b"/>
                <a:pathLst>
                  <a:path w="24" h="49">
                    <a:moveTo>
                      <a:pt x="19" y="0"/>
                    </a:moveTo>
                    <a:cubicBezTo>
                      <a:pt x="15" y="3"/>
                      <a:pt x="12" y="7"/>
                      <a:pt x="9" y="11"/>
                    </a:cubicBezTo>
                    <a:cubicBezTo>
                      <a:pt x="8" y="12"/>
                      <a:pt x="7" y="12"/>
                      <a:pt x="6" y="13"/>
                    </a:cubicBezTo>
                    <a:cubicBezTo>
                      <a:pt x="6" y="13"/>
                      <a:pt x="5" y="13"/>
                      <a:pt x="5" y="13"/>
                    </a:cubicBezTo>
                    <a:cubicBezTo>
                      <a:pt x="4" y="13"/>
                      <a:pt x="3" y="15"/>
                      <a:pt x="3" y="16"/>
                    </a:cubicBezTo>
                    <a:cubicBezTo>
                      <a:pt x="3" y="18"/>
                      <a:pt x="3" y="20"/>
                      <a:pt x="3" y="23"/>
                    </a:cubicBezTo>
                    <a:cubicBezTo>
                      <a:pt x="3" y="25"/>
                      <a:pt x="3" y="26"/>
                      <a:pt x="4" y="28"/>
                    </a:cubicBezTo>
                    <a:cubicBezTo>
                      <a:pt x="4" y="29"/>
                      <a:pt x="6" y="30"/>
                      <a:pt x="6" y="32"/>
                    </a:cubicBezTo>
                    <a:cubicBezTo>
                      <a:pt x="6" y="32"/>
                      <a:pt x="5" y="33"/>
                      <a:pt x="5" y="34"/>
                    </a:cubicBezTo>
                    <a:cubicBezTo>
                      <a:pt x="4" y="35"/>
                      <a:pt x="4" y="36"/>
                      <a:pt x="6" y="38"/>
                    </a:cubicBezTo>
                    <a:cubicBezTo>
                      <a:pt x="6" y="38"/>
                      <a:pt x="7" y="38"/>
                      <a:pt x="7" y="38"/>
                    </a:cubicBezTo>
                    <a:cubicBezTo>
                      <a:pt x="8" y="39"/>
                      <a:pt x="8" y="40"/>
                      <a:pt x="8" y="40"/>
                    </a:cubicBezTo>
                    <a:cubicBezTo>
                      <a:pt x="6" y="40"/>
                      <a:pt x="3" y="39"/>
                      <a:pt x="1" y="40"/>
                    </a:cubicBezTo>
                    <a:cubicBezTo>
                      <a:pt x="1" y="41"/>
                      <a:pt x="0" y="42"/>
                      <a:pt x="0" y="44"/>
                    </a:cubicBezTo>
                    <a:cubicBezTo>
                      <a:pt x="0" y="45"/>
                      <a:pt x="1" y="47"/>
                      <a:pt x="2" y="48"/>
                    </a:cubicBezTo>
                    <a:cubicBezTo>
                      <a:pt x="4" y="49"/>
                      <a:pt x="5" y="48"/>
                      <a:pt x="7" y="47"/>
                    </a:cubicBezTo>
                    <a:cubicBezTo>
                      <a:pt x="8" y="46"/>
                      <a:pt x="9" y="45"/>
                      <a:pt x="11" y="44"/>
                    </a:cubicBezTo>
                    <a:cubicBezTo>
                      <a:pt x="11" y="43"/>
                      <a:pt x="12" y="42"/>
                      <a:pt x="12" y="41"/>
                    </a:cubicBezTo>
                    <a:cubicBezTo>
                      <a:pt x="10" y="41"/>
                      <a:pt x="10" y="38"/>
                      <a:pt x="10" y="37"/>
                    </a:cubicBezTo>
                    <a:cubicBezTo>
                      <a:pt x="10" y="35"/>
                      <a:pt x="11" y="35"/>
                      <a:pt x="11" y="34"/>
                    </a:cubicBezTo>
                    <a:cubicBezTo>
                      <a:pt x="12" y="33"/>
                      <a:pt x="12" y="32"/>
                      <a:pt x="12" y="31"/>
                    </a:cubicBezTo>
                    <a:cubicBezTo>
                      <a:pt x="12" y="30"/>
                      <a:pt x="13" y="29"/>
                      <a:pt x="14" y="29"/>
                    </a:cubicBezTo>
                    <a:cubicBezTo>
                      <a:pt x="14" y="28"/>
                      <a:pt x="13" y="26"/>
                      <a:pt x="13" y="25"/>
                    </a:cubicBezTo>
                    <a:cubicBezTo>
                      <a:pt x="13" y="23"/>
                      <a:pt x="13" y="21"/>
                      <a:pt x="13" y="19"/>
                    </a:cubicBezTo>
                    <a:cubicBezTo>
                      <a:pt x="14" y="17"/>
                      <a:pt x="14" y="15"/>
                      <a:pt x="14" y="13"/>
                    </a:cubicBezTo>
                    <a:cubicBezTo>
                      <a:pt x="14" y="10"/>
                      <a:pt x="14" y="10"/>
                      <a:pt x="17" y="9"/>
                    </a:cubicBezTo>
                    <a:cubicBezTo>
                      <a:pt x="19" y="8"/>
                      <a:pt x="21" y="8"/>
                      <a:pt x="22" y="6"/>
                    </a:cubicBezTo>
                    <a:cubicBezTo>
                      <a:pt x="24" y="2"/>
                      <a:pt x="20" y="4"/>
                      <a:pt x="19" y="2"/>
                    </a:cubicBezTo>
                    <a:lnTo>
                      <a:pt x="19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50" name="Freeform 66">
                <a:extLst>
                  <a:ext uri="{FF2B5EF4-FFF2-40B4-BE49-F238E27FC236}">
                    <a16:creationId xmlns:a16="http://schemas.microsoft.com/office/drawing/2014/main" id="{8AEC8434-0657-49FD-9E3F-AE26B7A39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3654425"/>
                <a:ext cx="36513" cy="60325"/>
              </a:xfrm>
              <a:custGeom>
                <a:avLst/>
                <a:gdLst/>
                <a:ahLst/>
                <a:cxnLst>
                  <a:cxn ang="0">
                    <a:pos x="13" y="5"/>
                  </a:cxn>
                  <a:cxn ang="0">
                    <a:pos x="0" y="5"/>
                  </a:cxn>
                  <a:cxn ang="0">
                    <a:pos x="2" y="14"/>
                  </a:cxn>
                  <a:cxn ang="0">
                    <a:pos x="4" y="17"/>
                  </a:cxn>
                  <a:cxn ang="0">
                    <a:pos x="4" y="20"/>
                  </a:cxn>
                  <a:cxn ang="0">
                    <a:pos x="6" y="26"/>
                  </a:cxn>
                  <a:cxn ang="0">
                    <a:pos x="13" y="30"/>
                  </a:cxn>
                  <a:cxn ang="0">
                    <a:pos x="16" y="31"/>
                  </a:cxn>
                  <a:cxn ang="0">
                    <a:pos x="19" y="25"/>
                  </a:cxn>
                  <a:cxn ang="0">
                    <a:pos x="13" y="19"/>
                  </a:cxn>
                  <a:cxn ang="0">
                    <a:pos x="15" y="16"/>
                  </a:cxn>
                  <a:cxn ang="0">
                    <a:pos x="16" y="13"/>
                  </a:cxn>
                  <a:cxn ang="0">
                    <a:pos x="16" y="11"/>
                  </a:cxn>
                  <a:cxn ang="0">
                    <a:pos x="16" y="9"/>
                  </a:cxn>
                  <a:cxn ang="0">
                    <a:pos x="13" y="7"/>
                  </a:cxn>
                  <a:cxn ang="0">
                    <a:pos x="13" y="5"/>
                  </a:cxn>
                </a:cxnLst>
                <a:rect l="0" t="0" r="r" b="b"/>
                <a:pathLst>
                  <a:path w="20" h="32">
                    <a:moveTo>
                      <a:pt x="13" y="5"/>
                    </a:moveTo>
                    <a:cubicBezTo>
                      <a:pt x="11" y="1"/>
                      <a:pt x="2" y="0"/>
                      <a:pt x="0" y="5"/>
                    </a:cubicBezTo>
                    <a:cubicBezTo>
                      <a:pt x="0" y="8"/>
                      <a:pt x="1" y="11"/>
                      <a:pt x="2" y="14"/>
                    </a:cubicBezTo>
                    <a:cubicBezTo>
                      <a:pt x="3" y="15"/>
                      <a:pt x="4" y="16"/>
                      <a:pt x="4" y="17"/>
                    </a:cubicBezTo>
                    <a:cubicBezTo>
                      <a:pt x="4" y="18"/>
                      <a:pt x="4" y="19"/>
                      <a:pt x="4" y="20"/>
                    </a:cubicBezTo>
                    <a:cubicBezTo>
                      <a:pt x="4" y="22"/>
                      <a:pt x="4" y="24"/>
                      <a:pt x="6" y="26"/>
                    </a:cubicBezTo>
                    <a:cubicBezTo>
                      <a:pt x="8" y="28"/>
                      <a:pt x="10" y="29"/>
                      <a:pt x="13" y="30"/>
                    </a:cubicBezTo>
                    <a:cubicBezTo>
                      <a:pt x="14" y="30"/>
                      <a:pt x="15" y="31"/>
                      <a:pt x="16" y="31"/>
                    </a:cubicBezTo>
                    <a:cubicBezTo>
                      <a:pt x="20" y="32"/>
                      <a:pt x="19" y="27"/>
                      <a:pt x="19" y="25"/>
                    </a:cubicBezTo>
                    <a:cubicBezTo>
                      <a:pt x="19" y="21"/>
                      <a:pt x="16" y="19"/>
                      <a:pt x="13" y="19"/>
                    </a:cubicBezTo>
                    <a:cubicBezTo>
                      <a:pt x="15" y="20"/>
                      <a:pt x="15" y="18"/>
                      <a:pt x="15" y="16"/>
                    </a:cubicBezTo>
                    <a:cubicBezTo>
                      <a:pt x="16" y="15"/>
                      <a:pt x="16" y="14"/>
                      <a:pt x="16" y="13"/>
                    </a:cubicBezTo>
                    <a:cubicBezTo>
                      <a:pt x="16" y="13"/>
                      <a:pt x="16" y="12"/>
                      <a:pt x="16" y="11"/>
                    </a:cubicBezTo>
                    <a:cubicBezTo>
                      <a:pt x="16" y="11"/>
                      <a:pt x="16" y="10"/>
                      <a:pt x="16" y="9"/>
                    </a:cubicBezTo>
                    <a:cubicBezTo>
                      <a:pt x="15" y="7"/>
                      <a:pt x="14" y="8"/>
                      <a:pt x="13" y="7"/>
                    </a:cubicBezTo>
                    <a:lnTo>
                      <a:pt x="13" y="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51" name="Freeform 67">
                <a:extLst>
                  <a:ext uri="{FF2B5EF4-FFF2-40B4-BE49-F238E27FC236}">
                    <a16:creationId xmlns:a16="http://schemas.microsoft.com/office/drawing/2014/main" id="{0FED481B-C578-4121-96CB-722E65172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7488" y="3619500"/>
                <a:ext cx="46038" cy="65088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7" y="1"/>
                  </a:cxn>
                  <a:cxn ang="0">
                    <a:pos x="12" y="4"/>
                  </a:cxn>
                  <a:cxn ang="0">
                    <a:pos x="12" y="6"/>
                  </a:cxn>
                  <a:cxn ang="0">
                    <a:pos x="11" y="7"/>
                  </a:cxn>
                  <a:cxn ang="0">
                    <a:pos x="10" y="10"/>
                  </a:cxn>
                  <a:cxn ang="0">
                    <a:pos x="6" y="6"/>
                  </a:cxn>
                  <a:cxn ang="0">
                    <a:pos x="4" y="11"/>
                  </a:cxn>
                  <a:cxn ang="0">
                    <a:pos x="3" y="12"/>
                  </a:cxn>
                  <a:cxn ang="0">
                    <a:pos x="1" y="13"/>
                  </a:cxn>
                  <a:cxn ang="0">
                    <a:pos x="1" y="19"/>
                  </a:cxn>
                  <a:cxn ang="0">
                    <a:pos x="0" y="22"/>
                  </a:cxn>
                  <a:cxn ang="0">
                    <a:pos x="3" y="24"/>
                  </a:cxn>
                  <a:cxn ang="0">
                    <a:pos x="4" y="21"/>
                  </a:cxn>
                  <a:cxn ang="0">
                    <a:pos x="6" y="19"/>
                  </a:cxn>
                  <a:cxn ang="0">
                    <a:pos x="7" y="18"/>
                  </a:cxn>
                  <a:cxn ang="0">
                    <a:pos x="10" y="17"/>
                  </a:cxn>
                  <a:cxn ang="0">
                    <a:pos x="15" y="14"/>
                  </a:cxn>
                  <a:cxn ang="0">
                    <a:pos x="11" y="19"/>
                  </a:cxn>
                  <a:cxn ang="0">
                    <a:pos x="8" y="21"/>
                  </a:cxn>
                  <a:cxn ang="0">
                    <a:pos x="11" y="24"/>
                  </a:cxn>
                  <a:cxn ang="0">
                    <a:pos x="9" y="27"/>
                  </a:cxn>
                  <a:cxn ang="0">
                    <a:pos x="11" y="31"/>
                  </a:cxn>
                  <a:cxn ang="0">
                    <a:pos x="10" y="34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4" y="26"/>
                  </a:cxn>
                  <a:cxn ang="0">
                    <a:pos x="21" y="16"/>
                  </a:cxn>
                  <a:cxn ang="0">
                    <a:pos x="19" y="16"/>
                  </a:cxn>
                  <a:cxn ang="0">
                    <a:pos x="19" y="14"/>
                  </a:cxn>
                  <a:cxn ang="0">
                    <a:pos x="19" y="9"/>
                  </a:cxn>
                  <a:cxn ang="0">
                    <a:pos x="18" y="2"/>
                  </a:cxn>
                  <a:cxn ang="0">
                    <a:pos x="18" y="0"/>
                  </a:cxn>
                </a:cxnLst>
                <a:rect l="0" t="0" r="r" b="b"/>
                <a:pathLst>
                  <a:path w="25" h="35">
                    <a:moveTo>
                      <a:pt x="18" y="0"/>
                    </a:moveTo>
                    <a:cubicBezTo>
                      <a:pt x="17" y="1"/>
                      <a:pt x="17" y="1"/>
                      <a:pt x="17" y="1"/>
                    </a:cubicBezTo>
                    <a:cubicBezTo>
                      <a:pt x="15" y="2"/>
                      <a:pt x="13" y="1"/>
                      <a:pt x="12" y="4"/>
                    </a:cubicBezTo>
                    <a:cubicBezTo>
                      <a:pt x="12" y="5"/>
                      <a:pt x="12" y="5"/>
                      <a:pt x="12" y="6"/>
                    </a:cubicBezTo>
                    <a:cubicBezTo>
                      <a:pt x="12" y="6"/>
                      <a:pt x="11" y="6"/>
                      <a:pt x="11" y="7"/>
                    </a:cubicBezTo>
                    <a:cubicBezTo>
                      <a:pt x="10" y="8"/>
                      <a:pt x="10" y="9"/>
                      <a:pt x="10" y="10"/>
                    </a:cubicBezTo>
                    <a:cubicBezTo>
                      <a:pt x="9" y="9"/>
                      <a:pt x="8" y="5"/>
                      <a:pt x="6" y="6"/>
                    </a:cubicBezTo>
                    <a:cubicBezTo>
                      <a:pt x="5" y="6"/>
                      <a:pt x="5" y="10"/>
                      <a:pt x="4" y="11"/>
                    </a:cubicBezTo>
                    <a:cubicBezTo>
                      <a:pt x="3" y="12"/>
                      <a:pt x="4" y="12"/>
                      <a:pt x="3" y="12"/>
                    </a:cubicBezTo>
                    <a:cubicBezTo>
                      <a:pt x="2" y="13"/>
                      <a:pt x="1" y="12"/>
                      <a:pt x="1" y="13"/>
                    </a:cubicBezTo>
                    <a:cubicBezTo>
                      <a:pt x="0" y="15"/>
                      <a:pt x="1" y="17"/>
                      <a:pt x="1" y="19"/>
                    </a:cubicBezTo>
                    <a:cubicBezTo>
                      <a:pt x="1" y="20"/>
                      <a:pt x="0" y="21"/>
                      <a:pt x="0" y="22"/>
                    </a:cubicBezTo>
                    <a:cubicBezTo>
                      <a:pt x="0" y="24"/>
                      <a:pt x="2" y="25"/>
                      <a:pt x="3" y="24"/>
                    </a:cubicBezTo>
                    <a:cubicBezTo>
                      <a:pt x="5" y="23"/>
                      <a:pt x="4" y="23"/>
                      <a:pt x="4" y="21"/>
                    </a:cubicBezTo>
                    <a:cubicBezTo>
                      <a:pt x="5" y="20"/>
                      <a:pt x="5" y="20"/>
                      <a:pt x="6" y="19"/>
                    </a:cubicBezTo>
                    <a:cubicBezTo>
                      <a:pt x="6" y="19"/>
                      <a:pt x="6" y="18"/>
                      <a:pt x="7" y="18"/>
                    </a:cubicBezTo>
                    <a:cubicBezTo>
                      <a:pt x="8" y="18"/>
                      <a:pt x="9" y="17"/>
                      <a:pt x="10" y="17"/>
                    </a:cubicBezTo>
                    <a:cubicBezTo>
                      <a:pt x="11" y="16"/>
                      <a:pt x="13" y="15"/>
                      <a:pt x="15" y="14"/>
                    </a:cubicBezTo>
                    <a:cubicBezTo>
                      <a:pt x="15" y="17"/>
                      <a:pt x="12" y="18"/>
                      <a:pt x="11" y="19"/>
                    </a:cubicBezTo>
                    <a:cubicBezTo>
                      <a:pt x="10" y="20"/>
                      <a:pt x="9" y="21"/>
                      <a:pt x="8" y="21"/>
                    </a:cubicBezTo>
                    <a:cubicBezTo>
                      <a:pt x="9" y="22"/>
                      <a:pt x="10" y="23"/>
                      <a:pt x="11" y="24"/>
                    </a:cubicBezTo>
                    <a:cubicBezTo>
                      <a:pt x="11" y="25"/>
                      <a:pt x="9" y="26"/>
                      <a:pt x="9" y="27"/>
                    </a:cubicBezTo>
                    <a:cubicBezTo>
                      <a:pt x="8" y="29"/>
                      <a:pt x="11" y="29"/>
                      <a:pt x="11" y="31"/>
                    </a:cubicBezTo>
                    <a:cubicBezTo>
                      <a:pt x="10" y="32"/>
                      <a:pt x="10" y="33"/>
                      <a:pt x="10" y="34"/>
                    </a:cubicBezTo>
                    <a:cubicBezTo>
                      <a:pt x="14" y="35"/>
                      <a:pt x="15" y="33"/>
                      <a:pt x="15" y="30"/>
                    </a:cubicBezTo>
                    <a:cubicBezTo>
                      <a:pt x="16" y="32"/>
                      <a:pt x="20" y="31"/>
                      <a:pt x="22" y="30"/>
                    </a:cubicBezTo>
                    <a:cubicBezTo>
                      <a:pt x="23" y="29"/>
                      <a:pt x="24" y="27"/>
                      <a:pt x="24" y="26"/>
                    </a:cubicBezTo>
                    <a:cubicBezTo>
                      <a:pt x="25" y="23"/>
                      <a:pt x="23" y="18"/>
                      <a:pt x="21" y="16"/>
                    </a:cubicBezTo>
                    <a:cubicBezTo>
                      <a:pt x="20" y="16"/>
                      <a:pt x="20" y="16"/>
                      <a:pt x="19" y="16"/>
                    </a:cubicBezTo>
                    <a:cubicBezTo>
                      <a:pt x="19" y="15"/>
                      <a:pt x="19" y="14"/>
                      <a:pt x="19" y="14"/>
                    </a:cubicBezTo>
                    <a:cubicBezTo>
                      <a:pt x="19" y="12"/>
                      <a:pt x="19" y="11"/>
                      <a:pt x="19" y="9"/>
                    </a:cubicBezTo>
                    <a:cubicBezTo>
                      <a:pt x="19" y="7"/>
                      <a:pt x="20" y="2"/>
                      <a:pt x="18" y="2"/>
                    </a:cubicBezTo>
                    <a:lnTo>
                      <a:pt x="1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52" name="Freeform 68">
                <a:extLst>
                  <a:ext uri="{FF2B5EF4-FFF2-40B4-BE49-F238E27FC236}">
                    <a16:creationId xmlns:a16="http://schemas.microsoft.com/office/drawing/2014/main" id="{19A72C24-7CFE-4EF9-80E8-BFF0BDC47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538" y="3581400"/>
                <a:ext cx="14288" cy="238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" y="4"/>
                  </a:cxn>
                  <a:cxn ang="0">
                    <a:pos x="0" y="10"/>
                  </a:cxn>
                  <a:cxn ang="0">
                    <a:pos x="1" y="12"/>
                  </a:cxn>
                  <a:cxn ang="0">
                    <a:pos x="3" y="12"/>
                  </a:cxn>
                  <a:cxn ang="0">
                    <a:pos x="6" y="6"/>
                  </a:cxn>
                  <a:cxn ang="0">
                    <a:pos x="8" y="3"/>
                  </a:cxn>
                  <a:cxn ang="0">
                    <a:pos x="8" y="0"/>
                  </a:cxn>
                </a:cxnLst>
                <a:rect l="0" t="0" r="r" b="b"/>
                <a:pathLst>
                  <a:path w="8" h="13">
                    <a:moveTo>
                      <a:pt x="8" y="0"/>
                    </a:moveTo>
                    <a:cubicBezTo>
                      <a:pt x="5" y="0"/>
                      <a:pt x="3" y="3"/>
                      <a:pt x="2" y="4"/>
                    </a:cubicBezTo>
                    <a:cubicBezTo>
                      <a:pt x="0" y="6"/>
                      <a:pt x="0" y="8"/>
                      <a:pt x="0" y="10"/>
                    </a:cubicBezTo>
                    <a:cubicBezTo>
                      <a:pt x="1" y="11"/>
                      <a:pt x="0" y="12"/>
                      <a:pt x="1" y="12"/>
                    </a:cubicBezTo>
                    <a:cubicBezTo>
                      <a:pt x="1" y="13"/>
                      <a:pt x="3" y="12"/>
                      <a:pt x="3" y="12"/>
                    </a:cubicBezTo>
                    <a:cubicBezTo>
                      <a:pt x="5" y="11"/>
                      <a:pt x="5" y="8"/>
                      <a:pt x="6" y="6"/>
                    </a:cubicBezTo>
                    <a:cubicBezTo>
                      <a:pt x="7" y="5"/>
                      <a:pt x="8" y="4"/>
                      <a:pt x="8" y="3"/>
                    </a:cubicBez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53" name="Freeform 69">
                <a:extLst>
                  <a:ext uri="{FF2B5EF4-FFF2-40B4-BE49-F238E27FC236}">
                    <a16:creationId xmlns:a16="http://schemas.microsoft.com/office/drawing/2014/main" id="{50687162-1505-40A2-AC10-C3C049F32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8275" y="3482975"/>
                <a:ext cx="58738" cy="3968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0" y="7"/>
                  </a:cxn>
                  <a:cxn ang="0">
                    <a:pos x="19" y="9"/>
                  </a:cxn>
                  <a:cxn ang="0">
                    <a:pos x="16" y="10"/>
                  </a:cxn>
                  <a:cxn ang="0">
                    <a:pos x="15" y="12"/>
                  </a:cxn>
                  <a:cxn ang="0">
                    <a:pos x="13" y="13"/>
                  </a:cxn>
                  <a:cxn ang="0">
                    <a:pos x="9" y="15"/>
                  </a:cxn>
                  <a:cxn ang="0">
                    <a:pos x="4" y="15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5" y="18"/>
                  </a:cxn>
                  <a:cxn ang="0">
                    <a:pos x="10" y="18"/>
                  </a:cxn>
                  <a:cxn ang="0">
                    <a:pos x="14" y="15"/>
                  </a:cxn>
                  <a:cxn ang="0">
                    <a:pos x="15" y="12"/>
                  </a:cxn>
                  <a:cxn ang="0">
                    <a:pos x="21" y="11"/>
                  </a:cxn>
                  <a:cxn ang="0">
                    <a:pos x="23" y="10"/>
                  </a:cxn>
                  <a:cxn ang="0">
                    <a:pos x="28" y="6"/>
                  </a:cxn>
                  <a:cxn ang="0">
                    <a:pos x="31" y="1"/>
                  </a:cxn>
                  <a:cxn ang="0">
                    <a:pos x="27" y="0"/>
                  </a:cxn>
                </a:cxnLst>
                <a:rect l="0" t="0" r="r" b="b"/>
                <a:pathLst>
                  <a:path w="31" h="22">
                    <a:moveTo>
                      <a:pt x="27" y="0"/>
                    </a:moveTo>
                    <a:cubicBezTo>
                      <a:pt x="24" y="2"/>
                      <a:pt x="21" y="4"/>
                      <a:pt x="20" y="7"/>
                    </a:cubicBezTo>
                    <a:cubicBezTo>
                      <a:pt x="19" y="8"/>
                      <a:pt x="19" y="9"/>
                      <a:pt x="19" y="9"/>
                    </a:cubicBezTo>
                    <a:cubicBezTo>
                      <a:pt x="18" y="11"/>
                      <a:pt x="17" y="9"/>
                      <a:pt x="16" y="10"/>
                    </a:cubicBezTo>
                    <a:cubicBezTo>
                      <a:pt x="14" y="11"/>
                      <a:pt x="15" y="11"/>
                      <a:pt x="15" y="12"/>
                    </a:cubicBezTo>
                    <a:cubicBezTo>
                      <a:pt x="14" y="13"/>
                      <a:pt x="14" y="13"/>
                      <a:pt x="13" y="13"/>
                    </a:cubicBezTo>
                    <a:cubicBezTo>
                      <a:pt x="12" y="13"/>
                      <a:pt x="8" y="14"/>
                      <a:pt x="9" y="15"/>
                    </a:cubicBezTo>
                    <a:cubicBezTo>
                      <a:pt x="7" y="16"/>
                      <a:pt x="6" y="15"/>
                      <a:pt x="4" y="15"/>
                    </a:cubicBezTo>
                    <a:cubicBezTo>
                      <a:pt x="2" y="15"/>
                      <a:pt x="1" y="16"/>
                      <a:pt x="0" y="19"/>
                    </a:cubicBezTo>
                    <a:cubicBezTo>
                      <a:pt x="0" y="21"/>
                      <a:pt x="1" y="21"/>
                      <a:pt x="3" y="22"/>
                    </a:cubicBezTo>
                    <a:cubicBezTo>
                      <a:pt x="6" y="22"/>
                      <a:pt x="4" y="20"/>
                      <a:pt x="5" y="18"/>
                    </a:cubicBezTo>
                    <a:cubicBezTo>
                      <a:pt x="8" y="20"/>
                      <a:pt x="7" y="19"/>
                      <a:pt x="10" y="18"/>
                    </a:cubicBezTo>
                    <a:cubicBezTo>
                      <a:pt x="12" y="18"/>
                      <a:pt x="14" y="18"/>
                      <a:pt x="14" y="15"/>
                    </a:cubicBezTo>
                    <a:cubicBezTo>
                      <a:pt x="14" y="13"/>
                      <a:pt x="15" y="13"/>
                      <a:pt x="15" y="12"/>
                    </a:cubicBezTo>
                    <a:cubicBezTo>
                      <a:pt x="17" y="11"/>
                      <a:pt x="19" y="11"/>
                      <a:pt x="21" y="11"/>
                    </a:cubicBezTo>
                    <a:cubicBezTo>
                      <a:pt x="22" y="11"/>
                      <a:pt x="22" y="11"/>
                      <a:pt x="23" y="10"/>
                    </a:cubicBezTo>
                    <a:cubicBezTo>
                      <a:pt x="25" y="9"/>
                      <a:pt x="27" y="8"/>
                      <a:pt x="28" y="6"/>
                    </a:cubicBezTo>
                    <a:cubicBezTo>
                      <a:pt x="29" y="5"/>
                      <a:pt x="30" y="2"/>
                      <a:pt x="31" y="1"/>
                    </a:cubicBezTo>
                    <a:cubicBezTo>
                      <a:pt x="30" y="0"/>
                      <a:pt x="28" y="0"/>
                      <a:pt x="27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54" name="Freeform 70">
                <a:extLst>
                  <a:ext uri="{FF2B5EF4-FFF2-40B4-BE49-F238E27FC236}">
                    <a16:creationId xmlns:a16="http://schemas.microsoft.com/office/drawing/2014/main" id="{01A109F0-9705-4C45-A721-81C8C56D49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9238" y="3435350"/>
                <a:ext cx="7938" cy="9525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0" y="5"/>
                  </a:cxn>
                  <a:cxn ang="0">
                    <a:pos x="2" y="1"/>
                  </a:cxn>
                  <a:cxn ang="0">
                    <a:pos x="3" y="2"/>
                  </a:cxn>
                </a:cxnLst>
                <a:rect l="0" t="0" r="r" b="b"/>
                <a:pathLst>
                  <a:path w="4" h="5">
                    <a:moveTo>
                      <a:pt x="3" y="2"/>
                    </a:moveTo>
                    <a:cubicBezTo>
                      <a:pt x="4" y="4"/>
                      <a:pt x="2" y="5"/>
                      <a:pt x="0" y="5"/>
                    </a:cubicBezTo>
                    <a:cubicBezTo>
                      <a:pt x="0" y="4"/>
                      <a:pt x="0" y="0"/>
                      <a:pt x="2" y="1"/>
                    </a:cubicBezTo>
                    <a:cubicBezTo>
                      <a:pt x="2" y="1"/>
                      <a:pt x="2" y="2"/>
                      <a:pt x="3" y="2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55" name="Freeform 71">
                <a:extLst>
                  <a:ext uri="{FF2B5EF4-FFF2-40B4-BE49-F238E27FC236}">
                    <a16:creationId xmlns:a16="http://schemas.microsoft.com/office/drawing/2014/main" id="{8433F648-79DF-46CB-A588-58E2D12C04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9538" y="3416300"/>
                <a:ext cx="22225" cy="26988"/>
              </a:xfrm>
              <a:custGeom>
                <a:avLst/>
                <a:gdLst/>
                <a:ahLst/>
                <a:cxnLst>
                  <a:cxn ang="0">
                    <a:pos x="12" y="5"/>
                  </a:cxn>
                  <a:cxn ang="0">
                    <a:pos x="10" y="0"/>
                  </a:cxn>
                  <a:cxn ang="0">
                    <a:pos x="7" y="3"/>
                  </a:cxn>
                  <a:cxn ang="0">
                    <a:pos x="1" y="9"/>
                  </a:cxn>
                  <a:cxn ang="0">
                    <a:pos x="0" y="12"/>
                  </a:cxn>
                  <a:cxn ang="0">
                    <a:pos x="4" y="12"/>
                  </a:cxn>
                  <a:cxn ang="0">
                    <a:pos x="4" y="9"/>
                  </a:cxn>
                  <a:cxn ang="0">
                    <a:pos x="8" y="7"/>
                  </a:cxn>
                  <a:cxn ang="0">
                    <a:pos x="11" y="4"/>
                  </a:cxn>
                  <a:cxn ang="0">
                    <a:pos x="12" y="5"/>
                  </a:cxn>
                </a:cxnLst>
                <a:rect l="0" t="0" r="r" b="b"/>
                <a:pathLst>
                  <a:path w="12" h="14">
                    <a:moveTo>
                      <a:pt x="12" y="5"/>
                    </a:moveTo>
                    <a:cubicBezTo>
                      <a:pt x="12" y="3"/>
                      <a:pt x="12" y="1"/>
                      <a:pt x="10" y="0"/>
                    </a:cubicBezTo>
                    <a:cubicBezTo>
                      <a:pt x="7" y="0"/>
                      <a:pt x="8" y="2"/>
                      <a:pt x="7" y="3"/>
                    </a:cubicBezTo>
                    <a:cubicBezTo>
                      <a:pt x="6" y="6"/>
                      <a:pt x="2" y="6"/>
                      <a:pt x="1" y="9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1" y="14"/>
                      <a:pt x="4" y="14"/>
                      <a:pt x="4" y="12"/>
                    </a:cubicBezTo>
                    <a:cubicBezTo>
                      <a:pt x="4" y="11"/>
                      <a:pt x="3" y="10"/>
                      <a:pt x="4" y="9"/>
                    </a:cubicBezTo>
                    <a:cubicBezTo>
                      <a:pt x="4" y="8"/>
                      <a:pt x="7" y="7"/>
                      <a:pt x="8" y="7"/>
                    </a:cubicBezTo>
                    <a:cubicBezTo>
                      <a:pt x="9" y="6"/>
                      <a:pt x="11" y="6"/>
                      <a:pt x="11" y="4"/>
                    </a:cubicBezTo>
                    <a:lnTo>
                      <a:pt x="12" y="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56" name="Freeform 72">
                <a:extLst>
                  <a:ext uri="{FF2B5EF4-FFF2-40B4-BE49-F238E27FC236}">
                    <a16:creationId xmlns:a16="http://schemas.microsoft.com/office/drawing/2014/main" id="{FD9698B4-9ACD-4DAA-94A2-182E629FB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3188" y="3455988"/>
                <a:ext cx="6350" cy="635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2" y="1"/>
                      <a:pt x="0" y="1"/>
                      <a:pt x="0" y="2"/>
                    </a:cubicBezTo>
                    <a:cubicBezTo>
                      <a:pt x="2" y="3"/>
                      <a:pt x="3" y="2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57" name="Freeform 73">
                <a:extLst>
                  <a:ext uri="{FF2B5EF4-FFF2-40B4-BE49-F238E27FC236}">
                    <a16:creationId xmlns:a16="http://schemas.microsoft.com/office/drawing/2014/main" id="{36BCE98D-399F-4233-8277-BA302E6E6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4300" y="3294063"/>
                <a:ext cx="42863" cy="120650"/>
              </a:xfrm>
              <a:custGeom>
                <a:avLst/>
                <a:gdLst/>
                <a:ahLst/>
                <a:cxnLst>
                  <a:cxn ang="0">
                    <a:pos x="7" y="61"/>
                  </a:cxn>
                  <a:cxn ang="0">
                    <a:pos x="12" y="62"/>
                  </a:cxn>
                  <a:cxn ang="0">
                    <a:pos x="12" y="65"/>
                  </a:cxn>
                  <a:cxn ang="0">
                    <a:pos x="14" y="61"/>
                  </a:cxn>
                  <a:cxn ang="0">
                    <a:pos x="15" y="58"/>
                  </a:cxn>
                  <a:cxn ang="0">
                    <a:pos x="17" y="58"/>
                  </a:cxn>
                  <a:cxn ang="0">
                    <a:pos x="14" y="57"/>
                  </a:cxn>
                  <a:cxn ang="0">
                    <a:pos x="14" y="55"/>
                  </a:cxn>
                  <a:cxn ang="0">
                    <a:pos x="13" y="50"/>
                  </a:cxn>
                  <a:cxn ang="0">
                    <a:pos x="16" y="47"/>
                  </a:cxn>
                  <a:cxn ang="0">
                    <a:pos x="13" y="41"/>
                  </a:cxn>
                  <a:cxn ang="0">
                    <a:pos x="14" y="38"/>
                  </a:cxn>
                  <a:cxn ang="0">
                    <a:pos x="12" y="37"/>
                  </a:cxn>
                  <a:cxn ang="0">
                    <a:pos x="13" y="33"/>
                  </a:cxn>
                  <a:cxn ang="0">
                    <a:pos x="12" y="31"/>
                  </a:cxn>
                  <a:cxn ang="0">
                    <a:pos x="16" y="30"/>
                  </a:cxn>
                  <a:cxn ang="0">
                    <a:pos x="13" y="25"/>
                  </a:cxn>
                  <a:cxn ang="0">
                    <a:pos x="20" y="22"/>
                  </a:cxn>
                  <a:cxn ang="0">
                    <a:pos x="20" y="18"/>
                  </a:cxn>
                  <a:cxn ang="0">
                    <a:pos x="20" y="17"/>
                  </a:cxn>
                  <a:cxn ang="0">
                    <a:pos x="19" y="13"/>
                  </a:cxn>
                  <a:cxn ang="0">
                    <a:pos x="22" y="12"/>
                  </a:cxn>
                  <a:cxn ang="0">
                    <a:pos x="23" y="6"/>
                  </a:cxn>
                  <a:cxn ang="0">
                    <a:pos x="20" y="4"/>
                  </a:cxn>
                  <a:cxn ang="0">
                    <a:pos x="20" y="5"/>
                  </a:cxn>
                  <a:cxn ang="0">
                    <a:pos x="16" y="2"/>
                  </a:cxn>
                  <a:cxn ang="0">
                    <a:pos x="13" y="2"/>
                  </a:cxn>
                  <a:cxn ang="0">
                    <a:pos x="7" y="5"/>
                  </a:cxn>
                  <a:cxn ang="0">
                    <a:pos x="2" y="2"/>
                  </a:cxn>
                  <a:cxn ang="0">
                    <a:pos x="0" y="12"/>
                  </a:cxn>
                  <a:cxn ang="0">
                    <a:pos x="1" y="14"/>
                  </a:cxn>
                  <a:cxn ang="0">
                    <a:pos x="6" y="14"/>
                  </a:cxn>
                  <a:cxn ang="0">
                    <a:pos x="6" y="17"/>
                  </a:cxn>
                  <a:cxn ang="0">
                    <a:pos x="8" y="17"/>
                  </a:cxn>
                  <a:cxn ang="0">
                    <a:pos x="8" y="20"/>
                  </a:cxn>
                  <a:cxn ang="0">
                    <a:pos x="9" y="20"/>
                  </a:cxn>
                  <a:cxn ang="0">
                    <a:pos x="4" y="23"/>
                  </a:cxn>
                  <a:cxn ang="0">
                    <a:pos x="8" y="27"/>
                  </a:cxn>
                  <a:cxn ang="0">
                    <a:pos x="2" y="32"/>
                  </a:cxn>
                  <a:cxn ang="0">
                    <a:pos x="3" y="33"/>
                  </a:cxn>
                  <a:cxn ang="0">
                    <a:pos x="4" y="34"/>
                  </a:cxn>
                  <a:cxn ang="0">
                    <a:pos x="5" y="39"/>
                  </a:cxn>
                  <a:cxn ang="0">
                    <a:pos x="6" y="41"/>
                  </a:cxn>
                  <a:cxn ang="0">
                    <a:pos x="5" y="41"/>
                  </a:cxn>
                  <a:cxn ang="0">
                    <a:pos x="4" y="44"/>
                  </a:cxn>
                  <a:cxn ang="0">
                    <a:pos x="6" y="55"/>
                  </a:cxn>
                  <a:cxn ang="0">
                    <a:pos x="6" y="58"/>
                  </a:cxn>
                  <a:cxn ang="0">
                    <a:pos x="9" y="61"/>
                  </a:cxn>
                  <a:cxn ang="0">
                    <a:pos x="10" y="61"/>
                  </a:cxn>
                  <a:cxn ang="0">
                    <a:pos x="7" y="61"/>
                  </a:cxn>
                </a:cxnLst>
                <a:rect l="0" t="0" r="r" b="b"/>
                <a:pathLst>
                  <a:path w="23" h="65">
                    <a:moveTo>
                      <a:pt x="7" y="61"/>
                    </a:moveTo>
                    <a:cubicBezTo>
                      <a:pt x="9" y="62"/>
                      <a:pt x="10" y="62"/>
                      <a:pt x="12" y="62"/>
                    </a:cubicBezTo>
                    <a:cubicBezTo>
                      <a:pt x="13" y="63"/>
                      <a:pt x="12" y="64"/>
                      <a:pt x="12" y="65"/>
                    </a:cubicBezTo>
                    <a:cubicBezTo>
                      <a:pt x="13" y="64"/>
                      <a:pt x="14" y="63"/>
                      <a:pt x="14" y="61"/>
                    </a:cubicBezTo>
                    <a:cubicBezTo>
                      <a:pt x="15" y="60"/>
                      <a:pt x="14" y="59"/>
                      <a:pt x="15" y="58"/>
                    </a:cubicBezTo>
                    <a:cubicBezTo>
                      <a:pt x="15" y="58"/>
                      <a:pt x="16" y="58"/>
                      <a:pt x="17" y="58"/>
                    </a:cubicBezTo>
                    <a:cubicBezTo>
                      <a:pt x="17" y="57"/>
                      <a:pt x="15" y="57"/>
                      <a:pt x="14" y="57"/>
                    </a:cubicBezTo>
                    <a:cubicBezTo>
                      <a:pt x="13" y="56"/>
                      <a:pt x="14" y="56"/>
                      <a:pt x="14" y="55"/>
                    </a:cubicBezTo>
                    <a:cubicBezTo>
                      <a:pt x="13" y="53"/>
                      <a:pt x="15" y="52"/>
                      <a:pt x="13" y="50"/>
                    </a:cubicBezTo>
                    <a:cubicBezTo>
                      <a:pt x="14" y="49"/>
                      <a:pt x="15" y="47"/>
                      <a:pt x="16" y="47"/>
                    </a:cubicBezTo>
                    <a:cubicBezTo>
                      <a:pt x="17" y="44"/>
                      <a:pt x="14" y="43"/>
                      <a:pt x="13" y="41"/>
                    </a:cubicBezTo>
                    <a:cubicBezTo>
                      <a:pt x="13" y="40"/>
                      <a:pt x="15" y="39"/>
                      <a:pt x="14" y="38"/>
                    </a:cubicBezTo>
                    <a:cubicBezTo>
                      <a:pt x="14" y="37"/>
                      <a:pt x="13" y="38"/>
                      <a:pt x="12" y="37"/>
                    </a:cubicBezTo>
                    <a:cubicBezTo>
                      <a:pt x="12" y="35"/>
                      <a:pt x="13" y="34"/>
                      <a:pt x="13" y="33"/>
                    </a:cubicBezTo>
                    <a:cubicBezTo>
                      <a:pt x="13" y="32"/>
                      <a:pt x="12" y="32"/>
                      <a:pt x="12" y="31"/>
                    </a:cubicBezTo>
                    <a:cubicBezTo>
                      <a:pt x="13" y="30"/>
                      <a:pt x="16" y="32"/>
                      <a:pt x="16" y="30"/>
                    </a:cubicBezTo>
                    <a:cubicBezTo>
                      <a:pt x="17" y="28"/>
                      <a:pt x="11" y="28"/>
                      <a:pt x="13" y="25"/>
                    </a:cubicBezTo>
                    <a:cubicBezTo>
                      <a:pt x="15" y="25"/>
                      <a:pt x="17" y="22"/>
                      <a:pt x="20" y="22"/>
                    </a:cubicBezTo>
                    <a:cubicBezTo>
                      <a:pt x="20" y="20"/>
                      <a:pt x="20" y="20"/>
                      <a:pt x="20" y="18"/>
                    </a:cubicBezTo>
                    <a:cubicBezTo>
                      <a:pt x="21" y="19"/>
                      <a:pt x="21" y="17"/>
                      <a:pt x="20" y="17"/>
                    </a:cubicBezTo>
                    <a:cubicBezTo>
                      <a:pt x="19" y="15"/>
                      <a:pt x="18" y="14"/>
                      <a:pt x="19" y="13"/>
                    </a:cubicBezTo>
                    <a:cubicBezTo>
                      <a:pt x="20" y="12"/>
                      <a:pt x="22" y="14"/>
                      <a:pt x="22" y="12"/>
                    </a:cubicBezTo>
                    <a:cubicBezTo>
                      <a:pt x="23" y="10"/>
                      <a:pt x="23" y="8"/>
                      <a:pt x="23" y="6"/>
                    </a:cubicBezTo>
                    <a:cubicBezTo>
                      <a:pt x="23" y="5"/>
                      <a:pt x="22" y="3"/>
                      <a:pt x="20" y="4"/>
                    </a:cubicBezTo>
                    <a:cubicBezTo>
                      <a:pt x="20" y="4"/>
                      <a:pt x="21" y="5"/>
                      <a:pt x="20" y="5"/>
                    </a:cubicBezTo>
                    <a:cubicBezTo>
                      <a:pt x="19" y="6"/>
                      <a:pt x="17" y="2"/>
                      <a:pt x="16" y="2"/>
                    </a:cubicBezTo>
                    <a:cubicBezTo>
                      <a:pt x="15" y="0"/>
                      <a:pt x="14" y="1"/>
                      <a:pt x="13" y="2"/>
                    </a:cubicBezTo>
                    <a:cubicBezTo>
                      <a:pt x="11" y="4"/>
                      <a:pt x="10" y="6"/>
                      <a:pt x="7" y="5"/>
                    </a:cubicBezTo>
                    <a:cubicBezTo>
                      <a:pt x="5" y="4"/>
                      <a:pt x="4" y="2"/>
                      <a:pt x="2" y="2"/>
                    </a:cubicBezTo>
                    <a:cubicBezTo>
                      <a:pt x="0" y="3"/>
                      <a:pt x="0" y="10"/>
                      <a:pt x="0" y="12"/>
                    </a:cubicBezTo>
                    <a:cubicBezTo>
                      <a:pt x="0" y="13"/>
                      <a:pt x="0" y="14"/>
                      <a:pt x="1" y="14"/>
                    </a:cubicBezTo>
                    <a:cubicBezTo>
                      <a:pt x="2" y="14"/>
                      <a:pt x="7" y="15"/>
                      <a:pt x="6" y="14"/>
                    </a:cubicBezTo>
                    <a:cubicBezTo>
                      <a:pt x="6" y="15"/>
                      <a:pt x="6" y="16"/>
                      <a:pt x="6" y="17"/>
                    </a:cubicBezTo>
                    <a:cubicBezTo>
                      <a:pt x="7" y="17"/>
                      <a:pt x="7" y="17"/>
                      <a:pt x="8" y="17"/>
                    </a:cubicBezTo>
                    <a:cubicBezTo>
                      <a:pt x="8" y="18"/>
                      <a:pt x="8" y="19"/>
                      <a:pt x="8" y="20"/>
                    </a:cubicBezTo>
                    <a:cubicBezTo>
                      <a:pt x="8" y="20"/>
                      <a:pt x="8" y="20"/>
                      <a:pt x="9" y="20"/>
                    </a:cubicBezTo>
                    <a:cubicBezTo>
                      <a:pt x="7" y="21"/>
                      <a:pt x="5" y="22"/>
                      <a:pt x="4" y="23"/>
                    </a:cubicBezTo>
                    <a:cubicBezTo>
                      <a:pt x="3" y="27"/>
                      <a:pt x="6" y="25"/>
                      <a:pt x="8" y="27"/>
                    </a:cubicBezTo>
                    <a:cubicBezTo>
                      <a:pt x="7" y="29"/>
                      <a:pt x="2" y="29"/>
                      <a:pt x="2" y="32"/>
                    </a:cubicBezTo>
                    <a:cubicBezTo>
                      <a:pt x="2" y="32"/>
                      <a:pt x="3" y="32"/>
                      <a:pt x="3" y="33"/>
                    </a:cubicBezTo>
                    <a:cubicBezTo>
                      <a:pt x="4" y="33"/>
                      <a:pt x="4" y="34"/>
                      <a:pt x="4" y="34"/>
                    </a:cubicBezTo>
                    <a:cubicBezTo>
                      <a:pt x="5" y="36"/>
                      <a:pt x="5" y="37"/>
                      <a:pt x="5" y="39"/>
                    </a:cubicBezTo>
                    <a:cubicBezTo>
                      <a:pt x="6" y="39"/>
                      <a:pt x="6" y="40"/>
                      <a:pt x="6" y="41"/>
                    </a:cubicBezTo>
                    <a:cubicBezTo>
                      <a:pt x="6" y="41"/>
                      <a:pt x="6" y="41"/>
                      <a:pt x="5" y="41"/>
                    </a:cubicBezTo>
                    <a:cubicBezTo>
                      <a:pt x="5" y="42"/>
                      <a:pt x="4" y="43"/>
                      <a:pt x="4" y="44"/>
                    </a:cubicBezTo>
                    <a:cubicBezTo>
                      <a:pt x="3" y="48"/>
                      <a:pt x="5" y="51"/>
                      <a:pt x="6" y="55"/>
                    </a:cubicBezTo>
                    <a:cubicBezTo>
                      <a:pt x="6" y="55"/>
                      <a:pt x="6" y="57"/>
                      <a:pt x="6" y="58"/>
                    </a:cubicBezTo>
                    <a:cubicBezTo>
                      <a:pt x="7" y="59"/>
                      <a:pt x="9" y="59"/>
                      <a:pt x="9" y="61"/>
                    </a:cubicBezTo>
                    <a:cubicBezTo>
                      <a:pt x="10" y="61"/>
                      <a:pt x="10" y="61"/>
                      <a:pt x="10" y="61"/>
                    </a:cubicBezTo>
                    <a:lnTo>
                      <a:pt x="7" y="6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58" name="Freeform 74">
                <a:extLst>
                  <a:ext uri="{FF2B5EF4-FFF2-40B4-BE49-F238E27FC236}">
                    <a16:creationId xmlns:a16="http://schemas.microsoft.com/office/drawing/2014/main" id="{8484A381-B4DD-40A0-ACB7-C4B959FDF8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9713" y="3184525"/>
                <a:ext cx="17463" cy="17463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7" y="6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0" y="7"/>
                  </a:cxn>
                </a:cxnLst>
                <a:rect l="0" t="0" r="r" b="b"/>
                <a:pathLst>
                  <a:path w="9" h="9">
                    <a:moveTo>
                      <a:pt x="0" y="7"/>
                    </a:moveTo>
                    <a:cubicBezTo>
                      <a:pt x="0" y="9"/>
                      <a:pt x="6" y="7"/>
                      <a:pt x="7" y="6"/>
                    </a:cubicBezTo>
                    <a:cubicBezTo>
                      <a:pt x="8" y="5"/>
                      <a:pt x="9" y="3"/>
                      <a:pt x="8" y="2"/>
                    </a:cubicBezTo>
                    <a:cubicBezTo>
                      <a:pt x="7" y="0"/>
                      <a:pt x="4" y="2"/>
                      <a:pt x="3" y="3"/>
                    </a:cubicBezTo>
                    <a:cubicBezTo>
                      <a:pt x="1" y="5"/>
                      <a:pt x="0" y="7"/>
                      <a:pt x="0" y="7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59" name="Freeform 75">
                <a:extLst>
                  <a:ext uri="{FF2B5EF4-FFF2-40B4-BE49-F238E27FC236}">
                    <a16:creationId xmlns:a16="http://schemas.microsoft.com/office/drawing/2014/main" id="{707C4178-EE45-4468-92CF-2AB39252B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2400" y="3136900"/>
                <a:ext cx="100013" cy="147638"/>
              </a:xfrm>
              <a:custGeom>
                <a:avLst/>
                <a:gdLst/>
                <a:ahLst/>
                <a:cxnLst>
                  <a:cxn ang="0">
                    <a:pos x="51" y="15"/>
                  </a:cxn>
                  <a:cxn ang="0">
                    <a:pos x="52" y="10"/>
                  </a:cxn>
                  <a:cxn ang="0">
                    <a:pos x="52" y="6"/>
                  </a:cxn>
                  <a:cxn ang="0">
                    <a:pos x="51" y="2"/>
                  </a:cxn>
                  <a:cxn ang="0">
                    <a:pos x="44" y="7"/>
                  </a:cxn>
                  <a:cxn ang="0">
                    <a:pos x="41" y="8"/>
                  </a:cxn>
                  <a:cxn ang="0">
                    <a:pos x="38" y="10"/>
                  </a:cxn>
                  <a:cxn ang="0">
                    <a:pos x="38" y="11"/>
                  </a:cxn>
                  <a:cxn ang="0">
                    <a:pos x="34" y="11"/>
                  </a:cxn>
                  <a:cxn ang="0">
                    <a:pos x="32" y="15"/>
                  </a:cxn>
                  <a:cxn ang="0">
                    <a:pos x="21" y="19"/>
                  </a:cxn>
                  <a:cxn ang="0">
                    <a:pos x="18" y="24"/>
                  </a:cxn>
                  <a:cxn ang="0">
                    <a:pos x="17" y="30"/>
                  </a:cxn>
                  <a:cxn ang="0">
                    <a:pos x="19" y="32"/>
                  </a:cxn>
                  <a:cxn ang="0">
                    <a:pos x="14" y="29"/>
                  </a:cxn>
                  <a:cxn ang="0">
                    <a:pos x="12" y="30"/>
                  </a:cxn>
                  <a:cxn ang="0">
                    <a:pos x="13" y="32"/>
                  </a:cxn>
                  <a:cxn ang="0">
                    <a:pos x="8" y="29"/>
                  </a:cxn>
                  <a:cxn ang="0">
                    <a:pos x="5" y="32"/>
                  </a:cxn>
                  <a:cxn ang="0">
                    <a:pos x="4" y="36"/>
                  </a:cxn>
                  <a:cxn ang="0">
                    <a:pos x="5" y="39"/>
                  </a:cxn>
                  <a:cxn ang="0">
                    <a:pos x="3" y="42"/>
                  </a:cxn>
                  <a:cxn ang="0">
                    <a:pos x="9" y="50"/>
                  </a:cxn>
                  <a:cxn ang="0">
                    <a:pos x="1" y="52"/>
                  </a:cxn>
                  <a:cxn ang="0">
                    <a:pos x="3" y="58"/>
                  </a:cxn>
                  <a:cxn ang="0">
                    <a:pos x="14" y="63"/>
                  </a:cxn>
                  <a:cxn ang="0">
                    <a:pos x="8" y="65"/>
                  </a:cxn>
                  <a:cxn ang="0">
                    <a:pos x="9" y="67"/>
                  </a:cxn>
                  <a:cxn ang="0">
                    <a:pos x="8" y="68"/>
                  </a:cxn>
                  <a:cxn ang="0">
                    <a:pos x="7" y="70"/>
                  </a:cxn>
                  <a:cxn ang="0">
                    <a:pos x="4" y="72"/>
                  </a:cxn>
                  <a:cxn ang="0">
                    <a:pos x="5" y="75"/>
                  </a:cxn>
                  <a:cxn ang="0">
                    <a:pos x="6" y="77"/>
                  </a:cxn>
                  <a:cxn ang="0">
                    <a:pos x="10" y="79"/>
                  </a:cxn>
                  <a:cxn ang="0">
                    <a:pos x="13" y="75"/>
                  </a:cxn>
                  <a:cxn ang="0">
                    <a:pos x="23" y="75"/>
                  </a:cxn>
                  <a:cxn ang="0">
                    <a:pos x="20" y="66"/>
                  </a:cxn>
                  <a:cxn ang="0">
                    <a:pos x="23" y="67"/>
                  </a:cxn>
                  <a:cxn ang="0">
                    <a:pos x="28" y="68"/>
                  </a:cxn>
                  <a:cxn ang="0">
                    <a:pos x="26" y="61"/>
                  </a:cxn>
                  <a:cxn ang="0">
                    <a:pos x="31" y="61"/>
                  </a:cxn>
                  <a:cxn ang="0">
                    <a:pos x="34" y="59"/>
                  </a:cxn>
                  <a:cxn ang="0">
                    <a:pos x="37" y="57"/>
                  </a:cxn>
                  <a:cxn ang="0">
                    <a:pos x="31" y="54"/>
                  </a:cxn>
                  <a:cxn ang="0">
                    <a:pos x="42" y="49"/>
                  </a:cxn>
                  <a:cxn ang="0">
                    <a:pos x="38" y="41"/>
                  </a:cxn>
                  <a:cxn ang="0">
                    <a:pos x="42" y="39"/>
                  </a:cxn>
                  <a:cxn ang="0">
                    <a:pos x="41" y="37"/>
                  </a:cxn>
                  <a:cxn ang="0">
                    <a:pos x="41" y="34"/>
                  </a:cxn>
                  <a:cxn ang="0">
                    <a:pos x="42" y="32"/>
                  </a:cxn>
                  <a:cxn ang="0">
                    <a:pos x="41" y="30"/>
                  </a:cxn>
                  <a:cxn ang="0">
                    <a:pos x="45" y="25"/>
                  </a:cxn>
                  <a:cxn ang="0">
                    <a:pos x="49" y="21"/>
                  </a:cxn>
                  <a:cxn ang="0">
                    <a:pos x="51" y="15"/>
                  </a:cxn>
                </a:cxnLst>
                <a:rect l="0" t="0" r="r" b="b"/>
                <a:pathLst>
                  <a:path w="54" h="79">
                    <a:moveTo>
                      <a:pt x="51" y="15"/>
                    </a:moveTo>
                    <a:cubicBezTo>
                      <a:pt x="54" y="11"/>
                      <a:pt x="53" y="15"/>
                      <a:pt x="52" y="10"/>
                    </a:cubicBezTo>
                    <a:cubicBezTo>
                      <a:pt x="52" y="8"/>
                      <a:pt x="52" y="7"/>
                      <a:pt x="52" y="6"/>
                    </a:cubicBezTo>
                    <a:cubicBezTo>
                      <a:pt x="52" y="4"/>
                      <a:pt x="52" y="3"/>
                      <a:pt x="51" y="2"/>
                    </a:cubicBezTo>
                    <a:cubicBezTo>
                      <a:pt x="47" y="0"/>
                      <a:pt x="46" y="4"/>
                      <a:pt x="44" y="7"/>
                    </a:cubicBezTo>
                    <a:cubicBezTo>
                      <a:pt x="43" y="7"/>
                      <a:pt x="42" y="8"/>
                      <a:pt x="41" y="8"/>
                    </a:cubicBezTo>
                    <a:cubicBezTo>
                      <a:pt x="40" y="9"/>
                      <a:pt x="39" y="9"/>
                      <a:pt x="38" y="10"/>
                    </a:cubicBezTo>
                    <a:cubicBezTo>
                      <a:pt x="38" y="10"/>
                      <a:pt x="38" y="10"/>
                      <a:pt x="38" y="11"/>
                    </a:cubicBezTo>
                    <a:cubicBezTo>
                      <a:pt x="37" y="11"/>
                      <a:pt x="35" y="10"/>
                      <a:pt x="34" y="11"/>
                    </a:cubicBezTo>
                    <a:cubicBezTo>
                      <a:pt x="33" y="11"/>
                      <a:pt x="32" y="14"/>
                      <a:pt x="32" y="15"/>
                    </a:cubicBezTo>
                    <a:cubicBezTo>
                      <a:pt x="29" y="19"/>
                      <a:pt x="25" y="19"/>
                      <a:pt x="21" y="19"/>
                    </a:cubicBezTo>
                    <a:cubicBezTo>
                      <a:pt x="19" y="19"/>
                      <a:pt x="19" y="22"/>
                      <a:pt x="18" y="24"/>
                    </a:cubicBezTo>
                    <a:cubicBezTo>
                      <a:pt x="18" y="26"/>
                      <a:pt x="17" y="29"/>
                      <a:pt x="17" y="30"/>
                    </a:cubicBezTo>
                    <a:cubicBezTo>
                      <a:pt x="17" y="32"/>
                      <a:pt x="19" y="31"/>
                      <a:pt x="19" y="32"/>
                    </a:cubicBezTo>
                    <a:cubicBezTo>
                      <a:pt x="18" y="31"/>
                      <a:pt x="16" y="30"/>
                      <a:pt x="14" y="29"/>
                    </a:cubicBezTo>
                    <a:cubicBezTo>
                      <a:pt x="13" y="29"/>
                      <a:pt x="13" y="28"/>
                      <a:pt x="12" y="30"/>
                    </a:cubicBezTo>
                    <a:cubicBezTo>
                      <a:pt x="12" y="30"/>
                      <a:pt x="12" y="31"/>
                      <a:pt x="13" y="32"/>
                    </a:cubicBezTo>
                    <a:cubicBezTo>
                      <a:pt x="10" y="32"/>
                      <a:pt x="8" y="31"/>
                      <a:pt x="8" y="29"/>
                    </a:cubicBezTo>
                    <a:cubicBezTo>
                      <a:pt x="7" y="29"/>
                      <a:pt x="6" y="31"/>
                      <a:pt x="5" y="32"/>
                    </a:cubicBezTo>
                    <a:cubicBezTo>
                      <a:pt x="4" y="33"/>
                      <a:pt x="4" y="35"/>
                      <a:pt x="4" y="36"/>
                    </a:cubicBezTo>
                    <a:cubicBezTo>
                      <a:pt x="5" y="37"/>
                      <a:pt x="5" y="38"/>
                      <a:pt x="5" y="39"/>
                    </a:cubicBezTo>
                    <a:cubicBezTo>
                      <a:pt x="5" y="40"/>
                      <a:pt x="3" y="41"/>
                      <a:pt x="3" y="42"/>
                    </a:cubicBezTo>
                    <a:cubicBezTo>
                      <a:pt x="3" y="45"/>
                      <a:pt x="9" y="46"/>
                      <a:pt x="9" y="50"/>
                    </a:cubicBezTo>
                    <a:cubicBezTo>
                      <a:pt x="7" y="50"/>
                      <a:pt x="2" y="50"/>
                      <a:pt x="1" y="52"/>
                    </a:cubicBezTo>
                    <a:cubicBezTo>
                      <a:pt x="0" y="53"/>
                      <a:pt x="2" y="57"/>
                      <a:pt x="3" y="58"/>
                    </a:cubicBezTo>
                    <a:cubicBezTo>
                      <a:pt x="5" y="59"/>
                      <a:pt x="15" y="60"/>
                      <a:pt x="14" y="63"/>
                    </a:cubicBezTo>
                    <a:cubicBezTo>
                      <a:pt x="13" y="63"/>
                      <a:pt x="9" y="62"/>
                      <a:pt x="8" y="65"/>
                    </a:cubicBezTo>
                    <a:cubicBezTo>
                      <a:pt x="8" y="65"/>
                      <a:pt x="9" y="66"/>
                      <a:pt x="9" y="67"/>
                    </a:cubicBezTo>
                    <a:cubicBezTo>
                      <a:pt x="9" y="67"/>
                      <a:pt x="8" y="67"/>
                      <a:pt x="8" y="68"/>
                    </a:cubicBezTo>
                    <a:cubicBezTo>
                      <a:pt x="7" y="69"/>
                      <a:pt x="7" y="69"/>
                      <a:pt x="7" y="70"/>
                    </a:cubicBezTo>
                    <a:cubicBezTo>
                      <a:pt x="5" y="71"/>
                      <a:pt x="5" y="71"/>
                      <a:pt x="4" y="72"/>
                    </a:cubicBezTo>
                    <a:cubicBezTo>
                      <a:pt x="4" y="73"/>
                      <a:pt x="4" y="74"/>
                      <a:pt x="5" y="75"/>
                    </a:cubicBezTo>
                    <a:cubicBezTo>
                      <a:pt x="5" y="76"/>
                      <a:pt x="6" y="76"/>
                      <a:pt x="6" y="77"/>
                    </a:cubicBezTo>
                    <a:cubicBezTo>
                      <a:pt x="7" y="77"/>
                      <a:pt x="8" y="79"/>
                      <a:pt x="10" y="79"/>
                    </a:cubicBezTo>
                    <a:cubicBezTo>
                      <a:pt x="12" y="79"/>
                      <a:pt x="13" y="77"/>
                      <a:pt x="13" y="75"/>
                    </a:cubicBezTo>
                    <a:cubicBezTo>
                      <a:pt x="16" y="74"/>
                      <a:pt x="20" y="75"/>
                      <a:pt x="23" y="75"/>
                    </a:cubicBezTo>
                    <a:cubicBezTo>
                      <a:pt x="24" y="71"/>
                      <a:pt x="22" y="69"/>
                      <a:pt x="20" y="66"/>
                    </a:cubicBezTo>
                    <a:cubicBezTo>
                      <a:pt x="21" y="65"/>
                      <a:pt x="22" y="66"/>
                      <a:pt x="23" y="67"/>
                    </a:cubicBezTo>
                    <a:cubicBezTo>
                      <a:pt x="25" y="69"/>
                      <a:pt x="26" y="69"/>
                      <a:pt x="28" y="68"/>
                    </a:cubicBezTo>
                    <a:cubicBezTo>
                      <a:pt x="31" y="65"/>
                      <a:pt x="29" y="63"/>
                      <a:pt x="26" y="61"/>
                    </a:cubicBezTo>
                    <a:cubicBezTo>
                      <a:pt x="27" y="60"/>
                      <a:pt x="29" y="61"/>
                      <a:pt x="31" y="61"/>
                    </a:cubicBezTo>
                    <a:cubicBezTo>
                      <a:pt x="33" y="61"/>
                      <a:pt x="33" y="60"/>
                      <a:pt x="34" y="59"/>
                    </a:cubicBezTo>
                    <a:cubicBezTo>
                      <a:pt x="35" y="59"/>
                      <a:pt x="37" y="58"/>
                      <a:pt x="37" y="57"/>
                    </a:cubicBezTo>
                    <a:cubicBezTo>
                      <a:pt x="37" y="56"/>
                      <a:pt x="33" y="54"/>
                      <a:pt x="31" y="54"/>
                    </a:cubicBezTo>
                    <a:cubicBezTo>
                      <a:pt x="34" y="54"/>
                      <a:pt x="42" y="52"/>
                      <a:pt x="42" y="49"/>
                    </a:cubicBezTo>
                    <a:cubicBezTo>
                      <a:pt x="42" y="46"/>
                      <a:pt x="35" y="43"/>
                      <a:pt x="38" y="41"/>
                    </a:cubicBezTo>
                    <a:cubicBezTo>
                      <a:pt x="39" y="40"/>
                      <a:pt x="41" y="41"/>
                      <a:pt x="42" y="39"/>
                    </a:cubicBezTo>
                    <a:cubicBezTo>
                      <a:pt x="44" y="38"/>
                      <a:pt x="42" y="38"/>
                      <a:pt x="41" y="37"/>
                    </a:cubicBezTo>
                    <a:cubicBezTo>
                      <a:pt x="41" y="36"/>
                      <a:pt x="41" y="35"/>
                      <a:pt x="41" y="34"/>
                    </a:cubicBezTo>
                    <a:cubicBezTo>
                      <a:pt x="41" y="33"/>
                      <a:pt x="42" y="33"/>
                      <a:pt x="42" y="32"/>
                    </a:cubicBezTo>
                    <a:cubicBezTo>
                      <a:pt x="42" y="32"/>
                      <a:pt x="41" y="31"/>
                      <a:pt x="41" y="30"/>
                    </a:cubicBezTo>
                    <a:cubicBezTo>
                      <a:pt x="41" y="28"/>
                      <a:pt x="43" y="26"/>
                      <a:pt x="45" y="25"/>
                    </a:cubicBezTo>
                    <a:cubicBezTo>
                      <a:pt x="47" y="24"/>
                      <a:pt x="49" y="24"/>
                      <a:pt x="49" y="21"/>
                    </a:cubicBezTo>
                    <a:lnTo>
                      <a:pt x="51" y="1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60" name="Freeform 76">
                <a:extLst>
                  <a:ext uri="{FF2B5EF4-FFF2-40B4-BE49-F238E27FC236}">
                    <a16:creationId xmlns:a16="http://schemas.microsoft.com/office/drawing/2014/main" id="{911D2617-1D2C-4B71-A6FC-914ED5EEA3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5463" y="3005138"/>
                <a:ext cx="69850" cy="53975"/>
              </a:xfrm>
              <a:custGeom>
                <a:avLst/>
                <a:gdLst/>
                <a:ahLst/>
                <a:cxnLst>
                  <a:cxn ang="0">
                    <a:pos x="20" y="7"/>
                  </a:cxn>
                  <a:cxn ang="0">
                    <a:pos x="13" y="2"/>
                  </a:cxn>
                  <a:cxn ang="0">
                    <a:pos x="9" y="1"/>
                  </a:cxn>
                  <a:cxn ang="0">
                    <a:pos x="5" y="11"/>
                  </a:cxn>
                  <a:cxn ang="0">
                    <a:pos x="3" y="21"/>
                  </a:cxn>
                  <a:cxn ang="0">
                    <a:pos x="8" y="20"/>
                  </a:cxn>
                  <a:cxn ang="0">
                    <a:pos x="8" y="16"/>
                  </a:cxn>
                  <a:cxn ang="0">
                    <a:pos x="10" y="13"/>
                  </a:cxn>
                  <a:cxn ang="0">
                    <a:pos x="12" y="19"/>
                  </a:cxn>
                  <a:cxn ang="0">
                    <a:pos x="11" y="24"/>
                  </a:cxn>
                  <a:cxn ang="0">
                    <a:pos x="19" y="22"/>
                  </a:cxn>
                  <a:cxn ang="0">
                    <a:pos x="23" y="25"/>
                  </a:cxn>
                  <a:cxn ang="0">
                    <a:pos x="26" y="26"/>
                  </a:cxn>
                  <a:cxn ang="0">
                    <a:pos x="28" y="27"/>
                  </a:cxn>
                  <a:cxn ang="0">
                    <a:pos x="33" y="28"/>
                  </a:cxn>
                  <a:cxn ang="0">
                    <a:pos x="37" y="23"/>
                  </a:cxn>
                  <a:cxn ang="0">
                    <a:pos x="31" y="22"/>
                  </a:cxn>
                  <a:cxn ang="0">
                    <a:pos x="31" y="19"/>
                  </a:cxn>
                  <a:cxn ang="0">
                    <a:pos x="23" y="15"/>
                  </a:cxn>
                  <a:cxn ang="0">
                    <a:pos x="20" y="15"/>
                  </a:cxn>
                  <a:cxn ang="0">
                    <a:pos x="19" y="7"/>
                  </a:cxn>
                  <a:cxn ang="0">
                    <a:pos x="20" y="7"/>
                  </a:cxn>
                </a:cxnLst>
                <a:rect l="0" t="0" r="r" b="b"/>
                <a:pathLst>
                  <a:path w="37" h="29">
                    <a:moveTo>
                      <a:pt x="20" y="7"/>
                    </a:moveTo>
                    <a:cubicBezTo>
                      <a:pt x="20" y="5"/>
                      <a:pt x="15" y="3"/>
                      <a:pt x="13" y="2"/>
                    </a:cubicBezTo>
                    <a:cubicBezTo>
                      <a:pt x="12" y="1"/>
                      <a:pt x="10" y="0"/>
                      <a:pt x="9" y="1"/>
                    </a:cubicBezTo>
                    <a:cubicBezTo>
                      <a:pt x="8" y="5"/>
                      <a:pt x="6" y="7"/>
                      <a:pt x="5" y="11"/>
                    </a:cubicBezTo>
                    <a:cubicBezTo>
                      <a:pt x="3" y="14"/>
                      <a:pt x="0" y="17"/>
                      <a:pt x="3" y="21"/>
                    </a:cubicBezTo>
                    <a:cubicBezTo>
                      <a:pt x="5" y="24"/>
                      <a:pt x="8" y="23"/>
                      <a:pt x="8" y="20"/>
                    </a:cubicBezTo>
                    <a:cubicBezTo>
                      <a:pt x="9" y="19"/>
                      <a:pt x="8" y="17"/>
                      <a:pt x="8" y="16"/>
                    </a:cubicBezTo>
                    <a:cubicBezTo>
                      <a:pt x="9" y="15"/>
                      <a:pt x="10" y="14"/>
                      <a:pt x="10" y="13"/>
                    </a:cubicBezTo>
                    <a:cubicBezTo>
                      <a:pt x="12" y="13"/>
                      <a:pt x="13" y="17"/>
                      <a:pt x="12" y="19"/>
                    </a:cubicBezTo>
                    <a:cubicBezTo>
                      <a:pt x="12" y="20"/>
                      <a:pt x="10" y="22"/>
                      <a:pt x="11" y="24"/>
                    </a:cubicBezTo>
                    <a:cubicBezTo>
                      <a:pt x="12" y="26"/>
                      <a:pt x="17" y="23"/>
                      <a:pt x="19" y="22"/>
                    </a:cubicBezTo>
                    <a:cubicBezTo>
                      <a:pt x="21" y="22"/>
                      <a:pt x="22" y="24"/>
                      <a:pt x="23" y="25"/>
                    </a:cubicBezTo>
                    <a:cubicBezTo>
                      <a:pt x="24" y="25"/>
                      <a:pt x="25" y="25"/>
                      <a:pt x="26" y="26"/>
                    </a:cubicBezTo>
                    <a:cubicBezTo>
                      <a:pt x="28" y="26"/>
                      <a:pt x="27" y="26"/>
                      <a:pt x="28" y="27"/>
                    </a:cubicBezTo>
                    <a:cubicBezTo>
                      <a:pt x="30" y="28"/>
                      <a:pt x="31" y="29"/>
                      <a:pt x="33" y="28"/>
                    </a:cubicBezTo>
                    <a:cubicBezTo>
                      <a:pt x="34" y="28"/>
                      <a:pt x="37" y="24"/>
                      <a:pt x="37" y="23"/>
                    </a:cubicBezTo>
                    <a:cubicBezTo>
                      <a:pt x="36" y="22"/>
                      <a:pt x="33" y="23"/>
                      <a:pt x="31" y="22"/>
                    </a:cubicBezTo>
                    <a:cubicBezTo>
                      <a:pt x="31" y="22"/>
                      <a:pt x="31" y="20"/>
                      <a:pt x="31" y="19"/>
                    </a:cubicBezTo>
                    <a:cubicBezTo>
                      <a:pt x="29" y="18"/>
                      <a:pt x="22" y="18"/>
                      <a:pt x="23" y="15"/>
                    </a:cubicBezTo>
                    <a:cubicBezTo>
                      <a:pt x="22" y="15"/>
                      <a:pt x="21" y="15"/>
                      <a:pt x="20" y="15"/>
                    </a:cubicBezTo>
                    <a:cubicBezTo>
                      <a:pt x="20" y="14"/>
                      <a:pt x="25" y="6"/>
                      <a:pt x="19" y="7"/>
                    </a:cubicBezTo>
                    <a:lnTo>
                      <a:pt x="20" y="7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61" name="Freeform 77">
                <a:extLst>
                  <a:ext uri="{FF2B5EF4-FFF2-40B4-BE49-F238E27FC236}">
                    <a16:creationId xmlns:a16="http://schemas.microsoft.com/office/drawing/2014/main" id="{CEAA6185-1E7D-43E0-B644-B6CB22FE5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038" y="2994025"/>
                <a:ext cx="25400" cy="26988"/>
              </a:xfrm>
              <a:custGeom>
                <a:avLst/>
                <a:gdLst/>
                <a:ahLst/>
                <a:cxnLst>
                  <a:cxn ang="0">
                    <a:pos x="10" y="3"/>
                  </a:cxn>
                  <a:cxn ang="0">
                    <a:pos x="1" y="2"/>
                  </a:cxn>
                  <a:cxn ang="0">
                    <a:pos x="8" y="9"/>
                  </a:cxn>
                  <a:cxn ang="0">
                    <a:pos x="11" y="12"/>
                  </a:cxn>
                  <a:cxn ang="0">
                    <a:pos x="12" y="14"/>
                  </a:cxn>
                  <a:cxn ang="0">
                    <a:pos x="14" y="11"/>
                  </a:cxn>
                  <a:cxn ang="0">
                    <a:pos x="10" y="6"/>
                  </a:cxn>
                  <a:cxn ang="0">
                    <a:pos x="10" y="3"/>
                  </a:cxn>
                </a:cxnLst>
                <a:rect l="0" t="0" r="r" b="b"/>
                <a:pathLst>
                  <a:path w="14" h="14">
                    <a:moveTo>
                      <a:pt x="10" y="3"/>
                    </a:moveTo>
                    <a:cubicBezTo>
                      <a:pt x="8" y="3"/>
                      <a:pt x="3" y="0"/>
                      <a:pt x="1" y="2"/>
                    </a:cubicBezTo>
                    <a:cubicBezTo>
                      <a:pt x="0" y="5"/>
                      <a:pt x="6" y="7"/>
                      <a:pt x="8" y="9"/>
                    </a:cubicBezTo>
                    <a:cubicBezTo>
                      <a:pt x="9" y="10"/>
                      <a:pt x="10" y="11"/>
                      <a:pt x="11" y="12"/>
                    </a:cubicBezTo>
                    <a:cubicBezTo>
                      <a:pt x="11" y="13"/>
                      <a:pt x="11" y="14"/>
                      <a:pt x="12" y="14"/>
                    </a:cubicBezTo>
                    <a:cubicBezTo>
                      <a:pt x="14" y="14"/>
                      <a:pt x="14" y="12"/>
                      <a:pt x="14" y="11"/>
                    </a:cubicBezTo>
                    <a:cubicBezTo>
                      <a:pt x="14" y="8"/>
                      <a:pt x="13" y="7"/>
                      <a:pt x="10" y="6"/>
                    </a:cubicBezTo>
                    <a:lnTo>
                      <a:pt x="10" y="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62" name="Freeform 78">
                <a:extLst>
                  <a:ext uri="{FF2B5EF4-FFF2-40B4-BE49-F238E27FC236}">
                    <a16:creationId xmlns:a16="http://schemas.microsoft.com/office/drawing/2014/main" id="{7547F0E9-E8AF-4C4B-9E63-9440FD556E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50" y="2962275"/>
                <a:ext cx="23813" cy="2857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7"/>
                  </a:cxn>
                  <a:cxn ang="0">
                    <a:pos x="4" y="9"/>
                  </a:cxn>
                  <a:cxn ang="0">
                    <a:pos x="4" y="12"/>
                  </a:cxn>
                  <a:cxn ang="0">
                    <a:pos x="11" y="14"/>
                  </a:cxn>
                  <a:cxn ang="0">
                    <a:pos x="5" y="8"/>
                  </a:cxn>
                  <a:cxn ang="0">
                    <a:pos x="11" y="5"/>
                  </a:cxn>
                  <a:cxn ang="0">
                    <a:pos x="7" y="0"/>
                  </a:cxn>
                </a:cxnLst>
                <a:rect l="0" t="0" r="r" b="b"/>
                <a:pathLst>
                  <a:path w="13" h="15">
                    <a:moveTo>
                      <a:pt x="7" y="0"/>
                    </a:moveTo>
                    <a:cubicBezTo>
                      <a:pt x="4" y="0"/>
                      <a:pt x="0" y="3"/>
                      <a:pt x="0" y="7"/>
                    </a:cubicBezTo>
                    <a:cubicBezTo>
                      <a:pt x="0" y="9"/>
                      <a:pt x="2" y="8"/>
                      <a:pt x="4" y="9"/>
                    </a:cubicBezTo>
                    <a:cubicBezTo>
                      <a:pt x="4" y="10"/>
                      <a:pt x="4" y="11"/>
                      <a:pt x="4" y="12"/>
                    </a:cubicBezTo>
                    <a:cubicBezTo>
                      <a:pt x="5" y="14"/>
                      <a:pt x="9" y="15"/>
                      <a:pt x="11" y="14"/>
                    </a:cubicBezTo>
                    <a:cubicBezTo>
                      <a:pt x="11" y="11"/>
                      <a:pt x="8" y="8"/>
                      <a:pt x="5" y="8"/>
                    </a:cubicBezTo>
                    <a:cubicBezTo>
                      <a:pt x="6" y="6"/>
                      <a:pt x="10" y="6"/>
                      <a:pt x="11" y="5"/>
                    </a:cubicBezTo>
                    <a:cubicBezTo>
                      <a:pt x="13" y="2"/>
                      <a:pt x="9" y="0"/>
                      <a:pt x="7" y="0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63" name="Freeform 79">
                <a:extLst>
                  <a:ext uri="{FF2B5EF4-FFF2-40B4-BE49-F238E27FC236}">
                    <a16:creationId xmlns:a16="http://schemas.microsoft.com/office/drawing/2014/main" id="{B620DDE5-E7F9-47E5-B4FC-11529D1C23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138" y="2974975"/>
                <a:ext cx="36513" cy="26988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1" y="11"/>
                  </a:cxn>
                  <a:cxn ang="0">
                    <a:pos x="8" y="13"/>
                  </a:cxn>
                  <a:cxn ang="0">
                    <a:pos x="10" y="10"/>
                  </a:cxn>
                  <a:cxn ang="0">
                    <a:pos x="10" y="7"/>
                  </a:cxn>
                  <a:cxn ang="0">
                    <a:pos x="13" y="7"/>
                  </a:cxn>
                  <a:cxn ang="0">
                    <a:pos x="15" y="7"/>
                  </a:cxn>
                  <a:cxn ang="0">
                    <a:pos x="19" y="1"/>
                  </a:cxn>
                  <a:cxn ang="0">
                    <a:pos x="11" y="3"/>
                  </a:cxn>
                  <a:cxn ang="0">
                    <a:pos x="10" y="1"/>
                  </a:cxn>
                  <a:cxn ang="0">
                    <a:pos x="8" y="4"/>
                  </a:cxn>
                  <a:cxn ang="0">
                    <a:pos x="6" y="6"/>
                  </a:cxn>
                  <a:cxn ang="0">
                    <a:pos x="4" y="10"/>
                  </a:cxn>
                  <a:cxn ang="0">
                    <a:pos x="0" y="8"/>
                  </a:cxn>
                  <a:cxn ang="0">
                    <a:pos x="2" y="9"/>
                  </a:cxn>
                </a:cxnLst>
                <a:rect l="0" t="0" r="r" b="b"/>
                <a:pathLst>
                  <a:path w="19" h="14">
                    <a:moveTo>
                      <a:pt x="2" y="9"/>
                    </a:moveTo>
                    <a:cubicBezTo>
                      <a:pt x="1" y="8"/>
                      <a:pt x="0" y="10"/>
                      <a:pt x="1" y="11"/>
                    </a:cubicBezTo>
                    <a:cubicBezTo>
                      <a:pt x="2" y="13"/>
                      <a:pt x="6" y="14"/>
                      <a:pt x="8" y="13"/>
                    </a:cubicBezTo>
                    <a:cubicBezTo>
                      <a:pt x="9" y="12"/>
                      <a:pt x="10" y="11"/>
                      <a:pt x="10" y="10"/>
                    </a:cubicBezTo>
                    <a:cubicBezTo>
                      <a:pt x="10" y="9"/>
                      <a:pt x="9" y="7"/>
                      <a:pt x="10" y="7"/>
                    </a:cubicBezTo>
                    <a:cubicBezTo>
                      <a:pt x="11" y="6"/>
                      <a:pt x="13" y="7"/>
                      <a:pt x="13" y="7"/>
                    </a:cubicBezTo>
                    <a:cubicBezTo>
                      <a:pt x="15" y="7"/>
                      <a:pt x="14" y="8"/>
                      <a:pt x="15" y="7"/>
                    </a:cubicBezTo>
                    <a:cubicBezTo>
                      <a:pt x="17" y="5"/>
                      <a:pt x="17" y="3"/>
                      <a:pt x="19" y="1"/>
                    </a:cubicBezTo>
                    <a:cubicBezTo>
                      <a:pt x="17" y="1"/>
                      <a:pt x="10" y="0"/>
                      <a:pt x="11" y="3"/>
                    </a:cubicBezTo>
                    <a:cubicBezTo>
                      <a:pt x="11" y="3"/>
                      <a:pt x="11" y="1"/>
                      <a:pt x="10" y="1"/>
                    </a:cubicBezTo>
                    <a:cubicBezTo>
                      <a:pt x="8" y="0"/>
                      <a:pt x="8" y="3"/>
                      <a:pt x="8" y="4"/>
                    </a:cubicBezTo>
                    <a:cubicBezTo>
                      <a:pt x="8" y="6"/>
                      <a:pt x="7" y="5"/>
                      <a:pt x="6" y="6"/>
                    </a:cubicBezTo>
                    <a:cubicBezTo>
                      <a:pt x="5" y="7"/>
                      <a:pt x="5" y="9"/>
                      <a:pt x="4" y="10"/>
                    </a:cubicBezTo>
                    <a:cubicBezTo>
                      <a:pt x="3" y="9"/>
                      <a:pt x="2" y="8"/>
                      <a:pt x="0" y="8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64" name="Freeform 80">
                <a:extLst>
                  <a:ext uri="{FF2B5EF4-FFF2-40B4-BE49-F238E27FC236}">
                    <a16:creationId xmlns:a16="http://schemas.microsoft.com/office/drawing/2014/main" id="{054C6492-3C1C-4968-A3F8-7F8D7F76C3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663" y="3013075"/>
                <a:ext cx="17463" cy="11113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5" y="6"/>
                  </a:cxn>
                  <a:cxn ang="0">
                    <a:pos x="1" y="1"/>
                  </a:cxn>
                  <a:cxn ang="0">
                    <a:pos x="3" y="1"/>
                  </a:cxn>
                </a:cxnLst>
                <a:rect l="0" t="0" r="r" b="b"/>
                <a:pathLst>
                  <a:path w="9" h="6">
                    <a:moveTo>
                      <a:pt x="3" y="1"/>
                    </a:moveTo>
                    <a:cubicBezTo>
                      <a:pt x="3" y="1"/>
                      <a:pt x="1" y="0"/>
                      <a:pt x="0" y="0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1" y="4"/>
                      <a:pt x="4" y="6"/>
                      <a:pt x="5" y="6"/>
                    </a:cubicBezTo>
                    <a:cubicBezTo>
                      <a:pt x="9" y="5"/>
                      <a:pt x="4" y="0"/>
                      <a:pt x="1" y="1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65" name="Freeform 81">
                <a:extLst>
                  <a:ext uri="{FF2B5EF4-FFF2-40B4-BE49-F238E27FC236}">
                    <a16:creationId xmlns:a16="http://schemas.microsoft.com/office/drawing/2014/main" id="{EBED5192-78E9-4735-8F89-7121606032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5463" y="3054350"/>
                <a:ext cx="30163" cy="31750"/>
              </a:xfrm>
              <a:custGeom>
                <a:avLst/>
                <a:gdLst/>
                <a:ahLst/>
                <a:cxnLst>
                  <a:cxn ang="0">
                    <a:pos x="11" y="6"/>
                  </a:cxn>
                  <a:cxn ang="0">
                    <a:pos x="5" y="0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9" y="15"/>
                  </a:cxn>
                  <a:cxn ang="0">
                    <a:pos x="13" y="16"/>
                  </a:cxn>
                  <a:cxn ang="0">
                    <a:pos x="13" y="11"/>
                  </a:cxn>
                  <a:cxn ang="0">
                    <a:pos x="15" y="11"/>
                  </a:cxn>
                  <a:cxn ang="0">
                    <a:pos x="8" y="5"/>
                  </a:cxn>
                  <a:cxn ang="0">
                    <a:pos x="11" y="6"/>
                  </a:cxn>
                </a:cxnLst>
                <a:rect l="0" t="0" r="r" b="b"/>
                <a:pathLst>
                  <a:path w="16" h="17">
                    <a:moveTo>
                      <a:pt x="11" y="6"/>
                    </a:moveTo>
                    <a:cubicBezTo>
                      <a:pt x="12" y="3"/>
                      <a:pt x="7" y="1"/>
                      <a:pt x="5" y="0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0" y="0"/>
                      <a:pt x="0" y="0"/>
                      <a:pt x="0" y="3"/>
                    </a:cubicBezTo>
                    <a:cubicBezTo>
                      <a:pt x="0" y="8"/>
                      <a:pt x="4" y="13"/>
                      <a:pt x="9" y="15"/>
                    </a:cubicBezTo>
                    <a:cubicBezTo>
                      <a:pt x="10" y="16"/>
                      <a:pt x="12" y="17"/>
                      <a:pt x="13" y="16"/>
                    </a:cubicBezTo>
                    <a:cubicBezTo>
                      <a:pt x="14" y="15"/>
                      <a:pt x="12" y="12"/>
                      <a:pt x="13" y="11"/>
                    </a:cubicBezTo>
                    <a:cubicBezTo>
                      <a:pt x="13" y="11"/>
                      <a:pt x="14" y="11"/>
                      <a:pt x="15" y="11"/>
                    </a:cubicBezTo>
                    <a:cubicBezTo>
                      <a:pt x="16" y="9"/>
                      <a:pt x="9" y="6"/>
                      <a:pt x="8" y="5"/>
                    </a:cubicBezTo>
                    <a:lnTo>
                      <a:pt x="11" y="6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66" name="Freeform 82">
                <a:extLst>
                  <a:ext uri="{FF2B5EF4-FFF2-40B4-BE49-F238E27FC236}">
                    <a16:creationId xmlns:a16="http://schemas.microsoft.com/office/drawing/2014/main" id="{9F52F844-2387-4772-B7ED-FBB06C9E3B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6738" y="3063875"/>
                <a:ext cx="14288" cy="26988"/>
              </a:xfrm>
              <a:custGeom>
                <a:avLst/>
                <a:gdLst/>
                <a:ahLst/>
                <a:cxnLst>
                  <a:cxn ang="0">
                    <a:pos x="6" y="3"/>
                  </a:cxn>
                  <a:cxn ang="0">
                    <a:pos x="3" y="2"/>
                  </a:cxn>
                  <a:cxn ang="0">
                    <a:pos x="1" y="6"/>
                  </a:cxn>
                  <a:cxn ang="0">
                    <a:pos x="0" y="11"/>
                  </a:cxn>
                  <a:cxn ang="0">
                    <a:pos x="5" y="12"/>
                  </a:cxn>
                  <a:cxn ang="0">
                    <a:pos x="4" y="5"/>
                  </a:cxn>
                  <a:cxn ang="0">
                    <a:pos x="5" y="0"/>
                  </a:cxn>
                  <a:cxn ang="0">
                    <a:pos x="6" y="3"/>
                  </a:cxn>
                </a:cxnLst>
                <a:rect l="0" t="0" r="r" b="b"/>
                <a:pathLst>
                  <a:path w="8" h="15">
                    <a:moveTo>
                      <a:pt x="6" y="3"/>
                    </a:moveTo>
                    <a:cubicBezTo>
                      <a:pt x="6" y="2"/>
                      <a:pt x="4" y="2"/>
                      <a:pt x="3" y="2"/>
                    </a:cubicBezTo>
                    <a:cubicBezTo>
                      <a:pt x="2" y="3"/>
                      <a:pt x="1" y="4"/>
                      <a:pt x="1" y="6"/>
                    </a:cubicBezTo>
                    <a:cubicBezTo>
                      <a:pt x="1" y="7"/>
                      <a:pt x="0" y="9"/>
                      <a:pt x="0" y="11"/>
                    </a:cubicBezTo>
                    <a:cubicBezTo>
                      <a:pt x="0" y="14"/>
                      <a:pt x="4" y="15"/>
                      <a:pt x="5" y="12"/>
                    </a:cubicBezTo>
                    <a:cubicBezTo>
                      <a:pt x="6" y="9"/>
                      <a:pt x="3" y="7"/>
                      <a:pt x="4" y="5"/>
                    </a:cubicBezTo>
                    <a:cubicBezTo>
                      <a:pt x="8" y="4"/>
                      <a:pt x="7" y="3"/>
                      <a:pt x="5" y="0"/>
                    </a:cubicBezTo>
                    <a:lnTo>
                      <a:pt x="6" y="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67" name="Freeform 83">
                <a:extLst>
                  <a:ext uri="{FF2B5EF4-FFF2-40B4-BE49-F238E27FC236}">
                    <a16:creationId xmlns:a16="http://schemas.microsoft.com/office/drawing/2014/main" id="{71E9D17B-4F73-4177-BF5E-2E9A6C5AD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8825" y="2697163"/>
                <a:ext cx="28575" cy="60325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0" y="1"/>
                  </a:cxn>
                  <a:cxn ang="0">
                    <a:pos x="1" y="8"/>
                  </a:cxn>
                  <a:cxn ang="0">
                    <a:pos x="3" y="11"/>
                  </a:cxn>
                  <a:cxn ang="0">
                    <a:pos x="1" y="14"/>
                  </a:cxn>
                  <a:cxn ang="0">
                    <a:pos x="2" y="21"/>
                  </a:cxn>
                  <a:cxn ang="0">
                    <a:pos x="3" y="27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1" y="29"/>
                  </a:cxn>
                  <a:cxn ang="0">
                    <a:pos x="11" y="24"/>
                  </a:cxn>
                  <a:cxn ang="0">
                    <a:pos x="12" y="20"/>
                  </a:cxn>
                  <a:cxn ang="0">
                    <a:pos x="11" y="16"/>
                  </a:cxn>
                  <a:cxn ang="0">
                    <a:pos x="10" y="12"/>
                  </a:cxn>
                  <a:cxn ang="0">
                    <a:pos x="14" y="6"/>
                  </a:cxn>
                  <a:cxn ang="0">
                    <a:pos x="9" y="1"/>
                  </a:cxn>
                  <a:cxn ang="0">
                    <a:pos x="11" y="5"/>
                  </a:cxn>
                </a:cxnLst>
                <a:rect l="0" t="0" r="r" b="b"/>
                <a:pathLst>
                  <a:path w="15" h="32">
                    <a:moveTo>
                      <a:pt x="11" y="5"/>
                    </a:moveTo>
                    <a:cubicBezTo>
                      <a:pt x="13" y="4"/>
                      <a:pt x="12" y="2"/>
                      <a:pt x="10" y="1"/>
                    </a:cubicBezTo>
                    <a:cubicBezTo>
                      <a:pt x="6" y="0"/>
                      <a:pt x="1" y="4"/>
                      <a:pt x="1" y="8"/>
                    </a:cubicBezTo>
                    <a:cubicBezTo>
                      <a:pt x="0" y="10"/>
                      <a:pt x="2" y="9"/>
                      <a:pt x="3" y="11"/>
                    </a:cubicBezTo>
                    <a:cubicBezTo>
                      <a:pt x="3" y="12"/>
                      <a:pt x="2" y="14"/>
                      <a:pt x="1" y="14"/>
                    </a:cubicBezTo>
                    <a:cubicBezTo>
                      <a:pt x="0" y="16"/>
                      <a:pt x="1" y="19"/>
                      <a:pt x="2" y="21"/>
                    </a:cubicBezTo>
                    <a:cubicBezTo>
                      <a:pt x="2" y="23"/>
                      <a:pt x="3" y="25"/>
                      <a:pt x="3" y="27"/>
                    </a:cubicBezTo>
                    <a:cubicBezTo>
                      <a:pt x="4" y="29"/>
                      <a:pt x="3" y="28"/>
                      <a:pt x="4" y="29"/>
                    </a:cubicBezTo>
                    <a:cubicBezTo>
                      <a:pt x="5" y="30"/>
                      <a:pt x="7" y="31"/>
                      <a:pt x="8" y="32"/>
                    </a:cubicBezTo>
                    <a:cubicBezTo>
                      <a:pt x="10" y="32"/>
                      <a:pt x="10" y="31"/>
                      <a:pt x="11" y="29"/>
                    </a:cubicBezTo>
                    <a:cubicBezTo>
                      <a:pt x="11" y="27"/>
                      <a:pt x="11" y="25"/>
                      <a:pt x="11" y="24"/>
                    </a:cubicBezTo>
                    <a:cubicBezTo>
                      <a:pt x="11" y="23"/>
                      <a:pt x="12" y="22"/>
                      <a:pt x="12" y="20"/>
                    </a:cubicBezTo>
                    <a:cubicBezTo>
                      <a:pt x="12" y="18"/>
                      <a:pt x="12" y="17"/>
                      <a:pt x="11" y="16"/>
                    </a:cubicBezTo>
                    <a:cubicBezTo>
                      <a:pt x="11" y="15"/>
                      <a:pt x="10" y="13"/>
                      <a:pt x="10" y="12"/>
                    </a:cubicBezTo>
                    <a:cubicBezTo>
                      <a:pt x="10" y="10"/>
                      <a:pt x="13" y="8"/>
                      <a:pt x="14" y="6"/>
                    </a:cubicBezTo>
                    <a:cubicBezTo>
                      <a:pt x="15" y="3"/>
                      <a:pt x="10" y="3"/>
                      <a:pt x="9" y="1"/>
                    </a:cubicBezTo>
                    <a:lnTo>
                      <a:pt x="11" y="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68" name="Freeform 84">
                <a:extLst>
                  <a:ext uri="{FF2B5EF4-FFF2-40B4-BE49-F238E27FC236}">
                    <a16:creationId xmlns:a16="http://schemas.microsoft.com/office/drawing/2014/main" id="{4A2586DC-1C1F-4B54-85B8-7CFF1473E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0575" y="2724150"/>
                <a:ext cx="11113" cy="1270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5" y="6"/>
                  </a:cxn>
                  <a:cxn ang="0">
                    <a:pos x="3" y="7"/>
                  </a:cxn>
                  <a:cxn ang="0">
                    <a:pos x="1" y="5"/>
                  </a:cxn>
                  <a:cxn ang="0">
                    <a:pos x="5" y="2"/>
                  </a:cxn>
                  <a:cxn ang="0">
                    <a:pos x="3" y="0"/>
                  </a:cxn>
                </a:cxnLst>
                <a:rect l="0" t="0" r="r" b="b"/>
                <a:pathLst>
                  <a:path w="6" h="7">
                    <a:moveTo>
                      <a:pt x="3" y="0"/>
                    </a:moveTo>
                    <a:cubicBezTo>
                      <a:pt x="6" y="0"/>
                      <a:pt x="6" y="4"/>
                      <a:pt x="5" y="6"/>
                    </a:cubicBezTo>
                    <a:cubicBezTo>
                      <a:pt x="4" y="7"/>
                      <a:pt x="4" y="7"/>
                      <a:pt x="3" y="7"/>
                    </a:cubicBezTo>
                    <a:cubicBezTo>
                      <a:pt x="2" y="7"/>
                      <a:pt x="1" y="6"/>
                      <a:pt x="1" y="5"/>
                    </a:cubicBezTo>
                    <a:cubicBezTo>
                      <a:pt x="0" y="3"/>
                      <a:pt x="2" y="0"/>
                      <a:pt x="5" y="2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69" name="Freeform 85">
                <a:extLst>
                  <a:ext uri="{FF2B5EF4-FFF2-40B4-BE49-F238E27FC236}">
                    <a16:creationId xmlns:a16="http://schemas.microsoft.com/office/drawing/2014/main" id="{283D88A2-A198-4BE5-862F-941D7527D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25" y="2706688"/>
                <a:ext cx="82550" cy="173038"/>
              </a:xfrm>
              <a:custGeom>
                <a:avLst/>
                <a:gdLst/>
                <a:ahLst/>
                <a:cxnLst>
                  <a:cxn ang="0">
                    <a:pos x="36" y="35"/>
                  </a:cxn>
                  <a:cxn ang="0">
                    <a:pos x="44" y="37"/>
                  </a:cxn>
                  <a:cxn ang="0">
                    <a:pos x="41" y="34"/>
                  </a:cxn>
                  <a:cxn ang="0">
                    <a:pos x="33" y="33"/>
                  </a:cxn>
                  <a:cxn ang="0">
                    <a:pos x="30" y="32"/>
                  </a:cxn>
                  <a:cxn ang="0">
                    <a:pos x="28" y="26"/>
                  </a:cxn>
                  <a:cxn ang="0">
                    <a:pos x="20" y="26"/>
                  </a:cxn>
                  <a:cxn ang="0">
                    <a:pos x="20" y="16"/>
                  </a:cxn>
                  <a:cxn ang="0">
                    <a:pos x="21" y="12"/>
                  </a:cxn>
                  <a:cxn ang="0">
                    <a:pos x="6" y="20"/>
                  </a:cxn>
                  <a:cxn ang="0">
                    <a:pos x="9" y="25"/>
                  </a:cxn>
                  <a:cxn ang="0">
                    <a:pos x="12" y="28"/>
                  </a:cxn>
                  <a:cxn ang="0">
                    <a:pos x="13" y="32"/>
                  </a:cxn>
                  <a:cxn ang="0">
                    <a:pos x="16" y="36"/>
                  </a:cxn>
                  <a:cxn ang="0">
                    <a:pos x="13" y="41"/>
                  </a:cxn>
                  <a:cxn ang="0">
                    <a:pos x="11" y="44"/>
                  </a:cxn>
                  <a:cxn ang="0">
                    <a:pos x="4" y="41"/>
                  </a:cxn>
                  <a:cxn ang="0">
                    <a:pos x="0" y="44"/>
                  </a:cxn>
                  <a:cxn ang="0">
                    <a:pos x="3" y="48"/>
                  </a:cxn>
                  <a:cxn ang="0">
                    <a:pos x="6" y="54"/>
                  </a:cxn>
                  <a:cxn ang="0">
                    <a:pos x="21" y="54"/>
                  </a:cxn>
                  <a:cxn ang="0">
                    <a:pos x="21" y="67"/>
                  </a:cxn>
                  <a:cxn ang="0">
                    <a:pos x="20" y="80"/>
                  </a:cxn>
                  <a:cxn ang="0">
                    <a:pos x="20" y="92"/>
                  </a:cxn>
                  <a:cxn ang="0">
                    <a:pos x="25" y="82"/>
                  </a:cxn>
                  <a:cxn ang="0">
                    <a:pos x="28" y="68"/>
                  </a:cxn>
                  <a:cxn ang="0">
                    <a:pos x="30" y="61"/>
                  </a:cxn>
                  <a:cxn ang="0">
                    <a:pos x="36" y="62"/>
                  </a:cxn>
                  <a:cxn ang="0">
                    <a:pos x="33" y="58"/>
                  </a:cxn>
                  <a:cxn ang="0">
                    <a:pos x="29" y="52"/>
                  </a:cxn>
                  <a:cxn ang="0">
                    <a:pos x="34" y="44"/>
                  </a:cxn>
                  <a:cxn ang="0">
                    <a:pos x="33" y="38"/>
                  </a:cxn>
                  <a:cxn ang="0">
                    <a:pos x="37" y="34"/>
                  </a:cxn>
                </a:cxnLst>
                <a:rect l="0" t="0" r="r" b="b"/>
                <a:pathLst>
                  <a:path w="44" h="93">
                    <a:moveTo>
                      <a:pt x="37" y="34"/>
                    </a:moveTo>
                    <a:cubicBezTo>
                      <a:pt x="37" y="35"/>
                      <a:pt x="37" y="35"/>
                      <a:pt x="36" y="35"/>
                    </a:cubicBezTo>
                    <a:cubicBezTo>
                      <a:pt x="36" y="35"/>
                      <a:pt x="36" y="37"/>
                      <a:pt x="36" y="38"/>
                    </a:cubicBezTo>
                    <a:cubicBezTo>
                      <a:pt x="38" y="38"/>
                      <a:pt x="43" y="39"/>
                      <a:pt x="44" y="37"/>
                    </a:cubicBezTo>
                    <a:cubicBezTo>
                      <a:pt x="43" y="37"/>
                      <a:pt x="42" y="37"/>
                      <a:pt x="42" y="36"/>
                    </a:cubicBezTo>
                    <a:cubicBezTo>
                      <a:pt x="41" y="36"/>
                      <a:pt x="41" y="35"/>
                      <a:pt x="41" y="34"/>
                    </a:cubicBezTo>
                    <a:cubicBezTo>
                      <a:pt x="40" y="33"/>
                      <a:pt x="35" y="32"/>
                      <a:pt x="35" y="35"/>
                    </a:cubicBezTo>
                    <a:cubicBezTo>
                      <a:pt x="34" y="35"/>
                      <a:pt x="33" y="34"/>
                      <a:pt x="33" y="33"/>
                    </a:cubicBezTo>
                    <a:cubicBezTo>
                      <a:pt x="32" y="32"/>
                      <a:pt x="33" y="32"/>
                      <a:pt x="33" y="31"/>
                    </a:cubicBezTo>
                    <a:cubicBezTo>
                      <a:pt x="32" y="31"/>
                      <a:pt x="29" y="30"/>
                      <a:pt x="30" y="32"/>
                    </a:cubicBezTo>
                    <a:cubicBezTo>
                      <a:pt x="30" y="31"/>
                      <a:pt x="30" y="30"/>
                      <a:pt x="30" y="29"/>
                    </a:cubicBezTo>
                    <a:cubicBezTo>
                      <a:pt x="30" y="27"/>
                      <a:pt x="30" y="27"/>
                      <a:pt x="28" y="26"/>
                    </a:cubicBezTo>
                    <a:cubicBezTo>
                      <a:pt x="24" y="25"/>
                      <a:pt x="22" y="25"/>
                      <a:pt x="22" y="30"/>
                    </a:cubicBezTo>
                    <a:cubicBezTo>
                      <a:pt x="22" y="28"/>
                      <a:pt x="20" y="27"/>
                      <a:pt x="20" y="26"/>
                    </a:cubicBezTo>
                    <a:cubicBezTo>
                      <a:pt x="19" y="25"/>
                      <a:pt x="20" y="22"/>
                      <a:pt x="20" y="21"/>
                    </a:cubicBezTo>
                    <a:cubicBezTo>
                      <a:pt x="20" y="19"/>
                      <a:pt x="19" y="18"/>
                      <a:pt x="20" y="16"/>
                    </a:cubicBezTo>
                    <a:cubicBezTo>
                      <a:pt x="20" y="16"/>
                      <a:pt x="20" y="16"/>
                      <a:pt x="21" y="15"/>
                    </a:cubicBezTo>
                    <a:cubicBezTo>
                      <a:pt x="21" y="14"/>
                      <a:pt x="21" y="13"/>
                      <a:pt x="21" y="12"/>
                    </a:cubicBezTo>
                    <a:cubicBezTo>
                      <a:pt x="21" y="0"/>
                      <a:pt x="8" y="20"/>
                      <a:pt x="10" y="21"/>
                    </a:cubicBezTo>
                    <a:cubicBezTo>
                      <a:pt x="9" y="21"/>
                      <a:pt x="7" y="20"/>
                      <a:pt x="6" y="20"/>
                    </a:cubicBezTo>
                    <a:cubicBezTo>
                      <a:pt x="6" y="21"/>
                      <a:pt x="6" y="22"/>
                      <a:pt x="6" y="22"/>
                    </a:cubicBezTo>
                    <a:cubicBezTo>
                      <a:pt x="6" y="24"/>
                      <a:pt x="8" y="24"/>
                      <a:pt x="9" y="25"/>
                    </a:cubicBezTo>
                    <a:cubicBezTo>
                      <a:pt x="9" y="25"/>
                      <a:pt x="8" y="26"/>
                      <a:pt x="9" y="26"/>
                    </a:cubicBezTo>
                    <a:cubicBezTo>
                      <a:pt x="10" y="28"/>
                      <a:pt x="10" y="27"/>
                      <a:pt x="12" y="28"/>
                    </a:cubicBezTo>
                    <a:cubicBezTo>
                      <a:pt x="14" y="28"/>
                      <a:pt x="13" y="28"/>
                      <a:pt x="14" y="29"/>
                    </a:cubicBezTo>
                    <a:cubicBezTo>
                      <a:pt x="14" y="30"/>
                      <a:pt x="13" y="31"/>
                      <a:pt x="13" y="32"/>
                    </a:cubicBezTo>
                    <a:cubicBezTo>
                      <a:pt x="14" y="33"/>
                      <a:pt x="14" y="33"/>
                      <a:pt x="15" y="35"/>
                    </a:cubicBezTo>
                    <a:cubicBezTo>
                      <a:pt x="16" y="35"/>
                      <a:pt x="16" y="35"/>
                      <a:pt x="16" y="36"/>
                    </a:cubicBezTo>
                    <a:cubicBezTo>
                      <a:pt x="15" y="36"/>
                      <a:pt x="12" y="35"/>
                      <a:pt x="11" y="36"/>
                    </a:cubicBezTo>
                    <a:cubicBezTo>
                      <a:pt x="11" y="37"/>
                      <a:pt x="12" y="40"/>
                      <a:pt x="13" y="41"/>
                    </a:cubicBezTo>
                    <a:cubicBezTo>
                      <a:pt x="12" y="42"/>
                      <a:pt x="11" y="41"/>
                      <a:pt x="11" y="42"/>
                    </a:cubicBezTo>
                    <a:cubicBezTo>
                      <a:pt x="10" y="42"/>
                      <a:pt x="11" y="43"/>
                      <a:pt x="11" y="44"/>
                    </a:cubicBezTo>
                    <a:cubicBezTo>
                      <a:pt x="9" y="44"/>
                      <a:pt x="6" y="45"/>
                      <a:pt x="5" y="44"/>
                    </a:cubicBezTo>
                    <a:cubicBezTo>
                      <a:pt x="3" y="44"/>
                      <a:pt x="4" y="43"/>
                      <a:pt x="4" y="41"/>
                    </a:cubicBezTo>
                    <a:cubicBezTo>
                      <a:pt x="4" y="40"/>
                      <a:pt x="2" y="38"/>
                      <a:pt x="0" y="40"/>
                    </a:cubicBezTo>
                    <a:cubicBezTo>
                      <a:pt x="0" y="40"/>
                      <a:pt x="0" y="43"/>
                      <a:pt x="0" y="44"/>
                    </a:cubicBezTo>
                    <a:cubicBezTo>
                      <a:pt x="0" y="45"/>
                      <a:pt x="0" y="47"/>
                      <a:pt x="0" y="47"/>
                    </a:cubicBezTo>
                    <a:cubicBezTo>
                      <a:pt x="1" y="48"/>
                      <a:pt x="2" y="47"/>
                      <a:pt x="3" y="48"/>
                    </a:cubicBezTo>
                    <a:cubicBezTo>
                      <a:pt x="5" y="49"/>
                      <a:pt x="4" y="50"/>
                      <a:pt x="4" y="51"/>
                    </a:cubicBezTo>
                    <a:cubicBezTo>
                      <a:pt x="4" y="52"/>
                      <a:pt x="5" y="53"/>
                      <a:pt x="6" y="54"/>
                    </a:cubicBezTo>
                    <a:cubicBezTo>
                      <a:pt x="9" y="56"/>
                      <a:pt x="11" y="54"/>
                      <a:pt x="14" y="55"/>
                    </a:cubicBezTo>
                    <a:cubicBezTo>
                      <a:pt x="14" y="60"/>
                      <a:pt x="20" y="57"/>
                      <a:pt x="21" y="54"/>
                    </a:cubicBezTo>
                    <a:cubicBezTo>
                      <a:pt x="21" y="57"/>
                      <a:pt x="20" y="60"/>
                      <a:pt x="20" y="63"/>
                    </a:cubicBezTo>
                    <a:cubicBezTo>
                      <a:pt x="20" y="64"/>
                      <a:pt x="21" y="66"/>
                      <a:pt x="21" y="67"/>
                    </a:cubicBezTo>
                    <a:cubicBezTo>
                      <a:pt x="20" y="69"/>
                      <a:pt x="18" y="70"/>
                      <a:pt x="17" y="72"/>
                    </a:cubicBezTo>
                    <a:cubicBezTo>
                      <a:pt x="17" y="76"/>
                      <a:pt x="20" y="77"/>
                      <a:pt x="20" y="80"/>
                    </a:cubicBezTo>
                    <a:cubicBezTo>
                      <a:pt x="19" y="83"/>
                      <a:pt x="19" y="86"/>
                      <a:pt x="19" y="89"/>
                    </a:cubicBezTo>
                    <a:cubicBezTo>
                      <a:pt x="19" y="90"/>
                      <a:pt x="19" y="91"/>
                      <a:pt x="20" y="92"/>
                    </a:cubicBezTo>
                    <a:cubicBezTo>
                      <a:pt x="21" y="93"/>
                      <a:pt x="22" y="92"/>
                      <a:pt x="23" y="91"/>
                    </a:cubicBezTo>
                    <a:cubicBezTo>
                      <a:pt x="25" y="88"/>
                      <a:pt x="26" y="86"/>
                      <a:pt x="25" y="82"/>
                    </a:cubicBezTo>
                    <a:cubicBezTo>
                      <a:pt x="24" y="80"/>
                      <a:pt x="25" y="78"/>
                      <a:pt x="25" y="76"/>
                    </a:cubicBezTo>
                    <a:cubicBezTo>
                      <a:pt x="25" y="73"/>
                      <a:pt x="25" y="70"/>
                      <a:pt x="28" y="68"/>
                    </a:cubicBezTo>
                    <a:cubicBezTo>
                      <a:pt x="29" y="68"/>
                      <a:pt x="31" y="67"/>
                      <a:pt x="31" y="65"/>
                    </a:cubicBezTo>
                    <a:cubicBezTo>
                      <a:pt x="30" y="64"/>
                      <a:pt x="29" y="63"/>
                      <a:pt x="30" y="61"/>
                    </a:cubicBezTo>
                    <a:cubicBezTo>
                      <a:pt x="32" y="61"/>
                      <a:pt x="31" y="63"/>
                      <a:pt x="32" y="64"/>
                    </a:cubicBezTo>
                    <a:cubicBezTo>
                      <a:pt x="33" y="65"/>
                      <a:pt x="35" y="63"/>
                      <a:pt x="36" y="62"/>
                    </a:cubicBezTo>
                    <a:cubicBezTo>
                      <a:pt x="37" y="60"/>
                      <a:pt x="39" y="58"/>
                      <a:pt x="37" y="57"/>
                    </a:cubicBezTo>
                    <a:cubicBezTo>
                      <a:pt x="36" y="56"/>
                      <a:pt x="33" y="56"/>
                      <a:pt x="33" y="58"/>
                    </a:cubicBezTo>
                    <a:cubicBezTo>
                      <a:pt x="32" y="58"/>
                      <a:pt x="32" y="57"/>
                      <a:pt x="31" y="56"/>
                    </a:cubicBezTo>
                    <a:cubicBezTo>
                      <a:pt x="31" y="55"/>
                      <a:pt x="28" y="53"/>
                      <a:pt x="29" y="52"/>
                    </a:cubicBezTo>
                    <a:cubicBezTo>
                      <a:pt x="31" y="51"/>
                      <a:pt x="34" y="52"/>
                      <a:pt x="36" y="50"/>
                    </a:cubicBezTo>
                    <a:cubicBezTo>
                      <a:pt x="37" y="48"/>
                      <a:pt x="33" y="46"/>
                      <a:pt x="34" y="44"/>
                    </a:cubicBezTo>
                    <a:cubicBezTo>
                      <a:pt x="34" y="43"/>
                      <a:pt x="34" y="43"/>
                      <a:pt x="34" y="42"/>
                    </a:cubicBezTo>
                    <a:cubicBezTo>
                      <a:pt x="35" y="40"/>
                      <a:pt x="34" y="39"/>
                      <a:pt x="33" y="38"/>
                    </a:cubicBezTo>
                    <a:cubicBezTo>
                      <a:pt x="33" y="38"/>
                      <a:pt x="34" y="37"/>
                      <a:pt x="35" y="37"/>
                    </a:cubicBezTo>
                    <a:lnTo>
                      <a:pt x="37" y="34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70" name="Freeform 86">
                <a:extLst>
                  <a:ext uri="{FF2B5EF4-FFF2-40B4-BE49-F238E27FC236}">
                    <a16:creationId xmlns:a16="http://schemas.microsoft.com/office/drawing/2014/main" id="{635CA0B9-8F10-49A6-9F1C-FE7BBCED02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5813" y="2676525"/>
                <a:ext cx="20638" cy="39688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" y="11"/>
                  </a:cxn>
                  <a:cxn ang="0">
                    <a:pos x="1" y="18"/>
                  </a:cxn>
                  <a:cxn ang="0">
                    <a:pos x="8" y="15"/>
                  </a:cxn>
                  <a:cxn ang="0">
                    <a:pos x="9" y="0"/>
                  </a:cxn>
                  <a:cxn ang="0">
                    <a:pos x="9" y="2"/>
                  </a:cxn>
                </a:cxnLst>
                <a:rect l="0" t="0" r="r" b="b"/>
                <a:pathLst>
                  <a:path w="11" h="21">
                    <a:moveTo>
                      <a:pt x="9" y="2"/>
                    </a:moveTo>
                    <a:cubicBezTo>
                      <a:pt x="4" y="2"/>
                      <a:pt x="1" y="7"/>
                      <a:pt x="1" y="11"/>
                    </a:cubicBezTo>
                    <a:cubicBezTo>
                      <a:pt x="1" y="13"/>
                      <a:pt x="0" y="17"/>
                      <a:pt x="1" y="18"/>
                    </a:cubicBezTo>
                    <a:cubicBezTo>
                      <a:pt x="3" y="21"/>
                      <a:pt x="7" y="17"/>
                      <a:pt x="8" y="15"/>
                    </a:cubicBezTo>
                    <a:cubicBezTo>
                      <a:pt x="10" y="11"/>
                      <a:pt x="11" y="6"/>
                      <a:pt x="9" y="0"/>
                    </a:cubicBezTo>
                    <a:lnTo>
                      <a:pt x="9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71" name="Line 87">
                <a:extLst>
                  <a:ext uri="{FF2B5EF4-FFF2-40B4-BE49-F238E27FC236}">
                    <a16:creationId xmlns:a16="http://schemas.microsoft.com/office/drawing/2014/main" id="{9B8D77B3-BF6C-4DA5-9DEE-522DB56FFC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44775" y="3457575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72" name="Line 88">
                <a:extLst>
                  <a:ext uri="{FF2B5EF4-FFF2-40B4-BE49-F238E27FC236}">
                    <a16:creationId xmlns:a16="http://schemas.microsoft.com/office/drawing/2014/main" id="{727E282B-71FA-4164-9898-307CCE3F7F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44775" y="3457575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73" name="Freeform 89">
                <a:extLst>
                  <a:ext uri="{FF2B5EF4-FFF2-40B4-BE49-F238E27FC236}">
                    <a16:creationId xmlns:a16="http://schemas.microsoft.com/office/drawing/2014/main" id="{5BB44A0B-AF9A-475C-9A9C-461CBD3FFC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8738" y="3735388"/>
                <a:ext cx="263525" cy="222250"/>
              </a:xfrm>
              <a:custGeom>
                <a:avLst/>
                <a:gdLst/>
                <a:ahLst/>
                <a:cxnLst>
                  <a:cxn ang="0">
                    <a:pos x="140" y="68"/>
                  </a:cxn>
                  <a:cxn ang="0">
                    <a:pos x="135" y="48"/>
                  </a:cxn>
                  <a:cxn ang="0">
                    <a:pos x="127" y="45"/>
                  </a:cxn>
                  <a:cxn ang="0">
                    <a:pos x="118" y="42"/>
                  </a:cxn>
                  <a:cxn ang="0">
                    <a:pos x="107" y="16"/>
                  </a:cxn>
                  <a:cxn ang="0">
                    <a:pos x="90" y="6"/>
                  </a:cxn>
                  <a:cxn ang="0">
                    <a:pos x="78" y="1"/>
                  </a:cxn>
                  <a:cxn ang="0">
                    <a:pos x="73" y="0"/>
                  </a:cxn>
                  <a:cxn ang="0">
                    <a:pos x="61" y="6"/>
                  </a:cxn>
                  <a:cxn ang="0">
                    <a:pos x="58" y="13"/>
                  </a:cxn>
                  <a:cxn ang="0">
                    <a:pos x="55" y="16"/>
                  </a:cxn>
                  <a:cxn ang="0">
                    <a:pos x="50" y="21"/>
                  </a:cxn>
                  <a:cxn ang="0">
                    <a:pos x="41" y="26"/>
                  </a:cxn>
                  <a:cxn ang="0">
                    <a:pos x="35" y="36"/>
                  </a:cxn>
                  <a:cxn ang="0">
                    <a:pos x="31" y="44"/>
                  </a:cxn>
                  <a:cxn ang="0">
                    <a:pos x="24" y="53"/>
                  </a:cxn>
                  <a:cxn ang="0">
                    <a:pos x="11" y="55"/>
                  </a:cxn>
                  <a:cxn ang="0">
                    <a:pos x="11" y="61"/>
                  </a:cxn>
                  <a:cxn ang="0">
                    <a:pos x="19" y="63"/>
                  </a:cxn>
                  <a:cxn ang="0">
                    <a:pos x="14" y="68"/>
                  </a:cxn>
                  <a:cxn ang="0">
                    <a:pos x="3" y="76"/>
                  </a:cxn>
                  <a:cxn ang="0">
                    <a:pos x="1" y="86"/>
                  </a:cxn>
                  <a:cxn ang="0">
                    <a:pos x="6" y="90"/>
                  </a:cxn>
                  <a:cxn ang="0">
                    <a:pos x="7" y="94"/>
                  </a:cxn>
                  <a:cxn ang="0">
                    <a:pos x="11" y="100"/>
                  </a:cxn>
                  <a:cxn ang="0">
                    <a:pos x="22" y="103"/>
                  </a:cxn>
                  <a:cxn ang="0">
                    <a:pos x="25" y="106"/>
                  </a:cxn>
                  <a:cxn ang="0">
                    <a:pos x="35" y="109"/>
                  </a:cxn>
                  <a:cxn ang="0">
                    <a:pos x="42" y="104"/>
                  </a:cxn>
                  <a:cxn ang="0">
                    <a:pos x="49" y="97"/>
                  </a:cxn>
                  <a:cxn ang="0">
                    <a:pos x="50" y="89"/>
                  </a:cxn>
                  <a:cxn ang="0">
                    <a:pos x="58" y="84"/>
                  </a:cxn>
                  <a:cxn ang="0">
                    <a:pos x="66" y="95"/>
                  </a:cxn>
                  <a:cxn ang="0">
                    <a:pos x="71" y="102"/>
                  </a:cxn>
                  <a:cxn ang="0">
                    <a:pos x="76" y="113"/>
                  </a:cxn>
                  <a:cxn ang="0">
                    <a:pos x="85" y="116"/>
                  </a:cxn>
                  <a:cxn ang="0">
                    <a:pos x="89" y="113"/>
                  </a:cxn>
                  <a:cxn ang="0">
                    <a:pos x="95" y="112"/>
                  </a:cxn>
                  <a:cxn ang="0">
                    <a:pos x="104" y="116"/>
                  </a:cxn>
                  <a:cxn ang="0">
                    <a:pos x="110" y="117"/>
                  </a:cxn>
                  <a:cxn ang="0">
                    <a:pos x="117" y="99"/>
                  </a:cxn>
                  <a:cxn ang="0">
                    <a:pos x="132" y="94"/>
                  </a:cxn>
                  <a:cxn ang="0">
                    <a:pos x="140" y="77"/>
                  </a:cxn>
                </a:cxnLst>
                <a:rect l="0" t="0" r="r" b="b"/>
                <a:pathLst>
                  <a:path w="141" h="119">
                    <a:moveTo>
                      <a:pt x="140" y="77"/>
                    </a:moveTo>
                    <a:cubicBezTo>
                      <a:pt x="140" y="74"/>
                      <a:pt x="141" y="71"/>
                      <a:pt x="140" y="68"/>
                    </a:cubicBezTo>
                    <a:cubicBezTo>
                      <a:pt x="139" y="65"/>
                      <a:pt x="135" y="62"/>
                      <a:pt x="133" y="62"/>
                    </a:cubicBezTo>
                    <a:cubicBezTo>
                      <a:pt x="132" y="57"/>
                      <a:pt x="137" y="53"/>
                      <a:pt x="135" y="48"/>
                    </a:cubicBezTo>
                    <a:cubicBezTo>
                      <a:pt x="134" y="48"/>
                      <a:pt x="132" y="48"/>
                      <a:pt x="131" y="47"/>
                    </a:cubicBezTo>
                    <a:cubicBezTo>
                      <a:pt x="128" y="46"/>
                      <a:pt x="129" y="47"/>
                      <a:pt x="127" y="45"/>
                    </a:cubicBezTo>
                    <a:cubicBezTo>
                      <a:pt x="126" y="43"/>
                      <a:pt x="125" y="41"/>
                      <a:pt x="122" y="41"/>
                    </a:cubicBezTo>
                    <a:cubicBezTo>
                      <a:pt x="120" y="41"/>
                      <a:pt x="120" y="43"/>
                      <a:pt x="118" y="42"/>
                    </a:cubicBezTo>
                    <a:cubicBezTo>
                      <a:pt x="118" y="38"/>
                      <a:pt x="114" y="34"/>
                      <a:pt x="112" y="30"/>
                    </a:cubicBezTo>
                    <a:cubicBezTo>
                      <a:pt x="109" y="25"/>
                      <a:pt x="107" y="22"/>
                      <a:pt x="107" y="16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06" y="6"/>
                      <a:pt x="97" y="5"/>
                      <a:pt x="90" y="6"/>
                    </a:cubicBezTo>
                    <a:cubicBezTo>
                      <a:pt x="86" y="6"/>
                      <a:pt x="85" y="8"/>
                      <a:pt x="82" y="8"/>
                    </a:cubicBezTo>
                    <a:cubicBezTo>
                      <a:pt x="77" y="9"/>
                      <a:pt x="78" y="4"/>
                      <a:pt x="78" y="1"/>
                    </a:cubicBezTo>
                    <a:cubicBezTo>
                      <a:pt x="76" y="0"/>
                      <a:pt x="75" y="0"/>
                      <a:pt x="73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1" y="2"/>
                      <a:pt x="68" y="2"/>
                      <a:pt x="66" y="3"/>
                    </a:cubicBezTo>
                    <a:cubicBezTo>
                      <a:pt x="64" y="3"/>
                      <a:pt x="63" y="5"/>
                      <a:pt x="61" y="6"/>
                    </a:cubicBezTo>
                    <a:cubicBezTo>
                      <a:pt x="60" y="7"/>
                      <a:pt x="58" y="9"/>
                      <a:pt x="58" y="10"/>
                    </a:cubicBezTo>
                    <a:cubicBezTo>
                      <a:pt x="58" y="11"/>
                      <a:pt x="58" y="12"/>
                      <a:pt x="58" y="13"/>
                    </a:cubicBezTo>
                    <a:cubicBezTo>
                      <a:pt x="57" y="13"/>
                      <a:pt x="57" y="13"/>
                      <a:pt x="56" y="13"/>
                    </a:cubicBezTo>
                    <a:cubicBezTo>
                      <a:pt x="56" y="14"/>
                      <a:pt x="56" y="15"/>
                      <a:pt x="55" y="16"/>
                    </a:cubicBezTo>
                    <a:cubicBezTo>
                      <a:pt x="55" y="16"/>
                      <a:pt x="54" y="18"/>
                      <a:pt x="54" y="18"/>
                    </a:cubicBezTo>
                    <a:cubicBezTo>
                      <a:pt x="53" y="19"/>
                      <a:pt x="51" y="20"/>
                      <a:pt x="50" y="21"/>
                    </a:cubicBezTo>
                    <a:cubicBezTo>
                      <a:pt x="48" y="22"/>
                      <a:pt x="48" y="23"/>
                      <a:pt x="46" y="23"/>
                    </a:cubicBezTo>
                    <a:cubicBezTo>
                      <a:pt x="43" y="24"/>
                      <a:pt x="42" y="22"/>
                      <a:pt x="41" y="26"/>
                    </a:cubicBezTo>
                    <a:cubicBezTo>
                      <a:pt x="41" y="29"/>
                      <a:pt x="40" y="29"/>
                      <a:pt x="38" y="31"/>
                    </a:cubicBezTo>
                    <a:cubicBezTo>
                      <a:pt x="37" y="33"/>
                      <a:pt x="36" y="34"/>
                      <a:pt x="35" y="36"/>
                    </a:cubicBezTo>
                    <a:cubicBezTo>
                      <a:pt x="34" y="38"/>
                      <a:pt x="34" y="40"/>
                      <a:pt x="33" y="41"/>
                    </a:cubicBezTo>
                    <a:cubicBezTo>
                      <a:pt x="33" y="43"/>
                      <a:pt x="32" y="43"/>
                      <a:pt x="31" y="44"/>
                    </a:cubicBezTo>
                    <a:cubicBezTo>
                      <a:pt x="29" y="46"/>
                      <a:pt x="28" y="49"/>
                      <a:pt x="28" y="51"/>
                    </a:cubicBezTo>
                    <a:cubicBezTo>
                      <a:pt x="27" y="53"/>
                      <a:pt x="27" y="53"/>
                      <a:pt x="24" y="53"/>
                    </a:cubicBezTo>
                    <a:cubicBezTo>
                      <a:pt x="22" y="53"/>
                      <a:pt x="20" y="53"/>
                      <a:pt x="17" y="53"/>
                    </a:cubicBezTo>
                    <a:cubicBezTo>
                      <a:pt x="15" y="53"/>
                      <a:pt x="12" y="53"/>
                      <a:pt x="11" y="55"/>
                    </a:cubicBezTo>
                    <a:cubicBezTo>
                      <a:pt x="11" y="56"/>
                      <a:pt x="10" y="58"/>
                      <a:pt x="10" y="59"/>
                    </a:cubicBezTo>
                    <a:cubicBezTo>
                      <a:pt x="10" y="60"/>
                      <a:pt x="10" y="60"/>
                      <a:pt x="11" y="61"/>
                    </a:cubicBezTo>
                    <a:cubicBezTo>
                      <a:pt x="13" y="62"/>
                      <a:pt x="14" y="62"/>
                      <a:pt x="16" y="62"/>
                    </a:cubicBezTo>
                    <a:cubicBezTo>
                      <a:pt x="17" y="62"/>
                      <a:pt x="18" y="63"/>
                      <a:pt x="19" y="63"/>
                    </a:cubicBezTo>
                    <a:cubicBezTo>
                      <a:pt x="18" y="63"/>
                      <a:pt x="17" y="64"/>
                      <a:pt x="16" y="65"/>
                    </a:cubicBezTo>
                    <a:cubicBezTo>
                      <a:pt x="16" y="66"/>
                      <a:pt x="15" y="67"/>
                      <a:pt x="14" y="68"/>
                    </a:cubicBezTo>
                    <a:cubicBezTo>
                      <a:pt x="13" y="69"/>
                      <a:pt x="10" y="71"/>
                      <a:pt x="8" y="72"/>
                    </a:cubicBezTo>
                    <a:cubicBezTo>
                      <a:pt x="6" y="73"/>
                      <a:pt x="5" y="74"/>
                      <a:pt x="3" y="76"/>
                    </a:cubicBezTo>
                    <a:cubicBezTo>
                      <a:pt x="2" y="78"/>
                      <a:pt x="0" y="78"/>
                      <a:pt x="0" y="80"/>
                    </a:cubicBezTo>
                    <a:cubicBezTo>
                      <a:pt x="0" y="82"/>
                      <a:pt x="0" y="84"/>
                      <a:pt x="1" y="86"/>
                    </a:cubicBezTo>
                    <a:cubicBezTo>
                      <a:pt x="2" y="87"/>
                      <a:pt x="3" y="88"/>
                      <a:pt x="5" y="89"/>
                    </a:cubicBezTo>
                    <a:cubicBezTo>
                      <a:pt x="5" y="89"/>
                      <a:pt x="6" y="90"/>
                      <a:pt x="6" y="90"/>
                    </a:cubicBezTo>
                    <a:cubicBezTo>
                      <a:pt x="7" y="91"/>
                      <a:pt x="6" y="91"/>
                      <a:pt x="6" y="92"/>
                    </a:cubicBezTo>
                    <a:cubicBezTo>
                      <a:pt x="7" y="92"/>
                      <a:pt x="7" y="93"/>
                      <a:pt x="7" y="94"/>
                    </a:cubicBezTo>
                    <a:cubicBezTo>
                      <a:pt x="8" y="95"/>
                      <a:pt x="9" y="95"/>
                      <a:pt x="10" y="97"/>
                    </a:cubicBezTo>
                    <a:cubicBezTo>
                      <a:pt x="10" y="98"/>
                      <a:pt x="10" y="99"/>
                      <a:pt x="11" y="100"/>
                    </a:cubicBezTo>
                    <a:cubicBezTo>
                      <a:pt x="12" y="101"/>
                      <a:pt x="15" y="102"/>
                      <a:pt x="17" y="102"/>
                    </a:cubicBezTo>
                    <a:cubicBezTo>
                      <a:pt x="18" y="102"/>
                      <a:pt x="21" y="102"/>
                      <a:pt x="22" y="103"/>
                    </a:cubicBezTo>
                    <a:cubicBezTo>
                      <a:pt x="23" y="104"/>
                      <a:pt x="22" y="104"/>
                      <a:pt x="23" y="104"/>
                    </a:cubicBezTo>
                    <a:cubicBezTo>
                      <a:pt x="24" y="105"/>
                      <a:pt x="24" y="105"/>
                      <a:pt x="25" y="106"/>
                    </a:cubicBezTo>
                    <a:cubicBezTo>
                      <a:pt x="26" y="106"/>
                      <a:pt x="27" y="107"/>
                      <a:pt x="28" y="108"/>
                    </a:cubicBezTo>
                    <a:cubicBezTo>
                      <a:pt x="30" y="109"/>
                      <a:pt x="33" y="108"/>
                      <a:pt x="35" y="109"/>
                    </a:cubicBezTo>
                    <a:cubicBezTo>
                      <a:pt x="36" y="109"/>
                      <a:pt x="39" y="110"/>
                      <a:pt x="41" y="110"/>
                    </a:cubicBezTo>
                    <a:cubicBezTo>
                      <a:pt x="43" y="109"/>
                      <a:pt x="41" y="106"/>
                      <a:pt x="42" y="104"/>
                    </a:cubicBezTo>
                    <a:cubicBezTo>
                      <a:pt x="43" y="102"/>
                      <a:pt x="47" y="104"/>
                      <a:pt x="48" y="103"/>
                    </a:cubicBezTo>
                    <a:cubicBezTo>
                      <a:pt x="50" y="102"/>
                      <a:pt x="50" y="99"/>
                      <a:pt x="49" y="97"/>
                    </a:cubicBezTo>
                    <a:cubicBezTo>
                      <a:pt x="48" y="96"/>
                      <a:pt x="48" y="95"/>
                      <a:pt x="48" y="94"/>
                    </a:cubicBezTo>
                    <a:cubicBezTo>
                      <a:pt x="48" y="92"/>
                      <a:pt x="49" y="91"/>
                      <a:pt x="50" y="89"/>
                    </a:cubicBezTo>
                    <a:cubicBezTo>
                      <a:pt x="51" y="88"/>
                      <a:pt x="52" y="85"/>
                      <a:pt x="54" y="85"/>
                    </a:cubicBezTo>
                    <a:cubicBezTo>
                      <a:pt x="55" y="84"/>
                      <a:pt x="57" y="85"/>
                      <a:pt x="58" y="84"/>
                    </a:cubicBezTo>
                    <a:cubicBezTo>
                      <a:pt x="60" y="86"/>
                      <a:pt x="61" y="88"/>
                      <a:pt x="62" y="90"/>
                    </a:cubicBezTo>
                    <a:cubicBezTo>
                      <a:pt x="64" y="92"/>
                      <a:pt x="65" y="93"/>
                      <a:pt x="66" y="95"/>
                    </a:cubicBezTo>
                    <a:cubicBezTo>
                      <a:pt x="67" y="97"/>
                      <a:pt x="66" y="98"/>
                      <a:pt x="66" y="100"/>
                    </a:cubicBezTo>
                    <a:cubicBezTo>
                      <a:pt x="66" y="102"/>
                      <a:pt x="69" y="102"/>
                      <a:pt x="71" y="102"/>
                    </a:cubicBezTo>
                    <a:cubicBezTo>
                      <a:pt x="73" y="103"/>
                      <a:pt x="74" y="104"/>
                      <a:pt x="74" y="105"/>
                    </a:cubicBezTo>
                    <a:cubicBezTo>
                      <a:pt x="75" y="108"/>
                      <a:pt x="76" y="110"/>
                      <a:pt x="76" y="113"/>
                    </a:cubicBezTo>
                    <a:cubicBezTo>
                      <a:pt x="76" y="115"/>
                      <a:pt x="76" y="117"/>
                      <a:pt x="79" y="117"/>
                    </a:cubicBezTo>
                    <a:cubicBezTo>
                      <a:pt x="81" y="117"/>
                      <a:pt x="83" y="117"/>
                      <a:pt x="85" y="116"/>
                    </a:cubicBezTo>
                    <a:cubicBezTo>
                      <a:pt x="86" y="115"/>
                      <a:pt x="87" y="115"/>
                      <a:pt x="88" y="113"/>
                    </a:cubicBezTo>
                    <a:cubicBezTo>
                      <a:pt x="88" y="113"/>
                      <a:pt x="88" y="113"/>
                      <a:pt x="89" y="113"/>
                    </a:cubicBezTo>
                    <a:cubicBezTo>
                      <a:pt x="89" y="112"/>
                      <a:pt x="89" y="111"/>
                      <a:pt x="90" y="110"/>
                    </a:cubicBezTo>
                    <a:cubicBezTo>
                      <a:pt x="92" y="111"/>
                      <a:pt x="93" y="111"/>
                      <a:pt x="95" y="112"/>
                    </a:cubicBezTo>
                    <a:cubicBezTo>
                      <a:pt x="97" y="113"/>
                      <a:pt x="98" y="115"/>
                      <a:pt x="100" y="115"/>
                    </a:cubicBezTo>
                    <a:cubicBezTo>
                      <a:pt x="102" y="115"/>
                      <a:pt x="102" y="115"/>
                      <a:pt x="104" y="116"/>
                    </a:cubicBezTo>
                    <a:cubicBezTo>
                      <a:pt x="106" y="117"/>
                      <a:pt x="108" y="118"/>
                      <a:pt x="109" y="119"/>
                    </a:cubicBezTo>
                    <a:cubicBezTo>
                      <a:pt x="110" y="118"/>
                      <a:pt x="110" y="118"/>
                      <a:pt x="110" y="117"/>
                    </a:cubicBezTo>
                    <a:cubicBezTo>
                      <a:pt x="113" y="114"/>
                      <a:pt x="114" y="111"/>
                      <a:pt x="114" y="107"/>
                    </a:cubicBezTo>
                    <a:cubicBezTo>
                      <a:pt x="114" y="103"/>
                      <a:pt x="113" y="100"/>
                      <a:pt x="117" y="99"/>
                    </a:cubicBezTo>
                    <a:cubicBezTo>
                      <a:pt x="120" y="99"/>
                      <a:pt x="123" y="99"/>
                      <a:pt x="125" y="99"/>
                    </a:cubicBezTo>
                    <a:cubicBezTo>
                      <a:pt x="130" y="99"/>
                      <a:pt x="130" y="98"/>
                      <a:pt x="132" y="94"/>
                    </a:cubicBezTo>
                    <a:cubicBezTo>
                      <a:pt x="134" y="92"/>
                      <a:pt x="136" y="90"/>
                      <a:pt x="138" y="87"/>
                    </a:cubicBezTo>
                    <a:cubicBezTo>
                      <a:pt x="139" y="84"/>
                      <a:pt x="139" y="80"/>
                      <a:pt x="140" y="77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74" name="Freeform 90">
                <a:extLst>
                  <a:ext uri="{FF2B5EF4-FFF2-40B4-BE49-F238E27FC236}">
                    <a16:creationId xmlns:a16="http://schemas.microsoft.com/office/drawing/2014/main" id="{3EBA7A47-7019-4575-8459-B77AC3284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0525" y="3887788"/>
                <a:ext cx="46038" cy="53975"/>
              </a:xfrm>
              <a:custGeom>
                <a:avLst/>
                <a:gdLst/>
                <a:ahLst/>
                <a:cxnLst>
                  <a:cxn ang="0">
                    <a:pos x="21" y="1"/>
                  </a:cxn>
                  <a:cxn ang="0">
                    <a:pos x="21" y="1"/>
                  </a:cxn>
                  <a:cxn ang="0">
                    <a:pos x="19" y="0"/>
                  </a:cxn>
                  <a:cxn ang="0">
                    <a:pos x="11" y="3"/>
                  </a:cxn>
                  <a:cxn ang="0">
                    <a:pos x="8" y="7"/>
                  </a:cxn>
                  <a:cxn ang="0">
                    <a:pos x="6" y="10"/>
                  </a:cxn>
                  <a:cxn ang="0">
                    <a:pos x="1" y="19"/>
                  </a:cxn>
                  <a:cxn ang="0">
                    <a:pos x="1" y="25"/>
                  </a:cxn>
                  <a:cxn ang="0">
                    <a:pos x="2" y="27"/>
                  </a:cxn>
                  <a:cxn ang="0">
                    <a:pos x="4" y="28"/>
                  </a:cxn>
                  <a:cxn ang="0">
                    <a:pos x="10" y="28"/>
                  </a:cxn>
                  <a:cxn ang="0">
                    <a:pos x="15" y="27"/>
                  </a:cxn>
                  <a:cxn ang="0">
                    <a:pos x="18" y="24"/>
                  </a:cxn>
                  <a:cxn ang="0">
                    <a:pos x="21" y="21"/>
                  </a:cxn>
                  <a:cxn ang="0">
                    <a:pos x="24" y="14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21" y="1"/>
                  </a:cxn>
                </a:cxnLst>
                <a:rect l="0" t="0" r="r" b="b"/>
                <a:pathLst>
                  <a:path w="24" h="29">
                    <a:moveTo>
                      <a:pt x="21" y="1"/>
                    </a:moveTo>
                    <a:cubicBezTo>
                      <a:pt x="21" y="1"/>
                      <a:pt x="21" y="1"/>
                      <a:pt x="21" y="1"/>
                    </a:cubicBezTo>
                    <a:cubicBezTo>
                      <a:pt x="21" y="0"/>
                      <a:pt x="19" y="0"/>
                      <a:pt x="19" y="0"/>
                    </a:cubicBezTo>
                    <a:cubicBezTo>
                      <a:pt x="16" y="0"/>
                      <a:pt x="13" y="0"/>
                      <a:pt x="11" y="3"/>
                    </a:cubicBezTo>
                    <a:cubicBezTo>
                      <a:pt x="10" y="4"/>
                      <a:pt x="9" y="6"/>
                      <a:pt x="8" y="7"/>
                    </a:cubicBezTo>
                    <a:cubicBezTo>
                      <a:pt x="8" y="8"/>
                      <a:pt x="7" y="9"/>
                      <a:pt x="6" y="10"/>
                    </a:cubicBezTo>
                    <a:cubicBezTo>
                      <a:pt x="4" y="13"/>
                      <a:pt x="2" y="16"/>
                      <a:pt x="1" y="19"/>
                    </a:cubicBezTo>
                    <a:cubicBezTo>
                      <a:pt x="0" y="21"/>
                      <a:pt x="0" y="23"/>
                      <a:pt x="1" y="25"/>
                    </a:cubicBezTo>
                    <a:cubicBezTo>
                      <a:pt x="1" y="26"/>
                      <a:pt x="1" y="27"/>
                      <a:pt x="2" y="27"/>
                    </a:cubicBezTo>
                    <a:cubicBezTo>
                      <a:pt x="2" y="28"/>
                      <a:pt x="3" y="28"/>
                      <a:pt x="4" y="28"/>
                    </a:cubicBezTo>
                    <a:cubicBezTo>
                      <a:pt x="6" y="28"/>
                      <a:pt x="8" y="29"/>
                      <a:pt x="10" y="28"/>
                    </a:cubicBezTo>
                    <a:cubicBezTo>
                      <a:pt x="12" y="28"/>
                      <a:pt x="13" y="28"/>
                      <a:pt x="15" y="27"/>
                    </a:cubicBezTo>
                    <a:cubicBezTo>
                      <a:pt x="16" y="26"/>
                      <a:pt x="17" y="25"/>
                      <a:pt x="18" y="24"/>
                    </a:cubicBezTo>
                    <a:cubicBezTo>
                      <a:pt x="19" y="23"/>
                      <a:pt x="20" y="22"/>
                      <a:pt x="21" y="21"/>
                    </a:cubicBezTo>
                    <a:cubicBezTo>
                      <a:pt x="23" y="19"/>
                      <a:pt x="23" y="16"/>
                      <a:pt x="24" y="14"/>
                    </a:cubicBezTo>
                    <a:cubicBezTo>
                      <a:pt x="24" y="11"/>
                      <a:pt x="24" y="9"/>
                      <a:pt x="22" y="6"/>
                    </a:cubicBezTo>
                    <a:cubicBezTo>
                      <a:pt x="21" y="6"/>
                      <a:pt x="20" y="5"/>
                      <a:pt x="20" y="4"/>
                    </a:cubicBezTo>
                    <a:cubicBezTo>
                      <a:pt x="19" y="4"/>
                      <a:pt x="18" y="3"/>
                      <a:pt x="18" y="2"/>
                    </a:cubicBezTo>
                    <a:lnTo>
                      <a:pt x="21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75" name="Freeform 91">
                <a:extLst>
                  <a:ext uri="{FF2B5EF4-FFF2-40B4-BE49-F238E27FC236}">
                    <a16:creationId xmlns:a16="http://schemas.microsoft.com/office/drawing/2014/main" id="{FB5B5BAF-58DE-480C-BD4B-DDF072C3C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263" y="4511675"/>
                <a:ext cx="71438" cy="30163"/>
              </a:xfrm>
              <a:custGeom>
                <a:avLst/>
                <a:gdLst/>
                <a:ahLst/>
                <a:cxnLst>
                  <a:cxn ang="0">
                    <a:pos x="29" y="3"/>
                  </a:cxn>
                  <a:cxn ang="0">
                    <a:pos x="29" y="3"/>
                  </a:cxn>
                  <a:cxn ang="0">
                    <a:pos x="24" y="1"/>
                  </a:cxn>
                  <a:cxn ang="0">
                    <a:pos x="13" y="1"/>
                  </a:cxn>
                  <a:cxn ang="0">
                    <a:pos x="9" y="3"/>
                  </a:cxn>
                  <a:cxn ang="0">
                    <a:pos x="4" y="4"/>
                  </a:cxn>
                  <a:cxn ang="0">
                    <a:pos x="1" y="6"/>
                  </a:cxn>
                  <a:cxn ang="0">
                    <a:pos x="0" y="9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13" y="16"/>
                  </a:cxn>
                  <a:cxn ang="0">
                    <a:pos x="21" y="16"/>
                  </a:cxn>
                  <a:cxn ang="0">
                    <a:pos x="29" y="15"/>
                  </a:cxn>
                  <a:cxn ang="0">
                    <a:pos x="34" y="13"/>
                  </a:cxn>
                  <a:cxn ang="0">
                    <a:pos x="38" y="10"/>
                  </a:cxn>
                  <a:cxn ang="0">
                    <a:pos x="36" y="5"/>
                  </a:cxn>
                  <a:cxn ang="0">
                    <a:pos x="29" y="3"/>
                  </a:cxn>
                </a:cxnLst>
                <a:rect l="0" t="0" r="r" b="b"/>
                <a:pathLst>
                  <a:path w="38" h="16">
                    <a:moveTo>
                      <a:pt x="29" y="3"/>
                    </a:moveTo>
                    <a:cubicBezTo>
                      <a:pt x="29" y="3"/>
                      <a:pt x="29" y="3"/>
                      <a:pt x="29" y="3"/>
                    </a:cubicBezTo>
                    <a:cubicBezTo>
                      <a:pt x="28" y="2"/>
                      <a:pt x="26" y="1"/>
                      <a:pt x="24" y="1"/>
                    </a:cubicBezTo>
                    <a:cubicBezTo>
                      <a:pt x="21" y="0"/>
                      <a:pt x="17" y="0"/>
                      <a:pt x="13" y="1"/>
                    </a:cubicBezTo>
                    <a:cubicBezTo>
                      <a:pt x="12" y="1"/>
                      <a:pt x="10" y="2"/>
                      <a:pt x="9" y="3"/>
                    </a:cubicBezTo>
                    <a:cubicBezTo>
                      <a:pt x="7" y="3"/>
                      <a:pt x="6" y="4"/>
                      <a:pt x="4" y="4"/>
                    </a:cubicBezTo>
                    <a:cubicBezTo>
                      <a:pt x="3" y="5"/>
                      <a:pt x="2" y="6"/>
                      <a:pt x="1" y="6"/>
                    </a:cubicBezTo>
                    <a:cubicBezTo>
                      <a:pt x="1" y="7"/>
                      <a:pt x="0" y="8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cubicBezTo>
                      <a:pt x="3" y="13"/>
                      <a:pt x="4" y="14"/>
                      <a:pt x="6" y="14"/>
                    </a:cubicBezTo>
                    <a:cubicBezTo>
                      <a:pt x="8" y="15"/>
                      <a:pt x="10" y="16"/>
                      <a:pt x="13" y="16"/>
                    </a:cubicBezTo>
                    <a:cubicBezTo>
                      <a:pt x="16" y="16"/>
                      <a:pt x="19" y="16"/>
                      <a:pt x="21" y="16"/>
                    </a:cubicBezTo>
                    <a:cubicBezTo>
                      <a:pt x="24" y="16"/>
                      <a:pt x="27" y="16"/>
                      <a:pt x="29" y="15"/>
                    </a:cubicBezTo>
                    <a:cubicBezTo>
                      <a:pt x="31" y="15"/>
                      <a:pt x="33" y="14"/>
                      <a:pt x="34" y="13"/>
                    </a:cubicBezTo>
                    <a:cubicBezTo>
                      <a:pt x="36" y="12"/>
                      <a:pt x="37" y="11"/>
                      <a:pt x="38" y="10"/>
                    </a:cubicBezTo>
                    <a:cubicBezTo>
                      <a:pt x="38" y="8"/>
                      <a:pt x="37" y="6"/>
                      <a:pt x="36" y="5"/>
                    </a:cubicBezTo>
                    <a:lnTo>
                      <a:pt x="29" y="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76" name="Freeform 92">
                <a:extLst>
                  <a:ext uri="{FF2B5EF4-FFF2-40B4-BE49-F238E27FC236}">
                    <a16:creationId xmlns:a16="http://schemas.microsoft.com/office/drawing/2014/main" id="{9B3F796E-9B30-49C6-94E3-8005B02BC6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838" y="5722938"/>
                <a:ext cx="365125" cy="711200"/>
              </a:xfrm>
              <a:custGeom>
                <a:avLst/>
                <a:gdLst/>
                <a:ahLst/>
                <a:cxnLst>
                  <a:cxn ang="0">
                    <a:pos x="9" y="214"/>
                  </a:cxn>
                  <a:cxn ang="0">
                    <a:pos x="1" y="233"/>
                  </a:cxn>
                  <a:cxn ang="0">
                    <a:pos x="0" y="251"/>
                  </a:cxn>
                  <a:cxn ang="0">
                    <a:pos x="9" y="267"/>
                  </a:cxn>
                  <a:cxn ang="0">
                    <a:pos x="25" y="280"/>
                  </a:cxn>
                  <a:cxn ang="0">
                    <a:pos x="36" y="293"/>
                  </a:cxn>
                  <a:cxn ang="0">
                    <a:pos x="30" y="317"/>
                  </a:cxn>
                  <a:cxn ang="0">
                    <a:pos x="35" y="341"/>
                  </a:cxn>
                  <a:cxn ang="0">
                    <a:pos x="34" y="354"/>
                  </a:cxn>
                  <a:cxn ang="0">
                    <a:pos x="29" y="365"/>
                  </a:cxn>
                  <a:cxn ang="0">
                    <a:pos x="54" y="374"/>
                  </a:cxn>
                  <a:cxn ang="0">
                    <a:pos x="67" y="374"/>
                  </a:cxn>
                  <a:cxn ang="0">
                    <a:pos x="81" y="378"/>
                  </a:cxn>
                  <a:cxn ang="0">
                    <a:pos x="98" y="375"/>
                  </a:cxn>
                  <a:cxn ang="0">
                    <a:pos x="105" y="374"/>
                  </a:cxn>
                  <a:cxn ang="0">
                    <a:pos x="109" y="356"/>
                  </a:cxn>
                  <a:cxn ang="0">
                    <a:pos x="108" y="349"/>
                  </a:cxn>
                  <a:cxn ang="0">
                    <a:pos x="110" y="331"/>
                  </a:cxn>
                  <a:cxn ang="0">
                    <a:pos x="116" y="322"/>
                  </a:cxn>
                  <a:cxn ang="0">
                    <a:pos x="118" y="315"/>
                  </a:cxn>
                  <a:cxn ang="0">
                    <a:pos x="129" y="309"/>
                  </a:cxn>
                  <a:cxn ang="0">
                    <a:pos x="135" y="298"/>
                  </a:cxn>
                  <a:cxn ang="0">
                    <a:pos x="125" y="290"/>
                  </a:cxn>
                  <a:cxn ang="0">
                    <a:pos x="122" y="283"/>
                  </a:cxn>
                  <a:cxn ang="0">
                    <a:pos x="128" y="254"/>
                  </a:cxn>
                  <a:cxn ang="0">
                    <a:pos x="133" y="234"/>
                  </a:cxn>
                  <a:cxn ang="0">
                    <a:pos x="123" y="229"/>
                  </a:cxn>
                  <a:cxn ang="0">
                    <a:pos x="119" y="209"/>
                  </a:cxn>
                  <a:cxn ang="0">
                    <a:pos x="115" y="206"/>
                  </a:cxn>
                  <a:cxn ang="0">
                    <a:pos x="117" y="196"/>
                  </a:cxn>
                  <a:cxn ang="0">
                    <a:pos x="137" y="180"/>
                  </a:cxn>
                  <a:cxn ang="0">
                    <a:pos x="139" y="156"/>
                  </a:cxn>
                  <a:cxn ang="0">
                    <a:pos x="145" y="131"/>
                  </a:cxn>
                  <a:cxn ang="0">
                    <a:pos x="144" y="102"/>
                  </a:cxn>
                  <a:cxn ang="0">
                    <a:pos x="149" y="85"/>
                  </a:cxn>
                  <a:cxn ang="0">
                    <a:pos x="166" y="75"/>
                  </a:cxn>
                  <a:cxn ang="0">
                    <a:pos x="180" y="65"/>
                  </a:cxn>
                  <a:cxn ang="0">
                    <a:pos x="194" y="46"/>
                  </a:cxn>
                  <a:cxn ang="0">
                    <a:pos x="177" y="38"/>
                  </a:cxn>
                  <a:cxn ang="0">
                    <a:pos x="172" y="29"/>
                  </a:cxn>
                  <a:cxn ang="0">
                    <a:pos x="169" y="18"/>
                  </a:cxn>
                  <a:cxn ang="0">
                    <a:pos x="155" y="16"/>
                  </a:cxn>
                  <a:cxn ang="0">
                    <a:pos x="142" y="19"/>
                  </a:cxn>
                  <a:cxn ang="0">
                    <a:pos x="122" y="29"/>
                  </a:cxn>
                  <a:cxn ang="0">
                    <a:pos x="112" y="25"/>
                  </a:cxn>
                  <a:cxn ang="0">
                    <a:pos x="98" y="22"/>
                  </a:cxn>
                  <a:cxn ang="0">
                    <a:pos x="84" y="30"/>
                  </a:cxn>
                  <a:cxn ang="0">
                    <a:pos x="86" y="12"/>
                  </a:cxn>
                  <a:cxn ang="0">
                    <a:pos x="82" y="1"/>
                  </a:cxn>
                  <a:cxn ang="0">
                    <a:pos x="73" y="7"/>
                  </a:cxn>
                  <a:cxn ang="0">
                    <a:pos x="47" y="19"/>
                  </a:cxn>
                  <a:cxn ang="0">
                    <a:pos x="42" y="29"/>
                  </a:cxn>
                  <a:cxn ang="0">
                    <a:pos x="44" y="42"/>
                  </a:cxn>
                  <a:cxn ang="0">
                    <a:pos x="44" y="61"/>
                  </a:cxn>
                  <a:cxn ang="0">
                    <a:pos x="39" y="72"/>
                  </a:cxn>
                  <a:cxn ang="0">
                    <a:pos x="44" y="90"/>
                  </a:cxn>
                  <a:cxn ang="0">
                    <a:pos x="44" y="127"/>
                  </a:cxn>
                  <a:cxn ang="0">
                    <a:pos x="39" y="139"/>
                  </a:cxn>
                  <a:cxn ang="0">
                    <a:pos x="37" y="147"/>
                  </a:cxn>
                  <a:cxn ang="0">
                    <a:pos x="38" y="159"/>
                  </a:cxn>
                  <a:cxn ang="0">
                    <a:pos x="28" y="171"/>
                  </a:cxn>
                  <a:cxn ang="0">
                    <a:pos x="26" y="186"/>
                  </a:cxn>
                </a:cxnLst>
                <a:rect l="0" t="0" r="r" b="b"/>
                <a:pathLst>
                  <a:path w="195" h="380">
                    <a:moveTo>
                      <a:pt x="26" y="188"/>
                    </a:moveTo>
                    <a:cubicBezTo>
                      <a:pt x="25" y="192"/>
                      <a:pt x="23" y="197"/>
                      <a:pt x="20" y="200"/>
                    </a:cubicBezTo>
                    <a:cubicBezTo>
                      <a:pt x="17" y="205"/>
                      <a:pt x="13" y="210"/>
                      <a:pt x="9" y="214"/>
                    </a:cubicBezTo>
                    <a:cubicBezTo>
                      <a:pt x="7" y="216"/>
                      <a:pt x="6" y="218"/>
                      <a:pt x="5" y="220"/>
                    </a:cubicBezTo>
                    <a:cubicBezTo>
                      <a:pt x="4" y="222"/>
                      <a:pt x="5" y="224"/>
                      <a:pt x="4" y="226"/>
                    </a:cubicBezTo>
                    <a:cubicBezTo>
                      <a:pt x="4" y="228"/>
                      <a:pt x="2" y="231"/>
                      <a:pt x="1" y="233"/>
                    </a:cubicBezTo>
                    <a:cubicBezTo>
                      <a:pt x="1" y="237"/>
                      <a:pt x="0" y="241"/>
                      <a:pt x="0" y="245"/>
                    </a:cubicBezTo>
                    <a:cubicBezTo>
                      <a:pt x="0" y="246"/>
                      <a:pt x="0" y="247"/>
                      <a:pt x="0" y="249"/>
                    </a:cubicBezTo>
                    <a:cubicBezTo>
                      <a:pt x="0" y="249"/>
                      <a:pt x="0" y="250"/>
                      <a:pt x="0" y="251"/>
                    </a:cubicBezTo>
                    <a:cubicBezTo>
                      <a:pt x="0" y="252"/>
                      <a:pt x="0" y="253"/>
                      <a:pt x="1" y="254"/>
                    </a:cubicBezTo>
                    <a:cubicBezTo>
                      <a:pt x="3" y="255"/>
                      <a:pt x="7" y="253"/>
                      <a:pt x="9" y="256"/>
                    </a:cubicBezTo>
                    <a:cubicBezTo>
                      <a:pt x="10" y="259"/>
                      <a:pt x="8" y="264"/>
                      <a:pt x="9" y="267"/>
                    </a:cubicBezTo>
                    <a:cubicBezTo>
                      <a:pt x="11" y="272"/>
                      <a:pt x="17" y="271"/>
                      <a:pt x="16" y="277"/>
                    </a:cubicBezTo>
                    <a:cubicBezTo>
                      <a:pt x="16" y="280"/>
                      <a:pt x="15" y="278"/>
                      <a:pt x="14" y="281"/>
                    </a:cubicBezTo>
                    <a:cubicBezTo>
                      <a:pt x="12" y="285"/>
                      <a:pt x="22" y="282"/>
                      <a:pt x="25" y="280"/>
                    </a:cubicBezTo>
                    <a:cubicBezTo>
                      <a:pt x="26" y="279"/>
                      <a:pt x="30" y="277"/>
                      <a:pt x="32" y="279"/>
                    </a:cubicBezTo>
                    <a:cubicBezTo>
                      <a:pt x="33" y="279"/>
                      <a:pt x="37" y="284"/>
                      <a:pt x="37" y="285"/>
                    </a:cubicBezTo>
                    <a:cubicBezTo>
                      <a:pt x="38" y="287"/>
                      <a:pt x="36" y="290"/>
                      <a:pt x="36" y="293"/>
                    </a:cubicBezTo>
                    <a:cubicBezTo>
                      <a:pt x="35" y="296"/>
                      <a:pt x="35" y="300"/>
                      <a:pt x="35" y="303"/>
                    </a:cubicBezTo>
                    <a:cubicBezTo>
                      <a:pt x="35" y="306"/>
                      <a:pt x="35" y="307"/>
                      <a:pt x="34" y="310"/>
                    </a:cubicBezTo>
                    <a:cubicBezTo>
                      <a:pt x="33" y="312"/>
                      <a:pt x="30" y="315"/>
                      <a:pt x="30" y="317"/>
                    </a:cubicBezTo>
                    <a:cubicBezTo>
                      <a:pt x="30" y="321"/>
                      <a:pt x="36" y="322"/>
                      <a:pt x="38" y="325"/>
                    </a:cubicBezTo>
                    <a:cubicBezTo>
                      <a:pt x="39" y="327"/>
                      <a:pt x="40" y="330"/>
                      <a:pt x="39" y="332"/>
                    </a:cubicBezTo>
                    <a:cubicBezTo>
                      <a:pt x="38" y="335"/>
                      <a:pt x="36" y="338"/>
                      <a:pt x="35" y="341"/>
                    </a:cubicBezTo>
                    <a:cubicBezTo>
                      <a:pt x="34" y="343"/>
                      <a:pt x="34" y="345"/>
                      <a:pt x="34" y="347"/>
                    </a:cubicBezTo>
                    <a:cubicBezTo>
                      <a:pt x="34" y="348"/>
                      <a:pt x="34" y="348"/>
                      <a:pt x="34" y="349"/>
                    </a:cubicBezTo>
                    <a:cubicBezTo>
                      <a:pt x="34" y="351"/>
                      <a:pt x="34" y="353"/>
                      <a:pt x="34" y="354"/>
                    </a:cubicBezTo>
                    <a:cubicBezTo>
                      <a:pt x="34" y="355"/>
                      <a:pt x="33" y="356"/>
                      <a:pt x="33" y="357"/>
                    </a:cubicBezTo>
                    <a:cubicBezTo>
                      <a:pt x="33" y="358"/>
                      <a:pt x="32" y="360"/>
                      <a:pt x="31" y="361"/>
                    </a:cubicBezTo>
                    <a:cubicBezTo>
                      <a:pt x="30" y="362"/>
                      <a:pt x="30" y="364"/>
                      <a:pt x="29" y="365"/>
                    </a:cubicBezTo>
                    <a:cubicBezTo>
                      <a:pt x="28" y="370"/>
                      <a:pt x="29" y="375"/>
                      <a:pt x="26" y="379"/>
                    </a:cubicBezTo>
                    <a:cubicBezTo>
                      <a:pt x="31" y="380"/>
                      <a:pt x="37" y="375"/>
                      <a:pt x="41" y="374"/>
                    </a:cubicBezTo>
                    <a:cubicBezTo>
                      <a:pt x="45" y="373"/>
                      <a:pt x="50" y="373"/>
                      <a:pt x="54" y="374"/>
                    </a:cubicBezTo>
                    <a:cubicBezTo>
                      <a:pt x="56" y="374"/>
                      <a:pt x="57" y="374"/>
                      <a:pt x="59" y="374"/>
                    </a:cubicBezTo>
                    <a:cubicBezTo>
                      <a:pt x="60" y="374"/>
                      <a:pt x="62" y="374"/>
                      <a:pt x="63" y="374"/>
                    </a:cubicBezTo>
                    <a:cubicBezTo>
                      <a:pt x="65" y="374"/>
                      <a:pt x="66" y="374"/>
                      <a:pt x="67" y="374"/>
                    </a:cubicBezTo>
                    <a:cubicBezTo>
                      <a:pt x="69" y="375"/>
                      <a:pt x="70" y="376"/>
                      <a:pt x="72" y="376"/>
                    </a:cubicBezTo>
                    <a:cubicBezTo>
                      <a:pt x="74" y="377"/>
                      <a:pt x="76" y="378"/>
                      <a:pt x="78" y="379"/>
                    </a:cubicBezTo>
                    <a:cubicBezTo>
                      <a:pt x="80" y="379"/>
                      <a:pt x="80" y="379"/>
                      <a:pt x="81" y="378"/>
                    </a:cubicBezTo>
                    <a:cubicBezTo>
                      <a:pt x="84" y="378"/>
                      <a:pt x="84" y="377"/>
                      <a:pt x="85" y="377"/>
                    </a:cubicBezTo>
                    <a:cubicBezTo>
                      <a:pt x="89" y="375"/>
                      <a:pt x="92" y="375"/>
                      <a:pt x="95" y="375"/>
                    </a:cubicBezTo>
                    <a:cubicBezTo>
                      <a:pt x="96" y="375"/>
                      <a:pt x="97" y="375"/>
                      <a:pt x="98" y="375"/>
                    </a:cubicBezTo>
                    <a:cubicBezTo>
                      <a:pt x="98" y="375"/>
                      <a:pt x="99" y="375"/>
                      <a:pt x="99" y="375"/>
                    </a:cubicBezTo>
                    <a:cubicBezTo>
                      <a:pt x="101" y="375"/>
                      <a:pt x="103" y="374"/>
                      <a:pt x="105" y="374"/>
                    </a:cubicBezTo>
                    <a:cubicBezTo>
                      <a:pt x="105" y="374"/>
                      <a:pt x="105" y="374"/>
                      <a:pt x="105" y="374"/>
                    </a:cubicBezTo>
                    <a:cubicBezTo>
                      <a:pt x="106" y="374"/>
                      <a:pt x="107" y="373"/>
                      <a:pt x="108" y="373"/>
                    </a:cubicBezTo>
                    <a:cubicBezTo>
                      <a:pt x="108" y="371"/>
                      <a:pt x="108" y="369"/>
                      <a:pt x="108" y="367"/>
                    </a:cubicBezTo>
                    <a:cubicBezTo>
                      <a:pt x="109" y="363"/>
                      <a:pt x="109" y="360"/>
                      <a:pt x="109" y="356"/>
                    </a:cubicBezTo>
                    <a:cubicBezTo>
                      <a:pt x="109" y="355"/>
                      <a:pt x="109" y="353"/>
                      <a:pt x="109" y="351"/>
                    </a:cubicBezTo>
                    <a:cubicBezTo>
                      <a:pt x="109" y="351"/>
                      <a:pt x="109" y="351"/>
                      <a:pt x="108" y="351"/>
                    </a:cubicBezTo>
                    <a:cubicBezTo>
                      <a:pt x="108" y="350"/>
                      <a:pt x="108" y="350"/>
                      <a:pt x="108" y="349"/>
                    </a:cubicBezTo>
                    <a:cubicBezTo>
                      <a:pt x="107" y="348"/>
                      <a:pt x="107" y="346"/>
                      <a:pt x="107" y="345"/>
                    </a:cubicBezTo>
                    <a:cubicBezTo>
                      <a:pt x="107" y="344"/>
                      <a:pt x="106" y="343"/>
                      <a:pt x="106" y="341"/>
                    </a:cubicBezTo>
                    <a:cubicBezTo>
                      <a:pt x="106" y="338"/>
                      <a:pt x="108" y="334"/>
                      <a:pt x="110" y="331"/>
                    </a:cubicBezTo>
                    <a:cubicBezTo>
                      <a:pt x="110" y="331"/>
                      <a:pt x="111" y="330"/>
                      <a:pt x="111" y="329"/>
                    </a:cubicBezTo>
                    <a:cubicBezTo>
                      <a:pt x="112" y="328"/>
                      <a:pt x="113" y="326"/>
                      <a:pt x="114" y="325"/>
                    </a:cubicBezTo>
                    <a:cubicBezTo>
                      <a:pt x="115" y="324"/>
                      <a:pt x="116" y="323"/>
                      <a:pt x="116" y="322"/>
                    </a:cubicBezTo>
                    <a:cubicBezTo>
                      <a:pt x="117" y="321"/>
                      <a:pt x="117" y="321"/>
                      <a:pt x="117" y="321"/>
                    </a:cubicBezTo>
                    <a:cubicBezTo>
                      <a:pt x="117" y="320"/>
                      <a:pt x="118" y="319"/>
                      <a:pt x="118" y="318"/>
                    </a:cubicBezTo>
                    <a:cubicBezTo>
                      <a:pt x="119" y="317"/>
                      <a:pt x="118" y="316"/>
                      <a:pt x="118" y="315"/>
                    </a:cubicBezTo>
                    <a:cubicBezTo>
                      <a:pt x="118" y="311"/>
                      <a:pt x="121" y="313"/>
                      <a:pt x="124" y="312"/>
                    </a:cubicBezTo>
                    <a:cubicBezTo>
                      <a:pt x="125" y="312"/>
                      <a:pt x="127" y="312"/>
                      <a:pt x="128" y="311"/>
                    </a:cubicBezTo>
                    <a:cubicBezTo>
                      <a:pt x="128" y="311"/>
                      <a:pt x="129" y="310"/>
                      <a:pt x="129" y="309"/>
                    </a:cubicBezTo>
                    <a:cubicBezTo>
                      <a:pt x="130" y="309"/>
                      <a:pt x="130" y="309"/>
                      <a:pt x="131" y="309"/>
                    </a:cubicBezTo>
                    <a:cubicBezTo>
                      <a:pt x="134" y="308"/>
                      <a:pt x="136" y="307"/>
                      <a:pt x="136" y="304"/>
                    </a:cubicBezTo>
                    <a:cubicBezTo>
                      <a:pt x="136" y="302"/>
                      <a:pt x="137" y="299"/>
                      <a:pt x="135" y="298"/>
                    </a:cubicBezTo>
                    <a:cubicBezTo>
                      <a:pt x="134" y="299"/>
                      <a:pt x="132" y="300"/>
                      <a:pt x="130" y="299"/>
                    </a:cubicBezTo>
                    <a:cubicBezTo>
                      <a:pt x="128" y="298"/>
                      <a:pt x="129" y="297"/>
                      <a:pt x="128" y="295"/>
                    </a:cubicBezTo>
                    <a:cubicBezTo>
                      <a:pt x="128" y="293"/>
                      <a:pt x="126" y="291"/>
                      <a:pt x="125" y="290"/>
                    </a:cubicBezTo>
                    <a:cubicBezTo>
                      <a:pt x="125" y="289"/>
                      <a:pt x="124" y="288"/>
                      <a:pt x="124" y="287"/>
                    </a:cubicBezTo>
                    <a:cubicBezTo>
                      <a:pt x="123" y="286"/>
                      <a:pt x="123" y="285"/>
                      <a:pt x="123" y="284"/>
                    </a:cubicBezTo>
                    <a:cubicBezTo>
                      <a:pt x="123" y="284"/>
                      <a:pt x="122" y="283"/>
                      <a:pt x="122" y="283"/>
                    </a:cubicBezTo>
                    <a:cubicBezTo>
                      <a:pt x="120" y="279"/>
                      <a:pt x="118" y="275"/>
                      <a:pt x="118" y="271"/>
                    </a:cubicBezTo>
                    <a:cubicBezTo>
                      <a:pt x="119" y="267"/>
                      <a:pt x="122" y="264"/>
                      <a:pt x="123" y="261"/>
                    </a:cubicBezTo>
                    <a:cubicBezTo>
                      <a:pt x="124" y="257"/>
                      <a:pt x="125" y="256"/>
                      <a:pt x="128" y="254"/>
                    </a:cubicBezTo>
                    <a:cubicBezTo>
                      <a:pt x="130" y="253"/>
                      <a:pt x="132" y="253"/>
                      <a:pt x="134" y="252"/>
                    </a:cubicBezTo>
                    <a:cubicBezTo>
                      <a:pt x="138" y="248"/>
                      <a:pt x="136" y="241"/>
                      <a:pt x="134" y="237"/>
                    </a:cubicBezTo>
                    <a:cubicBezTo>
                      <a:pt x="134" y="236"/>
                      <a:pt x="134" y="235"/>
                      <a:pt x="133" y="234"/>
                    </a:cubicBezTo>
                    <a:cubicBezTo>
                      <a:pt x="133" y="234"/>
                      <a:pt x="132" y="233"/>
                      <a:pt x="131" y="233"/>
                    </a:cubicBezTo>
                    <a:cubicBezTo>
                      <a:pt x="130" y="232"/>
                      <a:pt x="129" y="232"/>
                      <a:pt x="127" y="231"/>
                    </a:cubicBezTo>
                    <a:cubicBezTo>
                      <a:pt x="126" y="231"/>
                      <a:pt x="124" y="231"/>
                      <a:pt x="123" y="229"/>
                    </a:cubicBezTo>
                    <a:cubicBezTo>
                      <a:pt x="123" y="227"/>
                      <a:pt x="124" y="226"/>
                      <a:pt x="123" y="224"/>
                    </a:cubicBezTo>
                    <a:cubicBezTo>
                      <a:pt x="122" y="223"/>
                      <a:pt x="120" y="222"/>
                      <a:pt x="119" y="223"/>
                    </a:cubicBezTo>
                    <a:cubicBezTo>
                      <a:pt x="119" y="219"/>
                      <a:pt x="120" y="213"/>
                      <a:pt x="119" y="209"/>
                    </a:cubicBezTo>
                    <a:cubicBezTo>
                      <a:pt x="119" y="209"/>
                      <a:pt x="118" y="208"/>
                      <a:pt x="118" y="207"/>
                    </a:cubicBezTo>
                    <a:cubicBezTo>
                      <a:pt x="118" y="207"/>
                      <a:pt x="117" y="207"/>
                      <a:pt x="117" y="207"/>
                    </a:cubicBezTo>
                    <a:cubicBezTo>
                      <a:pt x="116" y="208"/>
                      <a:pt x="115" y="207"/>
                      <a:pt x="115" y="206"/>
                    </a:cubicBezTo>
                    <a:cubicBezTo>
                      <a:pt x="114" y="206"/>
                      <a:pt x="113" y="203"/>
                      <a:pt x="112" y="202"/>
                    </a:cubicBezTo>
                    <a:cubicBezTo>
                      <a:pt x="111" y="201"/>
                      <a:pt x="109" y="199"/>
                      <a:pt x="110" y="197"/>
                    </a:cubicBezTo>
                    <a:cubicBezTo>
                      <a:pt x="110" y="195"/>
                      <a:pt x="115" y="196"/>
                      <a:pt x="117" y="196"/>
                    </a:cubicBezTo>
                    <a:cubicBezTo>
                      <a:pt x="122" y="196"/>
                      <a:pt x="132" y="197"/>
                      <a:pt x="133" y="191"/>
                    </a:cubicBezTo>
                    <a:cubicBezTo>
                      <a:pt x="133" y="189"/>
                      <a:pt x="132" y="186"/>
                      <a:pt x="133" y="184"/>
                    </a:cubicBezTo>
                    <a:cubicBezTo>
                      <a:pt x="133" y="183"/>
                      <a:pt x="136" y="180"/>
                      <a:pt x="137" y="180"/>
                    </a:cubicBezTo>
                    <a:cubicBezTo>
                      <a:pt x="139" y="177"/>
                      <a:pt x="141" y="174"/>
                      <a:pt x="141" y="171"/>
                    </a:cubicBezTo>
                    <a:cubicBezTo>
                      <a:pt x="140" y="166"/>
                      <a:pt x="135" y="164"/>
                      <a:pt x="134" y="159"/>
                    </a:cubicBezTo>
                    <a:cubicBezTo>
                      <a:pt x="136" y="159"/>
                      <a:pt x="137" y="157"/>
                      <a:pt x="139" y="156"/>
                    </a:cubicBezTo>
                    <a:cubicBezTo>
                      <a:pt x="141" y="155"/>
                      <a:pt x="143" y="154"/>
                      <a:pt x="144" y="152"/>
                    </a:cubicBezTo>
                    <a:cubicBezTo>
                      <a:pt x="145" y="149"/>
                      <a:pt x="144" y="143"/>
                      <a:pt x="144" y="140"/>
                    </a:cubicBezTo>
                    <a:cubicBezTo>
                      <a:pt x="144" y="137"/>
                      <a:pt x="145" y="134"/>
                      <a:pt x="145" y="131"/>
                    </a:cubicBezTo>
                    <a:cubicBezTo>
                      <a:pt x="146" y="125"/>
                      <a:pt x="144" y="119"/>
                      <a:pt x="144" y="113"/>
                    </a:cubicBezTo>
                    <a:cubicBezTo>
                      <a:pt x="144" y="110"/>
                      <a:pt x="144" y="107"/>
                      <a:pt x="144" y="105"/>
                    </a:cubicBezTo>
                    <a:cubicBezTo>
                      <a:pt x="144" y="104"/>
                      <a:pt x="144" y="103"/>
                      <a:pt x="144" y="102"/>
                    </a:cubicBezTo>
                    <a:cubicBezTo>
                      <a:pt x="143" y="102"/>
                      <a:pt x="141" y="101"/>
                      <a:pt x="141" y="101"/>
                    </a:cubicBezTo>
                    <a:cubicBezTo>
                      <a:pt x="139" y="98"/>
                      <a:pt x="141" y="97"/>
                      <a:pt x="144" y="96"/>
                    </a:cubicBezTo>
                    <a:cubicBezTo>
                      <a:pt x="144" y="92"/>
                      <a:pt x="147" y="88"/>
                      <a:pt x="149" y="85"/>
                    </a:cubicBezTo>
                    <a:cubicBezTo>
                      <a:pt x="151" y="82"/>
                      <a:pt x="152" y="83"/>
                      <a:pt x="155" y="82"/>
                    </a:cubicBezTo>
                    <a:cubicBezTo>
                      <a:pt x="158" y="82"/>
                      <a:pt x="161" y="81"/>
                      <a:pt x="163" y="79"/>
                    </a:cubicBezTo>
                    <a:cubicBezTo>
                      <a:pt x="164" y="78"/>
                      <a:pt x="165" y="76"/>
                      <a:pt x="166" y="75"/>
                    </a:cubicBezTo>
                    <a:cubicBezTo>
                      <a:pt x="168" y="74"/>
                      <a:pt x="169" y="72"/>
                      <a:pt x="170" y="72"/>
                    </a:cubicBezTo>
                    <a:cubicBezTo>
                      <a:pt x="172" y="70"/>
                      <a:pt x="174" y="69"/>
                      <a:pt x="176" y="67"/>
                    </a:cubicBezTo>
                    <a:cubicBezTo>
                      <a:pt x="177" y="66"/>
                      <a:pt x="178" y="66"/>
                      <a:pt x="180" y="65"/>
                    </a:cubicBezTo>
                    <a:cubicBezTo>
                      <a:pt x="182" y="64"/>
                      <a:pt x="183" y="64"/>
                      <a:pt x="184" y="62"/>
                    </a:cubicBezTo>
                    <a:cubicBezTo>
                      <a:pt x="186" y="60"/>
                      <a:pt x="186" y="58"/>
                      <a:pt x="188" y="56"/>
                    </a:cubicBezTo>
                    <a:cubicBezTo>
                      <a:pt x="191" y="53"/>
                      <a:pt x="194" y="50"/>
                      <a:pt x="194" y="46"/>
                    </a:cubicBezTo>
                    <a:cubicBezTo>
                      <a:pt x="195" y="44"/>
                      <a:pt x="194" y="44"/>
                      <a:pt x="192" y="43"/>
                    </a:cubicBezTo>
                    <a:cubicBezTo>
                      <a:pt x="189" y="42"/>
                      <a:pt x="186" y="40"/>
                      <a:pt x="183" y="39"/>
                    </a:cubicBezTo>
                    <a:cubicBezTo>
                      <a:pt x="181" y="38"/>
                      <a:pt x="179" y="38"/>
                      <a:pt x="177" y="38"/>
                    </a:cubicBezTo>
                    <a:cubicBezTo>
                      <a:pt x="176" y="38"/>
                      <a:pt x="177" y="39"/>
                      <a:pt x="175" y="38"/>
                    </a:cubicBezTo>
                    <a:cubicBezTo>
                      <a:pt x="174" y="38"/>
                      <a:pt x="173" y="35"/>
                      <a:pt x="172" y="34"/>
                    </a:cubicBezTo>
                    <a:cubicBezTo>
                      <a:pt x="171" y="32"/>
                      <a:pt x="171" y="30"/>
                      <a:pt x="172" y="29"/>
                    </a:cubicBezTo>
                    <a:cubicBezTo>
                      <a:pt x="173" y="27"/>
                      <a:pt x="176" y="25"/>
                      <a:pt x="175" y="23"/>
                    </a:cubicBezTo>
                    <a:cubicBezTo>
                      <a:pt x="177" y="17"/>
                      <a:pt x="177" y="17"/>
                      <a:pt x="177" y="17"/>
                    </a:cubicBezTo>
                    <a:cubicBezTo>
                      <a:pt x="174" y="17"/>
                      <a:pt x="172" y="18"/>
                      <a:pt x="169" y="18"/>
                    </a:cubicBezTo>
                    <a:cubicBezTo>
                      <a:pt x="167" y="18"/>
                      <a:pt x="163" y="19"/>
                      <a:pt x="161" y="17"/>
                    </a:cubicBezTo>
                    <a:cubicBezTo>
                      <a:pt x="160" y="15"/>
                      <a:pt x="162" y="14"/>
                      <a:pt x="160" y="14"/>
                    </a:cubicBezTo>
                    <a:cubicBezTo>
                      <a:pt x="159" y="14"/>
                      <a:pt x="157" y="16"/>
                      <a:pt x="155" y="16"/>
                    </a:cubicBezTo>
                    <a:cubicBezTo>
                      <a:pt x="153" y="16"/>
                      <a:pt x="145" y="15"/>
                      <a:pt x="145" y="17"/>
                    </a:cubicBezTo>
                    <a:cubicBezTo>
                      <a:pt x="145" y="17"/>
                      <a:pt x="144" y="16"/>
                      <a:pt x="143" y="16"/>
                    </a:cubicBezTo>
                    <a:cubicBezTo>
                      <a:pt x="142" y="17"/>
                      <a:pt x="143" y="18"/>
                      <a:pt x="142" y="19"/>
                    </a:cubicBezTo>
                    <a:cubicBezTo>
                      <a:pt x="141" y="20"/>
                      <a:pt x="140" y="21"/>
                      <a:pt x="139" y="22"/>
                    </a:cubicBezTo>
                    <a:cubicBezTo>
                      <a:pt x="137" y="24"/>
                      <a:pt x="137" y="25"/>
                      <a:pt x="134" y="26"/>
                    </a:cubicBezTo>
                    <a:cubicBezTo>
                      <a:pt x="130" y="28"/>
                      <a:pt x="122" y="23"/>
                      <a:pt x="122" y="29"/>
                    </a:cubicBezTo>
                    <a:cubicBezTo>
                      <a:pt x="119" y="30"/>
                      <a:pt x="117" y="28"/>
                      <a:pt x="115" y="27"/>
                    </a:cubicBezTo>
                    <a:cubicBezTo>
                      <a:pt x="114" y="27"/>
                      <a:pt x="114" y="29"/>
                      <a:pt x="112" y="28"/>
                    </a:cubicBezTo>
                    <a:cubicBezTo>
                      <a:pt x="112" y="27"/>
                      <a:pt x="112" y="25"/>
                      <a:pt x="112" y="25"/>
                    </a:cubicBezTo>
                    <a:cubicBezTo>
                      <a:pt x="110" y="24"/>
                      <a:pt x="107" y="23"/>
                      <a:pt x="105" y="24"/>
                    </a:cubicBezTo>
                    <a:cubicBezTo>
                      <a:pt x="104" y="25"/>
                      <a:pt x="103" y="27"/>
                      <a:pt x="101" y="26"/>
                    </a:cubicBezTo>
                    <a:cubicBezTo>
                      <a:pt x="99" y="25"/>
                      <a:pt x="99" y="23"/>
                      <a:pt x="98" y="22"/>
                    </a:cubicBezTo>
                    <a:cubicBezTo>
                      <a:pt x="94" y="18"/>
                      <a:pt x="94" y="24"/>
                      <a:pt x="93" y="26"/>
                    </a:cubicBezTo>
                    <a:cubicBezTo>
                      <a:pt x="91" y="28"/>
                      <a:pt x="90" y="27"/>
                      <a:pt x="88" y="28"/>
                    </a:cubicBezTo>
                    <a:cubicBezTo>
                      <a:pt x="87" y="28"/>
                      <a:pt x="85" y="30"/>
                      <a:pt x="84" y="30"/>
                    </a:cubicBezTo>
                    <a:cubicBezTo>
                      <a:pt x="82" y="30"/>
                      <a:pt x="81" y="22"/>
                      <a:pt x="81" y="21"/>
                    </a:cubicBezTo>
                    <a:cubicBezTo>
                      <a:pt x="82" y="19"/>
                      <a:pt x="84" y="19"/>
                      <a:pt x="85" y="17"/>
                    </a:cubicBezTo>
                    <a:cubicBezTo>
                      <a:pt x="86" y="16"/>
                      <a:pt x="86" y="14"/>
                      <a:pt x="86" y="12"/>
                    </a:cubicBezTo>
                    <a:cubicBezTo>
                      <a:pt x="85" y="11"/>
                      <a:pt x="83" y="12"/>
                      <a:pt x="82" y="11"/>
                    </a:cubicBezTo>
                    <a:cubicBezTo>
                      <a:pt x="81" y="10"/>
                      <a:pt x="81" y="7"/>
                      <a:pt x="81" y="6"/>
                    </a:cubicBezTo>
                    <a:cubicBezTo>
                      <a:pt x="82" y="4"/>
                      <a:pt x="84" y="2"/>
                      <a:pt x="82" y="1"/>
                    </a:cubicBezTo>
                    <a:cubicBezTo>
                      <a:pt x="80" y="0"/>
                      <a:pt x="79" y="2"/>
                      <a:pt x="78" y="3"/>
                    </a:cubicBezTo>
                    <a:cubicBezTo>
                      <a:pt x="78" y="4"/>
                      <a:pt x="77" y="6"/>
                      <a:pt x="77" y="6"/>
                    </a:cubicBezTo>
                    <a:cubicBezTo>
                      <a:pt x="76" y="7"/>
                      <a:pt x="74" y="7"/>
                      <a:pt x="73" y="7"/>
                    </a:cubicBezTo>
                    <a:cubicBezTo>
                      <a:pt x="69" y="8"/>
                      <a:pt x="66" y="10"/>
                      <a:pt x="63" y="11"/>
                    </a:cubicBezTo>
                    <a:cubicBezTo>
                      <a:pt x="60" y="13"/>
                      <a:pt x="56" y="15"/>
                      <a:pt x="53" y="16"/>
                    </a:cubicBezTo>
                    <a:cubicBezTo>
                      <a:pt x="51" y="17"/>
                      <a:pt x="48" y="18"/>
                      <a:pt x="47" y="19"/>
                    </a:cubicBezTo>
                    <a:cubicBezTo>
                      <a:pt x="46" y="20"/>
                      <a:pt x="46" y="23"/>
                      <a:pt x="45" y="24"/>
                    </a:cubicBezTo>
                    <a:cubicBezTo>
                      <a:pt x="45" y="24"/>
                      <a:pt x="43" y="26"/>
                      <a:pt x="42" y="26"/>
                    </a:cubicBezTo>
                    <a:cubicBezTo>
                      <a:pt x="42" y="27"/>
                      <a:pt x="42" y="28"/>
                      <a:pt x="42" y="29"/>
                    </a:cubicBezTo>
                    <a:cubicBezTo>
                      <a:pt x="42" y="30"/>
                      <a:pt x="42" y="31"/>
                      <a:pt x="41" y="31"/>
                    </a:cubicBezTo>
                    <a:cubicBezTo>
                      <a:pt x="41" y="33"/>
                      <a:pt x="41" y="35"/>
                      <a:pt x="41" y="36"/>
                    </a:cubicBezTo>
                    <a:cubicBezTo>
                      <a:pt x="42" y="39"/>
                      <a:pt x="43" y="40"/>
                      <a:pt x="44" y="42"/>
                    </a:cubicBezTo>
                    <a:cubicBezTo>
                      <a:pt x="46" y="45"/>
                      <a:pt x="46" y="51"/>
                      <a:pt x="45" y="54"/>
                    </a:cubicBezTo>
                    <a:cubicBezTo>
                      <a:pt x="44" y="55"/>
                      <a:pt x="43" y="56"/>
                      <a:pt x="43" y="57"/>
                    </a:cubicBezTo>
                    <a:cubicBezTo>
                      <a:pt x="42" y="59"/>
                      <a:pt x="44" y="60"/>
                      <a:pt x="44" y="61"/>
                    </a:cubicBezTo>
                    <a:cubicBezTo>
                      <a:pt x="45" y="62"/>
                      <a:pt x="46" y="65"/>
                      <a:pt x="46" y="66"/>
                    </a:cubicBezTo>
                    <a:cubicBezTo>
                      <a:pt x="46" y="69"/>
                      <a:pt x="45" y="68"/>
                      <a:pt x="43" y="69"/>
                    </a:cubicBezTo>
                    <a:cubicBezTo>
                      <a:pt x="42" y="70"/>
                      <a:pt x="39" y="71"/>
                      <a:pt x="39" y="72"/>
                    </a:cubicBezTo>
                    <a:cubicBezTo>
                      <a:pt x="38" y="73"/>
                      <a:pt x="38" y="75"/>
                      <a:pt x="38" y="76"/>
                    </a:cubicBezTo>
                    <a:cubicBezTo>
                      <a:pt x="38" y="81"/>
                      <a:pt x="40" y="83"/>
                      <a:pt x="42" y="87"/>
                    </a:cubicBezTo>
                    <a:cubicBezTo>
                      <a:pt x="43" y="88"/>
                      <a:pt x="44" y="88"/>
                      <a:pt x="44" y="90"/>
                    </a:cubicBezTo>
                    <a:cubicBezTo>
                      <a:pt x="44" y="95"/>
                      <a:pt x="46" y="99"/>
                      <a:pt x="47" y="103"/>
                    </a:cubicBezTo>
                    <a:cubicBezTo>
                      <a:pt x="47" y="108"/>
                      <a:pt x="47" y="113"/>
                      <a:pt x="47" y="118"/>
                    </a:cubicBezTo>
                    <a:cubicBezTo>
                      <a:pt x="47" y="121"/>
                      <a:pt x="46" y="124"/>
                      <a:pt x="44" y="127"/>
                    </a:cubicBezTo>
                    <a:cubicBezTo>
                      <a:pt x="43" y="129"/>
                      <a:pt x="42" y="132"/>
                      <a:pt x="41" y="134"/>
                    </a:cubicBezTo>
                    <a:cubicBezTo>
                      <a:pt x="41" y="134"/>
                      <a:pt x="40" y="135"/>
                      <a:pt x="40" y="136"/>
                    </a:cubicBezTo>
                    <a:cubicBezTo>
                      <a:pt x="40" y="137"/>
                      <a:pt x="39" y="138"/>
                      <a:pt x="39" y="139"/>
                    </a:cubicBezTo>
                    <a:cubicBezTo>
                      <a:pt x="38" y="140"/>
                      <a:pt x="38" y="140"/>
                      <a:pt x="38" y="141"/>
                    </a:cubicBezTo>
                    <a:cubicBezTo>
                      <a:pt x="38" y="142"/>
                      <a:pt x="37" y="143"/>
                      <a:pt x="37" y="145"/>
                    </a:cubicBezTo>
                    <a:cubicBezTo>
                      <a:pt x="37" y="145"/>
                      <a:pt x="37" y="146"/>
                      <a:pt x="37" y="147"/>
                    </a:cubicBezTo>
                    <a:cubicBezTo>
                      <a:pt x="37" y="149"/>
                      <a:pt x="37" y="151"/>
                      <a:pt x="38" y="153"/>
                    </a:cubicBezTo>
                    <a:cubicBezTo>
                      <a:pt x="38" y="154"/>
                      <a:pt x="39" y="156"/>
                      <a:pt x="38" y="157"/>
                    </a:cubicBezTo>
                    <a:cubicBezTo>
                      <a:pt x="38" y="158"/>
                      <a:pt x="38" y="158"/>
                      <a:pt x="38" y="159"/>
                    </a:cubicBezTo>
                    <a:cubicBezTo>
                      <a:pt x="38" y="159"/>
                      <a:pt x="37" y="160"/>
                      <a:pt x="37" y="161"/>
                    </a:cubicBezTo>
                    <a:cubicBezTo>
                      <a:pt x="36" y="162"/>
                      <a:pt x="34" y="163"/>
                      <a:pt x="33" y="164"/>
                    </a:cubicBezTo>
                    <a:cubicBezTo>
                      <a:pt x="32" y="166"/>
                      <a:pt x="30" y="168"/>
                      <a:pt x="28" y="171"/>
                    </a:cubicBezTo>
                    <a:cubicBezTo>
                      <a:pt x="26" y="174"/>
                      <a:pt x="26" y="177"/>
                      <a:pt x="26" y="181"/>
                    </a:cubicBezTo>
                    <a:cubicBezTo>
                      <a:pt x="26" y="182"/>
                      <a:pt x="26" y="183"/>
                      <a:pt x="26" y="184"/>
                    </a:cubicBezTo>
                    <a:cubicBezTo>
                      <a:pt x="26" y="185"/>
                      <a:pt x="26" y="186"/>
                      <a:pt x="26" y="186"/>
                    </a:cubicBezTo>
                    <a:cubicBezTo>
                      <a:pt x="26" y="187"/>
                      <a:pt x="26" y="188"/>
                      <a:pt x="26" y="188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77" name="Freeform 93">
                <a:extLst>
                  <a:ext uri="{FF2B5EF4-FFF2-40B4-BE49-F238E27FC236}">
                    <a16:creationId xmlns:a16="http://schemas.microsoft.com/office/drawing/2014/main" id="{B834F106-181D-4F1D-A003-2BB194200A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82838" y="5495925"/>
                <a:ext cx="1368425" cy="1063625"/>
              </a:xfrm>
              <a:custGeom>
                <a:avLst/>
                <a:gdLst/>
                <a:ahLst/>
                <a:cxnLst>
                  <a:cxn ang="0">
                    <a:pos x="99" y="497"/>
                  </a:cxn>
                  <a:cxn ang="0">
                    <a:pos x="34" y="469"/>
                  </a:cxn>
                  <a:cxn ang="0">
                    <a:pos x="34" y="466"/>
                  </a:cxn>
                  <a:cxn ang="0">
                    <a:pos x="33" y="479"/>
                  </a:cxn>
                  <a:cxn ang="0">
                    <a:pos x="35" y="465"/>
                  </a:cxn>
                  <a:cxn ang="0">
                    <a:pos x="37" y="282"/>
                  </a:cxn>
                  <a:cxn ang="0">
                    <a:pos x="38" y="276"/>
                  </a:cxn>
                  <a:cxn ang="0">
                    <a:pos x="38" y="457"/>
                  </a:cxn>
                  <a:cxn ang="0">
                    <a:pos x="26" y="306"/>
                  </a:cxn>
                  <a:cxn ang="0">
                    <a:pos x="34" y="285"/>
                  </a:cxn>
                  <a:cxn ang="0">
                    <a:pos x="40" y="258"/>
                  </a:cxn>
                  <a:cxn ang="0">
                    <a:pos x="45" y="246"/>
                  </a:cxn>
                  <a:cxn ang="0">
                    <a:pos x="48" y="495"/>
                  </a:cxn>
                  <a:cxn ang="0">
                    <a:pos x="52" y="496"/>
                  </a:cxn>
                  <a:cxn ang="0">
                    <a:pos x="0" y="373"/>
                  </a:cxn>
                  <a:cxn ang="0">
                    <a:pos x="0" y="375"/>
                  </a:cxn>
                  <a:cxn ang="0">
                    <a:pos x="1" y="359"/>
                  </a:cxn>
                  <a:cxn ang="0">
                    <a:pos x="499" y="314"/>
                  </a:cxn>
                  <a:cxn ang="0">
                    <a:pos x="672" y="99"/>
                  </a:cxn>
                  <a:cxn ang="0">
                    <a:pos x="648" y="101"/>
                  </a:cxn>
                  <a:cxn ang="0">
                    <a:pos x="621" y="96"/>
                  </a:cxn>
                  <a:cxn ang="0">
                    <a:pos x="617" y="77"/>
                  </a:cxn>
                  <a:cxn ang="0">
                    <a:pos x="577" y="77"/>
                  </a:cxn>
                  <a:cxn ang="0">
                    <a:pos x="490" y="58"/>
                  </a:cxn>
                  <a:cxn ang="0">
                    <a:pos x="456" y="31"/>
                  </a:cxn>
                  <a:cxn ang="0">
                    <a:pos x="373" y="28"/>
                  </a:cxn>
                  <a:cxn ang="0">
                    <a:pos x="285" y="25"/>
                  </a:cxn>
                  <a:cxn ang="0">
                    <a:pos x="205" y="15"/>
                  </a:cxn>
                  <a:cxn ang="0">
                    <a:pos x="83" y="15"/>
                  </a:cxn>
                  <a:cxn ang="0">
                    <a:pos x="63" y="39"/>
                  </a:cxn>
                  <a:cxn ang="0">
                    <a:pos x="27" y="69"/>
                  </a:cxn>
                  <a:cxn ang="0">
                    <a:pos x="53" y="92"/>
                  </a:cxn>
                  <a:cxn ang="0">
                    <a:pos x="24" y="129"/>
                  </a:cxn>
                  <a:cxn ang="0">
                    <a:pos x="47" y="141"/>
                  </a:cxn>
                  <a:cxn ang="0">
                    <a:pos x="82" y="133"/>
                  </a:cxn>
                  <a:cxn ang="0">
                    <a:pos x="101" y="148"/>
                  </a:cxn>
                  <a:cxn ang="0">
                    <a:pos x="142" y="141"/>
                  </a:cxn>
                  <a:cxn ang="0">
                    <a:pos x="175" y="145"/>
                  </a:cxn>
                  <a:cxn ang="0">
                    <a:pos x="188" y="178"/>
                  </a:cxn>
                  <a:cxn ang="0">
                    <a:pos x="149" y="207"/>
                  </a:cxn>
                  <a:cxn ang="0">
                    <a:pos x="144" y="274"/>
                  </a:cxn>
                  <a:cxn ang="0">
                    <a:pos x="110" y="319"/>
                  </a:cxn>
                  <a:cxn ang="0">
                    <a:pos x="123" y="351"/>
                  </a:cxn>
                  <a:cxn ang="0">
                    <a:pos x="118" y="393"/>
                  </a:cxn>
                  <a:cxn ang="0">
                    <a:pos x="136" y="426"/>
                  </a:cxn>
                  <a:cxn ang="0">
                    <a:pos x="116" y="444"/>
                  </a:cxn>
                  <a:cxn ang="0">
                    <a:pos x="109" y="473"/>
                  </a:cxn>
                  <a:cxn ang="0">
                    <a:pos x="159" y="506"/>
                  </a:cxn>
                  <a:cxn ang="0">
                    <a:pos x="205" y="564"/>
                  </a:cxn>
                  <a:cxn ang="0">
                    <a:pos x="263" y="534"/>
                  </a:cxn>
                  <a:cxn ang="0">
                    <a:pos x="351" y="521"/>
                  </a:cxn>
                  <a:cxn ang="0">
                    <a:pos x="399" y="517"/>
                  </a:cxn>
                  <a:cxn ang="0">
                    <a:pos x="438" y="466"/>
                  </a:cxn>
                  <a:cxn ang="0">
                    <a:pos x="472" y="442"/>
                  </a:cxn>
                  <a:cxn ang="0">
                    <a:pos x="513" y="394"/>
                  </a:cxn>
                  <a:cxn ang="0">
                    <a:pos x="493" y="328"/>
                  </a:cxn>
                  <a:cxn ang="0">
                    <a:pos x="547" y="255"/>
                  </a:cxn>
                  <a:cxn ang="0">
                    <a:pos x="619" y="203"/>
                  </a:cxn>
                  <a:cxn ang="0">
                    <a:pos x="671" y="178"/>
                  </a:cxn>
                  <a:cxn ang="0">
                    <a:pos x="731" y="134"/>
                  </a:cxn>
                </a:cxnLst>
                <a:rect l="0" t="0" r="r" b="b"/>
                <a:pathLst>
                  <a:path w="732" h="569">
                    <a:moveTo>
                      <a:pt x="108" y="495"/>
                    </a:moveTo>
                    <a:cubicBezTo>
                      <a:pt x="107" y="495"/>
                      <a:pt x="106" y="496"/>
                      <a:pt x="105" y="496"/>
                    </a:cubicBezTo>
                    <a:cubicBezTo>
                      <a:pt x="106" y="496"/>
                      <a:pt x="107" y="495"/>
                      <a:pt x="108" y="495"/>
                    </a:cubicBezTo>
                    <a:moveTo>
                      <a:pt x="98" y="497"/>
                    </a:moveTo>
                    <a:cubicBezTo>
                      <a:pt x="97" y="497"/>
                      <a:pt x="96" y="497"/>
                      <a:pt x="95" y="497"/>
                    </a:cubicBezTo>
                    <a:cubicBezTo>
                      <a:pt x="99" y="497"/>
                      <a:pt x="102" y="497"/>
                      <a:pt x="105" y="496"/>
                    </a:cubicBezTo>
                    <a:cubicBezTo>
                      <a:pt x="105" y="496"/>
                      <a:pt x="105" y="496"/>
                      <a:pt x="105" y="496"/>
                    </a:cubicBezTo>
                    <a:cubicBezTo>
                      <a:pt x="103" y="496"/>
                      <a:pt x="101" y="497"/>
                      <a:pt x="99" y="497"/>
                    </a:cubicBezTo>
                    <a:cubicBezTo>
                      <a:pt x="99" y="497"/>
                      <a:pt x="98" y="497"/>
                      <a:pt x="98" y="497"/>
                    </a:cubicBezTo>
                    <a:moveTo>
                      <a:pt x="59" y="496"/>
                    </a:moveTo>
                    <a:cubicBezTo>
                      <a:pt x="57" y="496"/>
                      <a:pt x="56" y="496"/>
                      <a:pt x="54" y="496"/>
                    </a:cubicBezTo>
                    <a:cubicBezTo>
                      <a:pt x="56" y="496"/>
                      <a:pt x="57" y="496"/>
                      <a:pt x="59" y="496"/>
                    </a:cubicBezTo>
                    <a:cubicBezTo>
                      <a:pt x="60" y="496"/>
                      <a:pt x="60" y="496"/>
                      <a:pt x="61" y="496"/>
                    </a:cubicBezTo>
                    <a:cubicBezTo>
                      <a:pt x="60" y="496"/>
                      <a:pt x="60" y="496"/>
                      <a:pt x="59" y="496"/>
                    </a:cubicBezTo>
                    <a:moveTo>
                      <a:pt x="34" y="471"/>
                    </a:moveTo>
                    <a:cubicBezTo>
                      <a:pt x="34" y="470"/>
                      <a:pt x="34" y="470"/>
                      <a:pt x="34" y="469"/>
                    </a:cubicBezTo>
                    <a:cubicBezTo>
                      <a:pt x="34" y="470"/>
                      <a:pt x="34" y="470"/>
                      <a:pt x="34" y="471"/>
                    </a:cubicBezTo>
                    <a:moveTo>
                      <a:pt x="34" y="472"/>
                    </a:moveTo>
                    <a:cubicBezTo>
                      <a:pt x="34" y="472"/>
                      <a:pt x="34" y="471"/>
                      <a:pt x="34" y="471"/>
                    </a:cubicBezTo>
                    <a:cubicBezTo>
                      <a:pt x="34" y="471"/>
                      <a:pt x="34" y="472"/>
                      <a:pt x="34" y="472"/>
                    </a:cubicBezTo>
                    <a:moveTo>
                      <a:pt x="34" y="473"/>
                    </a:moveTo>
                    <a:cubicBezTo>
                      <a:pt x="34" y="473"/>
                      <a:pt x="34" y="474"/>
                      <a:pt x="34" y="474"/>
                    </a:cubicBezTo>
                    <a:cubicBezTo>
                      <a:pt x="34" y="474"/>
                      <a:pt x="34" y="473"/>
                      <a:pt x="34" y="473"/>
                    </a:cubicBezTo>
                    <a:moveTo>
                      <a:pt x="34" y="466"/>
                    </a:moveTo>
                    <a:cubicBezTo>
                      <a:pt x="34" y="467"/>
                      <a:pt x="34" y="467"/>
                      <a:pt x="34" y="467"/>
                    </a:cubicBezTo>
                    <a:cubicBezTo>
                      <a:pt x="34" y="467"/>
                      <a:pt x="34" y="467"/>
                      <a:pt x="34" y="466"/>
                    </a:cubicBezTo>
                    <a:moveTo>
                      <a:pt x="34" y="476"/>
                    </a:moveTo>
                    <a:cubicBezTo>
                      <a:pt x="34" y="476"/>
                      <a:pt x="34" y="475"/>
                      <a:pt x="34" y="475"/>
                    </a:cubicBezTo>
                    <a:cubicBezTo>
                      <a:pt x="34" y="475"/>
                      <a:pt x="34" y="476"/>
                      <a:pt x="34" y="476"/>
                    </a:cubicBezTo>
                    <a:moveTo>
                      <a:pt x="33" y="479"/>
                    </a:moveTo>
                    <a:cubicBezTo>
                      <a:pt x="33" y="478"/>
                      <a:pt x="34" y="477"/>
                      <a:pt x="34" y="476"/>
                    </a:cubicBezTo>
                    <a:cubicBezTo>
                      <a:pt x="34" y="477"/>
                      <a:pt x="33" y="478"/>
                      <a:pt x="33" y="479"/>
                    </a:cubicBezTo>
                    <a:moveTo>
                      <a:pt x="30" y="485"/>
                    </a:moveTo>
                    <a:cubicBezTo>
                      <a:pt x="31" y="484"/>
                      <a:pt x="31" y="484"/>
                      <a:pt x="31" y="483"/>
                    </a:cubicBezTo>
                    <a:cubicBezTo>
                      <a:pt x="31" y="484"/>
                      <a:pt x="31" y="484"/>
                      <a:pt x="30" y="485"/>
                    </a:cubicBezTo>
                    <a:moveTo>
                      <a:pt x="32" y="481"/>
                    </a:moveTo>
                    <a:cubicBezTo>
                      <a:pt x="32" y="481"/>
                      <a:pt x="32" y="481"/>
                      <a:pt x="32" y="481"/>
                    </a:cubicBezTo>
                    <a:cubicBezTo>
                      <a:pt x="32" y="481"/>
                      <a:pt x="32" y="481"/>
                      <a:pt x="32" y="481"/>
                    </a:cubicBezTo>
                    <a:moveTo>
                      <a:pt x="34" y="465"/>
                    </a:moveTo>
                    <a:cubicBezTo>
                      <a:pt x="34" y="465"/>
                      <a:pt x="35" y="465"/>
                      <a:pt x="35" y="465"/>
                    </a:cubicBezTo>
                    <a:cubicBezTo>
                      <a:pt x="35" y="465"/>
                      <a:pt x="34" y="465"/>
                      <a:pt x="34" y="465"/>
                    </a:cubicBezTo>
                    <a:moveTo>
                      <a:pt x="35" y="463"/>
                    </a:moveTo>
                    <a:cubicBezTo>
                      <a:pt x="35" y="462"/>
                      <a:pt x="36" y="461"/>
                      <a:pt x="36" y="461"/>
                    </a:cubicBezTo>
                    <a:cubicBezTo>
                      <a:pt x="36" y="461"/>
                      <a:pt x="35" y="462"/>
                      <a:pt x="35" y="463"/>
                    </a:cubicBezTo>
                    <a:moveTo>
                      <a:pt x="37" y="460"/>
                    </a:moveTo>
                    <a:cubicBezTo>
                      <a:pt x="37" y="459"/>
                      <a:pt x="37" y="459"/>
                      <a:pt x="37" y="458"/>
                    </a:cubicBezTo>
                    <a:cubicBezTo>
                      <a:pt x="37" y="459"/>
                      <a:pt x="37" y="459"/>
                      <a:pt x="37" y="460"/>
                    </a:cubicBezTo>
                    <a:moveTo>
                      <a:pt x="37" y="282"/>
                    </a:moveTo>
                    <a:cubicBezTo>
                      <a:pt x="38" y="282"/>
                      <a:pt x="38" y="282"/>
                      <a:pt x="38" y="282"/>
                    </a:cubicBezTo>
                    <a:cubicBezTo>
                      <a:pt x="38" y="282"/>
                      <a:pt x="38" y="282"/>
                      <a:pt x="37" y="282"/>
                    </a:cubicBezTo>
                    <a:moveTo>
                      <a:pt x="38" y="281"/>
                    </a:moveTo>
                    <a:cubicBezTo>
                      <a:pt x="38" y="281"/>
                      <a:pt x="38" y="281"/>
                      <a:pt x="38" y="281"/>
                    </a:cubicBezTo>
                    <a:cubicBezTo>
                      <a:pt x="38" y="281"/>
                      <a:pt x="38" y="281"/>
                      <a:pt x="38" y="281"/>
                    </a:cubicBezTo>
                    <a:moveTo>
                      <a:pt x="38" y="275"/>
                    </a:moveTo>
                    <a:cubicBezTo>
                      <a:pt x="38" y="274"/>
                      <a:pt x="38" y="274"/>
                      <a:pt x="37" y="273"/>
                    </a:cubicBezTo>
                    <a:cubicBezTo>
                      <a:pt x="38" y="274"/>
                      <a:pt x="38" y="275"/>
                      <a:pt x="38" y="276"/>
                    </a:cubicBezTo>
                    <a:cubicBezTo>
                      <a:pt x="38" y="276"/>
                      <a:pt x="38" y="275"/>
                      <a:pt x="38" y="275"/>
                    </a:cubicBezTo>
                    <a:moveTo>
                      <a:pt x="38" y="278"/>
                    </a:moveTo>
                    <a:cubicBezTo>
                      <a:pt x="39" y="278"/>
                      <a:pt x="39" y="279"/>
                      <a:pt x="38" y="279"/>
                    </a:cubicBezTo>
                    <a:cubicBezTo>
                      <a:pt x="39" y="279"/>
                      <a:pt x="39" y="278"/>
                      <a:pt x="38" y="278"/>
                    </a:cubicBezTo>
                    <a:moveTo>
                      <a:pt x="38" y="278"/>
                    </a:moveTo>
                    <a:cubicBezTo>
                      <a:pt x="38" y="277"/>
                      <a:pt x="38" y="277"/>
                      <a:pt x="38" y="277"/>
                    </a:cubicBezTo>
                    <a:cubicBezTo>
                      <a:pt x="38" y="277"/>
                      <a:pt x="38" y="277"/>
                      <a:pt x="38" y="278"/>
                    </a:cubicBezTo>
                    <a:moveTo>
                      <a:pt x="38" y="457"/>
                    </a:moveTo>
                    <a:cubicBezTo>
                      <a:pt x="38" y="456"/>
                      <a:pt x="38" y="456"/>
                      <a:pt x="38" y="456"/>
                    </a:cubicBezTo>
                    <a:cubicBezTo>
                      <a:pt x="38" y="456"/>
                      <a:pt x="38" y="456"/>
                      <a:pt x="38" y="457"/>
                    </a:cubicBezTo>
                    <a:moveTo>
                      <a:pt x="30" y="485"/>
                    </a:moveTo>
                    <a:cubicBezTo>
                      <a:pt x="30" y="486"/>
                      <a:pt x="29" y="486"/>
                      <a:pt x="29" y="487"/>
                    </a:cubicBezTo>
                    <a:cubicBezTo>
                      <a:pt x="29" y="486"/>
                      <a:pt x="30" y="486"/>
                      <a:pt x="30" y="485"/>
                    </a:cubicBezTo>
                    <a:moveTo>
                      <a:pt x="26" y="306"/>
                    </a:moveTo>
                    <a:cubicBezTo>
                      <a:pt x="26" y="307"/>
                      <a:pt x="26" y="308"/>
                      <a:pt x="26" y="308"/>
                    </a:cubicBezTo>
                    <a:cubicBezTo>
                      <a:pt x="26" y="308"/>
                      <a:pt x="26" y="307"/>
                      <a:pt x="26" y="306"/>
                    </a:cubicBezTo>
                    <a:moveTo>
                      <a:pt x="26" y="303"/>
                    </a:moveTo>
                    <a:cubicBezTo>
                      <a:pt x="26" y="304"/>
                      <a:pt x="26" y="305"/>
                      <a:pt x="26" y="306"/>
                    </a:cubicBezTo>
                    <a:cubicBezTo>
                      <a:pt x="26" y="305"/>
                      <a:pt x="26" y="304"/>
                      <a:pt x="26" y="303"/>
                    </a:cubicBezTo>
                    <a:moveTo>
                      <a:pt x="36" y="284"/>
                    </a:moveTo>
                    <a:cubicBezTo>
                      <a:pt x="36" y="284"/>
                      <a:pt x="36" y="284"/>
                      <a:pt x="35" y="284"/>
                    </a:cubicBezTo>
                    <a:cubicBezTo>
                      <a:pt x="36" y="284"/>
                      <a:pt x="36" y="284"/>
                      <a:pt x="36" y="284"/>
                    </a:cubicBezTo>
                    <a:moveTo>
                      <a:pt x="35" y="285"/>
                    </a:moveTo>
                    <a:cubicBezTo>
                      <a:pt x="35" y="285"/>
                      <a:pt x="34" y="285"/>
                      <a:pt x="34" y="285"/>
                    </a:cubicBezTo>
                    <a:cubicBezTo>
                      <a:pt x="34" y="285"/>
                      <a:pt x="35" y="285"/>
                      <a:pt x="35" y="285"/>
                    </a:cubicBezTo>
                    <a:moveTo>
                      <a:pt x="33" y="286"/>
                    </a:moveTo>
                    <a:cubicBezTo>
                      <a:pt x="33" y="286"/>
                      <a:pt x="34" y="286"/>
                      <a:pt x="34" y="286"/>
                    </a:cubicBezTo>
                    <a:cubicBezTo>
                      <a:pt x="34" y="286"/>
                      <a:pt x="33" y="286"/>
                      <a:pt x="33" y="286"/>
                    </a:cubicBezTo>
                    <a:moveTo>
                      <a:pt x="37" y="282"/>
                    </a:moveTo>
                    <a:cubicBezTo>
                      <a:pt x="37" y="282"/>
                      <a:pt x="37" y="283"/>
                      <a:pt x="37" y="283"/>
                    </a:cubicBezTo>
                    <a:cubicBezTo>
                      <a:pt x="37" y="283"/>
                      <a:pt x="37" y="282"/>
                      <a:pt x="37" y="282"/>
                    </a:cubicBezTo>
                    <a:moveTo>
                      <a:pt x="40" y="258"/>
                    </a:moveTo>
                    <a:cubicBezTo>
                      <a:pt x="40" y="259"/>
                      <a:pt x="39" y="260"/>
                      <a:pt x="39" y="261"/>
                    </a:cubicBezTo>
                    <a:cubicBezTo>
                      <a:pt x="39" y="260"/>
                      <a:pt x="40" y="259"/>
                      <a:pt x="40" y="258"/>
                    </a:cubicBezTo>
                    <a:moveTo>
                      <a:pt x="41" y="153"/>
                    </a:moveTo>
                    <a:cubicBezTo>
                      <a:pt x="42" y="153"/>
                      <a:pt x="42" y="152"/>
                      <a:pt x="42" y="151"/>
                    </a:cubicBezTo>
                    <a:cubicBezTo>
                      <a:pt x="42" y="151"/>
                      <a:pt x="42" y="151"/>
                      <a:pt x="42" y="151"/>
                    </a:cubicBezTo>
                    <a:cubicBezTo>
                      <a:pt x="42" y="152"/>
                      <a:pt x="42" y="153"/>
                      <a:pt x="41" y="153"/>
                    </a:cubicBezTo>
                    <a:moveTo>
                      <a:pt x="45" y="247"/>
                    </a:moveTo>
                    <a:cubicBezTo>
                      <a:pt x="45" y="247"/>
                      <a:pt x="45" y="247"/>
                      <a:pt x="45" y="246"/>
                    </a:cubicBezTo>
                    <a:cubicBezTo>
                      <a:pt x="45" y="247"/>
                      <a:pt x="45" y="247"/>
                      <a:pt x="45" y="247"/>
                    </a:cubicBezTo>
                    <a:moveTo>
                      <a:pt x="46" y="245"/>
                    </a:moveTo>
                    <a:cubicBezTo>
                      <a:pt x="46" y="245"/>
                      <a:pt x="46" y="244"/>
                      <a:pt x="46" y="244"/>
                    </a:cubicBezTo>
                    <a:cubicBezTo>
                      <a:pt x="46" y="244"/>
                      <a:pt x="46" y="245"/>
                      <a:pt x="46" y="245"/>
                    </a:cubicBezTo>
                    <a:moveTo>
                      <a:pt x="46" y="243"/>
                    </a:moveTo>
                    <a:cubicBezTo>
                      <a:pt x="46" y="243"/>
                      <a:pt x="46" y="242"/>
                      <a:pt x="46" y="242"/>
                    </a:cubicBezTo>
                    <a:cubicBezTo>
                      <a:pt x="46" y="242"/>
                      <a:pt x="46" y="243"/>
                      <a:pt x="46" y="243"/>
                    </a:cubicBezTo>
                    <a:moveTo>
                      <a:pt x="48" y="495"/>
                    </a:moveTo>
                    <a:cubicBezTo>
                      <a:pt x="47" y="495"/>
                      <a:pt x="46" y="495"/>
                      <a:pt x="45" y="495"/>
                    </a:cubicBezTo>
                    <a:cubicBezTo>
                      <a:pt x="46" y="495"/>
                      <a:pt x="47" y="495"/>
                      <a:pt x="48" y="495"/>
                    </a:cubicBezTo>
                    <a:moveTo>
                      <a:pt x="43" y="496"/>
                    </a:moveTo>
                    <a:cubicBezTo>
                      <a:pt x="42" y="496"/>
                      <a:pt x="41" y="496"/>
                      <a:pt x="41" y="496"/>
                    </a:cubicBezTo>
                    <a:cubicBezTo>
                      <a:pt x="41" y="496"/>
                      <a:pt x="42" y="496"/>
                      <a:pt x="43" y="496"/>
                    </a:cubicBezTo>
                    <a:moveTo>
                      <a:pt x="52" y="496"/>
                    </a:moveTo>
                    <a:cubicBezTo>
                      <a:pt x="51" y="496"/>
                      <a:pt x="51" y="496"/>
                      <a:pt x="50" y="495"/>
                    </a:cubicBezTo>
                    <a:cubicBezTo>
                      <a:pt x="51" y="496"/>
                      <a:pt x="51" y="496"/>
                      <a:pt x="52" y="496"/>
                    </a:cubicBezTo>
                    <a:moveTo>
                      <a:pt x="50" y="495"/>
                    </a:moveTo>
                    <a:cubicBezTo>
                      <a:pt x="49" y="495"/>
                      <a:pt x="48" y="495"/>
                      <a:pt x="48" y="495"/>
                    </a:cubicBezTo>
                    <a:cubicBezTo>
                      <a:pt x="48" y="495"/>
                      <a:pt x="49" y="495"/>
                      <a:pt x="50" y="495"/>
                    </a:cubicBezTo>
                    <a:moveTo>
                      <a:pt x="45" y="495"/>
                    </a:moveTo>
                    <a:cubicBezTo>
                      <a:pt x="44" y="495"/>
                      <a:pt x="44" y="495"/>
                      <a:pt x="43" y="495"/>
                    </a:cubicBezTo>
                    <a:cubicBezTo>
                      <a:pt x="44" y="495"/>
                      <a:pt x="44" y="495"/>
                      <a:pt x="45" y="495"/>
                    </a:cubicBezTo>
                    <a:moveTo>
                      <a:pt x="0" y="373"/>
                    </a:moveTo>
                    <a:cubicBezTo>
                      <a:pt x="0" y="373"/>
                      <a:pt x="0" y="373"/>
                      <a:pt x="0" y="373"/>
                    </a:cubicBezTo>
                    <a:cubicBezTo>
                      <a:pt x="0" y="373"/>
                      <a:pt x="0" y="373"/>
                      <a:pt x="0" y="373"/>
                    </a:cubicBezTo>
                    <a:moveTo>
                      <a:pt x="0" y="372"/>
                    </a:moveTo>
                    <a:cubicBezTo>
                      <a:pt x="0" y="372"/>
                      <a:pt x="0" y="372"/>
                      <a:pt x="0" y="373"/>
                    </a:cubicBezTo>
                    <a:cubicBezTo>
                      <a:pt x="0" y="372"/>
                      <a:pt x="0" y="372"/>
                      <a:pt x="0" y="372"/>
                    </a:cubicBezTo>
                    <a:moveTo>
                      <a:pt x="1" y="376"/>
                    </a:moveTo>
                    <a:cubicBezTo>
                      <a:pt x="1" y="375"/>
                      <a:pt x="0" y="375"/>
                      <a:pt x="0" y="375"/>
                    </a:cubicBezTo>
                    <a:cubicBezTo>
                      <a:pt x="0" y="375"/>
                      <a:pt x="1" y="375"/>
                      <a:pt x="1" y="376"/>
                    </a:cubicBezTo>
                    <a:moveTo>
                      <a:pt x="0" y="375"/>
                    </a:moveTo>
                    <a:cubicBezTo>
                      <a:pt x="0" y="375"/>
                      <a:pt x="0" y="375"/>
                      <a:pt x="0" y="374"/>
                    </a:cubicBezTo>
                    <a:cubicBezTo>
                      <a:pt x="0" y="375"/>
                      <a:pt x="0" y="375"/>
                      <a:pt x="0" y="375"/>
                    </a:cubicBezTo>
                    <a:moveTo>
                      <a:pt x="0" y="374"/>
                    </a:moveTo>
                    <a:cubicBezTo>
                      <a:pt x="0" y="374"/>
                      <a:pt x="0" y="374"/>
                      <a:pt x="0" y="374"/>
                    </a:cubicBezTo>
                    <a:cubicBezTo>
                      <a:pt x="0" y="374"/>
                      <a:pt x="0" y="374"/>
                      <a:pt x="0" y="374"/>
                    </a:cubicBezTo>
                    <a:moveTo>
                      <a:pt x="1" y="359"/>
                    </a:moveTo>
                    <a:cubicBezTo>
                      <a:pt x="1" y="359"/>
                      <a:pt x="1" y="360"/>
                      <a:pt x="1" y="360"/>
                    </a:cubicBezTo>
                    <a:cubicBezTo>
                      <a:pt x="1" y="360"/>
                      <a:pt x="1" y="359"/>
                      <a:pt x="1" y="359"/>
                    </a:cubicBezTo>
                    <a:moveTo>
                      <a:pt x="0" y="362"/>
                    </a:moveTo>
                    <a:cubicBezTo>
                      <a:pt x="0" y="363"/>
                      <a:pt x="0" y="363"/>
                      <a:pt x="0" y="363"/>
                    </a:cubicBezTo>
                    <a:cubicBezTo>
                      <a:pt x="0" y="363"/>
                      <a:pt x="0" y="363"/>
                      <a:pt x="0" y="362"/>
                    </a:cubicBezTo>
                    <a:moveTo>
                      <a:pt x="447" y="26"/>
                    </a:moveTo>
                    <a:cubicBezTo>
                      <a:pt x="447" y="26"/>
                      <a:pt x="448" y="26"/>
                      <a:pt x="448" y="26"/>
                    </a:cubicBezTo>
                    <a:cubicBezTo>
                      <a:pt x="448" y="26"/>
                      <a:pt x="448" y="26"/>
                      <a:pt x="448" y="26"/>
                    </a:cubicBezTo>
                    <a:cubicBezTo>
                      <a:pt x="451" y="24"/>
                      <a:pt x="447" y="26"/>
                      <a:pt x="447" y="26"/>
                    </a:cubicBezTo>
                    <a:moveTo>
                      <a:pt x="499" y="314"/>
                    </a:moveTo>
                    <a:cubicBezTo>
                      <a:pt x="499" y="313"/>
                      <a:pt x="500" y="313"/>
                      <a:pt x="500" y="313"/>
                    </a:cubicBezTo>
                    <a:cubicBezTo>
                      <a:pt x="500" y="313"/>
                      <a:pt x="499" y="313"/>
                      <a:pt x="499" y="314"/>
                    </a:cubicBezTo>
                    <a:moveTo>
                      <a:pt x="731" y="104"/>
                    </a:moveTo>
                    <a:cubicBezTo>
                      <a:pt x="732" y="100"/>
                      <a:pt x="727" y="98"/>
                      <a:pt x="724" y="97"/>
                    </a:cubicBezTo>
                    <a:cubicBezTo>
                      <a:pt x="719" y="96"/>
                      <a:pt x="714" y="96"/>
                      <a:pt x="709" y="96"/>
                    </a:cubicBezTo>
                    <a:cubicBezTo>
                      <a:pt x="705" y="96"/>
                      <a:pt x="703" y="97"/>
                      <a:pt x="699" y="98"/>
                    </a:cubicBezTo>
                    <a:cubicBezTo>
                      <a:pt x="695" y="100"/>
                      <a:pt x="694" y="103"/>
                      <a:pt x="689" y="102"/>
                    </a:cubicBezTo>
                    <a:cubicBezTo>
                      <a:pt x="684" y="101"/>
                      <a:pt x="677" y="98"/>
                      <a:pt x="672" y="99"/>
                    </a:cubicBezTo>
                    <a:cubicBezTo>
                      <a:pt x="671" y="99"/>
                      <a:pt x="670" y="100"/>
                      <a:pt x="669" y="100"/>
                    </a:cubicBezTo>
                    <a:cubicBezTo>
                      <a:pt x="669" y="101"/>
                      <a:pt x="669" y="101"/>
                      <a:pt x="668" y="102"/>
                    </a:cubicBezTo>
                    <a:cubicBezTo>
                      <a:pt x="668" y="102"/>
                      <a:pt x="667" y="102"/>
                      <a:pt x="667" y="102"/>
                    </a:cubicBezTo>
                    <a:cubicBezTo>
                      <a:pt x="665" y="103"/>
                      <a:pt x="665" y="104"/>
                      <a:pt x="663" y="104"/>
                    </a:cubicBezTo>
                    <a:cubicBezTo>
                      <a:pt x="661" y="105"/>
                      <a:pt x="661" y="104"/>
                      <a:pt x="659" y="103"/>
                    </a:cubicBezTo>
                    <a:cubicBezTo>
                      <a:pt x="659" y="103"/>
                      <a:pt x="659" y="103"/>
                      <a:pt x="659" y="103"/>
                    </a:cubicBezTo>
                    <a:cubicBezTo>
                      <a:pt x="658" y="104"/>
                      <a:pt x="656" y="104"/>
                      <a:pt x="655" y="103"/>
                    </a:cubicBezTo>
                    <a:cubicBezTo>
                      <a:pt x="652" y="103"/>
                      <a:pt x="650" y="102"/>
                      <a:pt x="648" y="101"/>
                    </a:cubicBezTo>
                    <a:cubicBezTo>
                      <a:pt x="647" y="100"/>
                      <a:pt x="646" y="99"/>
                      <a:pt x="645" y="99"/>
                    </a:cubicBezTo>
                    <a:cubicBezTo>
                      <a:pt x="644" y="99"/>
                      <a:pt x="643" y="98"/>
                      <a:pt x="641" y="98"/>
                    </a:cubicBezTo>
                    <a:cubicBezTo>
                      <a:pt x="640" y="98"/>
                      <a:pt x="639" y="98"/>
                      <a:pt x="638" y="98"/>
                    </a:cubicBezTo>
                    <a:cubicBezTo>
                      <a:pt x="637" y="98"/>
                      <a:pt x="636" y="98"/>
                      <a:pt x="636" y="98"/>
                    </a:cubicBezTo>
                    <a:cubicBezTo>
                      <a:pt x="635" y="99"/>
                      <a:pt x="635" y="99"/>
                      <a:pt x="634" y="99"/>
                    </a:cubicBezTo>
                    <a:cubicBezTo>
                      <a:pt x="633" y="100"/>
                      <a:pt x="632" y="100"/>
                      <a:pt x="631" y="99"/>
                    </a:cubicBezTo>
                    <a:cubicBezTo>
                      <a:pt x="629" y="99"/>
                      <a:pt x="627" y="99"/>
                      <a:pt x="625" y="99"/>
                    </a:cubicBezTo>
                    <a:cubicBezTo>
                      <a:pt x="623" y="98"/>
                      <a:pt x="622" y="97"/>
                      <a:pt x="621" y="96"/>
                    </a:cubicBezTo>
                    <a:cubicBezTo>
                      <a:pt x="619" y="94"/>
                      <a:pt x="617" y="93"/>
                      <a:pt x="617" y="91"/>
                    </a:cubicBezTo>
                    <a:cubicBezTo>
                      <a:pt x="616" y="90"/>
                      <a:pt x="616" y="88"/>
                      <a:pt x="617" y="87"/>
                    </a:cubicBezTo>
                    <a:cubicBezTo>
                      <a:pt x="618" y="85"/>
                      <a:pt x="621" y="85"/>
                      <a:pt x="623" y="84"/>
                    </a:cubicBezTo>
                    <a:cubicBezTo>
                      <a:pt x="623" y="83"/>
                      <a:pt x="623" y="83"/>
                      <a:pt x="623" y="83"/>
                    </a:cubicBezTo>
                    <a:cubicBezTo>
                      <a:pt x="624" y="83"/>
                      <a:pt x="624" y="83"/>
                      <a:pt x="624" y="83"/>
                    </a:cubicBezTo>
                    <a:cubicBezTo>
                      <a:pt x="624" y="83"/>
                      <a:pt x="624" y="83"/>
                      <a:pt x="624" y="83"/>
                    </a:cubicBezTo>
                    <a:cubicBezTo>
                      <a:pt x="624" y="83"/>
                      <a:pt x="624" y="83"/>
                      <a:pt x="624" y="83"/>
                    </a:cubicBezTo>
                    <a:cubicBezTo>
                      <a:pt x="623" y="80"/>
                      <a:pt x="620" y="78"/>
                      <a:pt x="617" y="77"/>
                    </a:cubicBezTo>
                    <a:cubicBezTo>
                      <a:pt x="615" y="76"/>
                      <a:pt x="614" y="75"/>
                      <a:pt x="611" y="74"/>
                    </a:cubicBezTo>
                    <a:cubicBezTo>
                      <a:pt x="609" y="73"/>
                      <a:pt x="607" y="73"/>
                      <a:pt x="605" y="73"/>
                    </a:cubicBezTo>
                    <a:cubicBezTo>
                      <a:pt x="600" y="72"/>
                      <a:pt x="596" y="69"/>
                      <a:pt x="592" y="68"/>
                    </a:cubicBezTo>
                    <a:cubicBezTo>
                      <a:pt x="589" y="68"/>
                      <a:pt x="587" y="66"/>
                      <a:pt x="584" y="65"/>
                    </a:cubicBezTo>
                    <a:cubicBezTo>
                      <a:pt x="584" y="67"/>
                      <a:pt x="584" y="69"/>
                      <a:pt x="583" y="70"/>
                    </a:cubicBezTo>
                    <a:cubicBezTo>
                      <a:pt x="583" y="71"/>
                      <a:pt x="582" y="71"/>
                      <a:pt x="582" y="73"/>
                    </a:cubicBezTo>
                    <a:cubicBezTo>
                      <a:pt x="581" y="74"/>
                      <a:pt x="582" y="75"/>
                      <a:pt x="581" y="76"/>
                    </a:cubicBezTo>
                    <a:cubicBezTo>
                      <a:pt x="580" y="78"/>
                      <a:pt x="579" y="77"/>
                      <a:pt x="577" y="77"/>
                    </a:cubicBezTo>
                    <a:cubicBezTo>
                      <a:pt x="569" y="78"/>
                      <a:pt x="560" y="77"/>
                      <a:pt x="552" y="77"/>
                    </a:cubicBezTo>
                    <a:cubicBezTo>
                      <a:pt x="549" y="77"/>
                      <a:pt x="547" y="78"/>
                      <a:pt x="545" y="78"/>
                    </a:cubicBezTo>
                    <a:cubicBezTo>
                      <a:pt x="543" y="78"/>
                      <a:pt x="541" y="77"/>
                      <a:pt x="540" y="76"/>
                    </a:cubicBezTo>
                    <a:cubicBezTo>
                      <a:pt x="538" y="75"/>
                      <a:pt x="536" y="74"/>
                      <a:pt x="534" y="73"/>
                    </a:cubicBezTo>
                    <a:cubicBezTo>
                      <a:pt x="534" y="72"/>
                      <a:pt x="532" y="70"/>
                      <a:pt x="531" y="70"/>
                    </a:cubicBezTo>
                    <a:cubicBezTo>
                      <a:pt x="529" y="69"/>
                      <a:pt x="525" y="71"/>
                      <a:pt x="522" y="70"/>
                    </a:cubicBezTo>
                    <a:cubicBezTo>
                      <a:pt x="517" y="70"/>
                      <a:pt x="512" y="68"/>
                      <a:pt x="506" y="67"/>
                    </a:cubicBezTo>
                    <a:cubicBezTo>
                      <a:pt x="504" y="58"/>
                      <a:pt x="497" y="61"/>
                      <a:pt x="490" y="58"/>
                    </a:cubicBezTo>
                    <a:cubicBezTo>
                      <a:pt x="488" y="57"/>
                      <a:pt x="486" y="56"/>
                      <a:pt x="484" y="54"/>
                    </a:cubicBezTo>
                    <a:cubicBezTo>
                      <a:pt x="481" y="52"/>
                      <a:pt x="475" y="50"/>
                      <a:pt x="475" y="46"/>
                    </a:cubicBezTo>
                    <a:cubicBezTo>
                      <a:pt x="472" y="45"/>
                      <a:pt x="471" y="48"/>
                      <a:pt x="469" y="49"/>
                    </a:cubicBezTo>
                    <a:cubicBezTo>
                      <a:pt x="467" y="51"/>
                      <a:pt x="465" y="50"/>
                      <a:pt x="464" y="46"/>
                    </a:cubicBezTo>
                    <a:cubicBezTo>
                      <a:pt x="463" y="42"/>
                      <a:pt x="469" y="39"/>
                      <a:pt x="466" y="35"/>
                    </a:cubicBezTo>
                    <a:cubicBezTo>
                      <a:pt x="465" y="33"/>
                      <a:pt x="463" y="34"/>
                      <a:pt x="462" y="33"/>
                    </a:cubicBezTo>
                    <a:cubicBezTo>
                      <a:pt x="461" y="33"/>
                      <a:pt x="460" y="33"/>
                      <a:pt x="459" y="33"/>
                    </a:cubicBezTo>
                    <a:cubicBezTo>
                      <a:pt x="458" y="32"/>
                      <a:pt x="457" y="32"/>
                      <a:pt x="456" y="31"/>
                    </a:cubicBezTo>
                    <a:cubicBezTo>
                      <a:pt x="456" y="31"/>
                      <a:pt x="455" y="30"/>
                      <a:pt x="453" y="30"/>
                    </a:cubicBezTo>
                    <a:cubicBezTo>
                      <a:pt x="453" y="30"/>
                      <a:pt x="452" y="29"/>
                      <a:pt x="451" y="28"/>
                    </a:cubicBezTo>
                    <a:cubicBezTo>
                      <a:pt x="450" y="27"/>
                      <a:pt x="449" y="27"/>
                      <a:pt x="448" y="26"/>
                    </a:cubicBezTo>
                    <a:cubicBezTo>
                      <a:pt x="444" y="29"/>
                      <a:pt x="439" y="31"/>
                      <a:pt x="434" y="31"/>
                    </a:cubicBezTo>
                    <a:cubicBezTo>
                      <a:pt x="429" y="31"/>
                      <a:pt x="424" y="32"/>
                      <a:pt x="419" y="31"/>
                    </a:cubicBezTo>
                    <a:cubicBezTo>
                      <a:pt x="413" y="31"/>
                      <a:pt x="406" y="29"/>
                      <a:pt x="400" y="28"/>
                    </a:cubicBezTo>
                    <a:cubicBezTo>
                      <a:pt x="393" y="28"/>
                      <a:pt x="386" y="27"/>
                      <a:pt x="379" y="27"/>
                    </a:cubicBezTo>
                    <a:cubicBezTo>
                      <a:pt x="377" y="27"/>
                      <a:pt x="375" y="27"/>
                      <a:pt x="373" y="28"/>
                    </a:cubicBezTo>
                    <a:cubicBezTo>
                      <a:pt x="372" y="29"/>
                      <a:pt x="372" y="31"/>
                      <a:pt x="371" y="31"/>
                    </a:cubicBezTo>
                    <a:cubicBezTo>
                      <a:pt x="369" y="32"/>
                      <a:pt x="367" y="29"/>
                      <a:pt x="365" y="28"/>
                    </a:cubicBezTo>
                    <a:cubicBezTo>
                      <a:pt x="363" y="27"/>
                      <a:pt x="362" y="27"/>
                      <a:pt x="360" y="26"/>
                    </a:cubicBezTo>
                    <a:cubicBezTo>
                      <a:pt x="355" y="24"/>
                      <a:pt x="350" y="24"/>
                      <a:pt x="346" y="24"/>
                    </a:cubicBezTo>
                    <a:cubicBezTo>
                      <a:pt x="340" y="23"/>
                      <a:pt x="334" y="24"/>
                      <a:pt x="328" y="24"/>
                    </a:cubicBezTo>
                    <a:cubicBezTo>
                      <a:pt x="319" y="24"/>
                      <a:pt x="311" y="23"/>
                      <a:pt x="303" y="26"/>
                    </a:cubicBezTo>
                    <a:cubicBezTo>
                      <a:pt x="299" y="28"/>
                      <a:pt x="296" y="27"/>
                      <a:pt x="292" y="27"/>
                    </a:cubicBezTo>
                    <a:cubicBezTo>
                      <a:pt x="288" y="27"/>
                      <a:pt x="288" y="27"/>
                      <a:pt x="285" y="25"/>
                    </a:cubicBezTo>
                    <a:cubicBezTo>
                      <a:pt x="279" y="23"/>
                      <a:pt x="272" y="23"/>
                      <a:pt x="266" y="22"/>
                    </a:cubicBezTo>
                    <a:cubicBezTo>
                      <a:pt x="263" y="22"/>
                      <a:pt x="259" y="21"/>
                      <a:pt x="256" y="21"/>
                    </a:cubicBezTo>
                    <a:cubicBezTo>
                      <a:pt x="252" y="20"/>
                      <a:pt x="249" y="20"/>
                      <a:pt x="246" y="20"/>
                    </a:cubicBezTo>
                    <a:cubicBezTo>
                      <a:pt x="244" y="19"/>
                      <a:pt x="242" y="18"/>
                      <a:pt x="240" y="18"/>
                    </a:cubicBezTo>
                    <a:cubicBezTo>
                      <a:pt x="236" y="16"/>
                      <a:pt x="231" y="17"/>
                      <a:pt x="227" y="16"/>
                    </a:cubicBezTo>
                    <a:cubicBezTo>
                      <a:pt x="226" y="11"/>
                      <a:pt x="220" y="12"/>
                      <a:pt x="216" y="12"/>
                    </a:cubicBezTo>
                    <a:cubicBezTo>
                      <a:pt x="214" y="13"/>
                      <a:pt x="212" y="14"/>
                      <a:pt x="209" y="15"/>
                    </a:cubicBezTo>
                    <a:cubicBezTo>
                      <a:pt x="208" y="15"/>
                      <a:pt x="207" y="15"/>
                      <a:pt x="205" y="15"/>
                    </a:cubicBezTo>
                    <a:cubicBezTo>
                      <a:pt x="204" y="16"/>
                      <a:pt x="203" y="16"/>
                      <a:pt x="201" y="16"/>
                    </a:cubicBezTo>
                    <a:cubicBezTo>
                      <a:pt x="194" y="18"/>
                      <a:pt x="185" y="17"/>
                      <a:pt x="178" y="17"/>
                    </a:cubicBezTo>
                    <a:cubicBezTo>
                      <a:pt x="157" y="17"/>
                      <a:pt x="157" y="17"/>
                      <a:pt x="157" y="17"/>
                    </a:cubicBezTo>
                    <a:cubicBezTo>
                      <a:pt x="153" y="17"/>
                      <a:pt x="148" y="18"/>
                      <a:pt x="144" y="15"/>
                    </a:cubicBezTo>
                    <a:cubicBezTo>
                      <a:pt x="139" y="13"/>
                      <a:pt x="135" y="10"/>
                      <a:pt x="130" y="8"/>
                    </a:cubicBezTo>
                    <a:cubicBezTo>
                      <a:pt x="125" y="5"/>
                      <a:pt x="121" y="4"/>
                      <a:pt x="116" y="3"/>
                    </a:cubicBezTo>
                    <a:cubicBezTo>
                      <a:pt x="109" y="2"/>
                      <a:pt x="101" y="0"/>
                      <a:pt x="95" y="2"/>
                    </a:cubicBezTo>
                    <a:cubicBezTo>
                      <a:pt x="88" y="4"/>
                      <a:pt x="87" y="10"/>
                      <a:pt x="83" y="15"/>
                    </a:cubicBezTo>
                    <a:cubicBezTo>
                      <a:pt x="82" y="17"/>
                      <a:pt x="80" y="17"/>
                      <a:pt x="80" y="19"/>
                    </a:cubicBezTo>
                    <a:cubicBezTo>
                      <a:pt x="80" y="20"/>
                      <a:pt x="81" y="22"/>
                      <a:pt x="81" y="23"/>
                    </a:cubicBezTo>
                    <a:cubicBezTo>
                      <a:pt x="82" y="25"/>
                      <a:pt x="83" y="31"/>
                      <a:pt x="81" y="33"/>
                    </a:cubicBezTo>
                    <a:cubicBezTo>
                      <a:pt x="80" y="33"/>
                      <a:pt x="77" y="33"/>
                      <a:pt x="76" y="33"/>
                    </a:cubicBezTo>
                    <a:cubicBezTo>
                      <a:pt x="73" y="33"/>
                      <a:pt x="73" y="33"/>
                      <a:pt x="72" y="35"/>
                    </a:cubicBezTo>
                    <a:cubicBezTo>
                      <a:pt x="71" y="36"/>
                      <a:pt x="70" y="37"/>
                      <a:pt x="68" y="38"/>
                    </a:cubicBezTo>
                    <a:cubicBezTo>
                      <a:pt x="67" y="38"/>
                      <a:pt x="66" y="38"/>
                      <a:pt x="65" y="38"/>
                    </a:cubicBezTo>
                    <a:cubicBezTo>
                      <a:pt x="64" y="38"/>
                      <a:pt x="64" y="39"/>
                      <a:pt x="63" y="39"/>
                    </a:cubicBezTo>
                    <a:cubicBezTo>
                      <a:pt x="59" y="41"/>
                      <a:pt x="54" y="39"/>
                      <a:pt x="49" y="39"/>
                    </a:cubicBezTo>
                    <a:cubicBezTo>
                      <a:pt x="47" y="39"/>
                      <a:pt x="45" y="39"/>
                      <a:pt x="43" y="40"/>
                    </a:cubicBezTo>
                    <a:cubicBezTo>
                      <a:pt x="41" y="40"/>
                      <a:pt x="39" y="42"/>
                      <a:pt x="37" y="43"/>
                    </a:cubicBezTo>
                    <a:cubicBezTo>
                      <a:pt x="33" y="45"/>
                      <a:pt x="30" y="48"/>
                      <a:pt x="27" y="51"/>
                    </a:cubicBezTo>
                    <a:cubicBezTo>
                      <a:pt x="26" y="52"/>
                      <a:pt x="24" y="54"/>
                      <a:pt x="24" y="55"/>
                    </a:cubicBezTo>
                    <a:cubicBezTo>
                      <a:pt x="23" y="56"/>
                      <a:pt x="23" y="58"/>
                      <a:pt x="23" y="60"/>
                    </a:cubicBezTo>
                    <a:cubicBezTo>
                      <a:pt x="23" y="62"/>
                      <a:pt x="23" y="64"/>
                      <a:pt x="23" y="66"/>
                    </a:cubicBezTo>
                    <a:cubicBezTo>
                      <a:pt x="24" y="69"/>
                      <a:pt x="24" y="68"/>
                      <a:pt x="27" y="69"/>
                    </a:cubicBezTo>
                    <a:cubicBezTo>
                      <a:pt x="29" y="70"/>
                      <a:pt x="29" y="70"/>
                      <a:pt x="29" y="73"/>
                    </a:cubicBezTo>
                    <a:cubicBezTo>
                      <a:pt x="29" y="74"/>
                      <a:pt x="29" y="75"/>
                      <a:pt x="30" y="77"/>
                    </a:cubicBezTo>
                    <a:cubicBezTo>
                      <a:pt x="30" y="78"/>
                      <a:pt x="31" y="82"/>
                      <a:pt x="32" y="82"/>
                    </a:cubicBezTo>
                    <a:cubicBezTo>
                      <a:pt x="34" y="84"/>
                      <a:pt x="34" y="81"/>
                      <a:pt x="35" y="80"/>
                    </a:cubicBezTo>
                    <a:cubicBezTo>
                      <a:pt x="40" y="86"/>
                      <a:pt x="32" y="89"/>
                      <a:pt x="34" y="96"/>
                    </a:cubicBezTo>
                    <a:cubicBezTo>
                      <a:pt x="35" y="101"/>
                      <a:pt x="42" y="98"/>
                      <a:pt x="45" y="96"/>
                    </a:cubicBezTo>
                    <a:cubicBezTo>
                      <a:pt x="46" y="94"/>
                      <a:pt x="46" y="90"/>
                      <a:pt x="48" y="89"/>
                    </a:cubicBezTo>
                    <a:cubicBezTo>
                      <a:pt x="49" y="89"/>
                      <a:pt x="52" y="90"/>
                      <a:pt x="53" y="92"/>
                    </a:cubicBezTo>
                    <a:cubicBezTo>
                      <a:pt x="53" y="93"/>
                      <a:pt x="52" y="93"/>
                      <a:pt x="51" y="95"/>
                    </a:cubicBezTo>
                    <a:cubicBezTo>
                      <a:pt x="51" y="96"/>
                      <a:pt x="51" y="99"/>
                      <a:pt x="51" y="101"/>
                    </a:cubicBezTo>
                    <a:cubicBezTo>
                      <a:pt x="51" y="105"/>
                      <a:pt x="49" y="108"/>
                      <a:pt x="48" y="112"/>
                    </a:cubicBezTo>
                    <a:cubicBezTo>
                      <a:pt x="48" y="114"/>
                      <a:pt x="48" y="114"/>
                      <a:pt x="47" y="116"/>
                    </a:cubicBezTo>
                    <a:cubicBezTo>
                      <a:pt x="47" y="117"/>
                      <a:pt x="45" y="118"/>
                      <a:pt x="44" y="119"/>
                    </a:cubicBezTo>
                    <a:cubicBezTo>
                      <a:pt x="43" y="121"/>
                      <a:pt x="45" y="124"/>
                      <a:pt x="44" y="126"/>
                    </a:cubicBezTo>
                    <a:cubicBezTo>
                      <a:pt x="40" y="127"/>
                      <a:pt x="36" y="127"/>
                      <a:pt x="32" y="127"/>
                    </a:cubicBezTo>
                    <a:cubicBezTo>
                      <a:pt x="30" y="127"/>
                      <a:pt x="26" y="128"/>
                      <a:pt x="24" y="129"/>
                    </a:cubicBezTo>
                    <a:cubicBezTo>
                      <a:pt x="23" y="129"/>
                      <a:pt x="23" y="129"/>
                      <a:pt x="22" y="130"/>
                    </a:cubicBezTo>
                    <a:cubicBezTo>
                      <a:pt x="22" y="132"/>
                      <a:pt x="25" y="135"/>
                      <a:pt x="26" y="136"/>
                    </a:cubicBezTo>
                    <a:cubicBezTo>
                      <a:pt x="27" y="138"/>
                      <a:pt x="28" y="139"/>
                      <a:pt x="31" y="139"/>
                    </a:cubicBezTo>
                    <a:cubicBezTo>
                      <a:pt x="34" y="140"/>
                      <a:pt x="36" y="140"/>
                      <a:pt x="38" y="141"/>
                    </a:cubicBezTo>
                    <a:cubicBezTo>
                      <a:pt x="41" y="142"/>
                      <a:pt x="42" y="142"/>
                      <a:pt x="42" y="145"/>
                    </a:cubicBezTo>
                    <a:cubicBezTo>
                      <a:pt x="42" y="146"/>
                      <a:pt x="42" y="147"/>
                      <a:pt x="42" y="148"/>
                    </a:cubicBezTo>
                    <a:cubicBezTo>
                      <a:pt x="43" y="148"/>
                      <a:pt x="45" y="146"/>
                      <a:pt x="45" y="146"/>
                    </a:cubicBezTo>
                    <a:cubicBezTo>
                      <a:pt x="46" y="145"/>
                      <a:pt x="46" y="142"/>
                      <a:pt x="47" y="141"/>
                    </a:cubicBezTo>
                    <a:cubicBezTo>
                      <a:pt x="48" y="140"/>
                      <a:pt x="51" y="139"/>
                      <a:pt x="53" y="138"/>
                    </a:cubicBezTo>
                    <a:cubicBezTo>
                      <a:pt x="56" y="137"/>
                      <a:pt x="60" y="135"/>
                      <a:pt x="63" y="133"/>
                    </a:cubicBezTo>
                    <a:cubicBezTo>
                      <a:pt x="66" y="132"/>
                      <a:pt x="69" y="130"/>
                      <a:pt x="73" y="129"/>
                    </a:cubicBezTo>
                    <a:cubicBezTo>
                      <a:pt x="74" y="129"/>
                      <a:pt x="76" y="129"/>
                      <a:pt x="77" y="128"/>
                    </a:cubicBezTo>
                    <a:cubicBezTo>
                      <a:pt x="77" y="128"/>
                      <a:pt x="78" y="126"/>
                      <a:pt x="78" y="125"/>
                    </a:cubicBezTo>
                    <a:cubicBezTo>
                      <a:pt x="79" y="124"/>
                      <a:pt x="80" y="122"/>
                      <a:pt x="82" y="123"/>
                    </a:cubicBezTo>
                    <a:cubicBezTo>
                      <a:pt x="84" y="124"/>
                      <a:pt x="82" y="126"/>
                      <a:pt x="81" y="128"/>
                    </a:cubicBezTo>
                    <a:cubicBezTo>
                      <a:pt x="81" y="129"/>
                      <a:pt x="81" y="132"/>
                      <a:pt x="82" y="133"/>
                    </a:cubicBezTo>
                    <a:cubicBezTo>
                      <a:pt x="83" y="134"/>
                      <a:pt x="85" y="133"/>
                      <a:pt x="86" y="134"/>
                    </a:cubicBezTo>
                    <a:cubicBezTo>
                      <a:pt x="86" y="136"/>
                      <a:pt x="86" y="138"/>
                      <a:pt x="85" y="139"/>
                    </a:cubicBezTo>
                    <a:cubicBezTo>
                      <a:pt x="84" y="141"/>
                      <a:pt x="82" y="141"/>
                      <a:pt x="81" y="143"/>
                    </a:cubicBezTo>
                    <a:cubicBezTo>
                      <a:pt x="81" y="144"/>
                      <a:pt x="82" y="152"/>
                      <a:pt x="84" y="152"/>
                    </a:cubicBezTo>
                    <a:cubicBezTo>
                      <a:pt x="85" y="152"/>
                      <a:pt x="87" y="150"/>
                      <a:pt x="88" y="150"/>
                    </a:cubicBezTo>
                    <a:cubicBezTo>
                      <a:pt x="90" y="149"/>
                      <a:pt x="91" y="150"/>
                      <a:pt x="93" y="148"/>
                    </a:cubicBezTo>
                    <a:cubicBezTo>
                      <a:pt x="94" y="146"/>
                      <a:pt x="94" y="140"/>
                      <a:pt x="98" y="144"/>
                    </a:cubicBezTo>
                    <a:cubicBezTo>
                      <a:pt x="99" y="145"/>
                      <a:pt x="99" y="147"/>
                      <a:pt x="101" y="148"/>
                    </a:cubicBezTo>
                    <a:cubicBezTo>
                      <a:pt x="103" y="149"/>
                      <a:pt x="104" y="147"/>
                      <a:pt x="105" y="146"/>
                    </a:cubicBezTo>
                    <a:cubicBezTo>
                      <a:pt x="107" y="145"/>
                      <a:pt x="110" y="146"/>
                      <a:pt x="112" y="147"/>
                    </a:cubicBezTo>
                    <a:cubicBezTo>
                      <a:pt x="112" y="147"/>
                      <a:pt x="112" y="149"/>
                      <a:pt x="112" y="150"/>
                    </a:cubicBezTo>
                    <a:cubicBezTo>
                      <a:pt x="114" y="151"/>
                      <a:pt x="114" y="149"/>
                      <a:pt x="115" y="149"/>
                    </a:cubicBezTo>
                    <a:cubicBezTo>
                      <a:pt x="117" y="150"/>
                      <a:pt x="119" y="152"/>
                      <a:pt x="122" y="151"/>
                    </a:cubicBezTo>
                    <a:cubicBezTo>
                      <a:pt x="122" y="145"/>
                      <a:pt x="130" y="150"/>
                      <a:pt x="134" y="148"/>
                    </a:cubicBezTo>
                    <a:cubicBezTo>
                      <a:pt x="137" y="147"/>
                      <a:pt x="137" y="146"/>
                      <a:pt x="139" y="144"/>
                    </a:cubicBezTo>
                    <a:cubicBezTo>
                      <a:pt x="140" y="143"/>
                      <a:pt x="141" y="142"/>
                      <a:pt x="142" y="141"/>
                    </a:cubicBezTo>
                    <a:cubicBezTo>
                      <a:pt x="143" y="140"/>
                      <a:pt x="142" y="139"/>
                      <a:pt x="143" y="138"/>
                    </a:cubicBezTo>
                    <a:cubicBezTo>
                      <a:pt x="144" y="138"/>
                      <a:pt x="144" y="139"/>
                      <a:pt x="145" y="139"/>
                    </a:cubicBezTo>
                    <a:cubicBezTo>
                      <a:pt x="145" y="137"/>
                      <a:pt x="153" y="138"/>
                      <a:pt x="155" y="138"/>
                    </a:cubicBezTo>
                    <a:cubicBezTo>
                      <a:pt x="157" y="138"/>
                      <a:pt x="159" y="136"/>
                      <a:pt x="160" y="136"/>
                    </a:cubicBezTo>
                    <a:cubicBezTo>
                      <a:pt x="162" y="136"/>
                      <a:pt x="160" y="137"/>
                      <a:pt x="161" y="139"/>
                    </a:cubicBezTo>
                    <a:cubicBezTo>
                      <a:pt x="163" y="141"/>
                      <a:pt x="167" y="140"/>
                      <a:pt x="169" y="140"/>
                    </a:cubicBezTo>
                    <a:cubicBezTo>
                      <a:pt x="172" y="140"/>
                      <a:pt x="174" y="139"/>
                      <a:pt x="177" y="139"/>
                    </a:cubicBezTo>
                    <a:cubicBezTo>
                      <a:pt x="175" y="145"/>
                      <a:pt x="175" y="145"/>
                      <a:pt x="175" y="145"/>
                    </a:cubicBezTo>
                    <a:cubicBezTo>
                      <a:pt x="176" y="147"/>
                      <a:pt x="173" y="149"/>
                      <a:pt x="172" y="151"/>
                    </a:cubicBezTo>
                    <a:cubicBezTo>
                      <a:pt x="171" y="152"/>
                      <a:pt x="171" y="154"/>
                      <a:pt x="172" y="156"/>
                    </a:cubicBezTo>
                    <a:cubicBezTo>
                      <a:pt x="173" y="157"/>
                      <a:pt x="174" y="160"/>
                      <a:pt x="175" y="160"/>
                    </a:cubicBezTo>
                    <a:cubicBezTo>
                      <a:pt x="177" y="161"/>
                      <a:pt x="176" y="160"/>
                      <a:pt x="177" y="160"/>
                    </a:cubicBezTo>
                    <a:cubicBezTo>
                      <a:pt x="179" y="160"/>
                      <a:pt x="181" y="160"/>
                      <a:pt x="183" y="161"/>
                    </a:cubicBezTo>
                    <a:cubicBezTo>
                      <a:pt x="186" y="162"/>
                      <a:pt x="189" y="164"/>
                      <a:pt x="192" y="165"/>
                    </a:cubicBezTo>
                    <a:cubicBezTo>
                      <a:pt x="194" y="166"/>
                      <a:pt x="195" y="166"/>
                      <a:pt x="194" y="168"/>
                    </a:cubicBezTo>
                    <a:cubicBezTo>
                      <a:pt x="194" y="172"/>
                      <a:pt x="191" y="175"/>
                      <a:pt x="188" y="178"/>
                    </a:cubicBezTo>
                    <a:cubicBezTo>
                      <a:pt x="186" y="180"/>
                      <a:pt x="186" y="182"/>
                      <a:pt x="184" y="184"/>
                    </a:cubicBezTo>
                    <a:cubicBezTo>
                      <a:pt x="183" y="186"/>
                      <a:pt x="182" y="186"/>
                      <a:pt x="180" y="187"/>
                    </a:cubicBezTo>
                    <a:cubicBezTo>
                      <a:pt x="178" y="188"/>
                      <a:pt x="177" y="188"/>
                      <a:pt x="176" y="189"/>
                    </a:cubicBezTo>
                    <a:cubicBezTo>
                      <a:pt x="174" y="191"/>
                      <a:pt x="172" y="192"/>
                      <a:pt x="170" y="194"/>
                    </a:cubicBezTo>
                    <a:cubicBezTo>
                      <a:pt x="169" y="194"/>
                      <a:pt x="168" y="196"/>
                      <a:pt x="166" y="197"/>
                    </a:cubicBezTo>
                    <a:cubicBezTo>
                      <a:pt x="165" y="198"/>
                      <a:pt x="164" y="200"/>
                      <a:pt x="163" y="201"/>
                    </a:cubicBezTo>
                    <a:cubicBezTo>
                      <a:pt x="161" y="203"/>
                      <a:pt x="158" y="204"/>
                      <a:pt x="155" y="204"/>
                    </a:cubicBezTo>
                    <a:cubicBezTo>
                      <a:pt x="152" y="205"/>
                      <a:pt x="151" y="204"/>
                      <a:pt x="149" y="207"/>
                    </a:cubicBezTo>
                    <a:cubicBezTo>
                      <a:pt x="147" y="210"/>
                      <a:pt x="144" y="214"/>
                      <a:pt x="144" y="218"/>
                    </a:cubicBezTo>
                    <a:cubicBezTo>
                      <a:pt x="141" y="219"/>
                      <a:pt x="139" y="220"/>
                      <a:pt x="141" y="223"/>
                    </a:cubicBezTo>
                    <a:cubicBezTo>
                      <a:pt x="141" y="223"/>
                      <a:pt x="143" y="224"/>
                      <a:pt x="144" y="224"/>
                    </a:cubicBezTo>
                    <a:cubicBezTo>
                      <a:pt x="144" y="225"/>
                      <a:pt x="144" y="226"/>
                      <a:pt x="144" y="227"/>
                    </a:cubicBezTo>
                    <a:cubicBezTo>
                      <a:pt x="144" y="229"/>
                      <a:pt x="144" y="232"/>
                      <a:pt x="144" y="235"/>
                    </a:cubicBezTo>
                    <a:cubicBezTo>
                      <a:pt x="144" y="241"/>
                      <a:pt x="146" y="247"/>
                      <a:pt x="145" y="253"/>
                    </a:cubicBezTo>
                    <a:cubicBezTo>
                      <a:pt x="145" y="256"/>
                      <a:pt x="144" y="259"/>
                      <a:pt x="144" y="262"/>
                    </a:cubicBezTo>
                    <a:cubicBezTo>
                      <a:pt x="144" y="265"/>
                      <a:pt x="145" y="271"/>
                      <a:pt x="144" y="274"/>
                    </a:cubicBezTo>
                    <a:cubicBezTo>
                      <a:pt x="143" y="276"/>
                      <a:pt x="141" y="277"/>
                      <a:pt x="139" y="278"/>
                    </a:cubicBezTo>
                    <a:cubicBezTo>
                      <a:pt x="137" y="279"/>
                      <a:pt x="136" y="281"/>
                      <a:pt x="134" y="281"/>
                    </a:cubicBezTo>
                    <a:cubicBezTo>
                      <a:pt x="135" y="286"/>
                      <a:pt x="140" y="288"/>
                      <a:pt x="141" y="293"/>
                    </a:cubicBezTo>
                    <a:cubicBezTo>
                      <a:pt x="141" y="296"/>
                      <a:pt x="139" y="299"/>
                      <a:pt x="137" y="302"/>
                    </a:cubicBezTo>
                    <a:cubicBezTo>
                      <a:pt x="136" y="302"/>
                      <a:pt x="133" y="305"/>
                      <a:pt x="133" y="306"/>
                    </a:cubicBezTo>
                    <a:cubicBezTo>
                      <a:pt x="132" y="308"/>
                      <a:pt x="133" y="311"/>
                      <a:pt x="133" y="313"/>
                    </a:cubicBezTo>
                    <a:cubicBezTo>
                      <a:pt x="132" y="319"/>
                      <a:pt x="122" y="318"/>
                      <a:pt x="117" y="318"/>
                    </a:cubicBezTo>
                    <a:cubicBezTo>
                      <a:pt x="115" y="318"/>
                      <a:pt x="110" y="317"/>
                      <a:pt x="110" y="319"/>
                    </a:cubicBezTo>
                    <a:cubicBezTo>
                      <a:pt x="109" y="321"/>
                      <a:pt x="111" y="323"/>
                      <a:pt x="112" y="324"/>
                    </a:cubicBezTo>
                    <a:cubicBezTo>
                      <a:pt x="113" y="325"/>
                      <a:pt x="114" y="328"/>
                      <a:pt x="115" y="328"/>
                    </a:cubicBezTo>
                    <a:cubicBezTo>
                      <a:pt x="115" y="329"/>
                      <a:pt x="116" y="330"/>
                      <a:pt x="117" y="329"/>
                    </a:cubicBezTo>
                    <a:cubicBezTo>
                      <a:pt x="117" y="329"/>
                      <a:pt x="118" y="329"/>
                      <a:pt x="118" y="329"/>
                    </a:cubicBezTo>
                    <a:cubicBezTo>
                      <a:pt x="118" y="330"/>
                      <a:pt x="119" y="331"/>
                      <a:pt x="119" y="331"/>
                    </a:cubicBezTo>
                    <a:cubicBezTo>
                      <a:pt x="120" y="335"/>
                      <a:pt x="119" y="341"/>
                      <a:pt x="119" y="345"/>
                    </a:cubicBezTo>
                    <a:cubicBezTo>
                      <a:pt x="120" y="344"/>
                      <a:pt x="122" y="345"/>
                      <a:pt x="123" y="346"/>
                    </a:cubicBezTo>
                    <a:cubicBezTo>
                      <a:pt x="124" y="348"/>
                      <a:pt x="123" y="349"/>
                      <a:pt x="123" y="351"/>
                    </a:cubicBezTo>
                    <a:cubicBezTo>
                      <a:pt x="124" y="353"/>
                      <a:pt x="126" y="353"/>
                      <a:pt x="127" y="353"/>
                    </a:cubicBezTo>
                    <a:cubicBezTo>
                      <a:pt x="129" y="354"/>
                      <a:pt x="130" y="354"/>
                      <a:pt x="131" y="355"/>
                    </a:cubicBezTo>
                    <a:cubicBezTo>
                      <a:pt x="132" y="355"/>
                      <a:pt x="133" y="356"/>
                      <a:pt x="133" y="356"/>
                    </a:cubicBezTo>
                    <a:cubicBezTo>
                      <a:pt x="134" y="357"/>
                      <a:pt x="134" y="358"/>
                      <a:pt x="134" y="359"/>
                    </a:cubicBezTo>
                    <a:cubicBezTo>
                      <a:pt x="136" y="363"/>
                      <a:pt x="138" y="370"/>
                      <a:pt x="134" y="374"/>
                    </a:cubicBezTo>
                    <a:cubicBezTo>
                      <a:pt x="132" y="375"/>
                      <a:pt x="130" y="375"/>
                      <a:pt x="128" y="376"/>
                    </a:cubicBezTo>
                    <a:cubicBezTo>
                      <a:pt x="125" y="378"/>
                      <a:pt x="124" y="379"/>
                      <a:pt x="123" y="383"/>
                    </a:cubicBezTo>
                    <a:cubicBezTo>
                      <a:pt x="122" y="386"/>
                      <a:pt x="119" y="389"/>
                      <a:pt x="118" y="393"/>
                    </a:cubicBezTo>
                    <a:cubicBezTo>
                      <a:pt x="118" y="397"/>
                      <a:pt x="120" y="401"/>
                      <a:pt x="122" y="405"/>
                    </a:cubicBezTo>
                    <a:cubicBezTo>
                      <a:pt x="122" y="405"/>
                      <a:pt x="123" y="406"/>
                      <a:pt x="123" y="406"/>
                    </a:cubicBezTo>
                    <a:cubicBezTo>
                      <a:pt x="123" y="407"/>
                      <a:pt x="123" y="408"/>
                      <a:pt x="124" y="409"/>
                    </a:cubicBezTo>
                    <a:cubicBezTo>
                      <a:pt x="124" y="410"/>
                      <a:pt x="125" y="411"/>
                      <a:pt x="125" y="412"/>
                    </a:cubicBezTo>
                    <a:cubicBezTo>
                      <a:pt x="126" y="413"/>
                      <a:pt x="128" y="415"/>
                      <a:pt x="128" y="417"/>
                    </a:cubicBezTo>
                    <a:cubicBezTo>
                      <a:pt x="129" y="419"/>
                      <a:pt x="128" y="420"/>
                      <a:pt x="130" y="421"/>
                    </a:cubicBezTo>
                    <a:cubicBezTo>
                      <a:pt x="132" y="422"/>
                      <a:pt x="134" y="421"/>
                      <a:pt x="135" y="420"/>
                    </a:cubicBezTo>
                    <a:cubicBezTo>
                      <a:pt x="137" y="421"/>
                      <a:pt x="136" y="424"/>
                      <a:pt x="136" y="426"/>
                    </a:cubicBezTo>
                    <a:cubicBezTo>
                      <a:pt x="136" y="429"/>
                      <a:pt x="134" y="430"/>
                      <a:pt x="131" y="431"/>
                    </a:cubicBezTo>
                    <a:cubicBezTo>
                      <a:pt x="130" y="431"/>
                      <a:pt x="130" y="431"/>
                      <a:pt x="129" y="431"/>
                    </a:cubicBezTo>
                    <a:cubicBezTo>
                      <a:pt x="129" y="432"/>
                      <a:pt x="128" y="433"/>
                      <a:pt x="128" y="433"/>
                    </a:cubicBezTo>
                    <a:cubicBezTo>
                      <a:pt x="127" y="434"/>
                      <a:pt x="125" y="434"/>
                      <a:pt x="124" y="434"/>
                    </a:cubicBezTo>
                    <a:cubicBezTo>
                      <a:pt x="121" y="435"/>
                      <a:pt x="118" y="433"/>
                      <a:pt x="118" y="437"/>
                    </a:cubicBezTo>
                    <a:cubicBezTo>
                      <a:pt x="118" y="438"/>
                      <a:pt x="119" y="439"/>
                      <a:pt x="118" y="440"/>
                    </a:cubicBezTo>
                    <a:cubicBezTo>
                      <a:pt x="118" y="441"/>
                      <a:pt x="117" y="442"/>
                      <a:pt x="117" y="443"/>
                    </a:cubicBezTo>
                    <a:cubicBezTo>
                      <a:pt x="117" y="443"/>
                      <a:pt x="117" y="443"/>
                      <a:pt x="116" y="444"/>
                    </a:cubicBezTo>
                    <a:cubicBezTo>
                      <a:pt x="116" y="445"/>
                      <a:pt x="115" y="446"/>
                      <a:pt x="114" y="447"/>
                    </a:cubicBezTo>
                    <a:cubicBezTo>
                      <a:pt x="113" y="448"/>
                      <a:pt x="112" y="450"/>
                      <a:pt x="111" y="451"/>
                    </a:cubicBezTo>
                    <a:cubicBezTo>
                      <a:pt x="111" y="452"/>
                      <a:pt x="110" y="453"/>
                      <a:pt x="110" y="453"/>
                    </a:cubicBezTo>
                    <a:cubicBezTo>
                      <a:pt x="108" y="456"/>
                      <a:pt x="106" y="460"/>
                      <a:pt x="106" y="463"/>
                    </a:cubicBezTo>
                    <a:cubicBezTo>
                      <a:pt x="106" y="465"/>
                      <a:pt x="107" y="466"/>
                      <a:pt x="107" y="467"/>
                    </a:cubicBezTo>
                    <a:cubicBezTo>
                      <a:pt x="107" y="468"/>
                      <a:pt x="107" y="470"/>
                      <a:pt x="108" y="471"/>
                    </a:cubicBezTo>
                    <a:cubicBezTo>
                      <a:pt x="108" y="472"/>
                      <a:pt x="108" y="472"/>
                      <a:pt x="108" y="473"/>
                    </a:cubicBezTo>
                    <a:cubicBezTo>
                      <a:pt x="109" y="473"/>
                      <a:pt x="109" y="473"/>
                      <a:pt x="109" y="473"/>
                    </a:cubicBezTo>
                    <a:cubicBezTo>
                      <a:pt x="109" y="475"/>
                      <a:pt x="109" y="477"/>
                      <a:pt x="109" y="478"/>
                    </a:cubicBezTo>
                    <a:cubicBezTo>
                      <a:pt x="109" y="482"/>
                      <a:pt x="109" y="485"/>
                      <a:pt x="108" y="489"/>
                    </a:cubicBezTo>
                    <a:cubicBezTo>
                      <a:pt x="108" y="491"/>
                      <a:pt x="108" y="493"/>
                      <a:pt x="108" y="495"/>
                    </a:cubicBezTo>
                    <a:cubicBezTo>
                      <a:pt x="109" y="495"/>
                      <a:pt x="111" y="494"/>
                      <a:pt x="113" y="493"/>
                    </a:cubicBezTo>
                    <a:cubicBezTo>
                      <a:pt x="118" y="490"/>
                      <a:pt x="124" y="492"/>
                      <a:pt x="130" y="492"/>
                    </a:cubicBezTo>
                    <a:cubicBezTo>
                      <a:pt x="137" y="491"/>
                      <a:pt x="145" y="493"/>
                      <a:pt x="150" y="497"/>
                    </a:cubicBezTo>
                    <a:cubicBezTo>
                      <a:pt x="153" y="499"/>
                      <a:pt x="154" y="501"/>
                      <a:pt x="157" y="503"/>
                    </a:cubicBezTo>
                    <a:cubicBezTo>
                      <a:pt x="158" y="504"/>
                      <a:pt x="159" y="504"/>
                      <a:pt x="159" y="506"/>
                    </a:cubicBezTo>
                    <a:cubicBezTo>
                      <a:pt x="161" y="510"/>
                      <a:pt x="162" y="512"/>
                      <a:pt x="163" y="516"/>
                    </a:cubicBezTo>
                    <a:cubicBezTo>
                      <a:pt x="164" y="519"/>
                      <a:pt x="165" y="523"/>
                      <a:pt x="165" y="526"/>
                    </a:cubicBezTo>
                    <a:cubicBezTo>
                      <a:pt x="165" y="530"/>
                      <a:pt x="165" y="531"/>
                      <a:pt x="169" y="533"/>
                    </a:cubicBezTo>
                    <a:cubicBezTo>
                      <a:pt x="173" y="535"/>
                      <a:pt x="175" y="534"/>
                      <a:pt x="176" y="538"/>
                    </a:cubicBezTo>
                    <a:cubicBezTo>
                      <a:pt x="177" y="541"/>
                      <a:pt x="176" y="540"/>
                      <a:pt x="178" y="542"/>
                    </a:cubicBezTo>
                    <a:cubicBezTo>
                      <a:pt x="179" y="544"/>
                      <a:pt x="181" y="546"/>
                      <a:pt x="182" y="548"/>
                    </a:cubicBezTo>
                    <a:cubicBezTo>
                      <a:pt x="184" y="552"/>
                      <a:pt x="186" y="555"/>
                      <a:pt x="190" y="557"/>
                    </a:cubicBezTo>
                    <a:cubicBezTo>
                      <a:pt x="196" y="560"/>
                      <a:pt x="202" y="559"/>
                      <a:pt x="205" y="564"/>
                    </a:cubicBezTo>
                    <a:cubicBezTo>
                      <a:pt x="208" y="567"/>
                      <a:pt x="208" y="568"/>
                      <a:pt x="212" y="568"/>
                    </a:cubicBezTo>
                    <a:cubicBezTo>
                      <a:pt x="216" y="568"/>
                      <a:pt x="219" y="569"/>
                      <a:pt x="221" y="566"/>
                    </a:cubicBezTo>
                    <a:cubicBezTo>
                      <a:pt x="222" y="564"/>
                      <a:pt x="222" y="563"/>
                      <a:pt x="224" y="562"/>
                    </a:cubicBezTo>
                    <a:cubicBezTo>
                      <a:pt x="225" y="561"/>
                      <a:pt x="226" y="560"/>
                      <a:pt x="227" y="559"/>
                    </a:cubicBezTo>
                    <a:cubicBezTo>
                      <a:pt x="229" y="557"/>
                      <a:pt x="230" y="554"/>
                      <a:pt x="232" y="552"/>
                    </a:cubicBezTo>
                    <a:cubicBezTo>
                      <a:pt x="236" y="548"/>
                      <a:pt x="242" y="546"/>
                      <a:pt x="247" y="543"/>
                    </a:cubicBezTo>
                    <a:cubicBezTo>
                      <a:pt x="249" y="542"/>
                      <a:pt x="250" y="541"/>
                      <a:pt x="252" y="540"/>
                    </a:cubicBezTo>
                    <a:cubicBezTo>
                      <a:pt x="256" y="538"/>
                      <a:pt x="260" y="536"/>
                      <a:pt x="263" y="534"/>
                    </a:cubicBezTo>
                    <a:cubicBezTo>
                      <a:pt x="265" y="532"/>
                      <a:pt x="266" y="531"/>
                      <a:pt x="268" y="530"/>
                    </a:cubicBezTo>
                    <a:cubicBezTo>
                      <a:pt x="272" y="529"/>
                      <a:pt x="275" y="527"/>
                      <a:pt x="279" y="526"/>
                    </a:cubicBezTo>
                    <a:cubicBezTo>
                      <a:pt x="282" y="525"/>
                      <a:pt x="285" y="525"/>
                      <a:pt x="288" y="524"/>
                    </a:cubicBezTo>
                    <a:cubicBezTo>
                      <a:pt x="290" y="523"/>
                      <a:pt x="292" y="522"/>
                      <a:pt x="295" y="522"/>
                    </a:cubicBezTo>
                    <a:cubicBezTo>
                      <a:pt x="298" y="521"/>
                      <a:pt x="302" y="522"/>
                      <a:pt x="305" y="522"/>
                    </a:cubicBezTo>
                    <a:cubicBezTo>
                      <a:pt x="313" y="522"/>
                      <a:pt x="322" y="523"/>
                      <a:pt x="330" y="522"/>
                    </a:cubicBezTo>
                    <a:cubicBezTo>
                      <a:pt x="333" y="521"/>
                      <a:pt x="336" y="521"/>
                      <a:pt x="339" y="521"/>
                    </a:cubicBezTo>
                    <a:cubicBezTo>
                      <a:pt x="341" y="521"/>
                      <a:pt x="348" y="522"/>
                      <a:pt x="351" y="521"/>
                    </a:cubicBezTo>
                    <a:cubicBezTo>
                      <a:pt x="352" y="523"/>
                      <a:pt x="356" y="522"/>
                      <a:pt x="359" y="522"/>
                    </a:cubicBezTo>
                    <a:cubicBezTo>
                      <a:pt x="362" y="522"/>
                      <a:pt x="363" y="523"/>
                      <a:pt x="366" y="524"/>
                    </a:cubicBezTo>
                    <a:cubicBezTo>
                      <a:pt x="367" y="524"/>
                      <a:pt x="368" y="524"/>
                      <a:pt x="369" y="524"/>
                    </a:cubicBezTo>
                    <a:cubicBezTo>
                      <a:pt x="369" y="524"/>
                      <a:pt x="369" y="525"/>
                      <a:pt x="370" y="526"/>
                    </a:cubicBezTo>
                    <a:cubicBezTo>
                      <a:pt x="372" y="526"/>
                      <a:pt x="373" y="525"/>
                      <a:pt x="374" y="523"/>
                    </a:cubicBezTo>
                    <a:cubicBezTo>
                      <a:pt x="376" y="520"/>
                      <a:pt x="373" y="518"/>
                      <a:pt x="378" y="517"/>
                    </a:cubicBezTo>
                    <a:cubicBezTo>
                      <a:pt x="381" y="516"/>
                      <a:pt x="385" y="516"/>
                      <a:pt x="389" y="517"/>
                    </a:cubicBezTo>
                    <a:cubicBezTo>
                      <a:pt x="392" y="517"/>
                      <a:pt x="396" y="518"/>
                      <a:pt x="399" y="517"/>
                    </a:cubicBezTo>
                    <a:cubicBezTo>
                      <a:pt x="401" y="517"/>
                      <a:pt x="405" y="517"/>
                      <a:pt x="406" y="516"/>
                    </a:cubicBezTo>
                    <a:cubicBezTo>
                      <a:pt x="409" y="513"/>
                      <a:pt x="410" y="508"/>
                      <a:pt x="411" y="505"/>
                    </a:cubicBezTo>
                    <a:cubicBezTo>
                      <a:pt x="413" y="499"/>
                      <a:pt x="415" y="494"/>
                      <a:pt x="416" y="488"/>
                    </a:cubicBezTo>
                    <a:cubicBezTo>
                      <a:pt x="416" y="484"/>
                      <a:pt x="418" y="481"/>
                      <a:pt x="421" y="479"/>
                    </a:cubicBezTo>
                    <a:cubicBezTo>
                      <a:pt x="423" y="477"/>
                      <a:pt x="424" y="477"/>
                      <a:pt x="426" y="477"/>
                    </a:cubicBezTo>
                    <a:cubicBezTo>
                      <a:pt x="428" y="477"/>
                      <a:pt x="432" y="477"/>
                      <a:pt x="433" y="476"/>
                    </a:cubicBezTo>
                    <a:cubicBezTo>
                      <a:pt x="434" y="476"/>
                      <a:pt x="437" y="473"/>
                      <a:pt x="437" y="473"/>
                    </a:cubicBezTo>
                    <a:cubicBezTo>
                      <a:pt x="438" y="471"/>
                      <a:pt x="436" y="467"/>
                      <a:pt x="438" y="466"/>
                    </a:cubicBezTo>
                    <a:cubicBezTo>
                      <a:pt x="440" y="463"/>
                      <a:pt x="447" y="463"/>
                      <a:pt x="451" y="463"/>
                    </a:cubicBezTo>
                    <a:cubicBezTo>
                      <a:pt x="453" y="462"/>
                      <a:pt x="455" y="462"/>
                      <a:pt x="458" y="462"/>
                    </a:cubicBezTo>
                    <a:cubicBezTo>
                      <a:pt x="461" y="462"/>
                      <a:pt x="464" y="461"/>
                      <a:pt x="467" y="460"/>
                    </a:cubicBezTo>
                    <a:cubicBezTo>
                      <a:pt x="470" y="458"/>
                      <a:pt x="474" y="457"/>
                      <a:pt x="476" y="455"/>
                    </a:cubicBezTo>
                    <a:cubicBezTo>
                      <a:pt x="479" y="453"/>
                      <a:pt x="477" y="453"/>
                      <a:pt x="475" y="452"/>
                    </a:cubicBezTo>
                    <a:cubicBezTo>
                      <a:pt x="474" y="451"/>
                      <a:pt x="472" y="449"/>
                      <a:pt x="472" y="448"/>
                    </a:cubicBezTo>
                    <a:cubicBezTo>
                      <a:pt x="471" y="446"/>
                      <a:pt x="471" y="446"/>
                      <a:pt x="471" y="445"/>
                    </a:cubicBezTo>
                    <a:cubicBezTo>
                      <a:pt x="471" y="444"/>
                      <a:pt x="471" y="443"/>
                      <a:pt x="472" y="442"/>
                    </a:cubicBezTo>
                    <a:cubicBezTo>
                      <a:pt x="472" y="439"/>
                      <a:pt x="472" y="439"/>
                      <a:pt x="475" y="437"/>
                    </a:cubicBezTo>
                    <a:cubicBezTo>
                      <a:pt x="477" y="435"/>
                      <a:pt x="478" y="432"/>
                      <a:pt x="480" y="429"/>
                    </a:cubicBezTo>
                    <a:cubicBezTo>
                      <a:pt x="481" y="427"/>
                      <a:pt x="483" y="426"/>
                      <a:pt x="484" y="424"/>
                    </a:cubicBezTo>
                    <a:cubicBezTo>
                      <a:pt x="486" y="421"/>
                      <a:pt x="487" y="420"/>
                      <a:pt x="487" y="417"/>
                    </a:cubicBezTo>
                    <a:cubicBezTo>
                      <a:pt x="487" y="414"/>
                      <a:pt x="486" y="412"/>
                      <a:pt x="489" y="409"/>
                    </a:cubicBezTo>
                    <a:cubicBezTo>
                      <a:pt x="493" y="407"/>
                      <a:pt x="497" y="404"/>
                      <a:pt x="502" y="403"/>
                    </a:cubicBezTo>
                    <a:cubicBezTo>
                      <a:pt x="506" y="402"/>
                      <a:pt x="511" y="404"/>
                      <a:pt x="515" y="403"/>
                    </a:cubicBezTo>
                    <a:cubicBezTo>
                      <a:pt x="516" y="400"/>
                      <a:pt x="513" y="397"/>
                      <a:pt x="513" y="394"/>
                    </a:cubicBezTo>
                    <a:cubicBezTo>
                      <a:pt x="513" y="389"/>
                      <a:pt x="518" y="390"/>
                      <a:pt x="521" y="387"/>
                    </a:cubicBezTo>
                    <a:cubicBezTo>
                      <a:pt x="525" y="385"/>
                      <a:pt x="524" y="381"/>
                      <a:pt x="522" y="378"/>
                    </a:cubicBezTo>
                    <a:cubicBezTo>
                      <a:pt x="519" y="373"/>
                      <a:pt x="511" y="373"/>
                      <a:pt x="507" y="369"/>
                    </a:cubicBezTo>
                    <a:cubicBezTo>
                      <a:pt x="506" y="368"/>
                      <a:pt x="506" y="367"/>
                      <a:pt x="505" y="366"/>
                    </a:cubicBezTo>
                    <a:cubicBezTo>
                      <a:pt x="503" y="364"/>
                      <a:pt x="500" y="363"/>
                      <a:pt x="499" y="360"/>
                    </a:cubicBezTo>
                    <a:cubicBezTo>
                      <a:pt x="496" y="356"/>
                      <a:pt x="496" y="351"/>
                      <a:pt x="496" y="346"/>
                    </a:cubicBezTo>
                    <a:cubicBezTo>
                      <a:pt x="497" y="344"/>
                      <a:pt x="496" y="342"/>
                      <a:pt x="496" y="341"/>
                    </a:cubicBezTo>
                    <a:cubicBezTo>
                      <a:pt x="494" y="337"/>
                      <a:pt x="494" y="333"/>
                      <a:pt x="493" y="328"/>
                    </a:cubicBezTo>
                    <a:cubicBezTo>
                      <a:pt x="493" y="326"/>
                      <a:pt x="494" y="323"/>
                      <a:pt x="494" y="321"/>
                    </a:cubicBezTo>
                    <a:cubicBezTo>
                      <a:pt x="495" y="318"/>
                      <a:pt x="498" y="311"/>
                      <a:pt x="500" y="309"/>
                    </a:cubicBezTo>
                    <a:cubicBezTo>
                      <a:pt x="500" y="311"/>
                      <a:pt x="501" y="312"/>
                      <a:pt x="500" y="313"/>
                    </a:cubicBezTo>
                    <a:cubicBezTo>
                      <a:pt x="504" y="310"/>
                      <a:pt x="507" y="306"/>
                      <a:pt x="509" y="301"/>
                    </a:cubicBezTo>
                    <a:cubicBezTo>
                      <a:pt x="510" y="298"/>
                      <a:pt x="512" y="293"/>
                      <a:pt x="514" y="290"/>
                    </a:cubicBezTo>
                    <a:cubicBezTo>
                      <a:pt x="518" y="285"/>
                      <a:pt x="524" y="279"/>
                      <a:pt x="529" y="275"/>
                    </a:cubicBezTo>
                    <a:cubicBezTo>
                      <a:pt x="533" y="272"/>
                      <a:pt x="535" y="269"/>
                      <a:pt x="538" y="265"/>
                    </a:cubicBezTo>
                    <a:cubicBezTo>
                      <a:pt x="541" y="262"/>
                      <a:pt x="545" y="259"/>
                      <a:pt x="547" y="255"/>
                    </a:cubicBezTo>
                    <a:cubicBezTo>
                      <a:pt x="551" y="251"/>
                      <a:pt x="555" y="246"/>
                      <a:pt x="557" y="241"/>
                    </a:cubicBezTo>
                    <a:cubicBezTo>
                      <a:pt x="557" y="240"/>
                      <a:pt x="558" y="240"/>
                      <a:pt x="558" y="238"/>
                    </a:cubicBezTo>
                    <a:cubicBezTo>
                      <a:pt x="558" y="236"/>
                      <a:pt x="556" y="237"/>
                      <a:pt x="555" y="235"/>
                    </a:cubicBezTo>
                    <a:cubicBezTo>
                      <a:pt x="555" y="232"/>
                      <a:pt x="561" y="230"/>
                      <a:pt x="563" y="228"/>
                    </a:cubicBezTo>
                    <a:cubicBezTo>
                      <a:pt x="568" y="226"/>
                      <a:pt x="573" y="223"/>
                      <a:pt x="578" y="221"/>
                    </a:cubicBezTo>
                    <a:cubicBezTo>
                      <a:pt x="583" y="218"/>
                      <a:pt x="588" y="215"/>
                      <a:pt x="593" y="213"/>
                    </a:cubicBezTo>
                    <a:cubicBezTo>
                      <a:pt x="598" y="211"/>
                      <a:pt x="602" y="209"/>
                      <a:pt x="606" y="206"/>
                    </a:cubicBezTo>
                    <a:cubicBezTo>
                      <a:pt x="610" y="204"/>
                      <a:pt x="615" y="204"/>
                      <a:pt x="619" y="203"/>
                    </a:cubicBezTo>
                    <a:cubicBezTo>
                      <a:pt x="623" y="202"/>
                      <a:pt x="627" y="200"/>
                      <a:pt x="631" y="200"/>
                    </a:cubicBezTo>
                    <a:cubicBezTo>
                      <a:pt x="635" y="199"/>
                      <a:pt x="638" y="196"/>
                      <a:pt x="639" y="192"/>
                    </a:cubicBezTo>
                    <a:cubicBezTo>
                      <a:pt x="639" y="191"/>
                      <a:pt x="639" y="187"/>
                      <a:pt x="637" y="187"/>
                    </a:cubicBezTo>
                    <a:cubicBezTo>
                      <a:pt x="640" y="187"/>
                      <a:pt x="643" y="187"/>
                      <a:pt x="646" y="187"/>
                    </a:cubicBezTo>
                    <a:cubicBezTo>
                      <a:pt x="647" y="187"/>
                      <a:pt x="649" y="187"/>
                      <a:pt x="650" y="187"/>
                    </a:cubicBezTo>
                    <a:cubicBezTo>
                      <a:pt x="652" y="187"/>
                      <a:pt x="652" y="186"/>
                      <a:pt x="654" y="186"/>
                    </a:cubicBezTo>
                    <a:cubicBezTo>
                      <a:pt x="657" y="185"/>
                      <a:pt x="661" y="184"/>
                      <a:pt x="664" y="183"/>
                    </a:cubicBezTo>
                    <a:cubicBezTo>
                      <a:pt x="666" y="181"/>
                      <a:pt x="670" y="180"/>
                      <a:pt x="671" y="178"/>
                    </a:cubicBezTo>
                    <a:cubicBezTo>
                      <a:pt x="673" y="175"/>
                      <a:pt x="670" y="172"/>
                      <a:pt x="674" y="171"/>
                    </a:cubicBezTo>
                    <a:cubicBezTo>
                      <a:pt x="677" y="170"/>
                      <a:pt x="681" y="172"/>
                      <a:pt x="684" y="172"/>
                    </a:cubicBezTo>
                    <a:cubicBezTo>
                      <a:pt x="688" y="172"/>
                      <a:pt x="692" y="170"/>
                      <a:pt x="696" y="169"/>
                    </a:cubicBezTo>
                    <a:cubicBezTo>
                      <a:pt x="698" y="169"/>
                      <a:pt x="701" y="169"/>
                      <a:pt x="703" y="169"/>
                    </a:cubicBezTo>
                    <a:cubicBezTo>
                      <a:pt x="704" y="166"/>
                      <a:pt x="703" y="164"/>
                      <a:pt x="703" y="161"/>
                    </a:cubicBezTo>
                    <a:cubicBezTo>
                      <a:pt x="703" y="156"/>
                      <a:pt x="710" y="154"/>
                      <a:pt x="715" y="152"/>
                    </a:cubicBezTo>
                    <a:cubicBezTo>
                      <a:pt x="720" y="149"/>
                      <a:pt x="728" y="146"/>
                      <a:pt x="731" y="142"/>
                    </a:cubicBezTo>
                    <a:cubicBezTo>
                      <a:pt x="732" y="139"/>
                      <a:pt x="731" y="136"/>
                      <a:pt x="731" y="134"/>
                    </a:cubicBezTo>
                    <a:cubicBezTo>
                      <a:pt x="730" y="132"/>
                      <a:pt x="730" y="129"/>
                      <a:pt x="729" y="126"/>
                    </a:cubicBezTo>
                    <a:cubicBezTo>
                      <a:pt x="729" y="125"/>
                      <a:pt x="728" y="123"/>
                      <a:pt x="728" y="122"/>
                    </a:cubicBezTo>
                    <a:cubicBezTo>
                      <a:pt x="727" y="120"/>
                      <a:pt x="726" y="120"/>
                      <a:pt x="725" y="119"/>
                    </a:cubicBezTo>
                    <a:cubicBezTo>
                      <a:pt x="722" y="116"/>
                      <a:pt x="727" y="100"/>
                      <a:pt x="731" y="104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78" name="Freeform 94">
                <a:extLst>
                  <a:ext uri="{FF2B5EF4-FFF2-40B4-BE49-F238E27FC236}">
                    <a16:creationId xmlns:a16="http://schemas.microsoft.com/office/drawing/2014/main" id="{5BB15221-CCA1-4471-BD2A-2E6F3D8A83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5050" y="6048375"/>
                <a:ext cx="119063" cy="93663"/>
              </a:xfrm>
              <a:custGeom>
                <a:avLst/>
                <a:gdLst/>
                <a:ahLst/>
                <a:cxnLst>
                  <a:cxn ang="0">
                    <a:pos x="45" y="13"/>
                  </a:cxn>
                  <a:cxn ang="0">
                    <a:pos x="41" y="6"/>
                  </a:cxn>
                  <a:cxn ang="0">
                    <a:pos x="40" y="5"/>
                  </a:cxn>
                  <a:cxn ang="0">
                    <a:pos x="43" y="2"/>
                  </a:cxn>
                  <a:cxn ang="0">
                    <a:pos x="43" y="1"/>
                  </a:cxn>
                  <a:cxn ang="0">
                    <a:pos x="32" y="5"/>
                  </a:cxn>
                  <a:cxn ang="0">
                    <a:pos x="27" y="8"/>
                  </a:cxn>
                  <a:cxn ang="0">
                    <a:pos x="22" y="10"/>
                  </a:cxn>
                  <a:cxn ang="0">
                    <a:pos x="17" y="14"/>
                  </a:cxn>
                  <a:cxn ang="0">
                    <a:pos x="8" y="19"/>
                  </a:cxn>
                  <a:cxn ang="0">
                    <a:pos x="4" y="22"/>
                  </a:cxn>
                  <a:cxn ang="0">
                    <a:pos x="1" y="25"/>
                  </a:cxn>
                  <a:cxn ang="0">
                    <a:pos x="0" y="27"/>
                  </a:cxn>
                  <a:cxn ang="0">
                    <a:pos x="1" y="30"/>
                  </a:cxn>
                  <a:cxn ang="0">
                    <a:pos x="5" y="32"/>
                  </a:cxn>
                  <a:cxn ang="0">
                    <a:pos x="9" y="33"/>
                  </a:cxn>
                  <a:cxn ang="0">
                    <a:pos x="12" y="29"/>
                  </a:cxn>
                  <a:cxn ang="0">
                    <a:pos x="13" y="27"/>
                  </a:cxn>
                  <a:cxn ang="0">
                    <a:pos x="17" y="30"/>
                  </a:cxn>
                  <a:cxn ang="0">
                    <a:pos x="19" y="32"/>
                  </a:cxn>
                  <a:cxn ang="0">
                    <a:pos x="20" y="34"/>
                  </a:cxn>
                  <a:cxn ang="0">
                    <a:pos x="21" y="35"/>
                  </a:cxn>
                  <a:cxn ang="0">
                    <a:pos x="21" y="38"/>
                  </a:cxn>
                  <a:cxn ang="0">
                    <a:pos x="23" y="40"/>
                  </a:cxn>
                  <a:cxn ang="0">
                    <a:pos x="24" y="41"/>
                  </a:cxn>
                  <a:cxn ang="0">
                    <a:pos x="24" y="41"/>
                  </a:cxn>
                  <a:cxn ang="0">
                    <a:pos x="27" y="44"/>
                  </a:cxn>
                  <a:cxn ang="0">
                    <a:pos x="31" y="43"/>
                  </a:cxn>
                  <a:cxn ang="0">
                    <a:pos x="34" y="44"/>
                  </a:cxn>
                  <a:cxn ang="0">
                    <a:pos x="35" y="45"/>
                  </a:cxn>
                  <a:cxn ang="0">
                    <a:pos x="37" y="47"/>
                  </a:cxn>
                  <a:cxn ang="0">
                    <a:pos x="38" y="49"/>
                  </a:cxn>
                  <a:cxn ang="0">
                    <a:pos x="39" y="50"/>
                  </a:cxn>
                  <a:cxn ang="0">
                    <a:pos x="40" y="50"/>
                  </a:cxn>
                  <a:cxn ang="0">
                    <a:pos x="41" y="47"/>
                  </a:cxn>
                  <a:cxn ang="0">
                    <a:pos x="45" y="44"/>
                  </a:cxn>
                  <a:cxn ang="0">
                    <a:pos x="48" y="44"/>
                  </a:cxn>
                  <a:cxn ang="0">
                    <a:pos x="51" y="42"/>
                  </a:cxn>
                  <a:cxn ang="0">
                    <a:pos x="51" y="37"/>
                  </a:cxn>
                  <a:cxn ang="0">
                    <a:pos x="52" y="34"/>
                  </a:cxn>
                  <a:cxn ang="0">
                    <a:pos x="54" y="30"/>
                  </a:cxn>
                  <a:cxn ang="0">
                    <a:pos x="58" y="28"/>
                  </a:cxn>
                  <a:cxn ang="0">
                    <a:pos x="60" y="24"/>
                  </a:cxn>
                  <a:cxn ang="0">
                    <a:pos x="62" y="18"/>
                  </a:cxn>
                  <a:cxn ang="0">
                    <a:pos x="53" y="14"/>
                  </a:cxn>
                  <a:cxn ang="0">
                    <a:pos x="52" y="15"/>
                  </a:cxn>
                  <a:cxn ang="0">
                    <a:pos x="50" y="16"/>
                  </a:cxn>
                  <a:cxn ang="0">
                    <a:pos x="49" y="17"/>
                  </a:cxn>
                  <a:cxn ang="0">
                    <a:pos x="47" y="15"/>
                  </a:cxn>
                  <a:cxn ang="0">
                    <a:pos x="46" y="13"/>
                  </a:cxn>
                  <a:cxn ang="0">
                    <a:pos x="45" y="13"/>
                  </a:cxn>
                </a:cxnLst>
                <a:rect l="0" t="0" r="r" b="b"/>
                <a:pathLst>
                  <a:path w="63" h="50">
                    <a:moveTo>
                      <a:pt x="45" y="13"/>
                    </a:moveTo>
                    <a:cubicBezTo>
                      <a:pt x="45" y="11"/>
                      <a:pt x="45" y="6"/>
                      <a:pt x="41" y="6"/>
                    </a:cubicBezTo>
                    <a:cubicBezTo>
                      <a:pt x="41" y="6"/>
                      <a:pt x="40" y="6"/>
                      <a:pt x="40" y="5"/>
                    </a:cubicBezTo>
                    <a:cubicBezTo>
                      <a:pt x="41" y="3"/>
                      <a:pt x="42" y="3"/>
                      <a:pt x="43" y="2"/>
                    </a:cubicBezTo>
                    <a:cubicBezTo>
                      <a:pt x="43" y="2"/>
                      <a:pt x="44" y="2"/>
                      <a:pt x="43" y="1"/>
                    </a:cubicBezTo>
                    <a:cubicBezTo>
                      <a:pt x="39" y="0"/>
                      <a:pt x="36" y="2"/>
                      <a:pt x="32" y="5"/>
                    </a:cubicBezTo>
                    <a:cubicBezTo>
                      <a:pt x="31" y="6"/>
                      <a:pt x="29" y="7"/>
                      <a:pt x="27" y="8"/>
                    </a:cubicBezTo>
                    <a:cubicBezTo>
                      <a:pt x="25" y="9"/>
                      <a:pt x="23" y="9"/>
                      <a:pt x="22" y="10"/>
                    </a:cubicBezTo>
                    <a:cubicBezTo>
                      <a:pt x="20" y="11"/>
                      <a:pt x="19" y="13"/>
                      <a:pt x="17" y="14"/>
                    </a:cubicBezTo>
                    <a:cubicBezTo>
                      <a:pt x="14" y="15"/>
                      <a:pt x="11" y="17"/>
                      <a:pt x="8" y="19"/>
                    </a:cubicBezTo>
                    <a:cubicBezTo>
                      <a:pt x="6" y="20"/>
                      <a:pt x="5" y="20"/>
                      <a:pt x="4" y="22"/>
                    </a:cubicBezTo>
                    <a:cubicBezTo>
                      <a:pt x="3" y="23"/>
                      <a:pt x="2" y="23"/>
                      <a:pt x="1" y="25"/>
                    </a:cubicBezTo>
                    <a:cubicBezTo>
                      <a:pt x="1" y="26"/>
                      <a:pt x="0" y="26"/>
                      <a:pt x="0" y="27"/>
                    </a:cubicBezTo>
                    <a:cubicBezTo>
                      <a:pt x="0" y="28"/>
                      <a:pt x="1" y="29"/>
                      <a:pt x="1" y="30"/>
                    </a:cubicBezTo>
                    <a:cubicBezTo>
                      <a:pt x="2" y="31"/>
                      <a:pt x="3" y="31"/>
                      <a:pt x="5" y="32"/>
                    </a:cubicBezTo>
                    <a:cubicBezTo>
                      <a:pt x="6" y="32"/>
                      <a:pt x="7" y="34"/>
                      <a:pt x="9" y="33"/>
                    </a:cubicBezTo>
                    <a:cubicBezTo>
                      <a:pt x="10" y="32"/>
                      <a:pt x="11" y="31"/>
                      <a:pt x="12" y="29"/>
                    </a:cubicBezTo>
                    <a:cubicBezTo>
                      <a:pt x="12" y="29"/>
                      <a:pt x="13" y="28"/>
                      <a:pt x="13" y="27"/>
                    </a:cubicBezTo>
                    <a:cubicBezTo>
                      <a:pt x="16" y="26"/>
                      <a:pt x="16" y="28"/>
                      <a:pt x="17" y="30"/>
                    </a:cubicBezTo>
                    <a:cubicBezTo>
                      <a:pt x="18" y="30"/>
                      <a:pt x="18" y="31"/>
                      <a:pt x="19" y="32"/>
                    </a:cubicBezTo>
                    <a:cubicBezTo>
                      <a:pt x="20" y="32"/>
                      <a:pt x="20" y="33"/>
                      <a:pt x="20" y="34"/>
                    </a:cubicBezTo>
                    <a:cubicBezTo>
                      <a:pt x="21" y="34"/>
                      <a:pt x="21" y="35"/>
                      <a:pt x="21" y="35"/>
                    </a:cubicBezTo>
                    <a:cubicBezTo>
                      <a:pt x="21" y="36"/>
                      <a:pt x="21" y="37"/>
                      <a:pt x="21" y="38"/>
                    </a:cubicBezTo>
                    <a:cubicBezTo>
                      <a:pt x="21" y="39"/>
                      <a:pt x="22" y="39"/>
                      <a:pt x="23" y="40"/>
                    </a:cubicBezTo>
                    <a:cubicBezTo>
                      <a:pt x="23" y="40"/>
                      <a:pt x="24" y="40"/>
                      <a:pt x="24" y="41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25" y="42"/>
                      <a:pt x="26" y="43"/>
                      <a:pt x="27" y="44"/>
                    </a:cubicBezTo>
                    <a:cubicBezTo>
                      <a:pt x="28" y="44"/>
                      <a:pt x="29" y="43"/>
                      <a:pt x="31" y="43"/>
                    </a:cubicBezTo>
                    <a:cubicBezTo>
                      <a:pt x="32" y="43"/>
                      <a:pt x="33" y="43"/>
                      <a:pt x="34" y="44"/>
                    </a:cubicBezTo>
                    <a:cubicBezTo>
                      <a:pt x="34" y="44"/>
                      <a:pt x="34" y="45"/>
                      <a:pt x="35" y="45"/>
                    </a:cubicBezTo>
                    <a:cubicBezTo>
                      <a:pt x="36" y="46"/>
                      <a:pt x="36" y="46"/>
                      <a:pt x="37" y="47"/>
                    </a:cubicBezTo>
                    <a:cubicBezTo>
                      <a:pt x="37" y="48"/>
                      <a:pt x="37" y="49"/>
                      <a:pt x="38" y="49"/>
                    </a:cubicBezTo>
                    <a:cubicBezTo>
                      <a:pt x="38" y="50"/>
                      <a:pt x="38" y="50"/>
                      <a:pt x="39" y="50"/>
                    </a:cubicBezTo>
                    <a:cubicBezTo>
                      <a:pt x="39" y="50"/>
                      <a:pt x="40" y="50"/>
                      <a:pt x="40" y="50"/>
                    </a:cubicBezTo>
                    <a:cubicBezTo>
                      <a:pt x="40" y="49"/>
                      <a:pt x="41" y="48"/>
                      <a:pt x="41" y="47"/>
                    </a:cubicBezTo>
                    <a:cubicBezTo>
                      <a:pt x="42" y="46"/>
                      <a:pt x="44" y="45"/>
                      <a:pt x="45" y="44"/>
                    </a:cubicBezTo>
                    <a:cubicBezTo>
                      <a:pt x="46" y="44"/>
                      <a:pt x="47" y="44"/>
                      <a:pt x="48" y="44"/>
                    </a:cubicBezTo>
                    <a:cubicBezTo>
                      <a:pt x="49" y="44"/>
                      <a:pt x="50" y="43"/>
                      <a:pt x="51" y="42"/>
                    </a:cubicBezTo>
                    <a:cubicBezTo>
                      <a:pt x="53" y="41"/>
                      <a:pt x="52" y="39"/>
                      <a:pt x="51" y="37"/>
                    </a:cubicBezTo>
                    <a:cubicBezTo>
                      <a:pt x="50" y="36"/>
                      <a:pt x="51" y="35"/>
                      <a:pt x="52" y="34"/>
                    </a:cubicBezTo>
                    <a:cubicBezTo>
                      <a:pt x="53" y="33"/>
                      <a:pt x="53" y="31"/>
                      <a:pt x="54" y="30"/>
                    </a:cubicBezTo>
                    <a:cubicBezTo>
                      <a:pt x="55" y="29"/>
                      <a:pt x="57" y="29"/>
                      <a:pt x="58" y="28"/>
                    </a:cubicBezTo>
                    <a:cubicBezTo>
                      <a:pt x="59" y="27"/>
                      <a:pt x="59" y="25"/>
                      <a:pt x="60" y="24"/>
                    </a:cubicBezTo>
                    <a:cubicBezTo>
                      <a:pt x="61" y="22"/>
                      <a:pt x="63" y="20"/>
                      <a:pt x="62" y="18"/>
                    </a:cubicBezTo>
                    <a:cubicBezTo>
                      <a:pt x="61" y="14"/>
                      <a:pt x="56" y="12"/>
                      <a:pt x="53" y="14"/>
                    </a:cubicBezTo>
                    <a:cubicBezTo>
                      <a:pt x="53" y="14"/>
                      <a:pt x="53" y="15"/>
                      <a:pt x="52" y="15"/>
                    </a:cubicBezTo>
                    <a:cubicBezTo>
                      <a:pt x="51" y="15"/>
                      <a:pt x="51" y="16"/>
                      <a:pt x="50" y="16"/>
                    </a:cubicBezTo>
                    <a:cubicBezTo>
                      <a:pt x="50" y="17"/>
                      <a:pt x="50" y="17"/>
                      <a:pt x="49" y="17"/>
                    </a:cubicBezTo>
                    <a:cubicBezTo>
                      <a:pt x="48" y="17"/>
                      <a:pt x="48" y="16"/>
                      <a:pt x="47" y="15"/>
                    </a:cubicBezTo>
                    <a:cubicBezTo>
                      <a:pt x="47" y="14"/>
                      <a:pt x="46" y="13"/>
                      <a:pt x="46" y="13"/>
                    </a:cubicBezTo>
                    <a:lnTo>
                      <a:pt x="45" y="1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79" name="Freeform 95">
                <a:extLst>
                  <a:ext uri="{FF2B5EF4-FFF2-40B4-BE49-F238E27FC236}">
                    <a16:creationId xmlns:a16="http://schemas.microsoft.com/office/drawing/2014/main" id="{1A416E08-ACFA-4FF6-9B0D-235B539F84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1100" y="6029325"/>
                <a:ext cx="57150" cy="41275"/>
              </a:xfrm>
              <a:custGeom>
                <a:avLst/>
                <a:gdLst/>
                <a:ahLst/>
                <a:cxnLst>
                  <a:cxn ang="0">
                    <a:pos x="4" y="3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1" y="11"/>
                  </a:cxn>
                  <a:cxn ang="0">
                    <a:pos x="1" y="13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9" y="12"/>
                  </a:cxn>
                  <a:cxn ang="0">
                    <a:pos x="12" y="14"/>
                  </a:cxn>
                  <a:cxn ang="0">
                    <a:pos x="24" y="20"/>
                  </a:cxn>
                  <a:cxn ang="0">
                    <a:pos x="27" y="21"/>
                  </a:cxn>
                  <a:cxn ang="0">
                    <a:pos x="28" y="21"/>
                  </a:cxn>
                  <a:cxn ang="0">
                    <a:pos x="29" y="16"/>
                  </a:cxn>
                  <a:cxn ang="0">
                    <a:pos x="27" y="12"/>
                  </a:cxn>
                  <a:cxn ang="0">
                    <a:pos x="25" y="9"/>
                  </a:cxn>
                  <a:cxn ang="0">
                    <a:pos x="24" y="5"/>
                  </a:cxn>
                  <a:cxn ang="0">
                    <a:pos x="21" y="3"/>
                  </a:cxn>
                  <a:cxn ang="0">
                    <a:pos x="16" y="0"/>
                  </a:cxn>
                  <a:cxn ang="0">
                    <a:pos x="4" y="3"/>
                  </a:cxn>
                </a:cxnLst>
                <a:rect l="0" t="0" r="r" b="b"/>
                <a:pathLst>
                  <a:path w="30" h="22">
                    <a:moveTo>
                      <a:pt x="4" y="3"/>
                    </a:moveTo>
                    <a:cubicBezTo>
                      <a:pt x="3" y="3"/>
                      <a:pt x="0" y="3"/>
                      <a:pt x="0" y="4"/>
                    </a:cubicBezTo>
                    <a:cubicBezTo>
                      <a:pt x="0" y="5"/>
                      <a:pt x="0" y="5"/>
                      <a:pt x="0" y="6"/>
                    </a:cubicBezTo>
                    <a:cubicBezTo>
                      <a:pt x="1" y="7"/>
                      <a:pt x="1" y="9"/>
                      <a:pt x="1" y="11"/>
                    </a:cubicBezTo>
                    <a:cubicBezTo>
                      <a:pt x="1" y="12"/>
                      <a:pt x="1" y="12"/>
                      <a:pt x="1" y="13"/>
                    </a:cubicBezTo>
                    <a:cubicBezTo>
                      <a:pt x="2" y="14"/>
                      <a:pt x="3" y="13"/>
                      <a:pt x="4" y="12"/>
                    </a:cubicBezTo>
                    <a:cubicBezTo>
                      <a:pt x="6" y="12"/>
                      <a:pt x="7" y="12"/>
                      <a:pt x="8" y="1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10" y="13"/>
                      <a:pt x="11" y="13"/>
                      <a:pt x="12" y="14"/>
                    </a:cubicBezTo>
                    <a:cubicBezTo>
                      <a:pt x="15" y="18"/>
                      <a:pt x="20" y="18"/>
                      <a:pt x="24" y="20"/>
                    </a:cubicBezTo>
                    <a:cubicBezTo>
                      <a:pt x="25" y="20"/>
                      <a:pt x="26" y="21"/>
                      <a:pt x="27" y="21"/>
                    </a:cubicBezTo>
                    <a:cubicBezTo>
                      <a:pt x="27" y="21"/>
                      <a:pt x="28" y="22"/>
                      <a:pt x="28" y="21"/>
                    </a:cubicBezTo>
                    <a:cubicBezTo>
                      <a:pt x="30" y="21"/>
                      <a:pt x="30" y="17"/>
                      <a:pt x="29" y="16"/>
                    </a:cubicBezTo>
                    <a:cubicBezTo>
                      <a:pt x="29" y="14"/>
                      <a:pt x="28" y="13"/>
                      <a:pt x="27" y="12"/>
                    </a:cubicBezTo>
                    <a:cubicBezTo>
                      <a:pt x="26" y="11"/>
                      <a:pt x="26" y="10"/>
                      <a:pt x="25" y="9"/>
                    </a:cubicBezTo>
                    <a:cubicBezTo>
                      <a:pt x="25" y="8"/>
                      <a:pt x="24" y="7"/>
                      <a:pt x="24" y="5"/>
                    </a:cubicBezTo>
                    <a:cubicBezTo>
                      <a:pt x="23" y="4"/>
                      <a:pt x="22" y="4"/>
                      <a:pt x="21" y="3"/>
                    </a:cubicBezTo>
                    <a:cubicBezTo>
                      <a:pt x="19" y="1"/>
                      <a:pt x="18" y="0"/>
                      <a:pt x="16" y="0"/>
                    </a:cubicBezTo>
                    <a:lnTo>
                      <a:pt x="4" y="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80" name="Freeform 96">
                <a:extLst>
                  <a:ext uri="{FF2B5EF4-FFF2-40B4-BE49-F238E27FC236}">
                    <a16:creationId xmlns:a16="http://schemas.microsoft.com/office/drawing/2014/main" id="{9989199C-DBFC-44DF-8965-54DE63AA5F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5988" y="6162675"/>
                <a:ext cx="47625" cy="38100"/>
              </a:xfrm>
              <a:custGeom>
                <a:avLst/>
                <a:gdLst/>
                <a:ahLst/>
                <a:cxnLst>
                  <a:cxn ang="0">
                    <a:pos x="25" y="2"/>
                  </a:cxn>
                  <a:cxn ang="0">
                    <a:pos x="24" y="1"/>
                  </a:cxn>
                  <a:cxn ang="0">
                    <a:pos x="18" y="1"/>
                  </a:cxn>
                  <a:cxn ang="0">
                    <a:pos x="16" y="2"/>
                  </a:cxn>
                  <a:cxn ang="0">
                    <a:pos x="13" y="4"/>
                  </a:cxn>
                  <a:cxn ang="0">
                    <a:pos x="8" y="7"/>
                  </a:cxn>
                  <a:cxn ang="0">
                    <a:pos x="4" y="10"/>
                  </a:cxn>
                  <a:cxn ang="0">
                    <a:pos x="1" y="17"/>
                  </a:cxn>
                  <a:cxn ang="0">
                    <a:pos x="12" y="18"/>
                  </a:cxn>
                  <a:cxn ang="0">
                    <a:pos x="21" y="13"/>
                  </a:cxn>
                  <a:cxn ang="0">
                    <a:pos x="24" y="8"/>
                  </a:cxn>
                  <a:cxn ang="0">
                    <a:pos x="23" y="5"/>
                  </a:cxn>
                  <a:cxn ang="0">
                    <a:pos x="22" y="2"/>
                  </a:cxn>
                  <a:cxn ang="0">
                    <a:pos x="25" y="2"/>
                  </a:cxn>
                </a:cxnLst>
                <a:rect l="0" t="0" r="r" b="b"/>
                <a:pathLst>
                  <a:path w="25" h="20">
                    <a:moveTo>
                      <a:pt x="25" y="2"/>
                    </a:moveTo>
                    <a:cubicBezTo>
                      <a:pt x="25" y="1"/>
                      <a:pt x="25" y="1"/>
                      <a:pt x="24" y="1"/>
                    </a:cubicBezTo>
                    <a:cubicBezTo>
                      <a:pt x="22" y="0"/>
                      <a:pt x="20" y="1"/>
                      <a:pt x="18" y="1"/>
                    </a:cubicBezTo>
                    <a:cubicBezTo>
                      <a:pt x="17" y="1"/>
                      <a:pt x="17" y="1"/>
                      <a:pt x="16" y="2"/>
                    </a:cubicBezTo>
                    <a:cubicBezTo>
                      <a:pt x="15" y="3"/>
                      <a:pt x="14" y="4"/>
                      <a:pt x="13" y="4"/>
                    </a:cubicBezTo>
                    <a:cubicBezTo>
                      <a:pt x="12" y="5"/>
                      <a:pt x="10" y="6"/>
                      <a:pt x="8" y="7"/>
                    </a:cubicBezTo>
                    <a:cubicBezTo>
                      <a:pt x="7" y="8"/>
                      <a:pt x="5" y="9"/>
                      <a:pt x="4" y="10"/>
                    </a:cubicBezTo>
                    <a:cubicBezTo>
                      <a:pt x="2" y="11"/>
                      <a:pt x="0" y="15"/>
                      <a:pt x="1" y="17"/>
                    </a:cubicBezTo>
                    <a:cubicBezTo>
                      <a:pt x="4" y="20"/>
                      <a:pt x="9" y="19"/>
                      <a:pt x="12" y="18"/>
                    </a:cubicBezTo>
                    <a:cubicBezTo>
                      <a:pt x="15" y="16"/>
                      <a:pt x="18" y="16"/>
                      <a:pt x="21" y="13"/>
                    </a:cubicBezTo>
                    <a:cubicBezTo>
                      <a:pt x="22" y="11"/>
                      <a:pt x="24" y="10"/>
                      <a:pt x="24" y="8"/>
                    </a:cubicBezTo>
                    <a:cubicBezTo>
                      <a:pt x="24" y="7"/>
                      <a:pt x="23" y="6"/>
                      <a:pt x="23" y="5"/>
                    </a:cubicBezTo>
                    <a:cubicBezTo>
                      <a:pt x="23" y="4"/>
                      <a:pt x="23" y="3"/>
                      <a:pt x="22" y="2"/>
                    </a:cubicBezTo>
                    <a:lnTo>
                      <a:pt x="25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81" name="Freeform 97">
                <a:extLst>
                  <a:ext uri="{FF2B5EF4-FFF2-40B4-BE49-F238E27FC236}">
                    <a16:creationId xmlns:a16="http://schemas.microsoft.com/office/drawing/2014/main" id="{20E4F0F8-22BA-4F3C-8CF8-D763C2E60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3650" y="3973513"/>
                <a:ext cx="403225" cy="454025"/>
              </a:xfrm>
              <a:custGeom>
                <a:avLst/>
                <a:gdLst/>
                <a:ahLst/>
                <a:cxnLst>
                  <a:cxn ang="0">
                    <a:pos x="180" y="6"/>
                  </a:cxn>
                  <a:cxn ang="0">
                    <a:pos x="144" y="10"/>
                  </a:cxn>
                  <a:cxn ang="0">
                    <a:pos x="119" y="23"/>
                  </a:cxn>
                  <a:cxn ang="0">
                    <a:pos x="116" y="34"/>
                  </a:cxn>
                  <a:cxn ang="0">
                    <a:pos x="109" y="42"/>
                  </a:cxn>
                  <a:cxn ang="0">
                    <a:pos x="121" y="55"/>
                  </a:cxn>
                  <a:cxn ang="0">
                    <a:pos x="126" y="74"/>
                  </a:cxn>
                  <a:cxn ang="0">
                    <a:pos x="117" y="83"/>
                  </a:cxn>
                  <a:cxn ang="0">
                    <a:pos x="109" y="93"/>
                  </a:cxn>
                  <a:cxn ang="0">
                    <a:pos x="114" y="112"/>
                  </a:cxn>
                  <a:cxn ang="0">
                    <a:pos x="98" y="105"/>
                  </a:cxn>
                  <a:cxn ang="0">
                    <a:pos x="96" y="89"/>
                  </a:cxn>
                  <a:cxn ang="0">
                    <a:pos x="97" y="78"/>
                  </a:cxn>
                  <a:cxn ang="0">
                    <a:pos x="113" y="75"/>
                  </a:cxn>
                  <a:cxn ang="0">
                    <a:pos x="102" y="58"/>
                  </a:cxn>
                  <a:cxn ang="0">
                    <a:pos x="100" y="46"/>
                  </a:cxn>
                  <a:cxn ang="0">
                    <a:pos x="82" y="47"/>
                  </a:cxn>
                  <a:cxn ang="0">
                    <a:pos x="69" y="71"/>
                  </a:cxn>
                  <a:cxn ang="0">
                    <a:pos x="70" y="90"/>
                  </a:cxn>
                  <a:cxn ang="0">
                    <a:pos x="65" y="96"/>
                  </a:cxn>
                  <a:cxn ang="0">
                    <a:pos x="54" y="122"/>
                  </a:cxn>
                  <a:cxn ang="0">
                    <a:pos x="39" y="133"/>
                  </a:cxn>
                  <a:cxn ang="0">
                    <a:pos x="34" y="147"/>
                  </a:cxn>
                  <a:cxn ang="0">
                    <a:pos x="22" y="158"/>
                  </a:cxn>
                  <a:cxn ang="0">
                    <a:pos x="29" y="164"/>
                  </a:cxn>
                  <a:cxn ang="0">
                    <a:pos x="40" y="176"/>
                  </a:cxn>
                  <a:cxn ang="0">
                    <a:pos x="25" y="167"/>
                  </a:cxn>
                  <a:cxn ang="0">
                    <a:pos x="6" y="179"/>
                  </a:cxn>
                  <a:cxn ang="0">
                    <a:pos x="35" y="182"/>
                  </a:cxn>
                  <a:cxn ang="0">
                    <a:pos x="44" y="190"/>
                  </a:cxn>
                  <a:cxn ang="0">
                    <a:pos x="11" y="186"/>
                  </a:cxn>
                  <a:cxn ang="0">
                    <a:pos x="6" y="197"/>
                  </a:cxn>
                  <a:cxn ang="0">
                    <a:pos x="38" y="203"/>
                  </a:cxn>
                  <a:cxn ang="0">
                    <a:pos x="49" y="193"/>
                  </a:cxn>
                  <a:cxn ang="0">
                    <a:pos x="61" y="183"/>
                  </a:cxn>
                  <a:cxn ang="0">
                    <a:pos x="92" y="184"/>
                  </a:cxn>
                  <a:cxn ang="0">
                    <a:pos x="97" y="192"/>
                  </a:cxn>
                  <a:cxn ang="0">
                    <a:pos x="113" y="199"/>
                  </a:cxn>
                  <a:cxn ang="0">
                    <a:pos x="132" y="204"/>
                  </a:cxn>
                  <a:cxn ang="0">
                    <a:pos x="132" y="216"/>
                  </a:cxn>
                  <a:cxn ang="0">
                    <a:pos x="126" y="239"/>
                  </a:cxn>
                  <a:cxn ang="0">
                    <a:pos x="149" y="239"/>
                  </a:cxn>
                  <a:cxn ang="0">
                    <a:pos x="151" y="226"/>
                  </a:cxn>
                  <a:cxn ang="0">
                    <a:pos x="146" y="219"/>
                  </a:cxn>
                  <a:cxn ang="0">
                    <a:pos x="152" y="205"/>
                  </a:cxn>
                  <a:cxn ang="0">
                    <a:pos x="158" y="188"/>
                  </a:cxn>
                  <a:cxn ang="0">
                    <a:pos x="155" y="168"/>
                  </a:cxn>
                  <a:cxn ang="0">
                    <a:pos x="148" y="146"/>
                  </a:cxn>
                  <a:cxn ang="0">
                    <a:pos x="171" y="145"/>
                  </a:cxn>
                  <a:cxn ang="0">
                    <a:pos x="188" y="133"/>
                  </a:cxn>
                  <a:cxn ang="0">
                    <a:pos x="197" y="117"/>
                  </a:cxn>
                  <a:cxn ang="0">
                    <a:pos x="204" y="97"/>
                  </a:cxn>
                  <a:cxn ang="0">
                    <a:pos x="182" y="80"/>
                  </a:cxn>
                  <a:cxn ang="0">
                    <a:pos x="195" y="72"/>
                  </a:cxn>
                  <a:cxn ang="0">
                    <a:pos x="209" y="57"/>
                  </a:cxn>
                  <a:cxn ang="0">
                    <a:pos x="215" y="31"/>
                  </a:cxn>
                  <a:cxn ang="0">
                    <a:pos x="207" y="10"/>
                  </a:cxn>
                </a:cxnLst>
                <a:rect l="0" t="0" r="r" b="b"/>
                <a:pathLst>
                  <a:path w="216" h="243">
                    <a:moveTo>
                      <a:pt x="206" y="9"/>
                    </a:moveTo>
                    <a:cubicBezTo>
                      <a:pt x="204" y="9"/>
                      <a:pt x="202" y="9"/>
                      <a:pt x="201" y="9"/>
                    </a:cubicBezTo>
                    <a:cubicBezTo>
                      <a:pt x="199" y="9"/>
                      <a:pt x="199" y="9"/>
                      <a:pt x="198" y="8"/>
                    </a:cubicBezTo>
                    <a:cubicBezTo>
                      <a:pt x="198" y="5"/>
                      <a:pt x="200" y="2"/>
                      <a:pt x="197" y="1"/>
                    </a:cubicBezTo>
                    <a:cubicBezTo>
                      <a:pt x="194" y="0"/>
                      <a:pt x="192" y="2"/>
                      <a:pt x="190" y="2"/>
                    </a:cubicBezTo>
                    <a:cubicBezTo>
                      <a:pt x="187" y="4"/>
                      <a:pt x="183" y="4"/>
                      <a:pt x="180" y="6"/>
                    </a:cubicBezTo>
                    <a:cubicBezTo>
                      <a:pt x="180" y="6"/>
                      <a:pt x="179" y="6"/>
                      <a:pt x="179" y="6"/>
                    </a:cubicBezTo>
                    <a:cubicBezTo>
                      <a:pt x="179" y="7"/>
                      <a:pt x="179" y="7"/>
                      <a:pt x="179" y="7"/>
                    </a:cubicBezTo>
                    <a:cubicBezTo>
                      <a:pt x="177" y="9"/>
                      <a:pt x="173" y="8"/>
                      <a:pt x="170" y="8"/>
                    </a:cubicBezTo>
                    <a:cubicBezTo>
                      <a:pt x="166" y="8"/>
                      <a:pt x="162" y="5"/>
                      <a:pt x="158" y="5"/>
                    </a:cubicBezTo>
                    <a:cubicBezTo>
                      <a:pt x="154" y="5"/>
                      <a:pt x="153" y="6"/>
                      <a:pt x="150" y="8"/>
                    </a:cubicBezTo>
                    <a:cubicBezTo>
                      <a:pt x="148" y="8"/>
                      <a:pt x="146" y="9"/>
                      <a:pt x="144" y="10"/>
                    </a:cubicBezTo>
                    <a:cubicBezTo>
                      <a:pt x="140" y="10"/>
                      <a:pt x="137" y="10"/>
                      <a:pt x="135" y="12"/>
                    </a:cubicBezTo>
                    <a:cubicBezTo>
                      <a:pt x="134" y="13"/>
                      <a:pt x="134" y="13"/>
                      <a:pt x="134" y="13"/>
                    </a:cubicBezTo>
                    <a:cubicBezTo>
                      <a:pt x="133" y="14"/>
                      <a:pt x="132" y="14"/>
                      <a:pt x="131" y="15"/>
                    </a:cubicBezTo>
                    <a:cubicBezTo>
                      <a:pt x="129" y="16"/>
                      <a:pt x="127" y="16"/>
                      <a:pt x="125" y="18"/>
                    </a:cubicBezTo>
                    <a:cubicBezTo>
                      <a:pt x="124" y="18"/>
                      <a:pt x="123" y="20"/>
                      <a:pt x="122" y="21"/>
                    </a:cubicBezTo>
                    <a:cubicBezTo>
                      <a:pt x="121" y="21"/>
                      <a:pt x="119" y="22"/>
                      <a:pt x="119" y="23"/>
                    </a:cubicBezTo>
                    <a:cubicBezTo>
                      <a:pt x="119" y="24"/>
                      <a:pt x="119" y="25"/>
                      <a:pt x="119" y="25"/>
                    </a:cubicBezTo>
                    <a:cubicBezTo>
                      <a:pt x="119" y="26"/>
                      <a:pt x="118" y="27"/>
                      <a:pt x="118" y="27"/>
                    </a:cubicBezTo>
                    <a:cubicBezTo>
                      <a:pt x="118" y="27"/>
                      <a:pt x="117" y="28"/>
                      <a:pt x="117" y="29"/>
                    </a:cubicBezTo>
                    <a:cubicBezTo>
                      <a:pt x="117" y="30"/>
                      <a:pt x="117" y="31"/>
                      <a:pt x="117" y="31"/>
                    </a:cubicBezTo>
                    <a:cubicBezTo>
                      <a:pt x="117" y="32"/>
                      <a:pt x="116" y="32"/>
                      <a:pt x="116" y="32"/>
                    </a:cubicBezTo>
                    <a:cubicBezTo>
                      <a:pt x="116" y="33"/>
                      <a:pt x="117" y="33"/>
                      <a:pt x="116" y="34"/>
                    </a:cubicBezTo>
                    <a:cubicBezTo>
                      <a:pt x="116" y="34"/>
                      <a:pt x="114" y="35"/>
                      <a:pt x="113" y="35"/>
                    </a:cubicBezTo>
                    <a:cubicBezTo>
                      <a:pt x="111" y="36"/>
                      <a:pt x="109" y="36"/>
                      <a:pt x="109" y="33"/>
                    </a:cubicBezTo>
                    <a:cubicBezTo>
                      <a:pt x="108" y="32"/>
                      <a:pt x="108" y="31"/>
                      <a:pt x="107" y="30"/>
                    </a:cubicBezTo>
                    <a:cubicBezTo>
                      <a:pt x="105" y="29"/>
                      <a:pt x="103" y="36"/>
                      <a:pt x="103" y="38"/>
                    </a:cubicBezTo>
                    <a:cubicBezTo>
                      <a:pt x="104" y="39"/>
                      <a:pt x="104" y="40"/>
                      <a:pt x="104" y="41"/>
                    </a:cubicBezTo>
                    <a:cubicBezTo>
                      <a:pt x="105" y="43"/>
                      <a:pt x="107" y="43"/>
                      <a:pt x="109" y="42"/>
                    </a:cubicBezTo>
                    <a:cubicBezTo>
                      <a:pt x="110" y="41"/>
                      <a:pt x="110" y="39"/>
                      <a:pt x="112" y="41"/>
                    </a:cubicBezTo>
                    <a:cubicBezTo>
                      <a:pt x="112" y="41"/>
                      <a:pt x="113" y="42"/>
                      <a:pt x="113" y="42"/>
                    </a:cubicBezTo>
                    <a:cubicBezTo>
                      <a:pt x="113" y="43"/>
                      <a:pt x="114" y="43"/>
                      <a:pt x="114" y="43"/>
                    </a:cubicBezTo>
                    <a:cubicBezTo>
                      <a:pt x="116" y="46"/>
                      <a:pt x="115" y="51"/>
                      <a:pt x="115" y="54"/>
                    </a:cubicBezTo>
                    <a:cubicBezTo>
                      <a:pt x="115" y="56"/>
                      <a:pt x="115" y="56"/>
                      <a:pt x="118" y="56"/>
                    </a:cubicBezTo>
                    <a:cubicBezTo>
                      <a:pt x="119" y="56"/>
                      <a:pt x="120" y="55"/>
                      <a:pt x="121" y="55"/>
                    </a:cubicBezTo>
                    <a:cubicBezTo>
                      <a:pt x="123" y="56"/>
                      <a:pt x="124" y="57"/>
                      <a:pt x="125" y="57"/>
                    </a:cubicBezTo>
                    <a:cubicBezTo>
                      <a:pt x="126" y="60"/>
                      <a:pt x="130" y="56"/>
                      <a:pt x="131" y="57"/>
                    </a:cubicBezTo>
                    <a:cubicBezTo>
                      <a:pt x="132" y="58"/>
                      <a:pt x="132" y="59"/>
                      <a:pt x="131" y="60"/>
                    </a:cubicBezTo>
                    <a:cubicBezTo>
                      <a:pt x="129" y="62"/>
                      <a:pt x="126" y="61"/>
                      <a:pt x="125" y="63"/>
                    </a:cubicBezTo>
                    <a:cubicBezTo>
                      <a:pt x="124" y="65"/>
                      <a:pt x="125" y="68"/>
                      <a:pt x="125" y="70"/>
                    </a:cubicBezTo>
                    <a:cubicBezTo>
                      <a:pt x="125" y="72"/>
                      <a:pt x="125" y="72"/>
                      <a:pt x="126" y="74"/>
                    </a:cubicBezTo>
                    <a:cubicBezTo>
                      <a:pt x="126" y="74"/>
                      <a:pt x="127" y="75"/>
                      <a:pt x="127" y="75"/>
                    </a:cubicBezTo>
                    <a:cubicBezTo>
                      <a:pt x="127" y="76"/>
                      <a:pt x="127" y="77"/>
                      <a:pt x="127" y="78"/>
                    </a:cubicBezTo>
                    <a:cubicBezTo>
                      <a:pt x="129" y="78"/>
                      <a:pt x="130" y="77"/>
                      <a:pt x="129" y="80"/>
                    </a:cubicBezTo>
                    <a:cubicBezTo>
                      <a:pt x="129" y="81"/>
                      <a:pt x="129" y="81"/>
                      <a:pt x="127" y="81"/>
                    </a:cubicBezTo>
                    <a:cubicBezTo>
                      <a:pt x="124" y="82"/>
                      <a:pt x="122" y="81"/>
                      <a:pt x="119" y="82"/>
                    </a:cubicBezTo>
                    <a:cubicBezTo>
                      <a:pt x="118" y="82"/>
                      <a:pt x="118" y="83"/>
                      <a:pt x="117" y="83"/>
                    </a:cubicBezTo>
                    <a:cubicBezTo>
                      <a:pt x="116" y="83"/>
                      <a:pt x="116" y="83"/>
                      <a:pt x="115" y="83"/>
                    </a:cubicBezTo>
                    <a:cubicBezTo>
                      <a:pt x="113" y="83"/>
                      <a:pt x="113" y="83"/>
                      <a:pt x="112" y="84"/>
                    </a:cubicBezTo>
                    <a:cubicBezTo>
                      <a:pt x="110" y="85"/>
                      <a:pt x="110" y="85"/>
                      <a:pt x="110" y="87"/>
                    </a:cubicBezTo>
                    <a:cubicBezTo>
                      <a:pt x="110" y="87"/>
                      <a:pt x="109" y="88"/>
                      <a:pt x="109" y="88"/>
                    </a:cubicBezTo>
                    <a:cubicBezTo>
                      <a:pt x="109" y="89"/>
                      <a:pt x="109" y="90"/>
                      <a:pt x="109" y="91"/>
                    </a:cubicBezTo>
                    <a:cubicBezTo>
                      <a:pt x="109" y="92"/>
                      <a:pt x="109" y="92"/>
                      <a:pt x="109" y="93"/>
                    </a:cubicBezTo>
                    <a:cubicBezTo>
                      <a:pt x="110" y="94"/>
                      <a:pt x="110" y="94"/>
                      <a:pt x="110" y="95"/>
                    </a:cubicBezTo>
                    <a:cubicBezTo>
                      <a:pt x="110" y="96"/>
                      <a:pt x="109" y="97"/>
                      <a:pt x="108" y="98"/>
                    </a:cubicBezTo>
                    <a:cubicBezTo>
                      <a:pt x="107" y="101"/>
                      <a:pt x="109" y="101"/>
                      <a:pt x="110" y="104"/>
                    </a:cubicBezTo>
                    <a:cubicBezTo>
                      <a:pt x="110" y="105"/>
                      <a:pt x="110" y="106"/>
                      <a:pt x="111" y="107"/>
                    </a:cubicBezTo>
                    <a:cubicBezTo>
                      <a:pt x="111" y="108"/>
                      <a:pt x="112" y="109"/>
                      <a:pt x="113" y="109"/>
                    </a:cubicBezTo>
                    <a:cubicBezTo>
                      <a:pt x="114" y="110"/>
                      <a:pt x="115" y="111"/>
                      <a:pt x="114" y="112"/>
                    </a:cubicBezTo>
                    <a:cubicBezTo>
                      <a:pt x="114" y="112"/>
                      <a:pt x="114" y="112"/>
                      <a:pt x="113" y="112"/>
                    </a:cubicBezTo>
                    <a:cubicBezTo>
                      <a:pt x="113" y="112"/>
                      <a:pt x="112" y="111"/>
                      <a:pt x="112" y="111"/>
                    </a:cubicBezTo>
                    <a:cubicBezTo>
                      <a:pt x="111" y="110"/>
                      <a:pt x="110" y="109"/>
                      <a:pt x="109" y="108"/>
                    </a:cubicBezTo>
                    <a:cubicBezTo>
                      <a:pt x="108" y="107"/>
                      <a:pt x="108" y="107"/>
                      <a:pt x="107" y="106"/>
                    </a:cubicBezTo>
                    <a:cubicBezTo>
                      <a:pt x="105" y="105"/>
                      <a:pt x="104" y="106"/>
                      <a:pt x="103" y="106"/>
                    </a:cubicBezTo>
                    <a:cubicBezTo>
                      <a:pt x="101" y="106"/>
                      <a:pt x="99" y="105"/>
                      <a:pt x="98" y="105"/>
                    </a:cubicBezTo>
                    <a:cubicBezTo>
                      <a:pt x="96" y="104"/>
                      <a:pt x="95" y="104"/>
                      <a:pt x="94" y="104"/>
                    </a:cubicBezTo>
                    <a:cubicBezTo>
                      <a:pt x="92" y="103"/>
                      <a:pt x="91" y="100"/>
                      <a:pt x="93" y="99"/>
                    </a:cubicBezTo>
                    <a:cubicBezTo>
                      <a:pt x="94" y="98"/>
                      <a:pt x="100" y="100"/>
                      <a:pt x="99" y="97"/>
                    </a:cubicBezTo>
                    <a:cubicBezTo>
                      <a:pt x="98" y="95"/>
                      <a:pt x="97" y="96"/>
                      <a:pt x="97" y="95"/>
                    </a:cubicBezTo>
                    <a:cubicBezTo>
                      <a:pt x="97" y="94"/>
                      <a:pt x="97" y="92"/>
                      <a:pt x="97" y="91"/>
                    </a:cubicBezTo>
                    <a:cubicBezTo>
                      <a:pt x="97" y="90"/>
                      <a:pt x="96" y="90"/>
                      <a:pt x="96" y="89"/>
                    </a:cubicBezTo>
                    <a:cubicBezTo>
                      <a:pt x="96" y="89"/>
                      <a:pt x="97" y="88"/>
                      <a:pt x="97" y="88"/>
                    </a:cubicBezTo>
                    <a:cubicBezTo>
                      <a:pt x="97" y="88"/>
                      <a:pt x="97" y="87"/>
                      <a:pt x="97" y="86"/>
                    </a:cubicBezTo>
                    <a:cubicBezTo>
                      <a:pt x="96" y="84"/>
                      <a:pt x="95" y="83"/>
                      <a:pt x="94" y="82"/>
                    </a:cubicBezTo>
                    <a:cubicBezTo>
                      <a:pt x="94" y="81"/>
                      <a:pt x="94" y="81"/>
                      <a:pt x="94" y="80"/>
                    </a:cubicBezTo>
                    <a:cubicBezTo>
                      <a:pt x="93" y="80"/>
                      <a:pt x="93" y="80"/>
                      <a:pt x="93" y="79"/>
                    </a:cubicBezTo>
                    <a:cubicBezTo>
                      <a:pt x="93" y="77"/>
                      <a:pt x="95" y="78"/>
                      <a:pt x="97" y="78"/>
                    </a:cubicBezTo>
                    <a:cubicBezTo>
                      <a:pt x="98" y="78"/>
                      <a:pt x="98" y="78"/>
                      <a:pt x="100" y="78"/>
                    </a:cubicBezTo>
                    <a:cubicBezTo>
                      <a:pt x="101" y="78"/>
                      <a:pt x="102" y="77"/>
                      <a:pt x="102" y="77"/>
                    </a:cubicBezTo>
                    <a:cubicBezTo>
                      <a:pt x="103" y="77"/>
                      <a:pt x="104" y="77"/>
                      <a:pt x="105" y="77"/>
                    </a:cubicBezTo>
                    <a:cubicBezTo>
                      <a:pt x="107" y="76"/>
                      <a:pt x="106" y="76"/>
                      <a:pt x="107" y="75"/>
                    </a:cubicBezTo>
                    <a:cubicBezTo>
                      <a:pt x="108" y="72"/>
                      <a:pt x="109" y="75"/>
                      <a:pt x="111" y="75"/>
                    </a:cubicBezTo>
                    <a:cubicBezTo>
                      <a:pt x="111" y="75"/>
                      <a:pt x="112" y="75"/>
                      <a:pt x="113" y="75"/>
                    </a:cubicBezTo>
                    <a:cubicBezTo>
                      <a:pt x="113" y="74"/>
                      <a:pt x="113" y="72"/>
                      <a:pt x="112" y="72"/>
                    </a:cubicBezTo>
                    <a:cubicBezTo>
                      <a:pt x="112" y="71"/>
                      <a:pt x="111" y="71"/>
                      <a:pt x="110" y="71"/>
                    </a:cubicBezTo>
                    <a:cubicBezTo>
                      <a:pt x="110" y="70"/>
                      <a:pt x="108" y="69"/>
                      <a:pt x="108" y="68"/>
                    </a:cubicBezTo>
                    <a:cubicBezTo>
                      <a:pt x="107" y="68"/>
                      <a:pt x="108" y="67"/>
                      <a:pt x="108" y="66"/>
                    </a:cubicBezTo>
                    <a:cubicBezTo>
                      <a:pt x="108" y="64"/>
                      <a:pt x="107" y="64"/>
                      <a:pt x="105" y="63"/>
                    </a:cubicBezTo>
                    <a:cubicBezTo>
                      <a:pt x="103" y="62"/>
                      <a:pt x="103" y="60"/>
                      <a:pt x="102" y="58"/>
                    </a:cubicBezTo>
                    <a:cubicBezTo>
                      <a:pt x="101" y="57"/>
                      <a:pt x="99" y="56"/>
                      <a:pt x="98" y="55"/>
                    </a:cubicBezTo>
                    <a:cubicBezTo>
                      <a:pt x="97" y="54"/>
                      <a:pt x="97" y="55"/>
                      <a:pt x="97" y="53"/>
                    </a:cubicBezTo>
                    <a:cubicBezTo>
                      <a:pt x="97" y="52"/>
                      <a:pt x="98" y="51"/>
                      <a:pt x="99" y="50"/>
                    </a:cubicBezTo>
                    <a:cubicBezTo>
                      <a:pt x="100" y="49"/>
                      <a:pt x="101" y="48"/>
                      <a:pt x="102" y="47"/>
                    </a:cubicBezTo>
                    <a:cubicBezTo>
                      <a:pt x="104" y="47"/>
                      <a:pt x="105" y="46"/>
                      <a:pt x="106" y="45"/>
                    </a:cubicBezTo>
                    <a:cubicBezTo>
                      <a:pt x="104" y="45"/>
                      <a:pt x="102" y="45"/>
                      <a:pt x="100" y="46"/>
                    </a:cubicBezTo>
                    <a:cubicBezTo>
                      <a:pt x="99" y="47"/>
                      <a:pt x="98" y="48"/>
                      <a:pt x="97" y="49"/>
                    </a:cubicBezTo>
                    <a:cubicBezTo>
                      <a:pt x="95" y="51"/>
                      <a:pt x="93" y="53"/>
                      <a:pt x="92" y="53"/>
                    </a:cubicBezTo>
                    <a:cubicBezTo>
                      <a:pt x="90" y="53"/>
                      <a:pt x="86" y="53"/>
                      <a:pt x="85" y="51"/>
                    </a:cubicBezTo>
                    <a:cubicBezTo>
                      <a:pt x="85" y="51"/>
                      <a:pt x="85" y="51"/>
                      <a:pt x="85" y="51"/>
                    </a:cubicBezTo>
                    <a:cubicBezTo>
                      <a:pt x="85" y="50"/>
                      <a:pt x="84" y="50"/>
                      <a:pt x="84" y="49"/>
                    </a:cubicBezTo>
                    <a:cubicBezTo>
                      <a:pt x="84" y="48"/>
                      <a:pt x="83" y="47"/>
                      <a:pt x="82" y="47"/>
                    </a:cubicBezTo>
                    <a:cubicBezTo>
                      <a:pt x="78" y="47"/>
                      <a:pt x="77" y="50"/>
                      <a:pt x="77" y="53"/>
                    </a:cubicBezTo>
                    <a:cubicBezTo>
                      <a:pt x="77" y="56"/>
                      <a:pt x="77" y="57"/>
                      <a:pt x="75" y="60"/>
                    </a:cubicBezTo>
                    <a:cubicBezTo>
                      <a:pt x="75" y="60"/>
                      <a:pt x="74" y="62"/>
                      <a:pt x="73" y="62"/>
                    </a:cubicBezTo>
                    <a:cubicBezTo>
                      <a:pt x="72" y="63"/>
                      <a:pt x="69" y="61"/>
                      <a:pt x="67" y="60"/>
                    </a:cubicBezTo>
                    <a:cubicBezTo>
                      <a:pt x="67" y="61"/>
                      <a:pt x="67" y="62"/>
                      <a:pt x="67" y="63"/>
                    </a:cubicBezTo>
                    <a:cubicBezTo>
                      <a:pt x="66" y="66"/>
                      <a:pt x="68" y="68"/>
                      <a:pt x="69" y="71"/>
                    </a:cubicBezTo>
                    <a:cubicBezTo>
                      <a:pt x="69" y="72"/>
                      <a:pt x="68" y="73"/>
                      <a:pt x="69" y="74"/>
                    </a:cubicBezTo>
                    <a:cubicBezTo>
                      <a:pt x="69" y="75"/>
                      <a:pt x="72" y="75"/>
                      <a:pt x="73" y="77"/>
                    </a:cubicBezTo>
                    <a:cubicBezTo>
                      <a:pt x="73" y="79"/>
                      <a:pt x="72" y="80"/>
                      <a:pt x="72" y="81"/>
                    </a:cubicBezTo>
                    <a:cubicBezTo>
                      <a:pt x="72" y="83"/>
                      <a:pt x="72" y="84"/>
                      <a:pt x="72" y="85"/>
                    </a:cubicBezTo>
                    <a:cubicBezTo>
                      <a:pt x="72" y="86"/>
                      <a:pt x="71" y="87"/>
                      <a:pt x="71" y="88"/>
                    </a:cubicBezTo>
                    <a:cubicBezTo>
                      <a:pt x="71" y="89"/>
                      <a:pt x="70" y="90"/>
                      <a:pt x="70" y="90"/>
                    </a:cubicBezTo>
                    <a:cubicBezTo>
                      <a:pt x="70" y="91"/>
                      <a:pt x="70" y="91"/>
                      <a:pt x="70" y="91"/>
                    </a:cubicBezTo>
                    <a:cubicBezTo>
                      <a:pt x="70" y="92"/>
                      <a:pt x="70" y="92"/>
                      <a:pt x="70" y="92"/>
                    </a:cubicBezTo>
                    <a:cubicBezTo>
                      <a:pt x="70" y="92"/>
                      <a:pt x="69" y="93"/>
                      <a:pt x="69" y="93"/>
                    </a:cubicBezTo>
                    <a:cubicBezTo>
                      <a:pt x="69" y="94"/>
                      <a:pt x="68" y="93"/>
                      <a:pt x="68" y="94"/>
                    </a:cubicBezTo>
                    <a:cubicBezTo>
                      <a:pt x="67" y="94"/>
                      <a:pt x="66" y="95"/>
                      <a:pt x="66" y="95"/>
                    </a:cubicBezTo>
                    <a:cubicBezTo>
                      <a:pt x="65" y="95"/>
                      <a:pt x="65" y="95"/>
                      <a:pt x="65" y="96"/>
                    </a:cubicBezTo>
                    <a:cubicBezTo>
                      <a:pt x="64" y="97"/>
                      <a:pt x="65" y="97"/>
                      <a:pt x="65" y="98"/>
                    </a:cubicBezTo>
                    <a:cubicBezTo>
                      <a:pt x="65" y="98"/>
                      <a:pt x="64" y="99"/>
                      <a:pt x="64" y="99"/>
                    </a:cubicBezTo>
                    <a:cubicBezTo>
                      <a:pt x="63" y="100"/>
                      <a:pt x="63" y="102"/>
                      <a:pt x="63" y="103"/>
                    </a:cubicBezTo>
                    <a:cubicBezTo>
                      <a:pt x="63" y="104"/>
                      <a:pt x="63" y="106"/>
                      <a:pt x="62" y="107"/>
                    </a:cubicBezTo>
                    <a:cubicBezTo>
                      <a:pt x="62" y="109"/>
                      <a:pt x="60" y="110"/>
                      <a:pt x="60" y="111"/>
                    </a:cubicBezTo>
                    <a:cubicBezTo>
                      <a:pt x="58" y="114"/>
                      <a:pt x="55" y="117"/>
                      <a:pt x="54" y="122"/>
                    </a:cubicBezTo>
                    <a:cubicBezTo>
                      <a:pt x="53" y="121"/>
                      <a:pt x="51" y="123"/>
                      <a:pt x="50" y="124"/>
                    </a:cubicBezTo>
                    <a:cubicBezTo>
                      <a:pt x="49" y="125"/>
                      <a:pt x="49" y="126"/>
                      <a:pt x="49" y="127"/>
                    </a:cubicBezTo>
                    <a:cubicBezTo>
                      <a:pt x="49" y="127"/>
                      <a:pt x="49" y="128"/>
                      <a:pt x="48" y="128"/>
                    </a:cubicBezTo>
                    <a:cubicBezTo>
                      <a:pt x="48" y="126"/>
                      <a:pt x="43" y="126"/>
                      <a:pt x="42" y="127"/>
                    </a:cubicBezTo>
                    <a:cubicBezTo>
                      <a:pt x="41" y="128"/>
                      <a:pt x="41" y="128"/>
                      <a:pt x="41" y="129"/>
                    </a:cubicBezTo>
                    <a:cubicBezTo>
                      <a:pt x="40" y="130"/>
                      <a:pt x="40" y="131"/>
                      <a:pt x="39" y="133"/>
                    </a:cubicBezTo>
                    <a:cubicBezTo>
                      <a:pt x="39" y="134"/>
                      <a:pt x="38" y="134"/>
                      <a:pt x="38" y="135"/>
                    </a:cubicBezTo>
                    <a:cubicBezTo>
                      <a:pt x="38" y="136"/>
                      <a:pt x="38" y="137"/>
                      <a:pt x="38" y="138"/>
                    </a:cubicBezTo>
                    <a:cubicBezTo>
                      <a:pt x="38" y="140"/>
                      <a:pt x="39" y="140"/>
                      <a:pt x="39" y="141"/>
                    </a:cubicBezTo>
                    <a:cubicBezTo>
                      <a:pt x="40" y="143"/>
                      <a:pt x="39" y="144"/>
                      <a:pt x="40" y="145"/>
                    </a:cubicBezTo>
                    <a:cubicBezTo>
                      <a:pt x="39" y="145"/>
                      <a:pt x="39" y="145"/>
                      <a:pt x="38" y="146"/>
                    </a:cubicBezTo>
                    <a:cubicBezTo>
                      <a:pt x="36" y="146"/>
                      <a:pt x="36" y="146"/>
                      <a:pt x="34" y="147"/>
                    </a:cubicBezTo>
                    <a:cubicBezTo>
                      <a:pt x="34" y="147"/>
                      <a:pt x="33" y="147"/>
                      <a:pt x="32" y="147"/>
                    </a:cubicBezTo>
                    <a:cubicBezTo>
                      <a:pt x="32" y="148"/>
                      <a:pt x="32" y="148"/>
                      <a:pt x="32" y="149"/>
                    </a:cubicBezTo>
                    <a:cubicBezTo>
                      <a:pt x="30" y="150"/>
                      <a:pt x="30" y="149"/>
                      <a:pt x="29" y="151"/>
                    </a:cubicBezTo>
                    <a:cubicBezTo>
                      <a:pt x="29" y="152"/>
                      <a:pt x="29" y="154"/>
                      <a:pt x="29" y="156"/>
                    </a:cubicBezTo>
                    <a:cubicBezTo>
                      <a:pt x="29" y="158"/>
                      <a:pt x="28" y="157"/>
                      <a:pt x="26" y="157"/>
                    </a:cubicBezTo>
                    <a:cubicBezTo>
                      <a:pt x="25" y="157"/>
                      <a:pt x="23" y="158"/>
                      <a:pt x="22" y="158"/>
                    </a:cubicBezTo>
                    <a:cubicBezTo>
                      <a:pt x="20" y="159"/>
                      <a:pt x="15" y="162"/>
                      <a:pt x="16" y="164"/>
                    </a:cubicBezTo>
                    <a:cubicBezTo>
                      <a:pt x="17" y="165"/>
                      <a:pt x="19" y="165"/>
                      <a:pt x="20" y="164"/>
                    </a:cubicBezTo>
                    <a:cubicBezTo>
                      <a:pt x="20" y="164"/>
                      <a:pt x="21" y="163"/>
                      <a:pt x="21" y="163"/>
                    </a:cubicBezTo>
                    <a:cubicBezTo>
                      <a:pt x="22" y="162"/>
                      <a:pt x="24" y="162"/>
                      <a:pt x="24" y="162"/>
                    </a:cubicBezTo>
                    <a:cubicBezTo>
                      <a:pt x="26" y="161"/>
                      <a:pt x="26" y="161"/>
                      <a:pt x="28" y="162"/>
                    </a:cubicBezTo>
                    <a:cubicBezTo>
                      <a:pt x="28" y="162"/>
                      <a:pt x="29" y="163"/>
                      <a:pt x="29" y="164"/>
                    </a:cubicBezTo>
                    <a:cubicBezTo>
                      <a:pt x="30" y="164"/>
                      <a:pt x="32" y="164"/>
                      <a:pt x="33" y="164"/>
                    </a:cubicBezTo>
                    <a:cubicBezTo>
                      <a:pt x="34" y="164"/>
                      <a:pt x="40" y="161"/>
                      <a:pt x="40" y="163"/>
                    </a:cubicBezTo>
                    <a:cubicBezTo>
                      <a:pt x="41" y="164"/>
                      <a:pt x="37" y="167"/>
                      <a:pt x="36" y="167"/>
                    </a:cubicBezTo>
                    <a:cubicBezTo>
                      <a:pt x="35" y="168"/>
                      <a:pt x="35" y="169"/>
                      <a:pt x="35" y="170"/>
                    </a:cubicBezTo>
                    <a:cubicBezTo>
                      <a:pt x="37" y="170"/>
                      <a:pt x="39" y="171"/>
                      <a:pt x="40" y="172"/>
                    </a:cubicBezTo>
                    <a:cubicBezTo>
                      <a:pt x="40" y="173"/>
                      <a:pt x="40" y="175"/>
                      <a:pt x="40" y="176"/>
                    </a:cubicBezTo>
                    <a:cubicBezTo>
                      <a:pt x="41" y="177"/>
                      <a:pt x="44" y="177"/>
                      <a:pt x="44" y="178"/>
                    </a:cubicBezTo>
                    <a:cubicBezTo>
                      <a:pt x="45" y="179"/>
                      <a:pt x="44" y="180"/>
                      <a:pt x="44" y="181"/>
                    </a:cubicBezTo>
                    <a:cubicBezTo>
                      <a:pt x="39" y="181"/>
                      <a:pt x="36" y="176"/>
                      <a:pt x="34" y="172"/>
                    </a:cubicBezTo>
                    <a:cubicBezTo>
                      <a:pt x="33" y="171"/>
                      <a:pt x="31" y="170"/>
                      <a:pt x="30" y="169"/>
                    </a:cubicBezTo>
                    <a:cubicBezTo>
                      <a:pt x="29" y="169"/>
                      <a:pt x="28" y="169"/>
                      <a:pt x="28" y="168"/>
                    </a:cubicBezTo>
                    <a:cubicBezTo>
                      <a:pt x="27" y="167"/>
                      <a:pt x="27" y="167"/>
                      <a:pt x="25" y="167"/>
                    </a:cubicBezTo>
                    <a:cubicBezTo>
                      <a:pt x="23" y="167"/>
                      <a:pt x="23" y="168"/>
                      <a:pt x="22" y="169"/>
                    </a:cubicBezTo>
                    <a:cubicBezTo>
                      <a:pt x="20" y="170"/>
                      <a:pt x="17" y="169"/>
                      <a:pt x="15" y="169"/>
                    </a:cubicBezTo>
                    <a:cubicBezTo>
                      <a:pt x="13" y="169"/>
                      <a:pt x="13" y="169"/>
                      <a:pt x="12" y="169"/>
                    </a:cubicBezTo>
                    <a:cubicBezTo>
                      <a:pt x="12" y="170"/>
                      <a:pt x="11" y="170"/>
                      <a:pt x="11" y="171"/>
                    </a:cubicBezTo>
                    <a:cubicBezTo>
                      <a:pt x="10" y="171"/>
                      <a:pt x="10" y="171"/>
                      <a:pt x="9" y="172"/>
                    </a:cubicBezTo>
                    <a:cubicBezTo>
                      <a:pt x="8" y="173"/>
                      <a:pt x="5" y="177"/>
                      <a:pt x="6" y="179"/>
                    </a:cubicBezTo>
                    <a:cubicBezTo>
                      <a:pt x="8" y="179"/>
                      <a:pt x="12" y="178"/>
                      <a:pt x="13" y="180"/>
                    </a:cubicBezTo>
                    <a:cubicBezTo>
                      <a:pt x="14" y="180"/>
                      <a:pt x="14" y="181"/>
                      <a:pt x="14" y="182"/>
                    </a:cubicBezTo>
                    <a:cubicBezTo>
                      <a:pt x="15" y="183"/>
                      <a:pt x="16" y="183"/>
                      <a:pt x="18" y="184"/>
                    </a:cubicBezTo>
                    <a:cubicBezTo>
                      <a:pt x="22" y="184"/>
                      <a:pt x="23" y="187"/>
                      <a:pt x="27" y="185"/>
                    </a:cubicBezTo>
                    <a:cubicBezTo>
                      <a:pt x="29" y="184"/>
                      <a:pt x="31" y="183"/>
                      <a:pt x="33" y="182"/>
                    </a:cubicBezTo>
                    <a:cubicBezTo>
                      <a:pt x="34" y="182"/>
                      <a:pt x="34" y="182"/>
                      <a:pt x="35" y="182"/>
                    </a:cubicBezTo>
                    <a:cubicBezTo>
                      <a:pt x="36" y="182"/>
                      <a:pt x="37" y="181"/>
                      <a:pt x="37" y="181"/>
                    </a:cubicBezTo>
                    <a:cubicBezTo>
                      <a:pt x="38" y="181"/>
                      <a:pt x="39" y="182"/>
                      <a:pt x="40" y="183"/>
                    </a:cubicBezTo>
                    <a:cubicBezTo>
                      <a:pt x="40" y="185"/>
                      <a:pt x="39" y="186"/>
                      <a:pt x="41" y="186"/>
                    </a:cubicBezTo>
                    <a:cubicBezTo>
                      <a:pt x="42" y="187"/>
                      <a:pt x="46" y="184"/>
                      <a:pt x="47" y="186"/>
                    </a:cubicBezTo>
                    <a:cubicBezTo>
                      <a:pt x="48" y="186"/>
                      <a:pt x="48" y="190"/>
                      <a:pt x="48" y="190"/>
                    </a:cubicBezTo>
                    <a:cubicBezTo>
                      <a:pt x="47" y="191"/>
                      <a:pt x="45" y="190"/>
                      <a:pt x="44" y="190"/>
                    </a:cubicBezTo>
                    <a:cubicBezTo>
                      <a:pt x="41" y="189"/>
                      <a:pt x="39" y="189"/>
                      <a:pt x="36" y="188"/>
                    </a:cubicBezTo>
                    <a:cubicBezTo>
                      <a:pt x="35" y="188"/>
                      <a:pt x="34" y="187"/>
                      <a:pt x="33" y="188"/>
                    </a:cubicBezTo>
                    <a:cubicBezTo>
                      <a:pt x="32" y="188"/>
                      <a:pt x="31" y="188"/>
                      <a:pt x="30" y="188"/>
                    </a:cubicBezTo>
                    <a:cubicBezTo>
                      <a:pt x="27" y="189"/>
                      <a:pt x="24" y="188"/>
                      <a:pt x="21" y="188"/>
                    </a:cubicBezTo>
                    <a:cubicBezTo>
                      <a:pt x="18" y="188"/>
                      <a:pt x="16" y="188"/>
                      <a:pt x="13" y="187"/>
                    </a:cubicBezTo>
                    <a:cubicBezTo>
                      <a:pt x="12" y="187"/>
                      <a:pt x="11" y="186"/>
                      <a:pt x="11" y="186"/>
                    </a:cubicBezTo>
                    <a:cubicBezTo>
                      <a:pt x="9" y="185"/>
                      <a:pt x="8" y="183"/>
                      <a:pt x="6" y="183"/>
                    </a:cubicBezTo>
                    <a:cubicBezTo>
                      <a:pt x="3" y="182"/>
                      <a:pt x="1" y="184"/>
                      <a:pt x="1" y="187"/>
                    </a:cubicBezTo>
                    <a:cubicBezTo>
                      <a:pt x="1" y="188"/>
                      <a:pt x="1" y="189"/>
                      <a:pt x="0" y="190"/>
                    </a:cubicBezTo>
                    <a:cubicBezTo>
                      <a:pt x="0" y="192"/>
                      <a:pt x="1" y="192"/>
                      <a:pt x="1" y="193"/>
                    </a:cubicBezTo>
                    <a:cubicBezTo>
                      <a:pt x="2" y="194"/>
                      <a:pt x="2" y="195"/>
                      <a:pt x="3" y="196"/>
                    </a:cubicBezTo>
                    <a:cubicBezTo>
                      <a:pt x="4" y="197"/>
                      <a:pt x="5" y="197"/>
                      <a:pt x="6" y="197"/>
                    </a:cubicBezTo>
                    <a:cubicBezTo>
                      <a:pt x="7" y="198"/>
                      <a:pt x="9" y="199"/>
                      <a:pt x="11" y="198"/>
                    </a:cubicBezTo>
                    <a:cubicBezTo>
                      <a:pt x="12" y="197"/>
                      <a:pt x="12" y="196"/>
                      <a:pt x="12" y="196"/>
                    </a:cubicBezTo>
                    <a:cubicBezTo>
                      <a:pt x="13" y="195"/>
                      <a:pt x="17" y="194"/>
                      <a:pt x="18" y="194"/>
                    </a:cubicBezTo>
                    <a:cubicBezTo>
                      <a:pt x="21" y="194"/>
                      <a:pt x="22" y="196"/>
                      <a:pt x="23" y="198"/>
                    </a:cubicBezTo>
                    <a:cubicBezTo>
                      <a:pt x="25" y="200"/>
                      <a:pt x="30" y="201"/>
                      <a:pt x="33" y="202"/>
                    </a:cubicBezTo>
                    <a:cubicBezTo>
                      <a:pt x="35" y="203"/>
                      <a:pt x="36" y="204"/>
                      <a:pt x="38" y="203"/>
                    </a:cubicBezTo>
                    <a:cubicBezTo>
                      <a:pt x="39" y="203"/>
                      <a:pt x="40" y="202"/>
                      <a:pt x="41" y="201"/>
                    </a:cubicBezTo>
                    <a:cubicBezTo>
                      <a:pt x="41" y="200"/>
                      <a:pt x="42" y="199"/>
                      <a:pt x="42" y="199"/>
                    </a:cubicBezTo>
                    <a:cubicBezTo>
                      <a:pt x="42" y="198"/>
                      <a:pt x="43" y="197"/>
                      <a:pt x="44" y="196"/>
                    </a:cubicBezTo>
                    <a:cubicBezTo>
                      <a:pt x="44" y="195"/>
                      <a:pt x="44" y="195"/>
                      <a:pt x="46" y="194"/>
                    </a:cubicBezTo>
                    <a:cubicBezTo>
                      <a:pt x="47" y="194"/>
                      <a:pt x="48" y="194"/>
                      <a:pt x="49" y="193"/>
                    </a:cubicBezTo>
                    <a:cubicBezTo>
                      <a:pt x="49" y="193"/>
                      <a:pt x="49" y="193"/>
                      <a:pt x="49" y="193"/>
                    </a:cubicBezTo>
                    <a:cubicBezTo>
                      <a:pt x="49" y="192"/>
                      <a:pt x="49" y="192"/>
                      <a:pt x="50" y="192"/>
                    </a:cubicBezTo>
                    <a:cubicBezTo>
                      <a:pt x="51" y="191"/>
                      <a:pt x="51" y="191"/>
                      <a:pt x="51" y="190"/>
                    </a:cubicBezTo>
                    <a:cubicBezTo>
                      <a:pt x="52" y="189"/>
                      <a:pt x="53" y="188"/>
                      <a:pt x="54" y="188"/>
                    </a:cubicBezTo>
                    <a:cubicBezTo>
                      <a:pt x="55" y="187"/>
                      <a:pt x="55" y="187"/>
                      <a:pt x="56" y="187"/>
                    </a:cubicBezTo>
                    <a:cubicBezTo>
                      <a:pt x="57" y="186"/>
                      <a:pt x="58" y="186"/>
                      <a:pt x="59" y="185"/>
                    </a:cubicBezTo>
                    <a:cubicBezTo>
                      <a:pt x="60" y="185"/>
                      <a:pt x="60" y="184"/>
                      <a:pt x="61" y="183"/>
                    </a:cubicBezTo>
                    <a:cubicBezTo>
                      <a:pt x="62" y="183"/>
                      <a:pt x="63" y="183"/>
                      <a:pt x="64" y="183"/>
                    </a:cubicBezTo>
                    <a:cubicBezTo>
                      <a:pt x="65" y="183"/>
                      <a:pt x="66" y="182"/>
                      <a:pt x="67" y="182"/>
                    </a:cubicBezTo>
                    <a:cubicBezTo>
                      <a:pt x="70" y="182"/>
                      <a:pt x="73" y="182"/>
                      <a:pt x="76" y="182"/>
                    </a:cubicBezTo>
                    <a:cubicBezTo>
                      <a:pt x="79" y="182"/>
                      <a:pt x="80" y="184"/>
                      <a:pt x="82" y="184"/>
                    </a:cubicBezTo>
                    <a:cubicBezTo>
                      <a:pt x="84" y="185"/>
                      <a:pt x="86" y="184"/>
                      <a:pt x="88" y="184"/>
                    </a:cubicBezTo>
                    <a:cubicBezTo>
                      <a:pt x="89" y="184"/>
                      <a:pt x="91" y="184"/>
                      <a:pt x="92" y="184"/>
                    </a:cubicBezTo>
                    <a:cubicBezTo>
                      <a:pt x="93" y="184"/>
                      <a:pt x="94" y="183"/>
                      <a:pt x="96" y="182"/>
                    </a:cubicBezTo>
                    <a:cubicBezTo>
                      <a:pt x="96" y="182"/>
                      <a:pt x="97" y="182"/>
                      <a:pt x="98" y="182"/>
                    </a:cubicBezTo>
                    <a:cubicBezTo>
                      <a:pt x="99" y="182"/>
                      <a:pt x="100" y="182"/>
                      <a:pt x="100" y="182"/>
                    </a:cubicBezTo>
                    <a:cubicBezTo>
                      <a:pt x="103" y="182"/>
                      <a:pt x="104" y="185"/>
                      <a:pt x="103" y="187"/>
                    </a:cubicBezTo>
                    <a:cubicBezTo>
                      <a:pt x="103" y="188"/>
                      <a:pt x="100" y="190"/>
                      <a:pt x="98" y="191"/>
                    </a:cubicBezTo>
                    <a:cubicBezTo>
                      <a:pt x="98" y="191"/>
                      <a:pt x="97" y="191"/>
                      <a:pt x="97" y="192"/>
                    </a:cubicBezTo>
                    <a:cubicBezTo>
                      <a:pt x="97" y="193"/>
                      <a:pt x="98" y="193"/>
                      <a:pt x="99" y="193"/>
                    </a:cubicBezTo>
                    <a:cubicBezTo>
                      <a:pt x="101" y="194"/>
                      <a:pt x="102" y="194"/>
                      <a:pt x="104" y="195"/>
                    </a:cubicBezTo>
                    <a:cubicBezTo>
                      <a:pt x="106" y="196"/>
                      <a:pt x="106" y="196"/>
                      <a:pt x="107" y="197"/>
                    </a:cubicBezTo>
                    <a:cubicBezTo>
                      <a:pt x="107" y="197"/>
                      <a:pt x="108" y="198"/>
                      <a:pt x="108" y="198"/>
                    </a:cubicBezTo>
                    <a:cubicBezTo>
                      <a:pt x="109" y="198"/>
                      <a:pt x="109" y="199"/>
                      <a:pt x="109" y="199"/>
                    </a:cubicBezTo>
                    <a:cubicBezTo>
                      <a:pt x="111" y="200"/>
                      <a:pt x="112" y="200"/>
                      <a:pt x="113" y="199"/>
                    </a:cubicBezTo>
                    <a:cubicBezTo>
                      <a:pt x="116" y="198"/>
                      <a:pt x="118" y="197"/>
                      <a:pt x="121" y="197"/>
                    </a:cubicBezTo>
                    <a:cubicBezTo>
                      <a:pt x="123" y="197"/>
                      <a:pt x="123" y="197"/>
                      <a:pt x="124" y="199"/>
                    </a:cubicBezTo>
                    <a:cubicBezTo>
                      <a:pt x="124" y="199"/>
                      <a:pt x="125" y="200"/>
                      <a:pt x="125" y="200"/>
                    </a:cubicBezTo>
                    <a:cubicBezTo>
                      <a:pt x="126" y="201"/>
                      <a:pt x="126" y="201"/>
                      <a:pt x="127" y="202"/>
                    </a:cubicBezTo>
                    <a:cubicBezTo>
                      <a:pt x="127" y="202"/>
                      <a:pt x="128" y="203"/>
                      <a:pt x="129" y="203"/>
                    </a:cubicBezTo>
                    <a:cubicBezTo>
                      <a:pt x="130" y="204"/>
                      <a:pt x="131" y="204"/>
                      <a:pt x="132" y="204"/>
                    </a:cubicBezTo>
                    <a:cubicBezTo>
                      <a:pt x="133" y="205"/>
                      <a:pt x="135" y="205"/>
                      <a:pt x="136" y="205"/>
                    </a:cubicBezTo>
                    <a:cubicBezTo>
                      <a:pt x="136" y="206"/>
                      <a:pt x="137" y="207"/>
                      <a:pt x="137" y="208"/>
                    </a:cubicBezTo>
                    <a:cubicBezTo>
                      <a:pt x="136" y="209"/>
                      <a:pt x="136" y="209"/>
                      <a:pt x="135" y="210"/>
                    </a:cubicBezTo>
                    <a:cubicBezTo>
                      <a:pt x="135" y="211"/>
                      <a:pt x="134" y="212"/>
                      <a:pt x="134" y="213"/>
                    </a:cubicBezTo>
                    <a:cubicBezTo>
                      <a:pt x="133" y="214"/>
                      <a:pt x="133" y="214"/>
                      <a:pt x="132" y="214"/>
                    </a:cubicBezTo>
                    <a:cubicBezTo>
                      <a:pt x="132" y="215"/>
                      <a:pt x="132" y="215"/>
                      <a:pt x="132" y="216"/>
                    </a:cubicBezTo>
                    <a:cubicBezTo>
                      <a:pt x="131" y="218"/>
                      <a:pt x="130" y="219"/>
                      <a:pt x="129" y="221"/>
                    </a:cubicBezTo>
                    <a:cubicBezTo>
                      <a:pt x="129" y="222"/>
                      <a:pt x="129" y="223"/>
                      <a:pt x="128" y="224"/>
                    </a:cubicBezTo>
                    <a:cubicBezTo>
                      <a:pt x="128" y="226"/>
                      <a:pt x="128" y="227"/>
                      <a:pt x="127" y="228"/>
                    </a:cubicBezTo>
                    <a:cubicBezTo>
                      <a:pt x="126" y="229"/>
                      <a:pt x="126" y="229"/>
                      <a:pt x="126" y="231"/>
                    </a:cubicBezTo>
                    <a:cubicBezTo>
                      <a:pt x="126" y="231"/>
                      <a:pt x="126" y="232"/>
                      <a:pt x="126" y="233"/>
                    </a:cubicBezTo>
                    <a:cubicBezTo>
                      <a:pt x="126" y="234"/>
                      <a:pt x="125" y="238"/>
                      <a:pt x="126" y="239"/>
                    </a:cubicBezTo>
                    <a:cubicBezTo>
                      <a:pt x="127" y="241"/>
                      <a:pt x="131" y="240"/>
                      <a:pt x="133" y="240"/>
                    </a:cubicBezTo>
                    <a:cubicBezTo>
                      <a:pt x="134" y="240"/>
                      <a:pt x="135" y="241"/>
                      <a:pt x="137" y="241"/>
                    </a:cubicBezTo>
                    <a:cubicBezTo>
                      <a:pt x="139" y="243"/>
                      <a:pt x="142" y="243"/>
                      <a:pt x="145" y="243"/>
                    </a:cubicBezTo>
                    <a:cubicBezTo>
                      <a:pt x="145" y="243"/>
                      <a:pt x="145" y="243"/>
                      <a:pt x="145" y="243"/>
                    </a:cubicBezTo>
                    <a:cubicBezTo>
                      <a:pt x="146" y="242"/>
                      <a:pt x="146" y="241"/>
                      <a:pt x="146" y="241"/>
                    </a:cubicBezTo>
                    <a:cubicBezTo>
                      <a:pt x="147" y="240"/>
                      <a:pt x="148" y="240"/>
                      <a:pt x="149" y="239"/>
                    </a:cubicBezTo>
                    <a:cubicBezTo>
                      <a:pt x="149" y="239"/>
                      <a:pt x="148" y="239"/>
                      <a:pt x="148" y="238"/>
                    </a:cubicBezTo>
                    <a:cubicBezTo>
                      <a:pt x="148" y="238"/>
                      <a:pt x="148" y="237"/>
                      <a:pt x="149" y="236"/>
                    </a:cubicBezTo>
                    <a:cubicBezTo>
                      <a:pt x="149" y="235"/>
                      <a:pt x="149" y="235"/>
                      <a:pt x="149" y="233"/>
                    </a:cubicBezTo>
                    <a:cubicBezTo>
                      <a:pt x="149" y="233"/>
                      <a:pt x="149" y="233"/>
                      <a:pt x="149" y="232"/>
                    </a:cubicBezTo>
                    <a:cubicBezTo>
                      <a:pt x="149" y="232"/>
                      <a:pt x="149" y="231"/>
                      <a:pt x="149" y="230"/>
                    </a:cubicBezTo>
                    <a:cubicBezTo>
                      <a:pt x="150" y="229"/>
                      <a:pt x="150" y="227"/>
                      <a:pt x="151" y="226"/>
                    </a:cubicBezTo>
                    <a:cubicBezTo>
                      <a:pt x="151" y="224"/>
                      <a:pt x="151" y="222"/>
                      <a:pt x="151" y="221"/>
                    </a:cubicBezTo>
                    <a:cubicBezTo>
                      <a:pt x="151" y="220"/>
                      <a:pt x="150" y="219"/>
                      <a:pt x="150" y="219"/>
                    </a:cubicBezTo>
                    <a:cubicBezTo>
                      <a:pt x="149" y="219"/>
                      <a:pt x="149" y="219"/>
                      <a:pt x="149" y="219"/>
                    </a:cubicBezTo>
                    <a:cubicBezTo>
                      <a:pt x="149" y="219"/>
                      <a:pt x="149" y="219"/>
                      <a:pt x="149" y="219"/>
                    </a:cubicBezTo>
                    <a:cubicBezTo>
                      <a:pt x="149" y="219"/>
                      <a:pt x="148" y="219"/>
                      <a:pt x="147" y="219"/>
                    </a:cubicBezTo>
                    <a:cubicBezTo>
                      <a:pt x="146" y="219"/>
                      <a:pt x="146" y="219"/>
                      <a:pt x="146" y="219"/>
                    </a:cubicBezTo>
                    <a:cubicBezTo>
                      <a:pt x="145" y="217"/>
                      <a:pt x="146" y="215"/>
                      <a:pt x="146" y="213"/>
                    </a:cubicBezTo>
                    <a:cubicBezTo>
                      <a:pt x="147" y="212"/>
                      <a:pt x="146" y="212"/>
                      <a:pt x="148" y="212"/>
                    </a:cubicBezTo>
                    <a:cubicBezTo>
                      <a:pt x="149" y="211"/>
                      <a:pt x="149" y="211"/>
                      <a:pt x="150" y="210"/>
                    </a:cubicBezTo>
                    <a:cubicBezTo>
                      <a:pt x="150" y="209"/>
                      <a:pt x="152" y="209"/>
                      <a:pt x="153" y="208"/>
                    </a:cubicBezTo>
                    <a:cubicBezTo>
                      <a:pt x="152" y="207"/>
                      <a:pt x="152" y="207"/>
                      <a:pt x="152" y="206"/>
                    </a:cubicBezTo>
                    <a:cubicBezTo>
                      <a:pt x="152" y="206"/>
                      <a:pt x="152" y="205"/>
                      <a:pt x="152" y="205"/>
                    </a:cubicBezTo>
                    <a:cubicBezTo>
                      <a:pt x="152" y="204"/>
                      <a:pt x="152" y="204"/>
                      <a:pt x="151" y="204"/>
                    </a:cubicBezTo>
                    <a:cubicBezTo>
                      <a:pt x="151" y="203"/>
                      <a:pt x="152" y="203"/>
                      <a:pt x="153" y="202"/>
                    </a:cubicBezTo>
                    <a:cubicBezTo>
                      <a:pt x="154" y="199"/>
                      <a:pt x="152" y="196"/>
                      <a:pt x="154" y="194"/>
                    </a:cubicBezTo>
                    <a:cubicBezTo>
                      <a:pt x="154" y="193"/>
                      <a:pt x="155" y="193"/>
                      <a:pt x="155" y="192"/>
                    </a:cubicBezTo>
                    <a:cubicBezTo>
                      <a:pt x="156" y="191"/>
                      <a:pt x="157" y="191"/>
                      <a:pt x="157" y="190"/>
                    </a:cubicBezTo>
                    <a:cubicBezTo>
                      <a:pt x="158" y="189"/>
                      <a:pt x="158" y="190"/>
                      <a:pt x="158" y="188"/>
                    </a:cubicBezTo>
                    <a:cubicBezTo>
                      <a:pt x="158" y="187"/>
                      <a:pt x="158" y="185"/>
                      <a:pt x="158" y="184"/>
                    </a:cubicBezTo>
                    <a:cubicBezTo>
                      <a:pt x="157" y="182"/>
                      <a:pt x="157" y="179"/>
                      <a:pt x="157" y="177"/>
                    </a:cubicBezTo>
                    <a:cubicBezTo>
                      <a:pt x="156" y="176"/>
                      <a:pt x="156" y="176"/>
                      <a:pt x="156" y="175"/>
                    </a:cubicBezTo>
                    <a:cubicBezTo>
                      <a:pt x="156" y="174"/>
                      <a:pt x="156" y="173"/>
                      <a:pt x="156" y="172"/>
                    </a:cubicBezTo>
                    <a:cubicBezTo>
                      <a:pt x="156" y="171"/>
                      <a:pt x="155" y="170"/>
                      <a:pt x="155" y="169"/>
                    </a:cubicBezTo>
                    <a:cubicBezTo>
                      <a:pt x="155" y="169"/>
                      <a:pt x="155" y="169"/>
                      <a:pt x="155" y="168"/>
                    </a:cubicBezTo>
                    <a:cubicBezTo>
                      <a:pt x="154" y="167"/>
                      <a:pt x="152" y="167"/>
                      <a:pt x="151" y="165"/>
                    </a:cubicBezTo>
                    <a:cubicBezTo>
                      <a:pt x="150" y="164"/>
                      <a:pt x="151" y="162"/>
                      <a:pt x="150" y="160"/>
                    </a:cubicBezTo>
                    <a:cubicBezTo>
                      <a:pt x="150" y="158"/>
                      <a:pt x="147" y="157"/>
                      <a:pt x="146" y="156"/>
                    </a:cubicBezTo>
                    <a:cubicBezTo>
                      <a:pt x="145" y="155"/>
                      <a:pt x="145" y="155"/>
                      <a:pt x="145" y="153"/>
                    </a:cubicBezTo>
                    <a:cubicBezTo>
                      <a:pt x="145" y="153"/>
                      <a:pt x="145" y="152"/>
                      <a:pt x="145" y="151"/>
                    </a:cubicBezTo>
                    <a:cubicBezTo>
                      <a:pt x="145" y="149"/>
                      <a:pt x="146" y="146"/>
                      <a:pt x="148" y="146"/>
                    </a:cubicBezTo>
                    <a:cubicBezTo>
                      <a:pt x="150" y="146"/>
                      <a:pt x="151" y="146"/>
                      <a:pt x="153" y="146"/>
                    </a:cubicBezTo>
                    <a:cubicBezTo>
                      <a:pt x="153" y="146"/>
                      <a:pt x="153" y="145"/>
                      <a:pt x="153" y="144"/>
                    </a:cubicBezTo>
                    <a:cubicBezTo>
                      <a:pt x="153" y="141"/>
                      <a:pt x="156" y="141"/>
                      <a:pt x="158" y="141"/>
                    </a:cubicBezTo>
                    <a:cubicBezTo>
                      <a:pt x="160" y="142"/>
                      <a:pt x="162" y="143"/>
                      <a:pt x="164" y="144"/>
                    </a:cubicBezTo>
                    <a:cubicBezTo>
                      <a:pt x="165" y="145"/>
                      <a:pt x="166" y="145"/>
                      <a:pt x="167" y="145"/>
                    </a:cubicBezTo>
                    <a:cubicBezTo>
                      <a:pt x="168" y="145"/>
                      <a:pt x="170" y="145"/>
                      <a:pt x="171" y="145"/>
                    </a:cubicBezTo>
                    <a:cubicBezTo>
                      <a:pt x="172" y="145"/>
                      <a:pt x="173" y="144"/>
                      <a:pt x="174" y="144"/>
                    </a:cubicBezTo>
                    <a:cubicBezTo>
                      <a:pt x="176" y="144"/>
                      <a:pt x="175" y="144"/>
                      <a:pt x="176" y="143"/>
                    </a:cubicBezTo>
                    <a:cubicBezTo>
                      <a:pt x="177" y="142"/>
                      <a:pt x="179" y="142"/>
                      <a:pt x="180" y="142"/>
                    </a:cubicBezTo>
                    <a:cubicBezTo>
                      <a:pt x="182" y="141"/>
                      <a:pt x="185" y="139"/>
                      <a:pt x="187" y="138"/>
                    </a:cubicBezTo>
                    <a:cubicBezTo>
                      <a:pt x="188" y="138"/>
                      <a:pt x="189" y="137"/>
                      <a:pt x="189" y="136"/>
                    </a:cubicBezTo>
                    <a:cubicBezTo>
                      <a:pt x="190" y="134"/>
                      <a:pt x="189" y="134"/>
                      <a:pt x="188" y="133"/>
                    </a:cubicBezTo>
                    <a:cubicBezTo>
                      <a:pt x="188" y="132"/>
                      <a:pt x="188" y="130"/>
                      <a:pt x="188" y="129"/>
                    </a:cubicBezTo>
                    <a:cubicBezTo>
                      <a:pt x="188" y="128"/>
                      <a:pt x="188" y="127"/>
                      <a:pt x="188" y="126"/>
                    </a:cubicBezTo>
                    <a:cubicBezTo>
                      <a:pt x="188" y="126"/>
                      <a:pt x="188" y="125"/>
                      <a:pt x="189" y="124"/>
                    </a:cubicBezTo>
                    <a:cubicBezTo>
                      <a:pt x="189" y="124"/>
                      <a:pt x="189" y="124"/>
                      <a:pt x="190" y="124"/>
                    </a:cubicBezTo>
                    <a:cubicBezTo>
                      <a:pt x="190" y="123"/>
                      <a:pt x="191" y="123"/>
                      <a:pt x="191" y="122"/>
                    </a:cubicBezTo>
                    <a:cubicBezTo>
                      <a:pt x="193" y="120"/>
                      <a:pt x="195" y="119"/>
                      <a:pt x="197" y="117"/>
                    </a:cubicBezTo>
                    <a:cubicBezTo>
                      <a:pt x="198" y="116"/>
                      <a:pt x="198" y="115"/>
                      <a:pt x="199" y="114"/>
                    </a:cubicBezTo>
                    <a:cubicBezTo>
                      <a:pt x="201" y="114"/>
                      <a:pt x="202" y="113"/>
                      <a:pt x="203" y="112"/>
                    </a:cubicBezTo>
                    <a:cubicBezTo>
                      <a:pt x="205" y="110"/>
                      <a:pt x="203" y="107"/>
                      <a:pt x="204" y="105"/>
                    </a:cubicBezTo>
                    <a:cubicBezTo>
                      <a:pt x="204" y="104"/>
                      <a:pt x="205" y="104"/>
                      <a:pt x="205" y="103"/>
                    </a:cubicBezTo>
                    <a:cubicBezTo>
                      <a:pt x="206" y="102"/>
                      <a:pt x="206" y="100"/>
                      <a:pt x="206" y="99"/>
                    </a:cubicBezTo>
                    <a:cubicBezTo>
                      <a:pt x="205" y="98"/>
                      <a:pt x="205" y="98"/>
                      <a:pt x="204" y="97"/>
                    </a:cubicBezTo>
                    <a:cubicBezTo>
                      <a:pt x="204" y="97"/>
                      <a:pt x="204" y="96"/>
                      <a:pt x="204" y="96"/>
                    </a:cubicBezTo>
                    <a:cubicBezTo>
                      <a:pt x="204" y="96"/>
                      <a:pt x="204" y="95"/>
                      <a:pt x="203" y="95"/>
                    </a:cubicBezTo>
                    <a:cubicBezTo>
                      <a:pt x="203" y="95"/>
                      <a:pt x="203" y="95"/>
                      <a:pt x="203" y="95"/>
                    </a:cubicBezTo>
                    <a:cubicBezTo>
                      <a:pt x="199" y="93"/>
                      <a:pt x="182" y="94"/>
                      <a:pt x="185" y="85"/>
                    </a:cubicBezTo>
                    <a:cubicBezTo>
                      <a:pt x="186" y="83"/>
                      <a:pt x="185" y="83"/>
                      <a:pt x="183" y="81"/>
                    </a:cubicBezTo>
                    <a:cubicBezTo>
                      <a:pt x="183" y="81"/>
                      <a:pt x="182" y="80"/>
                      <a:pt x="182" y="80"/>
                    </a:cubicBezTo>
                    <a:cubicBezTo>
                      <a:pt x="181" y="80"/>
                      <a:pt x="180" y="78"/>
                      <a:pt x="180" y="78"/>
                    </a:cubicBezTo>
                    <a:cubicBezTo>
                      <a:pt x="179" y="77"/>
                      <a:pt x="179" y="76"/>
                      <a:pt x="180" y="76"/>
                    </a:cubicBezTo>
                    <a:cubicBezTo>
                      <a:pt x="181" y="76"/>
                      <a:pt x="182" y="74"/>
                      <a:pt x="183" y="74"/>
                    </a:cubicBezTo>
                    <a:cubicBezTo>
                      <a:pt x="184" y="74"/>
                      <a:pt x="186" y="74"/>
                      <a:pt x="187" y="74"/>
                    </a:cubicBezTo>
                    <a:cubicBezTo>
                      <a:pt x="189" y="74"/>
                      <a:pt x="191" y="74"/>
                      <a:pt x="193" y="74"/>
                    </a:cubicBezTo>
                    <a:cubicBezTo>
                      <a:pt x="194" y="73"/>
                      <a:pt x="194" y="73"/>
                      <a:pt x="195" y="72"/>
                    </a:cubicBezTo>
                    <a:cubicBezTo>
                      <a:pt x="195" y="71"/>
                      <a:pt x="195" y="71"/>
                      <a:pt x="197" y="71"/>
                    </a:cubicBezTo>
                    <a:cubicBezTo>
                      <a:pt x="198" y="71"/>
                      <a:pt x="200" y="72"/>
                      <a:pt x="201" y="71"/>
                    </a:cubicBezTo>
                    <a:cubicBezTo>
                      <a:pt x="202" y="71"/>
                      <a:pt x="203" y="69"/>
                      <a:pt x="204" y="68"/>
                    </a:cubicBezTo>
                    <a:cubicBezTo>
                      <a:pt x="205" y="67"/>
                      <a:pt x="208" y="67"/>
                      <a:pt x="209" y="65"/>
                    </a:cubicBezTo>
                    <a:cubicBezTo>
                      <a:pt x="209" y="64"/>
                      <a:pt x="208" y="64"/>
                      <a:pt x="208" y="63"/>
                    </a:cubicBezTo>
                    <a:cubicBezTo>
                      <a:pt x="206" y="60"/>
                      <a:pt x="207" y="59"/>
                      <a:pt x="209" y="57"/>
                    </a:cubicBezTo>
                    <a:cubicBezTo>
                      <a:pt x="209" y="56"/>
                      <a:pt x="210" y="56"/>
                      <a:pt x="210" y="55"/>
                    </a:cubicBezTo>
                    <a:cubicBezTo>
                      <a:pt x="212" y="54"/>
                      <a:pt x="212" y="53"/>
                      <a:pt x="213" y="51"/>
                    </a:cubicBezTo>
                    <a:cubicBezTo>
                      <a:pt x="214" y="49"/>
                      <a:pt x="214" y="47"/>
                      <a:pt x="214" y="44"/>
                    </a:cubicBezTo>
                    <a:cubicBezTo>
                      <a:pt x="214" y="42"/>
                      <a:pt x="213" y="39"/>
                      <a:pt x="214" y="37"/>
                    </a:cubicBezTo>
                    <a:cubicBezTo>
                      <a:pt x="214" y="36"/>
                      <a:pt x="214" y="36"/>
                      <a:pt x="214" y="35"/>
                    </a:cubicBezTo>
                    <a:cubicBezTo>
                      <a:pt x="215" y="33"/>
                      <a:pt x="215" y="32"/>
                      <a:pt x="215" y="31"/>
                    </a:cubicBezTo>
                    <a:cubicBezTo>
                      <a:pt x="215" y="28"/>
                      <a:pt x="215" y="25"/>
                      <a:pt x="215" y="22"/>
                    </a:cubicBezTo>
                    <a:cubicBezTo>
                      <a:pt x="215" y="20"/>
                      <a:pt x="216" y="18"/>
                      <a:pt x="216" y="16"/>
                    </a:cubicBezTo>
                    <a:cubicBezTo>
                      <a:pt x="213" y="14"/>
                      <a:pt x="213" y="14"/>
                      <a:pt x="213" y="14"/>
                    </a:cubicBezTo>
                    <a:cubicBezTo>
                      <a:pt x="212" y="14"/>
                      <a:pt x="212" y="14"/>
                      <a:pt x="211" y="14"/>
                    </a:cubicBezTo>
                    <a:cubicBezTo>
                      <a:pt x="210" y="14"/>
                      <a:pt x="209" y="14"/>
                      <a:pt x="209" y="14"/>
                    </a:cubicBezTo>
                    <a:cubicBezTo>
                      <a:pt x="208" y="13"/>
                      <a:pt x="208" y="11"/>
                      <a:pt x="207" y="10"/>
                    </a:cubicBezTo>
                    <a:lnTo>
                      <a:pt x="206" y="9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82" name="Freeform 98">
                <a:extLst>
                  <a:ext uri="{FF2B5EF4-FFF2-40B4-BE49-F238E27FC236}">
                    <a16:creationId xmlns:a16="http://schemas.microsoft.com/office/drawing/2014/main" id="{7FBD5F61-A921-4FAB-9246-506E861CA0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6525" y="4025900"/>
                <a:ext cx="22225" cy="30163"/>
              </a:xfrm>
              <a:custGeom>
                <a:avLst/>
                <a:gdLst/>
                <a:ahLst/>
                <a:cxnLst>
                  <a:cxn ang="0">
                    <a:pos x="4" y="5"/>
                  </a:cxn>
                  <a:cxn ang="0">
                    <a:pos x="1" y="10"/>
                  </a:cxn>
                  <a:cxn ang="0">
                    <a:pos x="1" y="14"/>
                  </a:cxn>
                  <a:cxn ang="0">
                    <a:pos x="5" y="16"/>
                  </a:cxn>
                  <a:cxn ang="0">
                    <a:pos x="12" y="6"/>
                  </a:cxn>
                  <a:cxn ang="0">
                    <a:pos x="10" y="1"/>
                  </a:cxn>
                  <a:cxn ang="0">
                    <a:pos x="7" y="0"/>
                  </a:cxn>
                  <a:cxn ang="0">
                    <a:pos x="6" y="0"/>
                  </a:cxn>
                  <a:cxn ang="0">
                    <a:pos x="4" y="5"/>
                  </a:cxn>
                </a:cxnLst>
                <a:rect l="0" t="0" r="r" b="b"/>
                <a:pathLst>
                  <a:path w="12" h="16">
                    <a:moveTo>
                      <a:pt x="4" y="5"/>
                    </a:moveTo>
                    <a:cubicBezTo>
                      <a:pt x="3" y="6"/>
                      <a:pt x="2" y="8"/>
                      <a:pt x="1" y="10"/>
                    </a:cubicBezTo>
                    <a:cubicBezTo>
                      <a:pt x="0" y="11"/>
                      <a:pt x="0" y="13"/>
                      <a:pt x="1" y="14"/>
                    </a:cubicBezTo>
                    <a:cubicBezTo>
                      <a:pt x="2" y="15"/>
                      <a:pt x="4" y="16"/>
                      <a:pt x="5" y="16"/>
                    </a:cubicBezTo>
                    <a:cubicBezTo>
                      <a:pt x="9" y="16"/>
                      <a:pt x="12" y="10"/>
                      <a:pt x="12" y="6"/>
                    </a:cubicBezTo>
                    <a:cubicBezTo>
                      <a:pt x="12" y="4"/>
                      <a:pt x="11" y="2"/>
                      <a:pt x="10" y="1"/>
                    </a:cubicBezTo>
                    <a:cubicBezTo>
                      <a:pt x="9" y="0"/>
                      <a:pt x="8" y="0"/>
                      <a:pt x="7" y="0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5" y="4"/>
                      <a:pt x="4" y="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83" name="Freeform 99">
                <a:extLst>
                  <a:ext uri="{FF2B5EF4-FFF2-40B4-BE49-F238E27FC236}">
                    <a16:creationId xmlns:a16="http://schemas.microsoft.com/office/drawing/2014/main" id="{D34901F7-62AF-4F61-8C3D-CF93E75F2E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338" y="4002088"/>
                <a:ext cx="14288" cy="12700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3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4" y="6"/>
                  </a:cxn>
                  <a:cxn ang="0">
                    <a:pos x="5" y="5"/>
                  </a:cxn>
                  <a:cxn ang="0">
                    <a:pos x="7" y="3"/>
                  </a:cxn>
                  <a:cxn ang="0">
                    <a:pos x="8" y="2"/>
                  </a:cxn>
                  <a:cxn ang="0">
                    <a:pos x="8" y="1"/>
                  </a:cxn>
                  <a:cxn ang="0">
                    <a:pos x="7" y="0"/>
                  </a:cxn>
                </a:cxnLst>
                <a:rect l="0" t="0" r="r" b="b"/>
                <a:pathLst>
                  <a:path w="8" h="7">
                    <a:moveTo>
                      <a:pt x="7" y="0"/>
                    </a:moveTo>
                    <a:cubicBezTo>
                      <a:pt x="6" y="1"/>
                      <a:pt x="4" y="1"/>
                      <a:pt x="3" y="3"/>
                    </a:cubicBezTo>
                    <a:cubicBezTo>
                      <a:pt x="3" y="3"/>
                      <a:pt x="2" y="4"/>
                      <a:pt x="2" y="5"/>
                    </a:cubicBezTo>
                    <a:cubicBezTo>
                      <a:pt x="1" y="5"/>
                      <a:pt x="0" y="7"/>
                      <a:pt x="2" y="7"/>
                    </a:cubicBezTo>
                    <a:cubicBezTo>
                      <a:pt x="2" y="7"/>
                      <a:pt x="3" y="6"/>
                      <a:pt x="4" y="6"/>
                    </a:cubicBezTo>
                    <a:cubicBezTo>
                      <a:pt x="4" y="5"/>
                      <a:pt x="5" y="5"/>
                      <a:pt x="5" y="5"/>
                    </a:cubicBezTo>
                    <a:cubicBezTo>
                      <a:pt x="6" y="4"/>
                      <a:pt x="7" y="4"/>
                      <a:pt x="7" y="3"/>
                    </a:cubicBezTo>
                    <a:cubicBezTo>
                      <a:pt x="7" y="3"/>
                      <a:pt x="7" y="3"/>
                      <a:pt x="8" y="2"/>
                    </a:cubicBezTo>
                    <a:cubicBezTo>
                      <a:pt x="8" y="2"/>
                      <a:pt x="8" y="2"/>
                      <a:pt x="8" y="1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84" name="Freeform 100">
                <a:extLst>
                  <a:ext uri="{FF2B5EF4-FFF2-40B4-BE49-F238E27FC236}">
                    <a16:creationId xmlns:a16="http://schemas.microsoft.com/office/drawing/2014/main" id="{CAE0EE1C-AE6B-4FCD-BFC7-A43EB4F2E6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4150" y="3984625"/>
                <a:ext cx="26988" cy="14288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9" y="1"/>
                  </a:cxn>
                  <a:cxn ang="0">
                    <a:pos x="5" y="2"/>
                  </a:cxn>
                  <a:cxn ang="0">
                    <a:pos x="2" y="4"/>
                  </a:cxn>
                  <a:cxn ang="0">
                    <a:pos x="1" y="6"/>
                  </a:cxn>
                  <a:cxn ang="0">
                    <a:pos x="6" y="6"/>
                  </a:cxn>
                  <a:cxn ang="0">
                    <a:pos x="12" y="3"/>
                  </a:cxn>
                  <a:cxn ang="0">
                    <a:pos x="13" y="1"/>
                  </a:cxn>
                  <a:cxn ang="0">
                    <a:pos x="11" y="1"/>
                  </a:cxn>
                  <a:cxn ang="0">
                    <a:pos x="10" y="1"/>
                  </a:cxn>
                </a:cxnLst>
                <a:rect l="0" t="0" r="r" b="b"/>
                <a:pathLst>
                  <a:path w="14" h="7">
                    <a:moveTo>
                      <a:pt x="10" y="1"/>
                    </a:moveTo>
                    <a:cubicBezTo>
                      <a:pt x="10" y="1"/>
                      <a:pt x="9" y="1"/>
                      <a:pt x="9" y="1"/>
                    </a:cubicBezTo>
                    <a:cubicBezTo>
                      <a:pt x="8" y="2"/>
                      <a:pt x="6" y="2"/>
                      <a:pt x="5" y="2"/>
                    </a:cubicBezTo>
                    <a:cubicBezTo>
                      <a:pt x="4" y="3"/>
                      <a:pt x="3" y="3"/>
                      <a:pt x="2" y="4"/>
                    </a:cubicBezTo>
                    <a:cubicBezTo>
                      <a:pt x="1" y="5"/>
                      <a:pt x="0" y="6"/>
                      <a:pt x="1" y="6"/>
                    </a:cubicBezTo>
                    <a:cubicBezTo>
                      <a:pt x="3" y="7"/>
                      <a:pt x="4" y="7"/>
                      <a:pt x="6" y="6"/>
                    </a:cubicBezTo>
                    <a:cubicBezTo>
                      <a:pt x="8" y="6"/>
                      <a:pt x="10" y="5"/>
                      <a:pt x="12" y="3"/>
                    </a:cubicBezTo>
                    <a:cubicBezTo>
                      <a:pt x="12" y="3"/>
                      <a:pt x="14" y="2"/>
                      <a:pt x="13" y="1"/>
                    </a:cubicBezTo>
                    <a:cubicBezTo>
                      <a:pt x="13" y="0"/>
                      <a:pt x="12" y="1"/>
                      <a:pt x="11" y="1"/>
                    </a:cubicBezTo>
                    <a:lnTo>
                      <a:pt x="10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85" name="Freeform 101">
                <a:extLst>
                  <a:ext uri="{FF2B5EF4-FFF2-40B4-BE49-F238E27FC236}">
                    <a16:creationId xmlns:a16="http://schemas.microsoft.com/office/drawing/2014/main" id="{3668FB7A-7B5F-47E1-950C-51A5E0EE18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6538" y="3973513"/>
                <a:ext cx="28575" cy="7938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4" y="4"/>
                  </a:cxn>
                  <a:cxn ang="0">
                    <a:pos x="11" y="3"/>
                  </a:cxn>
                  <a:cxn ang="0">
                    <a:pos x="14" y="1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5" y="1"/>
                  </a:cxn>
                  <a:cxn ang="0">
                    <a:pos x="9" y="1"/>
                  </a:cxn>
                </a:cxnLst>
                <a:rect l="0" t="0" r="r" b="b"/>
                <a:pathLst>
                  <a:path w="15" h="4">
                    <a:moveTo>
                      <a:pt x="9" y="1"/>
                    </a:moveTo>
                    <a:cubicBezTo>
                      <a:pt x="6" y="1"/>
                      <a:pt x="3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1" y="4"/>
                    </a:cubicBezTo>
                    <a:cubicBezTo>
                      <a:pt x="2" y="4"/>
                      <a:pt x="3" y="4"/>
                      <a:pt x="4" y="4"/>
                    </a:cubicBezTo>
                    <a:cubicBezTo>
                      <a:pt x="7" y="4"/>
                      <a:pt x="9" y="4"/>
                      <a:pt x="11" y="3"/>
                    </a:cubicBezTo>
                    <a:cubicBezTo>
                      <a:pt x="12" y="3"/>
                      <a:pt x="15" y="2"/>
                      <a:pt x="14" y="1"/>
                    </a:cubicBezTo>
                    <a:cubicBezTo>
                      <a:pt x="14" y="1"/>
                      <a:pt x="13" y="0"/>
                      <a:pt x="12" y="0"/>
                    </a:cubicBezTo>
                    <a:cubicBezTo>
                      <a:pt x="11" y="0"/>
                      <a:pt x="10" y="0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6" y="1"/>
                      <a:pt x="6" y="1"/>
                      <a:pt x="5" y="1"/>
                    </a:cubicBezTo>
                    <a:lnTo>
                      <a:pt x="9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86" name="Freeform 102">
                <a:extLst>
                  <a:ext uri="{FF2B5EF4-FFF2-40B4-BE49-F238E27FC236}">
                    <a16:creationId xmlns:a16="http://schemas.microsoft.com/office/drawing/2014/main" id="{F5319EB2-EAD3-4220-9FB0-3DCA82B462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5750" y="3968750"/>
                <a:ext cx="20638" cy="4763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9" y="0"/>
                  </a:cxn>
                  <a:cxn ang="0">
                    <a:pos x="5" y="1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5" y="3"/>
                  </a:cxn>
                  <a:cxn ang="0">
                    <a:pos x="9" y="3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9" y="1"/>
                  </a:cxn>
                </a:cxnLst>
                <a:rect l="0" t="0" r="r" b="b"/>
                <a:pathLst>
                  <a:path w="11" h="3">
                    <a:moveTo>
                      <a:pt x="9" y="1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7" y="0"/>
                      <a:pt x="6" y="0"/>
                      <a:pt x="5" y="1"/>
                    </a:cubicBezTo>
                    <a:cubicBezTo>
                      <a:pt x="4" y="1"/>
                      <a:pt x="2" y="1"/>
                      <a:pt x="1" y="1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3" y="2"/>
                      <a:pt x="4" y="3"/>
                      <a:pt x="5" y="3"/>
                    </a:cubicBezTo>
                    <a:cubicBezTo>
                      <a:pt x="6" y="3"/>
                      <a:pt x="7" y="3"/>
                      <a:pt x="9" y="3"/>
                    </a:cubicBezTo>
                    <a:cubicBezTo>
                      <a:pt x="9" y="3"/>
                      <a:pt x="10" y="3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lnTo>
                      <a:pt x="9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87" name="Freeform 103">
                <a:extLst>
                  <a:ext uri="{FF2B5EF4-FFF2-40B4-BE49-F238E27FC236}">
                    <a16:creationId xmlns:a16="http://schemas.microsoft.com/office/drawing/2014/main" id="{37749F4A-DF0D-4342-AA91-EEA0284EF7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525" y="2338388"/>
                <a:ext cx="114300" cy="109538"/>
              </a:xfrm>
              <a:custGeom>
                <a:avLst/>
                <a:gdLst/>
                <a:ahLst/>
                <a:cxnLst>
                  <a:cxn ang="0">
                    <a:pos x="50" y="10"/>
                  </a:cxn>
                  <a:cxn ang="0">
                    <a:pos x="48" y="3"/>
                  </a:cxn>
                  <a:cxn ang="0">
                    <a:pos x="43" y="2"/>
                  </a:cxn>
                  <a:cxn ang="0">
                    <a:pos x="42" y="6"/>
                  </a:cxn>
                  <a:cxn ang="0">
                    <a:pos x="39" y="13"/>
                  </a:cxn>
                  <a:cxn ang="0">
                    <a:pos x="38" y="17"/>
                  </a:cxn>
                  <a:cxn ang="0">
                    <a:pos x="35" y="14"/>
                  </a:cxn>
                  <a:cxn ang="0">
                    <a:pos x="31" y="8"/>
                  </a:cxn>
                  <a:cxn ang="0">
                    <a:pos x="32" y="19"/>
                  </a:cxn>
                  <a:cxn ang="0">
                    <a:pos x="24" y="14"/>
                  </a:cxn>
                  <a:cxn ang="0">
                    <a:pos x="20" y="18"/>
                  </a:cxn>
                  <a:cxn ang="0">
                    <a:pos x="13" y="18"/>
                  </a:cxn>
                  <a:cxn ang="0">
                    <a:pos x="10" y="24"/>
                  </a:cxn>
                  <a:cxn ang="0">
                    <a:pos x="6" y="19"/>
                  </a:cxn>
                  <a:cxn ang="0">
                    <a:pos x="7" y="31"/>
                  </a:cxn>
                  <a:cxn ang="0">
                    <a:pos x="4" y="33"/>
                  </a:cxn>
                  <a:cxn ang="0">
                    <a:pos x="0" y="38"/>
                  </a:cxn>
                  <a:cxn ang="0">
                    <a:pos x="2" y="43"/>
                  </a:cxn>
                  <a:cxn ang="0">
                    <a:pos x="4" y="47"/>
                  </a:cxn>
                  <a:cxn ang="0">
                    <a:pos x="7" y="47"/>
                  </a:cxn>
                  <a:cxn ang="0">
                    <a:pos x="12" y="50"/>
                  </a:cxn>
                  <a:cxn ang="0">
                    <a:pos x="21" y="50"/>
                  </a:cxn>
                  <a:cxn ang="0">
                    <a:pos x="23" y="52"/>
                  </a:cxn>
                  <a:cxn ang="0">
                    <a:pos x="31" y="54"/>
                  </a:cxn>
                  <a:cxn ang="0">
                    <a:pos x="33" y="58"/>
                  </a:cxn>
                  <a:cxn ang="0">
                    <a:pos x="42" y="54"/>
                  </a:cxn>
                  <a:cxn ang="0">
                    <a:pos x="34" y="50"/>
                  </a:cxn>
                  <a:cxn ang="0">
                    <a:pos x="40" y="45"/>
                  </a:cxn>
                  <a:cxn ang="0">
                    <a:pos x="39" y="37"/>
                  </a:cxn>
                  <a:cxn ang="0">
                    <a:pos x="40" y="34"/>
                  </a:cxn>
                  <a:cxn ang="0">
                    <a:pos x="44" y="34"/>
                  </a:cxn>
                  <a:cxn ang="0">
                    <a:pos x="45" y="33"/>
                  </a:cxn>
                  <a:cxn ang="0">
                    <a:pos x="49" y="33"/>
                  </a:cxn>
                  <a:cxn ang="0">
                    <a:pos x="61" y="30"/>
                  </a:cxn>
                  <a:cxn ang="0">
                    <a:pos x="55" y="18"/>
                  </a:cxn>
                  <a:cxn ang="0">
                    <a:pos x="57" y="11"/>
                  </a:cxn>
                  <a:cxn ang="0">
                    <a:pos x="52" y="10"/>
                  </a:cxn>
                  <a:cxn ang="0">
                    <a:pos x="52" y="9"/>
                  </a:cxn>
                  <a:cxn ang="0">
                    <a:pos x="50" y="10"/>
                  </a:cxn>
                </a:cxnLst>
                <a:rect l="0" t="0" r="r" b="b"/>
                <a:pathLst>
                  <a:path w="61" h="59">
                    <a:moveTo>
                      <a:pt x="50" y="10"/>
                    </a:moveTo>
                    <a:cubicBezTo>
                      <a:pt x="50" y="7"/>
                      <a:pt x="50" y="5"/>
                      <a:pt x="48" y="3"/>
                    </a:cubicBezTo>
                    <a:cubicBezTo>
                      <a:pt x="47" y="2"/>
                      <a:pt x="45" y="0"/>
                      <a:pt x="43" y="2"/>
                    </a:cubicBezTo>
                    <a:cubicBezTo>
                      <a:pt x="43" y="2"/>
                      <a:pt x="43" y="5"/>
                      <a:pt x="42" y="6"/>
                    </a:cubicBezTo>
                    <a:cubicBezTo>
                      <a:pt x="41" y="8"/>
                      <a:pt x="39" y="10"/>
                      <a:pt x="39" y="13"/>
                    </a:cubicBezTo>
                    <a:cubicBezTo>
                      <a:pt x="37" y="13"/>
                      <a:pt x="36" y="16"/>
                      <a:pt x="38" y="17"/>
                    </a:cubicBezTo>
                    <a:cubicBezTo>
                      <a:pt x="41" y="15"/>
                      <a:pt x="35" y="9"/>
                      <a:pt x="35" y="14"/>
                    </a:cubicBezTo>
                    <a:cubicBezTo>
                      <a:pt x="35" y="11"/>
                      <a:pt x="33" y="9"/>
                      <a:pt x="31" y="8"/>
                    </a:cubicBezTo>
                    <a:cubicBezTo>
                      <a:pt x="29" y="11"/>
                      <a:pt x="33" y="16"/>
                      <a:pt x="32" y="19"/>
                    </a:cubicBezTo>
                    <a:cubicBezTo>
                      <a:pt x="29" y="19"/>
                      <a:pt x="27" y="14"/>
                      <a:pt x="24" y="14"/>
                    </a:cubicBezTo>
                    <a:cubicBezTo>
                      <a:pt x="21" y="14"/>
                      <a:pt x="20" y="15"/>
                      <a:pt x="20" y="18"/>
                    </a:cubicBezTo>
                    <a:cubicBezTo>
                      <a:pt x="18" y="19"/>
                      <a:pt x="15" y="18"/>
                      <a:pt x="13" y="18"/>
                    </a:cubicBezTo>
                    <a:cubicBezTo>
                      <a:pt x="13" y="19"/>
                      <a:pt x="12" y="24"/>
                      <a:pt x="10" y="24"/>
                    </a:cubicBezTo>
                    <a:cubicBezTo>
                      <a:pt x="9" y="22"/>
                      <a:pt x="8" y="19"/>
                      <a:pt x="6" y="19"/>
                    </a:cubicBezTo>
                    <a:cubicBezTo>
                      <a:pt x="5" y="23"/>
                      <a:pt x="8" y="27"/>
                      <a:pt x="7" y="31"/>
                    </a:cubicBezTo>
                    <a:cubicBezTo>
                      <a:pt x="5" y="31"/>
                      <a:pt x="5" y="32"/>
                      <a:pt x="4" y="33"/>
                    </a:cubicBezTo>
                    <a:cubicBezTo>
                      <a:pt x="2" y="35"/>
                      <a:pt x="0" y="36"/>
                      <a:pt x="0" y="38"/>
                    </a:cubicBezTo>
                    <a:cubicBezTo>
                      <a:pt x="0" y="41"/>
                      <a:pt x="1" y="41"/>
                      <a:pt x="2" y="43"/>
                    </a:cubicBezTo>
                    <a:cubicBezTo>
                      <a:pt x="3" y="44"/>
                      <a:pt x="3" y="46"/>
                      <a:pt x="4" y="47"/>
                    </a:cubicBezTo>
                    <a:cubicBezTo>
                      <a:pt x="5" y="48"/>
                      <a:pt x="6" y="47"/>
                      <a:pt x="7" y="47"/>
                    </a:cubicBezTo>
                    <a:cubicBezTo>
                      <a:pt x="10" y="48"/>
                      <a:pt x="8" y="50"/>
                      <a:pt x="12" y="50"/>
                    </a:cubicBezTo>
                    <a:cubicBezTo>
                      <a:pt x="14" y="50"/>
                      <a:pt x="19" y="49"/>
                      <a:pt x="21" y="50"/>
                    </a:cubicBezTo>
                    <a:cubicBezTo>
                      <a:pt x="22" y="50"/>
                      <a:pt x="22" y="52"/>
                      <a:pt x="23" y="52"/>
                    </a:cubicBezTo>
                    <a:cubicBezTo>
                      <a:pt x="25" y="53"/>
                      <a:pt x="29" y="52"/>
                      <a:pt x="31" y="54"/>
                    </a:cubicBezTo>
                    <a:cubicBezTo>
                      <a:pt x="32" y="54"/>
                      <a:pt x="33" y="56"/>
                      <a:pt x="33" y="58"/>
                    </a:cubicBezTo>
                    <a:cubicBezTo>
                      <a:pt x="36" y="59"/>
                      <a:pt x="40" y="56"/>
                      <a:pt x="42" y="54"/>
                    </a:cubicBezTo>
                    <a:cubicBezTo>
                      <a:pt x="39" y="54"/>
                      <a:pt x="36" y="51"/>
                      <a:pt x="34" y="50"/>
                    </a:cubicBezTo>
                    <a:cubicBezTo>
                      <a:pt x="36" y="49"/>
                      <a:pt x="39" y="48"/>
                      <a:pt x="40" y="45"/>
                    </a:cubicBezTo>
                    <a:cubicBezTo>
                      <a:pt x="47" y="45"/>
                      <a:pt x="39" y="40"/>
                      <a:pt x="39" y="37"/>
                    </a:cubicBezTo>
                    <a:cubicBezTo>
                      <a:pt x="39" y="36"/>
                      <a:pt x="40" y="34"/>
                      <a:pt x="40" y="34"/>
                    </a:cubicBezTo>
                    <a:cubicBezTo>
                      <a:pt x="42" y="33"/>
                      <a:pt x="42" y="34"/>
                      <a:pt x="44" y="34"/>
                    </a:cubicBezTo>
                    <a:cubicBezTo>
                      <a:pt x="45" y="34"/>
                      <a:pt x="45" y="33"/>
                      <a:pt x="45" y="33"/>
                    </a:cubicBezTo>
                    <a:cubicBezTo>
                      <a:pt x="46" y="32"/>
                      <a:pt x="47" y="33"/>
                      <a:pt x="49" y="33"/>
                    </a:cubicBezTo>
                    <a:cubicBezTo>
                      <a:pt x="52" y="33"/>
                      <a:pt x="61" y="35"/>
                      <a:pt x="61" y="30"/>
                    </a:cubicBezTo>
                    <a:cubicBezTo>
                      <a:pt x="60" y="25"/>
                      <a:pt x="55" y="23"/>
                      <a:pt x="55" y="18"/>
                    </a:cubicBezTo>
                    <a:cubicBezTo>
                      <a:pt x="55" y="15"/>
                      <a:pt x="57" y="13"/>
                      <a:pt x="57" y="11"/>
                    </a:cubicBezTo>
                    <a:cubicBezTo>
                      <a:pt x="55" y="10"/>
                      <a:pt x="54" y="11"/>
                      <a:pt x="52" y="10"/>
                    </a:cubicBezTo>
                    <a:cubicBezTo>
                      <a:pt x="52" y="10"/>
                      <a:pt x="52" y="9"/>
                      <a:pt x="52" y="9"/>
                    </a:cubicBezTo>
                    <a:lnTo>
                      <a:pt x="50" y="1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88" name="Freeform 104">
                <a:extLst>
                  <a:ext uri="{FF2B5EF4-FFF2-40B4-BE49-F238E27FC236}">
                    <a16:creationId xmlns:a16="http://schemas.microsoft.com/office/drawing/2014/main" id="{550DCB59-D8C1-46FC-947F-E19B367D22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9388" y="2454275"/>
                <a:ext cx="31750" cy="31750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6" y="2"/>
                  </a:cxn>
                  <a:cxn ang="0">
                    <a:pos x="1" y="5"/>
                  </a:cxn>
                  <a:cxn ang="0">
                    <a:pos x="4" y="10"/>
                  </a:cxn>
                  <a:cxn ang="0">
                    <a:pos x="6" y="13"/>
                  </a:cxn>
                  <a:cxn ang="0">
                    <a:pos x="16" y="17"/>
                  </a:cxn>
                  <a:cxn ang="0">
                    <a:pos x="16" y="10"/>
                  </a:cxn>
                  <a:cxn ang="0">
                    <a:pos x="13" y="6"/>
                  </a:cxn>
                </a:cxnLst>
                <a:rect l="0" t="0" r="r" b="b"/>
                <a:pathLst>
                  <a:path w="17" h="17">
                    <a:moveTo>
                      <a:pt x="13" y="6"/>
                    </a:moveTo>
                    <a:cubicBezTo>
                      <a:pt x="10" y="6"/>
                      <a:pt x="8" y="3"/>
                      <a:pt x="6" y="2"/>
                    </a:cubicBezTo>
                    <a:cubicBezTo>
                      <a:pt x="3" y="0"/>
                      <a:pt x="0" y="0"/>
                      <a:pt x="1" y="5"/>
                    </a:cubicBezTo>
                    <a:cubicBezTo>
                      <a:pt x="1" y="8"/>
                      <a:pt x="2" y="7"/>
                      <a:pt x="4" y="10"/>
                    </a:cubicBezTo>
                    <a:cubicBezTo>
                      <a:pt x="5" y="11"/>
                      <a:pt x="5" y="12"/>
                      <a:pt x="6" y="13"/>
                    </a:cubicBezTo>
                    <a:cubicBezTo>
                      <a:pt x="7" y="15"/>
                      <a:pt x="14" y="17"/>
                      <a:pt x="16" y="17"/>
                    </a:cubicBezTo>
                    <a:cubicBezTo>
                      <a:pt x="16" y="15"/>
                      <a:pt x="17" y="12"/>
                      <a:pt x="16" y="10"/>
                    </a:cubicBezTo>
                    <a:lnTo>
                      <a:pt x="13" y="6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89" name="Freeform 105">
                <a:extLst>
                  <a:ext uri="{FF2B5EF4-FFF2-40B4-BE49-F238E27FC236}">
                    <a16:creationId xmlns:a16="http://schemas.microsoft.com/office/drawing/2014/main" id="{29E5889D-E246-4E31-8587-CA1362BBD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6213" y="2506663"/>
                <a:ext cx="28575" cy="50800"/>
              </a:xfrm>
              <a:custGeom>
                <a:avLst/>
                <a:gdLst/>
                <a:ahLst/>
                <a:cxnLst>
                  <a:cxn ang="0">
                    <a:pos x="11" y="4"/>
                  </a:cxn>
                  <a:cxn ang="0">
                    <a:pos x="2" y="2"/>
                  </a:cxn>
                  <a:cxn ang="0">
                    <a:pos x="2" y="9"/>
                  </a:cxn>
                  <a:cxn ang="0">
                    <a:pos x="9" y="16"/>
                  </a:cxn>
                  <a:cxn ang="0">
                    <a:pos x="7" y="21"/>
                  </a:cxn>
                  <a:cxn ang="0">
                    <a:pos x="9" y="26"/>
                  </a:cxn>
                  <a:cxn ang="0">
                    <a:pos x="12" y="27"/>
                  </a:cxn>
                  <a:cxn ang="0">
                    <a:pos x="12" y="16"/>
                  </a:cxn>
                  <a:cxn ang="0">
                    <a:pos x="13" y="10"/>
                  </a:cxn>
                  <a:cxn ang="0">
                    <a:pos x="11" y="4"/>
                  </a:cxn>
                </a:cxnLst>
                <a:rect l="0" t="0" r="r" b="b"/>
                <a:pathLst>
                  <a:path w="15" h="27">
                    <a:moveTo>
                      <a:pt x="11" y="4"/>
                    </a:moveTo>
                    <a:cubicBezTo>
                      <a:pt x="9" y="3"/>
                      <a:pt x="3" y="0"/>
                      <a:pt x="2" y="2"/>
                    </a:cubicBezTo>
                    <a:cubicBezTo>
                      <a:pt x="0" y="3"/>
                      <a:pt x="1" y="7"/>
                      <a:pt x="2" y="9"/>
                    </a:cubicBezTo>
                    <a:cubicBezTo>
                      <a:pt x="3" y="12"/>
                      <a:pt x="8" y="13"/>
                      <a:pt x="9" y="16"/>
                    </a:cubicBezTo>
                    <a:cubicBezTo>
                      <a:pt x="9" y="18"/>
                      <a:pt x="8" y="19"/>
                      <a:pt x="7" y="21"/>
                    </a:cubicBezTo>
                    <a:cubicBezTo>
                      <a:pt x="7" y="22"/>
                      <a:pt x="7" y="25"/>
                      <a:pt x="9" y="26"/>
                    </a:cubicBezTo>
                    <a:cubicBezTo>
                      <a:pt x="9" y="26"/>
                      <a:pt x="12" y="27"/>
                      <a:pt x="12" y="27"/>
                    </a:cubicBezTo>
                    <a:cubicBezTo>
                      <a:pt x="15" y="26"/>
                      <a:pt x="13" y="18"/>
                      <a:pt x="12" y="16"/>
                    </a:cubicBezTo>
                    <a:cubicBezTo>
                      <a:pt x="12" y="15"/>
                      <a:pt x="12" y="12"/>
                      <a:pt x="13" y="10"/>
                    </a:cubicBezTo>
                    <a:lnTo>
                      <a:pt x="11" y="4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90" name="Freeform 106">
                <a:extLst>
                  <a:ext uri="{FF2B5EF4-FFF2-40B4-BE49-F238E27FC236}">
                    <a16:creationId xmlns:a16="http://schemas.microsoft.com/office/drawing/2014/main" id="{589CCD4E-4548-464E-B214-5761E893E0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94188" y="3221038"/>
                <a:ext cx="300038" cy="554038"/>
              </a:xfrm>
              <a:custGeom>
                <a:avLst/>
                <a:gdLst/>
                <a:ahLst/>
                <a:cxnLst>
                  <a:cxn ang="0">
                    <a:pos x="92" y="72"/>
                  </a:cxn>
                  <a:cxn ang="0">
                    <a:pos x="75" y="76"/>
                  </a:cxn>
                  <a:cxn ang="0">
                    <a:pos x="65" y="79"/>
                  </a:cxn>
                  <a:cxn ang="0">
                    <a:pos x="62" y="97"/>
                  </a:cxn>
                  <a:cxn ang="0">
                    <a:pos x="69" y="109"/>
                  </a:cxn>
                  <a:cxn ang="0">
                    <a:pos x="60" y="103"/>
                  </a:cxn>
                  <a:cxn ang="0">
                    <a:pos x="45" y="81"/>
                  </a:cxn>
                  <a:cxn ang="0">
                    <a:pos x="58" y="74"/>
                  </a:cxn>
                  <a:cxn ang="0">
                    <a:pos x="80" y="70"/>
                  </a:cxn>
                  <a:cxn ang="0">
                    <a:pos x="99" y="67"/>
                  </a:cxn>
                  <a:cxn ang="0">
                    <a:pos x="152" y="264"/>
                  </a:cxn>
                  <a:cxn ang="0">
                    <a:pos x="145" y="261"/>
                  </a:cxn>
                  <a:cxn ang="0">
                    <a:pos x="151" y="239"/>
                  </a:cxn>
                  <a:cxn ang="0">
                    <a:pos x="142" y="225"/>
                  </a:cxn>
                  <a:cxn ang="0">
                    <a:pos x="148" y="222"/>
                  </a:cxn>
                  <a:cxn ang="0">
                    <a:pos x="128" y="207"/>
                  </a:cxn>
                  <a:cxn ang="0">
                    <a:pos x="96" y="204"/>
                  </a:cxn>
                  <a:cxn ang="0">
                    <a:pos x="100" y="187"/>
                  </a:cxn>
                  <a:cxn ang="0">
                    <a:pos x="118" y="185"/>
                  </a:cxn>
                  <a:cxn ang="0">
                    <a:pos x="120" y="164"/>
                  </a:cxn>
                  <a:cxn ang="0">
                    <a:pos x="136" y="155"/>
                  </a:cxn>
                  <a:cxn ang="0">
                    <a:pos x="149" y="152"/>
                  </a:cxn>
                  <a:cxn ang="0">
                    <a:pos x="158" y="131"/>
                  </a:cxn>
                  <a:cxn ang="0">
                    <a:pos x="125" y="109"/>
                  </a:cxn>
                  <a:cxn ang="0">
                    <a:pos x="122" y="92"/>
                  </a:cxn>
                  <a:cxn ang="0">
                    <a:pos x="129" y="66"/>
                  </a:cxn>
                  <a:cxn ang="0">
                    <a:pos x="139" y="50"/>
                  </a:cxn>
                  <a:cxn ang="0">
                    <a:pos x="136" y="26"/>
                  </a:cxn>
                  <a:cxn ang="0">
                    <a:pos x="140" y="2"/>
                  </a:cxn>
                  <a:cxn ang="0">
                    <a:pos x="108" y="16"/>
                  </a:cxn>
                  <a:cxn ang="0">
                    <a:pos x="87" y="45"/>
                  </a:cxn>
                  <a:cxn ang="0">
                    <a:pos x="55" y="58"/>
                  </a:cxn>
                  <a:cxn ang="0">
                    <a:pos x="24" y="72"/>
                  </a:cxn>
                  <a:cxn ang="0">
                    <a:pos x="19" y="105"/>
                  </a:cxn>
                  <a:cxn ang="0">
                    <a:pos x="31" y="104"/>
                  </a:cxn>
                  <a:cxn ang="0">
                    <a:pos x="39" y="106"/>
                  </a:cxn>
                  <a:cxn ang="0">
                    <a:pos x="38" y="124"/>
                  </a:cxn>
                  <a:cxn ang="0">
                    <a:pos x="21" y="118"/>
                  </a:cxn>
                  <a:cxn ang="0">
                    <a:pos x="5" y="120"/>
                  </a:cxn>
                  <a:cxn ang="0">
                    <a:pos x="6" y="160"/>
                  </a:cxn>
                  <a:cxn ang="0">
                    <a:pos x="15" y="167"/>
                  </a:cxn>
                  <a:cxn ang="0">
                    <a:pos x="12" y="177"/>
                  </a:cxn>
                  <a:cxn ang="0">
                    <a:pos x="5" y="207"/>
                  </a:cxn>
                  <a:cxn ang="0">
                    <a:pos x="13" y="227"/>
                  </a:cxn>
                  <a:cxn ang="0">
                    <a:pos x="22" y="223"/>
                  </a:cxn>
                  <a:cxn ang="0">
                    <a:pos x="28" y="224"/>
                  </a:cxn>
                  <a:cxn ang="0">
                    <a:pos x="34" y="240"/>
                  </a:cxn>
                  <a:cxn ang="0">
                    <a:pos x="32" y="261"/>
                  </a:cxn>
                  <a:cxn ang="0">
                    <a:pos x="49" y="272"/>
                  </a:cxn>
                  <a:cxn ang="0">
                    <a:pos x="63" y="274"/>
                  </a:cxn>
                  <a:cxn ang="0">
                    <a:pos x="72" y="279"/>
                  </a:cxn>
                  <a:cxn ang="0">
                    <a:pos x="86" y="277"/>
                  </a:cxn>
                  <a:cxn ang="0">
                    <a:pos x="105" y="281"/>
                  </a:cxn>
                  <a:cxn ang="0">
                    <a:pos x="102" y="259"/>
                  </a:cxn>
                  <a:cxn ang="0">
                    <a:pos x="88" y="264"/>
                  </a:cxn>
                  <a:cxn ang="0">
                    <a:pos x="90" y="246"/>
                  </a:cxn>
                  <a:cxn ang="0">
                    <a:pos x="104" y="244"/>
                  </a:cxn>
                  <a:cxn ang="0">
                    <a:pos x="120" y="257"/>
                  </a:cxn>
                  <a:cxn ang="0">
                    <a:pos x="138" y="275"/>
                  </a:cxn>
                  <a:cxn ang="0">
                    <a:pos x="149" y="288"/>
                  </a:cxn>
                  <a:cxn ang="0">
                    <a:pos x="155" y="271"/>
                  </a:cxn>
                </a:cxnLst>
                <a:rect l="0" t="0" r="r" b="b"/>
                <a:pathLst>
                  <a:path w="161" h="297">
                    <a:moveTo>
                      <a:pt x="35" y="281"/>
                    </a:moveTo>
                    <a:cubicBezTo>
                      <a:pt x="35" y="281"/>
                      <a:pt x="35" y="281"/>
                      <a:pt x="36" y="281"/>
                    </a:cubicBezTo>
                    <a:cubicBezTo>
                      <a:pt x="36" y="281"/>
                      <a:pt x="36" y="281"/>
                      <a:pt x="36" y="280"/>
                    </a:cubicBezTo>
                    <a:cubicBezTo>
                      <a:pt x="35" y="280"/>
                      <a:pt x="35" y="280"/>
                      <a:pt x="35" y="280"/>
                    </a:cubicBezTo>
                    <a:cubicBezTo>
                      <a:pt x="35" y="280"/>
                      <a:pt x="35" y="281"/>
                      <a:pt x="35" y="281"/>
                    </a:cubicBezTo>
                    <a:moveTo>
                      <a:pt x="92" y="72"/>
                    </a:moveTo>
                    <a:cubicBezTo>
                      <a:pt x="90" y="72"/>
                      <a:pt x="90" y="72"/>
                      <a:pt x="89" y="74"/>
                    </a:cubicBezTo>
                    <a:cubicBezTo>
                      <a:pt x="88" y="75"/>
                      <a:pt x="88" y="76"/>
                      <a:pt x="87" y="77"/>
                    </a:cubicBezTo>
                    <a:cubicBezTo>
                      <a:pt x="86" y="77"/>
                      <a:pt x="85" y="77"/>
                      <a:pt x="85" y="77"/>
                    </a:cubicBezTo>
                    <a:cubicBezTo>
                      <a:pt x="84" y="77"/>
                      <a:pt x="84" y="78"/>
                      <a:pt x="83" y="78"/>
                    </a:cubicBezTo>
                    <a:cubicBezTo>
                      <a:pt x="81" y="78"/>
                      <a:pt x="80" y="78"/>
                      <a:pt x="79" y="77"/>
                    </a:cubicBezTo>
                    <a:cubicBezTo>
                      <a:pt x="77" y="76"/>
                      <a:pt x="77" y="76"/>
                      <a:pt x="75" y="76"/>
                    </a:cubicBezTo>
                    <a:cubicBezTo>
                      <a:pt x="73" y="76"/>
                      <a:pt x="72" y="78"/>
                      <a:pt x="71" y="78"/>
                    </a:cubicBezTo>
                    <a:cubicBezTo>
                      <a:pt x="69" y="78"/>
                      <a:pt x="69" y="78"/>
                      <a:pt x="68" y="79"/>
                    </a:cubicBezTo>
                    <a:cubicBezTo>
                      <a:pt x="67" y="79"/>
                      <a:pt x="67" y="79"/>
                      <a:pt x="66" y="79"/>
                    </a:cubicBezTo>
                    <a:cubicBezTo>
                      <a:pt x="66" y="80"/>
                      <a:pt x="67" y="81"/>
                      <a:pt x="65" y="80"/>
                    </a:cubicBezTo>
                    <a:cubicBezTo>
                      <a:pt x="68" y="76"/>
                      <a:pt x="68" y="76"/>
                      <a:pt x="68" y="76"/>
                    </a:cubicBezTo>
                    <a:cubicBezTo>
                      <a:pt x="66" y="77"/>
                      <a:pt x="66" y="78"/>
                      <a:pt x="65" y="79"/>
                    </a:cubicBezTo>
                    <a:cubicBezTo>
                      <a:pt x="64" y="80"/>
                      <a:pt x="62" y="81"/>
                      <a:pt x="61" y="82"/>
                    </a:cubicBezTo>
                    <a:cubicBezTo>
                      <a:pt x="61" y="83"/>
                      <a:pt x="61" y="84"/>
                      <a:pt x="61" y="84"/>
                    </a:cubicBezTo>
                    <a:cubicBezTo>
                      <a:pt x="61" y="85"/>
                      <a:pt x="60" y="85"/>
                      <a:pt x="60" y="85"/>
                    </a:cubicBezTo>
                    <a:cubicBezTo>
                      <a:pt x="60" y="88"/>
                      <a:pt x="64" y="88"/>
                      <a:pt x="63" y="91"/>
                    </a:cubicBezTo>
                    <a:cubicBezTo>
                      <a:pt x="62" y="92"/>
                      <a:pt x="62" y="93"/>
                      <a:pt x="62" y="94"/>
                    </a:cubicBezTo>
                    <a:cubicBezTo>
                      <a:pt x="61" y="95"/>
                      <a:pt x="62" y="96"/>
                      <a:pt x="62" y="97"/>
                    </a:cubicBezTo>
                    <a:cubicBezTo>
                      <a:pt x="62" y="98"/>
                      <a:pt x="62" y="99"/>
                      <a:pt x="62" y="100"/>
                    </a:cubicBezTo>
                    <a:cubicBezTo>
                      <a:pt x="62" y="101"/>
                      <a:pt x="63" y="101"/>
                      <a:pt x="63" y="102"/>
                    </a:cubicBezTo>
                    <a:cubicBezTo>
                      <a:pt x="63" y="102"/>
                      <a:pt x="63" y="103"/>
                      <a:pt x="63" y="104"/>
                    </a:cubicBezTo>
                    <a:cubicBezTo>
                      <a:pt x="64" y="104"/>
                      <a:pt x="65" y="104"/>
                      <a:pt x="66" y="104"/>
                    </a:cubicBezTo>
                    <a:cubicBezTo>
                      <a:pt x="67" y="104"/>
                      <a:pt x="67" y="104"/>
                      <a:pt x="68" y="104"/>
                    </a:cubicBezTo>
                    <a:cubicBezTo>
                      <a:pt x="69" y="105"/>
                      <a:pt x="70" y="108"/>
                      <a:pt x="69" y="109"/>
                    </a:cubicBezTo>
                    <a:cubicBezTo>
                      <a:pt x="69" y="110"/>
                      <a:pt x="66" y="111"/>
                      <a:pt x="65" y="111"/>
                    </a:cubicBezTo>
                    <a:cubicBezTo>
                      <a:pt x="62" y="111"/>
                      <a:pt x="60" y="110"/>
                      <a:pt x="57" y="110"/>
                    </a:cubicBezTo>
                    <a:cubicBezTo>
                      <a:pt x="54" y="109"/>
                      <a:pt x="55" y="112"/>
                      <a:pt x="54" y="115"/>
                    </a:cubicBezTo>
                    <a:cubicBezTo>
                      <a:pt x="53" y="113"/>
                      <a:pt x="54" y="110"/>
                      <a:pt x="55" y="108"/>
                    </a:cubicBezTo>
                    <a:cubicBezTo>
                      <a:pt x="55" y="107"/>
                      <a:pt x="58" y="107"/>
                      <a:pt x="58" y="107"/>
                    </a:cubicBezTo>
                    <a:cubicBezTo>
                      <a:pt x="58" y="106"/>
                      <a:pt x="60" y="103"/>
                      <a:pt x="60" y="103"/>
                    </a:cubicBezTo>
                    <a:cubicBezTo>
                      <a:pt x="60" y="99"/>
                      <a:pt x="56" y="98"/>
                      <a:pt x="56" y="94"/>
                    </a:cubicBezTo>
                    <a:cubicBezTo>
                      <a:pt x="55" y="92"/>
                      <a:pt x="51" y="91"/>
                      <a:pt x="51" y="88"/>
                    </a:cubicBezTo>
                    <a:cubicBezTo>
                      <a:pt x="50" y="88"/>
                      <a:pt x="49" y="89"/>
                      <a:pt x="48" y="90"/>
                    </a:cubicBezTo>
                    <a:cubicBezTo>
                      <a:pt x="47" y="92"/>
                      <a:pt x="47" y="92"/>
                      <a:pt x="46" y="91"/>
                    </a:cubicBezTo>
                    <a:cubicBezTo>
                      <a:pt x="43" y="90"/>
                      <a:pt x="41" y="85"/>
                      <a:pt x="45" y="84"/>
                    </a:cubicBezTo>
                    <a:cubicBezTo>
                      <a:pt x="45" y="83"/>
                      <a:pt x="45" y="82"/>
                      <a:pt x="45" y="81"/>
                    </a:cubicBezTo>
                    <a:cubicBezTo>
                      <a:pt x="44" y="81"/>
                      <a:pt x="44" y="82"/>
                      <a:pt x="43" y="82"/>
                    </a:cubicBezTo>
                    <a:cubicBezTo>
                      <a:pt x="42" y="83"/>
                      <a:pt x="41" y="84"/>
                      <a:pt x="40" y="84"/>
                    </a:cubicBezTo>
                    <a:cubicBezTo>
                      <a:pt x="36" y="85"/>
                      <a:pt x="37" y="81"/>
                      <a:pt x="36" y="79"/>
                    </a:cubicBezTo>
                    <a:cubicBezTo>
                      <a:pt x="39" y="77"/>
                      <a:pt x="43" y="79"/>
                      <a:pt x="46" y="78"/>
                    </a:cubicBezTo>
                    <a:cubicBezTo>
                      <a:pt x="49" y="78"/>
                      <a:pt x="50" y="76"/>
                      <a:pt x="52" y="75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59" y="74"/>
                      <a:pt x="61" y="74"/>
                      <a:pt x="62" y="73"/>
                    </a:cubicBezTo>
                    <a:cubicBezTo>
                      <a:pt x="63" y="73"/>
                      <a:pt x="64" y="74"/>
                      <a:pt x="64" y="76"/>
                    </a:cubicBezTo>
                    <a:cubicBezTo>
                      <a:pt x="66" y="76"/>
                      <a:pt x="67" y="75"/>
                      <a:pt x="68" y="74"/>
                    </a:cubicBezTo>
                    <a:cubicBezTo>
                      <a:pt x="69" y="74"/>
                      <a:pt x="70" y="73"/>
                      <a:pt x="71" y="73"/>
                    </a:cubicBezTo>
                    <a:cubicBezTo>
                      <a:pt x="73" y="73"/>
                      <a:pt x="74" y="73"/>
                      <a:pt x="75" y="72"/>
                    </a:cubicBezTo>
                    <a:cubicBezTo>
                      <a:pt x="77" y="71"/>
                      <a:pt x="78" y="70"/>
                      <a:pt x="80" y="70"/>
                    </a:cubicBezTo>
                    <a:cubicBezTo>
                      <a:pt x="81" y="70"/>
                      <a:pt x="82" y="71"/>
                      <a:pt x="83" y="70"/>
                    </a:cubicBezTo>
                    <a:cubicBezTo>
                      <a:pt x="83" y="69"/>
                      <a:pt x="83" y="67"/>
                      <a:pt x="83" y="67"/>
                    </a:cubicBezTo>
                    <a:cubicBezTo>
                      <a:pt x="84" y="64"/>
                      <a:pt x="85" y="63"/>
                      <a:pt x="88" y="63"/>
                    </a:cubicBezTo>
                    <a:cubicBezTo>
                      <a:pt x="88" y="65"/>
                      <a:pt x="88" y="66"/>
                      <a:pt x="89" y="66"/>
                    </a:cubicBezTo>
                    <a:cubicBezTo>
                      <a:pt x="90" y="67"/>
                      <a:pt x="93" y="66"/>
                      <a:pt x="94" y="66"/>
                    </a:cubicBezTo>
                    <a:cubicBezTo>
                      <a:pt x="97" y="65"/>
                      <a:pt x="98" y="64"/>
                      <a:pt x="99" y="67"/>
                    </a:cubicBezTo>
                    <a:cubicBezTo>
                      <a:pt x="99" y="68"/>
                      <a:pt x="100" y="70"/>
                      <a:pt x="99" y="71"/>
                    </a:cubicBezTo>
                    <a:cubicBezTo>
                      <a:pt x="99" y="72"/>
                      <a:pt x="94" y="72"/>
                      <a:pt x="92" y="72"/>
                    </a:cubicBezTo>
                    <a:moveTo>
                      <a:pt x="160" y="255"/>
                    </a:moveTo>
                    <a:cubicBezTo>
                      <a:pt x="160" y="254"/>
                      <a:pt x="161" y="254"/>
                      <a:pt x="160" y="253"/>
                    </a:cubicBezTo>
                    <a:cubicBezTo>
                      <a:pt x="159" y="251"/>
                      <a:pt x="156" y="254"/>
                      <a:pt x="155" y="255"/>
                    </a:cubicBezTo>
                    <a:cubicBezTo>
                      <a:pt x="153" y="258"/>
                      <a:pt x="153" y="261"/>
                      <a:pt x="152" y="264"/>
                    </a:cubicBezTo>
                    <a:cubicBezTo>
                      <a:pt x="151" y="266"/>
                      <a:pt x="150" y="268"/>
                      <a:pt x="148" y="269"/>
                    </a:cubicBezTo>
                    <a:cubicBezTo>
                      <a:pt x="147" y="270"/>
                      <a:pt x="146" y="271"/>
                      <a:pt x="145" y="271"/>
                    </a:cubicBezTo>
                    <a:cubicBezTo>
                      <a:pt x="144" y="271"/>
                      <a:pt x="145" y="270"/>
                      <a:pt x="144" y="270"/>
                    </a:cubicBezTo>
                    <a:cubicBezTo>
                      <a:pt x="144" y="269"/>
                      <a:pt x="143" y="270"/>
                      <a:pt x="143" y="270"/>
                    </a:cubicBezTo>
                    <a:cubicBezTo>
                      <a:pt x="141" y="269"/>
                      <a:pt x="142" y="265"/>
                      <a:pt x="142" y="263"/>
                    </a:cubicBezTo>
                    <a:cubicBezTo>
                      <a:pt x="143" y="262"/>
                      <a:pt x="144" y="262"/>
                      <a:pt x="145" y="261"/>
                    </a:cubicBezTo>
                    <a:cubicBezTo>
                      <a:pt x="146" y="260"/>
                      <a:pt x="146" y="259"/>
                      <a:pt x="146" y="259"/>
                    </a:cubicBezTo>
                    <a:cubicBezTo>
                      <a:pt x="148" y="257"/>
                      <a:pt x="149" y="256"/>
                      <a:pt x="150" y="254"/>
                    </a:cubicBezTo>
                    <a:cubicBezTo>
                      <a:pt x="150" y="253"/>
                      <a:pt x="151" y="251"/>
                      <a:pt x="152" y="249"/>
                    </a:cubicBezTo>
                    <a:cubicBezTo>
                      <a:pt x="152" y="248"/>
                      <a:pt x="152" y="248"/>
                      <a:pt x="152" y="247"/>
                    </a:cubicBezTo>
                    <a:cubicBezTo>
                      <a:pt x="152" y="245"/>
                      <a:pt x="153" y="242"/>
                      <a:pt x="152" y="241"/>
                    </a:cubicBezTo>
                    <a:cubicBezTo>
                      <a:pt x="152" y="240"/>
                      <a:pt x="151" y="240"/>
                      <a:pt x="151" y="239"/>
                    </a:cubicBezTo>
                    <a:cubicBezTo>
                      <a:pt x="151" y="239"/>
                      <a:pt x="150" y="238"/>
                      <a:pt x="150" y="238"/>
                    </a:cubicBezTo>
                    <a:cubicBezTo>
                      <a:pt x="150" y="237"/>
                      <a:pt x="150" y="236"/>
                      <a:pt x="150" y="235"/>
                    </a:cubicBezTo>
                    <a:cubicBezTo>
                      <a:pt x="150" y="234"/>
                      <a:pt x="150" y="234"/>
                      <a:pt x="150" y="233"/>
                    </a:cubicBezTo>
                    <a:cubicBezTo>
                      <a:pt x="149" y="232"/>
                      <a:pt x="149" y="231"/>
                      <a:pt x="148" y="230"/>
                    </a:cubicBezTo>
                    <a:cubicBezTo>
                      <a:pt x="147" y="229"/>
                      <a:pt x="145" y="228"/>
                      <a:pt x="144" y="227"/>
                    </a:cubicBezTo>
                    <a:cubicBezTo>
                      <a:pt x="144" y="226"/>
                      <a:pt x="144" y="226"/>
                      <a:pt x="142" y="225"/>
                    </a:cubicBezTo>
                    <a:cubicBezTo>
                      <a:pt x="141" y="225"/>
                      <a:pt x="139" y="225"/>
                      <a:pt x="137" y="224"/>
                    </a:cubicBezTo>
                    <a:cubicBezTo>
                      <a:pt x="136" y="224"/>
                      <a:pt x="136" y="223"/>
                      <a:pt x="135" y="223"/>
                    </a:cubicBezTo>
                    <a:cubicBezTo>
                      <a:pt x="136" y="222"/>
                      <a:pt x="136" y="221"/>
                      <a:pt x="138" y="220"/>
                    </a:cubicBezTo>
                    <a:cubicBezTo>
                      <a:pt x="140" y="219"/>
                      <a:pt x="139" y="220"/>
                      <a:pt x="140" y="221"/>
                    </a:cubicBezTo>
                    <a:cubicBezTo>
                      <a:pt x="142" y="224"/>
                      <a:pt x="145" y="225"/>
                      <a:pt x="148" y="225"/>
                    </a:cubicBezTo>
                    <a:cubicBezTo>
                      <a:pt x="148" y="224"/>
                      <a:pt x="149" y="223"/>
                      <a:pt x="148" y="222"/>
                    </a:cubicBezTo>
                    <a:cubicBezTo>
                      <a:pt x="148" y="220"/>
                      <a:pt x="147" y="220"/>
                      <a:pt x="147" y="218"/>
                    </a:cubicBezTo>
                    <a:cubicBezTo>
                      <a:pt x="146" y="218"/>
                      <a:pt x="147" y="216"/>
                      <a:pt x="147" y="215"/>
                    </a:cubicBezTo>
                    <a:cubicBezTo>
                      <a:pt x="146" y="214"/>
                      <a:pt x="146" y="212"/>
                      <a:pt x="145" y="211"/>
                    </a:cubicBezTo>
                    <a:cubicBezTo>
                      <a:pt x="145" y="208"/>
                      <a:pt x="144" y="207"/>
                      <a:pt x="141" y="207"/>
                    </a:cubicBezTo>
                    <a:cubicBezTo>
                      <a:pt x="139" y="207"/>
                      <a:pt x="137" y="208"/>
                      <a:pt x="136" y="208"/>
                    </a:cubicBezTo>
                    <a:cubicBezTo>
                      <a:pt x="133" y="208"/>
                      <a:pt x="130" y="208"/>
                      <a:pt x="128" y="207"/>
                    </a:cubicBezTo>
                    <a:cubicBezTo>
                      <a:pt x="127" y="206"/>
                      <a:pt x="125" y="205"/>
                      <a:pt x="124" y="205"/>
                    </a:cubicBezTo>
                    <a:cubicBezTo>
                      <a:pt x="122" y="205"/>
                      <a:pt x="119" y="205"/>
                      <a:pt x="117" y="205"/>
                    </a:cubicBezTo>
                    <a:cubicBezTo>
                      <a:pt x="114" y="205"/>
                      <a:pt x="111" y="207"/>
                      <a:pt x="108" y="207"/>
                    </a:cubicBezTo>
                    <a:cubicBezTo>
                      <a:pt x="106" y="207"/>
                      <a:pt x="103" y="207"/>
                      <a:pt x="101" y="207"/>
                    </a:cubicBezTo>
                    <a:cubicBezTo>
                      <a:pt x="99" y="206"/>
                      <a:pt x="95" y="207"/>
                      <a:pt x="94" y="206"/>
                    </a:cubicBezTo>
                    <a:cubicBezTo>
                      <a:pt x="95" y="206"/>
                      <a:pt x="95" y="204"/>
                      <a:pt x="96" y="204"/>
                    </a:cubicBezTo>
                    <a:cubicBezTo>
                      <a:pt x="96" y="204"/>
                      <a:pt x="98" y="204"/>
                      <a:pt x="98" y="204"/>
                    </a:cubicBezTo>
                    <a:cubicBezTo>
                      <a:pt x="100" y="203"/>
                      <a:pt x="101" y="201"/>
                      <a:pt x="102" y="200"/>
                    </a:cubicBezTo>
                    <a:cubicBezTo>
                      <a:pt x="104" y="199"/>
                      <a:pt x="107" y="200"/>
                      <a:pt x="108" y="198"/>
                    </a:cubicBezTo>
                    <a:cubicBezTo>
                      <a:pt x="108" y="197"/>
                      <a:pt x="108" y="195"/>
                      <a:pt x="108" y="193"/>
                    </a:cubicBezTo>
                    <a:cubicBezTo>
                      <a:pt x="108" y="192"/>
                      <a:pt x="108" y="191"/>
                      <a:pt x="107" y="191"/>
                    </a:cubicBezTo>
                    <a:cubicBezTo>
                      <a:pt x="105" y="189"/>
                      <a:pt x="101" y="191"/>
                      <a:pt x="100" y="187"/>
                    </a:cubicBezTo>
                    <a:cubicBezTo>
                      <a:pt x="99" y="183"/>
                      <a:pt x="102" y="185"/>
                      <a:pt x="105" y="185"/>
                    </a:cubicBezTo>
                    <a:cubicBezTo>
                      <a:pt x="106" y="185"/>
                      <a:pt x="107" y="185"/>
                      <a:pt x="108" y="185"/>
                    </a:cubicBezTo>
                    <a:cubicBezTo>
                      <a:pt x="109" y="185"/>
                      <a:pt x="110" y="184"/>
                      <a:pt x="111" y="184"/>
                    </a:cubicBezTo>
                    <a:cubicBezTo>
                      <a:pt x="112" y="184"/>
                      <a:pt x="112" y="184"/>
                      <a:pt x="114" y="186"/>
                    </a:cubicBezTo>
                    <a:cubicBezTo>
                      <a:pt x="114" y="186"/>
                      <a:pt x="115" y="189"/>
                      <a:pt x="117" y="189"/>
                    </a:cubicBezTo>
                    <a:cubicBezTo>
                      <a:pt x="117" y="187"/>
                      <a:pt x="116" y="186"/>
                      <a:pt x="118" y="185"/>
                    </a:cubicBezTo>
                    <a:cubicBezTo>
                      <a:pt x="119" y="184"/>
                      <a:pt x="119" y="185"/>
                      <a:pt x="120" y="184"/>
                    </a:cubicBezTo>
                    <a:cubicBezTo>
                      <a:pt x="120" y="184"/>
                      <a:pt x="120" y="182"/>
                      <a:pt x="120" y="182"/>
                    </a:cubicBezTo>
                    <a:cubicBezTo>
                      <a:pt x="121" y="178"/>
                      <a:pt x="122" y="175"/>
                      <a:pt x="121" y="172"/>
                    </a:cubicBezTo>
                    <a:cubicBezTo>
                      <a:pt x="121" y="171"/>
                      <a:pt x="121" y="169"/>
                      <a:pt x="121" y="168"/>
                    </a:cubicBezTo>
                    <a:cubicBezTo>
                      <a:pt x="121" y="168"/>
                      <a:pt x="121" y="167"/>
                      <a:pt x="120" y="167"/>
                    </a:cubicBezTo>
                    <a:cubicBezTo>
                      <a:pt x="120" y="166"/>
                      <a:pt x="120" y="165"/>
                      <a:pt x="120" y="164"/>
                    </a:cubicBezTo>
                    <a:cubicBezTo>
                      <a:pt x="120" y="162"/>
                      <a:pt x="119" y="162"/>
                      <a:pt x="119" y="160"/>
                    </a:cubicBezTo>
                    <a:cubicBezTo>
                      <a:pt x="119" y="159"/>
                      <a:pt x="119" y="158"/>
                      <a:pt x="120" y="157"/>
                    </a:cubicBezTo>
                    <a:cubicBezTo>
                      <a:pt x="121" y="154"/>
                      <a:pt x="121" y="152"/>
                      <a:pt x="124" y="151"/>
                    </a:cubicBezTo>
                    <a:cubicBezTo>
                      <a:pt x="127" y="151"/>
                      <a:pt x="129" y="152"/>
                      <a:pt x="130" y="154"/>
                    </a:cubicBezTo>
                    <a:cubicBezTo>
                      <a:pt x="131" y="156"/>
                      <a:pt x="130" y="156"/>
                      <a:pt x="132" y="156"/>
                    </a:cubicBezTo>
                    <a:cubicBezTo>
                      <a:pt x="134" y="156"/>
                      <a:pt x="135" y="156"/>
                      <a:pt x="136" y="155"/>
                    </a:cubicBezTo>
                    <a:cubicBezTo>
                      <a:pt x="138" y="153"/>
                      <a:pt x="138" y="151"/>
                      <a:pt x="141" y="151"/>
                    </a:cubicBezTo>
                    <a:cubicBezTo>
                      <a:pt x="141" y="153"/>
                      <a:pt x="139" y="156"/>
                      <a:pt x="140" y="158"/>
                    </a:cubicBezTo>
                    <a:cubicBezTo>
                      <a:pt x="141" y="159"/>
                      <a:pt x="143" y="158"/>
                      <a:pt x="145" y="158"/>
                    </a:cubicBezTo>
                    <a:cubicBezTo>
                      <a:pt x="146" y="158"/>
                      <a:pt x="147" y="159"/>
                      <a:pt x="147" y="157"/>
                    </a:cubicBezTo>
                    <a:cubicBezTo>
                      <a:pt x="147" y="157"/>
                      <a:pt x="147" y="156"/>
                      <a:pt x="148" y="155"/>
                    </a:cubicBezTo>
                    <a:cubicBezTo>
                      <a:pt x="148" y="154"/>
                      <a:pt x="148" y="153"/>
                      <a:pt x="149" y="152"/>
                    </a:cubicBezTo>
                    <a:cubicBezTo>
                      <a:pt x="149" y="151"/>
                      <a:pt x="151" y="151"/>
                      <a:pt x="151" y="150"/>
                    </a:cubicBezTo>
                    <a:cubicBezTo>
                      <a:pt x="152" y="149"/>
                      <a:pt x="152" y="147"/>
                      <a:pt x="152" y="146"/>
                    </a:cubicBezTo>
                    <a:cubicBezTo>
                      <a:pt x="152" y="146"/>
                      <a:pt x="152" y="145"/>
                      <a:pt x="152" y="144"/>
                    </a:cubicBezTo>
                    <a:cubicBezTo>
                      <a:pt x="152" y="143"/>
                      <a:pt x="153" y="142"/>
                      <a:pt x="154" y="141"/>
                    </a:cubicBezTo>
                    <a:cubicBezTo>
                      <a:pt x="155" y="139"/>
                      <a:pt x="155" y="137"/>
                      <a:pt x="157" y="135"/>
                    </a:cubicBezTo>
                    <a:cubicBezTo>
                      <a:pt x="157" y="133"/>
                      <a:pt x="158" y="132"/>
                      <a:pt x="158" y="131"/>
                    </a:cubicBezTo>
                    <a:cubicBezTo>
                      <a:pt x="158" y="128"/>
                      <a:pt x="158" y="126"/>
                      <a:pt x="156" y="124"/>
                    </a:cubicBezTo>
                    <a:cubicBezTo>
                      <a:pt x="154" y="122"/>
                      <a:pt x="150" y="123"/>
                      <a:pt x="147" y="123"/>
                    </a:cubicBezTo>
                    <a:cubicBezTo>
                      <a:pt x="143" y="124"/>
                      <a:pt x="139" y="125"/>
                      <a:pt x="135" y="124"/>
                    </a:cubicBezTo>
                    <a:cubicBezTo>
                      <a:pt x="133" y="123"/>
                      <a:pt x="131" y="121"/>
                      <a:pt x="129" y="119"/>
                    </a:cubicBezTo>
                    <a:cubicBezTo>
                      <a:pt x="127" y="118"/>
                      <a:pt x="127" y="118"/>
                      <a:pt x="126" y="117"/>
                    </a:cubicBezTo>
                    <a:cubicBezTo>
                      <a:pt x="126" y="114"/>
                      <a:pt x="125" y="111"/>
                      <a:pt x="125" y="109"/>
                    </a:cubicBezTo>
                    <a:cubicBezTo>
                      <a:pt x="125" y="107"/>
                      <a:pt x="125" y="106"/>
                      <a:pt x="125" y="104"/>
                    </a:cubicBezTo>
                    <a:cubicBezTo>
                      <a:pt x="124" y="103"/>
                      <a:pt x="124" y="101"/>
                      <a:pt x="123" y="100"/>
                    </a:cubicBezTo>
                    <a:cubicBezTo>
                      <a:pt x="123" y="99"/>
                      <a:pt x="123" y="98"/>
                      <a:pt x="123" y="97"/>
                    </a:cubicBezTo>
                    <a:cubicBezTo>
                      <a:pt x="123" y="96"/>
                      <a:pt x="123" y="95"/>
                      <a:pt x="123" y="94"/>
                    </a:cubicBezTo>
                    <a:cubicBezTo>
                      <a:pt x="123" y="94"/>
                      <a:pt x="122" y="94"/>
                      <a:pt x="122" y="93"/>
                    </a:cubicBezTo>
                    <a:cubicBezTo>
                      <a:pt x="122" y="93"/>
                      <a:pt x="122" y="92"/>
                      <a:pt x="122" y="92"/>
                    </a:cubicBezTo>
                    <a:cubicBezTo>
                      <a:pt x="122" y="90"/>
                      <a:pt x="122" y="87"/>
                      <a:pt x="122" y="85"/>
                    </a:cubicBezTo>
                    <a:cubicBezTo>
                      <a:pt x="122" y="83"/>
                      <a:pt x="122" y="82"/>
                      <a:pt x="122" y="80"/>
                    </a:cubicBezTo>
                    <a:cubicBezTo>
                      <a:pt x="122" y="79"/>
                      <a:pt x="121" y="78"/>
                      <a:pt x="122" y="77"/>
                    </a:cubicBezTo>
                    <a:cubicBezTo>
                      <a:pt x="123" y="76"/>
                      <a:pt x="124" y="76"/>
                      <a:pt x="125" y="75"/>
                    </a:cubicBezTo>
                    <a:cubicBezTo>
                      <a:pt x="126" y="74"/>
                      <a:pt x="128" y="72"/>
                      <a:pt x="128" y="71"/>
                    </a:cubicBezTo>
                    <a:cubicBezTo>
                      <a:pt x="129" y="70"/>
                      <a:pt x="129" y="67"/>
                      <a:pt x="129" y="66"/>
                    </a:cubicBezTo>
                    <a:cubicBezTo>
                      <a:pt x="129" y="63"/>
                      <a:pt x="129" y="63"/>
                      <a:pt x="130" y="62"/>
                    </a:cubicBezTo>
                    <a:cubicBezTo>
                      <a:pt x="130" y="61"/>
                      <a:pt x="130" y="60"/>
                      <a:pt x="131" y="59"/>
                    </a:cubicBezTo>
                    <a:cubicBezTo>
                      <a:pt x="132" y="58"/>
                      <a:pt x="133" y="58"/>
                      <a:pt x="134" y="57"/>
                    </a:cubicBezTo>
                    <a:cubicBezTo>
                      <a:pt x="135" y="56"/>
                      <a:pt x="135" y="55"/>
                      <a:pt x="136" y="55"/>
                    </a:cubicBezTo>
                    <a:cubicBezTo>
                      <a:pt x="136" y="54"/>
                      <a:pt x="138" y="54"/>
                      <a:pt x="138" y="53"/>
                    </a:cubicBezTo>
                    <a:cubicBezTo>
                      <a:pt x="139" y="52"/>
                      <a:pt x="139" y="51"/>
                      <a:pt x="139" y="50"/>
                    </a:cubicBezTo>
                    <a:cubicBezTo>
                      <a:pt x="139" y="48"/>
                      <a:pt x="138" y="47"/>
                      <a:pt x="138" y="45"/>
                    </a:cubicBezTo>
                    <a:cubicBezTo>
                      <a:pt x="138" y="43"/>
                      <a:pt x="138" y="42"/>
                      <a:pt x="138" y="40"/>
                    </a:cubicBezTo>
                    <a:cubicBezTo>
                      <a:pt x="138" y="38"/>
                      <a:pt x="138" y="35"/>
                      <a:pt x="138" y="33"/>
                    </a:cubicBezTo>
                    <a:cubicBezTo>
                      <a:pt x="138" y="32"/>
                      <a:pt x="137" y="30"/>
                      <a:pt x="137" y="29"/>
                    </a:cubicBezTo>
                    <a:cubicBezTo>
                      <a:pt x="137" y="28"/>
                      <a:pt x="136" y="28"/>
                      <a:pt x="136" y="28"/>
                    </a:cubicBezTo>
                    <a:cubicBezTo>
                      <a:pt x="136" y="27"/>
                      <a:pt x="136" y="26"/>
                      <a:pt x="136" y="26"/>
                    </a:cubicBezTo>
                    <a:cubicBezTo>
                      <a:pt x="136" y="24"/>
                      <a:pt x="134" y="22"/>
                      <a:pt x="133" y="21"/>
                    </a:cubicBezTo>
                    <a:cubicBezTo>
                      <a:pt x="131" y="20"/>
                      <a:pt x="131" y="19"/>
                      <a:pt x="130" y="16"/>
                    </a:cubicBezTo>
                    <a:cubicBezTo>
                      <a:pt x="130" y="15"/>
                      <a:pt x="130" y="13"/>
                      <a:pt x="130" y="11"/>
                    </a:cubicBezTo>
                    <a:cubicBezTo>
                      <a:pt x="131" y="9"/>
                      <a:pt x="133" y="8"/>
                      <a:pt x="134" y="6"/>
                    </a:cubicBezTo>
                    <a:cubicBezTo>
                      <a:pt x="136" y="5"/>
                      <a:pt x="141" y="3"/>
                      <a:pt x="142" y="0"/>
                    </a:cubicBezTo>
                    <a:cubicBezTo>
                      <a:pt x="140" y="2"/>
                      <a:pt x="140" y="2"/>
                      <a:pt x="140" y="2"/>
                    </a:cubicBezTo>
                    <a:cubicBezTo>
                      <a:pt x="139" y="2"/>
                      <a:pt x="138" y="2"/>
                      <a:pt x="137" y="2"/>
                    </a:cubicBezTo>
                    <a:cubicBezTo>
                      <a:pt x="135" y="3"/>
                      <a:pt x="135" y="3"/>
                      <a:pt x="134" y="5"/>
                    </a:cubicBezTo>
                    <a:cubicBezTo>
                      <a:pt x="133" y="5"/>
                      <a:pt x="131" y="6"/>
                      <a:pt x="130" y="7"/>
                    </a:cubicBezTo>
                    <a:cubicBezTo>
                      <a:pt x="128" y="7"/>
                      <a:pt x="127" y="9"/>
                      <a:pt x="125" y="10"/>
                    </a:cubicBezTo>
                    <a:cubicBezTo>
                      <a:pt x="123" y="10"/>
                      <a:pt x="122" y="11"/>
                      <a:pt x="120" y="11"/>
                    </a:cubicBezTo>
                    <a:cubicBezTo>
                      <a:pt x="116" y="12"/>
                      <a:pt x="112" y="16"/>
                      <a:pt x="108" y="16"/>
                    </a:cubicBezTo>
                    <a:cubicBezTo>
                      <a:pt x="105" y="16"/>
                      <a:pt x="102" y="16"/>
                      <a:pt x="99" y="16"/>
                    </a:cubicBezTo>
                    <a:cubicBezTo>
                      <a:pt x="99" y="17"/>
                      <a:pt x="99" y="18"/>
                      <a:pt x="98" y="20"/>
                    </a:cubicBezTo>
                    <a:cubicBezTo>
                      <a:pt x="98" y="22"/>
                      <a:pt x="96" y="23"/>
                      <a:pt x="95" y="25"/>
                    </a:cubicBezTo>
                    <a:cubicBezTo>
                      <a:pt x="93" y="28"/>
                      <a:pt x="91" y="30"/>
                      <a:pt x="90" y="33"/>
                    </a:cubicBezTo>
                    <a:cubicBezTo>
                      <a:pt x="90" y="35"/>
                      <a:pt x="89" y="37"/>
                      <a:pt x="89" y="39"/>
                    </a:cubicBezTo>
                    <a:cubicBezTo>
                      <a:pt x="89" y="42"/>
                      <a:pt x="89" y="44"/>
                      <a:pt x="87" y="45"/>
                    </a:cubicBezTo>
                    <a:cubicBezTo>
                      <a:pt x="85" y="47"/>
                      <a:pt x="84" y="48"/>
                      <a:pt x="83" y="49"/>
                    </a:cubicBezTo>
                    <a:cubicBezTo>
                      <a:pt x="81" y="50"/>
                      <a:pt x="80" y="51"/>
                      <a:pt x="79" y="52"/>
                    </a:cubicBezTo>
                    <a:cubicBezTo>
                      <a:pt x="77" y="54"/>
                      <a:pt x="76" y="54"/>
                      <a:pt x="73" y="55"/>
                    </a:cubicBezTo>
                    <a:cubicBezTo>
                      <a:pt x="70" y="55"/>
                      <a:pt x="68" y="56"/>
                      <a:pt x="66" y="58"/>
                    </a:cubicBezTo>
                    <a:cubicBezTo>
                      <a:pt x="65" y="58"/>
                      <a:pt x="65" y="58"/>
                      <a:pt x="64" y="58"/>
                    </a:cubicBezTo>
                    <a:cubicBezTo>
                      <a:pt x="61" y="58"/>
                      <a:pt x="58" y="58"/>
                      <a:pt x="55" y="58"/>
                    </a:cubicBezTo>
                    <a:cubicBezTo>
                      <a:pt x="52" y="58"/>
                      <a:pt x="50" y="59"/>
                      <a:pt x="47" y="60"/>
                    </a:cubicBezTo>
                    <a:cubicBezTo>
                      <a:pt x="46" y="60"/>
                      <a:pt x="44" y="60"/>
                      <a:pt x="43" y="61"/>
                    </a:cubicBezTo>
                    <a:cubicBezTo>
                      <a:pt x="42" y="61"/>
                      <a:pt x="41" y="62"/>
                      <a:pt x="41" y="63"/>
                    </a:cubicBezTo>
                    <a:cubicBezTo>
                      <a:pt x="39" y="65"/>
                      <a:pt x="36" y="66"/>
                      <a:pt x="33" y="66"/>
                    </a:cubicBezTo>
                    <a:cubicBezTo>
                      <a:pt x="32" y="66"/>
                      <a:pt x="31" y="66"/>
                      <a:pt x="30" y="66"/>
                    </a:cubicBezTo>
                    <a:cubicBezTo>
                      <a:pt x="27" y="68"/>
                      <a:pt x="24" y="72"/>
                      <a:pt x="24" y="72"/>
                    </a:cubicBezTo>
                    <a:cubicBezTo>
                      <a:pt x="24" y="73"/>
                      <a:pt x="20" y="77"/>
                      <a:pt x="20" y="78"/>
                    </a:cubicBezTo>
                    <a:cubicBezTo>
                      <a:pt x="18" y="80"/>
                      <a:pt x="17" y="80"/>
                      <a:pt x="14" y="85"/>
                    </a:cubicBezTo>
                    <a:cubicBezTo>
                      <a:pt x="12" y="86"/>
                      <a:pt x="12" y="88"/>
                      <a:pt x="12" y="90"/>
                    </a:cubicBezTo>
                    <a:cubicBezTo>
                      <a:pt x="12" y="93"/>
                      <a:pt x="12" y="96"/>
                      <a:pt x="14" y="98"/>
                    </a:cubicBezTo>
                    <a:cubicBezTo>
                      <a:pt x="15" y="99"/>
                      <a:pt x="16" y="100"/>
                      <a:pt x="17" y="101"/>
                    </a:cubicBezTo>
                    <a:cubicBezTo>
                      <a:pt x="18" y="101"/>
                      <a:pt x="19" y="105"/>
                      <a:pt x="19" y="105"/>
                    </a:cubicBezTo>
                    <a:cubicBezTo>
                      <a:pt x="21" y="107"/>
                      <a:pt x="24" y="107"/>
                      <a:pt x="25" y="109"/>
                    </a:cubicBezTo>
                    <a:cubicBezTo>
                      <a:pt x="26" y="110"/>
                      <a:pt x="26" y="114"/>
                      <a:pt x="28" y="115"/>
                    </a:cubicBezTo>
                    <a:cubicBezTo>
                      <a:pt x="31" y="116"/>
                      <a:pt x="31" y="113"/>
                      <a:pt x="31" y="112"/>
                    </a:cubicBezTo>
                    <a:cubicBezTo>
                      <a:pt x="31" y="111"/>
                      <a:pt x="31" y="110"/>
                      <a:pt x="31" y="109"/>
                    </a:cubicBezTo>
                    <a:cubicBezTo>
                      <a:pt x="31" y="108"/>
                      <a:pt x="32" y="108"/>
                      <a:pt x="32" y="107"/>
                    </a:cubicBezTo>
                    <a:cubicBezTo>
                      <a:pt x="32" y="106"/>
                      <a:pt x="32" y="105"/>
                      <a:pt x="31" y="104"/>
                    </a:cubicBezTo>
                    <a:cubicBezTo>
                      <a:pt x="31" y="103"/>
                      <a:pt x="29" y="103"/>
                      <a:pt x="29" y="103"/>
                    </a:cubicBezTo>
                    <a:cubicBezTo>
                      <a:pt x="28" y="100"/>
                      <a:pt x="29" y="98"/>
                      <a:pt x="31" y="98"/>
                    </a:cubicBezTo>
                    <a:cubicBezTo>
                      <a:pt x="33" y="98"/>
                      <a:pt x="33" y="98"/>
                      <a:pt x="34" y="99"/>
                    </a:cubicBezTo>
                    <a:cubicBezTo>
                      <a:pt x="34" y="100"/>
                      <a:pt x="34" y="100"/>
                      <a:pt x="34" y="101"/>
                    </a:cubicBezTo>
                    <a:cubicBezTo>
                      <a:pt x="34" y="102"/>
                      <a:pt x="35" y="103"/>
                      <a:pt x="36" y="103"/>
                    </a:cubicBezTo>
                    <a:cubicBezTo>
                      <a:pt x="36" y="104"/>
                      <a:pt x="37" y="106"/>
                      <a:pt x="39" y="106"/>
                    </a:cubicBezTo>
                    <a:cubicBezTo>
                      <a:pt x="40" y="106"/>
                      <a:pt x="41" y="105"/>
                      <a:pt x="43" y="106"/>
                    </a:cubicBezTo>
                    <a:cubicBezTo>
                      <a:pt x="42" y="107"/>
                      <a:pt x="40" y="108"/>
                      <a:pt x="39" y="109"/>
                    </a:cubicBezTo>
                    <a:cubicBezTo>
                      <a:pt x="38" y="110"/>
                      <a:pt x="38" y="111"/>
                      <a:pt x="38" y="113"/>
                    </a:cubicBezTo>
                    <a:cubicBezTo>
                      <a:pt x="39" y="114"/>
                      <a:pt x="39" y="115"/>
                      <a:pt x="40" y="116"/>
                    </a:cubicBezTo>
                    <a:cubicBezTo>
                      <a:pt x="41" y="117"/>
                      <a:pt x="42" y="116"/>
                      <a:pt x="43" y="116"/>
                    </a:cubicBezTo>
                    <a:cubicBezTo>
                      <a:pt x="46" y="117"/>
                      <a:pt x="41" y="125"/>
                      <a:pt x="38" y="124"/>
                    </a:cubicBezTo>
                    <a:cubicBezTo>
                      <a:pt x="37" y="124"/>
                      <a:pt x="36" y="124"/>
                      <a:pt x="35" y="123"/>
                    </a:cubicBezTo>
                    <a:cubicBezTo>
                      <a:pt x="34" y="123"/>
                      <a:pt x="32" y="124"/>
                      <a:pt x="31" y="123"/>
                    </a:cubicBezTo>
                    <a:cubicBezTo>
                      <a:pt x="30" y="123"/>
                      <a:pt x="31" y="123"/>
                      <a:pt x="30" y="122"/>
                    </a:cubicBezTo>
                    <a:cubicBezTo>
                      <a:pt x="30" y="122"/>
                      <a:pt x="30" y="121"/>
                      <a:pt x="30" y="121"/>
                    </a:cubicBezTo>
                    <a:cubicBezTo>
                      <a:pt x="29" y="121"/>
                      <a:pt x="27" y="121"/>
                      <a:pt x="27" y="121"/>
                    </a:cubicBezTo>
                    <a:cubicBezTo>
                      <a:pt x="25" y="121"/>
                      <a:pt x="22" y="120"/>
                      <a:pt x="21" y="118"/>
                    </a:cubicBezTo>
                    <a:cubicBezTo>
                      <a:pt x="19" y="117"/>
                      <a:pt x="20" y="116"/>
                      <a:pt x="18" y="116"/>
                    </a:cubicBezTo>
                    <a:cubicBezTo>
                      <a:pt x="16" y="116"/>
                      <a:pt x="14" y="118"/>
                      <a:pt x="11" y="117"/>
                    </a:cubicBezTo>
                    <a:cubicBezTo>
                      <a:pt x="9" y="117"/>
                      <a:pt x="12" y="116"/>
                      <a:pt x="12" y="114"/>
                    </a:cubicBezTo>
                    <a:cubicBezTo>
                      <a:pt x="11" y="113"/>
                      <a:pt x="8" y="111"/>
                      <a:pt x="7" y="112"/>
                    </a:cubicBezTo>
                    <a:cubicBezTo>
                      <a:pt x="6" y="112"/>
                      <a:pt x="5" y="116"/>
                      <a:pt x="5" y="118"/>
                    </a:cubicBezTo>
                    <a:cubicBezTo>
                      <a:pt x="5" y="118"/>
                      <a:pt x="5" y="119"/>
                      <a:pt x="5" y="120"/>
                    </a:cubicBezTo>
                    <a:cubicBezTo>
                      <a:pt x="5" y="121"/>
                      <a:pt x="4" y="121"/>
                      <a:pt x="4" y="122"/>
                    </a:cubicBezTo>
                    <a:cubicBezTo>
                      <a:pt x="4" y="123"/>
                      <a:pt x="4" y="125"/>
                      <a:pt x="4" y="126"/>
                    </a:cubicBezTo>
                    <a:cubicBezTo>
                      <a:pt x="4" y="128"/>
                      <a:pt x="4" y="129"/>
                      <a:pt x="4" y="131"/>
                    </a:cubicBezTo>
                    <a:cubicBezTo>
                      <a:pt x="4" y="135"/>
                      <a:pt x="4" y="139"/>
                      <a:pt x="5" y="143"/>
                    </a:cubicBezTo>
                    <a:cubicBezTo>
                      <a:pt x="6" y="146"/>
                      <a:pt x="5" y="150"/>
                      <a:pt x="5" y="153"/>
                    </a:cubicBezTo>
                    <a:cubicBezTo>
                      <a:pt x="6" y="155"/>
                      <a:pt x="6" y="158"/>
                      <a:pt x="6" y="160"/>
                    </a:cubicBezTo>
                    <a:cubicBezTo>
                      <a:pt x="6" y="164"/>
                      <a:pt x="6" y="167"/>
                      <a:pt x="6" y="171"/>
                    </a:cubicBezTo>
                    <a:cubicBezTo>
                      <a:pt x="7" y="170"/>
                      <a:pt x="8" y="170"/>
                      <a:pt x="9" y="170"/>
                    </a:cubicBezTo>
                    <a:cubicBezTo>
                      <a:pt x="10" y="169"/>
                      <a:pt x="10" y="169"/>
                      <a:pt x="9" y="167"/>
                    </a:cubicBezTo>
                    <a:cubicBezTo>
                      <a:pt x="9" y="165"/>
                      <a:pt x="9" y="163"/>
                      <a:pt x="11" y="163"/>
                    </a:cubicBezTo>
                    <a:cubicBezTo>
                      <a:pt x="13" y="162"/>
                      <a:pt x="15" y="164"/>
                      <a:pt x="14" y="165"/>
                    </a:cubicBezTo>
                    <a:cubicBezTo>
                      <a:pt x="15" y="167"/>
                      <a:pt x="15" y="167"/>
                      <a:pt x="15" y="167"/>
                    </a:cubicBezTo>
                    <a:cubicBezTo>
                      <a:pt x="15" y="169"/>
                      <a:pt x="13" y="169"/>
                      <a:pt x="13" y="171"/>
                    </a:cubicBezTo>
                    <a:cubicBezTo>
                      <a:pt x="13" y="173"/>
                      <a:pt x="13" y="174"/>
                      <a:pt x="14" y="175"/>
                    </a:cubicBezTo>
                    <a:cubicBezTo>
                      <a:pt x="17" y="177"/>
                      <a:pt x="23" y="180"/>
                      <a:pt x="19" y="183"/>
                    </a:cubicBezTo>
                    <a:cubicBezTo>
                      <a:pt x="17" y="184"/>
                      <a:pt x="14" y="186"/>
                      <a:pt x="13" y="184"/>
                    </a:cubicBezTo>
                    <a:cubicBezTo>
                      <a:pt x="13" y="183"/>
                      <a:pt x="13" y="181"/>
                      <a:pt x="13" y="180"/>
                    </a:cubicBezTo>
                    <a:cubicBezTo>
                      <a:pt x="13" y="179"/>
                      <a:pt x="13" y="177"/>
                      <a:pt x="12" y="177"/>
                    </a:cubicBezTo>
                    <a:cubicBezTo>
                      <a:pt x="11" y="176"/>
                      <a:pt x="7" y="178"/>
                      <a:pt x="7" y="178"/>
                    </a:cubicBezTo>
                    <a:cubicBezTo>
                      <a:pt x="7" y="178"/>
                      <a:pt x="6" y="178"/>
                      <a:pt x="6" y="178"/>
                    </a:cubicBezTo>
                    <a:cubicBezTo>
                      <a:pt x="7" y="181"/>
                      <a:pt x="7" y="185"/>
                      <a:pt x="8" y="188"/>
                    </a:cubicBezTo>
                    <a:cubicBezTo>
                      <a:pt x="8" y="190"/>
                      <a:pt x="8" y="192"/>
                      <a:pt x="8" y="195"/>
                    </a:cubicBezTo>
                    <a:cubicBezTo>
                      <a:pt x="8" y="196"/>
                      <a:pt x="8" y="198"/>
                      <a:pt x="8" y="199"/>
                    </a:cubicBezTo>
                    <a:cubicBezTo>
                      <a:pt x="8" y="202"/>
                      <a:pt x="7" y="205"/>
                      <a:pt x="5" y="207"/>
                    </a:cubicBezTo>
                    <a:cubicBezTo>
                      <a:pt x="5" y="208"/>
                      <a:pt x="4" y="209"/>
                      <a:pt x="3" y="209"/>
                    </a:cubicBezTo>
                    <a:cubicBezTo>
                      <a:pt x="2" y="211"/>
                      <a:pt x="2" y="212"/>
                      <a:pt x="0" y="213"/>
                    </a:cubicBezTo>
                    <a:cubicBezTo>
                      <a:pt x="1" y="214"/>
                      <a:pt x="2" y="214"/>
                      <a:pt x="3" y="215"/>
                    </a:cubicBezTo>
                    <a:cubicBezTo>
                      <a:pt x="5" y="216"/>
                      <a:pt x="6" y="218"/>
                      <a:pt x="8" y="220"/>
                    </a:cubicBezTo>
                    <a:cubicBezTo>
                      <a:pt x="9" y="222"/>
                      <a:pt x="11" y="223"/>
                      <a:pt x="12" y="224"/>
                    </a:cubicBezTo>
                    <a:cubicBezTo>
                      <a:pt x="12" y="225"/>
                      <a:pt x="12" y="226"/>
                      <a:pt x="13" y="227"/>
                    </a:cubicBezTo>
                    <a:cubicBezTo>
                      <a:pt x="15" y="230"/>
                      <a:pt x="17" y="231"/>
                      <a:pt x="20" y="233"/>
                    </a:cubicBezTo>
                    <a:cubicBezTo>
                      <a:pt x="21" y="234"/>
                      <a:pt x="22" y="235"/>
                      <a:pt x="23" y="235"/>
                    </a:cubicBezTo>
                    <a:cubicBezTo>
                      <a:pt x="26" y="234"/>
                      <a:pt x="26" y="231"/>
                      <a:pt x="26" y="229"/>
                    </a:cubicBezTo>
                    <a:cubicBezTo>
                      <a:pt x="25" y="228"/>
                      <a:pt x="25" y="228"/>
                      <a:pt x="24" y="227"/>
                    </a:cubicBezTo>
                    <a:cubicBezTo>
                      <a:pt x="24" y="226"/>
                      <a:pt x="24" y="226"/>
                      <a:pt x="24" y="226"/>
                    </a:cubicBezTo>
                    <a:cubicBezTo>
                      <a:pt x="23" y="225"/>
                      <a:pt x="23" y="224"/>
                      <a:pt x="22" y="223"/>
                    </a:cubicBezTo>
                    <a:cubicBezTo>
                      <a:pt x="21" y="222"/>
                      <a:pt x="19" y="221"/>
                      <a:pt x="18" y="220"/>
                    </a:cubicBezTo>
                    <a:cubicBezTo>
                      <a:pt x="17" y="218"/>
                      <a:pt x="14" y="218"/>
                      <a:pt x="16" y="215"/>
                    </a:cubicBezTo>
                    <a:cubicBezTo>
                      <a:pt x="17" y="212"/>
                      <a:pt x="19" y="214"/>
                      <a:pt x="21" y="215"/>
                    </a:cubicBezTo>
                    <a:cubicBezTo>
                      <a:pt x="22" y="216"/>
                      <a:pt x="23" y="220"/>
                      <a:pt x="24" y="220"/>
                    </a:cubicBezTo>
                    <a:cubicBezTo>
                      <a:pt x="24" y="221"/>
                      <a:pt x="26" y="221"/>
                      <a:pt x="26" y="222"/>
                    </a:cubicBezTo>
                    <a:cubicBezTo>
                      <a:pt x="27" y="223"/>
                      <a:pt x="27" y="223"/>
                      <a:pt x="28" y="224"/>
                    </a:cubicBezTo>
                    <a:cubicBezTo>
                      <a:pt x="29" y="225"/>
                      <a:pt x="31" y="226"/>
                      <a:pt x="32" y="227"/>
                    </a:cubicBezTo>
                    <a:cubicBezTo>
                      <a:pt x="32" y="227"/>
                      <a:pt x="34" y="228"/>
                      <a:pt x="34" y="228"/>
                    </a:cubicBezTo>
                    <a:cubicBezTo>
                      <a:pt x="34" y="228"/>
                      <a:pt x="34" y="228"/>
                      <a:pt x="34" y="229"/>
                    </a:cubicBezTo>
                    <a:cubicBezTo>
                      <a:pt x="35" y="231"/>
                      <a:pt x="36" y="232"/>
                      <a:pt x="35" y="234"/>
                    </a:cubicBezTo>
                    <a:cubicBezTo>
                      <a:pt x="35" y="236"/>
                      <a:pt x="34" y="235"/>
                      <a:pt x="34" y="237"/>
                    </a:cubicBezTo>
                    <a:cubicBezTo>
                      <a:pt x="33" y="238"/>
                      <a:pt x="34" y="239"/>
                      <a:pt x="34" y="240"/>
                    </a:cubicBezTo>
                    <a:cubicBezTo>
                      <a:pt x="34" y="241"/>
                      <a:pt x="33" y="244"/>
                      <a:pt x="34" y="245"/>
                    </a:cubicBezTo>
                    <a:cubicBezTo>
                      <a:pt x="34" y="246"/>
                      <a:pt x="35" y="246"/>
                      <a:pt x="35" y="247"/>
                    </a:cubicBezTo>
                    <a:cubicBezTo>
                      <a:pt x="37" y="250"/>
                      <a:pt x="35" y="252"/>
                      <a:pt x="34" y="254"/>
                    </a:cubicBezTo>
                    <a:cubicBezTo>
                      <a:pt x="34" y="255"/>
                      <a:pt x="34" y="255"/>
                      <a:pt x="33" y="256"/>
                    </a:cubicBezTo>
                    <a:cubicBezTo>
                      <a:pt x="33" y="257"/>
                      <a:pt x="32" y="257"/>
                      <a:pt x="32" y="258"/>
                    </a:cubicBezTo>
                    <a:cubicBezTo>
                      <a:pt x="32" y="259"/>
                      <a:pt x="32" y="260"/>
                      <a:pt x="32" y="261"/>
                    </a:cubicBezTo>
                    <a:cubicBezTo>
                      <a:pt x="32" y="263"/>
                      <a:pt x="32" y="266"/>
                      <a:pt x="32" y="268"/>
                    </a:cubicBezTo>
                    <a:cubicBezTo>
                      <a:pt x="32" y="269"/>
                      <a:pt x="32" y="270"/>
                      <a:pt x="32" y="272"/>
                    </a:cubicBezTo>
                    <a:cubicBezTo>
                      <a:pt x="32" y="271"/>
                      <a:pt x="32" y="271"/>
                      <a:pt x="32" y="271"/>
                    </a:cubicBezTo>
                    <a:cubicBezTo>
                      <a:pt x="35" y="271"/>
                      <a:pt x="37" y="272"/>
                      <a:pt x="40" y="272"/>
                    </a:cubicBezTo>
                    <a:cubicBezTo>
                      <a:pt x="41" y="272"/>
                      <a:pt x="43" y="272"/>
                      <a:pt x="45" y="272"/>
                    </a:cubicBezTo>
                    <a:cubicBezTo>
                      <a:pt x="46" y="272"/>
                      <a:pt x="48" y="272"/>
                      <a:pt x="49" y="272"/>
                    </a:cubicBezTo>
                    <a:cubicBezTo>
                      <a:pt x="50" y="273"/>
                      <a:pt x="51" y="274"/>
                      <a:pt x="52" y="274"/>
                    </a:cubicBezTo>
                    <a:cubicBezTo>
                      <a:pt x="53" y="274"/>
                      <a:pt x="55" y="274"/>
                      <a:pt x="56" y="274"/>
                    </a:cubicBezTo>
                    <a:cubicBezTo>
                      <a:pt x="56" y="274"/>
                      <a:pt x="57" y="274"/>
                      <a:pt x="58" y="274"/>
                    </a:cubicBezTo>
                    <a:cubicBezTo>
                      <a:pt x="58" y="273"/>
                      <a:pt x="58" y="273"/>
                      <a:pt x="59" y="272"/>
                    </a:cubicBezTo>
                    <a:cubicBezTo>
                      <a:pt x="59" y="272"/>
                      <a:pt x="61" y="272"/>
                      <a:pt x="62" y="272"/>
                    </a:cubicBezTo>
                    <a:cubicBezTo>
                      <a:pt x="62" y="273"/>
                      <a:pt x="62" y="274"/>
                      <a:pt x="63" y="274"/>
                    </a:cubicBezTo>
                    <a:cubicBezTo>
                      <a:pt x="62" y="275"/>
                      <a:pt x="63" y="275"/>
                      <a:pt x="63" y="275"/>
                    </a:cubicBezTo>
                    <a:cubicBezTo>
                      <a:pt x="63" y="276"/>
                      <a:pt x="63" y="276"/>
                      <a:pt x="63" y="276"/>
                    </a:cubicBezTo>
                    <a:cubicBezTo>
                      <a:pt x="64" y="277"/>
                      <a:pt x="64" y="278"/>
                      <a:pt x="64" y="280"/>
                    </a:cubicBezTo>
                    <a:cubicBezTo>
                      <a:pt x="64" y="282"/>
                      <a:pt x="65" y="282"/>
                      <a:pt x="67" y="282"/>
                    </a:cubicBezTo>
                    <a:cubicBezTo>
                      <a:pt x="68" y="282"/>
                      <a:pt x="69" y="282"/>
                      <a:pt x="70" y="282"/>
                    </a:cubicBezTo>
                    <a:cubicBezTo>
                      <a:pt x="71" y="281"/>
                      <a:pt x="71" y="280"/>
                      <a:pt x="72" y="279"/>
                    </a:cubicBezTo>
                    <a:cubicBezTo>
                      <a:pt x="74" y="279"/>
                      <a:pt x="74" y="279"/>
                      <a:pt x="75" y="278"/>
                    </a:cubicBezTo>
                    <a:cubicBezTo>
                      <a:pt x="76" y="277"/>
                      <a:pt x="76" y="276"/>
                      <a:pt x="77" y="276"/>
                    </a:cubicBezTo>
                    <a:cubicBezTo>
                      <a:pt x="78" y="275"/>
                      <a:pt x="79" y="276"/>
                      <a:pt x="79" y="276"/>
                    </a:cubicBezTo>
                    <a:cubicBezTo>
                      <a:pt x="80" y="276"/>
                      <a:pt x="81" y="276"/>
                      <a:pt x="81" y="276"/>
                    </a:cubicBezTo>
                    <a:cubicBezTo>
                      <a:pt x="82" y="276"/>
                      <a:pt x="82" y="276"/>
                      <a:pt x="83" y="276"/>
                    </a:cubicBezTo>
                    <a:cubicBezTo>
                      <a:pt x="84" y="276"/>
                      <a:pt x="85" y="277"/>
                      <a:pt x="86" y="277"/>
                    </a:cubicBezTo>
                    <a:cubicBezTo>
                      <a:pt x="87" y="279"/>
                      <a:pt x="87" y="280"/>
                      <a:pt x="89" y="280"/>
                    </a:cubicBezTo>
                    <a:cubicBezTo>
                      <a:pt x="91" y="280"/>
                      <a:pt x="92" y="280"/>
                      <a:pt x="94" y="281"/>
                    </a:cubicBezTo>
                    <a:cubicBezTo>
                      <a:pt x="95" y="282"/>
                      <a:pt x="95" y="282"/>
                      <a:pt x="96" y="283"/>
                    </a:cubicBezTo>
                    <a:cubicBezTo>
                      <a:pt x="97" y="283"/>
                      <a:pt x="98" y="284"/>
                      <a:pt x="99" y="284"/>
                    </a:cubicBezTo>
                    <a:cubicBezTo>
                      <a:pt x="100" y="284"/>
                      <a:pt x="100" y="283"/>
                      <a:pt x="101" y="282"/>
                    </a:cubicBezTo>
                    <a:cubicBezTo>
                      <a:pt x="102" y="282"/>
                      <a:pt x="104" y="280"/>
                      <a:pt x="105" y="281"/>
                    </a:cubicBezTo>
                    <a:cubicBezTo>
                      <a:pt x="106" y="281"/>
                      <a:pt x="106" y="282"/>
                      <a:pt x="106" y="282"/>
                    </a:cubicBezTo>
                    <a:cubicBezTo>
                      <a:pt x="107" y="282"/>
                      <a:pt x="107" y="281"/>
                      <a:pt x="108" y="280"/>
                    </a:cubicBezTo>
                    <a:cubicBezTo>
                      <a:pt x="109" y="279"/>
                      <a:pt x="111" y="277"/>
                      <a:pt x="112" y="275"/>
                    </a:cubicBezTo>
                    <a:cubicBezTo>
                      <a:pt x="113" y="272"/>
                      <a:pt x="114" y="267"/>
                      <a:pt x="111" y="264"/>
                    </a:cubicBezTo>
                    <a:cubicBezTo>
                      <a:pt x="108" y="262"/>
                      <a:pt x="105" y="264"/>
                      <a:pt x="103" y="261"/>
                    </a:cubicBezTo>
                    <a:cubicBezTo>
                      <a:pt x="103" y="260"/>
                      <a:pt x="103" y="259"/>
                      <a:pt x="102" y="259"/>
                    </a:cubicBezTo>
                    <a:cubicBezTo>
                      <a:pt x="102" y="258"/>
                      <a:pt x="101" y="258"/>
                      <a:pt x="100" y="258"/>
                    </a:cubicBezTo>
                    <a:cubicBezTo>
                      <a:pt x="99" y="257"/>
                      <a:pt x="99" y="257"/>
                      <a:pt x="98" y="256"/>
                    </a:cubicBezTo>
                    <a:cubicBezTo>
                      <a:pt x="96" y="255"/>
                      <a:pt x="91" y="254"/>
                      <a:pt x="89" y="256"/>
                    </a:cubicBezTo>
                    <a:cubicBezTo>
                      <a:pt x="86" y="258"/>
                      <a:pt x="95" y="263"/>
                      <a:pt x="94" y="267"/>
                    </a:cubicBezTo>
                    <a:cubicBezTo>
                      <a:pt x="92" y="267"/>
                      <a:pt x="93" y="266"/>
                      <a:pt x="92" y="266"/>
                    </a:cubicBezTo>
                    <a:cubicBezTo>
                      <a:pt x="91" y="265"/>
                      <a:pt x="89" y="265"/>
                      <a:pt x="88" y="264"/>
                    </a:cubicBezTo>
                    <a:cubicBezTo>
                      <a:pt x="87" y="263"/>
                      <a:pt x="86" y="262"/>
                      <a:pt x="84" y="261"/>
                    </a:cubicBezTo>
                    <a:cubicBezTo>
                      <a:pt x="82" y="260"/>
                      <a:pt x="81" y="261"/>
                      <a:pt x="81" y="258"/>
                    </a:cubicBezTo>
                    <a:cubicBezTo>
                      <a:pt x="81" y="256"/>
                      <a:pt x="81" y="254"/>
                      <a:pt x="82" y="253"/>
                    </a:cubicBezTo>
                    <a:cubicBezTo>
                      <a:pt x="83" y="252"/>
                      <a:pt x="84" y="251"/>
                      <a:pt x="84" y="250"/>
                    </a:cubicBezTo>
                    <a:cubicBezTo>
                      <a:pt x="85" y="250"/>
                      <a:pt x="88" y="250"/>
                      <a:pt x="89" y="250"/>
                    </a:cubicBezTo>
                    <a:cubicBezTo>
                      <a:pt x="92" y="249"/>
                      <a:pt x="89" y="248"/>
                      <a:pt x="90" y="246"/>
                    </a:cubicBezTo>
                    <a:cubicBezTo>
                      <a:pt x="91" y="244"/>
                      <a:pt x="94" y="244"/>
                      <a:pt x="92" y="242"/>
                    </a:cubicBezTo>
                    <a:cubicBezTo>
                      <a:pt x="92" y="241"/>
                      <a:pt x="91" y="242"/>
                      <a:pt x="90" y="241"/>
                    </a:cubicBezTo>
                    <a:cubicBezTo>
                      <a:pt x="90" y="240"/>
                      <a:pt x="90" y="239"/>
                      <a:pt x="90" y="239"/>
                    </a:cubicBezTo>
                    <a:cubicBezTo>
                      <a:pt x="91" y="233"/>
                      <a:pt x="99" y="237"/>
                      <a:pt x="101" y="239"/>
                    </a:cubicBezTo>
                    <a:cubicBezTo>
                      <a:pt x="102" y="239"/>
                      <a:pt x="103" y="240"/>
                      <a:pt x="103" y="241"/>
                    </a:cubicBezTo>
                    <a:cubicBezTo>
                      <a:pt x="104" y="242"/>
                      <a:pt x="104" y="243"/>
                      <a:pt x="104" y="244"/>
                    </a:cubicBezTo>
                    <a:cubicBezTo>
                      <a:pt x="104" y="245"/>
                      <a:pt x="104" y="244"/>
                      <a:pt x="105" y="245"/>
                    </a:cubicBezTo>
                    <a:cubicBezTo>
                      <a:pt x="107" y="247"/>
                      <a:pt x="109" y="248"/>
                      <a:pt x="111" y="250"/>
                    </a:cubicBezTo>
                    <a:cubicBezTo>
                      <a:pt x="112" y="252"/>
                      <a:pt x="111" y="253"/>
                      <a:pt x="111" y="255"/>
                    </a:cubicBezTo>
                    <a:cubicBezTo>
                      <a:pt x="111" y="257"/>
                      <a:pt x="112" y="257"/>
                      <a:pt x="114" y="257"/>
                    </a:cubicBezTo>
                    <a:cubicBezTo>
                      <a:pt x="115" y="257"/>
                      <a:pt x="117" y="256"/>
                      <a:pt x="117" y="255"/>
                    </a:cubicBezTo>
                    <a:cubicBezTo>
                      <a:pt x="118" y="255"/>
                      <a:pt x="120" y="255"/>
                      <a:pt x="120" y="257"/>
                    </a:cubicBezTo>
                    <a:cubicBezTo>
                      <a:pt x="121" y="258"/>
                      <a:pt x="120" y="259"/>
                      <a:pt x="121" y="259"/>
                    </a:cubicBezTo>
                    <a:cubicBezTo>
                      <a:pt x="122" y="260"/>
                      <a:pt x="125" y="260"/>
                      <a:pt x="126" y="261"/>
                    </a:cubicBezTo>
                    <a:cubicBezTo>
                      <a:pt x="127" y="261"/>
                      <a:pt x="129" y="262"/>
                      <a:pt x="130" y="263"/>
                    </a:cubicBezTo>
                    <a:cubicBezTo>
                      <a:pt x="131" y="263"/>
                      <a:pt x="132" y="264"/>
                      <a:pt x="133" y="264"/>
                    </a:cubicBezTo>
                    <a:cubicBezTo>
                      <a:pt x="136" y="266"/>
                      <a:pt x="137" y="268"/>
                      <a:pt x="137" y="272"/>
                    </a:cubicBezTo>
                    <a:cubicBezTo>
                      <a:pt x="137" y="273"/>
                      <a:pt x="137" y="274"/>
                      <a:pt x="138" y="275"/>
                    </a:cubicBezTo>
                    <a:cubicBezTo>
                      <a:pt x="139" y="276"/>
                      <a:pt x="140" y="277"/>
                      <a:pt x="141" y="278"/>
                    </a:cubicBezTo>
                    <a:cubicBezTo>
                      <a:pt x="142" y="279"/>
                      <a:pt x="142" y="278"/>
                      <a:pt x="143" y="280"/>
                    </a:cubicBezTo>
                    <a:cubicBezTo>
                      <a:pt x="143" y="281"/>
                      <a:pt x="143" y="283"/>
                      <a:pt x="143" y="284"/>
                    </a:cubicBezTo>
                    <a:cubicBezTo>
                      <a:pt x="143" y="286"/>
                      <a:pt x="143" y="297"/>
                      <a:pt x="146" y="296"/>
                    </a:cubicBezTo>
                    <a:cubicBezTo>
                      <a:pt x="147" y="296"/>
                      <a:pt x="147" y="294"/>
                      <a:pt x="148" y="293"/>
                    </a:cubicBezTo>
                    <a:cubicBezTo>
                      <a:pt x="148" y="292"/>
                      <a:pt x="149" y="290"/>
                      <a:pt x="149" y="288"/>
                    </a:cubicBezTo>
                    <a:cubicBezTo>
                      <a:pt x="150" y="286"/>
                      <a:pt x="150" y="284"/>
                      <a:pt x="151" y="282"/>
                    </a:cubicBezTo>
                    <a:cubicBezTo>
                      <a:pt x="152" y="281"/>
                      <a:pt x="152" y="280"/>
                      <a:pt x="152" y="279"/>
                    </a:cubicBezTo>
                    <a:cubicBezTo>
                      <a:pt x="153" y="279"/>
                      <a:pt x="154" y="278"/>
                      <a:pt x="154" y="278"/>
                    </a:cubicBezTo>
                    <a:cubicBezTo>
                      <a:pt x="154" y="277"/>
                      <a:pt x="154" y="276"/>
                      <a:pt x="154" y="275"/>
                    </a:cubicBezTo>
                    <a:cubicBezTo>
                      <a:pt x="154" y="274"/>
                      <a:pt x="155" y="275"/>
                      <a:pt x="155" y="274"/>
                    </a:cubicBezTo>
                    <a:cubicBezTo>
                      <a:pt x="155" y="273"/>
                      <a:pt x="155" y="272"/>
                      <a:pt x="155" y="271"/>
                    </a:cubicBezTo>
                    <a:cubicBezTo>
                      <a:pt x="155" y="268"/>
                      <a:pt x="156" y="265"/>
                      <a:pt x="157" y="261"/>
                    </a:cubicBezTo>
                    <a:cubicBezTo>
                      <a:pt x="157" y="259"/>
                      <a:pt x="159" y="257"/>
                      <a:pt x="160" y="255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91" name="Freeform 107">
                <a:extLst>
                  <a:ext uri="{FF2B5EF4-FFF2-40B4-BE49-F238E27FC236}">
                    <a16:creationId xmlns:a16="http://schemas.microsoft.com/office/drawing/2014/main" id="{89D93D88-F643-4C22-B26F-CBB6C04809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9463" y="3495675"/>
                <a:ext cx="180975" cy="300038"/>
              </a:xfrm>
              <a:custGeom>
                <a:avLst/>
                <a:gdLst/>
                <a:ahLst/>
                <a:cxnLst>
                  <a:cxn ang="0">
                    <a:pos x="44" y="49"/>
                  </a:cxn>
                  <a:cxn ang="0">
                    <a:pos x="52" y="51"/>
                  </a:cxn>
                  <a:cxn ang="0">
                    <a:pos x="63" y="54"/>
                  </a:cxn>
                  <a:cxn ang="0">
                    <a:pos x="57" y="52"/>
                  </a:cxn>
                  <a:cxn ang="0">
                    <a:pos x="53" y="43"/>
                  </a:cxn>
                  <a:cxn ang="0">
                    <a:pos x="54" y="32"/>
                  </a:cxn>
                  <a:cxn ang="0">
                    <a:pos x="60" y="34"/>
                  </a:cxn>
                  <a:cxn ang="0">
                    <a:pos x="51" y="33"/>
                  </a:cxn>
                  <a:cxn ang="0">
                    <a:pos x="59" y="19"/>
                  </a:cxn>
                  <a:cxn ang="0">
                    <a:pos x="68" y="14"/>
                  </a:cxn>
                  <a:cxn ang="0">
                    <a:pos x="73" y="3"/>
                  </a:cxn>
                  <a:cxn ang="0">
                    <a:pos x="80" y="11"/>
                  </a:cxn>
                  <a:cxn ang="0">
                    <a:pos x="89" y="19"/>
                  </a:cxn>
                  <a:cxn ang="0">
                    <a:pos x="86" y="29"/>
                  </a:cxn>
                  <a:cxn ang="0">
                    <a:pos x="93" y="34"/>
                  </a:cxn>
                  <a:cxn ang="0">
                    <a:pos x="96" y="43"/>
                  </a:cxn>
                  <a:cxn ang="0">
                    <a:pos x="93" y="48"/>
                  </a:cxn>
                  <a:cxn ang="0">
                    <a:pos x="95" y="59"/>
                  </a:cxn>
                  <a:cxn ang="0">
                    <a:pos x="94" y="65"/>
                  </a:cxn>
                  <a:cxn ang="0">
                    <a:pos x="78" y="67"/>
                  </a:cxn>
                  <a:cxn ang="0">
                    <a:pos x="75" y="79"/>
                  </a:cxn>
                  <a:cxn ang="0">
                    <a:pos x="82" y="91"/>
                  </a:cxn>
                  <a:cxn ang="0">
                    <a:pos x="71" y="99"/>
                  </a:cxn>
                  <a:cxn ang="0">
                    <a:pos x="60" y="108"/>
                  </a:cxn>
                  <a:cxn ang="0">
                    <a:pos x="66" y="125"/>
                  </a:cxn>
                  <a:cxn ang="0">
                    <a:pos x="75" y="117"/>
                  </a:cxn>
                  <a:cxn ang="0">
                    <a:pos x="81" y="124"/>
                  </a:cxn>
                  <a:cxn ang="0">
                    <a:pos x="72" y="130"/>
                  </a:cxn>
                  <a:cxn ang="0">
                    <a:pos x="67" y="131"/>
                  </a:cxn>
                  <a:cxn ang="0">
                    <a:pos x="62" y="141"/>
                  </a:cxn>
                  <a:cxn ang="0">
                    <a:pos x="50" y="153"/>
                  </a:cxn>
                  <a:cxn ang="0">
                    <a:pos x="50" y="158"/>
                  </a:cxn>
                  <a:cxn ang="0">
                    <a:pos x="42" y="154"/>
                  </a:cxn>
                  <a:cxn ang="0">
                    <a:pos x="34" y="155"/>
                  </a:cxn>
                  <a:cxn ang="0">
                    <a:pos x="25" y="151"/>
                  </a:cxn>
                  <a:cxn ang="0">
                    <a:pos x="7" y="139"/>
                  </a:cxn>
                  <a:cxn ang="0">
                    <a:pos x="10" y="135"/>
                  </a:cxn>
                  <a:cxn ang="0">
                    <a:pos x="9" y="129"/>
                  </a:cxn>
                  <a:cxn ang="0">
                    <a:pos x="16" y="126"/>
                  </a:cxn>
                  <a:cxn ang="0">
                    <a:pos x="23" y="128"/>
                  </a:cxn>
                  <a:cxn ang="0">
                    <a:pos x="33" y="133"/>
                  </a:cxn>
                  <a:cxn ang="0">
                    <a:pos x="42" y="132"/>
                  </a:cxn>
                  <a:cxn ang="0">
                    <a:pos x="49" y="127"/>
                  </a:cxn>
                  <a:cxn ang="0">
                    <a:pos x="56" y="124"/>
                  </a:cxn>
                  <a:cxn ang="0">
                    <a:pos x="51" y="119"/>
                  </a:cxn>
                  <a:cxn ang="0">
                    <a:pos x="41" y="104"/>
                  </a:cxn>
                  <a:cxn ang="0">
                    <a:pos x="29" y="102"/>
                  </a:cxn>
                  <a:cxn ang="0">
                    <a:pos x="18" y="98"/>
                  </a:cxn>
                  <a:cxn ang="0">
                    <a:pos x="13" y="84"/>
                  </a:cxn>
                  <a:cxn ang="0">
                    <a:pos x="10" y="68"/>
                  </a:cxn>
                  <a:cxn ang="0">
                    <a:pos x="3" y="56"/>
                  </a:cxn>
                  <a:cxn ang="0">
                    <a:pos x="4" y="50"/>
                  </a:cxn>
                  <a:cxn ang="0">
                    <a:pos x="18" y="50"/>
                  </a:cxn>
                  <a:cxn ang="0">
                    <a:pos x="34" y="37"/>
                  </a:cxn>
                  <a:cxn ang="0">
                    <a:pos x="21" y="30"/>
                  </a:cxn>
                  <a:cxn ang="0">
                    <a:pos x="34" y="31"/>
                  </a:cxn>
                  <a:cxn ang="0">
                    <a:pos x="49" y="35"/>
                  </a:cxn>
                  <a:cxn ang="0">
                    <a:pos x="45" y="42"/>
                  </a:cxn>
                </a:cxnLst>
                <a:rect l="0" t="0" r="r" b="b"/>
                <a:pathLst>
                  <a:path w="97" h="161">
                    <a:moveTo>
                      <a:pt x="45" y="42"/>
                    </a:moveTo>
                    <a:cubicBezTo>
                      <a:pt x="45" y="43"/>
                      <a:pt x="41" y="46"/>
                      <a:pt x="42" y="48"/>
                    </a:cubicBezTo>
                    <a:cubicBezTo>
                      <a:pt x="42" y="49"/>
                      <a:pt x="43" y="49"/>
                      <a:pt x="44" y="49"/>
                    </a:cubicBezTo>
                    <a:cubicBezTo>
                      <a:pt x="46" y="49"/>
                      <a:pt x="46" y="49"/>
                      <a:pt x="48" y="50"/>
                    </a:cubicBezTo>
                    <a:cubicBezTo>
                      <a:pt x="49" y="52"/>
                      <a:pt x="48" y="54"/>
                      <a:pt x="50" y="56"/>
                    </a:cubicBezTo>
                    <a:cubicBezTo>
                      <a:pt x="53" y="59"/>
                      <a:pt x="52" y="53"/>
                      <a:pt x="52" y="51"/>
                    </a:cubicBezTo>
                    <a:cubicBezTo>
                      <a:pt x="55" y="52"/>
                      <a:pt x="58" y="54"/>
                      <a:pt x="60" y="54"/>
                    </a:cubicBezTo>
                    <a:cubicBezTo>
                      <a:pt x="61" y="54"/>
                      <a:pt x="61" y="54"/>
                      <a:pt x="62" y="54"/>
                    </a:cubicBezTo>
                    <a:cubicBezTo>
                      <a:pt x="62" y="54"/>
                      <a:pt x="62" y="54"/>
                      <a:pt x="63" y="54"/>
                    </a:cubicBezTo>
                    <a:cubicBezTo>
                      <a:pt x="64" y="53"/>
                      <a:pt x="60" y="50"/>
                      <a:pt x="59" y="51"/>
                    </a:cubicBezTo>
                    <a:cubicBezTo>
                      <a:pt x="59" y="51"/>
                      <a:pt x="59" y="52"/>
                      <a:pt x="59" y="52"/>
                    </a:cubicBezTo>
                    <a:cubicBezTo>
                      <a:pt x="58" y="52"/>
                      <a:pt x="58" y="52"/>
                      <a:pt x="57" y="52"/>
                    </a:cubicBezTo>
                    <a:cubicBezTo>
                      <a:pt x="57" y="52"/>
                      <a:pt x="54" y="50"/>
                      <a:pt x="54" y="50"/>
                    </a:cubicBezTo>
                    <a:cubicBezTo>
                      <a:pt x="53" y="49"/>
                      <a:pt x="53" y="48"/>
                      <a:pt x="53" y="48"/>
                    </a:cubicBezTo>
                    <a:cubicBezTo>
                      <a:pt x="52" y="47"/>
                      <a:pt x="52" y="44"/>
                      <a:pt x="53" y="43"/>
                    </a:cubicBezTo>
                    <a:cubicBezTo>
                      <a:pt x="53" y="42"/>
                      <a:pt x="55" y="42"/>
                      <a:pt x="55" y="41"/>
                    </a:cubicBezTo>
                    <a:cubicBezTo>
                      <a:pt x="57" y="39"/>
                      <a:pt x="54" y="38"/>
                      <a:pt x="54" y="36"/>
                    </a:cubicBezTo>
                    <a:cubicBezTo>
                      <a:pt x="53" y="35"/>
                      <a:pt x="54" y="34"/>
                      <a:pt x="54" y="32"/>
                    </a:cubicBezTo>
                    <a:cubicBezTo>
                      <a:pt x="54" y="31"/>
                      <a:pt x="53" y="29"/>
                      <a:pt x="55" y="30"/>
                    </a:cubicBezTo>
                    <a:cubicBezTo>
                      <a:pt x="57" y="30"/>
                      <a:pt x="56" y="34"/>
                      <a:pt x="58" y="35"/>
                    </a:cubicBezTo>
                    <a:cubicBezTo>
                      <a:pt x="58" y="36"/>
                      <a:pt x="60" y="36"/>
                      <a:pt x="60" y="34"/>
                    </a:cubicBezTo>
                    <a:cubicBezTo>
                      <a:pt x="61" y="33"/>
                      <a:pt x="59" y="32"/>
                      <a:pt x="58" y="31"/>
                    </a:cubicBezTo>
                    <a:cubicBezTo>
                      <a:pt x="57" y="31"/>
                      <a:pt x="55" y="31"/>
                      <a:pt x="54" y="31"/>
                    </a:cubicBezTo>
                    <a:cubicBezTo>
                      <a:pt x="52" y="31"/>
                      <a:pt x="52" y="32"/>
                      <a:pt x="51" y="33"/>
                    </a:cubicBezTo>
                    <a:cubicBezTo>
                      <a:pt x="50" y="32"/>
                      <a:pt x="49" y="27"/>
                      <a:pt x="50" y="26"/>
                    </a:cubicBezTo>
                    <a:cubicBezTo>
                      <a:pt x="51" y="25"/>
                      <a:pt x="54" y="26"/>
                      <a:pt x="55" y="25"/>
                    </a:cubicBezTo>
                    <a:cubicBezTo>
                      <a:pt x="57" y="23"/>
                      <a:pt x="58" y="20"/>
                      <a:pt x="59" y="19"/>
                    </a:cubicBezTo>
                    <a:cubicBezTo>
                      <a:pt x="60" y="17"/>
                      <a:pt x="62" y="15"/>
                      <a:pt x="63" y="14"/>
                    </a:cubicBezTo>
                    <a:cubicBezTo>
                      <a:pt x="64" y="14"/>
                      <a:pt x="65" y="13"/>
                      <a:pt x="67" y="12"/>
                    </a:cubicBezTo>
                    <a:cubicBezTo>
                      <a:pt x="67" y="13"/>
                      <a:pt x="67" y="13"/>
                      <a:pt x="68" y="14"/>
                    </a:cubicBezTo>
                    <a:cubicBezTo>
                      <a:pt x="67" y="11"/>
                      <a:pt x="65" y="9"/>
                      <a:pt x="66" y="7"/>
                    </a:cubicBezTo>
                    <a:cubicBezTo>
                      <a:pt x="66" y="4"/>
                      <a:pt x="67" y="0"/>
                      <a:pt x="70" y="0"/>
                    </a:cubicBezTo>
                    <a:cubicBezTo>
                      <a:pt x="72" y="0"/>
                      <a:pt x="72" y="1"/>
                      <a:pt x="73" y="3"/>
                    </a:cubicBezTo>
                    <a:cubicBezTo>
                      <a:pt x="74" y="4"/>
                      <a:pt x="74" y="7"/>
                      <a:pt x="76" y="8"/>
                    </a:cubicBezTo>
                    <a:cubicBezTo>
                      <a:pt x="77" y="8"/>
                      <a:pt x="78" y="7"/>
                      <a:pt x="79" y="8"/>
                    </a:cubicBezTo>
                    <a:cubicBezTo>
                      <a:pt x="79" y="8"/>
                      <a:pt x="79" y="10"/>
                      <a:pt x="80" y="11"/>
                    </a:cubicBezTo>
                    <a:cubicBezTo>
                      <a:pt x="80" y="12"/>
                      <a:pt x="81" y="13"/>
                      <a:pt x="82" y="14"/>
                    </a:cubicBezTo>
                    <a:cubicBezTo>
                      <a:pt x="83" y="14"/>
                      <a:pt x="83" y="12"/>
                      <a:pt x="84" y="11"/>
                    </a:cubicBezTo>
                    <a:cubicBezTo>
                      <a:pt x="86" y="14"/>
                      <a:pt x="89" y="16"/>
                      <a:pt x="89" y="19"/>
                    </a:cubicBezTo>
                    <a:cubicBezTo>
                      <a:pt x="90" y="20"/>
                      <a:pt x="91" y="20"/>
                      <a:pt x="92" y="22"/>
                    </a:cubicBezTo>
                    <a:cubicBezTo>
                      <a:pt x="92" y="23"/>
                      <a:pt x="90" y="23"/>
                      <a:pt x="89" y="24"/>
                    </a:cubicBezTo>
                    <a:cubicBezTo>
                      <a:pt x="87" y="26"/>
                      <a:pt x="85" y="27"/>
                      <a:pt x="86" y="29"/>
                    </a:cubicBezTo>
                    <a:cubicBezTo>
                      <a:pt x="87" y="30"/>
                      <a:pt x="87" y="31"/>
                      <a:pt x="87" y="33"/>
                    </a:cubicBezTo>
                    <a:cubicBezTo>
                      <a:pt x="87" y="33"/>
                      <a:pt x="87" y="36"/>
                      <a:pt x="87" y="36"/>
                    </a:cubicBezTo>
                    <a:cubicBezTo>
                      <a:pt x="89" y="38"/>
                      <a:pt x="91" y="34"/>
                      <a:pt x="93" y="34"/>
                    </a:cubicBezTo>
                    <a:cubicBezTo>
                      <a:pt x="94" y="34"/>
                      <a:pt x="95" y="37"/>
                      <a:pt x="96" y="38"/>
                    </a:cubicBezTo>
                    <a:cubicBezTo>
                      <a:pt x="96" y="39"/>
                      <a:pt x="97" y="40"/>
                      <a:pt x="97" y="41"/>
                    </a:cubicBezTo>
                    <a:cubicBezTo>
                      <a:pt x="97" y="42"/>
                      <a:pt x="96" y="42"/>
                      <a:pt x="96" y="43"/>
                    </a:cubicBezTo>
                    <a:cubicBezTo>
                      <a:pt x="96" y="43"/>
                      <a:pt x="96" y="43"/>
                      <a:pt x="95" y="44"/>
                    </a:cubicBezTo>
                    <a:cubicBezTo>
                      <a:pt x="95" y="45"/>
                      <a:pt x="96" y="45"/>
                      <a:pt x="95" y="46"/>
                    </a:cubicBezTo>
                    <a:cubicBezTo>
                      <a:pt x="95" y="47"/>
                      <a:pt x="95" y="47"/>
                      <a:pt x="93" y="48"/>
                    </a:cubicBezTo>
                    <a:cubicBezTo>
                      <a:pt x="88" y="49"/>
                      <a:pt x="93" y="52"/>
                      <a:pt x="95" y="54"/>
                    </a:cubicBezTo>
                    <a:cubicBezTo>
                      <a:pt x="95" y="55"/>
                      <a:pt x="95" y="56"/>
                      <a:pt x="95" y="57"/>
                    </a:cubicBezTo>
                    <a:cubicBezTo>
                      <a:pt x="95" y="58"/>
                      <a:pt x="95" y="58"/>
                      <a:pt x="95" y="59"/>
                    </a:cubicBezTo>
                    <a:cubicBezTo>
                      <a:pt x="96" y="60"/>
                      <a:pt x="96" y="60"/>
                      <a:pt x="96" y="60"/>
                    </a:cubicBezTo>
                    <a:cubicBezTo>
                      <a:pt x="97" y="62"/>
                      <a:pt x="97" y="60"/>
                      <a:pt x="97" y="62"/>
                    </a:cubicBezTo>
                    <a:cubicBezTo>
                      <a:pt x="96" y="63"/>
                      <a:pt x="94" y="64"/>
                      <a:pt x="94" y="65"/>
                    </a:cubicBezTo>
                    <a:cubicBezTo>
                      <a:pt x="92" y="65"/>
                      <a:pt x="90" y="67"/>
                      <a:pt x="88" y="67"/>
                    </a:cubicBezTo>
                    <a:cubicBezTo>
                      <a:pt x="86" y="66"/>
                      <a:pt x="88" y="65"/>
                      <a:pt x="86" y="65"/>
                    </a:cubicBezTo>
                    <a:cubicBezTo>
                      <a:pt x="84" y="64"/>
                      <a:pt x="80" y="66"/>
                      <a:pt x="78" y="67"/>
                    </a:cubicBezTo>
                    <a:cubicBezTo>
                      <a:pt x="76" y="68"/>
                      <a:pt x="73" y="69"/>
                      <a:pt x="71" y="70"/>
                    </a:cubicBezTo>
                    <a:cubicBezTo>
                      <a:pt x="68" y="71"/>
                      <a:pt x="67" y="72"/>
                      <a:pt x="68" y="75"/>
                    </a:cubicBezTo>
                    <a:cubicBezTo>
                      <a:pt x="69" y="78"/>
                      <a:pt x="72" y="78"/>
                      <a:pt x="75" y="79"/>
                    </a:cubicBezTo>
                    <a:cubicBezTo>
                      <a:pt x="77" y="80"/>
                      <a:pt x="80" y="81"/>
                      <a:pt x="81" y="83"/>
                    </a:cubicBezTo>
                    <a:cubicBezTo>
                      <a:pt x="81" y="84"/>
                      <a:pt x="82" y="85"/>
                      <a:pt x="82" y="86"/>
                    </a:cubicBezTo>
                    <a:cubicBezTo>
                      <a:pt x="83" y="88"/>
                      <a:pt x="82" y="90"/>
                      <a:pt x="82" y="91"/>
                    </a:cubicBezTo>
                    <a:cubicBezTo>
                      <a:pt x="82" y="93"/>
                      <a:pt x="82" y="95"/>
                      <a:pt x="80" y="97"/>
                    </a:cubicBezTo>
                    <a:cubicBezTo>
                      <a:pt x="79" y="98"/>
                      <a:pt x="77" y="99"/>
                      <a:pt x="75" y="99"/>
                    </a:cubicBezTo>
                    <a:cubicBezTo>
                      <a:pt x="74" y="99"/>
                      <a:pt x="72" y="98"/>
                      <a:pt x="71" y="99"/>
                    </a:cubicBezTo>
                    <a:cubicBezTo>
                      <a:pt x="69" y="100"/>
                      <a:pt x="70" y="102"/>
                      <a:pt x="69" y="103"/>
                    </a:cubicBezTo>
                    <a:cubicBezTo>
                      <a:pt x="68" y="104"/>
                      <a:pt x="67" y="105"/>
                      <a:pt x="65" y="105"/>
                    </a:cubicBezTo>
                    <a:cubicBezTo>
                      <a:pt x="63" y="106"/>
                      <a:pt x="60" y="104"/>
                      <a:pt x="60" y="108"/>
                    </a:cubicBezTo>
                    <a:cubicBezTo>
                      <a:pt x="63" y="108"/>
                      <a:pt x="68" y="108"/>
                      <a:pt x="66" y="112"/>
                    </a:cubicBezTo>
                    <a:cubicBezTo>
                      <a:pt x="66" y="115"/>
                      <a:pt x="64" y="116"/>
                      <a:pt x="65" y="119"/>
                    </a:cubicBezTo>
                    <a:cubicBezTo>
                      <a:pt x="67" y="117"/>
                      <a:pt x="66" y="124"/>
                      <a:pt x="66" y="125"/>
                    </a:cubicBezTo>
                    <a:cubicBezTo>
                      <a:pt x="69" y="122"/>
                      <a:pt x="70" y="121"/>
                      <a:pt x="73" y="121"/>
                    </a:cubicBezTo>
                    <a:cubicBezTo>
                      <a:pt x="75" y="121"/>
                      <a:pt x="75" y="122"/>
                      <a:pt x="75" y="120"/>
                    </a:cubicBezTo>
                    <a:cubicBezTo>
                      <a:pt x="76" y="119"/>
                      <a:pt x="75" y="118"/>
                      <a:pt x="75" y="117"/>
                    </a:cubicBezTo>
                    <a:cubicBezTo>
                      <a:pt x="79" y="116"/>
                      <a:pt x="85" y="118"/>
                      <a:pt x="87" y="121"/>
                    </a:cubicBezTo>
                    <a:cubicBezTo>
                      <a:pt x="87" y="123"/>
                      <a:pt x="88" y="123"/>
                      <a:pt x="86" y="124"/>
                    </a:cubicBezTo>
                    <a:cubicBezTo>
                      <a:pt x="85" y="124"/>
                      <a:pt x="83" y="124"/>
                      <a:pt x="81" y="124"/>
                    </a:cubicBezTo>
                    <a:cubicBezTo>
                      <a:pt x="79" y="124"/>
                      <a:pt x="78" y="124"/>
                      <a:pt x="77" y="126"/>
                    </a:cubicBezTo>
                    <a:cubicBezTo>
                      <a:pt x="77" y="126"/>
                      <a:pt x="77" y="128"/>
                      <a:pt x="76" y="128"/>
                    </a:cubicBezTo>
                    <a:cubicBezTo>
                      <a:pt x="74" y="129"/>
                      <a:pt x="73" y="128"/>
                      <a:pt x="72" y="130"/>
                    </a:cubicBezTo>
                    <a:cubicBezTo>
                      <a:pt x="71" y="131"/>
                      <a:pt x="71" y="132"/>
                      <a:pt x="71" y="133"/>
                    </a:cubicBezTo>
                    <a:cubicBezTo>
                      <a:pt x="70" y="133"/>
                      <a:pt x="67" y="134"/>
                      <a:pt x="67" y="133"/>
                    </a:cubicBezTo>
                    <a:cubicBezTo>
                      <a:pt x="66" y="133"/>
                      <a:pt x="67" y="132"/>
                      <a:pt x="67" y="131"/>
                    </a:cubicBezTo>
                    <a:cubicBezTo>
                      <a:pt x="64" y="130"/>
                      <a:pt x="63" y="131"/>
                      <a:pt x="64" y="133"/>
                    </a:cubicBezTo>
                    <a:cubicBezTo>
                      <a:pt x="65" y="135"/>
                      <a:pt x="66" y="138"/>
                      <a:pt x="65" y="139"/>
                    </a:cubicBezTo>
                    <a:cubicBezTo>
                      <a:pt x="64" y="141"/>
                      <a:pt x="63" y="141"/>
                      <a:pt x="62" y="141"/>
                    </a:cubicBezTo>
                    <a:cubicBezTo>
                      <a:pt x="61" y="142"/>
                      <a:pt x="60" y="142"/>
                      <a:pt x="59" y="143"/>
                    </a:cubicBezTo>
                    <a:cubicBezTo>
                      <a:pt x="58" y="144"/>
                      <a:pt x="57" y="145"/>
                      <a:pt x="56" y="146"/>
                    </a:cubicBezTo>
                    <a:cubicBezTo>
                      <a:pt x="54" y="149"/>
                      <a:pt x="53" y="151"/>
                      <a:pt x="50" y="153"/>
                    </a:cubicBezTo>
                    <a:cubicBezTo>
                      <a:pt x="49" y="154"/>
                      <a:pt x="49" y="154"/>
                      <a:pt x="49" y="155"/>
                    </a:cubicBezTo>
                    <a:cubicBezTo>
                      <a:pt x="48" y="157"/>
                      <a:pt x="49" y="159"/>
                      <a:pt x="49" y="161"/>
                    </a:cubicBezTo>
                    <a:cubicBezTo>
                      <a:pt x="49" y="160"/>
                      <a:pt x="50" y="159"/>
                      <a:pt x="50" y="158"/>
                    </a:cubicBezTo>
                    <a:cubicBezTo>
                      <a:pt x="51" y="157"/>
                      <a:pt x="50" y="156"/>
                      <a:pt x="49" y="155"/>
                    </a:cubicBezTo>
                    <a:cubicBezTo>
                      <a:pt x="47" y="154"/>
                      <a:pt x="47" y="154"/>
                      <a:pt x="45" y="154"/>
                    </a:cubicBezTo>
                    <a:cubicBezTo>
                      <a:pt x="44" y="154"/>
                      <a:pt x="43" y="153"/>
                      <a:pt x="42" y="154"/>
                    </a:cubicBezTo>
                    <a:cubicBezTo>
                      <a:pt x="41" y="154"/>
                      <a:pt x="40" y="154"/>
                      <a:pt x="39" y="154"/>
                    </a:cubicBezTo>
                    <a:cubicBezTo>
                      <a:pt x="38" y="154"/>
                      <a:pt x="37" y="154"/>
                      <a:pt x="36" y="154"/>
                    </a:cubicBezTo>
                    <a:cubicBezTo>
                      <a:pt x="35" y="154"/>
                      <a:pt x="35" y="154"/>
                      <a:pt x="34" y="155"/>
                    </a:cubicBezTo>
                    <a:cubicBezTo>
                      <a:pt x="33" y="155"/>
                      <a:pt x="29" y="156"/>
                      <a:pt x="28" y="155"/>
                    </a:cubicBezTo>
                    <a:cubicBezTo>
                      <a:pt x="27" y="154"/>
                      <a:pt x="28" y="153"/>
                      <a:pt x="27" y="153"/>
                    </a:cubicBezTo>
                    <a:cubicBezTo>
                      <a:pt x="27" y="152"/>
                      <a:pt x="26" y="151"/>
                      <a:pt x="25" y="151"/>
                    </a:cubicBezTo>
                    <a:cubicBezTo>
                      <a:pt x="21" y="149"/>
                      <a:pt x="18" y="147"/>
                      <a:pt x="14" y="147"/>
                    </a:cubicBezTo>
                    <a:cubicBezTo>
                      <a:pt x="11" y="147"/>
                      <a:pt x="11" y="146"/>
                      <a:pt x="10" y="144"/>
                    </a:cubicBezTo>
                    <a:cubicBezTo>
                      <a:pt x="8" y="143"/>
                      <a:pt x="5" y="142"/>
                      <a:pt x="7" y="139"/>
                    </a:cubicBezTo>
                    <a:cubicBezTo>
                      <a:pt x="7" y="139"/>
                      <a:pt x="7" y="138"/>
                      <a:pt x="8" y="137"/>
                    </a:cubicBezTo>
                    <a:cubicBezTo>
                      <a:pt x="8" y="137"/>
                      <a:pt x="9" y="137"/>
                      <a:pt x="10" y="137"/>
                    </a:cubicBezTo>
                    <a:cubicBezTo>
                      <a:pt x="10" y="136"/>
                      <a:pt x="11" y="136"/>
                      <a:pt x="10" y="135"/>
                    </a:cubicBezTo>
                    <a:cubicBezTo>
                      <a:pt x="10" y="135"/>
                      <a:pt x="10" y="134"/>
                      <a:pt x="9" y="134"/>
                    </a:cubicBezTo>
                    <a:cubicBezTo>
                      <a:pt x="9" y="134"/>
                      <a:pt x="9" y="134"/>
                      <a:pt x="9" y="133"/>
                    </a:cubicBezTo>
                    <a:cubicBezTo>
                      <a:pt x="8" y="132"/>
                      <a:pt x="8" y="130"/>
                      <a:pt x="9" y="129"/>
                    </a:cubicBezTo>
                    <a:cubicBezTo>
                      <a:pt x="9" y="127"/>
                      <a:pt x="10" y="126"/>
                      <a:pt x="12" y="125"/>
                    </a:cubicBezTo>
                    <a:cubicBezTo>
                      <a:pt x="13" y="125"/>
                      <a:pt x="14" y="124"/>
                      <a:pt x="15" y="125"/>
                    </a:cubicBezTo>
                    <a:cubicBezTo>
                      <a:pt x="16" y="125"/>
                      <a:pt x="16" y="125"/>
                      <a:pt x="16" y="126"/>
                    </a:cubicBezTo>
                    <a:cubicBezTo>
                      <a:pt x="17" y="126"/>
                      <a:pt x="18" y="127"/>
                      <a:pt x="19" y="128"/>
                    </a:cubicBezTo>
                    <a:cubicBezTo>
                      <a:pt x="20" y="128"/>
                      <a:pt x="21" y="128"/>
                      <a:pt x="22" y="128"/>
                    </a:cubicBezTo>
                    <a:cubicBezTo>
                      <a:pt x="22" y="128"/>
                      <a:pt x="22" y="128"/>
                      <a:pt x="23" y="128"/>
                    </a:cubicBezTo>
                    <a:cubicBezTo>
                      <a:pt x="23" y="128"/>
                      <a:pt x="24" y="130"/>
                      <a:pt x="24" y="130"/>
                    </a:cubicBezTo>
                    <a:cubicBezTo>
                      <a:pt x="26" y="132"/>
                      <a:pt x="28" y="133"/>
                      <a:pt x="30" y="132"/>
                    </a:cubicBezTo>
                    <a:cubicBezTo>
                      <a:pt x="32" y="132"/>
                      <a:pt x="32" y="132"/>
                      <a:pt x="33" y="133"/>
                    </a:cubicBezTo>
                    <a:cubicBezTo>
                      <a:pt x="34" y="135"/>
                      <a:pt x="35" y="137"/>
                      <a:pt x="37" y="135"/>
                    </a:cubicBezTo>
                    <a:cubicBezTo>
                      <a:pt x="38" y="134"/>
                      <a:pt x="38" y="133"/>
                      <a:pt x="40" y="132"/>
                    </a:cubicBezTo>
                    <a:cubicBezTo>
                      <a:pt x="40" y="132"/>
                      <a:pt x="41" y="132"/>
                      <a:pt x="42" y="132"/>
                    </a:cubicBezTo>
                    <a:cubicBezTo>
                      <a:pt x="42" y="130"/>
                      <a:pt x="41" y="128"/>
                      <a:pt x="42" y="127"/>
                    </a:cubicBezTo>
                    <a:cubicBezTo>
                      <a:pt x="43" y="126"/>
                      <a:pt x="46" y="124"/>
                      <a:pt x="47" y="125"/>
                    </a:cubicBezTo>
                    <a:cubicBezTo>
                      <a:pt x="48" y="125"/>
                      <a:pt x="48" y="126"/>
                      <a:pt x="49" y="127"/>
                    </a:cubicBezTo>
                    <a:cubicBezTo>
                      <a:pt x="49" y="125"/>
                      <a:pt x="48" y="120"/>
                      <a:pt x="49" y="119"/>
                    </a:cubicBezTo>
                    <a:cubicBezTo>
                      <a:pt x="50" y="119"/>
                      <a:pt x="52" y="121"/>
                      <a:pt x="52" y="121"/>
                    </a:cubicBezTo>
                    <a:cubicBezTo>
                      <a:pt x="54" y="123"/>
                      <a:pt x="54" y="123"/>
                      <a:pt x="56" y="124"/>
                    </a:cubicBezTo>
                    <a:cubicBezTo>
                      <a:pt x="57" y="124"/>
                      <a:pt x="57" y="125"/>
                      <a:pt x="58" y="125"/>
                    </a:cubicBezTo>
                    <a:cubicBezTo>
                      <a:pt x="58" y="124"/>
                      <a:pt x="58" y="123"/>
                      <a:pt x="58" y="123"/>
                    </a:cubicBezTo>
                    <a:cubicBezTo>
                      <a:pt x="57" y="121"/>
                      <a:pt x="52" y="119"/>
                      <a:pt x="51" y="119"/>
                    </a:cubicBezTo>
                    <a:cubicBezTo>
                      <a:pt x="50" y="117"/>
                      <a:pt x="48" y="115"/>
                      <a:pt x="46" y="113"/>
                    </a:cubicBezTo>
                    <a:cubicBezTo>
                      <a:pt x="44" y="112"/>
                      <a:pt x="44" y="111"/>
                      <a:pt x="44" y="109"/>
                    </a:cubicBezTo>
                    <a:cubicBezTo>
                      <a:pt x="44" y="106"/>
                      <a:pt x="44" y="106"/>
                      <a:pt x="41" y="104"/>
                    </a:cubicBezTo>
                    <a:cubicBezTo>
                      <a:pt x="39" y="104"/>
                      <a:pt x="38" y="104"/>
                      <a:pt x="36" y="103"/>
                    </a:cubicBezTo>
                    <a:cubicBezTo>
                      <a:pt x="35" y="103"/>
                      <a:pt x="35" y="103"/>
                      <a:pt x="34" y="102"/>
                    </a:cubicBezTo>
                    <a:cubicBezTo>
                      <a:pt x="33" y="102"/>
                      <a:pt x="31" y="102"/>
                      <a:pt x="29" y="102"/>
                    </a:cubicBezTo>
                    <a:cubicBezTo>
                      <a:pt x="28" y="102"/>
                      <a:pt x="27" y="103"/>
                      <a:pt x="26" y="103"/>
                    </a:cubicBezTo>
                    <a:cubicBezTo>
                      <a:pt x="25" y="103"/>
                      <a:pt x="23" y="101"/>
                      <a:pt x="22" y="100"/>
                    </a:cubicBezTo>
                    <a:cubicBezTo>
                      <a:pt x="21" y="100"/>
                      <a:pt x="18" y="98"/>
                      <a:pt x="18" y="98"/>
                    </a:cubicBezTo>
                    <a:cubicBezTo>
                      <a:pt x="18" y="97"/>
                      <a:pt x="18" y="96"/>
                      <a:pt x="18" y="96"/>
                    </a:cubicBezTo>
                    <a:cubicBezTo>
                      <a:pt x="18" y="93"/>
                      <a:pt x="17" y="77"/>
                      <a:pt x="13" y="78"/>
                    </a:cubicBezTo>
                    <a:cubicBezTo>
                      <a:pt x="12" y="80"/>
                      <a:pt x="13" y="82"/>
                      <a:pt x="13" y="84"/>
                    </a:cubicBezTo>
                    <a:cubicBezTo>
                      <a:pt x="13" y="82"/>
                      <a:pt x="12" y="77"/>
                      <a:pt x="14" y="76"/>
                    </a:cubicBezTo>
                    <a:cubicBezTo>
                      <a:pt x="14" y="75"/>
                      <a:pt x="16" y="75"/>
                      <a:pt x="15" y="73"/>
                    </a:cubicBezTo>
                    <a:cubicBezTo>
                      <a:pt x="14" y="71"/>
                      <a:pt x="11" y="71"/>
                      <a:pt x="10" y="68"/>
                    </a:cubicBezTo>
                    <a:cubicBezTo>
                      <a:pt x="9" y="67"/>
                      <a:pt x="10" y="65"/>
                      <a:pt x="10" y="64"/>
                    </a:cubicBezTo>
                    <a:cubicBezTo>
                      <a:pt x="10" y="63"/>
                      <a:pt x="10" y="62"/>
                      <a:pt x="10" y="61"/>
                    </a:cubicBezTo>
                    <a:cubicBezTo>
                      <a:pt x="9" y="58"/>
                      <a:pt x="5" y="58"/>
                      <a:pt x="3" y="56"/>
                    </a:cubicBezTo>
                    <a:cubicBezTo>
                      <a:pt x="2" y="55"/>
                      <a:pt x="2" y="55"/>
                      <a:pt x="2" y="53"/>
                    </a:cubicBezTo>
                    <a:cubicBezTo>
                      <a:pt x="1" y="52"/>
                      <a:pt x="0" y="51"/>
                      <a:pt x="1" y="50"/>
                    </a:cubicBezTo>
                    <a:cubicBezTo>
                      <a:pt x="2" y="49"/>
                      <a:pt x="3" y="49"/>
                      <a:pt x="4" y="50"/>
                    </a:cubicBezTo>
                    <a:cubicBezTo>
                      <a:pt x="5" y="51"/>
                      <a:pt x="6" y="53"/>
                      <a:pt x="7" y="54"/>
                    </a:cubicBezTo>
                    <a:cubicBezTo>
                      <a:pt x="9" y="55"/>
                      <a:pt x="10" y="50"/>
                      <a:pt x="11" y="49"/>
                    </a:cubicBezTo>
                    <a:cubicBezTo>
                      <a:pt x="13" y="46"/>
                      <a:pt x="16" y="51"/>
                      <a:pt x="18" y="50"/>
                    </a:cubicBezTo>
                    <a:cubicBezTo>
                      <a:pt x="21" y="50"/>
                      <a:pt x="23" y="45"/>
                      <a:pt x="25" y="43"/>
                    </a:cubicBezTo>
                    <a:cubicBezTo>
                      <a:pt x="27" y="42"/>
                      <a:pt x="28" y="41"/>
                      <a:pt x="30" y="41"/>
                    </a:cubicBezTo>
                    <a:cubicBezTo>
                      <a:pt x="31" y="40"/>
                      <a:pt x="35" y="40"/>
                      <a:pt x="34" y="37"/>
                    </a:cubicBezTo>
                    <a:cubicBezTo>
                      <a:pt x="34" y="36"/>
                      <a:pt x="33" y="36"/>
                      <a:pt x="32" y="35"/>
                    </a:cubicBezTo>
                    <a:cubicBezTo>
                      <a:pt x="31" y="35"/>
                      <a:pt x="30" y="34"/>
                      <a:pt x="28" y="33"/>
                    </a:cubicBezTo>
                    <a:cubicBezTo>
                      <a:pt x="26" y="31"/>
                      <a:pt x="24" y="31"/>
                      <a:pt x="21" y="30"/>
                    </a:cubicBezTo>
                    <a:cubicBezTo>
                      <a:pt x="20" y="29"/>
                      <a:pt x="20" y="29"/>
                      <a:pt x="20" y="28"/>
                    </a:cubicBezTo>
                    <a:cubicBezTo>
                      <a:pt x="23" y="27"/>
                      <a:pt x="25" y="29"/>
                      <a:pt x="28" y="30"/>
                    </a:cubicBezTo>
                    <a:cubicBezTo>
                      <a:pt x="30" y="31"/>
                      <a:pt x="32" y="31"/>
                      <a:pt x="34" y="31"/>
                    </a:cubicBezTo>
                    <a:cubicBezTo>
                      <a:pt x="35" y="30"/>
                      <a:pt x="36" y="30"/>
                      <a:pt x="36" y="29"/>
                    </a:cubicBezTo>
                    <a:cubicBezTo>
                      <a:pt x="40" y="28"/>
                      <a:pt x="45" y="28"/>
                      <a:pt x="48" y="28"/>
                    </a:cubicBezTo>
                    <a:cubicBezTo>
                      <a:pt x="49" y="30"/>
                      <a:pt x="50" y="34"/>
                      <a:pt x="49" y="35"/>
                    </a:cubicBezTo>
                    <a:cubicBezTo>
                      <a:pt x="49" y="36"/>
                      <a:pt x="46" y="36"/>
                      <a:pt x="46" y="37"/>
                    </a:cubicBezTo>
                    <a:cubicBezTo>
                      <a:pt x="45" y="39"/>
                      <a:pt x="46" y="41"/>
                      <a:pt x="46" y="43"/>
                    </a:cubicBezTo>
                    <a:lnTo>
                      <a:pt x="45" y="4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92" name="Freeform 108">
                <a:extLst>
                  <a:ext uri="{FF2B5EF4-FFF2-40B4-BE49-F238E27FC236}">
                    <a16:creationId xmlns:a16="http://schemas.microsoft.com/office/drawing/2014/main" id="{1FF8BEA4-25D7-4E7C-AA94-FBECBD4606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0938" y="3663950"/>
                <a:ext cx="55563" cy="58738"/>
              </a:xfrm>
              <a:custGeom>
                <a:avLst/>
                <a:gdLst/>
                <a:ahLst/>
                <a:cxnLst>
                  <a:cxn ang="0">
                    <a:pos x="26" y="15"/>
                  </a:cxn>
                  <a:cxn ang="0">
                    <a:pos x="20" y="8"/>
                  </a:cxn>
                  <a:cxn ang="0">
                    <a:pos x="9" y="0"/>
                  </a:cxn>
                  <a:cxn ang="0">
                    <a:pos x="2" y="5"/>
                  </a:cxn>
                  <a:cxn ang="0">
                    <a:pos x="3" y="18"/>
                  </a:cxn>
                  <a:cxn ang="0">
                    <a:pos x="10" y="29"/>
                  </a:cxn>
                  <a:cxn ang="0">
                    <a:pos x="19" y="31"/>
                  </a:cxn>
                  <a:cxn ang="0">
                    <a:pos x="28" y="28"/>
                  </a:cxn>
                  <a:cxn ang="0">
                    <a:pos x="28" y="16"/>
                  </a:cxn>
                </a:cxnLst>
                <a:rect l="0" t="0" r="r" b="b"/>
                <a:pathLst>
                  <a:path w="30" h="32">
                    <a:moveTo>
                      <a:pt x="26" y="15"/>
                    </a:moveTo>
                    <a:cubicBezTo>
                      <a:pt x="25" y="12"/>
                      <a:pt x="22" y="10"/>
                      <a:pt x="20" y="8"/>
                    </a:cubicBezTo>
                    <a:cubicBezTo>
                      <a:pt x="17" y="5"/>
                      <a:pt x="13" y="0"/>
                      <a:pt x="9" y="0"/>
                    </a:cubicBezTo>
                    <a:cubicBezTo>
                      <a:pt x="7" y="0"/>
                      <a:pt x="3" y="3"/>
                      <a:pt x="2" y="5"/>
                    </a:cubicBezTo>
                    <a:cubicBezTo>
                      <a:pt x="0" y="8"/>
                      <a:pt x="2" y="15"/>
                      <a:pt x="3" y="18"/>
                    </a:cubicBezTo>
                    <a:cubicBezTo>
                      <a:pt x="5" y="22"/>
                      <a:pt x="7" y="26"/>
                      <a:pt x="10" y="29"/>
                    </a:cubicBezTo>
                    <a:cubicBezTo>
                      <a:pt x="12" y="32"/>
                      <a:pt x="15" y="32"/>
                      <a:pt x="19" y="31"/>
                    </a:cubicBezTo>
                    <a:cubicBezTo>
                      <a:pt x="22" y="31"/>
                      <a:pt x="27" y="31"/>
                      <a:pt x="28" y="28"/>
                    </a:cubicBezTo>
                    <a:cubicBezTo>
                      <a:pt x="30" y="26"/>
                      <a:pt x="30" y="18"/>
                      <a:pt x="28" y="16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93" name="Freeform 109">
                <a:extLst>
                  <a:ext uri="{FF2B5EF4-FFF2-40B4-BE49-F238E27FC236}">
                    <a16:creationId xmlns:a16="http://schemas.microsoft.com/office/drawing/2014/main" id="{B876907B-5250-4AC6-BCA6-1A3D35983C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5113" y="3727450"/>
                <a:ext cx="927100" cy="1235075"/>
              </a:xfrm>
              <a:custGeom>
                <a:avLst/>
                <a:gdLst/>
                <a:ahLst/>
                <a:cxnLst>
                  <a:cxn ang="0">
                    <a:pos x="480" y="297"/>
                  </a:cxn>
                  <a:cxn ang="0">
                    <a:pos x="483" y="257"/>
                  </a:cxn>
                  <a:cxn ang="0">
                    <a:pos x="476" y="216"/>
                  </a:cxn>
                  <a:cxn ang="0">
                    <a:pos x="458" y="173"/>
                  </a:cxn>
                  <a:cxn ang="0">
                    <a:pos x="446" y="106"/>
                  </a:cxn>
                  <a:cxn ang="0">
                    <a:pos x="445" y="78"/>
                  </a:cxn>
                  <a:cxn ang="0">
                    <a:pos x="401" y="61"/>
                  </a:cxn>
                  <a:cxn ang="0">
                    <a:pos x="426" y="54"/>
                  </a:cxn>
                  <a:cxn ang="0">
                    <a:pos x="419" y="31"/>
                  </a:cxn>
                  <a:cxn ang="0">
                    <a:pos x="405" y="38"/>
                  </a:cxn>
                  <a:cxn ang="0">
                    <a:pos x="398" y="38"/>
                  </a:cxn>
                  <a:cxn ang="0">
                    <a:pos x="390" y="49"/>
                  </a:cxn>
                  <a:cxn ang="0">
                    <a:pos x="352" y="57"/>
                  </a:cxn>
                  <a:cxn ang="0">
                    <a:pos x="321" y="60"/>
                  </a:cxn>
                  <a:cxn ang="0">
                    <a:pos x="304" y="84"/>
                  </a:cxn>
                  <a:cxn ang="0">
                    <a:pos x="286" y="66"/>
                  </a:cxn>
                  <a:cxn ang="0">
                    <a:pos x="282" y="34"/>
                  </a:cxn>
                  <a:cxn ang="0">
                    <a:pos x="256" y="48"/>
                  </a:cxn>
                  <a:cxn ang="0">
                    <a:pos x="223" y="42"/>
                  </a:cxn>
                  <a:cxn ang="0">
                    <a:pos x="222" y="10"/>
                  </a:cxn>
                  <a:cxn ang="0">
                    <a:pos x="187" y="11"/>
                  </a:cxn>
                  <a:cxn ang="0">
                    <a:pos x="157" y="1"/>
                  </a:cxn>
                  <a:cxn ang="0">
                    <a:pos x="163" y="30"/>
                  </a:cxn>
                  <a:cxn ang="0">
                    <a:pos x="173" y="41"/>
                  </a:cxn>
                  <a:cxn ang="0">
                    <a:pos x="155" y="59"/>
                  </a:cxn>
                  <a:cxn ang="0">
                    <a:pos x="158" y="74"/>
                  </a:cxn>
                  <a:cxn ang="0">
                    <a:pos x="169" y="96"/>
                  </a:cxn>
                  <a:cxn ang="0">
                    <a:pos x="169" y="101"/>
                  </a:cxn>
                  <a:cxn ang="0">
                    <a:pos x="138" y="113"/>
                  </a:cxn>
                  <a:cxn ang="0">
                    <a:pos x="123" y="134"/>
                  </a:cxn>
                  <a:cxn ang="0">
                    <a:pos x="96" y="112"/>
                  </a:cxn>
                  <a:cxn ang="0">
                    <a:pos x="66" y="146"/>
                  </a:cxn>
                  <a:cxn ang="0">
                    <a:pos x="56" y="203"/>
                  </a:cxn>
                  <a:cxn ang="0">
                    <a:pos x="59" y="228"/>
                  </a:cxn>
                  <a:cxn ang="0">
                    <a:pos x="43" y="265"/>
                  </a:cxn>
                  <a:cxn ang="0">
                    <a:pos x="0" y="283"/>
                  </a:cxn>
                  <a:cxn ang="0">
                    <a:pos x="10" y="324"/>
                  </a:cxn>
                  <a:cxn ang="0">
                    <a:pos x="4" y="351"/>
                  </a:cxn>
                  <a:cxn ang="0">
                    <a:pos x="1" y="377"/>
                  </a:cxn>
                  <a:cxn ang="0">
                    <a:pos x="13" y="414"/>
                  </a:cxn>
                  <a:cxn ang="0">
                    <a:pos x="28" y="457"/>
                  </a:cxn>
                  <a:cxn ang="0">
                    <a:pos x="79" y="505"/>
                  </a:cxn>
                  <a:cxn ang="0">
                    <a:pos x="95" y="563"/>
                  </a:cxn>
                  <a:cxn ang="0">
                    <a:pos x="110" y="637"/>
                  </a:cxn>
                  <a:cxn ang="0">
                    <a:pos x="147" y="627"/>
                  </a:cxn>
                  <a:cxn ang="0">
                    <a:pos x="189" y="640"/>
                  </a:cxn>
                  <a:cxn ang="0">
                    <a:pos x="233" y="655"/>
                  </a:cxn>
                  <a:cxn ang="0">
                    <a:pos x="289" y="643"/>
                  </a:cxn>
                  <a:cxn ang="0">
                    <a:pos x="341" y="629"/>
                  </a:cxn>
                  <a:cxn ang="0">
                    <a:pos x="375" y="634"/>
                  </a:cxn>
                  <a:cxn ang="0">
                    <a:pos x="364" y="603"/>
                  </a:cxn>
                  <a:cxn ang="0">
                    <a:pos x="398" y="571"/>
                  </a:cxn>
                  <a:cxn ang="0">
                    <a:pos x="418" y="552"/>
                  </a:cxn>
                  <a:cxn ang="0">
                    <a:pos x="398" y="517"/>
                  </a:cxn>
                  <a:cxn ang="0">
                    <a:pos x="365" y="488"/>
                  </a:cxn>
                  <a:cxn ang="0">
                    <a:pos x="354" y="445"/>
                  </a:cxn>
                  <a:cxn ang="0">
                    <a:pos x="339" y="413"/>
                  </a:cxn>
                  <a:cxn ang="0">
                    <a:pos x="361" y="401"/>
                  </a:cxn>
                  <a:cxn ang="0">
                    <a:pos x="392" y="392"/>
                  </a:cxn>
                  <a:cxn ang="0">
                    <a:pos x="412" y="380"/>
                  </a:cxn>
                  <a:cxn ang="0">
                    <a:pos x="446" y="363"/>
                  </a:cxn>
                  <a:cxn ang="0">
                    <a:pos x="472" y="359"/>
                  </a:cxn>
                  <a:cxn ang="0">
                    <a:pos x="496" y="326"/>
                  </a:cxn>
                </a:cxnLst>
                <a:rect l="0" t="0" r="r" b="b"/>
                <a:pathLst>
                  <a:path w="496" h="661">
                    <a:moveTo>
                      <a:pt x="496" y="323"/>
                    </a:moveTo>
                    <a:cubicBezTo>
                      <a:pt x="495" y="322"/>
                      <a:pt x="495" y="321"/>
                      <a:pt x="494" y="320"/>
                    </a:cubicBezTo>
                    <a:cubicBezTo>
                      <a:pt x="494" y="319"/>
                      <a:pt x="493" y="318"/>
                      <a:pt x="492" y="317"/>
                    </a:cubicBezTo>
                    <a:cubicBezTo>
                      <a:pt x="492" y="317"/>
                      <a:pt x="491" y="317"/>
                      <a:pt x="491" y="316"/>
                    </a:cubicBezTo>
                    <a:cubicBezTo>
                      <a:pt x="491" y="316"/>
                      <a:pt x="491" y="315"/>
                      <a:pt x="490" y="314"/>
                    </a:cubicBezTo>
                    <a:cubicBezTo>
                      <a:pt x="490" y="312"/>
                      <a:pt x="490" y="311"/>
                      <a:pt x="489" y="309"/>
                    </a:cubicBezTo>
                    <a:cubicBezTo>
                      <a:pt x="488" y="308"/>
                      <a:pt x="488" y="308"/>
                      <a:pt x="487" y="307"/>
                    </a:cubicBezTo>
                    <a:cubicBezTo>
                      <a:pt x="486" y="306"/>
                      <a:pt x="484" y="306"/>
                      <a:pt x="483" y="305"/>
                    </a:cubicBezTo>
                    <a:cubicBezTo>
                      <a:pt x="482" y="304"/>
                      <a:pt x="481" y="303"/>
                      <a:pt x="479" y="302"/>
                    </a:cubicBezTo>
                    <a:cubicBezTo>
                      <a:pt x="478" y="301"/>
                      <a:pt x="478" y="301"/>
                      <a:pt x="478" y="301"/>
                    </a:cubicBezTo>
                    <a:cubicBezTo>
                      <a:pt x="477" y="300"/>
                      <a:pt x="476" y="299"/>
                      <a:pt x="477" y="298"/>
                    </a:cubicBezTo>
                    <a:cubicBezTo>
                      <a:pt x="478" y="298"/>
                      <a:pt x="479" y="298"/>
                      <a:pt x="479" y="297"/>
                    </a:cubicBezTo>
                    <a:cubicBezTo>
                      <a:pt x="479" y="297"/>
                      <a:pt x="480" y="297"/>
                      <a:pt x="480" y="297"/>
                    </a:cubicBezTo>
                    <a:cubicBezTo>
                      <a:pt x="480" y="296"/>
                      <a:pt x="481" y="296"/>
                      <a:pt x="481" y="295"/>
                    </a:cubicBezTo>
                    <a:cubicBezTo>
                      <a:pt x="481" y="293"/>
                      <a:pt x="480" y="291"/>
                      <a:pt x="480" y="289"/>
                    </a:cubicBezTo>
                    <a:cubicBezTo>
                      <a:pt x="480" y="290"/>
                      <a:pt x="479" y="288"/>
                      <a:pt x="479" y="288"/>
                    </a:cubicBezTo>
                    <a:cubicBezTo>
                      <a:pt x="479" y="288"/>
                      <a:pt x="478" y="288"/>
                      <a:pt x="478" y="287"/>
                    </a:cubicBezTo>
                    <a:cubicBezTo>
                      <a:pt x="478" y="287"/>
                      <a:pt x="478" y="286"/>
                      <a:pt x="478" y="286"/>
                    </a:cubicBezTo>
                    <a:cubicBezTo>
                      <a:pt x="477" y="284"/>
                      <a:pt x="475" y="282"/>
                      <a:pt x="474" y="280"/>
                    </a:cubicBezTo>
                    <a:cubicBezTo>
                      <a:pt x="475" y="279"/>
                      <a:pt x="476" y="278"/>
                      <a:pt x="477" y="278"/>
                    </a:cubicBezTo>
                    <a:cubicBezTo>
                      <a:pt x="476" y="278"/>
                      <a:pt x="475" y="279"/>
                      <a:pt x="474" y="278"/>
                    </a:cubicBezTo>
                    <a:cubicBezTo>
                      <a:pt x="474" y="277"/>
                      <a:pt x="474" y="274"/>
                      <a:pt x="474" y="273"/>
                    </a:cubicBezTo>
                    <a:cubicBezTo>
                      <a:pt x="474" y="270"/>
                      <a:pt x="473" y="269"/>
                      <a:pt x="477" y="268"/>
                    </a:cubicBezTo>
                    <a:cubicBezTo>
                      <a:pt x="479" y="268"/>
                      <a:pt x="481" y="268"/>
                      <a:pt x="482" y="266"/>
                    </a:cubicBezTo>
                    <a:cubicBezTo>
                      <a:pt x="482" y="265"/>
                      <a:pt x="482" y="265"/>
                      <a:pt x="482" y="265"/>
                    </a:cubicBezTo>
                    <a:cubicBezTo>
                      <a:pt x="482" y="262"/>
                      <a:pt x="482" y="260"/>
                      <a:pt x="483" y="257"/>
                    </a:cubicBezTo>
                    <a:cubicBezTo>
                      <a:pt x="483" y="254"/>
                      <a:pt x="485" y="251"/>
                      <a:pt x="482" y="249"/>
                    </a:cubicBezTo>
                    <a:cubicBezTo>
                      <a:pt x="482" y="248"/>
                      <a:pt x="479" y="247"/>
                      <a:pt x="479" y="246"/>
                    </a:cubicBezTo>
                    <a:cubicBezTo>
                      <a:pt x="478" y="245"/>
                      <a:pt x="479" y="245"/>
                      <a:pt x="479" y="244"/>
                    </a:cubicBezTo>
                    <a:cubicBezTo>
                      <a:pt x="479" y="243"/>
                      <a:pt x="478" y="242"/>
                      <a:pt x="478" y="240"/>
                    </a:cubicBezTo>
                    <a:cubicBezTo>
                      <a:pt x="478" y="240"/>
                      <a:pt x="478" y="238"/>
                      <a:pt x="478" y="238"/>
                    </a:cubicBezTo>
                    <a:cubicBezTo>
                      <a:pt x="477" y="237"/>
                      <a:pt x="476" y="237"/>
                      <a:pt x="476" y="237"/>
                    </a:cubicBezTo>
                    <a:cubicBezTo>
                      <a:pt x="476" y="237"/>
                      <a:pt x="476" y="236"/>
                      <a:pt x="475" y="236"/>
                    </a:cubicBezTo>
                    <a:cubicBezTo>
                      <a:pt x="475" y="236"/>
                      <a:pt x="475" y="236"/>
                      <a:pt x="474" y="235"/>
                    </a:cubicBezTo>
                    <a:cubicBezTo>
                      <a:pt x="474" y="234"/>
                      <a:pt x="473" y="231"/>
                      <a:pt x="473" y="230"/>
                    </a:cubicBezTo>
                    <a:cubicBezTo>
                      <a:pt x="473" y="228"/>
                      <a:pt x="473" y="227"/>
                      <a:pt x="473" y="225"/>
                    </a:cubicBezTo>
                    <a:cubicBezTo>
                      <a:pt x="472" y="223"/>
                      <a:pt x="472" y="224"/>
                      <a:pt x="473" y="223"/>
                    </a:cubicBezTo>
                    <a:cubicBezTo>
                      <a:pt x="474" y="221"/>
                      <a:pt x="475" y="221"/>
                      <a:pt x="475" y="219"/>
                    </a:cubicBezTo>
                    <a:cubicBezTo>
                      <a:pt x="476" y="218"/>
                      <a:pt x="476" y="217"/>
                      <a:pt x="476" y="216"/>
                    </a:cubicBezTo>
                    <a:cubicBezTo>
                      <a:pt x="476" y="215"/>
                      <a:pt x="477" y="213"/>
                      <a:pt x="477" y="212"/>
                    </a:cubicBezTo>
                    <a:cubicBezTo>
                      <a:pt x="476" y="209"/>
                      <a:pt x="472" y="209"/>
                      <a:pt x="470" y="206"/>
                    </a:cubicBezTo>
                    <a:cubicBezTo>
                      <a:pt x="470" y="206"/>
                      <a:pt x="470" y="205"/>
                      <a:pt x="470" y="205"/>
                    </a:cubicBezTo>
                    <a:cubicBezTo>
                      <a:pt x="469" y="203"/>
                      <a:pt x="469" y="201"/>
                      <a:pt x="467" y="200"/>
                    </a:cubicBezTo>
                    <a:cubicBezTo>
                      <a:pt x="466" y="198"/>
                      <a:pt x="465" y="198"/>
                      <a:pt x="464" y="197"/>
                    </a:cubicBezTo>
                    <a:cubicBezTo>
                      <a:pt x="463" y="196"/>
                      <a:pt x="462" y="196"/>
                      <a:pt x="461" y="195"/>
                    </a:cubicBezTo>
                    <a:cubicBezTo>
                      <a:pt x="459" y="194"/>
                      <a:pt x="458" y="193"/>
                      <a:pt x="457" y="191"/>
                    </a:cubicBezTo>
                    <a:cubicBezTo>
                      <a:pt x="456" y="190"/>
                      <a:pt x="455" y="189"/>
                      <a:pt x="453" y="188"/>
                    </a:cubicBezTo>
                    <a:cubicBezTo>
                      <a:pt x="453" y="187"/>
                      <a:pt x="451" y="187"/>
                      <a:pt x="451" y="185"/>
                    </a:cubicBezTo>
                    <a:cubicBezTo>
                      <a:pt x="451" y="185"/>
                      <a:pt x="452" y="184"/>
                      <a:pt x="452" y="184"/>
                    </a:cubicBezTo>
                    <a:cubicBezTo>
                      <a:pt x="452" y="184"/>
                      <a:pt x="452" y="183"/>
                      <a:pt x="452" y="183"/>
                    </a:cubicBezTo>
                    <a:cubicBezTo>
                      <a:pt x="453" y="181"/>
                      <a:pt x="454" y="179"/>
                      <a:pt x="455" y="177"/>
                    </a:cubicBezTo>
                    <a:cubicBezTo>
                      <a:pt x="456" y="176"/>
                      <a:pt x="457" y="175"/>
                      <a:pt x="458" y="173"/>
                    </a:cubicBezTo>
                    <a:cubicBezTo>
                      <a:pt x="458" y="172"/>
                      <a:pt x="459" y="171"/>
                      <a:pt x="459" y="170"/>
                    </a:cubicBezTo>
                    <a:cubicBezTo>
                      <a:pt x="460" y="169"/>
                      <a:pt x="461" y="169"/>
                      <a:pt x="461" y="169"/>
                    </a:cubicBezTo>
                    <a:cubicBezTo>
                      <a:pt x="462" y="168"/>
                      <a:pt x="463" y="165"/>
                      <a:pt x="464" y="164"/>
                    </a:cubicBezTo>
                    <a:cubicBezTo>
                      <a:pt x="466" y="162"/>
                      <a:pt x="467" y="161"/>
                      <a:pt x="468" y="158"/>
                    </a:cubicBezTo>
                    <a:cubicBezTo>
                      <a:pt x="469" y="156"/>
                      <a:pt x="469" y="154"/>
                      <a:pt x="469" y="151"/>
                    </a:cubicBezTo>
                    <a:cubicBezTo>
                      <a:pt x="469" y="149"/>
                      <a:pt x="470" y="145"/>
                      <a:pt x="469" y="143"/>
                    </a:cubicBezTo>
                    <a:cubicBezTo>
                      <a:pt x="468" y="140"/>
                      <a:pt x="466" y="137"/>
                      <a:pt x="465" y="135"/>
                    </a:cubicBezTo>
                    <a:cubicBezTo>
                      <a:pt x="463" y="130"/>
                      <a:pt x="462" y="126"/>
                      <a:pt x="460" y="121"/>
                    </a:cubicBezTo>
                    <a:cubicBezTo>
                      <a:pt x="460" y="119"/>
                      <a:pt x="459" y="116"/>
                      <a:pt x="459" y="114"/>
                    </a:cubicBezTo>
                    <a:cubicBezTo>
                      <a:pt x="458" y="112"/>
                      <a:pt x="459" y="109"/>
                      <a:pt x="459" y="107"/>
                    </a:cubicBezTo>
                    <a:cubicBezTo>
                      <a:pt x="459" y="106"/>
                      <a:pt x="458" y="101"/>
                      <a:pt x="457" y="102"/>
                    </a:cubicBezTo>
                    <a:cubicBezTo>
                      <a:pt x="456" y="103"/>
                      <a:pt x="454" y="106"/>
                      <a:pt x="452" y="106"/>
                    </a:cubicBezTo>
                    <a:cubicBezTo>
                      <a:pt x="450" y="107"/>
                      <a:pt x="447" y="106"/>
                      <a:pt x="446" y="106"/>
                    </a:cubicBezTo>
                    <a:cubicBezTo>
                      <a:pt x="445" y="105"/>
                      <a:pt x="444" y="104"/>
                      <a:pt x="443" y="103"/>
                    </a:cubicBezTo>
                    <a:cubicBezTo>
                      <a:pt x="441" y="102"/>
                      <a:pt x="438" y="101"/>
                      <a:pt x="437" y="100"/>
                    </a:cubicBezTo>
                    <a:cubicBezTo>
                      <a:pt x="437" y="100"/>
                      <a:pt x="437" y="99"/>
                      <a:pt x="437" y="98"/>
                    </a:cubicBezTo>
                    <a:cubicBezTo>
                      <a:pt x="437" y="98"/>
                      <a:pt x="436" y="97"/>
                      <a:pt x="436" y="96"/>
                    </a:cubicBezTo>
                    <a:cubicBezTo>
                      <a:pt x="439" y="94"/>
                      <a:pt x="442" y="95"/>
                      <a:pt x="445" y="95"/>
                    </a:cubicBezTo>
                    <a:cubicBezTo>
                      <a:pt x="447" y="95"/>
                      <a:pt x="448" y="94"/>
                      <a:pt x="450" y="94"/>
                    </a:cubicBezTo>
                    <a:cubicBezTo>
                      <a:pt x="451" y="93"/>
                      <a:pt x="452" y="93"/>
                      <a:pt x="453" y="93"/>
                    </a:cubicBezTo>
                    <a:cubicBezTo>
                      <a:pt x="454" y="93"/>
                      <a:pt x="455" y="93"/>
                      <a:pt x="456" y="93"/>
                    </a:cubicBezTo>
                    <a:cubicBezTo>
                      <a:pt x="456" y="92"/>
                      <a:pt x="455" y="92"/>
                      <a:pt x="455" y="91"/>
                    </a:cubicBezTo>
                    <a:cubicBezTo>
                      <a:pt x="454" y="90"/>
                      <a:pt x="454" y="90"/>
                      <a:pt x="454" y="89"/>
                    </a:cubicBezTo>
                    <a:cubicBezTo>
                      <a:pt x="453" y="88"/>
                      <a:pt x="452" y="87"/>
                      <a:pt x="451" y="86"/>
                    </a:cubicBezTo>
                    <a:cubicBezTo>
                      <a:pt x="450" y="84"/>
                      <a:pt x="449" y="83"/>
                      <a:pt x="448" y="81"/>
                    </a:cubicBezTo>
                    <a:cubicBezTo>
                      <a:pt x="447" y="80"/>
                      <a:pt x="446" y="80"/>
                      <a:pt x="445" y="78"/>
                    </a:cubicBezTo>
                    <a:cubicBezTo>
                      <a:pt x="443" y="76"/>
                      <a:pt x="440" y="74"/>
                      <a:pt x="438" y="72"/>
                    </a:cubicBezTo>
                    <a:cubicBezTo>
                      <a:pt x="437" y="72"/>
                      <a:pt x="436" y="71"/>
                      <a:pt x="434" y="71"/>
                    </a:cubicBezTo>
                    <a:cubicBezTo>
                      <a:pt x="434" y="69"/>
                      <a:pt x="426" y="67"/>
                      <a:pt x="426" y="70"/>
                    </a:cubicBezTo>
                    <a:cubicBezTo>
                      <a:pt x="427" y="72"/>
                      <a:pt x="431" y="73"/>
                      <a:pt x="431" y="75"/>
                    </a:cubicBezTo>
                    <a:cubicBezTo>
                      <a:pt x="431" y="77"/>
                      <a:pt x="428" y="75"/>
                      <a:pt x="427" y="74"/>
                    </a:cubicBezTo>
                    <a:cubicBezTo>
                      <a:pt x="425" y="73"/>
                      <a:pt x="424" y="73"/>
                      <a:pt x="422" y="73"/>
                    </a:cubicBezTo>
                    <a:cubicBezTo>
                      <a:pt x="421" y="72"/>
                      <a:pt x="421" y="72"/>
                      <a:pt x="420" y="72"/>
                    </a:cubicBezTo>
                    <a:cubicBezTo>
                      <a:pt x="418" y="71"/>
                      <a:pt x="418" y="72"/>
                      <a:pt x="416" y="72"/>
                    </a:cubicBezTo>
                    <a:cubicBezTo>
                      <a:pt x="415" y="72"/>
                      <a:pt x="413" y="72"/>
                      <a:pt x="412" y="71"/>
                    </a:cubicBezTo>
                    <a:cubicBezTo>
                      <a:pt x="410" y="70"/>
                      <a:pt x="410" y="69"/>
                      <a:pt x="409" y="67"/>
                    </a:cubicBezTo>
                    <a:cubicBezTo>
                      <a:pt x="408" y="66"/>
                      <a:pt x="405" y="65"/>
                      <a:pt x="404" y="63"/>
                    </a:cubicBezTo>
                    <a:cubicBezTo>
                      <a:pt x="403" y="63"/>
                      <a:pt x="403" y="61"/>
                      <a:pt x="402" y="61"/>
                    </a:cubicBezTo>
                    <a:cubicBezTo>
                      <a:pt x="402" y="61"/>
                      <a:pt x="401" y="61"/>
                      <a:pt x="401" y="61"/>
                    </a:cubicBezTo>
                    <a:cubicBezTo>
                      <a:pt x="399" y="61"/>
                      <a:pt x="398" y="60"/>
                      <a:pt x="397" y="60"/>
                    </a:cubicBezTo>
                    <a:cubicBezTo>
                      <a:pt x="396" y="59"/>
                      <a:pt x="396" y="59"/>
                      <a:pt x="395" y="59"/>
                    </a:cubicBezTo>
                    <a:cubicBezTo>
                      <a:pt x="394" y="58"/>
                      <a:pt x="394" y="58"/>
                      <a:pt x="396" y="56"/>
                    </a:cubicBezTo>
                    <a:cubicBezTo>
                      <a:pt x="397" y="55"/>
                      <a:pt x="397" y="55"/>
                      <a:pt x="399" y="55"/>
                    </a:cubicBezTo>
                    <a:cubicBezTo>
                      <a:pt x="399" y="58"/>
                      <a:pt x="403" y="57"/>
                      <a:pt x="405" y="57"/>
                    </a:cubicBezTo>
                    <a:cubicBezTo>
                      <a:pt x="406" y="59"/>
                      <a:pt x="405" y="61"/>
                      <a:pt x="407" y="62"/>
                    </a:cubicBezTo>
                    <a:cubicBezTo>
                      <a:pt x="409" y="63"/>
                      <a:pt x="410" y="61"/>
                      <a:pt x="410" y="59"/>
                    </a:cubicBezTo>
                    <a:cubicBezTo>
                      <a:pt x="410" y="59"/>
                      <a:pt x="410" y="58"/>
                      <a:pt x="410" y="57"/>
                    </a:cubicBezTo>
                    <a:cubicBezTo>
                      <a:pt x="410" y="56"/>
                      <a:pt x="410" y="56"/>
                      <a:pt x="410" y="55"/>
                    </a:cubicBezTo>
                    <a:cubicBezTo>
                      <a:pt x="410" y="53"/>
                      <a:pt x="409" y="51"/>
                      <a:pt x="411" y="50"/>
                    </a:cubicBezTo>
                    <a:cubicBezTo>
                      <a:pt x="413" y="50"/>
                      <a:pt x="413" y="52"/>
                      <a:pt x="415" y="52"/>
                    </a:cubicBezTo>
                    <a:cubicBezTo>
                      <a:pt x="416" y="52"/>
                      <a:pt x="416" y="50"/>
                      <a:pt x="418" y="50"/>
                    </a:cubicBezTo>
                    <a:cubicBezTo>
                      <a:pt x="421" y="50"/>
                      <a:pt x="423" y="53"/>
                      <a:pt x="426" y="54"/>
                    </a:cubicBezTo>
                    <a:cubicBezTo>
                      <a:pt x="429" y="55"/>
                      <a:pt x="429" y="53"/>
                      <a:pt x="429" y="50"/>
                    </a:cubicBezTo>
                    <a:cubicBezTo>
                      <a:pt x="428" y="50"/>
                      <a:pt x="427" y="50"/>
                      <a:pt x="425" y="49"/>
                    </a:cubicBezTo>
                    <a:cubicBezTo>
                      <a:pt x="424" y="49"/>
                      <a:pt x="424" y="48"/>
                      <a:pt x="424" y="47"/>
                    </a:cubicBezTo>
                    <a:cubicBezTo>
                      <a:pt x="422" y="46"/>
                      <a:pt x="420" y="46"/>
                      <a:pt x="419" y="46"/>
                    </a:cubicBezTo>
                    <a:cubicBezTo>
                      <a:pt x="418" y="45"/>
                      <a:pt x="417" y="45"/>
                      <a:pt x="416" y="44"/>
                    </a:cubicBezTo>
                    <a:cubicBezTo>
                      <a:pt x="415" y="44"/>
                      <a:pt x="413" y="43"/>
                      <a:pt x="414" y="42"/>
                    </a:cubicBezTo>
                    <a:cubicBezTo>
                      <a:pt x="415" y="41"/>
                      <a:pt x="418" y="40"/>
                      <a:pt x="419" y="40"/>
                    </a:cubicBezTo>
                    <a:cubicBezTo>
                      <a:pt x="419" y="39"/>
                      <a:pt x="419" y="39"/>
                      <a:pt x="420" y="39"/>
                    </a:cubicBezTo>
                    <a:cubicBezTo>
                      <a:pt x="420" y="38"/>
                      <a:pt x="420" y="38"/>
                      <a:pt x="420" y="37"/>
                    </a:cubicBezTo>
                    <a:cubicBezTo>
                      <a:pt x="420" y="36"/>
                      <a:pt x="421" y="36"/>
                      <a:pt x="422" y="36"/>
                    </a:cubicBezTo>
                    <a:cubicBezTo>
                      <a:pt x="424" y="35"/>
                      <a:pt x="425" y="36"/>
                      <a:pt x="425" y="34"/>
                    </a:cubicBezTo>
                    <a:cubicBezTo>
                      <a:pt x="425" y="33"/>
                      <a:pt x="425" y="32"/>
                      <a:pt x="424" y="31"/>
                    </a:cubicBezTo>
                    <a:cubicBezTo>
                      <a:pt x="422" y="31"/>
                      <a:pt x="421" y="31"/>
                      <a:pt x="419" y="31"/>
                    </a:cubicBezTo>
                    <a:cubicBezTo>
                      <a:pt x="418" y="32"/>
                      <a:pt x="417" y="32"/>
                      <a:pt x="416" y="32"/>
                    </a:cubicBezTo>
                    <a:cubicBezTo>
                      <a:pt x="415" y="32"/>
                      <a:pt x="415" y="31"/>
                      <a:pt x="414" y="31"/>
                    </a:cubicBezTo>
                    <a:cubicBezTo>
                      <a:pt x="414" y="31"/>
                      <a:pt x="414" y="31"/>
                      <a:pt x="413" y="31"/>
                    </a:cubicBezTo>
                    <a:cubicBezTo>
                      <a:pt x="413" y="31"/>
                      <a:pt x="413" y="30"/>
                      <a:pt x="413" y="30"/>
                    </a:cubicBezTo>
                    <a:cubicBezTo>
                      <a:pt x="412" y="30"/>
                      <a:pt x="411" y="30"/>
                      <a:pt x="410" y="30"/>
                    </a:cubicBezTo>
                    <a:cubicBezTo>
                      <a:pt x="410" y="31"/>
                      <a:pt x="410" y="32"/>
                      <a:pt x="410" y="33"/>
                    </a:cubicBezTo>
                    <a:cubicBezTo>
                      <a:pt x="412" y="33"/>
                      <a:pt x="413" y="34"/>
                      <a:pt x="414" y="35"/>
                    </a:cubicBezTo>
                    <a:cubicBezTo>
                      <a:pt x="416" y="35"/>
                      <a:pt x="419" y="35"/>
                      <a:pt x="419" y="36"/>
                    </a:cubicBezTo>
                    <a:cubicBezTo>
                      <a:pt x="418" y="37"/>
                      <a:pt x="417" y="38"/>
                      <a:pt x="416" y="38"/>
                    </a:cubicBezTo>
                    <a:cubicBezTo>
                      <a:pt x="416" y="38"/>
                      <a:pt x="415" y="38"/>
                      <a:pt x="414" y="38"/>
                    </a:cubicBezTo>
                    <a:cubicBezTo>
                      <a:pt x="413" y="38"/>
                      <a:pt x="411" y="40"/>
                      <a:pt x="410" y="39"/>
                    </a:cubicBezTo>
                    <a:cubicBezTo>
                      <a:pt x="409" y="39"/>
                      <a:pt x="409" y="37"/>
                      <a:pt x="408" y="37"/>
                    </a:cubicBezTo>
                    <a:cubicBezTo>
                      <a:pt x="406" y="36"/>
                      <a:pt x="406" y="37"/>
                      <a:pt x="405" y="38"/>
                    </a:cubicBezTo>
                    <a:cubicBezTo>
                      <a:pt x="404" y="36"/>
                      <a:pt x="402" y="33"/>
                      <a:pt x="404" y="31"/>
                    </a:cubicBezTo>
                    <a:cubicBezTo>
                      <a:pt x="404" y="31"/>
                      <a:pt x="404" y="30"/>
                      <a:pt x="405" y="30"/>
                    </a:cubicBezTo>
                    <a:cubicBezTo>
                      <a:pt x="405" y="30"/>
                      <a:pt x="406" y="30"/>
                      <a:pt x="406" y="30"/>
                    </a:cubicBezTo>
                    <a:cubicBezTo>
                      <a:pt x="407" y="30"/>
                      <a:pt x="408" y="29"/>
                      <a:pt x="408" y="29"/>
                    </a:cubicBezTo>
                    <a:cubicBezTo>
                      <a:pt x="409" y="28"/>
                      <a:pt x="408" y="28"/>
                      <a:pt x="407" y="27"/>
                    </a:cubicBezTo>
                    <a:cubicBezTo>
                      <a:pt x="407" y="27"/>
                      <a:pt x="408" y="27"/>
                      <a:pt x="408" y="26"/>
                    </a:cubicBezTo>
                    <a:cubicBezTo>
                      <a:pt x="408" y="25"/>
                      <a:pt x="409" y="24"/>
                      <a:pt x="408" y="23"/>
                    </a:cubicBezTo>
                    <a:cubicBezTo>
                      <a:pt x="406" y="22"/>
                      <a:pt x="403" y="23"/>
                      <a:pt x="402" y="24"/>
                    </a:cubicBezTo>
                    <a:cubicBezTo>
                      <a:pt x="401" y="26"/>
                      <a:pt x="401" y="27"/>
                      <a:pt x="401" y="28"/>
                    </a:cubicBezTo>
                    <a:cubicBezTo>
                      <a:pt x="401" y="29"/>
                      <a:pt x="401" y="29"/>
                      <a:pt x="401" y="30"/>
                    </a:cubicBezTo>
                    <a:cubicBezTo>
                      <a:pt x="401" y="30"/>
                      <a:pt x="401" y="30"/>
                      <a:pt x="400" y="30"/>
                    </a:cubicBezTo>
                    <a:cubicBezTo>
                      <a:pt x="400" y="30"/>
                      <a:pt x="400" y="31"/>
                      <a:pt x="399" y="31"/>
                    </a:cubicBezTo>
                    <a:cubicBezTo>
                      <a:pt x="398" y="33"/>
                      <a:pt x="397" y="36"/>
                      <a:pt x="398" y="38"/>
                    </a:cubicBezTo>
                    <a:cubicBezTo>
                      <a:pt x="400" y="37"/>
                      <a:pt x="401" y="38"/>
                      <a:pt x="403" y="38"/>
                    </a:cubicBezTo>
                    <a:cubicBezTo>
                      <a:pt x="403" y="39"/>
                      <a:pt x="403" y="40"/>
                      <a:pt x="403" y="40"/>
                    </a:cubicBezTo>
                    <a:cubicBezTo>
                      <a:pt x="404" y="41"/>
                      <a:pt x="404" y="41"/>
                      <a:pt x="403" y="42"/>
                    </a:cubicBezTo>
                    <a:cubicBezTo>
                      <a:pt x="402" y="42"/>
                      <a:pt x="401" y="41"/>
                      <a:pt x="401" y="43"/>
                    </a:cubicBezTo>
                    <a:cubicBezTo>
                      <a:pt x="401" y="43"/>
                      <a:pt x="401" y="45"/>
                      <a:pt x="401" y="45"/>
                    </a:cubicBezTo>
                    <a:cubicBezTo>
                      <a:pt x="401" y="46"/>
                      <a:pt x="402" y="46"/>
                      <a:pt x="402" y="46"/>
                    </a:cubicBezTo>
                    <a:cubicBezTo>
                      <a:pt x="403" y="47"/>
                      <a:pt x="404" y="47"/>
                      <a:pt x="404" y="48"/>
                    </a:cubicBezTo>
                    <a:cubicBezTo>
                      <a:pt x="405" y="49"/>
                      <a:pt x="405" y="48"/>
                      <a:pt x="405" y="49"/>
                    </a:cubicBezTo>
                    <a:cubicBezTo>
                      <a:pt x="405" y="51"/>
                      <a:pt x="401" y="51"/>
                      <a:pt x="401" y="49"/>
                    </a:cubicBezTo>
                    <a:cubicBezTo>
                      <a:pt x="399" y="49"/>
                      <a:pt x="399" y="50"/>
                      <a:pt x="398" y="51"/>
                    </a:cubicBezTo>
                    <a:cubicBezTo>
                      <a:pt x="398" y="51"/>
                      <a:pt x="397" y="54"/>
                      <a:pt x="397" y="54"/>
                    </a:cubicBezTo>
                    <a:cubicBezTo>
                      <a:pt x="395" y="55"/>
                      <a:pt x="391" y="54"/>
                      <a:pt x="390" y="53"/>
                    </a:cubicBezTo>
                    <a:cubicBezTo>
                      <a:pt x="389" y="52"/>
                      <a:pt x="390" y="50"/>
                      <a:pt x="390" y="49"/>
                    </a:cubicBezTo>
                    <a:cubicBezTo>
                      <a:pt x="389" y="48"/>
                      <a:pt x="389" y="46"/>
                      <a:pt x="388" y="45"/>
                    </a:cubicBezTo>
                    <a:cubicBezTo>
                      <a:pt x="387" y="44"/>
                      <a:pt x="387" y="44"/>
                      <a:pt x="386" y="45"/>
                    </a:cubicBezTo>
                    <a:cubicBezTo>
                      <a:pt x="385" y="45"/>
                      <a:pt x="385" y="46"/>
                      <a:pt x="384" y="47"/>
                    </a:cubicBezTo>
                    <a:cubicBezTo>
                      <a:pt x="382" y="50"/>
                      <a:pt x="377" y="49"/>
                      <a:pt x="373" y="49"/>
                    </a:cubicBezTo>
                    <a:cubicBezTo>
                      <a:pt x="372" y="49"/>
                      <a:pt x="372" y="49"/>
                      <a:pt x="371" y="48"/>
                    </a:cubicBezTo>
                    <a:cubicBezTo>
                      <a:pt x="371" y="48"/>
                      <a:pt x="371" y="48"/>
                      <a:pt x="370" y="48"/>
                    </a:cubicBezTo>
                    <a:cubicBezTo>
                      <a:pt x="369" y="47"/>
                      <a:pt x="370" y="48"/>
                      <a:pt x="369" y="48"/>
                    </a:cubicBezTo>
                    <a:cubicBezTo>
                      <a:pt x="368" y="48"/>
                      <a:pt x="366" y="49"/>
                      <a:pt x="366" y="49"/>
                    </a:cubicBezTo>
                    <a:cubicBezTo>
                      <a:pt x="365" y="49"/>
                      <a:pt x="364" y="49"/>
                      <a:pt x="363" y="49"/>
                    </a:cubicBezTo>
                    <a:cubicBezTo>
                      <a:pt x="362" y="50"/>
                      <a:pt x="363" y="50"/>
                      <a:pt x="362" y="50"/>
                    </a:cubicBezTo>
                    <a:cubicBezTo>
                      <a:pt x="360" y="51"/>
                      <a:pt x="360" y="51"/>
                      <a:pt x="360" y="53"/>
                    </a:cubicBezTo>
                    <a:cubicBezTo>
                      <a:pt x="359" y="54"/>
                      <a:pt x="360" y="57"/>
                      <a:pt x="358" y="56"/>
                    </a:cubicBezTo>
                    <a:cubicBezTo>
                      <a:pt x="358" y="58"/>
                      <a:pt x="353" y="57"/>
                      <a:pt x="352" y="57"/>
                    </a:cubicBezTo>
                    <a:cubicBezTo>
                      <a:pt x="350" y="58"/>
                      <a:pt x="350" y="59"/>
                      <a:pt x="348" y="59"/>
                    </a:cubicBezTo>
                    <a:cubicBezTo>
                      <a:pt x="347" y="59"/>
                      <a:pt x="346" y="59"/>
                      <a:pt x="345" y="58"/>
                    </a:cubicBezTo>
                    <a:cubicBezTo>
                      <a:pt x="344" y="58"/>
                      <a:pt x="344" y="57"/>
                      <a:pt x="343" y="57"/>
                    </a:cubicBezTo>
                    <a:cubicBezTo>
                      <a:pt x="342" y="59"/>
                      <a:pt x="341" y="61"/>
                      <a:pt x="340" y="60"/>
                    </a:cubicBezTo>
                    <a:cubicBezTo>
                      <a:pt x="339" y="60"/>
                      <a:pt x="338" y="58"/>
                      <a:pt x="337" y="59"/>
                    </a:cubicBezTo>
                    <a:cubicBezTo>
                      <a:pt x="337" y="59"/>
                      <a:pt x="336" y="60"/>
                      <a:pt x="335" y="60"/>
                    </a:cubicBezTo>
                    <a:cubicBezTo>
                      <a:pt x="335" y="61"/>
                      <a:pt x="335" y="61"/>
                      <a:pt x="334" y="62"/>
                    </a:cubicBezTo>
                    <a:cubicBezTo>
                      <a:pt x="332" y="63"/>
                      <a:pt x="331" y="65"/>
                      <a:pt x="329" y="64"/>
                    </a:cubicBezTo>
                    <a:cubicBezTo>
                      <a:pt x="328" y="64"/>
                      <a:pt x="328" y="64"/>
                      <a:pt x="328" y="63"/>
                    </a:cubicBezTo>
                    <a:cubicBezTo>
                      <a:pt x="328" y="62"/>
                      <a:pt x="327" y="62"/>
                      <a:pt x="327" y="61"/>
                    </a:cubicBezTo>
                    <a:cubicBezTo>
                      <a:pt x="325" y="61"/>
                      <a:pt x="325" y="60"/>
                      <a:pt x="323" y="60"/>
                    </a:cubicBezTo>
                    <a:cubicBezTo>
                      <a:pt x="323" y="60"/>
                      <a:pt x="322" y="60"/>
                      <a:pt x="322" y="60"/>
                    </a:cubicBezTo>
                    <a:cubicBezTo>
                      <a:pt x="322" y="60"/>
                      <a:pt x="321" y="60"/>
                      <a:pt x="321" y="60"/>
                    </a:cubicBezTo>
                    <a:cubicBezTo>
                      <a:pt x="320" y="61"/>
                      <a:pt x="319" y="61"/>
                      <a:pt x="318" y="62"/>
                    </a:cubicBezTo>
                    <a:cubicBezTo>
                      <a:pt x="317" y="63"/>
                      <a:pt x="316" y="65"/>
                      <a:pt x="317" y="67"/>
                    </a:cubicBezTo>
                    <a:cubicBezTo>
                      <a:pt x="317" y="68"/>
                      <a:pt x="319" y="69"/>
                      <a:pt x="318" y="70"/>
                    </a:cubicBezTo>
                    <a:cubicBezTo>
                      <a:pt x="318" y="70"/>
                      <a:pt x="317" y="71"/>
                      <a:pt x="316" y="71"/>
                    </a:cubicBezTo>
                    <a:cubicBezTo>
                      <a:pt x="316" y="72"/>
                      <a:pt x="315" y="73"/>
                      <a:pt x="315" y="73"/>
                    </a:cubicBezTo>
                    <a:cubicBezTo>
                      <a:pt x="314" y="74"/>
                      <a:pt x="314" y="74"/>
                      <a:pt x="312" y="74"/>
                    </a:cubicBezTo>
                    <a:cubicBezTo>
                      <a:pt x="310" y="75"/>
                      <a:pt x="309" y="76"/>
                      <a:pt x="308" y="77"/>
                    </a:cubicBezTo>
                    <a:cubicBezTo>
                      <a:pt x="308" y="78"/>
                      <a:pt x="307" y="78"/>
                      <a:pt x="308" y="79"/>
                    </a:cubicBezTo>
                    <a:cubicBezTo>
                      <a:pt x="308" y="80"/>
                      <a:pt x="311" y="80"/>
                      <a:pt x="311" y="80"/>
                    </a:cubicBezTo>
                    <a:cubicBezTo>
                      <a:pt x="311" y="81"/>
                      <a:pt x="311" y="82"/>
                      <a:pt x="310" y="83"/>
                    </a:cubicBezTo>
                    <a:cubicBezTo>
                      <a:pt x="309" y="83"/>
                      <a:pt x="308" y="83"/>
                      <a:pt x="307" y="83"/>
                    </a:cubicBezTo>
                    <a:cubicBezTo>
                      <a:pt x="306" y="83"/>
                      <a:pt x="305" y="82"/>
                      <a:pt x="304" y="83"/>
                    </a:cubicBezTo>
                    <a:cubicBezTo>
                      <a:pt x="304" y="83"/>
                      <a:pt x="304" y="84"/>
                      <a:pt x="304" y="84"/>
                    </a:cubicBezTo>
                    <a:cubicBezTo>
                      <a:pt x="303" y="84"/>
                      <a:pt x="303" y="84"/>
                      <a:pt x="303" y="84"/>
                    </a:cubicBezTo>
                    <a:cubicBezTo>
                      <a:pt x="302" y="84"/>
                      <a:pt x="302" y="84"/>
                      <a:pt x="301" y="85"/>
                    </a:cubicBezTo>
                    <a:cubicBezTo>
                      <a:pt x="301" y="85"/>
                      <a:pt x="300" y="86"/>
                      <a:pt x="299" y="87"/>
                    </a:cubicBezTo>
                    <a:cubicBezTo>
                      <a:pt x="298" y="87"/>
                      <a:pt x="296" y="87"/>
                      <a:pt x="295" y="85"/>
                    </a:cubicBezTo>
                    <a:cubicBezTo>
                      <a:pt x="292" y="83"/>
                      <a:pt x="289" y="80"/>
                      <a:pt x="285" y="80"/>
                    </a:cubicBezTo>
                    <a:cubicBezTo>
                      <a:pt x="283" y="79"/>
                      <a:pt x="283" y="80"/>
                      <a:pt x="281" y="80"/>
                    </a:cubicBezTo>
                    <a:cubicBezTo>
                      <a:pt x="278" y="81"/>
                      <a:pt x="275" y="78"/>
                      <a:pt x="272" y="78"/>
                    </a:cubicBezTo>
                    <a:cubicBezTo>
                      <a:pt x="272" y="77"/>
                      <a:pt x="273" y="76"/>
                      <a:pt x="273" y="76"/>
                    </a:cubicBezTo>
                    <a:cubicBezTo>
                      <a:pt x="274" y="75"/>
                      <a:pt x="275" y="75"/>
                      <a:pt x="275" y="75"/>
                    </a:cubicBezTo>
                    <a:cubicBezTo>
                      <a:pt x="275" y="75"/>
                      <a:pt x="276" y="73"/>
                      <a:pt x="276" y="73"/>
                    </a:cubicBezTo>
                    <a:cubicBezTo>
                      <a:pt x="278" y="71"/>
                      <a:pt x="280" y="70"/>
                      <a:pt x="281" y="69"/>
                    </a:cubicBezTo>
                    <a:cubicBezTo>
                      <a:pt x="282" y="68"/>
                      <a:pt x="282" y="68"/>
                      <a:pt x="283" y="67"/>
                    </a:cubicBezTo>
                    <a:cubicBezTo>
                      <a:pt x="284" y="66"/>
                      <a:pt x="285" y="67"/>
                      <a:pt x="286" y="66"/>
                    </a:cubicBezTo>
                    <a:cubicBezTo>
                      <a:pt x="288" y="65"/>
                      <a:pt x="286" y="63"/>
                      <a:pt x="285" y="61"/>
                    </a:cubicBezTo>
                    <a:cubicBezTo>
                      <a:pt x="284" y="61"/>
                      <a:pt x="284" y="61"/>
                      <a:pt x="284" y="59"/>
                    </a:cubicBezTo>
                    <a:cubicBezTo>
                      <a:pt x="284" y="59"/>
                      <a:pt x="284" y="57"/>
                      <a:pt x="284" y="57"/>
                    </a:cubicBezTo>
                    <a:cubicBezTo>
                      <a:pt x="285" y="54"/>
                      <a:pt x="284" y="50"/>
                      <a:pt x="285" y="48"/>
                    </a:cubicBezTo>
                    <a:cubicBezTo>
                      <a:pt x="286" y="47"/>
                      <a:pt x="289" y="48"/>
                      <a:pt x="290" y="48"/>
                    </a:cubicBezTo>
                    <a:cubicBezTo>
                      <a:pt x="292" y="48"/>
                      <a:pt x="294" y="48"/>
                      <a:pt x="295" y="48"/>
                    </a:cubicBezTo>
                    <a:cubicBezTo>
                      <a:pt x="298" y="47"/>
                      <a:pt x="298" y="46"/>
                      <a:pt x="297" y="43"/>
                    </a:cubicBezTo>
                    <a:cubicBezTo>
                      <a:pt x="296" y="43"/>
                      <a:pt x="296" y="42"/>
                      <a:pt x="295" y="42"/>
                    </a:cubicBezTo>
                    <a:cubicBezTo>
                      <a:pt x="295" y="40"/>
                      <a:pt x="294" y="40"/>
                      <a:pt x="293" y="38"/>
                    </a:cubicBezTo>
                    <a:cubicBezTo>
                      <a:pt x="293" y="37"/>
                      <a:pt x="292" y="35"/>
                      <a:pt x="291" y="35"/>
                    </a:cubicBezTo>
                    <a:cubicBezTo>
                      <a:pt x="291" y="34"/>
                      <a:pt x="289" y="35"/>
                      <a:pt x="288" y="34"/>
                    </a:cubicBezTo>
                    <a:cubicBezTo>
                      <a:pt x="288" y="34"/>
                      <a:pt x="287" y="34"/>
                      <a:pt x="286" y="34"/>
                    </a:cubicBezTo>
                    <a:cubicBezTo>
                      <a:pt x="285" y="34"/>
                      <a:pt x="283" y="34"/>
                      <a:pt x="282" y="34"/>
                    </a:cubicBezTo>
                    <a:cubicBezTo>
                      <a:pt x="281" y="35"/>
                      <a:pt x="280" y="35"/>
                      <a:pt x="280" y="36"/>
                    </a:cubicBezTo>
                    <a:cubicBezTo>
                      <a:pt x="279" y="38"/>
                      <a:pt x="278" y="39"/>
                      <a:pt x="278" y="41"/>
                    </a:cubicBezTo>
                    <a:cubicBezTo>
                      <a:pt x="278" y="42"/>
                      <a:pt x="279" y="43"/>
                      <a:pt x="280" y="43"/>
                    </a:cubicBezTo>
                    <a:cubicBezTo>
                      <a:pt x="281" y="44"/>
                      <a:pt x="284" y="46"/>
                      <a:pt x="285" y="46"/>
                    </a:cubicBezTo>
                    <a:cubicBezTo>
                      <a:pt x="285" y="48"/>
                      <a:pt x="285" y="46"/>
                      <a:pt x="284" y="48"/>
                    </a:cubicBezTo>
                    <a:cubicBezTo>
                      <a:pt x="284" y="48"/>
                      <a:pt x="284" y="50"/>
                      <a:pt x="283" y="50"/>
                    </a:cubicBezTo>
                    <a:cubicBezTo>
                      <a:pt x="283" y="52"/>
                      <a:pt x="280" y="50"/>
                      <a:pt x="279" y="50"/>
                    </a:cubicBezTo>
                    <a:cubicBezTo>
                      <a:pt x="277" y="50"/>
                      <a:pt x="275" y="50"/>
                      <a:pt x="273" y="51"/>
                    </a:cubicBezTo>
                    <a:cubicBezTo>
                      <a:pt x="272" y="52"/>
                      <a:pt x="271" y="52"/>
                      <a:pt x="270" y="53"/>
                    </a:cubicBezTo>
                    <a:cubicBezTo>
                      <a:pt x="268" y="54"/>
                      <a:pt x="268" y="55"/>
                      <a:pt x="266" y="55"/>
                    </a:cubicBezTo>
                    <a:cubicBezTo>
                      <a:pt x="264" y="55"/>
                      <a:pt x="262" y="55"/>
                      <a:pt x="262" y="53"/>
                    </a:cubicBezTo>
                    <a:cubicBezTo>
                      <a:pt x="262" y="51"/>
                      <a:pt x="262" y="49"/>
                      <a:pt x="260" y="48"/>
                    </a:cubicBezTo>
                    <a:cubicBezTo>
                      <a:pt x="259" y="48"/>
                      <a:pt x="257" y="48"/>
                      <a:pt x="256" y="48"/>
                    </a:cubicBezTo>
                    <a:cubicBezTo>
                      <a:pt x="254" y="48"/>
                      <a:pt x="253" y="49"/>
                      <a:pt x="252" y="48"/>
                    </a:cubicBezTo>
                    <a:cubicBezTo>
                      <a:pt x="251" y="47"/>
                      <a:pt x="251" y="46"/>
                      <a:pt x="249" y="46"/>
                    </a:cubicBezTo>
                    <a:cubicBezTo>
                      <a:pt x="248" y="46"/>
                      <a:pt x="247" y="46"/>
                      <a:pt x="245" y="46"/>
                    </a:cubicBezTo>
                    <a:cubicBezTo>
                      <a:pt x="245" y="46"/>
                      <a:pt x="244" y="46"/>
                      <a:pt x="244" y="45"/>
                    </a:cubicBezTo>
                    <a:cubicBezTo>
                      <a:pt x="243" y="45"/>
                      <a:pt x="242" y="45"/>
                      <a:pt x="242" y="46"/>
                    </a:cubicBezTo>
                    <a:cubicBezTo>
                      <a:pt x="241" y="46"/>
                      <a:pt x="242" y="47"/>
                      <a:pt x="241" y="47"/>
                    </a:cubicBezTo>
                    <a:cubicBezTo>
                      <a:pt x="240" y="48"/>
                      <a:pt x="240" y="48"/>
                      <a:pt x="239" y="48"/>
                    </a:cubicBezTo>
                    <a:cubicBezTo>
                      <a:pt x="238" y="49"/>
                      <a:pt x="236" y="50"/>
                      <a:pt x="235" y="48"/>
                    </a:cubicBezTo>
                    <a:cubicBezTo>
                      <a:pt x="235" y="48"/>
                      <a:pt x="236" y="46"/>
                      <a:pt x="236" y="46"/>
                    </a:cubicBezTo>
                    <a:cubicBezTo>
                      <a:pt x="236" y="44"/>
                      <a:pt x="236" y="42"/>
                      <a:pt x="234" y="41"/>
                    </a:cubicBezTo>
                    <a:cubicBezTo>
                      <a:pt x="232" y="41"/>
                      <a:pt x="232" y="42"/>
                      <a:pt x="230" y="42"/>
                    </a:cubicBezTo>
                    <a:cubicBezTo>
                      <a:pt x="229" y="42"/>
                      <a:pt x="229" y="42"/>
                      <a:pt x="228" y="42"/>
                    </a:cubicBezTo>
                    <a:cubicBezTo>
                      <a:pt x="226" y="42"/>
                      <a:pt x="224" y="41"/>
                      <a:pt x="223" y="42"/>
                    </a:cubicBezTo>
                    <a:cubicBezTo>
                      <a:pt x="222" y="42"/>
                      <a:pt x="222" y="43"/>
                      <a:pt x="220" y="43"/>
                    </a:cubicBezTo>
                    <a:cubicBezTo>
                      <a:pt x="219" y="44"/>
                      <a:pt x="218" y="44"/>
                      <a:pt x="217" y="43"/>
                    </a:cubicBezTo>
                    <a:cubicBezTo>
                      <a:pt x="218" y="42"/>
                      <a:pt x="218" y="40"/>
                      <a:pt x="220" y="38"/>
                    </a:cubicBezTo>
                    <a:cubicBezTo>
                      <a:pt x="221" y="38"/>
                      <a:pt x="222" y="37"/>
                      <a:pt x="223" y="37"/>
                    </a:cubicBezTo>
                    <a:cubicBezTo>
                      <a:pt x="223" y="37"/>
                      <a:pt x="225" y="36"/>
                      <a:pt x="225" y="36"/>
                    </a:cubicBezTo>
                    <a:cubicBezTo>
                      <a:pt x="225" y="36"/>
                      <a:pt x="225" y="34"/>
                      <a:pt x="225" y="34"/>
                    </a:cubicBezTo>
                    <a:cubicBezTo>
                      <a:pt x="225" y="32"/>
                      <a:pt x="225" y="31"/>
                      <a:pt x="225" y="30"/>
                    </a:cubicBezTo>
                    <a:cubicBezTo>
                      <a:pt x="225" y="29"/>
                      <a:pt x="226" y="27"/>
                      <a:pt x="226" y="26"/>
                    </a:cubicBezTo>
                    <a:cubicBezTo>
                      <a:pt x="225" y="25"/>
                      <a:pt x="224" y="25"/>
                      <a:pt x="224" y="24"/>
                    </a:cubicBezTo>
                    <a:cubicBezTo>
                      <a:pt x="224" y="23"/>
                      <a:pt x="224" y="23"/>
                      <a:pt x="225" y="22"/>
                    </a:cubicBezTo>
                    <a:cubicBezTo>
                      <a:pt x="225" y="21"/>
                      <a:pt x="224" y="20"/>
                      <a:pt x="222" y="20"/>
                    </a:cubicBezTo>
                    <a:cubicBezTo>
                      <a:pt x="222" y="18"/>
                      <a:pt x="224" y="16"/>
                      <a:pt x="224" y="14"/>
                    </a:cubicBezTo>
                    <a:cubicBezTo>
                      <a:pt x="224" y="13"/>
                      <a:pt x="223" y="10"/>
                      <a:pt x="222" y="10"/>
                    </a:cubicBezTo>
                    <a:cubicBezTo>
                      <a:pt x="221" y="9"/>
                      <a:pt x="219" y="11"/>
                      <a:pt x="218" y="11"/>
                    </a:cubicBezTo>
                    <a:cubicBezTo>
                      <a:pt x="217" y="12"/>
                      <a:pt x="217" y="13"/>
                      <a:pt x="216" y="13"/>
                    </a:cubicBezTo>
                    <a:cubicBezTo>
                      <a:pt x="215" y="13"/>
                      <a:pt x="214" y="12"/>
                      <a:pt x="213" y="12"/>
                    </a:cubicBezTo>
                    <a:cubicBezTo>
                      <a:pt x="212" y="11"/>
                      <a:pt x="212" y="11"/>
                      <a:pt x="211" y="10"/>
                    </a:cubicBezTo>
                    <a:cubicBezTo>
                      <a:pt x="209" y="9"/>
                      <a:pt x="208" y="9"/>
                      <a:pt x="206" y="9"/>
                    </a:cubicBezTo>
                    <a:cubicBezTo>
                      <a:pt x="204" y="9"/>
                      <a:pt x="204" y="8"/>
                      <a:pt x="203" y="6"/>
                    </a:cubicBezTo>
                    <a:cubicBezTo>
                      <a:pt x="202" y="6"/>
                      <a:pt x="201" y="5"/>
                      <a:pt x="200" y="5"/>
                    </a:cubicBezTo>
                    <a:cubicBezTo>
                      <a:pt x="199" y="5"/>
                      <a:pt x="199" y="5"/>
                      <a:pt x="198" y="5"/>
                    </a:cubicBezTo>
                    <a:cubicBezTo>
                      <a:pt x="198" y="5"/>
                      <a:pt x="197" y="5"/>
                      <a:pt x="196" y="5"/>
                    </a:cubicBezTo>
                    <a:cubicBezTo>
                      <a:pt x="196" y="5"/>
                      <a:pt x="195" y="4"/>
                      <a:pt x="194" y="5"/>
                    </a:cubicBezTo>
                    <a:cubicBezTo>
                      <a:pt x="193" y="5"/>
                      <a:pt x="193" y="6"/>
                      <a:pt x="192" y="7"/>
                    </a:cubicBezTo>
                    <a:cubicBezTo>
                      <a:pt x="191" y="8"/>
                      <a:pt x="191" y="8"/>
                      <a:pt x="189" y="8"/>
                    </a:cubicBezTo>
                    <a:cubicBezTo>
                      <a:pt x="188" y="9"/>
                      <a:pt x="188" y="10"/>
                      <a:pt x="187" y="11"/>
                    </a:cubicBezTo>
                    <a:cubicBezTo>
                      <a:pt x="186" y="11"/>
                      <a:pt x="185" y="11"/>
                      <a:pt x="184" y="11"/>
                    </a:cubicBezTo>
                    <a:cubicBezTo>
                      <a:pt x="182" y="11"/>
                      <a:pt x="181" y="11"/>
                      <a:pt x="181" y="9"/>
                    </a:cubicBezTo>
                    <a:cubicBezTo>
                      <a:pt x="181" y="7"/>
                      <a:pt x="181" y="6"/>
                      <a:pt x="180" y="5"/>
                    </a:cubicBezTo>
                    <a:cubicBezTo>
                      <a:pt x="180" y="5"/>
                      <a:pt x="180" y="5"/>
                      <a:pt x="180" y="4"/>
                    </a:cubicBezTo>
                    <a:cubicBezTo>
                      <a:pt x="180" y="4"/>
                      <a:pt x="179" y="4"/>
                      <a:pt x="180" y="3"/>
                    </a:cubicBezTo>
                    <a:cubicBezTo>
                      <a:pt x="179" y="3"/>
                      <a:pt x="179" y="2"/>
                      <a:pt x="179" y="1"/>
                    </a:cubicBezTo>
                    <a:cubicBezTo>
                      <a:pt x="178" y="1"/>
                      <a:pt x="176" y="1"/>
                      <a:pt x="176" y="1"/>
                    </a:cubicBezTo>
                    <a:cubicBezTo>
                      <a:pt x="175" y="2"/>
                      <a:pt x="175" y="2"/>
                      <a:pt x="175" y="3"/>
                    </a:cubicBezTo>
                    <a:cubicBezTo>
                      <a:pt x="174" y="3"/>
                      <a:pt x="173" y="3"/>
                      <a:pt x="173" y="3"/>
                    </a:cubicBezTo>
                    <a:cubicBezTo>
                      <a:pt x="172" y="3"/>
                      <a:pt x="170" y="3"/>
                      <a:pt x="169" y="3"/>
                    </a:cubicBezTo>
                    <a:cubicBezTo>
                      <a:pt x="168" y="3"/>
                      <a:pt x="167" y="2"/>
                      <a:pt x="166" y="1"/>
                    </a:cubicBezTo>
                    <a:cubicBezTo>
                      <a:pt x="165" y="1"/>
                      <a:pt x="163" y="1"/>
                      <a:pt x="162" y="1"/>
                    </a:cubicBezTo>
                    <a:cubicBezTo>
                      <a:pt x="160" y="1"/>
                      <a:pt x="158" y="1"/>
                      <a:pt x="157" y="1"/>
                    </a:cubicBezTo>
                    <a:cubicBezTo>
                      <a:pt x="154" y="1"/>
                      <a:pt x="152" y="0"/>
                      <a:pt x="149" y="0"/>
                    </a:cubicBezTo>
                    <a:cubicBezTo>
                      <a:pt x="149" y="2"/>
                      <a:pt x="148" y="4"/>
                      <a:pt x="148" y="7"/>
                    </a:cubicBezTo>
                    <a:cubicBezTo>
                      <a:pt x="148" y="8"/>
                      <a:pt x="149" y="9"/>
                      <a:pt x="149" y="10"/>
                    </a:cubicBezTo>
                    <a:cubicBezTo>
                      <a:pt x="150" y="11"/>
                      <a:pt x="151" y="9"/>
                      <a:pt x="153" y="9"/>
                    </a:cubicBezTo>
                    <a:cubicBezTo>
                      <a:pt x="153" y="11"/>
                      <a:pt x="152" y="12"/>
                      <a:pt x="152" y="13"/>
                    </a:cubicBezTo>
                    <a:cubicBezTo>
                      <a:pt x="152" y="14"/>
                      <a:pt x="153" y="14"/>
                      <a:pt x="153" y="14"/>
                    </a:cubicBezTo>
                    <a:cubicBezTo>
                      <a:pt x="153" y="14"/>
                      <a:pt x="153" y="16"/>
                      <a:pt x="154" y="17"/>
                    </a:cubicBezTo>
                    <a:cubicBezTo>
                      <a:pt x="154" y="17"/>
                      <a:pt x="153" y="18"/>
                      <a:pt x="154" y="18"/>
                    </a:cubicBezTo>
                    <a:cubicBezTo>
                      <a:pt x="154" y="19"/>
                      <a:pt x="156" y="20"/>
                      <a:pt x="156" y="21"/>
                    </a:cubicBezTo>
                    <a:cubicBezTo>
                      <a:pt x="157" y="22"/>
                      <a:pt x="158" y="25"/>
                      <a:pt x="160" y="25"/>
                    </a:cubicBezTo>
                    <a:cubicBezTo>
                      <a:pt x="160" y="25"/>
                      <a:pt x="161" y="25"/>
                      <a:pt x="161" y="24"/>
                    </a:cubicBezTo>
                    <a:cubicBezTo>
                      <a:pt x="161" y="25"/>
                      <a:pt x="161" y="26"/>
                      <a:pt x="161" y="27"/>
                    </a:cubicBezTo>
                    <a:cubicBezTo>
                      <a:pt x="163" y="27"/>
                      <a:pt x="163" y="29"/>
                      <a:pt x="163" y="30"/>
                    </a:cubicBezTo>
                    <a:cubicBezTo>
                      <a:pt x="163" y="30"/>
                      <a:pt x="163" y="31"/>
                      <a:pt x="163" y="32"/>
                    </a:cubicBezTo>
                    <a:cubicBezTo>
                      <a:pt x="164" y="32"/>
                      <a:pt x="165" y="32"/>
                      <a:pt x="165" y="32"/>
                    </a:cubicBezTo>
                    <a:cubicBezTo>
                      <a:pt x="165" y="32"/>
                      <a:pt x="166" y="34"/>
                      <a:pt x="166" y="34"/>
                    </a:cubicBezTo>
                    <a:cubicBezTo>
                      <a:pt x="166" y="34"/>
                      <a:pt x="166" y="35"/>
                      <a:pt x="166" y="36"/>
                    </a:cubicBezTo>
                    <a:cubicBezTo>
                      <a:pt x="165" y="37"/>
                      <a:pt x="163" y="36"/>
                      <a:pt x="162" y="38"/>
                    </a:cubicBezTo>
                    <a:cubicBezTo>
                      <a:pt x="162" y="38"/>
                      <a:pt x="162" y="39"/>
                      <a:pt x="161" y="39"/>
                    </a:cubicBezTo>
                    <a:cubicBezTo>
                      <a:pt x="161" y="40"/>
                      <a:pt x="160" y="40"/>
                      <a:pt x="160" y="40"/>
                    </a:cubicBezTo>
                    <a:cubicBezTo>
                      <a:pt x="159" y="42"/>
                      <a:pt x="159" y="42"/>
                      <a:pt x="161" y="42"/>
                    </a:cubicBezTo>
                    <a:cubicBezTo>
                      <a:pt x="162" y="42"/>
                      <a:pt x="162" y="43"/>
                      <a:pt x="163" y="42"/>
                    </a:cubicBezTo>
                    <a:cubicBezTo>
                      <a:pt x="164" y="42"/>
                      <a:pt x="165" y="42"/>
                      <a:pt x="166" y="41"/>
                    </a:cubicBezTo>
                    <a:cubicBezTo>
                      <a:pt x="167" y="41"/>
                      <a:pt x="167" y="41"/>
                      <a:pt x="168" y="41"/>
                    </a:cubicBezTo>
                    <a:cubicBezTo>
                      <a:pt x="169" y="40"/>
                      <a:pt x="171" y="40"/>
                      <a:pt x="172" y="41"/>
                    </a:cubicBezTo>
                    <a:cubicBezTo>
                      <a:pt x="173" y="41"/>
                      <a:pt x="173" y="40"/>
                      <a:pt x="173" y="41"/>
                    </a:cubicBezTo>
                    <a:cubicBezTo>
                      <a:pt x="174" y="43"/>
                      <a:pt x="172" y="44"/>
                      <a:pt x="171" y="45"/>
                    </a:cubicBezTo>
                    <a:cubicBezTo>
                      <a:pt x="168" y="48"/>
                      <a:pt x="165" y="48"/>
                      <a:pt x="161" y="48"/>
                    </a:cubicBezTo>
                    <a:cubicBezTo>
                      <a:pt x="159" y="48"/>
                      <a:pt x="157" y="48"/>
                      <a:pt x="155" y="48"/>
                    </a:cubicBezTo>
                    <a:cubicBezTo>
                      <a:pt x="153" y="48"/>
                      <a:pt x="153" y="49"/>
                      <a:pt x="152" y="50"/>
                    </a:cubicBezTo>
                    <a:cubicBezTo>
                      <a:pt x="151" y="51"/>
                      <a:pt x="152" y="51"/>
                      <a:pt x="153" y="53"/>
                    </a:cubicBezTo>
                    <a:cubicBezTo>
                      <a:pt x="152" y="53"/>
                      <a:pt x="152" y="53"/>
                      <a:pt x="151" y="53"/>
                    </a:cubicBezTo>
                    <a:cubicBezTo>
                      <a:pt x="150" y="53"/>
                      <a:pt x="150" y="54"/>
                      <a:pt x="149" y="54"/>
                    </a:cubicBezTo>
                    <a:cubicBezTo>
                      <a:pt x="149" y="54"/>
                      <a:pt x="149" y="54"/>
                      <a:pt x="148" y="55"/>
                    </a:cubicBezTo>
                    <a:cubicBezTo>
                      <a:pt x="148" y="55"/>
                      <a:pt x="148" y="56"/>
                      <a:pt x="148" y="57"/>
                    </a:cubicBezTo>
                    <a:cubicBezTo>
                      <a:pt x="149" y="58"/>
                      <a:pt x="149" y="60"/>
                      <a:pt x="150" y="61"/>
                    </a:cubicBezTo>
                    <a:cubicBezTo>
                      <a:pt x="150" y="61"/>
                      <a:pt x="150" y="61"/>
                      <a:pt x="151" y="61"/>
                    </a:cubicBezTo>
                    <a:cubicBezTo>
                      <a:pt x="152" y="61"/>
                      <a:pt x="152" y="60"/>
                      <a:pt x="154" y="60"/>
                    </a:cubicBezTo>
                    <a:cubicBezTo>
                      <a:pt x="154" y="59"/>
                      <a:pt x="155" y="60"/>
                      <a:pt x="155" y="59"/>
                    </a:cubicBezTo>
                    <a:cubicBezTo>
                      <a:pt x="156" y="59"/>
                      <a:pt x="156" y="57"/>
                      <a:pt x="157" y="57"/>
                    </a:cubicBezTo>
                    <a:cubicBezTo>
                      <a:pt x="158" y="57"/>
                      <a:pt x="158" y="59"/>
                      <a:pt x="160" y="59"/>
                    </a:cubicBezTo>
                    <a:cubicBezTo>
                      <a:pt x="161" y="59"/>
                      <a:pt x="162" y="58"/>
                      <a:pt x="163" y="58"/>
                    </a:cubicBezTo>
                    <a:cubicBezTo>
                      <a:pt x="165" y="58"/>
                      <a:pt x="166" y="59"/>
                      <a:pt x="167" y="60"/>
                    </a:cubicBezTo>
                    <a:cubicBezTo>
                      <a:pt x="168" y="62"/>
                      <a:pt x="161" y="61"/>
                      <a:pt x="160" y="61"/>
                    </a:cubicBezTo>
                    <a:cubicBezTo>
                      <a:pt x="159" y="61"/>
                      <a:pt x="158" y="60"/>
                      <a:pt x="158" y="61"/>
                    </a:cubicBezTo>
                    <a:cubicBezTo>
                      <a:pt x="157" y="61"/>
                      <a:pt x="157" y="61"/>
                      <a:pt x="157" y="62"/>
                    </a:cubicBezTo>
                    <a:cubicBezTo>
                      <a:pt x="156" y="63"/>
                      <a:pt x="156" y="64"/>
                      <a:pt x="156" y="65"/>
                    </a:cubicBezTo>
                    <a:cubicBezTo>
                      <a:pt x="155" y="66"/>
                      <a:pt x="154" y="66"/>
                      <a:pt x="154" y="67"/>
                    </a:cubicBezTo>
                    <a:cubicBezTo>
                      <a:pt x="154" y="68"/>
                      <a:pt x="153" y="69"/>
                      <a:pt x="154" y="70"/>
                    </a:cubicBezTo>
                    <a:cubicBezTo>
                      <a:pt x="154" y="70"/>
                      <a:pt x="154" y="70"/>
                      <a:pt x="155" y="70"/>
                    </a:cubicBezTo>
                    <a:cubicBezTo>
                      <a:pt x="155" y="71"/>
                      <a:pt x="155" y="71"/>
                      <a:pt x="155" y="71"/>
                    </a:cubicBezTo>
                    <a:cubicBezTo>
                      <a:pt x="156" y="72"/>
                      <a:pt x="156" y="73"/>
                      <a:pt x="158" y="74"/>
                    </a:cubicBezTo>
                    <a:cubicBezTo>
                      <a:pt x="158" y="74"/>
                      <a:pt x="161" y="74"/>
                      <a:pt x="161" y="74"/>
                    </a:cubicBezTo>
                    <a:cubicBezTo>
                      <a:pt x="163" y="73"/>
                      <a:pt x="165" y="72"/>
                      <a:pt x="167" y="73"/>
                    </a:cubicBezTo>
                    <a:cubicBezTo>
                      <a:pt x="167" y="74"/>
                      <a:pt x="167" y="74"/>
                      <a:pt x="167" y="75"/>
                    </a:cubicBezTo>
                    <a:cubicBezTo>
                      <a:pt x="167" y="75"/>
                      <a:pt x="168" y="76"/>
                      <a:pt x="168" y="75"/>
                    </a:cubicBezTo>
                    <a:cubicBezTo>
                      <a:pt x="168" y="76"/>
                      <a:pt x="168" y="78"/>
                      <a:pt x="168" y="78"/>
                    </a:cubicBezTo>
                    <a:cubicBezTo>
                      <a:pt x="168" y="79"/>
                      <a:pt x="167" y="80"/>
                      <a:pt x="167" y="81"/>
                    </a:cubicBezTo>
                    <a:cubicBezTo>
                      <a:pt x="166" y="82"/>
                      <a:pt x="165" y="82"/>
                      <a:pt x="164" y="82"/>
                    </a:cubicBezTo>
                    <a:cubicBezTo>
                      <a:pt x="162" y="83"/>
                      <a:pt x="162" y="82"/>
                      <a:pt x="161" y="84"/>
                    </a:cubicBezTo>
                    <a:cubicBezTo>
                      <a:pt x="161" y="84"/>
                      <a:pt x="162" y="85"/>
                      <a:pt x="162" y="86"/>
                    </a:cubicBezTo>
                    <a:cubicBezTo>
                      <a:pt x="163" y="89"/>
                      <a:pt x="162" y="92"/>
                      <a:pt x="165" y="94"/>
                    </a:cubicBezTo>
                    <a:cubicBezTo>
                      <a:pt x="165" y="94"/>
                      <a:pt x="165" y="94"/>
                      <a:pt x="166" y="94"/>
                    </a:cubicBezTo>
                    <a:cubicBezTo>
                      <a:pt x="166" y="95"/>
                      <a:pt x="166" y="95"/>
                      <a:pt x="166" y="95"/>
                    </a:cubicBezTo>
                    <a:cubicBezTo>
                      <a:pt x="167" y="96"/>
                      <a:pt x="168" y="96"/>
                      <a:pt x="169" y="96"/>
                    </a:cubicBezTo>
                    <a:cubicBezTo>
                      <a:pt x="170" y="96"/>
                      <a:pt x="171" y="96"/>
                      <a:pt x="173" y="96"/>
                    </a:cubicBezTo>
                    <a:cubicBezTo>
                      <a:pt x="175" y="96"/>
                      <a:pt x="177" y="96"/>
                      <a:pt x="179" y="97"/>
                    </a:cubicBezTo>
                    <a:cubicBezTo>
                      <a:pt x="181" y="97"/>
                      <a:pt x="182" y="97"/>
                      <a:pt x="184" y="98"/>
                    </a:cubicBezTo>
                    <a:cubicBezTo>
                      <a:pt x="185" y="99"/>
                      <a:pt x="186" y="99"/>
                      <a:pt x="187" y="100"/>
                    </a:cubicBezTo>
                    <a:cubicBezTo>
                      <a:pt x="188" y="101"/>
                      <a:pt x="190" y="101"/>
                      <a:pt x="191" y="102"/>
                    </a:cubicBezTo>
                    <a:cubicBezTo>
                      <a:pt x="192" y="104"/>
                      <a:pt x="192" y="106"/>
                      <a:pt x="192" y="108"/>
                    </a:cubicBezTo>
                    <a:cubicBezTo>
                      <a:pt x="191" y="107"/>
                      <a:pt x="189" y="106"/>
                      <a:pt x="188" y="104"/>
                    </a:cubicBezTo>
                    <a:cubicBezTo>
                      <a:pt x="188" y="104"/>
                      <a:pt x="188" y="103"/>
                      <a:pt x="188" y="103"/>
                    </a:cubicBezTo>
                    <a:cubicBezTo>
                      <a:pt x="187" y="102"/>
                      <a:pt x="186" y="102"/>
                      <a:pt x="186" y="101"/>
                    </a:cubicBezTo>
                    <a:cubicBezTo>
                      <a:pt x="185" y="101"/>
                      <a:pt x="184" y="100"/>
                      <a:pt x="183" y="99"/>
                    </a:cubicBezTo>
                    <a:cubicBezTo>
                      <a:pt x="182" y="98"/>
                      <a:pt x="180" y="99"/>
                      <a:pt x="179" y="99"/>
                    </a:cubicBezTo>
                    <a:cubicBezTo>
                      <a:pt x="176" y="99"/>
                      <a:pt x="173" y="98"/>
                      <a:pt x="171" y="99"/>
                    </a:cubicBezTo>
                    <a:cubicBezTo>
                      <a:pt x="170" y="99"/>
                      <a:pt x="169" y="100"/>
                      <a:pt x="169" y="101"/>
                    </a:cubicBezTo>
                    <a:cubicBezTo>
                      <a:pt x="168" y="101"/>
                      <a:pt x="167" y="101"/>
                      <a:pt x="167" y="101"/>
                    </a:cubicBezTo>
                    <a:cubicBezTo>
                      <a:pt x="165" y="101"/>
                      <a:pt x="164" y="101"/>
                      <a:pt x="162" y="101"/>
                    </a:cubicBezTo>
                    <a:cubicBezTo>
                      <a:pt x="161" y="100"/>
                      <a:pt x="160" y="100"/>
                      <a:pt x="158" y="100"/>
                    </a:cubicBezTo>
                    <a:cubicBezTo>
                      <a:pt x="158" y="100"/>
                      <a:pt x="157" y="100"/>
                      <a:pt x="157" y="100"/>
                    </a:cubicBezTo>
                    <a:cubicBezTo>
                      <a:pt x="156" y="99"/>
                      <a:pt x="156" y="97"/>
                      <a:pt x="155" y="96"/>
                    </a:cubicBezTo>
                    <a:cubicBezTo>
                      <a:pt x="155" y="96"/>
                      <a:pt x="152" y="96"/>
                      <a:pt x="151" y="96"/>
                    </a:cubicBezTo>
                    <a:cubicBezTo>
                      <a:pt x="150" y="96"/>
                      <a:pt x="150" y="96"/>
                      <a:pt x="149" y="97"/>
                    </a:cubicBezTo>
                    <a:cubicBezTo>
                      <a:pt x="149" y="97"/>
                      <a:pt x="149" y="98"/>
                      <a:pt x="149" y="98"/>
                    </a:cubicBezTo>
                    <a:cubicBezTo>
                      <a:pt x="148" y="98"/>
                      <a:pt x="148" y="98"/>
                      <a:pt x="147" y="98"/>
                    </a:cubicBezTo>
                    <a:cubicBezTo>
                      <a:pt x="146" y="99"/>
                      <a:pt x="147" y="100"/>
                      <a:pt x="146" y="101"/>
                    </a:cubicBezTo>
                    <a:cubicBezTo>
                      <a:pt x="145" y="103"/>
                      <a:pt x="142" y="105"/>
                      <a:pt x="141" y="106"/>
                    </a:cubicBezTo>
                    <a:cubicBezTo>
                      <a:pt x="140" y="106"/>
                      <a:pt x="137" y="107"/>
                      <a:pt x="137" y="108"/>
                    </a:cubicBezTo>
                    <a:cubicBezTo>
                      <a:pt x="137" y="109"/>
                      <a:pt x="138" y="112"/>
                      <a:pt x="138" y="113"/>
                    </a:cubicBezTo>
                    <a:cubicBezTo>
                      <a:pt x="138" y="114"/>
                      <a:pt x="141" y="118"/>
                      <a:pt x="142" y="119"/>
                    </a:cubicBezTo>
                    <a:cubicBezTo>
                      <a:pt x="142" y="120"/>
                      <a:pt x="147" y="123"/>
                      <a:pt x="146" y="124"/>
                    </a:cubicBezTo>
                    <a:cubicBezTo>
                      <a:pt x="145" y="123"/>
                      <a:pt x="140" y="121"/>
                      <a:pt x="140" y="121"/>
                    </a:cubicBezTo>
                    <a:cubicBezTo>
                      <a:pt x="138" y="121"/>
                      <a:pt x="137" y="120"/>
                      <a:pt x="136" y="120"/>
                    </a:cubicBezTo>
                    <a:cubicBezTo>
                      <a:pt x="135" y="120"/>
                      <a:pt x="134" y="121"/>
                      <a:pt x="133" y="120"/>
                    </a:cubicBezTo>
                    <a:cubicBezTo>
                      <a:pt x="133" y="120"/>
                      <a:pt x="133" y="120"/>
                      <a:pt x="133" y="120"/>
                    </a:cubicBezTo>
                    <a:cubicBezTo>
                      <a:pt x="131" y="120"/>
                      <a:pt x="128" y="116"/>
                      <a:pt x="127" y="120"/>
                    </a:cubicBezTo>
                    <a:cubicBezTo>
                      <a:pt x="127" y="122"/>
                      <a:pt x="127" y="121"/>
                      <a:pt x="127" y="123"/>
                    </a:cubicBezTo>
                    <a:cubicBezTo>
                      <a:pt x="130" y="123"/>
                      <a:pt x="130" y="126"/>
                      <a:pt x="130" y="129"/>
                    </a:cubicBezTo>
                    <a:cubicBezTo>
                      <a:pt x="131" y="131"/>
                      <a:pt x="131" y="132"/>
                      <a:pt x="130" y="134"/>
                    </a:cubicBezTo>
                    <a:cubicBezTo>
                      <a:pt x="129" y="134"/>
                      <a:pt x="128" y="136"/>
                      <a:pt x="128" y="136"/>
                    </a:cubicBezTo>
                    <a:cubicBezTo>
                      <a:pt x="127" y="136"/>
                      <a:pt x="126" y="135"/>
                      <a:pt x="125" y="135"/>
                    </a:cubicBezTo>
                    <a:cubicBezTo>
                      <a:pt x="124" y="135"/>
                      <a:pt x="123" y="135"/>
                      <a:pt x="123" y="134"/>
                    </a:cubicBezTo>
                    <a:cubicBezTo>
                      <a:pt x="122" y="134"/>
                      <a:pt x="119" y="130"/>
                      <a:pt x="119" y="129"/>
                    </a:cubicBezTo>
                    <a:cubicBezTo>
                      <a:pt x="120" y="127"/>
                      <a:pt x="121" y="126"/>
                      <a:pt x="122" y="124"/>
                    </a:cubicBezTo>
                    <a:cubicBezTo>
                      <a:pt x="122" y="124"/>
                      <a:pt x="124" y="124"/>
                      <a:pt x="124" y="123"/>
                    </a:cubicBezTo>
                    <a:cubicBezTo>
                      <a:pt x="125" y="122"/>
                      <a:pt x="126" y="118"/>
                      <a:pt x="126" y="117"/>
                    </a:cubicBezTo>
                    <a:cubicBezTo>
                      <a:pt x="126" y="114"/>
                      <a:pt x="127" y="113"/>
                      <a:pt x="123" y="112"/>
                    </a:cubicBezTo>
                    <a:cubicBezTo>
                      <a:pt x="122" y="111"/>
                      <a:pt x="120" y="111"/>
                      <a:pt x="119" y="111"/>
                    </a:cubicBezTo>
                    <a:cubicBezTo>
                      <a:pt x="118" y="110"/>
                      <a:pt x="117" y="109"/>
                      <a:pt x="116" y="109"/>
                    </a:cubicBezTo>
                    <a:cubicBezTo>
                      <a:pt x="114" y="109"/>
                      <a:pt x="112" y="109"/>
                      <a:pt x="111" y="109"/>
                    </a:cubicBezTo>
                    <a:cubicBezTo>
                      <a:pt x="109" y="110"/>
                      <a:pt x="107" y="111"/>
                      <a:pt x="105" y="113"/>
                    </a:cubicBezTo>
                    <a:cubicBezTo>
                      <a:pt x="105" y="114"/>
                      <a:pt x="105" y="114"/>
                      <a:pt x="104" y="114"/>
                    </a:cubicBezTo>
                    <a:cubicBezTo>
                      <a:pt x="103" y="114"/>
                      <a:pt x="101" y="113"/>
                      <a:pt x="100" y="113"/>
                    </a:cubicBezTo>
                    <a:cubicBezTo>
                      <a:pt x="99" y="112"/>
                      <a:pt x="99" y="112"/>
                      <a:pt x="98" y="112"/>
                    </a:cubicBezTo>
                    <a:cubicBezTo>
                      <a:pt x="97" y="112"/>
                      <a:pt x="97" y="112"/>
                      <a:pt x="96" y="112"/>
                    </a:cubicBezTo>
                    <a:cubicBezTo>
                      <a:pt x="95" y="113"/>
                      <a:pt x="95" y="113"/>
                      <a:pt x="94" y="114"/>
                    </a:cubicBezTo>
                    <a:cubicBezTo>
                      <a:pt x="93" y="114"/>
                      <a:pt x="91" y="114"/>
                      <a:pt x="90" y="114"/>
                    </a:cubicBezTo>
                    <a:cubicBezTo>
                      <a:pt x="88" y="114"/>
                      <a:pt x="87" y="114"/>
                      <a:pt x="86" y="115"/>
                    </a:cubicBezTo>
                    <a:cubicBezTo>
                      <a:pt x="84" y="115"/>
                      <a:pt x="81" y="115"/>
                      <a:pt x="79" y="115"/>
                    </a:cubicBezTo>
                    <a:cubicBezTo>
                      <a:pt x="76" y="115"/>
                      <a:pt x="73" y="115"/>
                      <a:pt x="71" y="117"/>
                    </a:cubicBezTo>
                    <a:cubicBezTo>
                      <a:pt x="70" y="118"/>
                      <a:pt x="69" y="119"/>
                      <a:pt x="68" y="120"/>
                    </a:cubicBezTo>
                    <a:cubicBezTo>
                      <a:pt x="68" y="122"/>
                      <a:pt x="66" y="122"/>
                      <a:pt x="67" y="124"/>
                    </a:cubicBezTo>
                    <a:cubicBezTo>
                      <a:pt x="66" y="124"/>
                      <a:pt x="66" y="128"/>
                      <a:pt x="65" y="129"/>
                    </a:cubicBezTo>
                    <a:cubicBezTo>
                      <a:pt x="65" y="129"/>
                      <a:pt x="65" y="130"/>
                      <a:pt x="64" y="131"/>
                    </a:cubicBezTo>
                    <a:cubicBezTo>
                      <a:pt x="63" y="131"/>
                      <a:pt x="62" y="131"/>
                      <a:pt x="61" y="132"/>
                    </a:cubicBezTo>
                    <a:cubicBezTo>
                      <a:pt x="59" y="133"/>
                      <a:pt x="61" y="138"/>
                      <a:pt x="62" y="140"/>
                    </a:cubicBezTo>
                    <a:cubicBezTo>
                      <a:pt x="62" y="142"/>
                      <a:pt x="63" y="145"/>
                      <a:pt x="64" y="146"/>
                    </a:cubicBezTo>
                    <a:cubicBezTo>
                      <a:pt x="64" y="146"/>
                      <a:pt x="65" y="146"/>
                      <a:pt x="66" y="146"/>
                    </a:cubicBezTo>
                    <a:cubicBezTo>
                      <a:pt x="68" y="146"/>
                      <a:pt x="70" y="145"/>
                      <a:pt x="71" y="147"/>
                    </a:cubicBezTo>
                    <a:cubicBezTo>
                      <a:pt x="71" y="149"/>
                      <a:pt x="70" y="152"/>
                      <a:pt x="70" y="154"/>
                    </a:cubicBezTo>
                    <a:cubicBezTo>
                      <a:pt x="70" y="157"/>
                      <a:pt x="70" y="160"/>
                      <a:pt x="70" y="163"/>
                    </a:cubicBezTo>
                    <a:cubicBezTo>
                      <a:pt x="70" y="164"/>
                      <a:pt x="70" y="165"/>
                      <a:pt x="69" y="167"/>
                    </a:cubicBezTo>
                    <a:cubicBezTo>
                      <a:pt x="69" y="168"/>
                      <a:pt x="69" y="168"/>
                      <a:pt x="69" y="169"/>
                    </a:cubicBezTo>
                    <a:cubicBezTo>
                      <a:pt x="68" y="171"/>
                      <a:pt x="69" y="174"/>
                      <a:pt x="69" y="176"/>
                    </a:cubicBezTo>
                    <a:cubicBezTo>
                      <a:pt x="69" y="179"/>
                      <a:pt x="69" y="181"/>
                      <a:pt x="68" y="183"/>
                    </a:cubicBezTo>
                    <a:cubicBezTo>
                      <a:pt x="67" y="185"/>
                      <a:pt x="67" y="186"/>
                      <a:pt x="65" y="187"/>
                    </a:cubicBezTo>
                    <a:cubicBezTo>
                      <a:pt x="65" y="188"/>
                      <a:pt x="64" y="188"/>
                      <a:pt x="64" y="189"/>
                    </a:cubicBezTo>
                    <a:cubicBezTo>
                      <a:pt x="62" y="191"/>
                      <a:pt x="61" y="192"/>
                      <a:pt x="63" y="195"/>
                    </a:cubicBezTo>
                    <a:cubicBezTo>
                      <a:pt x="63" y="196"/>
                      <a:pt x="64" y="196"/>
                      <a:pt x="64" y="197"/>
                    </a:cubicBezTo>
                    <a:cubicBezTo>
                      <a:pt x="63" y="199"/>
                      <a:pt x="60" y="199"/>
                      <a:pt x="59" y="200"/>
                    </a:cubicBezTo>
                    <a:cubicBezTo>
                      <a:pt x="58" y="201"/>
                      <a:pt x="57" y="203"/>
                      <a:pt x="56" y="203"/>
                    </a:cubicBezTo>
                    <a:cubicBezTo>
                      <a:pt x="55" y="204"/>
                      <a:pt x="53" y="203"/>
                      <a:pt x="52" y="203"/>
                    </a:cubicBezTo>
                    <a:cubicBezTo>
                      <a:pt x="50" y="203"/>
                      <a:pt x="50" y="203"/>
                      <a:pt x="50" y="204"/>
                    </a:cubicBezTo>
                    <a:cubicBezTo>
                      <a:pt x="49" y="205"/>
                      <a:pt x="49" y="205"/>
                      <a:pt x="48" y="206"/>
                    </a:cubicBezTo>
                    <a:cubicBezTo>
                      <a:pt x="46" y="206"/>
                      <a:pt x="44" y="206"/>
                      <a:pt x="42" y="206"/>
                    </a:cubicBezTo>
                    <a:cubicBezTo>
                      <a:pt x="41" y="206"/>
                      <a:pt x="39" y="206"/>
                      <a:pt x="38" y="206"/>
                    </a:cubicBezTo>
                    <a:cubicBezTo>
                      <a:pt x="37" y="206"/>
                      <a:pt x="36" y="208"/>
                      <a:pt x="35" y="208"/>
                    </a:cubicBezTo>
                    <a:cubicBezTo>
                      <a:pt x="34" y="208"/>
                      <a:pt x="34" y="209"/>
                      <a:pt x="35" y="210"/>
                    </a:cubicBezTo>
                    <a:cubicBezTo>
                      <a:pt x="35" y="210"/>
                      <a:pt x="36" y="212"/>
                      <a:pt x="37" y="212"/>
                    </a:cubicBezTo>
                    <a:cubicBezTo>
                      <a:pt x="37" y="212"/>
                      <a:pt x="38" y="213"/>
                      <a:pt x="38" y="213"/>
                    </a:cubicBezTo>
                    <a:cubicBezTo>
                      <a:pt x="40" y="215"/>
                      <a:pt x="41" y="215"/>
                      <a:pt x="40" y="217"/>
                    </a:cubicBezTo>
                    <a:cubicBezTo>
                      <a:pt x="37" y="226"/>
                      <a:pt x="54" y="225"/>
                      <a:pt x="58" y="227"/>
                    </a:cubicBezTo>
                    <a:cubicBezTo>
                      <a:pt x="58" y="227"/>
                      <a:pt x="58" y="227"/>
                      <a:pt x="58" y="227"/>
                    </a:cubicBezTo>
                    <a:cubicBezTo>
                      <a:pt x="59" y="227"/>
                      <a:pt x="59" y="228"/>
                      <a:pt x="59" y="228"/>
                    </a:cubicBezTo>
                    <a:cubicBezTo>
                      <a:pt x="59" y="228"/>
                      <a:pt x="59" y="229"/>
                      <a:pt x="59" y="229"/>
                    </a:cubicBezTo>
                    <a:cubicBezTo>
                      <a:pt x="60" y="230"/>
                      <a:pt x="60" y="230"/>
                      <a:pt x="61" y="231"/>
                    </a:cubicBezTo>
                    <a:cubicBezTo>
                      <a:pt x="61" y="232"/>
                      <a:pt x="61" y="234"/>
                      <a:pt x="60" y="235"/>
                    </a:cubicBezTo>
                    <a:cubicBezTo>
                      <a:pt x="60" y="236"/>
                      <a:pt x="59" y="236"/>
                      <a:pt x="59" y="237"/>
                    </a:cubicBezTo>
                    <a:cubicBezTo>
                      <a:pt x="58" y="239"/>
                      <a:pt x="60" y="242"/>
                      <a:pt x="58" y="244"/>
                    </a:cubicBezTo>
                    <a:cubicBezTo>
                      <a:pt x="57" y="245"/>
                      <a:pt x="56" y="246"/>
                      <a:pt x="54" y="246"/>
                    </a:cubicBezTo>
                    <a:cubicBezTo>
                      <a:pt x="53" y="247"/>
                      <a:pt x="53" y="248"/>
                      <a:pt x="52" y="249"/>
                    </a:cubicBezTo>
                    <a:cubicBezTo>
                      <a:pt x="50" y="251"/>
                      <a:pt x="48" y="252"/>
                      <a:pt x="46" y="254"/>
                    </a:cubicBezTo>
                    <a:cubicBezTo>
                      <a:pt x="46" y="255"/>
                      <a:pt x="45" y="255"/>
                      <a:pt x="45" y="256"/>
                    </a:cubicBezTo>
                    <a:cubicBezTo>
                      <a:pt x="44" y="256"/>
                      <a:pt x="44" y="256"/>
                      <a:pt x="44" y="256"/>
                    </a:cubicBezTo>
                    <a:cubicBezTo>
                      <a:pt x="43" y="257"/>
                      <a:pt x="43" y="258"/>
                      <a:pt x="43" y="258"/>
                    </a:cubicBezTo>
                    <a:cubicBezTo>
                      <a:pt x="43" y="259"/>
                      <a:pt x="43" y="260"/>
                      <a:pt x="43" y="261"/>
                    </a:cubicBezTo>
                    <a:cubicBezTo>
                      <a:pt x="43" y="262"/>
                      <a:pt x="43" y="264"/>
                      <a:pt x="43" y="265"/>
                    </a:cubicBezTo>
                    <a:cubicBezTo>
                      <a:pt x="44" y="266"/>
                      <a:pt x="45" y="266"/>
                      <a:pt x="44" y="268"/>
                    </a:cubicBezTo>
                    <a:cubicBezTo>
                      <a:pt x="44" y="269"/>
                      <a:pt x="43" y="270"/>
                      <a:pt x="42" y="270"/>
                    </a:cubicBezTo>
                    <a:cubicBezTo>
                      <a:pt x="40" y="271"/>
                      <a:pt x="37" y="273"/>
                      <a:pt x="35" y="274"/>
                    </a:cubicBezTo>
                    <a:cubicBezTo>
                      <a:pt x="34" y="274"/>
                      <a:pt x="32" y="274"/>
                      <a:pt x="31" y="275"/>
                    </a:cubicBezTo>
                    <a:cubicBezTo>
                      <a:pt x="30" y="276"/>
                      <a:pt x="31" y="276"/>
                      <a:pt x="29" y="276"/>
                    </a:cubicBezTo>
                    <a:cubicBezTo>
                      <a:pt x="28" y="276"/>
                      <a:pt x="27" y="277"/>
                      <a:pt x="26" y="277"/>
                    </a:cubicBezTo>
                    <a:cubicBezTo>
                      <a:pt x="25" y="277"/>
                      <a:pt x="23" y="277"/>
                      <a:pt x="22" y="277"/>
                    </a:cubicBezTo>
                    <a:cubicBezTo>
                      <a:pt x="21" y="277"/>
                      <a:pt x="20" y="277"/>
                      <a:pt x="19" y="276"/>
                    </a:cubicBezTo>
                    <a:cubicBezTo>
                      <a:pt x="17" y="275"/>
                      <a:pt x="15" y="274"/>
                      <a:pt x="13" y="273"/>
                    </a:cubicBezTo>
                    <a:cubicBezTo>
                      <a:pt x="11" y="273"/>
                      <a:pt x="8" y="273"/>
                      <a:pt x="8" y="276"/>
                    </a:cubicBezTo>
                    <a:cubicBezTo>
                      <a:pt x="8" y="277"/>
                      <a:pt x="8" y="278"/>
                      <a:pt x="8" y="278"/>
                    </a:cubicBezTo>
                    <a:cubicBezTo>
                      <a:pt x="6" y="278"/>
                      <a:pt x="5" y="278"/>
                      <a:pt x="3" y="278"/>
                    </a:cubicBezTo>
                    <a:cubicBezTo>
                      <a:pt x="1" y="278"/>
                      <a:pt x="0" y="281"/>
                      <a:pt x="0" y="283"/>
                    </a:cubicBezTo>
                    <a:cubicBezTo>
                      <a:pt x="0" y="284"/>
                      <a:pt x="0" y="285"/>
                      <a:pt x="0" y="285"/>
                    </a:cubicBezTo>
                    <a:cubicBezTo>
                      <a:pt x="0" y="287"/>
                      <a:pt x="0" y="287"/>
                      <a:pt x="1" y="288"/>
                    </a:cubicBezTo>
                    <a:cubicBezTo>
                      <a:pt x="2" y="289"/>
                      <a:pt x="5" y="290"/>
                      <a:pt x="5" y="292"/>
                    </a:cubicBezTo>
                    <a:cubicBezTo>
                      <a:pt x="6" y="294"/>
                      <a:pt x="5" y="296"/>
                      <a:pt x="6" y="297"/>
                    </a:cubicBezTo>
                    <a:cubicBezTo>
                      <a:pt x="7" y="299"/>
                      <a:pt x="9" y="299"/>
                      <a:pt x="10" y="300"/>
                    </a:cubicBezTo>
                    <a:cubicBezTo>
                      <a:pt x="10" y="301"/>
                      <a:pt x="10" y="301"/>
                      <a:pt x="10" y="301"/>
                    </a:cubicBezTo>
                    <a:cubicBezTo>
                      <a:pt x="10" y="302"/>
                      <a:pt x="11" y="303"/>
                      <a:pt x="11" y="304"/>
                    </a:cubicBezTo>
                    <a:cubicBezTo>
                      <a:pt x="11" y="305"/>
                      <a:pt x="11" y="306"/>
                      <a:pt x="11" y="307"/>
                    </a:cubicBezTo>
                    <a:cubicBezTo>
                      <a:pt x="11" y="308"/>
                      <a:pt x="11" y="308"/>
                      <a:pt x="12" y="309"/>
                    </a:cubicBezTo>
                    <a:cubicBezTo>
                      <a:pt x="12" y="311"/>
                      <a:pt x="12" y="314"/>
                      <a:pt x="13" y="316"/>
                    </a:cubicBezTo>
                    <a:cubicBezTo>
                      <a:pt x="13" y="317"/>
                      <a:pt x="13" y="319"/>
                      <a:pt x="13" y="320"/>
                    </a:cubicBezTo>
                    <a:cubicBezTo>
                      <a:pt x="13" y="322"/>
                      <a:pt x="13" y="321"/>
                      <a:pt x="12" y="322"/>
                    </a:cubicBezTo>
                    <a:cubicBezTo>
                      <a:pt x="12" y="323"/>
                      <a:pt x="11" y="323"/>
                      <a:pt x="10" y="324"/>
                    </a:cubicBezTo>
                    <a:cubicBezTo>
                      <a:pt x="10" y="325"/>
                      <a:pt x="9" y="325"/>
                      <a:pt x="9" y="326"/>
                    </a:cubicBezTo>
                    <a:cubicBezTo>
                      <a:pt x="7" y="328"/>
                      <a:pt x="9" y="331"/>
                      <a:pt x="8" y="334"/>
                    </a:cubicBezTo>
                    <a:cubicBezTo>
                      <a:pt x="7" y="335"/>
                      <a:pt x="6" y="335"/>
                      <a:pt x="6" y="336"/>
                    </a:cubicBezTo>
                    <a:cubicBezTo>
                      <a:pt x="7" y="336"/>
                      <a:pt x="7" y="336"/>
                      <a:pt x="7" y="337"/>
                    </a:cubicBezTo>
                    <a:cubicBezTo>
                      <a:pt x="7" y="337"/>
                      <a:pt x="7" y="338"/>
                      <a:pt x="7" y="338"/>
                    </a:cubicBezTo>
                    <a:cubicBezTo>
                      <a:pt x="7" y="339"/>
                      <a:pt x="7" y="339"/>
                      <a:pt x="8" y="340"/>
                    </a:cubicBezTo>
                    <a:cubicBezTo>
                      <a:pt x="7" y="341"/>
                      <a:pt x="5" y="341"/>
                      <a:pt x="5" y="342"/>
                    </a:cubicBezTo>
                    <a:cubicBezTo>
                      <a:pt x="4" y="343"/>
                      <a:pt x="4" y="343"/>
                      <a:pt x="3" y="344"/>
                    </a:cubicBezTo>
                    <a:cubicBezTo>
                      <a:pt x="1" y="344"/>
                      <a:pt x="2" y="344"/>
                      <a:pt x="1" y="345"/>
                    </a:cubicBezTo>
                    <a:cubicBezTo>
                      <a:pt x="1" y="347"/>
                      <a:pt x="0" y="349"/>
                      <a:pt x="1" y="351"/>
                    </a:cubicBezTo>
                    <a:cubicBezTo>
                      <a:pt x="1" y="351"/>
                      <a:pt x="1" y="351"/>
                      <a:pt x="2" y="351"/>
                    </a:cubicBezTo>
                    <a:cubicBezTo>
                      <a:pt x="3" y="351"/>
                      <a:pt x="4" y="351"/>
                      <a:pt x="4" y="351"/>
                    </a:cubicBezTo>
                    <a:cubicBezTo>
                      <a:pt x="4" y="351"/>
                      <a:pt x="4" y="351"/>
                      <a:pt x="4" y="351"/>
                    </a:cubicBezTo>
                    <a:cubicBezTo>
                      <a:pt x="4" y="351"/>
                      <a:pt x="4" y="351"/>
                      <a:pt x="5" y="351"/>
                    </a:cubicBezTo>
                    <a:cubicBezTo>
                      <a:pt x="5" y="351"/>
                      <a:pt x="6" y="352"/>
                      <a:pt x="6" y="353"/>
                    </a:cubicBezTo>
                    <a:cubicBezTo>
                      <a:pt x="6" y="354"/>
                      <a:pt x="6" y="356"/>
                      <a:pt x="6" y="358"/>
                    </a:cubicBezTo>
                    <a:cubicBezTo>
                      <a:pt x="5" y="359"/>
                      <a:pt x="5" y="361"/>
                      <a:pt x="4" y="362"/>
                    </a:cubicBezTo>
                    <a:cubicBezTo>
                      <a:pt x="4" y="363"/>
                      <a:pt x="4" y="364"/>
                      <a:pt x="4" y="364"/>
                    </a:cubicBezTo>
                    <a:cubicBezTo>
                      <a:pt x="4" y="365"/>
                      <a:pt x="4" y="365"/>
                      <a:pt x="4" y="365"/>
                    </a:cubicBezTo>
                    <a:cubicBezTo>
                      <a:pt x="4" y="367"/>
                      <a:pt x="4" y="367"/>
                      <a:pt x="4" y="368"/>
                    </a:cubicBezTo>
                    <a:cubicBezTo>
                      <a:pt x="3" y="369"/>
                      <a:pt x="3" y="370"/>
                      <a:pt x="3" y="370"/>
                    </a:cubicBezTo>
                    <a:cubicBezTo>
                      <a:pt x="3" y="371"/>
                      <a:pt x="4" y="371"/>
                      <a:pt x="4" y="371"/>
                    </a:cubicBezTo>
                    <a:cubicBezTo>
                      <a:pt x="3" y="372"/>
                      <a:pt x="2" y="372"/>
                      <a:pt x="1" y="373"/>
                    </a:cubicBezTo>
                    <a:cubicBezTo>
                      <a:pt x="1" y="373"/>
                      <a:pt x="1" y="374"/>
                      <a:pt x="0" y="375"/>
                    </a:cubicBezTo>
                    <a:cubicBezTo>
                      <a:pt x="0" y="375"/>
                      <a:pt x="0" y="375"/>
                      <a:pt x="0" y="376"/>
                    </a:cubicBezTo>
                    <a:cubicBezTo>
                      <a:pt x="0" y="376"/>
                      <a:pt x="1" y="377"/>
                      <a:pt x="1" y="377"/>
                    </a:cubicBezTo>
                    <a:cubicBezTo>
                      <a:pt x="2" y="377"/>
                      <a:pt x="3" y="378"/>
                      <a:pt x="3" y="379"/>
                    </a:cubicBezTo>
                    <a:cubicBezTo>
                      <a:pt x="3" y="379"/>
                      <a:pt x="3" y="380"/>
                      <a:pt x="3" y="380"/>
                    </a:cubicBezTo>
                    <a:cubicBezTo>
                      <a:pt x="3" y="381"/>
                      <a:pt x="3" y="382"/>
                      <a:pt x="3" y="383"/>
                    </a:cubicBezTo>
                    <a:cubicBezTo>
                      <a:pt x="2" y="385"/>
                      <a:pt x="2" y="388"/>
                      <a:pt x="3" y="390"/>
                    </a:cubicBezTo>
                    <a:cubicBezTo>
                      <a:pt x="5" y="391"/>
                      <a:pt x="6" y="392"/>
                      <a:pt x="8" y="393"/>
                    </a:cubicBezTo>
                    <a:cubicBezTo>
                      <a:pt x="9" y="393"/>
                      <a:pt x="9" y="393"/>
                      <a:pt x="10" y="394"/>
                    </a:cubicBezTo>
                    <a:cubicBezTo>
                      <a:pt x="11" y="395"/>
                      <a:pt x="12" y="395"/>
                      <a:pt x="14" y="396"/>
                    </a:cubicBezTo>
                    <a:cubicBezTo>
                      <a:pt x="14" y="396"/>
                      <a:pt x="15" y="397"/>
                      <a:pt x="15" y="397"/>
                    </a:cubicBezTo>
                    <a:cubicBezTo>
                      <a:pt x="17" y="397"/>
                      <a:pt x="18" y="397"/>
                      <a:pt x="19" y="399"/>
                    </a:cubicBezTo>
                    <a:cubicBezTo>
                      <a:pt x="20" y="401"/>
                      <a:pt x="19" y="403"/>
                      <a:pt x="19" y="405"/>
                    </a:cubicBezTo>
                    <a:cubicBezTo>
                      <a:pt x="18" y="406"/>
                      <a:pt x="18" y="407"/>
                      <a:pt x="17" y="409"/>
                    </a:cubicBezTo>
                    <a:cubicBezTo>
                      <a:pt x="16" y="411"/>
                      <a:pt x="14" y="412"/>
                      <a:pt x="13" y="414"/>
                    </a:cubicBezTo>
                    <a:cubicBezTo>
                      <a:pt x="13" y="414"/>
                      <a:pt x="13" y="414"/>
                      <a:pt x="13" y="414"/>
                    </a:cubicBezTo>
                    <a:cubicBezTo>
                      <a:pt x="13" y="414"/>
                      <a:pt x="13" y="414"/>
                      <a:pt x="13" y="414"/>
                    </a:cubicBezTo>
                    <a:cubicBezTo>
                      <a:pt x="12" y="416"/>
                      <a:pt x="10" y="417"/>
                      <a:pt x="10" y="419"/>
                    </a:cubicBezTo>
                    <a:cubicBezTo>
                      <a:pt x="10" y="420"/>
                      <a:pt x="10" y="420"/>
                      <a:pt x="10" y="420"/>
                    </a:cubicBezTo>
                    <a:cubicBezTo>
                      <a:pt x="10" y="422"/>
                      <a:pt x="9" y="423"/>
                      <a:pt x="8" y="424"/>
                    </a:cubicBezTo>
                    <a:cubicBezTo>
                      <a:pt x="7" y="426"/>
                      <a:pt x="7" y="428"/>
                      <a:pt x="7" y="430"/>
                    </a:cubicBezTo>
                    <a:cubicBezTo>
                      <a:pt x="7" y="432"/>
                      <a:pt x="8" y="433"/>
                      <a:pt x="8" y="435"/>
                    </a:cubicBezTo>
                    <a:cubicBezTo>
                      <a:pt x="9" y="436"/>
                      <a:pt x="8" y="438"/>
                      <a:pt x="9" y="439"/>
                    </a:cubicBezTo>
                    <a:cubicBezTo>
                      <a:pt x="10" y="441"/>
                      <a:pt x="11" y="442"/>
                      <a:pt x="12" y="444"/>
                    </a:cubicBezTo>
                    <a:cubicBezTo>
                      <a:pt x="12" y="445"/>
                      <a:pt x="12" y="447"/>
                      <a:pt x="14" y="448"/>
                    </a:cubicBezTo>
                    <a:cubicBezTo>
                      <a:pt x="15" y="448"/>
                      <a:pt x="16" y="448"/>
                      <a:pt x="17" y="449"/>
                    </a:cubicBezTo>
                    <a:cubicBezTo>
                      <a:pt x="17" y="450"/>
                      <a:pt x="18" y="451"/>
                      <a:pt x="19" y="452"/>
                    </a:cubicBezTo>
                    <a:cubicBezTo>
                      <a:pt x="20" y="454"/>
                      <a:pt x="22" y="455"/>
                      <a:pt x="23" y="456"/>
                    </a:cubicBezTo>
                    <a:cubicBezTo>
                      <a:pt x="25" y="457"/>
                      <a:pt x="26" y="457"/>
                      <a:pt x="28" y="457"/>
                    </a:cubicBezTo>
                    <a:cubicBezTo>
                      <a:pt x="29" y="457"/>
                      <a:pt x="31" y="457"/>
                      <a:pt x="31" y="459"/>
                    </a:cubicBezTo>
                    <a:cubicBezTo>
                      <a:pt x="29" y="459"/>
                      <a:pt x="26" y="461"/>
                      <a:pt x="24" y="462"/>
                    </a:cubicBezTo>
                    <a:cubicBezTo>
                      <a:pt x="23" y="463"/>
                      <a:pt x="22" y="464"/>
                      <a:pt x="22" y="466"/>
                    </a:cubicBezTo>
                    <a:cubicBezTo>
                      <a:pt x="21" y="467"/>
                      <a:pt x="20" y="468"/>
                      <a:pt x="19" y="470"/>
                    </a:cubicBezTo>
                    <a:cubicBezTo>
                      <a:pt x="17" y="473"/>
                      <a:pt x="16" y="477"/>
                      <a:pt x="15" y="482"/>
                    </a:cubicBezTo>
                    <a:cubicBezTo>
                      <a:pt x="15" y="482"/>
                      <a:pt x="15" y="482"/>
                      <a:pt x="15" y="482"/>
                    </a:cubicBezTo>
                    <a:cubicBezTo>
                      <a:pt x="21" y="485"/>
                      <a:pt x="26" y="487"/>
                      <a:pt x="30" y="493"/>
                    </a:cubicBezTo>
                    <a:cubicBezTo>
                      <a:pt x="31" y="494"/>
                      <a:pt x="33" y="495"/>
                      <a:pt x="33" y="496"/>
                    </a:cubicBezTo>
                    <a:cubicBezTo>
                      <a:pt x="34" y="498"/>
                      <a:pt x="34" y="498"/>
                      <a:pt x="34" y="500"/>
                    </a:cubicBezTo>
                    <a:cubicBezTo>
                      <a:pt x="36" y="503"/>
                      <a:pt x="36" y="505"/>
                      <a:pt x="40" y="506"/>
                    </a:cubicBezTo>
                    <a:cubicBezTo>
                      <a:pt x="44" y="506"/>
                      <a:pt x="46" y="503"/>
                      <a:pt x="50" y="502"/>
                    </a:cubicBezTo>
                    <a:cubicBezTo>
                      <a:pt x="53" y="501"/>
                      <a:pt x="56" y="501"/>
                      <a:pt x="60" y="501"/>
                    </a:cubicBezTo>
                    <a:cubicBezTo>
                      <a:pt x="67" y="501"/>
                      <a:pt x="73" y="501"/>
                      <a:pt x="79" y="505"/>
                    </a:cubicBezTo>
                    <a:cubicBezTo>
                      <a:pt x="81" y="507"/>
                      <a:pt x="81" y="510"/>
                      <a:pt x="84" y="513"/>
                    </a:cubicBezTo>
                    <a:cubicBezTo>
                      <a:pt x="84" y="513"/>
                      <a:pt x="85" y="513"/>
                      <a:pt x="86" y="514"/>
                    </a:cubicBezTo>
                    <a:cubicBezTo>
                      <a:pt x="87" y="514"/>
                      <a:pt x="86" y="515"/>
                      <a:pt x="87" y="515"/>
                    </a:cubicBezTo>
                    <a:cubicBezTo>
                      <a:pt x="90" y="516"/>
                      <a:pt x="96" y="515"/>
                      <a:pt x="99" y="515"/>
                    </a:cubicBezTo>
                    <a:cubicBezTo>
                      <a:pt x="102" y="515"/>
                      <a:pt x="105" y="515"/>
                      <a:pt x="108" y="516"/>
                    </a:cubicBezTo>
                    <a:cubicBezTo>
                      <a:pt x="107" y="516"/>
                      <a:pt x="111" y="518"/>
                      <a:pt x="110" y="518"/>
                    </a:cubicBezTo>
                    <a:cubicBezTo>
                      <a:pt x="111" y="519"/>
                      <a:pt x="112" y="520"/>
                      <a:pt x="113" y="520"/>
                    </a:cubicBezTo>
                    <a:cubicBezTo>
                      <a:pt x="115" y="521"/>
                      <a:pt x="117" y="520"/>
                      <a:pt x="119" y="523"/>
                    </a:cubicBezTo>
                    <a:cubicBezTo>
                      <a:pt x="120" y="525"/>
                      <a:pt x="120" y="528"/>
                      <a:pt x="119" y="530"/>
                    </a:cubicBezTo>
                    <a:cubicBezTo>
                      <a:pt x="118" y="535"/>
                      <a:pt x="115" y="539"/>
                      <a:pt x="111" y="542"/>
                    </a:cubicBezTo>
                    <a:cubicBezTo>
                      <a:pt x="106" y="546"/>
                      <a:pt x="104" y="549"/>
                      <a:pt x="102" y="555"/>
                    </a:cubicBezTo>
                    <a:cubicBezTo>
                      <a:pt x="101" y="557"/>
                      <a:pt x="101" y="558"/>
                      <a:pt x="98" y="560"/>
                    </a:cubicBezTo>
                    <a:cubicBezTo>
                      <a:pt x="97" y="561"/>
                      <a:pt x="96" y="561"/>
                      <a:pt x="95" y="563"/>
                    </a:cubicBezTo>
                    <a:cubicBezTo>
                      <a:pt x="92" y="567"/>
                      <a:pt x="93" y="572"/>
                      <a:pt x="92" y="577"/>
                    </a:cubicBezTo>
                    <a:cubicBezTo>
                      <a:pt x="90" y="583"/>
                      <a:pt x="92" y="588"/>
                      <a:pt x="87" y="593"/>
                    </a:cubicBezTo>
                    <a:cubicBezTo>
                      <a:pt x="83" y="598"/>
                      <a:pt x="84" y="603"/>
                      <a:pt x="84" y="609"/>
                    </a:cubicBezTo>
                    <a:cubicBezTo>
                      <a:pt x="84" y="617"/>
                      <a:pt x="84" y="624"/>
                      <a:pt x="84" y="632"/>
                    </a:cubicBezTo>
                    <a:cubicBezTo>
                      <a:pt x="84" y="634"/>
                      <a:pt x="85" y="636"/>
                      <a:pt x="86" y="637"/>
                    </a:cubicBezTo>
                    <a:cubicBezTo>
                      <a:pt x="86" y="637"/>
                      <a:pt x="86" y="637"/>
                      <a:pt x="86" y="637"/>
                    </a:cubicBezTo>
                    <a:cubicBezTo>
                      <a:pt x="87" y="638"/>
                      <a:pt x="87" y="638"/>
                      <a:pt x="87" y="639"/>
                    </a:cubicBezTo>
                    <a:cubicBezTo>
                      <a:pt x="88" y="639"/>
                      <a:pt x="88" y="639"/>
                      <a:pt x="88" y="639"/>
                    </a:cubicBezTo>
                    <a:cubicBezTo>
                      <a:pt x="89" y="640"/>
                      <a:pt x="90" y="640"/>
                      <a:pt x="91" y="640"/>
                    </a:cubicBezTo>
                    <a:cubicBezTo>
                      <a:pt x="94" y="641"/>
                      <a:pt x="96" y="641"/>
                      <a:pt x="98" y="640"/>
                    </a:cubicBezTo>
                    <a:cubicBezTo>
                      <a:pt x="99" y="639"/>
                      <a:pt x="101" y="639"/>
                      <a:pt x="102" y="639"/>
                    </a:cubicBezTo>
                    <a:cubicBezTo>
                      <a:pt x="103" y="639"/>
                      <a:pt x="104" y="640"/>
                      <a:pt x="104" y="640"/>
                    </a:cubicBezTo>
                    <a:cubicBezTo>
                      <a:pt x="107" y="640"/>
                      <a:pt x="108" y="638"/>
                      <a:pt x="110" y="637"/>
                    </a:cubicBezTo>
                    <a:cubicBezTo>
                      <a:pt x="111" y="637"/>
                      <a:pt x="112" y="637"/>
                      <a:pt x="112" y="635"/>
                    </a:cubicBezTo>
                    <a:cubicBezTo>
                      <a:pt x="112" y="634"/>
                      <a:pt x="112" y="634"/>
                      <a:pt x="112" y="633"/>
                    </a:cubicBezTo>
                    <a:cubicBezTo>
                      <a:pt x="113" y="632"/>
                      <a:pt x="114" y="630"/>
                      <a:pt x="115" y="630"/>
                    </a:cubicBezTo>
                    <a:cubicBezTo>
                      <a:pt x="117" y="631"/>
                      <a:pt x="116" y="633"/>
                      <a:pt x="117" y="634"/>
                    </a:cubicBezTo>
                    <a:cubicBezTo>
                      <a:pt x="118" y="635"/>
                      <a:pt x="118" y="636"/>
                      <a:pt x="120" y="636"/>
                    </a:cubicBezTo>
                    <a:cubicBezTo>
                      <a:pt x="123" y="636"/>
                      <a:pt x="123" y="633"/>
                      <a:pt x="123" y="630"/>
                    </a:cubicBezTo>
                    <a:cubicBezTo>
                      <a:pt x="123" y="628"/>
                      <a:pt x="125" y="625"/>
                      <a:pt x="127" y="623"/>
                    </a:cubicBezTo>
                    <a:cubicBezTo>
                      <a:pt x="128" y="622"/>
                      <a:pt x="131" y="622"/>
                      <a:pt x="133" y="622"/>
                    </a:cubicBezTo>
                    <a:cubicBezTo>
                      <a:pt x="134" y="622"/>
                      <a:pt x="135" y="622"/>
                      <a:pt x="135" y="622"/>
                    </a:cubicBezTo>
                    <a:cubicBezTo>
                      <a:pt x="136" y="622"/>
                      <a:pt x="137" y="623"/>
                      <a:pt x="137" y="623"/>
                    </a:cubicBezTo>
                    <a:cubicBezTo>
                      <a:pt x="138" y="623"/>
                      <a:pt x="139" y="623"/>
                      <a:pt x="139" y="623"/>
                    </a:cubicBezTo>
                    <a:cubicBezTo>
                      <a:pt x="140" y="623"/>
                      <a:pt x="141" y="623"/>
                      <a:pt x="141" y="624"/>
                    </a:cubicBezTo>
                    <a:cubicBezTo>
                      <a:pt x="143" y="625"/>
                      <a:pt x="146" y="626"/>
                      <a:pt x="147" y="627"/>
                    </a:cubicBezTo>
                    <a:cubicBezTo>
                      <a:pt x="148" y="627"/>
                      <a:pt x="148" y="628"/>
                      <a:pt x="149" y="629"/>
                    </a:cubicBezTo>
                    <a:cubicBezTo>
                      <a:pt x="151" y="630"/>
                      <a:pt x="153" y="631"/>
                      <a:pt x="155" y="631"/>
                    </a:cubicBezTo>
                    <a:cubicBezTo>
                      <a:pt x="157" y="631"/>
                      <a:pt x="158" y="630"/>
                      <a:pt x="160" y="630"/>
                    </a:cubicBezTo>
                    <a:cubicBezTo>
                      <a:pt x="161" y="629"/>
                      <a:pt x="162" y="629"/>
                      <a:pt x="163" y="629"/>
                    </a:cubicBezTo>
                    <a:cubicBezTo>
                      <a:pt x="165" y="629"/>
                      <a:pt x="164" y="629"/>
                      <a:pt x="165" y="630"/>
                    </a:cubicBezTo>
                    <a:cubicBezTo>
                      <a:pt x="166" y="631"/>
                      <a:pt x="167" y="632"/>
                      <a:pt x="168" y="632"/>
                    </a:cubicBezTo>
                    <a:cubicBezTo>
                      <a:pt x="169" y="633"/>
                      <a:pt x="171" y="634"/>
                      <a:pt x="172" y="634"/>
                    </a:cubicBezTo>
                    <a:cubicBezTo>
                      <a:pt x="172" y="635"/>
                      <a:pt x="172" y="635"/>
                      <a:pt x="173" y="635"/>
                    </a:cubicBezTo>
                    <a:cubicBezTo>
                      <a:pt x="174" y="637"/>
                      <a:pt x="175" y="637"/>
                      <a:pt x="176" y="637"/>
                    </a:cubicBezTo>
                    <a:cubicBezTo>
                      <a:pt x="178" y="638"/>
                      <a:pt x="180" y="638"/>
                      <a:pt x="182" y="639"/>
                    </a:cubicBezTo>
                    <a:cubicBezTo>
                      <a:pt x="183" y="639"/>
                      <a:pt x="183" y="639"/>
                      <a:pt x="184" y="639"/>
                    </a:cubicBezTo>
                    <a:cubicBezTo>
                      <a:pt x="185" y="639"/>
                      <a:pt x="187" y="639"/>
                      <a:pt x="188" y="639"/>
                    </a:cubicBezTo>
                    <a:cubicBezTo>
                      <a:pt x="189" y="639"/>
                      <a:pt x="189" y="640"/>
                      <a:pt x="189" y="640"/>
                    </a:cubicBezTo>
                    <a:cubicBezTo>
                      <a:pt x="189" y="640"/>
                      <a:pt x="190" y="640"/>
                      <a:pt x="191" y="640"/>
                    </a:cubicBezTo>
                    <a:cubicBezTo>
                      <a:pt x="194" y="640"/>
                      <a:pt x="197" y="640"/>
                      <a:pt x="200" y="640"/>
                    </a:cubicBezTo>
                    <a:cubicBezTo>
                      <a:pt x="201" y="640"/>
                      <a:pt x="203" y="639"/>
                      <a:pt x="204" y="640"/>
                    </a:cubicBezTo>
                    <a:cubicBezTo>
                      <a:pt x="206" y="642"/>
                      <a:pt x="206" y="644"/>
                      <a:pt x="207" y="646"/>
                    </a:cubicBezTo>
                    <a:cubicBezTo>
                      <a:pt x="208" y="647"/>
                      <a:pt x="208" y="647"/>
                      <a:pt x="210" y="648"/>
                    </a:cubicBezTo>
                    <a:cubicBezTo>
                      <a:pt x="211" y="648"/>
                      <a:pt x="213" y="647"/>
                      <a:pt x="214" y="648"/>
                    </a:cubicBezTo>
                    <a:cubicBezTo>
                      <a:pt x="214" y="649"/>
                      <a:pt x="214" y="649"/>
                      <a:pt x="215" y="649"/>
                    </a:cubicBezTo>
                    <a:cubicBezTo>
                      <a:pt x="215" y="650"/>
                      <a:pt x="215" y="651"/>
                      <a:pt x="215" y="652"/>
                    </a:cubicBezTo>
                    <a:cubicBezTo>
                      <a:pt x="215" y="653"/>
                      <a:pt x="215" y="652"/>
                      <a:pt x="216" y="653"/>
                    </a:cubicBezTo>
                    <a:cubicBezTo>
                      <a:pt x="217" y="655"/>
                      <a:pt x="220" y="656"/>
                      <a:pt x="222" y="657"/>
                    </a:cubicBezTo>
                    <a:cubicBezTo>
                      <a:pt x="225" y="659"/>
                      <a:pt x="226" y="661"/>
                      <a:pt x="230" y="659"/>
                    </a:cubicBezTo>
                    <a:cubicBezTo>
                      <a:pt x="231" y="659"/>
                      <a:pt x="232" y="657"/>
                      <a:pt x="232" y="656"/>
                    </a:cubicBezTo>
                    <a:cubicBezTo>
                      <a:pt x="233" y="656"/>
                      <a:pt x="233" y="655"/>
                      <a:pt x="233" y="655"/>
                    </a:cubicBezTo>
                    <a:cubicBezTo>
                      <a:pt x="234" y="651"/>
                      <a:pt x="230" y="649"/>
                      <a:pt x="229" y="646"/>
                    </a:cubicBezTo>
                    <a:cubicBezTo>
                      <a:pt x="229" y="643"/>
                      <a:pt x="229" y="642"/>
                      <a:pt x="232" y="641"/>
                    </a:cubicBezTo>
                    <a:cubicBezTo>
                      <a:pt x="236" y="640"/>
                      <a:pt x="240" y="642"/>
                      <a:pt x="244" y="641"/>
                    </a:cubicBezTo>
                    <a:cubicBezTo>
                      <a:pt x="247" y="641"/>
                      <a:pt x="250" y="640"/>
                      <a:pt x="252" y="643"/>
                    </a:cubicBezTo>
                    <a:cubicBezTo>
                      <a:pt x="253" y="644"/>
                      <a:pt x="253" y="646"/>
                      <a:pt x="255" y="646"/>
                    </a:cubicBezTo>
                    <a:cubicBezTo>
                      <a:pt x="255" y="646"/>
                      <a:pt x="255" y="646"/>
                      <a:pt x="255" y="646"/>
                    </a:cubicBezTo>
                    <a:cubicBezTo>
                      <a:pt x="257" y="646"/>
                      <a:pt x="263" y="648"/>
                      <a:pt x="263" y="650"/>
                    </a:cubicBezTo>
                    <a:cubicBezTo>
                      <a:pt x="264" y="651"/>
                      <a:pt x="268" y="651"/>
                      <a:pt x="267" y="651"/>
                    </a:cubicBezTo>
                    <a:cubicBezTo>
                      <a:pt x="270" y="651"/>
                      <a:pt x="273" y="651"/>
                      <a:pt x="275" y="651"/>
                    </a:cubicBezTo>
                    <a:cubicBezTo>
                      <a:pt x="277" y="650"/>
                      <a:pt x="278" y="649"/>
                      <a:pt x="279" y="649"/>
                    </a:cubicBezTo>
                    <a:cubicBezTo>
                      <a:pt x="281" y="648"/>
                      <a:pt x="282" y="650"/>
                      <a:pt x="284" y="650"/>
                    </a:cubicBezTo>
                    <a:cubicBezTo>
                      <a:pt x="285" y="649"/>
                      <a:pt x="286" y="647"/>
                      <a:pt x="287" y="646"/>
                    </a:cubicBezTo>
                    <a:cubicBezTo>
                      <a:pt x="288" y="645"/>
                      <a:pt x="288" y="644"/>
                      <a:pt x="289" y="643"/>
                    </a:cubicBezTo>
                    <a:cubicBezTo>
                      <a:pt x="291" y="641"/>
                      <a:pt x="295" y="642"/>
                      <a:pt x="298" y="642"/>
                    </a:cubicBezTo>
                    <a:cubicBezTo>
                      <a:pt x="299" y="642"/>
                      <a:pt x="301" y="643"/>
                      <a:pt x="302" y="641"/>
                    </a:cubicBezTo>
                    <a:cubicBezTo>
                      <a:pt x="302" y="640"/>
                      <a:pt x="301" y="639"/>
                      <a:pt x="302" y="637"/>
                    </a:cubicBezTo>
                    <a:cubicBezTo>
                      <a:pt x="302" y="636"/>
                      <a:pt x="303" y="636"/>
                      <a:pt x="305" y="636"/>
                    </a:cubicBezTo>
                    <a:cubicBezTo>
                      <a:pt x="308" y="636"/>
                      <a:pt x="312" y="636"/>
                      <a:pt x="316" y="637"/>
                    </a:cubicBezTo>
                    <a:cubicBezTo>
                      <a:pt x="318" y="637"/>
                      <a:pt x="320" y="637"/>
                      <a:pt x="323" y="637"/>
                    </a:cubicBezTo>
                    <a:cubicBezTo>
                      <a:pt x="324" y="637"/>
                      <a:pt x="324" y="637"/>
                      <a:pt x="325" y="637"/>
                    </a:cubicBezTo>
                    <a:cubicBezTo>
                      <a:pt x="325" y="636"/>
                      <a:pt x="326" y="636"/>
                      <a:pt x="327" y="636"/>
                    </a:cubicBezTo>
                    <a:cubicBezTo>
                      <a:pt x="328" y="636"/>
                      <a:pt x="328" y="636"/>
                      <a:pt x="329" y="636"/>
                    </a:cubicBezTo>
                    <a:cubicBezTo>
                      <a:pt x="332" y="634"/>
                      <a:pt x="326" y="632"/>
                      <a:pt x="327" y="629"/>
                    </a:cubicBezTo>
                    <a:cubicBezTo>
                      <a:pt x="327" y="628"/>
                      <a:pt x="329" y="628"/>
                      <a:pt x="330" y="628"/>
                    </a:cubicBezTo>
                    <a:cubicBezTo>
                      <a:pt x="332" y="628"/>
                      <a:pt x="334" y="628"/>
                      <a:pt x="336" y="628"/>
                    </a:cubicBezTo>
                    <a:cubicBezTo>
                      <a:pt x="337" y="628"/>
                      <a:pt x="340" y="629"/>
                      <a:pt x="341" y="629"/>
                    </a:cubicBezTo>
                    <a:cubicBezTo>
                      <a:pt x="342" y="630"/>
                      <a:pt x="342" y="631"/>
                      <a:pt x="343" y="632"/>
                    </a:cubicBezTo>
                    <a:cubicBezTo>
                      <a:pt x="344" y="633"/>
                      <a:pt x="347" y="632"/>
                      <a:pt x="348" y="632"/>
                    </a:cubicBezTo>
                    <a:cubicBezTo>
                      <a:pt x="351" y="632"/>
                      <a:pt x="353" y="630"/>
                      <a:pt x="355" y="630"/>
                    </a:cubicBezTo>
                    <a:cubicBezTo>
                      <a:pt x="357" y="631"/>
                      <a:pt x="356" y="631"/>
                      <a:pt x="357" y="631"/>
                    </a:cubicBezTo>
                    <a:cubicBezTo>
                      <a:pt x="358" y="632"/>
                      <a:pt x="359" y="634"/>
                      <a:pt x="360" y="635"/>
                    </a:cubicBezTo>
                    <a:cubicBezTo>
                      <a:pt x="361" y="636"/>
                      <a:pt x="362" y="638"/>
                      <a:pt x="362" y="639"/>
                    </a:cubicBezTo>
                    <a:cubicBezTo>
                      <a:pt x="362" y="639"/>
                      <a:pt x="362" y="640"/>
                      <a:pt x="362" y="640"/>
                    </a:cubicBezTo>
                    <a:cubicBezTo>
                      <a:pt x="363" y="642"/>
                      <a:pt x="365" y="641"/>
                      <a:pt x="366" y="641"/>
                    </a:cubicBezTo>
                    <a:cubicBezTo>
                      <a:pt x="367" y="641"/>
                      <a:pt x="367" y="642"/>
                      <a:pt x="368" y="642"/>
                    </a:cubicBezTo>
                    <a:cubicBezTo>
                      <a:pt x="369" y="642"/>
                      <a:pt x="371" y="642"/>
                      <a:pt x="372" y="642"/>
                    </a:cubicBezTo>
                    <a:cubicBezTo>
                      <a:pt x="373" y="641"/>
                      <a:pt x="373" y="641"/>
                      <a:pt x="374" y="640"/>
                    </a:cubicBezTo>
                    <a:cubicBezTo>
                      <a:pt x="375" y="639"/>
                      <a:pt x="375" y="638"/>
                      <a:pt x="375" y="637"/>
                    </a:cubicBezTo>
                    <a:cubicBezTo>
                      <a:pt x="375" y="636"/>
                      <a:pt x="375" y="635"/>
                      <a:pt x="375" y="634"/>
                    </a:cubicBezTo>
                    <a:cubicBezTo>
                      <a:pt x="376" y="633"/>
                      <a:pt x="378" y="630"/>
                      <a:pt x="375" y="629"/>
                    </a:cubicBezTo>
                    <a:cubicBezTo>
                      <a:pt x="373" y="628"/>
                      <a:pt x="371" y="628"/>
                      <a:pt x="369" y="626"/>
                    </a:cubicBezTo>
                    <a:cubicBezTo>
                      <a:pt x="368" y="625"/>
                      <a:pt x="368" y="625"/>
                      <a:pt x="368" y="624"/>
                    </a:cubicBezTo>
                    <a:cubicBezTo>
                      <a:pt x="368" y="623"/>
                      <a:pt x="367" y="623"/>
                      <a:pt x="367" y="623"/>
                    </a:cubicBezTo>
                    <a:cubicBezTo>
                      <a:pt x="367" y="622"/>
                      <a:pt x="368" y="621"/>
                      <a:pt x="368" y="620"/>
                    </a:cubicBezTo>
                    <a:cubicBezTo>
                      <a:pt x="368" y="619"/>
                      <a:pt x="369" y="619"/>
                      <a:pt x="370" y="618"/>
                    </a:cubicBezTo>
                    <a:cubicBezTo>
                      <a:pt x="371" y="618"/>
                      <a:pt x="371" y="617"/>
                      <a:pt x="372" y="616"/>
                    </a:cubicBezTo>
                    <a:cubicBezTo>
                      <a:pt x="372" y="614"/>
                      <a:pt x="373" y="612"/>
                      <a:pt x="372" y="611"/>
                    </a:cubicBezTo>
                    <a:cubicBezTo>
                      <a:pt x="371" y="610"/>
                      <a:pt x="370" y="609"/>
                      <a:pt x="369" y="608"/>
                    </a:cubicBezTo>
                    <a:cubicBezTo>
                      <a:pt x="369" y="608"/>
                      <a:pt x="368" y="607"/>
                      <a:pt x="368" y="607"/>
                    </a:cubicBezTo>
                    <a:cubicBezTo>
                      <a:pt x="367" y="606"/>
                      <a:pt x="366" y="606"/>
                      <a:pt x="366" y="606"/>
                    </a:cubicBezTo>
                    <a:cubicBezTo>
                      <a:pt x="366" y="606"/>
                      <a:pt x="366" y="605"/>
                      <a:pt x="365" y="604"/>
                    </a:cubicBezTo>
                    <a:cubicBezTo>
                      <a:pt x="365" y="604"/>
                      <a:pt x="365" y="604"/>
                      <a:pt x="364" y="603"/>
                    </a:cubicBezTo>
                    <a:cubicBezTo>
                      <a:pt x="364" y="603"/>
                      <a:pt x="363" y="602"/>
                      <a:pt x="363" y="601"/>
                    </a:cubicBezTo>
                    <a:cubicBezTo>
                      <a:pt x="363" y="598"/>
                      <a:pt x="363" y="595"/>
                      <a:pt x="363" y="593"/>
                    </a:cubicBezTo>
                    <a:cubicBezTo>
                      <a:pt x="362" y="592"/>
                      <a:pt x="362" y="592"/>
                      <a:pt x="362" y="592"/>
                    </a:cubicBezTo>
                    <a:cubicBezTo>
                      <a:pt x="362" y="591"/>
                      <a:pt x="362" y="590"/>
                      <a:pt x="362" y="589"/>
                    </a:cubicBezTo>
                    <a:cubicBezTo>
                      <a:pt x="362" y="588"/>
                      <a:pt x="361" y="587"/>
                      <a:pt x="362" y="586"/>
                    </a:cubicBezTo>
                    <a:cubicBezTo>
                      <a:pt x="363" y="586"/>
                      <a:pt x="364" y="586"/>
                      <a:pt x="365" y="585"/>
                    </a:cubicBezTo>
                    <a:cubicBezTo>
                      <a:pt x="365" y="585"/>
                      <a:pt x="366" y="584"/>
                      <a:pt x="367" y="583"/>
                    </a:cubicBezTo>
                    <a:cubicBezTo>
                      <a:pt x="368" y="582"/>
                      <a:pt x="370" y="581"/>
                      <a:pt x="372" y="581"/>
                    </a:cubicBezTo>
                    <a:cubicBezTo>
                      <a:pt x="374" y="581"/>
                      <a:pt x="376" y="580"/>
                      <a:pt x="378" y="579"/>
                    </a:cubicBezTo>
                    <a:cubicBezTo>
                      <a:pt x="380" y="578"/>
                      <a:pt x="382" y="577"/>
                      <a:pt x="384" y="577"/>
                    </a:cubicBezTo>
                    <a:cubicBezTo>
                      <a:pt x="388" y="577"/>
                      <a:pt x="392" y="577"/>
                      <a:pt x="395" y="575"/>
                    </a:cubicBezTo>
                    <a:cubicBezTo>
                      <a:pt x="396" y="574"/>
                      <a:pt x="397" y="574"/>
                      <a:pt x="397" y="573"/>
                    </a:cubicBezTo>
                    <a:cubicBezTo>
                      <a:pt x="398" y="572"/>
                      <a:pt x="398" y="572"/>
                      <a:pt x="398" y="571"/>
                    </a:cubicBezTo>
                    <a:cubicBezTo>
                      <a:pt x="398" y="571"/>
                      <a:pt x="398" y="570"/>
                      <a:pt x="398" y="570"/>
                    </a:cubicBezTo>
                    <a:cubicBezTo>
                      <a:pt x="398" y="569"/>
                      <a:pt x="398" y="568"/>
                      <a:pt x="399" y="568"/>
                    </a:cubicBezTo>
                    <a:cubicBezTo>
                      <a:pt x="399" y="567"/>
                      <a:pt x="399" y="566"/>
                      <a:pt x="399" y="565"/>
                    </a:cubicBezTo>
                    <a:cubicBezTo>
                      <a:pt x="399" y="566"/>
                      <a:pt x="399" y="566"/>
                      <a:pt x="399" y="566"/>
                    </a:cubicBezTo>
                    <a:cubicBezTo>
                      <a:pt x="399" y="565"/>
                      <a:pt x="399" y="564"/>
                      <a:pt x="400" y="564"/>
                    </a:cubicBezTo>
                    <a:cubicBezTo>
                      <a:pt x="400" y="563"/>
                      <a:pt x="399" y="562"/>
                      <a:pt x="400" y="561"/>
                    </a:cubicBezTo>
                    <a:cubicBezTo>
                      <a:pt x="400" y="560"/>
                      <a:pt x="400" y="559"/>
                      <a:pt x="401" y="559"/>
                    </a:cubicBezTo>
                    <a:cubicBezTo>
                      <a:pt x="401" y="558"/>
                      <a:pt x="402" y="556"/>
                      <a:pt x="402" y="556"/>
                    </a:cubicBezTo>
                    <a:cubicBezTo>
                      <a:pt x="403" y="556"/>
                      <a:pt x="404" y="556"/>
                      <a:pt x="405" y="556"/>
                    </a:cubicBezTo>
                    <a:cubicBezTo>
                      <a:pt x="406" y="556"/>
                      <a:pt x="406" y="557"/>
                      <a:pt x="407" y="558"/>
                    </a:cubicBezTo>
                    <a:cubicBezTo>
                      <a:pt x="408" y="559"/>
                      <a:pt x="414" y="560"/>
                      <a:pt x="415" y="559"/>
                    </a:cubicBezTo>
                    <a:cubicBezTo>
                      <a:pt x="416" y="558"/>
                      <a:pt x="417" y="556"/>
                      <a:pt x="417" y="555"/>
                    </a:cubicBezTo>
                    <a:cubicBezTo>
                      <a:pt x="418" y="554"/>
                      <a:pt x="418" y="553"/>
                      <a:pt x="418" y="552"/>
                    </a:cubicBezTo>
                    <a:cubicBezTo>
                      <a:pt x="418" y="551"/>
                      <a:pt x="419" y="550"/>
                      <a:pt x="419" y="548"/>
                    </a:cubicBezTo>
                    <a:cubicBezTo>
                      <a:pt x="419" y="547"/>
                      <a:pt x="419" y="545"/>
                      <a:pt x="419" y="544"/>
                    </a:cubicBezTo>
                    <a:cubicBezTo>
                      <a:pt x="419" y="543"/>
                      <a:pt x="420" y="543"/>
                      <a:pt x="420" y="542"/>
                    </a:cubicBezTo>
                    <a:cubicBezTo>
                      <a:pt x="420" y="541"/>
                      <a:pt x="420" y="540"/>
                      <a:pt x="420" y="540"/>
                    </a:cubicBezTo>
                    <a:cubicBezTo>
                      <a:pt x="420" y="539"/>
                      <a:pt x="421" y="539"/>
                      <a:pt x="421" y="539"/>
                    </a:cubicBezTo>
                    <a:cubicBezTo>
                      <a:pt x="421" y="539"/>
                      <a:pt x="420" y="538"/>
                      <a:pt x="420" y="537"/>
                    </a:cubicBezTo>
                    <a:cubicBezTo>
                      <a:pt x="420" y="536"/>
                      <a:pt x="420" y="534"/>
                      <a:pt x="419" y="533"/>
                    </a:cubicBezTo>
                    <a:cubicBezTo>
                      <a:pt x="418" y="532"/>
                      <a:pt x="417" y="532"/>
                      <a:pt x="417" y="531"/>
                    </a:cubicBezTo>
                    <a:cubicBezTo>
                      <a:pt x="416" y="531"/>
                      <a:pt x="415" y="530"/>
                      <a:pt x="414" y="529"/>
                    </a:cubicBezTo>
                    <a:cubicBezTo>
                      <a:pt x="413" y="528"/>
                      <a:pt x="412" y="527"/>
                      <a:pt x="411" y="527"/>
                    </a:cubicBezTo>
                    <a:cubicBezTo>
                      <a:pt x="410" y="526"/>
                      <a:pt x="410" y="525"/>
                      <a:pt x="410" y="524"/>
                    </a:cubicBezTo>
                    <a:cubicBezTo>
                      <a:pt x="408" y="519"/>
                      <a:pt x="402" y="526"/>
                      <a:pt x="400" y="520"/>
                    </a:cubicBezTo>
                    <a:cubicBezTo>
                      <a:pt x="400" y="519"/>
                      <a:pt x="399" y="518"/>
                      <a:pt x="398" y="517"/>
                    </a:cubicBezTo>
                    <a:cubicBezTo>
                      <a:pt x="398" y="516"/>
                      <a:pt x="397" y="515"/>
                      <a:pt x="397" y="514"/>
                    </a:cubicBezTo>
                    <a:cubicBezTo>
                      <a:pt x="396" y="514"/>
                      <a:pt x="395" y="513"/>
                      <a:pt x="394" y="513"/>
                    </a:cubicBezTo>
                    <a:cubicBezTo>
                      <a:pt x="394" y="512"/>
                      <a:pt x="394" y="512"/>
                      <a:pt x="394" y="512"/>
                    </a:cubicBezTo>
                    <a:cubicBezTo>
                      <a:pt x="393" y="511"/>
                      <a:pt x="391" y="510"/>
                      <a:pt x="390" y="510"/>
                    </a:cubicBezTo>
                    <a:cubicBezTo>
                      <a:pt x="389" y="509"/>
                      <a:pt x="386" y="509"/>
                      <a:pt x="385" y="508"/>
                    </a:cubicBezTo>
                    <a:cubicBezTo>
                      <a:pt x="385" y="507"/>
                      <a:pt x="385" y="507"/>
                      <a:pt x="385" y="507"/>
                    </a:cubicBezTo>
                    <a:cubicBezTo>
                      <a:pt x="385" y="504"/>
                      <a:pt x="384" y="502"/>
                      <a:pt x="382" y="499"/>
                    </a:cubicBezTo>
                    <a:cubicBezTo>
                      <a:pt x="381" y="498"/>
                      <a:pt x="380" y="496"/>
                      <a:pt x="379" y="495"/>
                    </a:cubicBezTo>
                    <a:cubicBezTo>
                      <a:pt x="378" y="494"/>
                      <a:pt x="376" y="493"/>
                      <a:pt x="375" y="491"/>
                    </a:cubicBezTo>
                    <a:cubicBezTo>
                      <a:pt x="374" y="491"/>
                      <a:pt x="374" y="491"/>
                      <a:pt x="373" y="490"/>
                    </a:cubicBezTo>
                    <a:cubicBezTo>
                      <a:pt x="373" y="490"/>
                      <a:pt x="371" y="491"/>
                      <a:pt x="371" y="491"/>
                    </a:cubicBezTo>
                    <a:cubicBezTo>
                      <a:pt x="369" y="491"/>
                      <a:pt x="369" y="490"/>
                      <a:pt x="368" y="490"/>
                    </a:cubicBezTo>
                    <a:cubicBezTo>
                      <a:pt x="367" y="489"/>
                      <a:pt x="365" y="489"/>
                      <a:pt x="365" y="488"/>
                    </a:cubicBezTo>
                    <a:cubicBezTo>
                      <a:pt x="364" y="488"/>
                      <a:pt x="364" y="488"/>
                      <a:pt x="364" y="487"/>
                    </a:cubicBezTo>
                    <a:cubicBezTo>
                      <a:pt x="363" y="485"/>
                      <a:pt x="362" y="484"/>
                      <a:pt x="361" y="483"/>
                    </a:cubicBezTo>
                    <a:cubicBezTo>
                      <a:pt x="360" y="482"/>
                      <a:pt x="360" y="482"/>
                      <a:pt x="360" y="480"/>
                    </a:cubicBezTo>
                    <a:cubicBezTo>
                      <a:pt x="359" y="479"/>
                      <a:pt x="359" y="476"/>
                      <a:pt x="359" y="475"/>
                    </a:cubicBezTo>
                    <a:cubicBezTo>
                      <a:pt x="358" y="474"/>
                      <a:pt x="358" y="474"/>
                      <a:pt x="358" y="473"/>
                    </a:cubicBezTo>
                    <a:cubicBezTo>
                      <a:pt x="357" y="471"/>
                      <a:pt x="356" y="469"/>
                      <a:pt x="355" y="467"/>
                    </a:cubicBezTo>
                    <a:cubicBezTo>
                      <a:pt x="355" y="466"/>
                      <a:pt x="354" y="464"/>
                      <a:pt x="353" y="463"/>
                    </a:cubicBezTo>
                    <a:cubicBezTo>
                      <a:pt x="352" y="462"/>
                      <a:pt x="351" y="461"/>
                      <a:pt x="349" y="460"/>
                    </a:cubicBezTo>
                    <a:cubicBezTo>
                      <a:pt x="348" y="459"/>
                      <a:pt x="348" y="457"/>
                      <a:pt x="349" y="456"/>
                    </a:cubicBezTo>
                    <a:cubicBezTo>
                      <a:pt x="349" y="455"/>
                      <a:pt x="350" y="454"/>
                      <a:pt x="351" y="453"/>
                    </a:cubicBezTo>
                    <a:cubicBezTo>
                      <a:pt x="351" y="452"/>
                      <a:pt x="352" y="451"/>
                      <a:pt x="352" y="451"/>
                    </a:cubicBezTo>
                    <a:cubicBezTo>
                      <a:pt x="353" y="450"/>
                      <a:pt x="354" y="449"/>
                      <a:pt x="354" y="448"/>
                    </a:cubicBezTo>
                    <a:cubicBezTo>
                      <a:pt x="354" y="447"/>
                      <a:pt x="354" y="446"/>
                      <a:pt x="354" y="445"/>
                    </a:cubicBezTo>
                    <a:cubicBezTo>
                      <a:pt x="354" y="444"/>
                      <a:pt x="355" y="443"/>
                      <a:pt x="355" y="442"/>
                    </a:cubicBezTo>
                    <a:cubicBezTo>
                      <a:pt x="354" y="440"/>
                      <a:pt x="352" y="440"/>
                      <a:pt x="351" y="439"/>
                    </a:cubicBezTo>
                    <a:cubicBezTo>
                      <a:pt x="349" y="439"/>
                      <a:pt x="349" y="438"/>
                      <a:pt x="348" y="437"/>
                    </a:cubicBezTo>
                    <a:cubicBezTo>
                      <a:pt x="347" y="436"/>
                      <a:pt x="345" y="436"/>
                      <a:pt x="345" y="435"/>
                    </a:cubicBezTo>
                    <a:cubicBezTo>
                      <a:pt x="343" y="434"/>
                      <a:pt x="344" y="432"/>
                      <a:pt x="342" y="431"/>
                    </a:cubicBezTo>
                    <a:cubicBezTo>
                      <a:pt x="340" y="430"/>
                      <a:pt x="339" y="431"/>
                      <a:pt x="339" y="429"/>
                    </a:cubicBezTo>
                    <a:cubicBezTo>
                      <a:pt x="338" y="427"/>
                      <a:pt x="338" y="426"/>
                      <a:pt x="338" y="424"/>
                    </a:cubicBezTo>
                    <a:cubicBezTo>
                      <a:pt x="338" y="423"/>
                      <a:pt x="338" y="421"/>
                      <a:pt x="337" y="419"/>
                    </a:cubicBezTo>
                    <a:cubicBezTo>
                      <a:pt x="337" y="416"/>
                      <a:pt x="331" y="416"/>
                      <a:pt x="332" y="412"/>
                    </a:cubicBezTo>
                    <a:cubicBezTo>
                      <a:pt x="333" y="412"/>
                      <a:pt x="333" y="412"/>
                      <a:pt x="333" y="411"/>
                    </a:cubicBezTo>
                    <a:cubicBezTo>
                      <a:pt x="333" y="411"/>
                      <a:pt x="333" y="411"/>
                      <a:pt x="333" y="410"/>
                    </a:cubicBezTo>
                    <a:cubicBezTo>
                      <a:pt x="334" y="409"/>
                      <a:pt x="334" y="409"/>
                      <a:pt x="336" y="408"/>
                    </a:cubicBezTo>
                    <a:cubicBezTo>
                      <a:pt x="338" y="407"/>
                      <a:pt x="339" y="411"/>
                      <a:pt x="339" y="413"/>
                    </a:cubicBezTo>
                    <a:cubicBezTo>
                      <a:pt x="339" y="414"/>
                      <a:pt x="339" y="415"/>
                      <a:pt x="340" y="416"/>
                    </a:cubicBezTo>
                    <a:cubicBezTo>
                      <a:pt x="340" y="417"/>
                      <a:pt x="341" y="417"/>
                      <a:pt x="342" y="418"/>
                    </a:cubicBezTo>
                    <a:cubicBezTo>
                      <a:pt x="342" y="418"/>
                      <a:pt x="342" y="419"/>
                      <a:pt x="342" y="419"/>
                    </a:cubicBezTo>
                    <a:cubicBezTo>
                      <a:pt x="342" y="420"/>
                      <a:pt x="342" y="419"/>
                      <a:pt x="343" y="420"/>
                    </a:cubicBezTo>
                    <a:cubicBezTo>
                      <a:pt x="343" y="421"/>
                      <a:pt x="343" y="421"/>
                      <a:pt x="343" y="422"/>
                    </a:cubicBezTo>
                    <a:cubicBezTo>
                      <a:pt x="344" y="421"/>
                      <a:pt x="344" y="420"/>
                      <a:pt x="344" y="419"/>
                    </a:cubicBezTo>
                    <a:cubicBezTo>
                      <a:pt x="345" y="417"/>
                      <a:pt x="346" y="417"/>
                      <a:pt x="346" y="416"/>
                    </a:cubicBezTo>
                    <a:cubicBezTo>
                      <a:pt x="346" y="415"/>
                      <a:pt x="346" y="414"/>
                      <a:pt x="346" y="413"/>
                    </a:cubicBezTo>
                    <a:cubicBezTo>
                      <a:pt x="346" y="413"/>
                      <a:pt x="347" y="412"/>
                      <a:pt x="348" y="411"/>
                    </a:cubicBezTo>
                    <a:cubicBezTo>
                      <a:pt x="349" y="409"/>
                      <a:pt x="351" y="408"/>
                      <a:pt x="353" y="407"/>
                    </a:cubicBezTo>
                    <a:cubicBezTo>
                      <a:pt x="354" y="406"/>
                      <a:pt x="355" y="404"/>
                      <a:pt x="357" y="404"/>
                    </a:cubicBezTo>
                    <a:cubicBezTo>
                      <a:pt x="357" y="403"/>
                      <a:pt x="358" y="403"/>
                      <a:pt x="359" y="402"/>
                    </a:cubicBezTo>
                    <a:cubicBezTo>
                      <a:pt x="360" y="402"/>
                      <a:pt x="360" y="400"/>
                      <a:pt x="361" y="401"/>
                    </a:cubicBezTo>
                    <a:cubicBezTo>
                      <a:pt x="362" y="401"/>
                      <a:pt x="362" y="402"/>
                      <a:pt x="363" y="402"/>
                    </a:cubicBezTo>
                    <a:cubicBezTo>
                      <a:pt x="364" y="403"/>
                      <a:pt x="364" y="402"/>
                      <a:pt x="365" y="402"/>
                    </a:cubicBezTo>
                    <a:cubicBezTo>
                      <a:pt x="367" y="402"/>
                      <a:pt x="368" y="402"/>
                      <a:pt x="369" y="400"/>
                    </a:cubicBezTo>
                    <a:cubicBezTo>
                      <a:pt x="370" y="400"/>
                      <a:pt x="370" y="398"/>
                      <a:pt x="370" y="398"/>
                    </a:cubicBezTo>
                    <a:cubicBezTo>
                      <a:pt x="371" y="398"/>
                      <a:pt x="373" y="398"/>
                      <a:pt x="373" y="398"/>
                    </a:cubicBezTo>
                    <a:cubicBezTo>
                      <a:pt x="374" y="398"/>
                      <a:pt x="374" y="399"/>
                      <a:pt x="375" y="399"/>
                    </a:cubicBezTo>
                    <a:cubicBezTo>
                      <a:pt x="376" y="399"/>
                      <a:pt x="377" y="398"/>
                      <a:pt x="379" y="399"/>
                    </a:cubicBezTo>
                    <a:cubicBezTo>
                      <a:pt x="379" y="399"/>
                      <a:pt x="380" y="400"/>
                      <a:pt x="380" y="400"/>
                    </a:cubicBezTo>
                    <a:cubicBezTo>
                      <a:pt x="381" y="401"/>
                      <a:pt x="381" y="400"/>
                      <a:pt x="382" y="399"/>
                    </a:cubicBezTo>
                    <a:cubicBezTo>
                      <a:pt x="382" y="398"/>
                      <a:pt x="383" y="398"/>
                      <a:pt x="384" y="397"/>
                    </a:cubicBezTo>
                    <a:cubicBezTo>
                      <a:pt x="385" y="396"/>
                      <a:pt x="386" y="395"/>
                      <a:pt x="386" y="394"/>
                    </a:cubicBezTo>
                    <a:cubicBezTo>
                      <a:pt x="388" y="392"/>
                      <a:pt x="388" y="392"/>
                      <a:pt x="391" y="392"/>
                    </a:cubicBezTo>
                    <a:cubicBezTo>
                      <a:pt x="391" y="392"/>
                      <a:pt x="392" y="392"/>
                      <a:pt x="392" y="392"/>
                    </a:cubicBezTo>
                    <a:cubicBezTo>
                      <a:pt x="392" y="392"/>
                      <a:pt x="392" y="391"/>
                      <a:pt x="392" y="391"/>
                    </a:cubicBezTo>
                    <a:cubicBezTo>
                      <a:pt x="393" y="391"/>
                      <a:pt x="394" y="390"/>
                      <a:pt x="394" y="390"/>
                    </a:cubicBezTo>
                    <a:cubicBezTo>
                      <a:pt x="394" y="389"/>
                      <a:pt x="395" y="389"/>
                      <a:pt x="395" y="388"/>
                    </a:cubicBezTo>
                    <a:cubicBezTo>
                      <a:pt x="395" y="387"/>
                      <a:pt x="395" y="386"/>
                      <a:pt x="396" y="386"/>
                    </a:cubicBezTo>
                    <a:cubicBezTo>
                      <a:pt x="397" y="384"/>
                      <a:pt x="399" y="387"/>
                      <a:pt x="401" y="387"/>
                    </a:cubicBezTo>
                    <a:cubicBezTo>
                      <a:pt x="401" y="386"/>
                      <a:pt x="401" y="385"/>
                      <a:pt x="402" y="384"/>
                    </a:cubicBezTo>
                    <a:cubicBezTo>
                      <a:pt x="402" y="383"/>
                      <a:pt x="402" y="383"/>
                      <a:pt x="402" y="383"/>
                    </a:cubicBezTo>
                    <a:cubicBezTo>
                      <a:pt x="402" y="382"/>
                      <a:pt x="402" y="381"/>
                      <a:pt x="402" y="381"/>
                    </a:cubicBezTo>
                    <a:cubicBezTo>
                      <a:pt x="403" y="379"/>
                      <a:pt x="405" y="380"/>
                      <a:pt x="405" y="381"/>
                    </a:cubicBezTo>
                    <a:cubicBezTo>
                      <a:pt x="406" y="381"/>
                      <a:pt x="406" y="383"/>
                      <a:pt x="406" y="384"/>
                    </a:cubicBezTo>
                    <a:cubicBezTo>
                      <a:pt x="407" y="384"/>
                      <a:pt x="409" y="384"/>
                      <a:pt x="409" y="384"/>
                    </a:cubicBezTo>
                    <a:cubicBezTo>
                      <a:pt x="410" y="384"/>
                      <a:pt x="411" y="384"/>
                      <a:pt x="412" y="383"/>
                    </a:cubicBezTo>
                    <a:cubicBezTo>
                      <a:pt x="413" y="383"/>
                      <a:pt x="412" y="381"/>
                      <a:pt x="412" y="380"/>
                    </a:cubicBezTo>
                    <a:cubicBezTo>
                      <a:pt x="412" y="379"/>
                      <a:pt x="412" y="377"/>
                      <a:pt x="413" y="376"/>
                    </a:cubicBezTo>
                    <a:cubicBezTo>
                      <a:pt x="413" y="375"/>
                      <a:pt x="414" y="375"/>
                      <a:pt x="414" y="375"/>
                    </a:cubicBezTo>
                    <a:cubicBezTo>
                      <a:pt x="415" y="374"/>
                      <a:pt x="416" y="373"/>
                      <a:pt x="417" y="373"/>
                    </a:cubicBezTo>
                    <a:cubicBezTo>
                      <a:pt x="418" y="373"/>
                      <a:pt x="418" y="373"/>
                      <a:pt x="419" y="373"/>
                    </a:cubicBezTo>
                    <a:cubicBezTo>
                      <a:pt x="421" y="373"/>
                      <a:pt x="422" y="372"/>
                      <a:pt x="424" y="372"/>
                    </a:cubicBezTo>
                    <a:cubicBezTo>
                      <a:pt x="425" y="372"/>
                      <a:pt x="427" y="371"/>
                      <a:pt x="428" y="371"/>
                    </a:cubicBezTo>
                    <a:cubicBezTo>
                      <a:pt x="429" y="371"/>
                      <a:pt x="430" y="371"/>
                      <a:pt x="431" y="371"/>
                    </a:cubicBezTo>
                    <a:cubicBezTo>
                      <a:pt x="432" y="371"/>
                      <a:pt x="432" y="370"/>
                      <a:pt x="433" y="369"/>
                    </a:cubicBezTo>
                    <a:cubicBezTo>
                      <a:pt x="434" y="369"/>
                      <a:pt x="435" y="368"/>
                      <a:pt x="436" y="367"/>
                    </a:cubicBezTo>
                    <a:cubicBezTo>
                      <a:pt x="436" y="367"/>
                      <a:pt x="436" y="366"/>
                      <a:pt x="436" y="366"/>
                    </a:cubicBezTo>
                    <a:cubicBezTo>
                      <a:pt x="436" y="365"/>
                      <a:pt x="439" y="364"/>
                      <a:pt x="440" y="364"/>
                    </a:cubicBezTo>
                    <a:cubicBezTo>
                      <a:pt x="441" y="364"/>
                      <a:pt x="442" y="365"/>
                      <a:pt x="443" y="364"/>
                    </a:cubicBezTo>
                    <a:cubicBezTo>
                      <a:pt x="444" y="364"/>
                      <a:pt x="445" y="362"/>
                      <a:pt x="446" y="363"/>
                    </a:cubicBezTo>
                    <a:cubicBezTo>
                      <a:pt x="447" y="364"/>
                      <a:pt x="447" y="363"/>
                      <a:pt x="448" y="363"/>
                    </a:cubicBezTo>
                    <a:cubicBezTo>
                      <a:pt x="449" y="362"/>
                      <a:pt x="451" y="361"/>
                      <a:pt x="452" y="360"/>
                    </a:cubicBezTo>
                    <a:cubicBezTo>
                      <a:pt x="454" y="360"/>
                      <a:pt x="456" y="359"/>
                      <a:pt x="458" y="358"/>
                    </a:cubicBezTo>
                    <a:cubicBezTo>
                      <a:pt x="459" y="357"/>
                      <a:pt x="460" y="357"/>
                      <a:pt x="460" y="356"/>
                    </a:cubicBezTo>
                    <a:cubicBezTo>
                      <a:pt x="461" y="355"/>
                      <a:pt x="457" y="353"/>
                      <a:pt x="457" y="352"/>
                    </a:cubicBezTo>
                    <a:cubicBezTo>
                      <a:pt x="455" y="351"/>
                      <a:pt x="453" y="350"/>
                      <a:pt x="452" y="349"/>
                    </a:cubicBezTo>
                    <a:cubicBezTo>
                      <a:pt x="454" y="349"/>
                      <a:pt x="457" y="348"/>
                      <a:pt x="459" y="347"/>
                    </a:cubicBezTo>
                    <a:cubicBezTo>
                      <a:pt x="460" y="346"/>
                      <a:pt x="461" y="344"/>
                      <a:pt x="462" y="344"/>
                    </a:cubicBezTo>
                    <a:cubicBezTo>
                      <a:pt x="464" y="343"/>
                      <a:pt x="464" y="343"/>
                      <a:pt x="465" y="344"/>
                    </a:cubicBezTo>
                    <a:cubicBezTo>
                      <a:pt x="466" y="345"/>
                      <a:pt x="467" y="346"/>
                      <a:pt x="468" y="347"/>
                    </a:cubicBezTo>
                    <a:cubicBezTo>
                      <a:pt x="470" y="347"/>
                      <a:pt x="473" y="351"/>
                      <a:pt x="473" y="353"/>
                    </a:cubicBezTo>
                    <a:cubicBezTo>
                      <a:pt x="472" y="354"/>
                      <a:pt x="472" y="355"/>
                      <a:pt x="471" y="356"/>
                    </a:cubicBezTo>
                    <a:cubicBezTo>
                      <a:pt x="470" y="358"/>
                      <a:pt x="470" y="358"/>
                      <a:pt x="472" y="359"/>
                    </a:cubicBezTo>
                    <a:cubicBezTo>
                      <a:pt x="473" y="359"/>
                      <a:pt x="475" y="360"/>
                      <a:pt x="476" y="361"/>
                    </a:cubicBezTo>
                    <a:cubicBezTo>
                      <a:pt x="476" y="361"/>
                      <a:pt x="476" y="361"/>
                      <a:pt x="476" y="362"/>
                    </a:cubicBezTo>
                    <a:cubicBezTo>
                      <a:pt x="476" y="363"/>
                      <a:pt x="476" y="364"/>
                      <a:pt x="477" y="365"/>
                    </a:cubicBezTo>
                    <a:cubicBezTo>
                      <a:pt x="477" y="365"/>
                      <a:pt x="480" y="365"/>
                      <a:pt x="481" y="365"/>
                    </a:cubicBezTo>
                    <a:cubicBezTo>
                      <a:pt x="482" y="365"/>
                      <a:pt x="483" y="364"/>
                      <a:pt x="484" y="363"/>
                    </a:cubicBezTo>
                    <a:cubicBezTo>
                      <a:pt x="485" y="362"/>
                      <a:pt x="487" y="359"/>
                      <a:pt x="489" y="361"/>
                    </a:cubicBezTo>
                    <a:cubicBezTo>
                      <a:pt x="488" y="360"/>
                      <a:pt x="488" y="357"/>
                      <a:pt x="488" y="356"/>
                    </a:cubicBezTo>
                    <a:cubicBezTo>
                      <a:pt x="489" y="355"/>
                      <a:pt x="492" y="354"/>
                      <a:pt x="491" y="352"/>
                    </a:cubicBezTo>
                    <a:cubicBezTo>
                      <a:pt x="491" y="351"/>
                      <a:pt x="490" y="351"/>
                      <a:pt x="490" y="349"/>
                    </a:cubicBezTo>
                    <a:cubicBezTo>
                      <a:pt x="490" y="346"/>
                      <a:pt x="492" y="345"/>
                      <a:pt x="492" y="343"/>
                    </a:cubicBezTo>
                    <a:cubicBezTo>
                      <a:pt x="493" y="341"/>
                      <a:pt x="492" y="339"/>
                      <a:pt x="493" y="337"/>
                    </a:cubicBezTo>
                    <a:cubicBezTo>
                      <a:pt x="493" y="335"/>
                      <a:pt x="493" y="334"/>
                      <a:pt x="494" y="332"/>
                    </a:cubicBezTo>
                    <a:cubicBezTo>
                      <a:pt x="495" y="330"/>
                      <a:pt x="495" y="328"/>
                      <a:pt x="496" y="326"/>
                    </a:cubicBezTo>
                    <a:cubicBezTo>
                      <a:pt x="496" y="324"/>
                      <a:pt x="496" y="325"/>
                      <a:pt x="496" y="323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94" name="Freeform 110">
                <a:extLst>
                  <a:ext uri="{FF2B5EF4-FFF2-40B4-BE49-F238E27FC236}">
                    <a16:creationId xmlns:a16="http://schemas.microsoft.com/office/drawing/2014/main" id="{A8479386-91AE-4811-AA79-E7434AE2F8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4825" y="3700463"/>
                <a:ext cx="23813" cy="61913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9" y="1"/>
                  </a:cxn>
                  <a:cxn ang="0">
                    <a:pos x="7" y="3"/>
                  </a:cxn>
                  <a:cxn ang="0">
                    <a:pos x="6" y="6"/>
                  </a:cxn>
                  <a:cxn ang="0">
                    <a:pos x="5" y="10"/>
                  </a:cxn>
                  <a:cxn ang="0">
                    <a:pos x="4" y="13"/>
                  </a:cxn>
                  <a:cxn ang="0">
                    <a:pos x="3" y="15"/>
                  </a:cxn>
                  <a:cxn ang="0">
                    <a:pos x="3" y="18"/>
                  </a:cxn>
                  <a:cxn ang="0">
                    <a:pos x="1" y="23"/>
                  </a:cxn>
                  <a:cxn ang="0">
                    <a:pos x="1" y="27"/>
                  </a:cxn>
                  <a:cxn ang="0">
                    <a:pos x="1" y="32"/>
                  </a:cxn>
                  <a:cxn ang="0">
                    <a:pos x="2" y="32"/>
                  </a:cxn>
                  <a:cxn ang="0">
                    <a:pos x="4" y="31"/>
                  </a:cxn>
                  <a:cxn ang="0">
                    <a:pos x="4" y="25"/>
                  </a:cxn>
                  <a:cxn ang="0">
                    <a:pos x="4" y="23"/>
                  </a:cxn>
                  <a:cxn ang="0">
                    <a:pos x="5" y="20"/>
                  </a:cxn>
                  <a:cxn ang="0">
                    <a:pos x="6" y="18"/>
                  </a:cxn>
                  <a:cxn ang="0">
                    <a:pos x="8" y="20"/>
                  </a:cxn>
                  <a:cxn ang="0">
                    <a:pos x="8" y="21"/>
                  </a:cxn>
                  <a:cxn ang="0">
                    <a:pos x="10" y="21"/>
                  </a:cxn>
                  <a:cxn ang="0">
                    <a:pos x="12" y="21"/>
                  </a:cxn>
                  <a:cxn ang="0">
                    <a:pos x="12" y="18"/>
                  </a:cxn>
                  <a:cxn ang="0">
                    <a:pos x="9" y="16"/>
                  </a:cxn>
                  <a:cxn ang="0">
                    <a:pos x="9" y="15"/>
                  </a:cxn>
                  <a:cxn ang="0">
                    <a:pos x="8" y="15"/>
                  </a:cxn>
                  <a:cxn ang="0">
                    <a:pos x="8" y="15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9"/>
                  </a:cxn>
                  <a:cxn ang="0">
                    <a:pos x="11" y="5"/>
                  </a:cxn>
                  <a:cxn ang="0">
                    <a:pos x="11" y="4"/>
                  </a:cxn>
                  <a:cxn ang="0">
                    <a:pos x="11" y="3"/>
                  </a:cxn>
                </a:cxnLst>
                <a:rect l="0" t="0" r="r" b="b"/>
                <a:pathLst>
                  <a:path w="13" h="33">
                    <a:moveTo>
                      <a:pt x="12" y="2"/>
                    </a:moveTo>
                    <a:cubicBezTo>
                      <a:pt x="12" y="1"/>
                      <a:pt x="10" y="0"/>
                      <a:pt x="9" y="1"/>
                    </a:cubicBezTo>
                    <a:cubicBezTo>
                      <a:pt x="8" y="2"/>
                      <a:pt x="8" y="2"/>
                      <a:pt x="7" y="3"/>
                    </a:cubicBezTo>
                    <a:cubicBezTo>
                      <a:pt x="7" y="4"/>
                      <a:pt x="7" y="5"/>
                      <a:pt x="6" y="6"/>
                    </a:cubicBezTo>
                    <a:cubicBezTo>
                      <a:pt x="6" y="7"/>
                      <a:pt x="5" y="8"/>
                      <a:pt x="5" y="10"/>
                    </a:cubicBezTo>
                    <a:cubicBezTo>
                      <a:pt x="4" y="11"/>
                      <a:pt x="4" y="12"/>
                      <a:pt x="4" y="13"/>
                    </a:cubicBezTo>
                    <a:cubicBezTo>
                      <a:pt x="4" y="14"/>
                      <a:pt x="3" y="15"/>
                      <a:pt x="3" y="15"/>
                    </a:cubicBezTo>
                    <a:cubicBezTo>
                      <a:pt x="3" y="16"/>
                      <a:pt x="3" y="17"/>
                      <a:pt x="3" y="18"/>
                    </a:cubicBezTo>
                    <a:cubicBezTo>
                      <a:pt x="2" y="19"/>
                      <a:pt x="2" y="21"/>
                      <a:pt x="1" y="23"/>
                    </a:cubicBezTo>
                    <a:cubicBezTo>
                      <a:pt x="1" y="24"/>
                      <a:pt x="1" y="26"/>
                      <a:pt x="1" y="27"/>
                    </a:cubicBezTo>
                    <a:cubicBezTo>
                      <a:pt x="1" y="29"/>
                      <a:pt x="0" y="31"/>
                      <a:pt x="1" y="32"/>
                    </a:cubicBezTo>
                    <a:cubicBezTo>
                      <a:pt x="1" y="33"/>
                      <a:pt x="2" y="32"/>
                      <a:pt x="2" y="32"/>
                    </a:cubicBezTo>
                    <a:cubicBezTo>
                      <a:pt x="3" y="32"/>
                      <a:pt x="3" y="32"/>
                      <a:pt x="4" y="31"/>
                    </a:cubicBezTo>
                    <a:cubicBezTo>
                      <a:pt x="4" y="29"/>
                      <a:pt x="3" y="27"/>
                      <a:pt x="4" y="25"/>
                    </a:cubicBezTo>
                    <a:cubicBezTo>
                      <a:pt x="4" y="24"/>
                      <a:pt x="4" y="24"/>
                      <a:pt x="4" y="23"/>
                    </a:cubicBezTo>
                    <a:cubicBezTo>
                      <a:pt x="5" y="22"/>
                      <a:pt x="5" y="21"/>
                      <a:pt x="5" y="20"/>
                    </a:cubicBezTo>
                    <a:cubicBezTo>
                      <a:pt x="5" y="19"/>
                      <a:pt x="5" y="18"/>
                      <a:pt x="6" y="18"/>
                    </a:cubicBezTo>
                    <a:cubicBezTo>
                      <a:pt x="7" y="19"/>
                      <a:pt x="8" y="20"/>
                      <a:pt x="8" y="20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9" y="21"/>
                      <a:pt x="9" y="21"/>
                      <a:pt x="10" y="21"/>
                    </a:cubicBezTo>
                    <a:cubicBezTo>
                      <a:pt x="11" y="21"/>
                      <a:pt x="11" y="21"/>
                      <a:pt x="12" y="21"/>
                    </a:cubicBezTo>
                    <a:cubicBezTo>
                      <a:pt x="12" y="20"/>
                      <a:pt x="13" y="19"/>
                      <a:pt x="12" y="18"/>
                    </a:cubicBezTo>
                    <a:cubicBezTo>
                      <a:pt x="12" y="17"/>
                      <a:pt x="10" y="17"/>
                      <a:pt x="9" y="16"/>
                    </a:cubicBezTo>
                    <a:cubicBezTo>
                      <a:pt x="9" y="16"/>
                      <a:pt x="9" y="16"/>
                      <a:pt x="9" y="15"/>
                    </a:cubicBezTo>
                    <a:cubicBezTo>
                      <a:pt x="8" y="15"/>
                      <a:pt x="9" y="15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3"/>
                      <a:pt x="8" y="12"/>
                      <a:pt x="8" y="12"/>
                    </a:cubicBezTo>
                    <a:cubicBezTo>
                      <a:pt x="8" y="11"/>
                      <a:pt x="8" y="10"/>
                      <a:pt x="8" y="9"/>
                    </a:cubicBezTo>
                    <a:cubicBezTo>
                      <a:pt x="8" y="8"/>
                      <a:pt x="10" y="6"/>
                      <a:pt x="11" y="5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4"/>
                      <a:pt x="11" y="3"/>
                      <a:pt x="11" y="3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95" name="Freeform 111">
                <a:extLst>
                  <a:ext uri="{FF2B5EF4-FFF2-40B4-BE49-F238E27FC236}">
                    <a16:creationId xmlns:a16="http://schemas.microsoft.com/office/drawing/2014/main" id="{BAD5996C-DD3F-431C-AE43-6A825489EE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2288" y="3754438"/>
                <a:ext cx="17463" cy="17463"/>
              </a:xfrm>
              <a:custGeom>
                <a:avLst/>
                <a:gdLst/>
                <a:ahLst/>
                <a:cxnLst>
                  <a:cxn ang="0">
                    <a:pos x="6" y="1"/>
                  </a:cxn>
                  <a:cxn ang="0">
                    <a:pos x="5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5"/>
                  </a:cxn>
                  <a:cxn ang="0">
                    <a:pos x="4" y="8"/>
                  </a:cxn>
                  <a:cxn ang="0">
                    <a:pos x="9" y="8"/>
                  </a:cxn>
                  <a:cxn ang="0">
                    <a:pos x="9" y="4"/>
                  </a:cxn>
                  <a:cxn ang="0">
                    <a:pos x="8" y="2"/>
                  </a:cxn>
                  <a:cxn ang="0">
                    <a:pos x="7" y="1"/>
                  </a:cxn>
                </a:cxnLst>
                <a:rect l="0" t="0" r="r" b="b"/>
                <a:pathLst>
                  <a:path w="9" h="9">
                    <a:moveTo>
                      <a:pt x="6" y="1"/>
                    </a:move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0" y="1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2" y="6"/>
                      <a:pt x="3" y="7"/>
                      <a:pt x="4" y="8"/>
                    </a:cubicBezTo>
                    <a:cubicBezTo>
                      <a:pt x="5" y="8"/>
                      <a:pt x="8" y="9"/>
                      <a:pt x="9" y="8"/>
                    </a:cubicBezTo>
                    <a:cubicBezTo>
                      <a:pt x="9" y="7"/>
                      <a:pt x="9" y="5"/>
                      <a:pt x="9" y="4"/>
                    </a:cubicBezTo>
                    <a:cubicBezTo>
                      <a:pt x="9" y="3"/>
                      <a:pt x="9" y="3"/>
                      <a:pt x="8" y="2"/>
                    </a:cubicBezTo>
                    <a:cubicBezTo>
                      <a:pt x="8" y="1"/>
                      <a:pt x="8" y="1"/>
                      <a:pt x="7" y="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96" name="Freeform 112">
                <a:extLst>
                  <a:ext uri="{FF2B5EF4-FFF2-40B4-BE49-F238E27FC236}">
                    <a16:creationId xmlns:a16="http://schemas.microsoft.com/office/drawing/2014/main" id="{C83CFBE4-A384-4C78-98F6-BD8CF4E9B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2763" y="3773488"/>
                <a:ext cx="7938" cy="7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3" y="4"/>
                  </a:cxn>
                  <a:cxn ang="0">
                    <a:pos x="4" y="2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cubicBezTo>
                      <a:pt x="3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3"/>
                      <a:pt x="1" y="3"/>
                      <a:pt x="2" y="3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4" y="3"/>
                      <a:pt x="4" y="2"/>
                      <a:pt x="4" y="2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97" name="Freeform 113">
                <a:extLst>
                  <a:ext uri="{FF2B5EF4-FFF2-40B4-BE49-F238E27FC236}">
                    <a16:creationId xmlns:a16="http://schemas.microsoft.com/office/drawing/2014/main" id="{7EAEBB05-B924-4C3A-BE7C-E459CEA775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2925" y="3792538"/>
                <a:ext cx="7938" cy="9525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1" y="5"/>
                  </a:cxn>
                  <a:cxn ang="0">
                    <a:pos x="3" y="4"/>
                  </a:cxn>
                  <a:cxn ang="0">
                    <a:pos x="4" y="2"/>
                  </a:cxn>
                  <a:cxn ang="0">
                    <a:pos x="2" y="1"/>
                  </a:cxn>
                </a:cxnLst>
                <a:rect l="0" t="0" r="r" b="b"/>
                <a:pathLst>
                  <a:path w="4" h="5">
                    <a:moveTo>
                      <a:pt x="3" y="1"/>
                    </a:moveTo>
                    <a:cubicBezTo>
                      <a:pt x="2" y="0"/>
                      <a:pt x="1" y="1"/>
                      <a:pt x="0" y="2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2" y="5"/>
                      <a:pt x="2" y="5"/>
                      <a:pt x="3" y="4"/>
                    </a:cubicBezTo>
                    <a:cubicBezTo>
                      <a:pt x="3" y="4"/>
                      <a:pt x="4" y="3"/>
                      <a:pt x="4" y="2"/>
                    </a:cubicBezTo>
                    <a:cubicBezTo>
                      <a:pt x="4" y="1"/>
                      <a:pt x="3" y="1"/>
                      <a:pt x="2" y="1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98" name="Freeform 114">
                <a:extLst>
                  <a:ext uri="{FF2B5EF4-FFF2-40B4-BE49-F238E27FC236}">
                    <a16:creationId xmlns:a16="http://schemas.microsoft.com/office/drawing/2014/main" id="{7DF85B6C-1F27-47C7-BA05-1DDF114AC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3949700"/>
                <a:ext cx="17463" cy="952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1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8" y="2"/>
                  </a:cxn>
                  <a:cxn ang="0">
                    <a:pos x="5" y="0"/>
                  </a:cxn>
                  <a:cxn ang="0">
                    <a:pos x="7" y="0"/>
                  </a:cxn>
                </a:cxnLst>
                <a:rect l="0" t="0" r="r" b="b"/>
                <a:pathLst>
                  <a:path w="9" h="5">
                    <a:moveTo>
                      <a:pt x="7" y="0"/>
                    </a:moveTo>
                    <a:cubicBezTo>
                      <a:pt x="5" y="0"/>
                      <a:pt x="4" y="0"/>
                      <a:pt x="3" y="1"/>
                    </a:cubicBezTo>
                    <a:cubicBezTo>
                      <a:pt x="2" y="1"/>
                      <a:pt x="0" y="2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0" y="5"/>
                      <a:pt x="1" y="5"/>
                      <a:pt x="2" y="5"/>
                    </a:cubicBezTo>
                    <a:cubicBezTo>
                      <a:pt x="4" y="5"/>
                      <a:pt x="7" y="4"/>
                      <a:pt x="8" y="2"/>
                    </a:cubicBezTo>
                    <a:cubicBezTo>
                      <a:pt x="9" y="1"/>
                      <a:pt x="7" y="0"/>
                      <a:pt x="5" y="0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599" name="Freeform 115">
                <a:extLst>
                  <a:ext uri="{FF2B5EF4-FFF2-40B4-BE49-F238E27FC236}">
                    <a16:creationId xmlns:a16="http://schemas.microsoft.com/office/drawing/2014/main" id="{3F99C1A1-0696-47B2-AE32-ACAB618028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5125" y="3938588"/>
                <a:ext cx="26988" cy="4763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6" y="1"/>
                  </a:cxn>
                  <a:cxn ang="0">
                    <a:pos x="4" y="1"/>
                  </a:cxn>
                  <a:cxn ang="0">
                    <a:pos x="3" y="1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3" y="3"/>
                  </a:cxn>
                  <a:cxn ang="0">
                    <a:pos x="7" y="3"/>
                  </a:cxn>
                  <a:cxn ang="0">
                    <a:pos x="13" y="2"/>
                  </a:cxn>
                  <a:cxn ang="0">
                    <a:pos x="14" y="1"/>
                  </a:cxn>
                  <a:cxn ang="0">
                    <a:pos x="12" y="0"/>
                  </a:cxn>
                </a:cxnLst>
                <a:rect l="0" t="0" r="r" b="b"/>
                <a:pathLst>
                  <a:path w="14" h="3">
                    <a:moveTo>
                      <a:pt x="12" y="0"/>
                    </a:moveTo>
                    <a:cubicBezTo>
                      <a:pt x="10" y="1"/>
                      <a:pt x="8" y="1"/>
                      <a:pt x="6" y="1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0" y="2"/>
                      <a:pt x="1" y="3"/>
                      <a:pt x="1" y="3"/>
                    </a:cubicBezTo>
                    <a:cubicBezTo>
                      <a:pt x="2" y="3"/>
                      <a:pt x="3" y="3"/>
                      <a:pt x="3" y="3"/>
                    </a:cubicBezTo>
                    <a:cubicBezTo>
                      <a:pt x="5" y="3"/>
                      <a:pt x="6" y="3"/>
                      <a:pt x="7" y="3"/>
                    </a:cubicBezTo>
                    <a:cubicBezTo>
                      <a:pt x="9" y="2"/>
                      <a:pt x="11" y="2"/>
                      <a:pt x="13" y="2"/>
                    </a:cubicBezTo>
                    <a:cubicBezTo>
                      <a:pt x="13" y="1"/>
                      <a:pt x="14" y="1"/>
                      <a:pt x="14" y="1"/>
                    </a:cubicBezTo>
                    <a:lnTo>
                      <a:pt x="12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00" name="Freeform 116">
                <a:extLst>
                  <a:ext uri="{FF2B5EF4-FFF2-40B4-BE49-F238E27FC236}">
                    <a16:creationId xmlns:a16="http://schemas.microsoft.com/office/drawing/2014/main" id="{FD565A25-D055-4EBA-84D8-A6D01DFC8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7513" y="3927475"/>
                <a:ext cx="17463" cy="317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5" y="0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7" y="1"/>
                  </a:cxn>
                  <a:cxn ang="0">
                    <a:pos x="9" y="1"/>
                  </a:cxn>
                  <a:cxn ang="0">
                    <a:pos x="7" y="0"/>
                  </a:cxn>
                </a:cxnLst>
                <a:rect l="0" t="0" r="r" b="b"/>
                <a:pathLst>
                  <a:path w="9" h="2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4" y="1"/>
                      <a:pt x="2" y="1"/>
                      <a:pt x="1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5" y="2"/>
                      <a:pt x="6" y="2"/>
                      <a:pt x="7" y="1"/>
                    </a:cubicBezTo>
                    <a:cubicBezTo>
                      <a:pt x="8" y="1"/>
                      <a:pt x="9" y="1"/>
                      <a:pt x="9" y="1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01" name="Freeform 117">
                <a:extLst>
                  <a:ext uri="{FF2B5EF4-FFF2-40B4-BE49-F238E27FC236}">
                    <a16:creationId xmlns:a16="http://schemas.microsoft.com/office/drawing/2014/main" id="{AB1B6786-5CE1-433C-8E10-B3AA353D36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875" y="3932238"/>
                <a:ext cx="17463" cy="158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5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7" y="0"/>
                  </a:cxn>
                  <a:cxn ang="0">
                    <a:pos x="9" y="0"/>
                  </a:cxn>
                  <a:cxn ang="0">
                    <a:pos x="7" y="0"/>
                  </a:cxn>
                </a:cxnLst>
                <a:rect l="0" t="0" r="r" b="b"/>
                <a:pathLst>
                  <a:path w="9" h="1">
                    <a:moveTo>
                      <a:pt x="7" y="0"/>
                    </a:move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4" y="1"/>
                      <a:pt x="6" y="1"/>
                      <a:pt x="7" y="0"/>
                    </a:cubicBezTo>
                    <a:cubicBezTo>
                      <a:pt x="7" y="0"/>
                      <a:pt x="9" y="0"/>
                      <a:pt x="9" y="0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02" name="Freeform 118">
                <a:extLst>
                  <a:ext uri="{FF2B5EF4-FFF2-40B4-BE49-F238E27FC236}">
                    <a16:creationId xmlns:a16="http://schemas.microsoft.com/office/drawing/2014/main" id="{57A2CA19-43A6-499A-8E4D-AA3290DFB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2913" y="3919538"/>
                <a:ext cx="23813" cy="793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7" y="0"/>
                  </a:cxn>
                  <a:cxn ang="0">
                    <a:pos x="1" y="2"/>
                  </a:cxn>
                  <a:cxn ang="0">
                    <a:pos x="2" y="4"/>
                  </a:cxn>
                  <a:cxn ang="0">
                    <a:pos x="5" y="4"/>
                  </a:cxn>
                  <a:cxn ang="0">
                    <a:pos x="10" y="2"/>
                  </a:cxn>
                  <a:cxn ang="0">
                    <a:pos x="13" y="0"/>
                  </a:cxn>
                  <a:cxn ang="0">
                    <a:pos x="10" y="0"/>
                  </a:cxn>
                </a:cxnLst>
                <a:rect l="0" t="0" r="r" b="b"/>
                <a:pathLst>
                  <a:path w="13" h="4">
                    <a:moveTo>
                      <a:pt x="10" y="0"/>
                    </a:moveTo>
                    <a:cubicBezTo>
                      <a:pt x="9" y="0"/>
                      <a:pt x="8" y="0"/>
                      <a:pt x="7" y="0"/>
                    </a:cubicBezTo>
                    <a:cubicBezTo>
                      <a:pt x="5" y="0"/>
                      <a:pt x="3" y="1"/>
                      <a:pt x="1" y="2"/>
                    </a:cubicBezTo>
                    <a:cubicBezTo>
                      <a:pt x="0" y="2"/>
                      <a:pt x="1" y="3"/>
                      <a:pt x="2" y="4"/>
                    </a:cubicBezTo>
                    <a:cubicBezTo>
                      <a:pt x="2" y="4"/>
                      <a:pt x="4" y="4"/>
                      <a:pt x="5" y="4"/>
                    </a:cubicBezTo>
                    <a:cubicBezTo>
                      <a:pt x="7" y="4"/>
                      <a:pt x="8" y="3"/>
                      <a:pt x="10" y="2"/>
                    </a:cubicBezTo>
                    <a:cubicBezTo>
                      <a:pt x="11" y="2"/>
                      <a:pt x="13" y="2"/>
                      <a:pt x="13" y="0"/>
                    </a:cubicBezTo>
                    <a:lnTo>
                      <a:pt x="1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03" name="Freeform 119">
                <a:extLst>
                  <a:ext uri="{FF2B5EF4-FFF2-40B4-BE49-F238E27FC236}">
                    <a16:creationId xmlns:a16="http://schemas.microsoft.com/office/drawing/2014/main" id="{7FECD426-201A-4D2D-9AAF-8F36ED3FC7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3075" y="3919538"/>
                <a:ext cx="19050" cy="31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5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8" y="1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1" h="2">
                    <a:moveTo>
                      <a:pt x="8" y="0"/>
                    </a:moveTo>
                    <a:cubicBezTo>
                      <a:pt x="7" y="0"/>
                      <a:pt x="6" y="0"/>
                      <a:pt x="5" y="0"/>
                    </a:cubicBezTo>
                    <a:cubicBezTo>
                      <a:pt x="4" y="0"/>
                      <a:pt x="1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1" y="2"/>
                      <a:pt x="3" y="2"/>
                      <a:pt x="3" y="2"/>
                    </a:cubicBezTo>
                    <a:cubicBezTo>
                      <a:pt x="5" y="2"/>
                      <a:pt x="7" y="2"/>
                      <a:pt x="8" y="1"/>
                    </a:cubicBezTo>
                    <a:cubicBezTo>
                      <a:pt x="9" y="1"/>
                      <a:pt x="11" y="1"/>
                      <a:pt x="10" y="0"/>
                    </a:cubicBez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04" name="Line 120">
                <a:extLst>
                  <a:ext uri="{FF2B5EF4-FFF2-40B4-BE49-F238E27FC236}">
                    <a16:creationId xmlns:a16="http://schemas.microsoft.com/office/drawing/2014/main" id="{8674E006-AFD9-4655-BA9E-3A25E8725F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46575" y="4000500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05" name="Line 121">
                <a:extLst>
                  <a:ext uri="{FF2B5EF4-FFF2-40B4-BE49-F238E27FC236}">
                    <a16:creationId xmlns:a16="http://schemas.microsoft.com/office/drawing/2014/main" id="{C699397B-C7EC-4708-ACEA-06EAD961A7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46575" y="4000500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06" name="Line 122">
                <a:extLst>
                  <a:ext uri="{FF2B5EF4-FFF2-40B4-BE49-F238E27FC236}">
                    <a16:creationId xmlns:a16="http://schemas.microsoft.com/office/drawing/2014/main" id="{C0BBB7A8-98F5-436C-BC66-B0E7A652FF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06888" y="3949700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07" name="Line 123">
                <a:extLst>
                  <a:ext uri="{FF2B5EF4-FFF2-40B4-BE49-F238E27FC236}">
                    <a16:creationId xmlns:a16="http://schemas.microsoft.com/office/drawing/2014/main" id="{141E62BC-3CDC-49B2-9672-A5E8BC3A24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06888" y="3949700"/>
                <a:ext cx="1588" cy="1588"/>
              </a:xfrm>
              <a:prstGeom prst="line">
                <a:avLst/>
              </a:pr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08" name="Freeform 124">
                <a:extLst>
                  <a:ext uri="{FF2B5EF4-FFF2-40B4-BE49-F238E27FC236}">
                    <a16:creationId xmlns:a16="http://schemas.microsoft.com/office/drawing/2014/main" id="{28C225BC-0C58-4C2B-92D5-C54DDD9FC1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7100" y="3800475"/>
                <a:ext cx="57150" cy="25400"/>
              </a:xfrm>
              <a:custGeom>
                <a:avLst/>
                <a:gdLst/>
                <a:ahLst/>
                <a:cxnLst>
                  <a:cxn ang="0">
                    <a:pos x="21" y="3"/>
                  </a:cxn>
                  <a:cxn ang="0">
                    <a:pos x="16" y="2"/>
                  </a:cxn>
                  <a:cxn ang="0">
                    <a:pos x="9" y="1"/>
                  </a:cxn>
                  <a:cxn ang="0">
                    <a:pos x="4" y="5"/>
                  </a:cxn>
                  <a:cxn ang="0">
                    <a:pos x="3" y="6"/>
                  </a:cxn>
                  <a:cxn ang="0">
                    <a:pos x="2" y="7"/>
                  </a:cxn>
                  <a:cxn ang="0">
                    <a:pos x="1" y="9"/>
                  </a:cxn>
                  <a:cxn ang="0">
                    <a:pos x="0" y="13"/>
                  </a:cxn>
                  <a:cxn ang="0">
                    <a:pos x="1" y="14"/>
                  </a:cxn>
                  <a:cxn ang="0">
                    <a:pos x="3" y="13"/>
                  </a:cxn>
                  <a:cxn ang="0">
                    <a:pos x="3" y="12"/>
                  </a:cxn>
                  <a:cxn ang="0">
                    <a:pos x="5" y="11"/>
                  </a:cxn>
                  <a:cxn ang="0">
                    <a:pos x="7" y="9"/>
                  </a:cxn>
                  <a:cxn ang="0">
                    <a:pos x="9" y="8"/>
                  </a:cxn>
                  <a:cxn ang="0">
                    <a:pos x="10" y="7"/>
                  </a:cxn>
                  <a:cxn ang="0">
                    <a:pos x="13" y="7"/>
                  </a:cxn>
                  <a:cxn ang="0">
                    <a:pos x="14" y="8"/>
                  </a:cxn>
                  <a:cxn ang="0">
                    <a:pos x="21" y="8"/>
                  </a:cxn>
                  <a:cxn ang="0">
                    <a:pos x="31" y="6"/>
                  </a:cxn>
                  <a:cxn ang="0">
                    <a:pos x="27" y="4"/>
                  </a:cxn>
                  <a:cxn ang="0">
                    <a:pos x="24" y="4"/>
                  </a:cxn>
                  <a:cxn ang="0">
                    <a:pos x="21" y="4"/>
                  </a:cxn>
                </a:cxnLst>
                <a:rect l="0" t="0" r="r" b="b"/>
                <a:pathLst>
                  <a:path w="31" h="14">
                    <a:moveTo>
                      <a:pt x="21" y="3"/>
                    </a:moveTo>
                    <a:cubicBezTo>
                      <a:pt x="20" y="3"/>
                      <a:pt x="18" y="2"/>
                      <a:pt x="16" y="2"/>
                    </a:cubicBezTo>
                    <a:cubicBezTo>
                      <a:pt x="14" y="1"/>
                      <a:pt x="11" y="0"/>
                      <a:pt x="9" y="1"/>
                    </a:cubicBezTo>
                    <a:cubicBezTo>
                      <a:pt x="7" y="2"/>
                      <a:pt x="5" y="4"/>
                      <a:pt x="4" y="5"/>
                    </a:cubicBezTo>
                    <a:cubicBezTo>
                      <a:pt x="4" y="6"/>
                      <a:pt x="4" y="6"/>
                      <a:pt x="3" y="6"/>
                    </a:cubicBezTo>
                    <a:cubicBezTo>
                      <a:pt x="3" y="7"/>
                      <a:pt x="3" y="7"/>
                      <a:pt x="2" y="7"/>
                    </a:cubicBezTo>
                    <a:cubicBezTo>
                      <a:pt x="2" y="8"/>
                      <a:pt x="1" y="9"/>
                      <a:pt x="1" y="9"/>
                    </a:cubicBezTo>
                    <a:cubicBezTo>
                      <a:pt x="1" y="10"/>
                      <a:pt x="0" y="12"/>
                      <a:pt x="0" y="13"/>
                    </a:cubicBezTo>
                    <a:cubicBezTo>
                      <a:pt x="0" y="14"/>
                      <a:pt x="0" y="14"/>
                      <a:pt x="1" y="14"/>
                    </a:cubicBezTo>
                    <a:cubicBezTo>
                      <a:pt x="2" y="14"/>
                      <a:pt x="2" y="14"/>
                      <a:pt x="3" y="13"/>
                    </a:cubicBezTo>
                    <a:cubicBezTo>
                      <a:pt x="3" y="13"/>
                      <a:pt x="3" y="12"/>
                      <a:pt x="3" y="12"/>
                    </a:cubicBezTo>
                    <a:cubicBezTo>
                      <a:pt x="4" y="12"/>
                      <a:pt x="4" y="11"/>
                      <a:pt x="5" y="11"/>
                    </a:cubicBezTo>
                    <a:cubicBezTo>
                      <a:pt x="6" y="11"/>
                      <a:pt x="6" y="10"/>
                      <a:pt x="7" y="9"/>
                    </a:cubicBezTo>
                    <a:cubicBezTo>
                      <a:pt x="8" y="9"/>
                      <a:pt x="9" y="9"/>
                      <a:pt x="9" y="8"/>
                    </a:cubicBezTo>
                    <a:cubicBezTo>
                      <a:pt x="10" y="8"/>
                      <a:pt x="10" y="8"/>
                      <a:pt x="10" y="7"/>
                    </a:cubicBezTo>
                    <a:cubicBezTo>
                      <a:pt x="11" y="7"/>
                      <a:pt x="12" y="7"/>
                      <a:pt x="13" y="7"/>
                    </a:cubicBezTo>
                    <a:cubicBezTo>
                      <a:pt x="14" y="8"/>
                      <a:pt x="13" y="8"/>
                      <a:pt x="14" y="8"/>
                    </a:cubicBezTo>
                    <a:cubicBezTo>
                      <a:pt x="17" y="9"/>
                      <a:pt x="19" y="8"/>
                      <a:pt x="21" y="8"/>
                    </a:cubicBezTo>
                    <a:cubicBezTo>
                      <a:pt x="23" y="8"/>
                      <a:pt x="31" y="9"/>
                      <a:pt x="31" y="6"/>
                    </a:cubicBezTo>
                    <a:cubicBezTo>
                      <a:pt x="30" y="4"/>
                      <a:pt x="29" y="4"/>
                      <a:pt x="27" y="4"/>
                    </a:cubicBezTo>
                    <a:cubicBezTo>
                      <a:pt x="26" y="4"/>
                      <a:pt x="25" y="4"/>
                      <a:pt x="24" y="4"/>
                    </a:cubicBezTo>
                    <a:cubicBezTo>
                      <a:pt x="23" y="4"/>
                      <a:pt x="22" y="4"/>
                      <a:pt x="21" y="4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09" name="Freeform 125">
                <a:extLst>
                  <a:ext uri="{FF2B5EF4-FFF2-40B4-BE49-F238E27FC236}">
                    <a16:creationId xmlns:a16="http://schemas.microsoft.com/office/drawing/2014/main" id="{9E1689B7-07E2-4870-B401-B3E89C64E7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7663" y="6724650"/>
                <a:ext cx="238125" cy="133350"/>
              </a:xfrm>
              <a:custGeom>
                <a:avLst/>
                <a:gdLst/>
                <a:ahLst/>
                <a:cxnLst>
                  <a:cxn ang="0">
                    <a:pos x="123" y="0"/>
                  </a:cxn>
                  <a:cxn ang="0">
                    <a:pos x="115" y="3"/>
                  </a:cxn>
                  <a:cxn ang="0">
                    <a:pos x="106" y="6"/>
                  </a:cxn>
                  <a:cxn ang="0">
                    <a:pos x="94" y="11"/>
                  </a:cxn>
                  <a:cxn ang="0">
                    <a:pos x="85" y="16"/>
                  </a:cxn>
                  <a:cxn ang="0">
                    <a:pos x="81" y="18"/>
                  </a:cxn>
                  <a:cxn ang="0">
                    <a:pos x="74" y="20"/>
                  </a:cxn>
                  <a:cxn ang="0">
                    <a:pos x="68" y="21"/>
                  </a:cxn>
                  <a:cxn ang="0">
                    <a:pos x="64" y="22"/>
                  </a:cxn>
                  <a:cxn ang="0">
                    <a:pos x="58" y="21"/>
                  </a:cxn>
                  <a:cxn ang="0">
                    <a:pos x="53" y="21"/>
                  </a:cxn>
                  <a:cxn ang="0">
                    <a:pos x="38" y="20"/>
                  </a:cxn>
                  <a:cxn ang="0">
                    <a:pos x="35" y="34"/>
                  </a:cxn>
                  <a:cxn ang="0">
                    <a:pos x="33" y="34"/>
                  </a:cxn>
                  <a:cxn ang="0">
                    <a:pos x="28" y="36"/>
                  </a:cxn>
                  <a:cxn ang="0">
                    <a:pos x="21" y="36"/>
                  </a:cxn>
                  <a:cxn ang="0">
                    <a:pos x="15" y="36"/>
                  </a:cxn>
                  <a:cxn ang="0">
                    <a:pos x="9" y="39"/>
                  </a:cxn>
                  <a:cxn ang="0">
                    <a:pos x="2" y="40"/>
                  </a:cxn>
                  <a:cxn ang="0">
                    <a:pos x="2" y="45"/>
                  </a:cxn>
                  <a:cxn ang="0">
                    <a:pos x="1" y="53"/>
                  </a:cxn>
                  <a:cxn ang="0">
                    <a:pos x="8" y="60"/>
                  </a:cxn>
                  <a:cxn ang="0">
                    <a:pos x="11" y="62"/>
                  </a:cxn>
                  <a:cxn ang="0">
                    <a:pos x="12" y="64"/>
                  </a:cxn>
                  <a:cxn ang="0">
                    <a:pos x="20" y="71"/>
                  </a:cxn>
                  <a:cxn ang="0">
                    <a:pos x="22" y="70"/>
                  </a:cxn>
                  <a:cxn ang="0">
                    <a:pos x="29" y="67"/>
                  </a:cxn>
                  <a:cxn ang="0">
                    <a:pos x="37" y="68"/>
                  </a:cxn>
                  <a:cxn ang="0">
                    <a:pos x="52" y="67"/>
                  </a:cxn>
                  <a:cxn ang="0">
                    <a:pos x="58" y="66"/>
                  </a:cxn>
                  <a:cxn ang="0">
                    <a:pos x="66" y="66"/>
                  </a:cxn>
                  <a:cxn ang="0">
                    <a:pos x="69" y="58"/>
                  </a:cxn>
                  <a:cxn ang="0">
                    <a:pos x="76" y="52"/>
                  </a:cxn>
                  <a:cxn ang="0">
                    <a:pos x="91" y="52"/>
                  </a:cxn>
                  <a:cxn ang="0">
                    <a:pos x="97" y="51"/>
                  </a:cxn>
                  <a:cxn ang="0">
                    <a:pos x="99" y="50"/>
                  </a:cxn>
                  <a:cxn ang="0">
                    <a:pos x="101" y="48"/>
                  </a:cxn>
                  <a:cxn ang="0">
                    <a:pos x="94" y="39"/>
                  </a:cxn>
                  <a:cxn ang="0">
                    <a:pos x="93" y="38"/>
                  </a:cxn>
                  <a:cxn ang="0">
                    <a:pos x="93" y="37"/>
                  </a:cxn>
                  <a:cxn ang="0">
                    <a:pos x="93" y="34"/>
                  </a:cxn>
                  <a:cxn ang="0">
                    <a:pos x="94" y="29"/>
                  </a:cxn>
                  <a:cxn ang="0">
                    <a:pos x="97" y="27"/>
                  </a:cxn>
                  <a:cxn ang="0">
                    <a:pos x="100" y="25"/>
                  </a:cxn>
                  <a:cxn ang="0">
                    <a:pos x="104" y="24"/>
                  </a:cxn>
                  <a:cxn ang="0">
                    <a:pos x="111" y="19"/>
                  </a:cxn>
                  <a:cxn ang="0">
                    <a:pos x="120" y="10"/>
                  </a:cxn>
                  <a:cxn ang="0">
                    <a:pos x="125" y="4"/>
                  </a:cxn>
                  <a:cxn ang="0">
                    <a:pos x="126" y="2"/>
                  </a:cxn>
                  <a:cxn ang="0">
                    <a:pos x="128" y="0"/>
                  </a:cxn>
                  <a:cxn ang="0">
                    <a:pos x="123" y="0"/>
                  </a:cxn>
                </a:cxnLst>
                <a:rect l="0" t="0" r="r" b="b"/>
                <a:pathLst>
                  <a:path w="128" h="71">
                    <a:moveTo>
                      <a:pt x="123" y="0"/>
                    </a:moveTo>
                    <a:cubicBezTo>
                      <a:pt x="120" y="0"/>
                      <a:pt x="117" y="2"/>
                      <a:pt x="115" y="3"/>
                    </a:cubicBezTo>
                    <a:cubicBezTo>
                      <a:pt x="112" y="4"/>
                      <a:pt x="109" y="5"/>
                      <a:pt x="106" y="6"/>
                    </a:cubicBezTo>
                    <a:cubicBezTo>
                      <a:pt x="103" y="9"/>
                      <a:pt x="98" y="10"/>
                      <a:pt x="94" y="11"/>
                    </a:cubicBezTo>
                    <a:cubicBezTo>
                      <a:pt x="91" y="12"/>
                      <a:pt x="88" y="14"/>
                      <a:pt x="85" y="16"/>
                    </a:cubicBezTo>
                    <a:cubicBezTo>
                      <a:pt x="83" y="16"/>
                      <a:pt x="82" y="17"/>
                      <a:pt x="81" y="18"/>
                    </a:cubicBezTo>
                    <a:cubicBezTo>
                      <a:pt x="79" y="19"/>
                      <a:pt x="76" y="19"/>
                      <a:pt x="74" y="20"/>
                    </a:cubicBezTo>
                    <a:cubicBezTo>
                      <a:pt x="72" y="21"/>
                      <a:pt x="70" y="21"/>
                      <a:pt x="68" y="21"/>
                    </a:cubicBezTo>
                    <a:cubicBezTo>
                      <a:pt x="66" y="21"/>
                      <a:pt x="65" y="22"/>
                      <a:pt x="64" y="22"/>
                    </a:cubicBezTo>
                    <a:cubicBezTo>
                      <a:pt x="62" y="22"/>
                      <a:pt x="60" y="21"/>
                      <a:pt x="58" y="21"/>
                    </a:cubicBezTo>
                    <a:cubicBezTo>
                      <a:pt x="56" y="21"/>
                      <a:pt x="55" y="21"/>
                      <a:pt x="53" y="21"/>
                    </a:cubicBezTo>
                    <a:cubicBezTo>
                      <a:pt x="48" y="21"/>
                      <a:pt x="43" y="19"/>
                      <a:pt x="38" y="20"/>
                    </a:cubicBezTo>
                    <a:cubicBezTo>
                      <a:pt x="37" y="24"/>
                      <a:pt x="41" y="33"/>
                      <a:pt x="35" y="34"/>
                    </a:cubicBezTo>
                    <a:cubicBezTo>
                      <a:pt x="34" y="35"/>
                      <a:pt x="33" y="35"/>
                      <a:pt x="33" y="34"/>
                    </a:cubicBezTo>
                    <a:cubicBezTo>
                      <a:pt x="31" y="35"/>
                      <a:pt x="30" y="35"/>
                      <a:pt x="28" y="36"/>
                    </a:cubicBezTo>
                    <a:cubicBezTo>
                      <a:pt x="26" y="36"/>
                      <a:pt x="23" y="37"/>
                      <a:pt x="21" y="36"/>
                    </a:cubicBezTo>
                    <a:cubicBezTo>
                      <a:pt x="19" y="35"/>
                      <a:pt x="17" y="33"/>
                      <a:pt x="15" y="36"/>
                    </a:cubicBezTo>
                    <a:cubicBezTo>
                      <a:pt x="14" y="39"/>
                      <a:pt x="12" y="40"/>
                      <a:pt x="9" y="39"/>
                    </a:cubicBezTo>
                    <a:cubicBezTo>
                      <a:pt x="6" y="39"/>
                      <a:pt x="3" y="36"/>
                      <a:pt x="2" y="40"/>
                    </a:cubicBezTo>
                    <a:cubicBezTo>
                      <a:pt x="2" y="42"/>
                      <a:pt x="3" y="43"/>
                      <a:pt x="2" y="45"/>
                    </a:cubicBezTo>
                    <a:cubicBezTo>
                      <a:pt x="2" y="48"/>
                      <a:pt x="0" y="50"/>
                      <a:pt x="1" y="53"/>
                    </a:cubicBezTo>
                    <a:cubicBezTo>
                      <a:pt x="2" y="57"/>
                      <a:pt x="5" y="58"/>
                      <a:pt x="8" y="60"/>
                    </a:cubicBezTo>
                    <a:cubicBezTo>
                      <a:pt x="9" y="61"/>
                      <a:pt x="10" y="61"/>
                      <a:pt x="11" y="62"/>
                    </a:cubicBezTo>
                    <a:cubicBezTo>
                      <a:pt x="12" y="63"/>
                      <a:pt x="11" y="61"/>
                      <a:pt x="12" y="64"/>
                    </a:cubicBezTo>
                    <a:cubicBezTo>
                      <a:pt x="14" y="66"/>
                      <a:pt x="16" y="71"/>
                      <a:pt x="20" y="71"/>
                    </a:cubicBezTo>
                    <a:cubicBezTo>
                      <a:pt x="20" y="70"/>
                      <a:pt x="21" y="70"/>
                      <a:pt x="22" y="70"/>
                    </a:cubicBezTo>
                    <a:cubicBezTo>
                      <a:pt x="24" y="69"/>
                      <a:pt x="27" y="68"/>
                      <a:pt x="29" y="67"/>
                    </a:cubicBezTo>
                    <a:cubicBezTo>
                      <a:pt x="32" y="67"/>
                      <a:pt x="34" y="67"/>
                      <a:pt x="37" y="68"/>
                    </a:cubicBezTo>
                    <a:cubicBezTo>
                      <a:pt x="42" y="70"/>
                      <a:pt x="47" y="69"/>
                      <a:pt x="52" y="67"/>
                    </a:cubicBezTo>
                    <a:cubicBezTo>
                      <a:pt x="54" y="66"/>
                      <a:pt x="56" y="66"/>
                      <a:pt x="58" y="66"/>
                    </a:cubicBezTo>
                    <a:cubicBezTo>
                      <a:pt x="60" y="66"/>
                      <a:pt x="64" y="67"/>
                      <a:pt x="66" y="66"/>
                    </a:cubicBezTo>
                    <a:cubicBezTo>
                      <a:pt x="69" y="65"/>
                      <a:pt x="68" y="60"/>
                      <a:pt x="69" y="58"/>
                    </a:cubicBezTo>
                    <a:cubicBezTo>
                      <a:pt x="70" y="55"/>
                      <a:pt x="72" y="52"/>
                      <a:pt x="76" y="52"/>
                    </a:cubicBezTo>
                    <a:cubicBezTo>
                      <a:pt x="81" y="51"/>
                      <a:pt x="86" y="53"/>
                      <a:pt x="91" y="52"/>
                    </a:cubicBezTo>
                    <a:cubicBezTo>
                      <a:pt x="94" y="52"/>
                      <a:pt x="95" y="51"/>
                      <a:pt x="97" y="51"/>
                    </a:cubicBezTo>
                    <a:cubicBezTo>
                      <a:pt x="97" y="50"/>
                      <a:pt x="98" y="50"/>
                      <a:pt x="99" y="50"/>
                    </a:cubicBezTo>
                    <a:cubicBezTo>
                      <a:pt x="100" y="50"/>
                      <a:pt x="101" y="49"/>
                      <a:pt x="101" y="48"/>
                    </a:cubicBezTo>
                    <a:cubicBezTo>
                      <a:pt x="99" y="45"/>
                      <a:pt x="96" y="43"/>
                      <a:pt x="94" y="39"/>
                    </a:cubicBezTo>
                    <a:cubicBezTo>
                      <a:pt x="94" y="39"/>
                      <a:pt x="94" y="39"/>
                      <a:pt x="93" y="38"/>
                    </a:cubicBezTo>
                    <a:cubicBezTo>
                      <a:pt x="93" y="38"/>
                      <a:pt x="93" y="37"/>
                      <a:pt x="93" y="37"/>
                    </a:cubicBezTo>
                    <a:cubicBezTo>
                      <a:pt x="93" y="36"/>
                      <a:pt x="93" y="35"/>
                      <a:pt x="93" y="34"/>
                    </a:cubicBezTo>
                    <a:cubicBezTo>
                      <a:pt x="93" y="32"/>
                      <a:pt x="93" y="30"/>
                      <a:pt x="94" y="29"/>
                    </a:cubicBezTo>
                    <a:cubicBezTo>
                      <a:pt x="94" y="28"/>
                      <a:pt x="96" y="27"/>
                      <a:pt x="97" y="27"/>
                    </a:cubicBezTo>
                    <a:cubicBezTo>
                      <a:pt x="98" y="25"/>
                      <a:pt x="98" y="25"/>
                      <a:pt x="100" y="25"/>
                    </a:cubicBezTo>
                    <a:cubicBezTo>
                      <a:pt x="101" y="24"/>
                      <a:pt x="103" y="24"/>
                      <a:pt x="104" y="24"/>
                    </a:cubicBezTo>
                    <a:cubicBezTo>
                      <a:pt x="107" y="23"/>
                      <a:pt x="109" y="22"/>
                      <a:pt x="111" y="19"/>
                    </a:cubicBezTo>
                    <a:cubicBezTo>
                      <a:pt x="114" y="16"/>
                      <a:pt x="116" y="13"/>
                      <a:pt x="120" y="10"/>
                    </a:cubicBezTo>
                    <a:cubicBezTo>
                      <a:pt x="122" y="8"/>
                      <a:pt x="123" y="7"/>
                      <a:pt x="125" y="4"/>
                    </a:cubicBezTo>
                    <a:cubicBezTo>
                      <a:pt x="125" y="4"/>
                      <a:pt x="126" y="3"/>
                      <a:pt x="126" y="2"/>
                    </a:cubicBezTo>
                    <a:cubicBezTo>
                      <a:pt x="127" y="2"/>
                      <a:pt x="128" y="0"/>
                      <a:pt x="128" y="0"/>
                    </a:cubicBezTo>
                    <a:lnTo>
                      <a:pt x="123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10" name="Freeform 126">
                <a:extLst>
                  <a:ext uri="{FF2B5EF4-FFF2-40B4-BE49-F238E27FC236}">
                    <a16:creationId xmlns:a16="http://schemas.microsoft.com/office/drawing/2014/main" id="{8C69B098-FB6D-49E2-AC1B-316A05031B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8963" y="109538"/>
                <a:ext cx="185738" cy="114300"/>
              </a:xfrm>
              <a:custGeom>
                <a:avLst/>
                <a:gdLst/>
                <a:ahLst/>
                <a:cxnLst>
                  <a:cxn ang="0">
                    <a:pos x="30" y="33"/>
                  </a:cxn>
                  <a:cxn ang="0">
                    <a:pos x="25" y="40"/>
                  </a:cxn>
                  <a:cxn ang="0">
                    <a:pos x="8" y="58"/>
                  </a:cxn>
                  <a:cxn ang="0">
                    <a:pos x="21" y="56"/>
                  </a:cxn>
                  <a:cxn ang="0">
                    <a:pos x="48" y="48"/>
                  </a:cxn>
                  <a:cxn ang="0">
                    <a:pos x="53" y="49"/>
                  </a:cxn>
                  <a:cxn ang="0">
                    <a:pos x="62" y="46"/>
                  </a:cxn>
                  <a:cxn ang="0">
                    <a:pos x="66" y="38"/>
                  </a:cxn>
                  <a:cxn ang="0">
                    <a:pos x="78" y="26"/>
                  </a:cxn>
                  <a:cxn ang="0">
                    <a:pos x="95" y="2"/>
                  </a:cxn>
                  <a:cxn ang="0">
                    <a:pos x="83" y="1"/>
                  </a:cxn>
                  <a:cxn ang="0">
                    <a:pos x="80" y="8"/>
                  </a:cxn>
                  <a:cxn ang="0">
                    <a:pos x="72" y="5"/>
                  </a:cxn>
                  <a:cxn ang="0">
                    <a:pos x="65" y="19"/>
                  </a:cxn>
                  <a:cxn ang="0">
                    <a:pos x="50" y="11"/>
                  </a:cxn>
                  <a:cxn ang="0">
                    <a:pos x="49" y="24"/>
                  </a:cxn>
                  <a:cxn ang="0">
                    <a:pos x="42" y="27"/>
                  </a:cxn>
                  <a:cxn ang="0">
                    <a:pos x="39" y="19"/>
                  </a:cxn>
                  <a:cxn ang="0">
                    <a:pos x="30" y="30"/>
                  </a:cxn>
                  <a:cxn ang="0">
                    <a:pos x="13" y="29"/>
                  </a:cxn>
                  <a:cxn ang="0">
                    <a:pos x="6" y="26"/>
                  </a:cxn>
                  <a:cxn ang="0">
                    <a:pos x="13" y="33"/>
                  </a:cxn>
                  <a:cxn ang="0">
                    <a:pos x="30" y="33"/>
                  </a:cxn>
                </a:cxnLst>
                <a:rect l="0" t="0" r="r" b="b"/>
                <a:pathLst>
                  <a:path w="99" h="61">
                    <a:moveTo>
                      <a:pt x="30" y="33"/>
                    </a:moveTo>
                    <a:cubicBezTo>
                      <a:pt x="27" y="35"/>
                      <a:pt x="26" y="37"/>
                      <a:pt x="25" y="40"/>
                    </a:cubicBezTo>
                    <a:cubicBezTo>
                      <a:pt x="20" y="47"/>
                      <a:pt x="14" y="52"/>
                      <a:pt x="8" y="58"/>
                    </a:cubicBezTo>
                    <a:cubicBezTo>
                      <a:pt x="12" y="61"/>
                      <a:pt x="17" y="58"/>
                      <a:pt x="21" y="56"/>
                    </a:cubicBezTo>
                    <a:cubicBezTo>
                      <a:pt x="30" y="52"/>
                      <a:pt x="37" y="45"/>
                      <a:pt x="48" y="48"/>
                    </a:cubicBezTo>
                    <a:cubicBezTo>
                      <a:pt x="50" y="49"/>
                      <a:pt x="51" y="50"/>
                      <a:pt x="53" y="49"/>
                    </a:cubicBezTo>
                    <a:cubicBezTo>
                      <a:pt x="55" y="49"/>
                      <a:pt x="61" y="40"/>
                      <a:pt x="62" y="46"/>
                    </a:cubicBezTo>
                    <a:cubicBezTo>
                      <a:pt x="64" y="44"/>
                      <a:pt x="64" y="41"/>
                      <a:pt x="66" y="38"/>
                    </a:cubicBezTo>
                    <a:cubicBezTo>
                      <a:pt x="70" y="34"/>
                      <a:pt x="74" y="30"/>
                      <a:pt x="78" y="26"/>
                    </a:cubicBezTo>
                    <a:cubicBezTo>
                      <a:pt x="82" y="21"/>
                      <a:pt x="99" y="10"/>
                      <a:pt x="95" y="2"/>
                    </a:cubicBezTo>
                    <a:cubicBezTo>
                      <a:pt x="91" y="0"/>
                      <a:pt x="87" y="0"/>
                      <a:pt x="83" y="1"/>
                    </a:cubicBezTo>
                    <a:cubicBezTo>
                      <a:pt x="79" y="4"/>
                      <a:pt x="80" y="5"/>
                      <a:pt x="80" y="8"/>
                    </a:cubicBezTo>
                    <a:cubicBezTo>
                      <a:pt x="76" y="10"/>
                      <a:pt x="75" y="4"/>
                      <a:pt x="72" y="5"/>
                    </a:cubicBezTo>
                    <a:cubicBezTo>
                      <a:pt x="70" y="12"/>
                      <a:pt x="74" y="17"/>
                      <a:pt x="65" y="19"/>
                    </a:cubicBezTo>
                    <a:cubicBezTo>
                      <a:pt x="57" y="20"/>
                      <a:pt x="58" y="10"/>
                      <a:pt x="50" y="11"/>
                    </a:cubicBezTo>
                    <a:cubicBezTo>
                      <a:pt x="49" y="16"/>
                      <a:pt x="54" y="20"/>
                      <a:pt x="49" y="24"/>
                    </a:cubicBezTo>
                    <a:cubicBezTo>
                      <a:pt x="48" y="26"/>
                      <a:pt x="45" y="27"/>
                      <a:pt x="42" y="27"/>
                    </a:cubicBezTo>
                    <a:cubicBezTo>
                      <a:pt x="36" y="25"/>
                      <a:pt x="42" y="22"/>
                      <a:pt x="39" y="19"/>
                    </a:cubicBezTo>
                    <a:cubicBezTo>
                      <a:pt x="33" y="12"/>
                      <a:pt x="30" y="26"/>
                      <a:pt x="30" y="30"/>
                    </a:cubicBezTo>
                    <a:cubicBezTo>
                      <a:pt x="25" y="30"/>
                      <a:pt x="18" y="31"/>
                      <a:pt x="13" y="29"/>
                    </a:cubicBezTo>
                    <a:cubicBezTo>
                      <a:pt x="10" y="29"/>
                      <a:pt x="9" y="26"/>
                      <a:pt x="6" y="26"/>
                    </a:cubicBezTo>
                    <a:cubicBezTo>
                      <a:pt x="0" y="32"/>
                      <a:pt x="9" y="34"/>
                      <a:pt x="13" y="33"/>
                    </a:cubicBezTo>
                    <a:lnTo>
                      <a:pt x="30" y="33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11" name="Freeform 127">
                <a:extLst>
                  <a:ext uri="{FF2B5EF4-FFF2-40B4-BE49-F238E27FC236}">
                    <a16:creationId xmlns:a16="http://schemas.microsoft.com/office/drawing/2014/main" id="{7F4EBE2F-91FE-411E-83E9-F2BB78DEF1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1350" y="230188"/>
                <a:ext cx="65088" cy="50800"/>
              </a:xfrm>
              <a:custGeom>
                <a:avLst/>
                <a:gdLst/>
                <a:ahLst/>
                <a:cxnLst>
                  <a:cxn ang="0">
                    <a:pos x="31" y="9"/>
                  </a:cxn>
                  <a:cxn ang="0">
                    <a:pos x="30" y="8"/>
                  </a:cxn>
                  <a:cxn ang="0">
                    <a:pos x="15" y="6"/>
                  </a:cxn>
                  <a:cxn ang="0">
                    <a:pos x="1" y="16"/>
                  </a:cxn>
                  <a:cxn ang="0">
                    <a:pos x="19" y="23"/>
                  </a:cxn>
                  <a:cxn ang="0">
                    <a:pos x="22" y="27"/>
                  </a:cxn>
                  <a:cxn ang="0">
                    <a:pos x="31" y="25"/>
                  </a:cxn>
                  <a:cxn ang="0">
                    <a:pos x="24" y="8"/>
                  </a:cxn>
                  <a:cxn ang="0">
                    <a:pos x="31" y="9"/>
                  </a:cxn>
                </a:cxnLst>
                <a:rect l="0" t="0" r="r" b="b"/>
                <a:pathLst>
                  <a:path w="35" h="27">
                    <a:moveTo>
                      <a:pt x="31" y="9"/>
                    </a:moveTo>
                    <a:cubicBezTo>
                      <a:pt x="31" y="9"/>
                      <a:pt x="30" y="9"/>
                      <a:pt x="30" y="8"/>
                    </a:cubicBezTo>
                    <a:cubicBezTo>
                      <a:pt x="30" y="1"/>
                      <a:pt x="13" y="0"/>
                      <a:pt x="15" y="6"/>
                    </a:cubicBezTo>
                    <a:cubicBezTo>
                      <a:pt x="11" y="8"/>
                      <a:pt x="1" y="11"/>
                      <a:pt x="1" y="16"/>
                    </a:cubicBezTo>
                    <a:cubicBezTo>
                      <a:pt x="0" y="26"/>
                      <a:pt x="14" y="20"/>
                      <a:pt x="19" y="23"/>
                    </a:cubicBezTo>
                    <a:cubicBezTo>
                      <a:pt x="20" y="23"/>
                      <a:pt x="21" y="26"/>
                      <a:pt x="22" y="27"/>
                    </a:cubicBezTo>
                    <a:cubicBezTo>
                      <a:pt x="23" y="27"/>
                      <a:pt x="30" y="26"/>
                      <a:pt x="31" y="25"/>
                    </a:cubicBezTo>
                    <a:cubicBezTo>
                      <a:pt x="35" y="20"/>
                      <a:pt x="27" y="11"/>
                      <a:pt x="24" y="8"/>
                    </a:cubicBezTo>
                    <a:lnTo>
                      <a:pt x="31" y="9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12" name="Freeform 128">
                <a:extLst>
                  <a:ext uri="{FF2B5EF4-FFF2-40B4-BE49-F238E27FC236}">
                    <a16:creationId xmlns:a16="http://schemas.microsoft.com/office/drawing/2014/main" id="{219E746B-2867-43FB-BE49-41F77FE4D1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4850" y="171450"/>
                <a:ext cx="84138" cy="93663"/>
              </a:xfrm>
              <a:custGeom>
                <a:avLst/>
                <a:gdLst/>
                <a:ahLst/>
                <a:cxnLst>
                  <a:cxn ang="0">
                    <a:pos x="5" y="18"/>
                  </a:cxn>
                  <a:cxn ang="0">
                    <a:pos x="3" y="19"/>
                  </a:cxn>
                  <a:cxn ang="0">
                    <a:pos x="0" y="27"/>
                  </a:cxn>
                  <a:cxn ang="0">
                    <a:pos x="6" y="32"/>
                  </a:cxn>
                  <a:cxn ang="0">
                    <a:pos x="5" y="44"/>
                  </a:cxn>
                  <a:cxn ang="0">
                    <a:pos x="11" y="48"/>
                  </a:cxn>
                  <a:cxn ang="0">
                    <a:pos x="13" y="50"/>
                  </a:cxn>
                  <a:cxn ang="0">
                    <a:pos x="16" y="48"/>
                  </a:cxn>
                  <a:cxn ang="0">
                    <a:pos x="27" y="39"/>
                  </a:cxn>
                  <a:cxn ang="0">
                    <a:pos x="44" y="31"/>
                  </a:cxn>
                  <a:cxn ang="0">
                    <a:pos x="42" y="22"/>
                  </a:cxn>
                  <a:cxn ang="0">
                    <a:pos x="42" y="13"/>
                  </a:cxn>
                  <a:cxn ang="0">
                    <a:pos x="39" y="5"/>
                  </a:cxn>
                  <a:cxn ang="0">
                    <a:pos x="34" y="4"/>
                  </a:cxn>
                  <a:cxn ang="0">
                    <a:pos x="32" y="4"/>
                  </a:cxn>
                  <a:cxn ang="0">
                    <a:pos x="29" y="1"/>
                  </a:cxn>
                  <a:cxn ang="0">
                    <a:pos x="20" y="18"/>
                  </a:cxn>
                  <a:cxn ang="0">
                    <a:pos x="5" y="17"/>
                  </a:cxn>
                  <a:cxn ang="0">
                    <a:pos x="5" y="18"/>
                  </a:cxn>
                </a:cxnLst>
                <a:rect l="0" t="0" r="r" b="b"/>
                <a:pathLst>
                  <a:path w="45" h="50">
                    <a:moveTo>
                      <a:pt x="5" y="18"/>
                    </a:moveTo>
                    <a:cubicBezTo>
                      <a:pt x="4" y="18"/>
                      <a:pt x="4" y="18"/>
                      <a:pt x="3" y="19"/>
                    </a:cubicBezTo>
                    <a:cubicBezTo>
                      <a:pt x="3" y="21"/>
                      <a:pt x="0" y="25"/>
                      <a:pt x="0" y="27"/>
                    </a:cubicBezTo>
                    <a:cubicBezTo>
                      <a:pt x="1" y="30"/>
                      <a:pt x="5" y="31"/>
                      <a:pt x="6" y="32"/>
                    </a:cubicBezTo>
                    <a:cubicBezTo>
                      <a:pt x="10" y="37"/>
                      <a:pt x="3" y="38"/>
                      <a:pt x="5" y="44"/>
                    </a:cubicBezTo>
                    <a:cubicBezTo>
                      <a:pt x="6" y="48"/>
                      <a:pt x="8" y="47"/>
                      <a:pt x="11" y="48"/>
                    </a:cubicBezTo>
                    <a:cubicBezTo>
                      <a:pt x="12" y="49"/>
                      <a:pt x="12" y="50"/>
                      <a:pt x="13" y="50"/>
                    </a:cubicBezTo>
                    <a:cubicBezTo>
                      <a:pt x="16" y="50"/>
                      <a:pt x="15" y="50"/>
                      <a:pt x="16" y="48"/>
                    </a:cubicBezTo>
                    <a:cubicBezTo>
                      <a:pt x="20" y="43"/>
                      <a:pt x="19" y="39"/>
                      <a:pt x="27" y="39"/>
                    </a:cubicBezTo>
                    <a:cubicBezTo>
                      <a:pt x="35" y="39"/>
                      <a:pt x="45" y="43"/>
                      <a:pt x="44" y="31"/>
                    </a:cubicBezTo>
                    <a:cubicBezTo>
                      <a:pt x="44" y="27"/>
                      <a:pt x="43" y="25"/>
                      <a:pt x="42" y="22"/>
                    </a:cubicBezTo>
                    <a:cubicBezTo>
                      <a:pt x="42" y="19"/>
                      <a:pt x="42" y="16"/>
                      <a:pt x="42" y="13"/>
                    </a:cubicBezTo>
                    <a:cubicBezTo>
                      <a:pt x="42" y="9"/>
                      <a:pt x="42" y="7"/>
                      <a:pt x="39" y="5"/>
                    </a:cubicBezTo>
                    <a:cubicBezTo>
                      <a:pt x="37" y="4"/>
                      <a:pt x="35" y="4"/>
                      <a:pt x="34" y="4"/>
                    </a:cubicBezTo>
                    <a:cubicBezTo>
                      <a:pt x="33" y="4"/>
                      <a:pt x="32" y="4"/>
                      <a:pt x="32" y="4"/>
                    </a:cubicBezTo>
                    <a:cubicBezTo>
                      <a:pt x="31" y="3"/>
                      <a:pt x="30" y="2"/>
                      <a:pt x="29" y="1"/>
                    </a:cubicBezTo>
                    <a:cubicBezTo>
                      <a:pt x="22" y="0"/>
                      <a:pt x="19" y="12"/>
                      <a:pt x="20" y="18"/>
                    </a:cubicBezTo>
                    <a:cubicBezTo>
                      <a:pt x="15" y="19"/>
                      <a:pt x="10" y="17"/>
                      <a:pt x="5" y="17"/>
                    </a:cubicBezTo>
                    <a:lnTo>
                      <a:pt x="5" y="18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13" name="Freeform 129">
                <a:extLst>
                  <a:ext uri="{FF2B5EF4-FFF2-40B4-BE49-F238E27FC236}">
                    <a16:creationId xmlns:a16="http://schemas.microsoft.com/office/drawing/2014/main" id="{833F75E8-9DE5-49D9-9FB6-ACEF46345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6763" y="123825"/>
                <a:ext cx="36513" cy="61913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2" y="11"/>
                  </a:cxn>
                  <a:cxn ang="0">
                    <a:pos x="7" y="19"/>
                  </a:cxn>
                  <a:cxn ang="0">
                    <a:pos x="6" y="27"/>
                  </a:cxn>
                  <a:cxn ang="0">
                    <a:pos x="9" y="30"/>
                  </a:cxn>
                  <a:cxn ang="0">
                    <a:pos x="13" y="33"/>
                  </a:cxn>
                  <a:cxn ang="0">
                    <a:pos x="16" y="29"/>
                  </a:cxn>
                  <a:cxn ang="0">
                    <a:pos x="18" y="20"/>
                  </a:cxn>
                  <a:cxn ang="0">
                    <a:pos x="13" y="3"/>
                  </a:cxn>
                  <a:cxn ang="0">
                    <a:pos x="9" y="0"/>
                  </a:cxn>
                </a:cxnLst>
                <a:rect l="0" t="0" r="r" b="b"/>
                <a:pathLst>
                  <a:path w="20" h="33">
                    <a:moveTo>
                      <a:pt x="9" y="0"/>
                    </a:moveTo>
                    <a:cubicBezTo>
                      <a:pt x="5" y="2"/>
                      <a:pt x="0" y="5"/>
                      <a:pt x="2" y="11"/>
                    </a:cubicBezTo>
                    <a:cubicBezTo>
                      <a:pt x="2" y="14"/>
                      <a:pt x="6" y="15"/>
                      <a:pt x="7" y="19"/>
                    </a:cubicBezTo>
                    <a:cubicBezTo>
                      <a:pt x="7" y="21"/>
                      <a:pt x="6" y="24"/>
                      <a:pt x="6" y="27"/>
                    </a:cubicBezTo>
                    <a:cubicBezTo>
                      <a:pt x="6" y="28"/>
                      <a:pt x="7" y="29"/>
                      <a:pt x="9" y="30"/>
                    </a:cubicBezTo>
                    <a:cubicBezTo>
                      <a:pt x="9" y="29"/>
                      <a:pt x="14" y="33"/>
                      <a:pt x="13" y="33"/>
                    </a:cubicBezTo>
                    <a:cubicBezTo>
                      <a:pt x="17" y="33"/>
                      <a:pt x="16" y="32"/>
                      <a:pt x="16" y="29"/>
                    </a:cubicBezTo>
                    <a:cubicBezTo>
                      <a:pt x="16" y="25"/>
                      <a:pt x="17" y="23"/>
                      <a:pt x="18" y="20"/>
                    </a:cubicBezTo>
                    <a:cubicBezTo>
                      <a:pt x="20" y="12"/>
                      <a:pt x="15" y="9"/>
                      <a:pt x="13" y="3"/>
                    </a:cubicBezTo>
                    <a:lnTo>
                      <a:pt x="9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14" name="Freeform 130">
                <a:extLst>
                  <a:ext uri="{FF2B5EF4-FFF2-40B4-BE49-F238E27FC236}">
                    <a16:creationId xmlns:a16="http://schemas.microsoft.com/office/drawing/2014/main" id="{433A4A55-A390-44CD-AADA-38F5D9678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9263" y="269875"/>
                <a:ext cx="73025" cy="85725"/>
              </a:xfrm>
              <a:custGeom>
                <a:avLst/>
                <a:gdLst/>
                <a:ahLst/>
                <a:cxnLst>
                  <a:cxn ang="0">
                    <a:pos x="35" y="15"/>
                  </a:cxn>
                  <a:cxn ang="0">
                    <a:pos x="25" y="3"/>
                  </a:cxn>
                  <a:cxn ang="0">
                    <a:pos x="8" y="12"/>
                  </a:cxn>
                  <a:cxn ang="0">
                    <a:pos x="3" y="26"/>
                  </a:cxn>
                  <a:cxn ang="0">
                    <a:pos x="1" y="35"/>
                  </a:cxn>
                  <a:cxn ang="0">
                    <a:pos x="15" y="35"/>
                  </a:cxn>
                  <a:cxn ang="0">
                    <a:pos x="23" y="45"/>
                  </a:cxn>
                  <a:cxn ang="0">
                    <a:pos x="37" y="25"/>
                  </a:cxn>
                  <a:cxn ang="0">
                    <a:pos x="35" y="8"/>
                  </a:cxn>
                  <a:cxn ang="0">
                    <a:pos x="35" y="15"/>
                  </a:cxn>
                </a:cxnLst>
                <a:rect l="0" t="0" r="r" b="b"/>
                <a:pathLst>
                  <a:path w="39" h="46">
                    <a:moveTo>
                      <a:pt x="35" y="15"/>
                    </a:moveTo>
                    <a:cubicBezTo>
                      <a:pt x="33" y="11"/>
                      <a:pt x="30" y="5"/>
                      <a:pt x="25" y="3"/>
                    </a:cubicBezTo>
                    <a:cubicBezTo>
                      <a:pt x="18" y="0"/>
                      <a:pt x="12" y="8"/>
                      <a:pt x="8" y="12"/>
                    </a:cubicBezTo>
                    <a:cubicBezTo>
                      <a:pt x="4" y="17"/>
                      <a:pt x="4" y="20"/>
                      <a:pt x="3" y="26"/>
                    </a:cubicBezTo>
                    <a:cubicBezTo>
                      <a:pt x="2" y="29"/>
                      <a:pt x="0" y="31"/>
                      <a:pt x="1" y="35"/>
                    </a:cubicBezTo>
                    <a:cubicBezTo>
                      <a:pt x="5" y="35"/>
                      <a:pt x="12" y="33"/>
                      <a:pt x="15" y="35"/>
                    </a:cubicBezTo>
                    <a:cubicBezTo>
                      <a:pt x="20" y="38"/>
                      <a:pt x="16" y="45"/>
                      <a:pt x="23" y="45"/>
                    </a:cubicBezTo>
                    <a:cubicBezTo>
                      <a:pt x="32" y="46"/>
                      <a:pt x="36" y="32"/>
                      <a:pt x="37" y="25"/>
                    </a:cubicBezTo>
                    <a:cubicBezTo>
                      <a:pt x="37" y="19"/>
                      <a:pt x="39" y="13"/>
                      <a:pt x="35" y="8"/>
                    </a:cubicBezTo>
                    <a:lnTo>
                      <a:pt x="35" y="1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15" name="Freeform 131">
                <a:extLst>
                  <a:ext uri="{FF2B5EF4-FFF2-40B4-BE49-F238E27FC236}">
                    <a16:creationId xmlns:a16="http://schemas.microsoft.com/office/drawing/2014/main" id="{6BABF86E-7867-44DC-8590-A8BF29670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4513" y="263525"/>
                <a:ext cx="92075" cy="85725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" y="10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9" y="36"/>
                  </a:cxn>
                  <a:cxn ang="0">
                    <a:pos x="20" y="38"/>
                  </a:cxn>
                  <a:cxn ang="0">
                    <a:pos x="39" y="41"/>
                  </a:cxn>
                  <a:cxn ang="0">
                    <a:pos x="44" y="46"/>
                  </a:cxn>
                  <a:cxn ang="0">
                    <a:pos x="48" y="40"/>
                  </a:cxn>
                  <a:cxn ang="0">
                    <a:pos x="34" y="17"/>
                  </a:cxn>
                  <a:cxn ang="0">
                    <a:pos x="30" y="16"/>
                  </a:cxn>
                  <a:cxn ang="0">
                    <a:pos x="24" y="11"/>
                  </a:cxn>
                  <a:cxn ang="0">
                    <a:pos x="12" y="2"/>
                  </a:cxn>
                  <a:cxn ang="0">
                    <a:pos x="9" y="0"/>
                  </a:cxn>
                </a:cxnLst>
                <a:rect l="0" t="0" r="r" b="b"/>
                <a:pathLst>
                  <a:path w="49" h="46">
                    <a:moveTo>
                      <a:pt x="9" y="0"/>
                    </a:moveTo>
                    <a:cubicBezTo>
                      <a:pt x="3" y="0"/>
                      <a:pt x="0" y="3"/>
                      <a:pt x="1" y="10"/>
                    </a:cubicBezTo>
                    <a:cubicBezTo>
                      <a:pt x="1" y="12"/>
                      <a:pt x="3" y="17"/>
                      <a:pt x="4" y="18"/>
                    </a:cubicBezTo>
                    <a:cubicBezTo>
                      <a:pt x="6" y="20"/>
                      <a:pt x="7" y="20"/>
                      <a:pt x="8" y="22"/>
                    </a:cubicBezTo>
                    <a:cubicBezTo>
                      <a:pt x="10" y="27"/>
                      <a:pt x="8" y="31"/>
                      <a:pt x="9" y="36"/>
                    </a:cubicBezTo>
                    <a:cubicBezTo>
                      <a:pt x="11" y="40"/>
                      <a:pt x="16" y="38"/>
                      <a:pt x="20" y="38"/>
                    </a:cubicBezTo>
                    <a:cubicBezTo>
                      <a:pt x="25" y="38"/>
                      <a:pt x="35" y="38"/>
                      <a:pt x="39" y="41"/>
                    </a:cubicBezTo>
                    <a:cubicBezTo>
                      <a:pt x="41" y="43"/>
                      <a:pt x="40" y="46"/>
                      <a:pt x="44" y="46"/>
                    </a:cubicBezTo>
                    <a:cubicBezTo>
                      <a:pt x="48" y="46"/>
                      <a:pt x="48" y="43"/>
                      <a:pt x="48" y="40"/>
                    </a:cubicBezTo>
                    <a:cubicBezTo>
                      <a:pt x="49" y="30"/>
                      <a:pt x="44" y="20"/>
                      <a:pt x="34" y="17"/>
                    </a:cubicBezTo>
                    <a:cubicBezTo>
                      <a:pt x="32" y="17"/>
                      <a:pt x="32" y="17"/>
                      <a:pt x="30" y="16"/>
                    </a:cubicBezTo>
                    <a:cubicBezTo>
                      <a:pt x="28" y="15"/>
                      <a:pt x="26" y="12"/>
                      <a:pt x="24" y="11"/>
                    </a:cubicBezTo>
                    <a:cubicBezTo>
                      <a:pt x="21" y="8"/>
                      <a:pt x="12" y="6"/>
                      <a:pt x="12" y="2"/>
                    </a:cubicBezTo>
                    <a:lnTo>
                      <a:pt x="9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16" name="Freeform 132">
                <a:extLst>
                  <a:ext uri="{FF2B5EF4-FFF2-40B4-BE49-F238E27FC236}">
                    <a16:creationId xmlns:a16="http://schemas.microsoft.com/office/drawing/2014/main" id="{31374A54-7E80-494B-9DF2-820997DF8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075" y="357188"/>
                <a:ext cx="38100" cy="222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6" y="9"/>
                  </a:cxn>
                  <a:cxn ang="0">
                    <a:pos x="18" y="11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0" h="12">
                    <a:moveTo>
                      <a:pt x="14" y="0"/>
                    </a:moveTo>
                    <a:cubicBezTo>
                      <a:pt x="9" y="0"/>
                      <a:pt x="0" y="1"/>
                      <a:pt x="6" y="9"/>
                    </a:cubicBezTo>
                    <a:cubicBezTo>
                      <a:pt x="8" y="11"/>
                      <a:pt x="15" y="12"/>
                      <a:pt x="18" y="11"/>
                    </a:cubicBezTo>
                    <a:cubicBezTo>
                      <a:pt x="20" y="9"/>
                      <a:pt x="20" y="3"/>
                      <a:pt x="18" y="0"/>
                    </a:cubicBezTo>
                    <a:lnTo>
                      <a:pt x="14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17" name="Freeform 133">
                <a:extLst>
                  <a:ext uri="{FF2B5EF4-FFF2-40B4-BE49-F238E27FC236}">
                    <a16:creationId xmlns:a16="http://schemas.microsoft.com/office/drawing/2014/main" id="{5D14D7DA-95C4-4385-B7C5-3A0486FAD7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775" y="271463"/>
                <a:ext cx="60325" cy="77788"/>
              </a:xfrm>
              <a:custGeom>
                <a:avLst/>
                <a:gdLst/>
                <a:ahLst/>
                <a:cxnLst>
                  <a:cxn ang="0">
                    <a:pos x="32" y="22"/>
                  </a:cxn>
                  <a:cxn ang="0">
                    <a:pos x="29" y="9"/>
                  </a:cxn>
                  <a:cxn ang="0">
                    <a:pos x="15" y="11"/>
                  </a:cxn>
                  <a:cxn ang="0">
                    <a:pos x="13" y="7"/>
                  </a:cxn>
                  <a:cxn ang="0">
                    <a:pos x="8" y="3"/>
                  </a:cxn>
                  <a:cxn ang="0">
                    <a:pos x="2" y="4"/>
                  </a:cxn>
                  <a:cxn ang="0">
                    <a:pos x="2" y="17"/>
                  </a:cxn>
                  <a:cxn ang="0">
                    <a:pos x="6" y="23"/>
                  </a:cxn>
                  <a:cxn ang="0">
                    <a:pos x="12" y="25"/>
                  </a:cxn>
                  <a:cxn ang="0">
                    <a:pos x="9" y="41"/>
                  </a:cxn>
                  <a:cxn ang="0">
                    <a:pos x="22" y="33"/>
                  </a:cxn>
                  <a:cxn ang="0">
                    <a:pos x="26" y="22"/>
                  </a:cxn>
                  <a:cxn ang="0">
                    <a:pos x="32" y="22"/>
                  </a:cxn>
                </a:cxnLst>
                <a:rect l="0" t="0" r="r" b="b"/>
                <a:pathLst>
                  <a:path w="32" h="42">
                    <a:moveTo>
                      <a:pt x="32" y="22"/>
                    </a:moveTo>
                    <a:cubicBezTo>
                      <a:pt x="28" y="22"/>
                      <a:pt x="32" y="11"/>
                      <a:pt x="29" y="9"/>
                    </a:cubicBezTo>
                    <a:cubicBezTo>
                      <a:pt x="27" y="7"/>
                      <a:pt x="17" y="14"/>
                      <a:pt x="15" y="11"/>
                    </a:cubicBezTo>
                    <a:cubicBezTo>
                      <a:pt x="14" y="10"/>
                      <a:pt x="14" y="8"/>
                      <a:pt x="13" y="7"/>
                    </a:cubicBezTo>
                    <a:cubicBezTo>
                      <a:pt x="11" y="5"/>
                      <a:pt x="10" y="4"/>
                      <a:pt x="8" y="3"/>
                    </a:cubicBezTo>
                    <a:cubicBezTo>
                      <a:pt x="4" y="1"/>
                      <a:pt x="3" y="0"/>
                      <a:pt x="2" y="4"/>
                    </a:cubicBezTo>
                    <a:cubicBezTo>
                      <a:pt x="0" y="7"/>
                      <a:pt x="1" y="14"/>
                      <a:pt x="2" y="17"/>
                    </a:cubicBezTo>
                    <a:cubicBezTo>
                      <a:pt x="3" y="19"/>
                      <a:pt x="4" y="21"/>
                      <a:pt x="6" y="23"/>
                    </a:cubicBezTo>
                    <a:cubicBezTo>
                      <a:pt x="8" y="23"/>
                      <a:pt x="10" y="24"/>
                      <a:pt x="12" y="25"/>
                    </a:cubicBezTo>
                    <a:cubicBezTo>
                      <a:pt x="15" y="31"/>
                      <a:pt x="7" y="35"/>
                      <a:pt x="9" y="41"/>
                    </a:cubicBezTo>
                    <a:cubicBezTo>
                      <a:pt x="12" y="42"/>
                      <a:pt x="21" y="36"/>
                      <a:pt x="22" y="33"/>
                    </a:cubicBezTo>
                    <a:cubicBezTo>
                      <a:pt x="28" y="25"/>
                      <a:pt x="29" y="30"/>
                      <a:pt x="26" y="22"/>
                    </a:cubicBezTo>
                    <a:lnTo>
                      <a:pt x="32" y="2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18" name="Freeform 134">
                <a:extLst>
                  <a:ext uri="{FF2B5EF4-FFF2-40B4-BE49-F238E27FC236}">
                    <a16:creationId xmlns:a16="http://schemas.microsoft.com/office/drawing/2014/main" id="{DCC2C9D5-1B77-45D5-AB40-B7FB888C29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7363" y="1987550"/>
                <a:ext cx="100013" cy="5715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18" y="7"/>
                  </a:cxn>
                  <a:cxn ang="0">
                    <a:pos x="14" y="11"/>
                  </a:cxn>
                  <a:cxn ang="0">
                    <a:pos x="11" y="13"/>
                  </a:cxn>
                  <a:cxn ang="0">
                    <a:pos x="6" y="15"/>
                  </a:cxn>
                  <a:cxn ang="0">
                    <a:pos x="3" y="29"/>
                  </a:cxn>
                  <a:cxn ang="0">
                    <a:pos x="11" y="29"/>
                  </a:cxn>
                  <a:cxn ang="0">
                    <a:pos x="19" y="25"/>
                  </a:cxn>
                  <a:cxn ang="0">
                    <a:pos x="26" y="25"/>
                  </a:cxn>
                  <a:cxn ang="0">
                    <a:pos x="31" y="26"/>
                  </a:cxn>
                  <a:cxn ang="0">
                    <a:pos x="39" y="23"/>
                  </a:cxn>
                  <a:cxn ang="0">
                    <a:pos x="44" y="20"/>
                  </a:cxn>
                  <a:cxn ang="0">
                    <a:pos x="50" y="19"/>
                  </a:cxn>
                  <a:cxn ang="0">
                    <a:pos x="53" y="15"/>
                  </a:cxn>
                  <a:cxn ang="0">
                    <a:pos x="54" y="13"/>
                  </a:cxn>
                  <a:cxn ang="0">
                    <a:pos x="46" y="10"/>
                  </a:cxn>
                  <a:cxn ang="0">
                    <a:pos x="41" y="9"/>
                  </a:cxn>
                  <a:cxn ang="0">
                    <a:pos x="40" y="4"/>
                  </a:cxn>
                  <a:cxn ang="0">
                    <a:pos x="39" y="1"/>
                  </a:cxn>
                  <a:cxn ang="0">
                    <a:pos x="32" y="2"/>
                  </a:cxn>
                  <a:cxn ang="0">
                    <a:pos x="33" y="0"/>
                  </a:cxn>
                </a:cxnLst>
                <a:rect l="0" t="0" r="r" b="b"/>
                <a:pathLst>
                  <a:path w="54" h="31">
                    <a:moveTo>
                      <a:pt x="33" y="0"/>
                    </a:moveTo>
                    <a:cubicBezTo>
                      <a:pt x="28" y="0"/>
                      <a:pt x="21" y="4"/>
                      <a:pt x="18" y="7"/>
                    </a:cubicBezTo>
                    <a:cubicBezTo>
                      <a:pt x="16" y="9"/>
                      <a:pt x="16" y="10"/>
                      <a:pt x="14" y="11"/>
                    </a:cubicBezTo>
                    <a:cubicBezTo>
                      <a:pt x="13" y="12"/>
                      <a:pt x="12" y="12"/>
                      <a:pt x="11" y="13"/>
                    </a:cubicBezTo>
                    <a:cubicBezTo>
                      <a:pt x="9" y="14"/>
                      <a:pt x="8" y="15"/>
                      <a:pt x="6" y="15"/>
                    </a:cubicBezTo>
                    <a:cubicBezTo>
                      <a:pt x="3" y="18"/>
                      <a:pt x="0" y="25"/>
                      <a:pt x="3" y="29"/>
                    </a:cubicBezTo>
                    <a:cubicBezTo>
                      <a:pt x="5" y="31"/>
                      <a:pt x="8" y="30"/>
                      <a:pt x="11" y="29"/>
                    </a:cubicBezTo>
                    <a:cubicBezTo>
                      <a:pt x="14" y="27"/>
                      <a:pt x="15" y="25"/>
                      <a:pt x="19" y="25"/>
                    </a:cubicBezTo>
                    <a:cubicBezTo>
                      <a:pt x="21" y="24"/>
                      <a:pt x="24" y="24"/>
                      <a:pt x="26" y="25"/>
                    </a:cubicBezTo>
                    <a:cubicBezTo>
                      <a:pt x="28" y="25"/>
                      <a:pt x="29" y="26"/>
                      <a:pt x="31" y="26"/>
                    </a:cubicBezTo>
                    <a:cubicBezTo>
                      <a:pt x="34" y="26"/>
                      <a:pt x="37" y="25"/>
                      <a:pt x="39" y="23"/>
                    </a:cubicBezTo>
                    <a:cubicBezTo>
                      <a:pt x="41" y="22"/>
                      <a:pt x="42" y="21"/>
                      <a:pt x="44" y="20"/>
                    </a:cubicBezTo>
                    <a:cubicBezTo>
                      <a:pt x="46" y="20"/>
                      <a:pt x="48" y="20"/>
                      <a:pt x="50" y="19"/>
                    </a:cubicBezTo>
                    <a:cubicBezTo>
                      <a:pt x="52" y="18"/>
                      <a:pt x="52" y="17"/>
                      <a:pt x="53" y="15"/>
                    </a:cubicBezTo>
                    <a:cubicBezTo>
                      <a:pt x="54" y="14"/>
                      <a:pt x="54" y="14"/>
                      <a:pt x="54" y="13"/>
                    </a:cubicBezTo>
                    <a:cubicBezTo>
                      <a:pt x="51" y="11"/>
                      <a:pt x="49" y="10"/>
                      <a:pt x="46" y="10"/>
                    </a:cubicBezTo>
                    <a:cubicBezTo>
                      <a:pt x="44" y="9"/>
                      <a:pt x="43" y="9"/>
                      <a:pt x="41" y="9"/>
                    </a:cubicBezTo>
                    <a:cubicBezTo>
                      <a:pt x="41" y="8"/>
                      <a:pt x="40" y="6"/>
                      <a:pt x="40" y="4"/>
                    </a:cubicBezTo>
                    <a:cubicBezTo>
                      <a:pt x="40" y="3"/>
                      <a:pt x="40" y="2"/>
                      <a:pt x="39" y="1"/>
                    </a:cubicBezTo>
                    <a:cubicBezTo>
                      <a:pt x="38" y="1"/>
                      <a:pt x="34" y="2"/>
                      <a:pt x="32" y="2"/>
                    </a:cubicBezTo>
                    <a:lnTo>
                      <a:pt x="33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19" name="Freeform 135">
                <a:extLst>
                  <a:ext uri="{FF2B5EF4-FFF2-40B4-BE49-F238E27FC236}">
                    <a16:creationId xmlns:a16="http://schemas.microsoft.com/office/drawing/2014/main" id="{245AD484-7CD5-413D-9540-0AAFCAC1E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6888" y="1946275"/>
                <a:ext cx="58738" cy="33338"/>
              </a:xfrm>
              <a:custGeom>
                <a:avLst/>
                <a:gdLst/>
                <a:ahLst/>
                <a:cxnLst>
                  <a:cxn ang="0">
                    <a:pos x="23" y="2"/>
                  </a:cxn>
                  <a:cxn ang="0">
                    <a:pos x="9" y="7"/>
                  </a:cxn>
                  <a:cxn ang="0">
                    <a:pos x="3" y="12"/>
                  </a:cxn>
                  <a:cxn ang="0">
                    <a:pos x="1" y="16"/>
                  </a:cxn>
                  <a:cxn ang="0">
                    <a:pos x="9" y="17"/>
                  </a:cxn>
                  <a:cxn ang="0">
                    <a:pos x="24" y="15"/>
                  </a:cxn>
                  <a:cxn ang="0">
                    <a:pos x="28" y="13"/>
                  </a:cxn>
                  <a:cxn ang="0">
                    <a:pos x="26" y="0"/>
                  </a:cxn>
                  <a:cxn ang="0">
                    <a:pos x="23" y="2"/>
                  </a:cxn>
                </a:cxnLst>
                <a:rect l="0" t="0" r="r" b="b"/>
                <a:pathLst>
                  <a:path w="32" h="18">
                    <a:moveTo>
                      <a:pt x="23" y="2"/>
                    </a:moveTo>
                    <a:cubicBezTo>
                      <a:pt x="19" y="2"/>
                      <a:pt x="13" y="5"/>
                      <a:pt x="9" y="7"/>
                    </a:cubicBezTo>
                    <a:cubicBezTo>
                      <a:pt x="5" y="8"/>
                      <a:pt x="5" y="10"/>
                      <a:pt x="3" y="12"/>
                    </a:cubicBezTo>
                    <a:cubicBezTo>
                      <a:pt x="2" y="13"/>
                      <a:pt x="0" y="14"/>
                      <a:pt x="1" y="16"/>
                    </a:cubicBezTo>
                    <a:cubicBezTo>
                      <a:pt x="2" y="18"/>
                      <a:pt x="6" y="17"/>
                      <a:pt x="9" y="17"/>
                    </a:cubicBezTo>
                    <a:cubicBezTo>
                      <a:pt x="14" y="17"/>
                      <a:pt x="19" y="17"/>
                      <a:pt x="24" y="15"/>
                    </a:cubicBezTo>
                    <a:cubicBezTo>
                      <a:pt x="25" y="14"/>
                      <a:pt x="27" y="14"/>
                      <a:pt x="28" y="13"/>
                    </a:cubicBezTo>
                    <a:cubicBezTo>
                      <a:pt x="32" y="9"/>
                      <a:pt x="29" y="3"/>
                      <a:pt x="26" y="0"/>
                    </a:cubicBezTo>
                    <a:lnTo>
                      <a:pt x="23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20" name="Freeform 136">
                <a:extLst>
                  <a:ext uri="{FF2B5EF4-FFF2-40B4-BE49-F238E27FC236}">
                    <a16:creationId xmlns:a16="http://schemas.microsoft.com/office/drawing/2014/main" id="{4F8CE527-5297-4CD6-91D7-4BEC7A222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6088" y="2024063"/>
                <a:ext cx="41275" cy="39688"/>
              </a:xfrm>
              <a:custGeom>
                <a:avLst/>
                <a:gdLst/>
                <a:ahLst/>
                <a:cxnLst>
                  <a:cxn ang="0">
                    <a:pos x="16" y="5"/>
                  </a:cxn>
                  <a:cxn ang="0">
                    <a:pos x="7" y="4"/>
                  </a:cxn>
                  <a:cxn ang="0">
                    <a:pos x="0" y="12"/>
                  </a:cxn>
                  <a:cxn ang="0">
                    <a:pos x="7" y="19"/>
                  </a:cxn>
                  <a:cxn ang="0">
                    <a:pos x="10" y="20"/>
                  </a:cxn>
                  <a:cxn ang="0">
                    <a:pos x="17" y="18"/>
                  </a:cxn>
                  <a:cxn ang="0">
                    <a:pos x="21" y="13"/>
                  </a:cxn>
                  <a:cxn ang="0">
                    <a:pos x="14" y="0"/>
                  </a:cxn>
                  <a:cxn ang="0">
                    <a:pos x="16" y="5"/>
                  </a:cxn>
                </a:cxnLst>
                <a:rect l="0" t="0" r="r" b="b"/>
                <a:pathLst>
                  <a:path w="22" h="21">
                    <a:moveTo>
                      <a:pt x="16" y="5"/>
                    </a:moveTo>
                    <a:cubicBezTo>
                      <a:pt x="13" y="3"/>
                      <a:pt x="10" y="2"/>
                      <a:pt x="7" y="4"/>
                    </a:cubicBezTo>
                    <a:cubicBezTo>
                      <a:pt x="4" y="5"/>
                      <a:pt x="1" y="9"/>
                      <a:pt x="0" y="12"/>
                    </a:cubicBezTo>
                    <a:cubicBezTo>
                      <a:pt x="0" y="15"/>
                      <a:pt x="4" y="18"/>
                      <a:pt x="7" y="19"/>
                    </a:cubicBezTo>
                    <a:cubicBezTo>
                      <a:pt x="8" y="19"/>
                      <a:pt x="9" y="20"/>
                      <a:pt x="10" y="20"/>
                    </a:cubicBezTo>
                    <a:cubicBezTo>
                      <a:pt x="13" y="21"/>
                      <a:pt x="15" y="19"/>
                      <a:pt x="17" y="18"/>
                    </a:cubicBezTo>
                    <a:cubicBezTo>
                      <a:pt x="19" y="16"/>
                      <a:pt x="21" y="16"/>
                      <a:pt x="21" y="13"/>
                    </a:cubicBezTo>
                    <a:cubicBezTo>
                      <a:pt x="22" y="8"/>
                      <a:pt x="19" y="3"/>
                      <a:pt x="14" y="0"/>
                    </a:cubicBezTo>
                    <a:lnTo>
                      <a:pt x="16" y="5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21" name="Freeform 137">
                <a:extLst>
                  <a:ext uri="{FF2B5EF4-FFF2-40B4-BE49-F238E27FC236}">
                    <a16:creationId xmlns:a16="http://schemas.microsoft.com/office/drawing/2014/main" id="{4B4B9E93-FDF4-4B37-AF6B-81251589D3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1138" y="285750"/>
                <a:ext cx="187325" cy="206375"/>
              </a:xfrm>
              <a:custGeom>
                <a:avLst/>
                <a:gdLst/>
                <a:ahLst/>
                <a:cxnLst>
                  <a:cxn ang="0">
                    <a:pos x="39" y="61"/>
                  </a:cxn>
                  <a:cxn ang="0">
                    <a:pos x="38" y="59"/>
                  </a:cxn>
                  <a:cxn ang="0">
                    <a:pos x="29" y="68"/>
                  </a:cxn>
                  <a:cxn ang="0">
                    <a:pos x="15" y="70"/>
                  </a:cxn>
                  <a:cxn ang="0">
                    <a:pos x="18" y="80"/>
                  </a:cxn>
                  <a:cxn ang="0">
                    <a:pos x="3" y="82"/>
                  </a:cxn>
                  <a:cxn ang="0">
                    <a:pos x="0" y="93"/>
                  </a:cxn>
                  <a:cxn ang="0">
                    <a:pos x="5" y="102"/>
                  </a:cxn>
                  <a:cxn ang="0">
                    <a:pos x="22" y="104"/>
                  </a:cxn>
                  <a:cxn ang="0">
                    <a:pos x="26" y="109"/>
                  </a:cxn>
                  <a:cxn ang="0">
                    <a:pos x="27" y="105"/>
                  </a:cxn>
                  <a:cxn ang="0">
                    <a:pos x="31" y="96"/>
                  </a:cxn>
                  <a:cxn ang="0">
                    <a:pos x="40" y="92"/>
                  </a:cxn>
                  <a:cxn ang="0">
                    <a:pos x="39" y="61"/>
                  </a:cxn>
                  <a:cxn ang="0">
                    <a:pos x="96" y="40"/>
                  </a:cxn>
                  <a:cxn ang="0">
                    <a:pos x="87" y="36"/>
                  </a:cxn>
                  <a:cxn ang="0">
                    <a:pos x="82" y="35"/>
                  </a:cxn>
                  <a:cxn ang="0">
                    <a:pos x="78" y="32"/>
                  </a:cxn>
                  <a:cxn ang="0">
                    <a:pos x="72" y="30"/>
                  </a:cxn>
                  <a:cxn ang="0">
                    <a:pos x="69" y="30"/>
                  </a:cxn>
                  <a:cxn ang="0">
                    <a:pos x="67" y="29"/>
                  </a:cxn>
                  <a:cxn ang="0">
                    <a:pos x="68" y="29"/>
                  </a:cxn>
                  <a:cxn ang="0">
                    <a:pos x="67" y="29"/>
                  </a:cxn>
                  <a:cxn ang="0">
                    <a:pos x="64" y="25"/>
                  </a:cxn>
                  <a:cxn ang="0">
                    <a:pos x="56" y="15"/>
                  </a:cxn>
                  <a:cxn ang="0">
                    <a:pos x="57" y="2"/>
                  </a:cxn>
                  <a:cxn ang="0">
                    <a:pos x="49" y="1"/>
                  </a:cxn>
                  <a:cxn ang="0">
                    <a:pos x="45" y="7"/>
                  </a:cxn>
                  <a:cxn ang="0">
                    <a:pos x="46" y="11"/>
                  </a:cxn>
                  <a:cxn ang="0">
                    <a:pos x="46" y="18"/>
                  </a:cxn>
                  <a:cxn ang="0">
                    <a:pos x="41" y="23"/>
                  </a:cxn>
                  <a:cxn ang="0">
                    <a:pos x="37" y="24"/>
                  </a:cxn>
                  <a:cxn ang="0">
                    <a:pos x="38" y="37"/>
                  </a:cxn>
                  <a:cxn ang="0">
                    <a:pos x="38" y="59"/>
                  </a:cxn>
                  <a:cxn ang="0">
                    <a:pos x="39" y="58"/>
                  </a:cxn>
                  <a:cxn ang="0">
                    <a:pos x="43" y="62"/>
                  </a:cxn>
                  <a:cxn ang="0">
                    <a:pos x="47" y="65"/>
                  </a:cxn>
                  <a:cxn ang="0">
                    <a:pos x="50" y="67"/>
                  </a:cxn>
                  <a:cxn ang="0">
                    <a:pos x="53" y="71"/>
                  </a:cxn>
                  <a:cxn ang="0">
                    <a:pos x="56" y="71"/>
                  </a:cxn>
                  <a:cxn ang="0">
                    <a:pos x="58" y="71"/>
                  </a:cxn>
                  <a:cxn ang="0">
                    <a:pos x="59" y="72"/>
                  </a:cxn>
                  <a:cxn ang="0">
                    <a:pos x="73" y="68"/>
                  </a:cxn>
                  <a:cxn ang="0">
                    <a:pos x="81" y="57"/>
                  </a:cxn>
                  <a:cxn ang="0">
                    <a:pos x="82" y="51"/>
                  </a:cxn>
                  <a:cxn ang="0">
                    <a:pos x="94" y="46"/>
                  </a:cxn>
                  <a:cxn ang="0">
                    <a:pos x="99" y="43"/>
                  </a:cxn>
                  <a:cxn ang="0">
                    <a:pos x="96" y="40"/>
                  </a:cxn>
                </a:cxnLst>
                <a:rect l="0" t="0" r="r" b="b"/>
                <a:pathLst>
                  <a:path w="100" h="110">
                    <a:moveTo>
                      <a:pt x="39" y="61"/>
                    </a:moveTo>
                    <a:cubicBezTo>
                      <a:pt x="39" y="61"/>
                      <a:pt x="38" y="60"/>
                      <a:pt x="38" y="59"/>
                    </a:cubicBezTo>
                    <a:cubicBezTo>
                      <a:pt x="29" y="68"/>
                      <a:pt x="29" y="68"/>
                      <a:pt x="29" y="68"/>
                    </a:cubicBezTo>
                    <a:cubicBezTo>
                      <a:pt x="29" y="62"/>
                      <a:pt x="17" y="67"/>
                      <a:pt x="15" y="70"/>
                    </a:cubicBezTo>
                    <a:cubicBezTo>
                      <a:pt x="13" y="73"/>
                      <a:pt x="16" y="78"/>
                      <a:pt x="18" y="80"/>
                    </a:cubicBezTo>
                    <a:cubicBezTo>
                      <a:pt x="14" y="84"/>
                      <a:pt x="8" y="79"/>
                      <a:pt x="3" y="82"/>
                    </a:cubicBezTo>
                    <a:cubicBezTo>
                      <a:pt x="0" y="83"/>
                      <a:pt x="0" y="89"/>
                      <a:pt x="0" y="93"/>
                    </a:cubicBezTo>
                    <a:cubicBezTo>
                      <a:pt x="0" y="98"/>
                      <a:pt x="0" y="100"/>
                      <a:pt x="5" y="102"/>
                    </a:cubicBezTo>
                    <a:cubicBezTo>
                      <a:pt x="11" y="104"/>
                      <a:pt x="18" y="102"/>
                      <a:pt x="22" y="104"/>
                    </a:cubicBezTo>
                    <a:cubicBezTo>
                      <a:pt x="22" y="106"/>
                      <a:pt x="23" y="110"/>
                      <a:pt x="26" y="109"/>
                    </a:cubicBezTo>
                    <a:cubicBezTo>
                      <a:pt x="26" y="109"/>
                      <a:pt x="26" y="105"/>
                      <a:pt x="27" y="105"/>
                    </a:cubicBezTo>
                    <a:cubicBezTo>
                      <a:pt x="27" y="102"/>
                      <a:pt x="29" y="99"/>
                      <a:pt x="31" y="96"/>
                    </a:cubicBezTo>
                    <a:cubicBezTo>
                      <a:pt x="34" y="93"/>
                      <a:pt x="35" y="93"/>
                      <a:pt x="40" y="92"/>
                    </a:cubicBezTo>
                    <a:cubicBezTo>
                      <a:pt x="41" y="81"/>
                      <a:pt x="44" y="72"/>
                      <a:pt x="39" y="61"/>
                    </a:cubicBezTo>
                    <a:moveTo>
                      <a:pt x="96" y="40"/>
                    </a:moveTo>
                    <a:cubicBezTo>
                      <a:pt x="93" y="38"/>
                      <a:pt x="90" y="37"/>
                      <a:pt x="87" y="36"/>
                    </a:cubicBezTo>
                    <a:cubicBezTo>
                      <a:pt x="85" y="36"/>
                      <a:pt x="83" y="36"/>
                      <a:pt x="82" y="35"/>
                    </a:cubicBezTo>
                    <a:cubicBezTo>
                      <a:pt x="81" y="35"/>
                      <a:pt x="79" y="33"/>
                      <a:pt x="78" y="32"/>
                    </a:cubicBezTo>
                    <a:cubicBezTo>
                      <a:pt x="76" y="31"/>
                      <a:pt x="75" y="30"/>
                      <a:pt x="72" y="30"/>
                    </a:cubicBezTo>
                    <a:cubicBezTo>
                      <a:pt x="71" y="30"/>
                      <a:pt x="70" y="31"/>
                      <a:pt x="69" y="30"/>
                    </a:cubicBezTo>
                    <a:cubicBezTo>
                      <a:pt x="68" y="30"/>
                      <a:pt x="68" y="30"/>
                      <a:pt x="67" y="29"/>
                    </a:cubicBezTo>
                    <a:cubicBezTo>
                      <a:pt x="68" y="29"/>
                      <a:pt x="68" y="29"/>
                      <a:pt x="68" y="29"/>
                    </a:cubicBezTo>
                    <a:cubicBezTo>
                      <a:pt x="67" y="29"/>
                      <a:pt x="67" y="29"/>
                      <a:pt x="67" y="29"/>
                    </a:cubicBezTo>
                    <a:cubicBezTo>
                      <a:pt x="66" y="28"/>
                      <a:pt x="65" y="26"/>
                      <a:pt x="64" y="25"/>
                    </a:cubicBezTo>
                    <a:cubicBezTo>
                      <a:pt x="61" y="22"/>
                      <a:pt x="58" y="19"/>
                      <a:pt x="56" y="15"/>
                    </a:cubicBezTo>
                    <a:cubicBezTo>
                      <a:pt x="54" y="11"/>
                      <a:pt x="57" y="6"/>
                      <a:pt x="57" y="2"/>
                    </a:cubicBezTo>
                    <a:cubicBezTo>
                      <a:pt x="56" y="0"/>
                      <a:pt x="51" y="0"/>
                      <a:pt x="49" y="1"/>
                    </a:cubicBezTo>
                    <a:cubicBezTo>
                      <a:pt x="46" y="2"/>
                      <a:pt x="45" y="4"/>
                      <a:pt x="45" y="7"/>
                    </a:cubicBezTo>
                    <a:cubicBezTo>
                      <a:pt x="45" y="8"/>
                      <a:pt x="45" y="10"/>
                      <a:pt x="46" y="11"/>
                    </a:cubicBezTo>
                    <a:cubicBezTo>
                      <a:pt x="46" y="14"/>
                      <a:pt x="48" y="15"/>
                      <a:pt x="46" y="18"/>
                    </a:cubicBezTo>
                    <a:cubicBezTo>
                      <a:pt x="46" y="19"/>
                      <a:pt x="43" y="22"/>
                      <a:pt x="41" y="23"/>
                    </a:cubicBezTo>
                    <a:cubicBezTo>
                      <a:pt x="40" y="24"/>
                      <a:pt x="39" y="23"/>
                      <a:pt x="37" y="24"/>
                    </a:cubicBezTo>
                    <a:cubicBezTo>
                      <a:pt x="35" y="27"/>
                      <a:pt x="36" y="34"/>
                      <a:pt x="38" y="37"/>
                    </a:cubicBezTo>
                    <a:cubicBezTo>
                      <a:pt x="29" y="41"/>
                      <a:pt x="34" y="52"/>
                      <a:pt x="38" y="59"/>
                    </a:cubicBezTo>
                    <a:cubicBezTo>
                      <a:pt x="39" y="58"/>
                      <a:pt x="39" y="58"/>
                      <a:pt x="39" y="58"/>
                    </a:cubicBezTo>
                    <a:cubicBezTo>
                      <a:pt x="40" y="59"/>
                      <a:pt x="41" y="60"/>
                      <a:pt x="43" y="62"/>
                    </a:cubicBezTo>
                    <a:cubicBezTo>
                      <a:pt x="44" y="63"/>
                      <a:pt x="45" y="64"/>
                      <a:pt x="47" y="65"/>
                    </a:cubicBezTo>
                    <a:cubicBezTo>
                      <a:pt x="48" y="65"/>
                      <a:pt x="49" y="65"/>
                      <a:pt x="50" y="67"/>
                    </a:cubicBezTo>
                    <a:cubicBezTo>
                      <a:pt x="51" y="68"/>
                      <a:pt x="53" y="70"/>
                      <a:pt x="53" y="71"/>
                    </a:cubicBezTo>
                    <a:cubicBezTo>
                      <a:pt x="54" y="71"/>
                      <a:pt x="55" y="71"/>
                      <a:pt x="56" y="71"/>
                    </a:cubicBezTo>
                    <a:cubicBezTo>
                      <a:pt x="57" y="71"/>
                      <a:pt x="57" y="71"/>
                      <a:pt x="58" y="71"/>
                    </a:cubicBezTo>
                    <a:cubicBezTo>
                      <a:pt x="59" y="71"/>
                      <a:pt x="59" y="72"/>
                      <a:pt x="59" y="72"/>
                    </a:cubicBezTo>
                    <a:cubicBezTo>
                      <a:pt x="65" y="74"/>
                      <a:pt x="68" y="72"/>
                      <a:pt x="73" y="68"/>
                    </a:cubicBezTo>
                    <a:cubicBezTo>
                      <a:pt x="76" y="65"/>
                      <a:pt x="79" y="61"/>
                      <a:pt x="81" y="57"/>
                    </a:cubicBezTo>
                    <a:cubicBezTo>
                      <a:pt x="83" y="55"/>
                      <a:pt x="82" y="54"/>
                      <a:pt x="82" y="51"/>
                    </a:cubicBezTo>
                    <a:cubicBezTo>
                      <a:pt x="86" y="49"/>
                      <a:pt x="90" y="48"/>
                      <a:pt x="94" y="46"/>
                    </a:cubicBezTo>
                    <a:cubicBezTo>
                      <a:pt x="95" y="45"/>
                      <a:pt x="98" y="44"/>
                      <a:pt x="99" y="43"/>
                    </a:cubicBezTo>
                    <a:cubicBezTo>
                      <a:pt x="100" y="41"/>
                      <a:pt x="97" y="40"/>
                      <a:pt x="96" y="40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22" name="Freeform 138">
                <a:extLst>
                  <a:ext uri="{FF2B5EF4-FFF2-40B4-BE49-F238E27FC236}">
                    <a16:creationId xmlns:a16="http://schemas.microsoft.com/office/drawing/2014/main" id="{042C8486-4FAB-45C0-A213-5BD373454C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1763" y="-1588"/>
                <a:ext cx="2671763" cy="3179763"/>
              </a:xfrm>
              <a:custGeom>
                <a:avLst/>
                <a:gdLst/>
                <a:ahLst/>
                <a:cxnLst>
                  <a:cxn ang="0">
                    <a:pos x="1352" y="75"/>
                  </a:cxn>
                  <a:cxn ang="0">
                    <a:pos x="1254" y="97"/>
                  </a:cxn>
                  <a:cxn ang="0">
                    <a:pos x="1215" y="46"/>
                  </a:cxn>
                  <a:cxn ang="0">
                    <a:pos x="1183" y="71"/>
                  </a:cxn>
                  <a:cxn ang="0">
                    <a:pos x="1101" y="166"/>
                  </a:cxn>
                  <a:cxn ang="0">
                    <a:pos x="1114" y="16"/>
                  </a:cxn>
                  <a:cxn ang="0">
                    <a:pos x="1066" y="82"/>
                  </a:cxn>
                  <a:cxn ang="0">
                    <a:pos x="988" y="172"/>
                  </a:cxn>
                  <a:cxn ang="0">
                    <a:pos x="855" y="247"/>
                  </a:cxn>
                  <a:cxn ang="0">
                    <a:pos x="779" y="240"/>
                  </a:cxn>
                  <a:cxn ang="0">
                    <a:pos x="723" y="294"/>
                  </a:cxn>
                  <a:cxn ang="0">
                    <a:pos x="676" y="334"/>
                  </a:cxn>
                  <a:cxn ang="0">
                    <a:pos x="682" y="368"/>
                  </a:cxn>
                  <a:cxn ang="0">
                    <a:pos x="594" y="355"/>
                  </a:cxn>
                  <a:cxn ang="0">
                    <a:pos x="571" y="378"/>
                  </a:cxn>
                  <a:cxn ang="0">
                    <a:pos x="539" y="409"/>
                  </a:cxn>
                  <a:cxn ang="0">
                    <a:pos x="476" y="472"/>
                  </a:cxn>
                  <a:cxn ang="0">
                    <a:pos x="535" y="461"/>
                  </a:cxn>
                  <a:cxn ang="0">
                    <a:pos x="652" y="435"/>
                  </a:cxn>
                  <a:cxn ang="0">
                    <a:pos x="591" y="478"/>
                  </a:cxn>
                  <a:cxn ang="0">
                    <a:pos x="568" y="557"/>
                  </a:cxn>
                  <a:cxn ang="0">
                    <a:pos x="499" y="629"/>
                  </a:cxn>
                  <a:cxn ang="0">
                    <a:pos x="447" y="712"/>
                  </a:cxn>
                  <a:cxn ang="0">
                    <a:pos x="429" y="788"/>
                  </a:cxn>
                  <a:cxn ang="0">
                    <a:pos x="368" y="906"/>
                  </a:cxn>
                  <a:cxn ang="0">
                    <a:pos x="355" y="948"/>
                  </a:cxn>
                  <a:cxn ang="0">
                    <a:pos x="285" y="1042"/>
                  </a:cxn>
                  <a:cxn ang="0">
                    <a:pos x="326" y="1063"/>
                  </a:cxn>
                  <a:cxn ang="0">
                    <a:pos x="324" y="1087"/>
                  </a:cxn>
                  <a:cxn ang="0">
                    <a:pos x="247" y="1099"/>
                  </a:cxn>
                  <a:cxn ang="0">
                    <a:pos x="193" y="1128"/>
                  </a:cxn>
                  <a:cxn ang="0">
                    <a:pos x="170" y="1142"/>
                  </a:cxn>
                  <a:cxn ang="0">
                    <a:pos x="177" y="1172"/>
                  </a:cxn>
                  <a:cxn ang="0">
                    <a:pos x="77" y="1210"/>
                  </a:cxn>
                  <a:cxn ang="0">
                    <a:pos x="98" y="1233"/>
                  </a:cxn>
                  <a:cxn ang="0">
                    <a:pos x="62" y="1256"/>
                  </a:cxn>
                  <a:cxn ang="0">
                    <a:pos x="66" y="1277"/>
                  </a:cxn>
                  <a:cxn ang="0">
                    <a:pos x="29" y="1343"/>
                  </a:cxn>
                  <a:cxn ang="0">
                    <a:pos x="40" y="1371"/>
                  </a:cxn>
                  <a:cxn ang="0">
                    <a:pos x="21" y="1424"/>
                  </a:cxn>
                  <a:cxn ang="0">
                    <a:pos x="37" y="1490"/>
                  </a:cxn>
                  <a:cxn ang="0">
                    <a:pos x="47" y="1580"/>
                  </a:cxn>
                  <a:cxn ang="0">
                    <a:pos x="69" y="1646"/>
                  </a:cxn>
                  <a:cxn ang="0">
                    <a:pos x="207" y="1675"/>
                  </a:cxn>
                  <a:cxn ang="0">
                    <a:pos x="315" y="1549"/>
                  </a:cxn>
                  <a:cxn ang="0">
                    <a:pos x="357" y="1589"/>
                  </a:cxn>
                  <a:cxn ang="0">
                    <a:pos x="433" y="1431"/>
                  </a:cxn>
                  <a:cxn ang="0">
                    <a:pos x="410" y="1221"/>
                  </a:cxn>
                  <a:cxn ang="0">
                    <a:pos x="444" y="1021"/>
                  </a:cxn>
                  <a:cxn ang="0">
                    <a:pos x="529" y="825"/>
                  </a:cxn>
                  <a:cxn ang="0">
                    <a:pos x="624" y="594"/>
                  </a:cxn>
                  <a:cxn ang="0">
                    <a:pos x="735" y="459"/>
                  </a:cxn>
                  <a:cxn ang="0">
                    <a:pos x="869" y="334"/>
                  </a:cxn>
                  <a:cxn ang="0">
                    <a:pos x="982" y="393"/>
                  </a:cxn>
                  <a:cxn ang="0">
                    <a:pos x="1100" y="388"/>
                  </a:cxn>
                  <a:cxn ang="0">
                    <a:pos x="1145" y="252"/>
                  </a:cxn>
                  <a:cxn ang="0">
                    <a:pos x="1261" y="192"/>
                  </a:cxn>
                  <a:cxn ang="0">
                    <a:pos x="1316" y="340"/>
                  </a:cxn>
                  <a:cxn ang="0">
                    <a:pos x="1375" y="252"/>
                  </a:cxn>
                  <a:cxn ang="0">
                    <a:pos x="1383" y="212"/>
                  </a:cxn>
                  <a:cxn ang="0">
                    <a:pos x="1340" y="204"/>
                  </a:cxn>
                </a:cxnLst>
                <a:rect l="0" t="0" r="r" b="b"/>
                <a:pathLst>
                  <a:path w="1429" h="1701">
                    <a:moveTo>
                      <a:pt x="1115" y="33"/>
                    </a:moveTo>
                    <a:cubicBezTo>
                      <a:pt x="1116" y="33"/>
                      <a:pt x="1117" y="33"/>
                      <a:pt x="1118" y="33"/>
                    </a:cubicBezTo>
                    <a:cubicBezTo>
                      <a:pt x="1117" y="32"/>
                      <a:pt x="1116" y="32"/>
                      <a:pt x="1115" y="33"/>
                    </a:cubicBezTo>
                    <a:moveTo>
                      <a:pt x="272" y="1065"/>
                    </a:moveTo>
                    <a:cubicBezTo>
                      <a:pt x="272" y="1065"/>
                      <a:pt x="272" y="1065"/>
                      <a:pt x="272" y="1065"/>
                    </a:cubicBezTo>
                    <a:cubicBezTo>
                      <a:pt x="271" y="1066"/>
                      <a:pt x="270" y="1066"/>
                      <a:pt x="270" y="1067"/>
                    </a:cubicBezTo>
                    <a:cubicBezTo>
                      <a:pt x="271" y="1067"/>
                      <a:pt x="272" y="1066"/>
                      <a:pt x="272" y="1065"/>
                    </a:cubicBezTo>
                    <a:moveTo>
                      <a:pt x="422" y="1463"/>
                    </a:moveTo>
                    <a:cubicBezTo>
                      <a:pt x="423" y="1463"/>
                      <a:pt x="424" y="1463"/>
                      <a:pt x="425" y="1463"/>
                    </a:cubicBezTo>
                    <a:cubicBezTo>
                      <a:pt x="424" y="1461"/>
                      <a:pt x="423" y="1462"/>
                      <a:pt x="422" y="1463"/>
                    </a:cubicBezTo>
                    <a:moveTo>
                      <a:pt x="1418" y="124"/>
                    </a:moveTo>
                    <a:cubicBezTo>
                      <a:pt x="1416" y="126"/>
                      <a:pt x="1415" y="124"/>
                      <a:pt x="1414" y="123"/>
                    </a:cubicBezTo>
                    <a:cubicBezTo>
                      <a:pt x="1411" y="121"/>
                      <a:pt x="1408" y="119"/>
                      <a:pt x="1405" y="118"/>
                    </a:cubicBezTo>
                    <a:cubicBezTo>
                      <a:pt x="1403" y="117"/>
                      <a:pt x="1401" y="115"/>
                      <a:pt x="1400" y="113"/>
                    </a:cubicBezTo>
                    <a:cubicBezTo>
                      <a:pt x="1399" y="111"/>
                      <a:pt x="1401" y="108"/>
                      <a:pt x="1398" y="106"/>
                    </a:cubicBezTo>
                    <a:cubicBezTo>
                      <a:pt x="1391" y="110"/>
                      <a:pt x="1379" y="109"/>
                      <a:pt x="1370" y="108"/>
                    </a:cubicBezTo>
                    <a:cubicBezTo>
                      <a:pt x="1370" y="104"/>
                      <a:pt x="1378" y="103"/>
                      <a:pt x="1380" y="101"/>
                    </a:cubicBezTo>
                    <a:cubicBezTo>
                      <a:pt x="1385" y="97"/>
                      <a:pt x="1382" y="94"/>
                      <a:pt x="1378" y="90"/>
                    </a:cubicBezTo>
                    <a:cubicBezTo>
                      <a:pt x="1376" y="87"/>
                      <a:pt x="1375" y="80"/>
                      <a:pt x="1371" y="79"/>
                    </a:cubicBezTo>
                    <a:cubicBezTo>
                      <a:pt x="1368" y="77"/>
                      <a:pt x="1366" y="80"/>
                      <a:pt x="1365" y="82"/>
                    </a:cubicBezTo>
                    <a:cubicBezTo>
                      <a:pt x="1361" y="85"/>
                      <a:pt x="1357" y="89"/>
                      <a:pt x="1353" y="91"/>
                    </a:cubicBezTo>
                    <a:cubicBezTo>
                      <a:pt x="1355" y="86"/>
                      <a:pt x="1358" y="77"/>
                      <a:pt x="1352" y="75"/>
                    </a:cubicBezTo>
                    <a:cubicBezTo>
                      <a:pt x="1348" y="74"/>
                      <a:pt x="1343" y="75"/>
                      <a:pt x="1341" y="77"/>
                    </a:cubicBezTo>
                    <a:cubicBezTo>
                      <a:pt x="1338" y="79"/>
                      <a:pt x="1337" y="83"/>
                      <a:pt x="1335" y="85"/>
                    </a:cubicBezTo>
                    <a:cubicBezTo>
                      <a:pt x="1332" y="87"/>
                      <a:pt x="1335" y="87"/>
                      <a:pt x="1332" y="85"/>
                    </a:cubicBezTo>
                    <a:cubicBezTo>
                      <a:pt x="1329" y="84"/>
                      <a:pt x="1328" y="80"/>
                      <a:pt x="1328" y="77"/>
                    </a:cubicBezTo>
                    <a:cubicBezTo>
                      <a:pt x="1328" y="74"/>
                      <a:pt x="1329" y="75"/>
                      <a:pt x="1330" y="72"/>
                    </a:cubicBezTo>
                    <a:cubicBezTo>
                      <a:pt x="1331" y="69"/>
                      <a:pt x="1331" y="65"/>
                      <a:pt x="1330" y="62"/>
                    </a:cubicBezTo>
                    <a:cubicBezTo>
                      <a:pt x="1328" y="58"/>
                      <a:pt x="1324" y="57"/>
                      <a:pt x="1320" y="56"/>
                    </a:cubicBezTo>
                    <a:cubicBezTo>
                      <a:pt x="1317" y="54"/>
                      <a:pt x="1312" y="49"/>
                      <a:pt x="1308" y="51"/>
                    </a:cubicBezTo>
                    <a:cubicBezTo>
                      <a:pt x="1308" y="53"/>
                      <a:pt x="1305" y="55"/>
                      <a:pt x="1304" y="56"/>
                    </a:cubicBezTo>
                    <a:cubicBezTo>
                      <a:pt x="1301" y="59"/>
                      <a:pt x="1299" y="62"/>
                      <a:pt x="1296" y="65"/>
                    </a:cubicBezTo>
                    <a:cubicBezTo>
                      <a:pt x="1291" y="70"/>
                      <a:pt x="1289" y="75"/>
                      <a:pt x="1289" y="82"/>
                    </a:cubicBezTo>
                    <a:cubicBezTo>
                      <a:pt x="1289" y="88"/>
                      <a:pt x="1289" y="94"/>
                      <a:pt x="1289" y="99"/>
                    </a:cubicBezTo>
                    <a:cubicBezTo>
                      <a:pt x="1289" y="106"/>
                      <a:pt x="1286" y="111"/>
                      <a:pt x="1285" y="118"/>
                    </a:cubicBezTo>
                    <a:cubicBezTo>
                      <a:pt x="1281" y="111"/>
                      <a:pt x="1276" y="115"/>
                      <a:pt x="1270" y="118"/>
                    </a:cubicBezTo>
                    <a:cubicBezTo>
                      <a:pt x="1268" y="119"/>
                      <a:pt x="1265" y="120"/>
                      <a:pt x="1263" y="121"/>
                    </a:cubicBezTo>
                    <a:cubicBezTo>
                      <a:pt x="1260" y="122"/>
                      <a:pt x="1247" y="123"/>
                      <a:pt x="1245" y="120"/>
                    </a:cubicBezTo>
                    <a:cubicBezTo>
                      <a:pt x="1248" y="117"/>
                      <a:pt x="1252" y="118"/>
                      <a:pt x="1255" y="115"/>
                    </a:cubicBezTo>
                    <a:cubicBezTo>
                      <a:pt x="1257" y="114"/>
                      <a:pt x="1257" y="112"/>
                      <a:pt x="1259" y="110"/>
                    </a:cubicBezTo>
                    <a:cubicBezTo>
                      <a:pt x="1261" y="107"/>
                      <a:pt x="1265" y="105"/>
                      <a:pt x="1268" y="103"/>
                    </a:cubicBezTo>
                    <a:cubicBezTo>
                      <a:pt x="1274" y="99"/>
                      <a:pt x="1279" y="95"/>
                      <a:pt x="1283" y="89"/>
                    </a:cubicBezTo>
                    <a:cubicBezTo>
                      <a:pt x="1278" y="93"/>
                      <a:pt x="1272" y="93"/>
                      <a:pt x="1267" y="94"/>
                    </a:cubicBezTo>
                    <a:cubicBezTo>
                      <a:pt x="1262" y="95"/>
                      <a:pt x="1259" y="96"/>
                      <a:pt x="1254" y="97"/>
                    </a:cubicBezTo>
                    <a:cubicBezTo>
                      <a:pt x="1247" y="97"/>
                      <a:pt x="1239" y="98"/>
                      <a:pt x="1232" y="97"/>
                    </a:cubicBezTo>
                    <a:cubicBezTo>
                      <a:pt x="1236" y="94"/>
                      <a:pt x="1239" y="90"/>
                      <a:pt x="1243" y="88"/>
                    </a:cubicBezTo>
                    <a:cubicBezTo>
                      <a:pt x="1248" y="85"/>
                      <a:pt x="1254" y="81"/>
                      <a:pt x="1257" y="76"/>
                    </a:cubicBezTo>
                    <a:cubicBezTo>
                      <a:pt x="1260" y="71"/>
                      <a:pt x="1259" y="69"/>
                      <a:pt x="1255" y="67"/>
                    </a:cubicBezTo>
                    <a:cubicBezTo>
                      <a:pt x="1253" y="66"/>
                      <a:pt x="1247" y="66"/>
                      <a:pt x="1249" y="62"/>
                    </a:cubicBezTo>
                    <a:cubicBezTo>
                      <a:pt x="1249" y="61"/>
                      <a:pt x="1252" y="60"/>
                      <a:pt x="1253" y="60"/>
                    </a:cubicBezTo>
                    <a:cubicBezTo>
                      <a:pt x="1258" y="60"/>
                      <a:pt x="1261" y="60"/>
                      <a:pt x="1265" y="62"/>
                    </a:cubicBezTo>
                    <a:cubicBezTo>
                      <a:pt x="1269" y="63"/>
                      <a:pt x="1277" y="63"/>
                      <a:pt x="1279" y="58"/>
                    </a:cubicBezTo>
                    <a:cubicBezTo>
                      <a:pt x="1279" y="57"/>
                      <a:pt x="1278" y="55"/>
                      <a:pt x="1279" y="54"/>
                    </a:cubicBezTo>
                    <a:cubicBezTo>
                      <a:pt x="1279" y="52"/>
                      <a:pt x="1282" y="50"/>
                      <a:pt x="1283" y="48"/>
                    </a:cubicBezTo>
                    <a:cubicBezTo>
                      <a:pt x="1287" y="44"/>
                      <a:pt x="1292" y="41"/>
                      <a:pt x="1290" y="36"/>
                    </a:cubicBezTo>
                    <a:cubicBezTo>
                      <a:pt x="1287" y="30"/>
                      <a:pt x="1276" y="33"/>
                      <a:pt x="1270" y="33"/>
                    </a:cubicBezTo>
                    <a:cubicBezTo>
                      <a:pt x="1270" y="29"/>
                      <a:pt x="1272" y="21"/>
                      <a:pt x="1268" y="18"/>
                    </a:cubicBezTo>
                    <a:cubicBezTo>
                      <a:pt x="1263" y="14"/>
                      <a:pt x="1254" y="21"/>
                      <a:pt x="1250" y="20"/>
                    </a:cubicBezTo>
                    <a:cubicBezTo>
                      <a:pt x="1249" y="16"/>
                      <a:pt x="1251" y="4"/>
                      <a:pt x="1244" y="6"/>
                    </a:cubicBezTo>
                    <a:cubicBezTo>
                      <a:pt x="1240" y="8"/>
                      <a:pt x="1239" y="16"/>
                      <a:pt x="1238" y="20"/>
                    </a:cubicBezTo>
                    <a:cubicBezTo>
                      <a:pt x="1237" y="22"/>
                      <a:pt x="1234" y="32"/>
                      <a:pt x="1231" y="33"/>
                    </a:cubicBezTo>
                    <a:cubicBezTo>
                      <a:pt x="1227" y="34"/>
                      <a:pt x="1225" y="25"/>
                      <a:pt x="1221" y="25"/>
                    </a:cubicBezTo>
                    <a:cubicBezTo>
                      <a:pt x="1215" y="24"/>
                      <a:pt x="1217" y="32"/>
                      <a:pt x="1217" y="36"/>
                    </a:cubicBezTo>
                    <a:cubicBezTo>
                      <a:pt x="1217" y="36"/>
                      <a:pt x="1217" y="36"/>
                      <a:pt x="1217" y="36"/>
                    </a:cubicBezTo>
                    <a:cubicBezTo>
                      <a:pt x="1216" y="38"/>
                      <a:pt x="1211" y="39"/>
                      <a:pt x="1210" y="42"/>
                    </a:cubicBezTo>
                    <a:cubicBezTo>
                      <a:pt x="1209" y="47"/>
                      <a:pt x="1213" y="43"/>
                      <a:pt x="1215" y="46"/>
                    </a:cubicBezTo>
                    <a:cubicBezTo>
                      <a:pt x="1216" y="47"/>
                      <a:pt x="1216" y="49"/>
                      <a:pt x="1217" y="50"/>
                    </a:cubicBezTo>
                    <a:cubicBezTo>
                      <a:pt x="1218" y="51"/>
                      <a:pt x="1222" y="53"/>
                      <a:pt x="1224" y="53"/>
                    </a:cubicBezTo>
                    <a:cubicBezTo>
                      <a:pt x="1219" y="52"/>
                      <a:pt x="1219" y="56"/>
                      <a:pt x="1219" y="60"/>
                    </a:cubicBezTo>
                    <a:cubicBezTo>
                      <a:pt x="1219" y="65"/>
                      <a:pt x="1219" y="67"/>
                      <a:pt x="1216" y="71"/>
                    </a:cubicBezTo>
                    <a:cubicBezTo>
                      <a:pt x="1211" y="77"/>
                      <a:pt x="1205" y="81"/>
                      <a:pt x="1204" y="90"/>
                    </a:cubicBezTo>
                    <a:cubicBezTo>
                      <a:pt x="1203" y="94"/>
                      <a:pt x="1204" y="99"/>
                      <a:pt x="1202" y="104"/>
                    </a:cubicBezTo>
                    <a:cubicBezTo>
                      <a:pt x="1201" y="107"/>
                      <a:pt x="1198" y="108"/>
                      <a:pt x="1197" y="111"/>
                    </a:cubicBezTo>
                    <a:cubicBezTo>
                      <a:pt x="1197" y="114"/>
                      <a:pt x="1198" y="117"/>
                      <a:pt x="1198" y="119"/>
                    </a:cubicBezTo>
                    <a:cubicBezTo>
                      <a:pt x="1197" y="121"/>
                      <a:pt x="1194" y="123"/>
                      <a:pt x="1193" y="124"/>
                    </a:cubicBezTo>
                    <a:cubicBezTo>
                      <a:pt x="1189" y="127"/>
                      <a:pt x="1189" y="128"/>
                      <a:pt x="1187" y="132"/>
                    </a:cubicBezTo>
                    <a:cubicBezTo>
                      <a:pt x="1185" y="135"/>
                      <a:pt x="1183" y="135"/>
                      <a:pt x="1183" y="139"/>
                    </a:cubicBezTo>
                    <a:cubicBezTo>
                      <a:pt x="1183" y="140"/>
                      <a:pt x="1183" y="141"/>
                      <a:pt x="1183" y="142"/>
                    </a:cubicBezTo>
                    <a:cubicBezTo>
                      <a:pt x="1181" y="142"/>
                      <a:pt x="1178" y="142"/>
                      <a:pt x="1176" y="142"/>
                    </a:cubicBezTo>
                    <a:cubicBezTo>
                      <a:pt x="1176" y="142"/>
                      <a:pt x="1176" y="142"/>
                      <a:pt x="1176" y="142"/>
                    </a:cubicBezTo>
                    <a:cubicBezTo>
                      <a:pt x="1177" y="138"/>
                      <a:pt x="1180" y="134"/>
                      <a:pt x="1182" y="129"/>
                    </a:cubicBezTo>
                    <a:cubicBezTo>
                      <a:pt x="1183" y="127"/>
                      <a:pt x="1182" y="125"/>
                      <a:pt x="1183" y="122"/>
                    </a:cubicBezTo>
                    <a:cubicBezTo>
                      <a:pt x="1184" y="119"/>
                      <a:pt x="1185" y="117"/>
                      <a:pt x="1185" y="113"/>
                    </a:cubicBezTo>
                    <a:cubicBezTo>
                      <a:pt x="1185" y="109"/>
                      <a:pt x="1185" y="105"/>
                      <a:pt x="1185" y="101"/>
                    </a:cubicBezTo>
                    <a:cubicBezTo>
                      <a:pt x="1186" y="97"/>
                      <a:pt x="1188" y="92"/>
                      <a:pt x="1187" y="88"/>
                    </a:cubicBezTo>
                    <a:cubicBezTo>
                      <a:pt x="1187" y="87"/>
                      <a:pt x="1186" y="83"/>
                      <a:pt x="1185" y="83"/>
                    </a:cubicBezTo>
                    <a:cubicBezTo>
                      <a:pt x="1182" y="81"/>
                      <a:pt x="1178" y="82"/>
                      <a:pt x="1179" y="77"/>
                    </a:cubicBezTo>
                    <a:cubicBezTo>
                      <a:pt x="1179" y="74"/>
                      <a:pt x="1181" y="73"/>
                      <a:pt x="1183" y="71"/>
                    </a:cubicBezTo>
                    <a:cubicBezTo>
                      <a:pt x="1187" y="69"/>
                      <a:pt x="1189" y="68"/>
                      <a:pt x="1189" y="63"/>
                    </a:cubicBezTo>
                    <a:cubicBezTo>
                      <a:pt x="1189" y="60"/>
                      <a:pt x="1189" y="58"/>
                      <a:pt x="1189" y="55"/>
                    </a:cubicBezTo>
                    <a:cubicBezTo>
                      <a:pt x="1189" y="47"/>
                      <a:pt x="1198" y="40"/>
                      <a:pt x="1193" y="32"/>
                    </a:cubicBezTo>
                    <a:cubicBezTo>
                      <a:pt x="1191" y="32"/>
                      <a:pt x="1185" y="32"/>
                      <a:pt x="1183" y="32"/>
                    </a:cubicBezTo>
                    <a:cubicBezTo>
                      <a:pt x="1182" y="33"/>
                      <a:pt x="1181" y="35"/>
                      <a:pt x="1180" y="37"/>
                    </a:cubicBezTo>
                    <a:cubicBezTo>
                      <a:pt x="1176" y="41"/>
                      <a:pt x="1171" y="45"/>
                      <a:pt x="1167" y="49"/>
                    </a:cubicBezTo>
                    <a:cubicBezTo>
                      <a:pt x="1161" y="53"/>
                      <a:pt x="1156" y="54"/>
                      <a:pt x="1156" y="61"/>
                    </a:cubicBezTo>
                    <a:cubicBezTo>
                      <a:pt x="1156" y="66"/>
                      <a:pt x="1156" y="70"/>
                      <a:pt x="1156" y="75"/>
                    </a:cubicBezTo>
                    <a:cubicBezTo>
                      <a:pt x="1156" y="80"/>
                      <a:pt x="1154" y="83"/>
                      <a:pt x="1151" y="87"/>
                    </a:cubicBezTo>
                    <a:cubicBezTo>
                      <a:pt x="1147" y="93"/>
                      <a:pt x="1141" y="99"/>
                      <a:pt x="1139" y="106"/>
                    </a:cubicBezTo>
                    <a:cubicBezTo>
                      <a:pt x="1138" y="113"/>
                      <a:pt x="1141" y="122"/>
                      <a:pt x="1134" y="128"/>
                    </a:cubicBezTo>
                    <a:cubicBezTo>
                      <a:pt x="1130" y="132"/>
                      <a:pt x="1121" y="131"/>
                      <a:pt x="1118" y="134"/>
                    </a:cubicBezTo>
                    <a:cubicBezTo>
                      <a:pt x="1117" y="135"/>
                      <a:pt x="1116" y="138"/>
                      <a:pt x="1116" y="139"/>
                    </a:cubicBezTo>
                    <a:cubicBezTo>
                      <a:pt x="1117" y="141"/>
                      <a:pt x="1119" y="141"/>
                      <a:pt x="1120" y="142"/>
                    </a:cubicBezTo>
                    <a:cubicBezTo>
                      <a:pt x="1123" y="145"/>
                      <a:pt x="1122" y="147"/>
                      <a:pt x="1119" y="148"/>
                    </a:cubicBezTo>
                    <a:cubicBezTo>
                      <a:pt x="1117" y="149"/>
                      <a:pt x="1116" y="147"/>
                      <a:pt x="1114" y="149"/>
                    </a:cubicBezTo>
                    <a:cubicBezTo>
                      <a:pt x="1115" y="148"/>
                      <a:pt x="1112" y="155"/>
                      <a:pt x="1113" y="153"/>
                    </a:cubicBezTo>
                    <a:cubicBezTo>
                      <a:pt x="1111" y="156"/>
                      <a:pt x="1109" y="160"/>
                      <a:pt x="1108" y="164"/>
                    </a:cubicBezTo>
                    <a:cubicBezTo>
                      <a:pt x="1107" y="168"/>
                      <a:pt x="1108" y="171"/>
                      <a:pt x="1108" y="175"/>
                    </a:cubicBezTo>
                    <a:cubicBezTo>
                      <a:pt x="1108" y="175"/>
                      <a:pt x="1107" y="175"/>
                      <a:pt x="1107" y="176"/>
                    </a:cubicBezTo>
                    <a:cubicBezTo>
                      <a:pt x="1106" y="177"/>
                      <a:pt x="1105" y="178"/>
                      <a:pt x="1103" y="175"/>
                    </a:cubicBezTo>
                    <a:cubicBezTo>
                      <a:pt x="1101" y="173"/>
                      <a:pt x="1102" y="169"/>
                      <a:pt x="1101" y="166"/>
                    </a:cubicBezTo>
                    <a:cubicBezTo>
                      <a:pt x="1101" y="165"/>
                      <a:pt x="1100" y="165"/>
                      <a:pt x="1100" y="164"/>
                    </a:cubicBezTo>
                    <a:cubicBezTo>
                      <a:pt x="1100" y="159"/>
                      <a:pt x="1101" y="159"/>
                      <a:pt x="1095" y="158"/>
                    </a:cubicBezTo>
                    <a:cubicBezTo>
                      <a:pt x="1094" y="158"/>
                      <a:pt x="1093" y="158"/>
                      <a:pt x="1093" y="158"/>
                    </a:cubicBezTo>
                    <a:cubicBezTo>
                      <a:pt x="1094" y="154"/>
                      <a:pt x="1096" y="154"/>
                      <a:pt x="1101" y="152"/>
                    </a:cubicBezTo>
                    <a:cubicBezTo>
                      <a:pt x="1110" y="148"/>
                      <a:pt x="1104" y="137"/>
                      <a:pt x="1106" y="129"/>
                    </a:cubicBezTo>
                    <a:cubicBezTo>
                      <a:pt x="1107" y="124"/>
                      <a:pt x="1112" y="119"/>
                      <a:pt x="1112" y="114"/>
                    </a:cubicBezTo>
                    <a:cubicBezTo>
                      <a:pt x="1111" y="111"/>
                      <a:pt x="1110" y="110"/>
                      <a:pt x="1110" y="108"/>
                    </a:cubicBezTo>
                    <a:cubicBezTo>
                      <a:pt x="1111" y="105"/>
                      <a:pt x="1114" y="101"/>
                      <a:pt x="1117" y="99"/>
                    </a:cubicBezTo>
                    <a:cubicBezTo>
                      <a:pt x="1119" y="96"/>
                      <a:pt x="1120" y="95"/>
                      <a:pt x="1122" y="92"/>
                    </a:cubicBezTo>
                    <a:cubicBezTo>
                      <a:pt x="1124" y="89"/>
                      <a:pt x="1126" y="85"/>
                      <a:pt x="1128" y="83"/>
                    </a:cubicBezTo>
                    <a:cubicBezTo>
                      <a:pt x="1130" y="80"/>
                      <a:pt x="1133" y="80"/>
                      <a:pt x="1134" y="77"/>
                    </a:cubicBezTo>
                    <a:cubicBezTo>
                      <a:pt x="1135" y="74"/>
                      <a:pt x="1132" y="70"/>
                      <a:pt x="1133" y="67"/>
                    </a:cubicBezTo>
                    <a:cubicBezTo>
                      <a:pt x="1133" y="62"/>
                      <a:pt x="1137" y="61"/>
                      <a:pt x="1141" y="58"/>
                    </a:cubicBezTo>
                    <a:cubicBezTo>
                      <a:pt x="1145" y="56"/>
                      <a:pt x="1149" y="47"/>
                      <a:pt x="1142" y="49"/>
                    </a:cubicBezTo>
                    <a:cubicBezTo>
                      <a:pt x="1141" y="45"/>
                      <a:pt x="1141" y="39"/>
                      <a:pt x="1143" y="36"/>
                    </a:cubicBezTo>
                    <a:cubicBezTo>
                      <a:pt x="1146" y="31"/>
                      <a:pt x="1155" y="35"/>
                      <a:pt x="1158" y="29"/>
                    </a:cubicBezTo>
                    <a:cubicBezTo>
                      <a:pt x="1156" y="26"/>
                      <a:pt x="1148" y="26"/>
                      <a:pt x="1145" y="24"/>
                    </a:cubicBezTo>
                    <a:cubicBezTo>
                      <a:pt x="1141" y="23"/>
                      <a:pt x="1139" y="21"/>
                      <a:pt x="1140" y="18"/>
                    </a:cubicBezTo>
                    <a:cubicBezTo>
                      <a:pt x="1141" y="16"/>
                      <a:pt x="1142" y="15"/>
                      <a:pt x="1144" y="15"/>
                    </a:cubicBezTo>
                    <a:cubicBezTo>
                      <a:pt x="1147" y="11"/>
                      <a:pt x="1141" y="0"/>
                      <a:pt x="1136" y="1"/>
                    </a:cubicBezTo>
                    <a:cubicBezTo>
                      <a:pt x="1135" y="5"/>
                      <a:pt x="1133" y="12"/>
                      <a:pt x="1130" y="15"/>
                    </a:cubicBezTo>
                    <a:cubicBezTo>
                      <a:pt x="1127" y="18"/>
                      <a:pt x="1118" y="15"/>
                      <a:pt x="1114" y="16"/>
                    </a:cubicBezTo>
                    <a:cubicBezTo>
                      <a:pt x="1112" y="17"/>
                      <a:pt x="1109" y="19"/>
                      <a:pt x="1111" y="22"/>
                    </a:cubicBezTo>
                    <a:cubicBezTo>
                      <a:pt x="1113" y="25"/>
                      <a:pt x="1115" y="24"/>
                      <a:pt x="1117" y="24"/>
                    </a:cubicBezTo>
                    <a:cubicBezTo>
                      <a:pt x="1121" y="25"/>
                      <a:pt x="1123" y="28"/>
                      <a:pt x="1124" y="32"/>
                    </a:cubicBezTo>
                    <a:cubicBezTo>
                      <a:pt x="1123" y="33"/>
                      <a:pt x="1120" y="33"/>
                      <a:pt x="1118" y="33"/>
                    </a:cubicBezTo>
                    <a:cubicBezTo>
                      <a:pt x="1121" y="34"/>
                      <a:pt x="1122" y="41"/>
                      <a:pt x="1124" y="44"/>
                    </a:cubicBezTo>
                    <a:cubicBezTo>
                      <a:pt x="1127" y="51"/>
                      <a:pt x="1125" y="57"/>
                      <a:pt x="1117" y="58"/>
                    </a:cubicBezTo>
                    <a:cubicBezTo>
                      <a:pt x="1114" y="58"/>
                      <a:pt x="1112" y="58"/>
                      <a:pt x="1111" y="56"/>
                    </a:cubicBezTo>
                    <a:cubicBezTo>
                      <a:pt x="1109" y="54"/>
                      <a:pt x="1108" y="51"/>
                      <a:pt x="1109" y="49"/>
                    </a:cubicBezTo>
                    <a:cubicBezTo>
                      <a:pt x="1106" y="47"/>
                      <a:pt x="1103" y="48"/>
                      <a:pt x="1100" y="48"/>
                    </a:cubicBezTo>
                    <a:cubicBezTo>
                      <a:pt x="1100" y="44"/>
                      <a:pt x="1099" y="38"/>
                      <a:pt x="1096" y="35"/>
                    </a:cubicBezTo>
                    <a:cubicBezTo>
                      <a:pt x="1092" y="37"/>
                      <a:pt x="1092" y="41"/>
                      <a:pt x="1087" y="39"/>
                    </a:cubicBezTo>
                    <a:cubicBezTo>
                      <a:pt x="1082" y="36"/>
                      <a:pt x="1083" y="29"/>
                      <a:pt x="1079" y="26"/>
                    </a:cubicBezTo>
                    <a:cubicBezTo>
                      <a:pt x="1069" y="16"/>
                      <a:pt x="1074" y="39"/>
                      <a:pt x="1075" y="43"/>
                    </a:cubicBezTo>
                    <a:cubicBezTo>
                      <a:pt x="1075" y="47"/>
                      <a:pt x="1077" y="48"/>
                      <a:pt x="1078" y="52"/>
                    </a:cubicBezTo>
                    <a:cubicBezTo>
                      <a:pt x="1078" y="57"/>
                      <a:pt x="1077" y="63"/>
                      <a:pt x="1070" y="60"/>
                    </a:cubicBezTo>
                    <a:cubicBezTo>
                      <a:pt x="1066" y="58"/>
                      <a:pt x="1063" y="50"/>
                      <a:pt x="1058" y="53"/>
                    </a:cubicBezTo>
                    <a:cubicBezTo>
                      <a:pt x="1053" y="56"/>
                      <a:pt x="1056" y="61"/>
                      <a:pt x="1059" y="64"/>
                    </a:cubicBezTo>
                    <a:cubicBezTo>
                      <a:pt x="1062" y="68"/>
                      <a:pt x="1068" y="68"/>
                      <a:pt x="1072" y="71"/>
                    </a:cubicBezTo>
                    <a:cubicBezTo>
                      <a:pt x="1075" y="74"/>
                      <a:pt x="1075" y="77"/>
                      <a:pt x="1076" y="80"/>
                    </a:cubicBezTo>
                    <a:cubicBezTo>
                      <a:pt x="1078" y="82"/>
                      <a:pt x="1081" y="89"/>
                      <a:pt x="1076" y="91"/>
                    </a:cubicBezTo>
                    <a:cubicBezTo>
                      <a:pt x="1072" y="92"/>
                      <a:pt x="1074" y="89"/>
                      <a:pt x="1072" y="87"/>
                    </a:cubicBezTo>
                    <a:cubicBezTo>
                      <a:pt x="1070" y="85"/>
                      <a:pt x="1067" y="86"/>
                      <a:pt x="1066" y="82"/>
                    </a:cubicBezTo>
                    <a:cubicBezTo>
                      <a:pt x="1063" y="83"/>
                      <a:pt x="1062" y="87"/>
                      <a:pt x="1060" y="90"/>
                    </a:cubicBezTo>
                    <a:cubicBezTo>
                      <a:pt x="1057" y="93"/>
                      <a:pt x="1050" y="96"/>
                      <a:pt x="1051" y="102"/>
                    </a:cubicBezTo>
                    <a:cubicBezTo>
                      <a:pt x="1051" y="106"/>
                      <a:pt x="1052" y="107"/>
                      <a:pt x="1055" y="109"/>
                    </a:cubicBezTo>
                    <a:cubicBezTo>
                      <a:pt x="1058" y="111"/>
                      <a:pt x="1058" y="108"/>
                      <a:pt x="1059" y="112"/>
                    </a:cubicBezTo>
                    <a:cubicBezTo>
                      <a:pt x="1060" y="115"/>
                      <a:pt x="1060" y="117"/>
                      <a:pt x="1059" y="119"/>
                    </a:cubicBezTo>
                    <a:cubicBezTo>
                      <a:pt x="1057" y="118"/>
                      <a:pt x="1053" y="117"/>
                      <a:pt x="1051" y="115"/>
                    </a:cubicBezTo>
                    <a:cubicBezTo>
                      <a:pt x="1047" y="113"/>
                      <a:pt x="1048" y="110"/>
                      <a:pt x="1042" y="110"/>
                    </a:cubicBezTo>
                    <a:cubicBezTo>
                      <a:pt x="1036" y="110"/>
                      <a:pt x="1034" y="117"/>
                      <a:pt x="1031" y="122"/>
                    </a:cubicBezTo>
                    <a:cubicBezTo>
                      <a:pt x="1028" y="125"/>
                      <a:pt x="1025" y="129"/>
                      <a:pt x="1022" y="132"/>
                    </a:cubicBezTo>
                    <a:cubicBezTo>
                      <a:pt x="1020" y="134"/>
                      <a:pt x="1015" y="136"/>
                      <a:pt x="1015" y="139"/>
                    </a:cubicBezTo>
                    <a:cubicBezTo>
                      <a:pt x="1016" y="139"/>
                      <a:pt x="1016" y="140"/>
                      <a:pt x="1016" y="141"/>
                    </a:cubicBezTo>
                    <a:cubicBezTo>
                      <a:pt x="1017" y="143"/>
                      <a:pt x="1017" y="144"/>
                      <a:pt x="1016" y="147"/>
                    </a:cubicBezTo>
                    <a:cubicBezTo>
                      <a:pt x="1013" y="158"/>
                      <a:pt x="1006" y="153"/>
                      <a:pt x="998" y="156"/>
                    </a:cubicBezTo>
                    <a:cubicBezTo>
                      <a:pt x="997" y="158"/>
                      <a:pt x="1011" y="165"/>
                      <a:pt x="1013" y="169"/>
                    </a:cubicBezTo>
                    <a:cubicBezTo>
                      <a:pt x="1008" y="171"/>
                      <a:pt x="1000" y="171"/>
                      <a:pt x="1002" y="178"/>
                    </a:cubicBezTo>
                    <a:cubicBezTo>
                      <a:pt x="1003" y="182"/>
                      <a:pt x="1006" y="188"/>
                      <a:pt x="1008" y="190"/>
                    </a:cubicBezTo>
                    <a:cubicBezTo>
                      <a:pt x="1010" y="193"/>
                      <a:pt x="1011" y="193"/>
                      <a:pt x="1012" y="194"/>
                    </a:cubicBezTo>
                    <a:cubicBezTo>
                      <a:pt x="1012" y="194"/>
                      <a:pt x="1011" y="194"/>
                      <a:pt x="1010" y="194"/>
                    </a:cubicBezTo>
                    <a:cubicBezTo>
                      <a:pt x="1006" y="193"/>
                      <a:pt x="1001" y="192"/>
                      <a:pt x="996" y="192"/>
                    </a:cubicBezTo>
                    <a:cubicBezTo>
                      <a:pt x="993" y="191"/>
                      <a:pt x="991" y="191"/>
                      <a:pt x="989" y="188"/>
                    </a:cubicBezTo>
                    <a:cubicBezTo>
                      <a:pt x="987" y="185"/>
                      <a:pt x="986" y="180"/>
                      <a:pt x="987" y="176"/>
                    </a:cubicBezTo>
                    <a:cubicBezTo>
                      <a:pt x="987" y="175"/>
                      <a:pt x="988" y="173"/>
                      <a:pt x="988" y="172"/>
                    </a:cubicBezTo>
                    <a:cubicBezTo>
                      <a:pt x="983" y="170"/>
                      <a:pt x="978" y="178"/>
                      <a:pt x="974" y="174"/>
                    </a:cubicBezTo>
                    <a:cubicBezTo>
                      <a:pt x="968" y="166"/>
                      <a:pt x="984" y="161"/>
                      <a:pt x="982" y="156"/>
                    </a:cubicBezTo>
                    <a:cubicBezTo>
                      <a:pt x="977" y="154"/>
                      <a:pt x="971" y="155"/>
                      <a:pt x="966" y="155"/>
                    </a:cubicBezTo>
                    <a:cubicBezTo>
                      <a:pt x="964" y="154"/>
                      <a:pt x="959" y="152"/>
                      <a:pt x="957" y="154"/>
                    </a:cubicBezTo>
                    <a:cubicBezTo>
                      <a:pt x="955" y="156"/>
                      <a:pt x="958" y="160"/>
                      <a:pt x="956" y="162"/>
                    </a:cubicBezTo>
                    <a:cubicBezTo>
                      <a:pt x="955" y="164"/>
                      <a:pt x="951" y="163"/>
                      <a:pt x="949" y="162"/>
                    </a:cubicBezTo>
                    <a:cubicBezTo>
                      <a:pt x="945" y="161"/>
                      <a:pt x="941" y="158"/>
                      <a:pt x="941" y="154"/>
                    </a:cubicBezTo>
                    <a:cubicBezTo>
                      <a:pt x="942" y="151"/>
                      <a:pt x="945" y="149"/>
                      <a:pt x="943" y="146"/>
                    </a:cubicBezTo>
                    <a:cubicBezTo>
                      <a:pt x="942" y="145"/>
                      <a:pt x="934" y="145"/>
                      <a:pt x="933" y="145"/>
                    </a:cubicBezTo>
                    <a:cubicBezTo>
                      <a:pt x="930" y="146"/>
                      <a:pt x="930" y="147"/>
                      <a:pt x="929" y="150"/>
                    </a:cubicBezTo>
                    <a:cubicBezTo>
                      <a:pt x="929" y="153"/>
                      <a:pt x="929" y="158"/>
                      <a:pt x="929" y="162"/>
                    </a:cubicBezTo>
                    <a:cubicBezTo>
                      <a:pt x="929" y="176"/>
                      <a:pt x="925" y="188"/>
                      <a:pt x="918" y="200"/>
                    </a:cubicBezTo>
                    <a:cubicBezTo>
                      <a:pt x="918" y="201"/>
                      <a:pt x="917" y="201"/>
                      <a:pt x="917" y="202"/>
                    </a:cubicBezTo>
                    <a:cubicBezTo>
                      <a:pt x="915" y="201"/>
                      <a:pt x="913" y="199"/>
                      <a:pt x="912" y="198"/>
                    </a:cubicBezTo>
                    <a:cubicBezTo>
                      <a:pt x="908" y="193"/>
                      <a:pt x="908" y="188"/>
                      <a:pt x="900" y="187"/>
                    </a:cubicBezTo>
                    <a:cubicBezTo>
                      <a:pt x="892" y="187"/>
                      <a:pt x="895" y="199"/>
                      <a:pt x="891" y="204"/>
                    </a:cubicBezTo>
                    <a:cubicBezTo>
                      <a:pt x="889" y="208"/>
                      <a:pt x="885" y="207"/>
                      <a:pt x="881" y="209"/>
                    </a:cubicBezTo>
                    <a:cubicBezTo>
                      <a:pt x="878" y="211"/>
                      <a:pt x="877" y="211"/>
                      <a:pt x="872" y="212"/>
                    </a:cubicBezTo>
                    <a:cubicBezTo>
                      <a:pt x="867" y="213"/>
                      <a:pt x="867" y="216"/>
                      <a:pt x="866" y="220"/>
                    </a:cubicBezTo>
                    <a:cubicBezTo>
                      <a:pt x="865" y="225"/>
                      <a:pt x="860" y="222"/>
                      <a:pt x="857" y="225"/>
                    </a:cubicBezTo>
                    <a:cubicBezTo>
                      <a:pt x="856" y="226"/>
                      <a:pt x="855" y="235"/>
                      <a:pt x="854" y="237"/>
                    </a:cubicBezTo>
                    <a:cubicBezTo>
                      <a:pt x="854" y="240"/>
                      <a:pt x="854" y="244"/>
                      <a:pt x="855" y="247"/>
                    </a:cubicBezTo>
                    <a:cubicBezTo>
                      <a:pt x="856" y="252"/>
                      <a:pt x="860" y="255"/>
                      <a:pt x="858" y="260"/>
                    </a:cubicBezTo>
                    <a:cubicBezTo>
                      <a:pt x="853" y="262"/>
                      <a:pt x="853" y="255"/>
                      <a:pt x="851" y="253"/>
                    </a:cubicBezTo>
                    <a:cubicBezTo>
                      <a:pt x="847" y="256"/>
                      <a:pt x="846" y="261"/>
                      <a:pt x="844" y="265"/>
                    </a:cubicBezTo>
                    <a:cubicBezTo>
                      <a:pt x="843" y="268"/>
                      <a:pt x="841" y="270"/>
                      <a:pt x="839" y="273"/>
                    </a:cubicBezTo>
                    <a:cubicBezTo>
                      <a:pt x="839" y="268"/>
                      <a:pt x="839" y="263"/>
                      <a:pt x="839" y="257"/>
                    </a:cubicBezTo>
                    <a:cubicBezTo>
                      <a:pt x="840" y="252"/>
                      <a:pt x="844" y="251"/>
                      <a:pt x="844" y="246"/>
                    </a:cubicBezTo>
                    <a:cubicBezTo>
                      <a:pt x="845" y="241"/>
                      <a:pt x="840" y="240"/>
                      <a:pt x="839" y="236"/>
                    </a:cubicBezTo>
                    <a:cubicBezTo>
                      <a:pt x="837" y="232"/>
                      <a:pt x="837" y="227"/>
                      <a:pt x="838" y="223"/>
                    </a:cubicBezTo>
                    <a:cubicBezTo>
                      <a:pt x="839" y="219"/>
                      <a:pt x="842" y="214"/>
                      <a:pt x="842" y="210"/>
                    </a:cubicBezTo>
                    <a:cubicBezTo>
                      <a:pt x="842" y="205"/>
                      <a:pt x="837" y="205"/>
                      <a:pt x="833" y="205"/>
                    </a:cubicBezTo>
                    <a:cubicBezTo>
                      <a:pt x="830" y="205"/>
                      <a:pt x="827" y="204"/>
                      <a:pt x="825" y="206"/>
                    </a:cubicBezTo>
                    <a:cubicBezTo>
                      <a:pt x="823" y="208"/>
                      <a:pt x="825" y="211"/>
                      <a:pt x="824" y="214"/>
                    </a:cubicBezTo>
                    <a:cubicBezTo>
                      <a:pt x="822" y="223"/>
                      <a:pt x="815" y="231"/>
                      <a:pt x="815" y="241"/>
                    </a:cubicBezTo>
                    <a:cubicBezTo>
                      <a:pt x="815" y="245"/>
                      <a:pt x="815" y="249"/>
                      <a:pt x="814" y="253"/>
                    </a:cubicBezTo>
                    <a:cubicBezTo>
                      <a:pt x="813" y="256"/>
                      <a:pt x="811" y="260"/>
                      <a:pt x="811" y="263"/>
                    </a:cubicBezTo>
                    <a:cubicBezTo>
                      <a:pt x="806" y="259"/>
                      <a:pt x="804" y="249"/>
                      <a:pt x="807" y="243"/>
                    </a:cubicBezTo>
                    <a:cubicBezTo>
                      <a:pt x="808" y="240"/>
                      <a:pt x="809" y="240"/>
                      <a:pt x="809" y="237"/>
                    </a:cubicBezTo>
                    <a:cubicBezTo>
                      <a:pt x="809" y="235"/>
                      <a:pt x="811" y="231"/>
                      <a:pt x="810" y="229"/>
                    </a:cubicBezTo>
                    <a:cubicBezTo>
                      <a:pt x="809" y="223"/>
                      <a:pt x="798" y="231"/>
                      <a:pt x="794" y="233"/>
                    </a:cubicBezTo>
                    <a:cubicBezTo>
                      <a:pt x="791" y="234"/>
                      <a:pt x="790" y="235"/>
                      <a:pt x="787" y="235"/>
                    </a:cubicBezTo>
                    <a:cubicBezTo>
                      <a:pt x="783" y="235"/>
                      <a:pt x="781" y="234"/>
                      <a:pt x="779" y="236"/>
                    </a:cubicBezTo>
                    <a:cubicBezTo>
                      <a:pt x="779" y="237"/>
                      <a:pt x="779" y="239"/>
                      <a:pt x="779" y="240"/>
                    </a:cubicBezTo>
                    <a:cubicBezTo>
                      <a:pt x="778" y="241"/>
                      <a:pt x="776" y="241"/>
                      <a:pt x="774" y="242"/>
                    </a:cubicBezTo>
                    <a:cubicBezTo>
                      <a:pt x="772" y="243"/>
                      <a:pt x="771" y="243"/>
                      <a:pt x="770" y="245"/>
                    </a:cubicBezTo>
                    <a:cubicBezTo>
                      <a:pt x="767" y="250"/>
                      <a:pt x="767" y="257"/>
                      <a:pt x="770" y="262"/>
                    </a:cubicBezTo>
                    <a:cubicBezTo>
                      <a:pt x="773" y="267"/>
                      <a:pt x="773" y="269"/>
                      <a:pt x="773" y="274"/>
                    </a:cubicBezTo>
                    <a:cubicBezTo>
                      <a:pt x="774" y="281"/>
                      <a:pt x="774" y="286"/>
                      <a:pt x="781" y="287"/>
                    </a:cubicBezTo>
                    <a:cubicBezTo>
                      <a:pt x="783" y="287"/>
                      <a:pt x="787" y="286"/>
                      <a:pt x="788" y="287"/>
                    </a:cubicBezTo>
                    <a:cubicBezTo>
                      <a:pt x="791" y="288"/>
                      <a:pt x="793" y="294"/>
                      <a:pt x="795" y="297"/>
                    </a:cubicBezTo>
                    <a:cubicBezTo>
                      <a:pt x="798" y="301"/>
                      <a:pt x="800" y="304"/>
                      <a:pt x="795" y="306"/>
                    </a:cubicBezTo>
                    <a:cubicBezTo>
                      <a:pt x="793" y="307"/>
                      <a:pt x="790" y="309"/>
                      <a:pt x="789" y="307"/>
                    </a:cubicBezTo>
                    <a:cubicBezTo>
                      <a:pt x="787" y="306"/>
                      <a:pt x="786" y="298"/>
                      <a:pt x="784" y="296"/>
                    </a:cubicBezTo>
                    <a:cubicBezTo>
                      <a:pt x="783" y="292"/>
                      <a:pt x="783" y="291"/>
                      <a:pt x="779" y="290"/>
                    </a:cubicBezTo>
                    <a:cubicBezTo>
                      <a:pt x="777" y="290"/>
                      <a:pt x="776" y="291"/>
                      <a:pt x="774" y="290"/>
                    </a:cubicBezTo>
                    <a:cubicBezTo>
                      <a:pt x="773" y="289"/>
                      <a:pt x="771" y="286"/>
                      <a:pt x="770" y="285"/>
                    </a:cubicBezTo>
                    <a:cubicBezTo>
                      <a:pt x="767" y="283"/>
                      <a:pt x="765" y="280"/>
                      <a:pt x="763" y="276"/>
                    </a:cubicBezTo>
                    <a:cubicBezTo>
                      <a:pt x="763" y="274"/>
                      <a:pt x="764" y="272"/>
                      <a:pt x="763" y="270"/>
                    </a:cubicBezTo>
                    <a:cubicBezTo>
                      <a:pt x="762" y="265"/>
                      <a:pt x="752" y="262"/>
                      <a:pt x="749" y="267"/>
                    </a:cubicBezTo>
                    <a:cubicBezTo>
                      <a:pt x="745" y="273"/>
                      <a:pt x="752" y="279"/>
                      <a:pt x="754" y="283"/>
                    </a:cubicBezTo>
                    <a:cubicBezTo>
                      <a:pt x="755" y="287"/>
                      <a:pt x="756" y="291"/>
                      <a:pt x="755" y="295"/>
                    </a:cubicBezTo>
                    <a:cubicBezTo>
                      <a:pt x="745" y="298"/>
                      <a:pt x="745" y="286"/>
                      <a:pt x="740" y="281"/>
                    </a:cubicBezTo>
                    <a:cubicBezTo>
                      <a:pt x="733" y="273"/>
                      <a:pt x="732" y="283"/>
                      <a:pt x="732" y="289"/>
                    </a:cubicBezTo>
                    <a:cubicBezTo>
                      <a:pt x="730" y="289"/>
                      <a:pt x="727" y="288"/>
                      <a:pt x="725" y="289"/>
                    </a:cubicBezTo>
                    <a:cubicBezTo>
                      <a:pt x="724" y="290"/>
                      <a:pt x="723" y="293"/>
                      <a:pt x="723" y="294"/>
                    </a:cubicBezTo>
                    <a:cubicBezTo>
                      <a:pt x="721" y="294"/>
                      <a:pt x="720" y="285"/>
                      <a:pt x="719" y="282"/>
                    </a:cubicBezTo>
                    <a:cubicBezTo>
                      <a:pt x="718" y="280"/>
                      <a:pt x="715" y="272"/>
                      <a:pt x="713" y="277"/>
                    </a:cubicBezTo>
                    <a:cubicBezTo>
                      <a:pt x="713" y="271"/>
                      <a:pt x="709" y="266"/>
                      <a:pt x="703" y="264"/>
                    </a:cubicBezTo>
                    <a:cubicBezTo>
                      <a:pt x="697" y="261"/>
                      <a:pt x="699" y="266"/>
                      <a:pt x="697" y="269"/>
                    </a:cubicBezTo>
                    <a:cubicBezTo>
                      <a:pt x="695" y="269"/>
                      <a:pt x="692" y="267"/>
                      <a:pt x="690" y="267"/>
                    </a:cubicBezTo>
                    <a:cubicBezTo>
                      <a:pt x="687" y="268"/>
                      <a:pt x="688" y="271"/>
                      <a:pt x="687" y="272"/>
                    </a:cubicBezTo>
                    <a:cubicBezTo>
                      <a:pt x="684" y="276"/>
                      <a:pt x="680" y="274"/>
                      <a:pt x="679" y="280"/>
                    </a:cubicBezTo>
                    <a:cubicBezTo>
                      <a:pt x="681" y="280"/>
                      <a:pt x="684" y="279"/>
                      <a:pt x="687" y="280"/>
                    </a:cubicBezTo>
                    <a:cubicBezTo>
                      <a:pt x="686" y="281"/>
                      <a:pt x="687" y="282"/>
                      <a:pt x="687" y="283"/>
                    </a:cubicBezTo>
                    <a:cubicBezTo>
                      <a:pt x="689" y="283"/>
                      <a:pt x="690" y="283"/>
                      <a:pt x="690" y="284"/>
                    </a:cubicBezTo>
                    <a:cubicBezTo>
                      <a:pt x="686" y="287"/>
                      <a:pt x="674" y="284"/>
                      <a:pt x="671" y="289"/>
                    </a:cubicBezTo>
                    <a:cubicBezTo>
                      <a:pt x="670" y="290"/>
                      <a:pt x="671" y="294"/>
                      <a:pt x="671" y="296"/>
                    </a:cubicBezTo>
                    <a:cubicBezTo>
                      <a:pt x="671" y="299"/>
                      <a:pt x="673" y="302"/>
                      <a:pt x="672" y="304"/>
                    </a:cubicBezTo>
                    <a:cubicBezTo>
                      <a:pt x="672" y="306"/>
                      <a:pt x="672" y="305"/>
                      <a:pt x="671" y="306"/>
                    </a:cubicBezTo>
                    <a:cubicBezTo>
                      <a:pt x="670" y="306"/>
                      <a:pt x="669" y="307"/>
                      <a:pt x="668" y="307"/>
                    </a:cubicBezTo>
                    <a:cubicBezTo>
                      <a:pt x="667" y="308"/>
                      <a:pt x="667" y="308"/>
                      <a:pt x="667" y="309"/>
                    </a:cubicBezTo>
                    <a:cubicBezTo>
                      <a:pt x="664" y="312"/>
                      <a:pt x="665" y="311"/>
                      <a:pt x="664" y="315"/>
                    </a:cubicBezTo>
                    <a:cubicBezTo>
                      <a:pt x="664" y="319"/>
                      <a:pt x="662" y="325"/>
                      <a:pt x="660" y="327"/>
                    </a:cubicBezTo>
                    <a:cubicBezTo>
                      <a:pt x="658" y="329"/>
                      <a:pt x="653" y="333"/>
                      <a:pt x="658" y="336"/>
                    </a:cubicBezTo>
                    <a:cubicBezTo>
                      <a:pt x="659" y="337"/>
                      <a:pt x="661" y="336"/>
                      <a:pt x="663" y="337"/>
                    </a:cubicBezTo>
                    <a:cubicBezTo>
                      <a:pt x="665" y="338"/>
                      <a:pt x="666" y="341"/>
                      <a:pt x="668" y="343"/>
                    </a:cubicBezTo>
                    <a:cubicBezTo>
                      <a:pt x="672" y="342"/>
                      <a:pt x="674" y="337"/>
                      <a:pt x="676" y="334"/>
                    </a:cubicBezTo>
                    <a:cubicBezTo>
                      <a:pt x="678" y="331"/>
                      <a:pt x="681" y="329"/>
                      <a:pt x="684" y="327"/>
                    </a:cubicBezTo>
                    <a:cubicBezTo>
                      <a:pt x="686" y="327"/>
                      <a:pt x="687" y="325"/>
                      <a:pt x="689" y="326"/>
                    </a:cubicBezTo>
                    <a:cubicBezTo>
                      <a:pt x="690" y="326"/>
                      <a:pt x="690" y="328"/>
                      <a:pt x="691" y="328"/>
                    </a:cubicBezTo>
                    <a:cubicBezTo>
                      <a:pt x="693" y="328"/>
                      <a:pt x="694" y="329"/>
                      <a:pt x="694" y="326"/>
                    </a:cubicBezTo>
                    <a:cubicBezTo>
                      <a:pt x="697" y="325"/>
                      <a:pt x="699" y="326"/>
                      <a:pt x="701" y="325"/>
                    </a:cubicBezTo>
                    <a:cubicBezTo>
                      <a:pt x="702" y="325"/>
                      <a:pt x="703" y="324"/>
                      <a:pt x="704" y="324"/>
                    </a:cubicBezTo>
                    <a:cubicBezTo>
                      <a:pt x="705" y="323"/>
                      <a:pt x="707" y="324"/>
                      <a:pt x="708" y="323"/>
                    </a:cubicBezTo>
                    <a:cubicBezTo>
                      <a:pt x="712" y="322"/>
                      <a:pt x="723" y="306"/>
                      <a:pt x="726" y="318"/>
                    </a:cubicBezTo>
                    <a:cubicBezTo>
                      <a:pt x="728" y="325"/>
                      <a:pt x="714" y="323"/>
                      <a:pt x="709" y="325"/>
                    </a:cubicBezTo>
                    <a:cubicBezTo>
                      <a:pt x="706" y="326"/>
                      <a:pt x="703" y="328"/>
                      <a:pt x="702" y="331"/>
                    </a:cubicBezTo>
                    <a:cubicBezTo>
                      <a:pt x="701" y="334"/>
                      <a:pt x="702" y="336"/>
                      <a:pt x="701" y="339"/>
                    </a:cubicBezTo>
                    <a:cubicBezTo>
                      <a:pt x="698" y="343"/>
                      <a:pt x="692" y="342"/>
                      <a:pt x="692" y="348"/>
                    </a:cubicBezTo>
                    <a:cubicBezTo>
                      <a:pt x="692" y="351"/>
                      <a:pt x="694" y="352"/>
                      <a:pt x="692" y="355"/>
                    </a:cubicBezTo>
                    <a:cubicBezTo>
                      <a:pt x="691" y="355"/>
                      <a:pt x="688" y="355"/>
                      <a:pt x="687" y="356"/>
                    </a:cubicBezTo>
                    <a:cubicBezTo>
                      <a:pt x="685" y="357"/>
                      <a:pt x="687" y="359"/>
                      <a:pt x="684" y="360"/>
                    </a:cubicBezTo>
                    <a:cubicBezTo>
                      <a:pt x="682" y="361"/>
                      <a:pt x="677" y="359"/>
                      <a:pt x="675" y="361"/>
                    </a:cubicBezTo>
                    <a:cubicBezTo>
                      <a:pt x="674" y="361"/>
                      <a:pt x="671" y="365"/>
                      <a:pt x="671" y="366"/>
                    </a:cubicBezTo>
                    <a:cubicBezTo>
                      <a:pt x="669" y="368"/>
                      <a:pt x="669" y="370"/>
                      <a:pt x="667" y="372"/>
                    </a:cubicBezTo>
                    <a:cubicBezTo>
                      <a:pt x="665" y="376"/>
                      <a:pt x="663" y="376"/>
                      <a:pt x="660" y="378"/>
                    </a:cubicBezTo>
                    <a:cubicBezTo>
                      <a:pt x="666" y="383"/>
                      <a:pt x="668" y="375"/>
                      <a:pt x="671" y="372"/>
                    </a:cubicBezTo>
                    <a:cubicBezTo>
                      <a:pt x="673" y="370"/>
                      <a:pt x="677" y="371"/>
                      <a:pt x="680" y="370"/>
                    </a:cubicBezTo>
                    <a:cubicBezTo>
                      <a:pt x="680" y="369"/>
                      <a:pt x="681" y="368"/>
                      <a:pt x="682" y="368"/>
                    </a:cubicBezTo>
                    <a:cubicBezTo>
                      <a:pt x="683" y="368"/>
                      <a:pt x="685" y="368"/>
                      <a:pt x="687" y="368"/>
                    </a:cubicBezTo>
                    <a:cubicBezTo>
                      <a:pt x="690" y="367"/>
                      <a:pt x="691" y="365"/>
                      <a:pt x="694" y="364"/>
                    </a:cubicBezTo>
                    <a:cubicBezTo>
                      <a:pt x="696" y="363"/>
                      <a:pt x="700" y="362"/>
                      <a:pt x="702" y="366"/>
                    </a:cubicBezTo>
                    <a:cubicBezTo>
                      <a:pt x="703" y="372"/>
                      <a:pt x="690" y="375"/>
                      <a:pt x="686" y="377"/>
                    </a:cubicBezTo>
                    <a:cubicBezTo>
                      <a:pt x="680" y="380"/>
                      <a:pt x="683" y="382"/>
                      <a:pt x="682" y="387"/>
                    </a:cubicBezTo>
                    <a:cubicBezTo>
                      <a:pt x="681" y="388"/>
                      <a:pt x="678" y="392"/>
                      <a:pt x="676" y="393"/>
                    </a:cubicBezTo>
                    <a:cubicBezTo>
                      <a:pt x="672" y="396"/>
                      <a:pt x="665" y="396"/>
                      <a:pt x="660" y="396"/>
                    </a:cubicBezTo>
                    <a:cubicBezTo>
                      <a:pt x="659" y="396"/>
                      <a:pt x="654" y="395"/>
                      <a:pt x="652" y="397"/>
                    </a:cubicBezTo>
                    <a:cubicBezTo>
                      <a:pt x="651" y="398"/>
                      <a:pt x="652" y="400"/>
                      <a:pt x="651" y="402"/>
                    </a:cubicBezTo>
                    <a:cubicBezTo>
                      <a:pt x="650" y="406"/>
                      <a:pt x="645" y="410"/>
                      <a:pt x="641" y="408"/>
                    </a:cubicBezTo>
                    <a:cubicBezTo>
                      <a:pt x="634" y="404"/>
                      <a:pt x="639" y="389"/>
                      <a:pt x="639" y="383"/>
                    </a:cubicBezTo>
                    <a:cubicBezTo>
                      <a:pt x="639" y="379"/>
                      <a:pt x="639" y="376"/>
                      <a:pt x="636" y="373"/>
                    </a:cubicBezTo>
                    <a:cubicBezTo>
                      <a:pt x="634" y="371"/>
                      <a:pt x="629" y="366"/>
                      <a:pt x="625" y="368"/>
                    </a:cubicBezTo>
                    <a:cubicBezTo>
                      <a:pt x="624" y="369"/>
                      <a:pt x="623" y="373"/>
                      <a:pt x="622" y="374"/>
                    </a:cubicBezTo>
                    <a:cubicBezTo>
                      <a:pt x="621" y="377"/>
                      <a:pt x="618" y="380"/>
                      <a:pt x="617" y="383"/>
                    </a:cubicBezTo>
                    <a:cubicBezTo>
                      <a:pt x="616" y="385"/>
                      <a:pt x="617" y="390"/>
                      <a:pt x="613" y="390"/>
                    </a:cubicBezTo>
                    <a:cubicBezTo>
                      <a:pt x="612" y="388"/>
                      <a:pt x="611" y="384"/>
                      <a:pt x="611" y="382"/>
                    </a:cubicBezTo>
                    <a:cubicBezTo>
                      <a:pt x="611" y="380"/>
                      <a:pt x="612" y="377"/>
                      <a:pt x="611" y="376"/>
                    </a:cubicBezTo>
                    <a:cubicBezTo>
                      <a:pt x="610" y="374"/>
                      <a:pt x="608" y="375"/>
                      <a:pt x="608" y="374"/>
                    </a:cubicBezTo>
                    <a:cubicBezTo>
                      <a:pt x="606" y="373"/>
                      <a:pt x="606" y="372"/>
                      <a:pt x="606" y="369"/>
                    </a:cubicBezTo>
                    <a:cubicBezTo>
                      <a:pt x="606" y="365"/>
                      <a:pt x="607" y="359"/>
                      <a:pt x="603" y="356"/>
                    </a:cubicBezTo>
                    <a:cubicBezTo>
                      <a:pt x="600" y="354"/>
                      <a:pt x="597" y="356"/>
                      <a:pt x="594" y="355"/>
                    </a:cubicBezTo>
                    <a:cubicBezTo>
                      <a:pt x="594" y="352"/>
                      <a:pt x="597" y="348"/>
                      <a:pt x="598" y="346"/>
                    </a:cubicBezTo>
                    <a:cubicBezTo>
                      <a:pt x="599" y="345"/>
                      <a:pt x="601" y="343"/>
                      <a:pt x="601" y="342"/>
                    </a:cubicBezTo>
                    <a:cubicBezTo>
                      <a:pt x="602" y="341"/>
                      <a:pt x="601" y="340"/>
                      <a:pt x="602" y="339"/>
                    </a:cubicBezTo>
                    <a:cubicBezTo>
                      <a:pt x="603" y="337"/>
                      <a:pt x="607" y="336"/>
                      <a:pt x="608" y="335"/>
                    </a:cubicBezTo>
                    <a:cubicBezTo>
                      <a:pt x="610" y="333"/>
                      <a:pt x="611" y="331"/>
                      <a:pt x="612" y="328"/>
                    </a:cubicBezTo>
                    <a:cubicBezTo>
                      <a:pt x="614" y="326"/>
                      <a:pt x="615" y="325"/>
                      <a:pt x="616" y="322"/>
                    </a:cubicBezTo>
                    <a:cubicBezTo>
                      <a:pt x="619" y="318"/>
                      <a:pt x="618" y="316"/>
                      <a:pt x="618" y="311"/>
                    </a:cubicBezTo>
                    <a:cubicBezTo>
                      <a:pt x="619" y="308"/>
                      <a:pt x="622" y="303"/>
                      <a:pt x="620" y="300"/>
                    </a:cubicBezTo>
                    <a:cubicBezTo>
                      <a:pt x="618" y="298"/>
                      <a:pt x="612" y="299"/>
                      <a:pt x="610" y="300"/>
                    </a:cubicBezTo>
                    <a:cubicBezTo>
                      <a:pt x="608" y="301"/>
                      <a:pt x="607" y="304"/>
                      <a:pt x="605" y="305"/>
                    </a:cubicBezTo>
                    <a:cubicBezTo>
                      <a:pt x="604" y="307"/>
                      <a:pt x="604" y="306"/>
                      <a:pt x="603" y="309"/>
                    </a:cubicBezTo>
                    <a:cubicBezTo>
                      <a:pt x="603" y="310"/>
                      <a:pt x="604" y="312"/>
                      <a:pt x="604" y="313"/>
                    </a:cubicBezTo>
                    <a:cubicBezTo>
                      <a:pt x="603" y="316"/>
                      <a:pt x="599" y="317"/>
                      <a:pt x="597" y="318"/>
                    </a:cubicBezTo>
                    <a:cubicBezTo>
                      <a:pt x="595" y="321"/>
                      <a:pt x="592" y="323"/>
                      <a:pt x="590" y="326"/>
                    </a:cubicBezTo>
                    <a:cubicBezTo>
                      <a:pt x="584" y="334"/>
                      <a:pt x="581" y="343"/>
                      <a:pt x="581" y="353"/>
                    </a:cubicBezTo>
                    <a:cubicBezTo>
                      <a:pt x="582" y="355"/>
                      <a:pt x="581" y="358"/>
                      <a:pt x="581" y="361"/>
                    </a:cubicBezTo>
                    <a:cubicBezTo>
                      <a:pt x="582" y="364"/>
                      <a:pt x="580" y="369"/>
                      <a:pt x="581" y="372"/>
                    </a:cubicBezTo>
                    <a:cubicBezTo>
                      <a:pt x="590" y="372"/>
                      <a:pt x="579" y="377"/>
                      <a:pt x="578" y="381"/>
                    </a:cubicBezTo>
                    <a:cubicBezTo>
                      <a:pt x="576" y="384"/>
                      <a:pt x="582" y="394"/>
                      <a:pt x="575" y="395"/>
                    </a:cubicBezTo>
                    <a:cubicBezTo>
                      <a:pt x="572" y="392"/>
                      <a:pt x="574" y="389"/>
                      <a:pt x="573" y="387"/>
                    </a:cubicBezTo>
                    <a:cubicBezTo>
                      <a:pt x="573" y="387"/>
                      <a:pt x="571" y="384"/>
                      <a:pt x="572" y="385"/>
                    </a:cubicBezTo>
                    <a:cubicBezTo>
                      <a:pt x="571" y="383"/>
                      <a:pt x="571" y="381"/>
                      <a:pt x="571" y="378"/>
                    </a:cubicBezTo>
                    <a:cubicBezTo>
                      <a:pt x="571" y="376"/>
                      <a:pt x="571" y="373"/>
                      <a:pt x="571" y="371"/>
                    </a:cubicBezTo>
                    <a:cubicBezTo>
                      <a:pt x="571" y="368"/>
                      <a:pt x="570" y="366"/>
                      <a:pt x="570" y="363"/>
                    </a:cubicBezTo>
                    <a:cubicBezTo>
                      <a:pt x="569" y="363"/>
                      <a:pt x="568" y="363"/>
                      <a:pt x="567" y="364"/>
                    </a:cubicBezTo>
                    <a:cubicBezTo>
                      <a:pt x="566" y="361"/>
                      <a:pt x="566" y="358"/>
                      <a:pt x="564" y="355"/>
                    </a:cubicBezTo>
                    <a:cubicBezTo>
                      <a:pt x="563" y="354"/>
                      <a:pt x="562" y="349"/>
                      <a:pt x="561" y="348"/>
                    </a:cubicBezTo>
                    <a:cubicBezTo>
                      <a:pt x="555" y="343"/>
                      <a:pt x="554" y="359"/>
                      <a:pt x="554" y="362"/>
                    </a:cubicBezTo>
                    <a:cubicBezTo>
                      <a:pt x="554" y="365"/>
                      <a:pt x="554" y="366"/>
                      <a:pt x="555" y="368"/>
                    </a:cubicBezTo>
                    <a:cubicBezTo>
                      <a:pt x="555" y="370"/>
                      <a:pt x="556" y="370"/>
                      <a:pt x="556" y="372"/>
                    </a:cubicBezTo>
                    <a:cubicBezTo>
                      <a:pt x="553" y="372"/>
                      <a:pt x="551" y="372"/>
                      <a:pt x="549" y="372"/>
                    </a:cubicBezTo>
                    <a:cubicBezTo>
                      <a:pt x="548" y="374"/>
                      <a:pt x="549" y="377"/>
                      <a:pt x="548" y="379"/>
                    </a:cubicBezTo>
                    <a:cubicBezTo>
                      <a:pt x="546" y="377"/>
                      <a:pt x="544" y="372"/>
                      <a:pt x="541" y="372"/>
                    </a:cubicBezTo>
                    <a:cubicBezTo>
                      <a:pt x="537" y="372"/>
                      <a:pt x="535" y="377"/>
                      <a:pt x="534" y="379"/>
                    </a:cubicBezTo>
                    <a:cubicBezTo>
                      <a:pt x="532" y="382"/>
                      <a:pt x="531" y="384"/>
                      <a:pt x="529" y="387"/>
                    </a:cubicBezTo>
                    <a:cubicBezTo>
                      <a:pt x="528" y="389"/>
                      <a:pt x="527" y="390"/>
                      <a:pt x="525" y="393"/>
                    </a:cubicBezTo>
                    <a:cubicBezTo>
                      <a:pt x="525" y="395"/>
                      <a:pt x="522" y="398"/>
                      <a:pt x="522" y="400"/>
                    </a:cubicBezTo>
                    <a:cubicBezTo>
                      <a:pt x="521" y="403"/>
                      <a:pt x="522" y="407"/>
                      <a:pt x="525" y="408"/>
                    </a:cubicBezTo>
                    <a:cubicBezTo>
                      <a:pt x="529" y="409"/>
                      <a:pt x="532" y="403"/>
                      <a:pt x="534" y="400"/>
                    </a:cubicBezTo>
                    <a:cubicBezTo>
                      <a:pt x="537" y="396"/>
                      <a:pt x="537" y="397"/>
                      <a:pt x="542" y="397"/>
                    </a:cubicBezTo>
                    <a:cubicBezTo>
                      <a:pt x="545" y="397"/>
                      <a:pt x="547" y="395"/>
                      <a:pt x="549" y="396"/>
                    </a:cubicBezTo>
                    <a:cubicBezTo>
                      <a:pt x="550" y="398"/>
                      <a:pt x="548" y="399"/>
                      <a:pt x="548" y="401"/>
                    </a:cubicBezTo>
                    <a:cubicBezTo>
                      <a:pt x="547" y="404"/>
                      <a:pt x="548" y="406"/>
                      <a:pt x="546" y="408"/>
                    </a:cubicBezTo>
                    <a:cubicBezTo>
                      <a:pt x="544" y="409"/>
                      <a:pt x="542" y="408"/>
                      <a:pt x="539" y="409"/>
                    </a:cubicBezTo>
                    <a:cubicBezTo>
                      <a:pt x="536" y="410"/>
                      <a:pt x="535" y="414"/>
                      <a:pt x="536" y="417"/>
                    </a:cubicBezTo>
                    <a:cubicBezTo>
                      <a:pt x="538" y="426"/>
                      <a:pt x="549" y="428"/>
                      <a:pt x="556" y="425"/>
                    </a:cubicBezTo>
                    <a:cubicBezTo>
                      <a:pt x="559" y="424"/>
                      <a:pt x="560" y="423"/>
                      <a:pt x="559" y="420"/>
                    </a:cubicBezTo>
                    <a:cubicBezTo>
                      <a:pt x="558" y="417"/>
                      <a:pt x="555" y="416"/>
                      <a:pt x="559" y="413"/>
                    </a:cubicBezTo>
                    <a:cubicBezTo>
                      <a:pt x="560" y="412"/>
                      <a:pt x="562" y="412"/>
                      <a:pt x="564" y="410"/>
                    </a:cubicBezTo>
                    <a:cubicBezTo>
                      <a:pt x="566" y="409"/>
                      <a:pt x="567" y="407"/>
                      <a:pt x="569" y="405"/>
                    </a:cubicBezTo>
                    <a:cubicBezTo>
                      <a:pt x="570" y="404"/>
                      <a:pt x="572" y="403"/>
                      <a:pt x="574" y="402"/>
                    </a:cubicBezTo>
                    <a:cubicBezTo>
                      <a:pt x="575" y="401"/>
                      <a:pt x="580" y="400"/>
                      <a:pt x="581" y="400"/>
                    </a:cubicBezTo>
                    <a:cubicBezTo>
                      <a:pt x="585" y="403"/>
                      <a:pt x="576" y="408"/>
                      <a:pt x="575" y="410"/>
                    </a:cubicBezTo>
                    <a:cubicBezTo>
                      <a:pt x="571" y="414"/>
                      <a:pt x="571" y="418"/>
                      <a:pt x="566" y="421"/>
                    </a:cubicBezTo>
                    <a:cubicBezTo>
                      <a:pt x="569" y="426"/>
                      <a:pt x="570" y="427"/>
                      <a:pt x="565" y="430"/>
                    </a:cubicBezTo>
                    <a:cubicBezTo>
                      <a:pt x="559" y="432"/>
                      <a:pt x="554" y="430"/>
                      <a:pt x="549" y="432"/>
                    </a:cubicBezTo>
                    <a:cubicBezTo>
                      <a:pt x="544" y="433"/>
                      <a:pt x="542" y="434"/>
                      <a:pt x="537" y="434"/>
                    </a:cubicBezTo>
                    <a:cubicBezTo>
                      <a:pt x="534" y="434"/>
                      <a:pt x="530" y="433"/>
                      <a:pt x="528" y="435"/>
                    </a:cubicBezTo>
                    <a:cubicBezTo>
                      <a:pt x="525" y="438"/>
                      <a:pt x="527" y="443"/>
                      <a:pt x="520" y="444"/>
                    </a:cubicBezTo>
                    <a:cubicBezTo>
                      <a:pt x="514" y="444"/>
                      <a:pt x="508" y="440"/>
                      <a:pt x="503" y="443"/>
                    </a:cubicBezTo>
                    <a:cubicBezTo>
                      <a:pt x="502" y="444"/>
                      <a:pt x="502" y="445"/>
                      <a:pt x="500" y="446"/>
                    </a:cubicBezTo>
                    <a:cubicBezTo>
                      <a:pt x="499" y="446"/>
                      <a:pt x="498" y="446"/>
                      <a:pt x="498" y="446"/>
                    </a:cubicBezTo>
                    <a:cubicBezTo>
                      <a:pt x="496" y="446"/>
                      <a:pt x="495" y="447"/>
                      <a:pt x="495" y="448"/>
                    </a:cubicBezTo>
                    <a:cubicBezTo>
                      <a:pt x="493" y="449"/>
                      <a:pt x="489" y="449"/>
                      <a:pt x="487" y="450"/>
                    </a:cubicBezTo>
                    <a:cubicBezTo>
                      <a:pt x="484" y="452"/>
                      <a:pt x="480" y="457"/>
                      <a:pt x="478" y="460"/>
                    </a:cubicBezTo>
                    <a:cubicBezTo>
                      <a:pt x="474" y="463"/>
                      <a:pt x="476" y="467"/>
                      <a:pt x="476" y="472"/>
                    </a:cubicBezTo>
                    <a:cubicBezTo>
                      <a:pt x="473" y="472"/>
                      <a:pt x="469" y="470"/>
                      <a:pt x="467" y="471"/>
                    </a:cubicBezTo>
                    <a:cubicBezTo>
                      <a:pt x="466" y="472"/>
                      <a:pt x="462" y="476"/>
                      <a:pt x="462" y="478"/>
                    </a:cubicBezTo>
                    <a:cubicBezTo>
                      <a:pt x="460" y="481"/>
                      <a:pt x="461" y="482"/>
                      <a:pt x="457" y="484"/>
                    </a:cubicBezTo>
                    <a:cubicBezTo>
                      <a:pt x="454" y="486"/>
                      <a:pt x="451" y="486"/>
                      <a:pt x="447" y="487"/>
                    </a:cubicBezTo>
                    <a:cubicBezTo>
                      <a:pt x="447" y="489"/>
                      <a:pt x="448" y="491"/>
                      <a:pt x="447" y="493"/>
                    </a:cubicBezTo>
                    <a:cubicBezTo>
                      <a:pt x="447" y="495"/>
                      <a:pt x="447" y="497"/>
                      <a:pt x="446" y="499"/>
                    </a:cubicBezTo>
                    <a:cubicBezTo>
                      <a:pt x="445" y="501"/>
                      <a:pt x="444" y="501"/>
                      <a:pt x="443" y="502"/>
                    </a:cubicBezTo>
                    <a:cubicBezTo>
                      <a:pt x="440" y="505"/>
                      <a:pt x="441" y="511"/>
                      <a:pt x="441" y="515"/>
                    </a:cubicBezTo>
                    <a:cubicBezTo>
                      <a:pt x="444" y="516"/>
                      <a:pt x="453" y="512"/>
                      <a:pt x="455" y="509"/>
                    </a:cubicBezTo>
                    <a:cubicBezTo>
                      <a:pt x="456" y="507"/>
                      <a:pt x="457" y="504"/>
                      <a:pt x="458" y="501"/>
                    </a:cubicBezTo>
                    <a:cubicBezTo>
                      <a:pt x="459" y="500"/>
                      <a:pt x="461" y="498"/>
                      <a:pt x="462" y="497"/>
                    </a:cubicBezTo>
                    <a:cubicBezTo>
                      <a:pt x="464" y="498"/>
                      <a:pt x="464" y="499"/>
                      <a:pt x="467" y="498"/>
                    </a:cubicBezTo>
                    <a:cubicBezTo>
                      <a:pt x="470" y="497"/>
                      <a:pt x="469" y="495"/>
                      <a:pt x="470" y="494"/>
                    </a:cubicBezTo>
                    <a:cubicBezTo>
                      <a:pt x="471" y="492"/>
                      <a:pt x="476" y="491"/>
                      <a:pt x="475" y="488"/>
                    </a:cubicBezTo>
                    <a:cubicBezTo>
                      <a:pt x="478" y="487"/>
                      <a:pt x="488" y="490"/>
                      <a:pt x="489" y="484"/>
                    </a:cubicBezTo>
                    <a:cubicBezTo>
                      <a:pt x="492" y="484"/>
                      <a:pt x="493" y="485"/>
                      <a:pt x="495" y="483"/>
                    </a:cubicBezTo>
                    <a:cubicBezTo>
                      <a:pt x="498" y="481"/>
                      <a:pt x="498" y="474"/>
                      <a:pt x="501" y="472"/>
                    </a:cubicBezTo>
                    <a:cubicBezTo>
                      <a:pt x="504" y="470"/>
                      <a:pt x="509" y="471"/>
                      <a:pt x="510" y="467"/>
                    </a:cubicBezTo>
                    <a:cubicBezTo>
                      <a:pt x="510" y="467"/>
                      <a:pt x="510" y="465"/>
                      <a:pt x="510" y="464"/>
                    </a:cubicBezTo>
                    <a:cubicBezTo>
                      <a:pt x="511" y="466"/>
                      <a:pt x="511" y="467"/>
                      <a:pt x="510" y="467"/>
                    </a:cubicBezTo>
                    <a:cubicBezTo>
                      <a:pt x="512" y="471"/>
                      <a:pt x="521" y="470"/>
                      <a:pt x="524" y="469"/>
                    </a:cubicBezTo>
                    <a:cubicBezTo>
                      <a:pt x="530" y="468"/>
                      <a:pt x="531" y="465"/>
                      <a:pt x="535" y="461"/>
                    </a:cubicBezTo>
                    <a:cubicBezTo>
                      <a:pt x="536" y="459"/>
                      <a:pt x="538" y="455"/>
                      <a:pt x="541" y="454"/>
                    </a:cubicBezTo>
                    <a:cubicBezTo>
                      <a:pt x="542" y="456"/>
                      <a:pt x="543" y="458"/>
                      <a:pt x="543" y="460"/>
                    </a:cubicBezTo>
                    <a:cubicBezTo>
                      <a:pt x="545" y="460"/>
                      <a:pt x="546" y="460"/>
                      <a:pt x="548" y="460"/>
                    </a:cubicBezTo>
                    <a:cubicBezTo>
                      <a:pt x="553" y="459"/>
                      <a:pt x="553" y="453"/>
                      <a:pt x="557" y="451"/>
                    </a:cubicBezTo>
                    <a:cubicBezTo>
                      <a:pt x="558" y="450"/>
                      <a:pt x="559" y="449"/>
                      <a:pt x="560" y="449"/>
                    </a:cubicBezTo>
                    <a:cubicBezTo>
                      <a:pt x="561" y="450"/>
                      <a:pt x="561" y="450"/>
                      <a:pt x="562" y="450"/>
                    </a:cubicBezTo>
                    <a:cubicBezTo>
                      <a:pt x="564" y="449"/>
                      <a:pt x="564" y="446"/>
                      <a:pt x="565" y="445"/>
                    </a:cubicBezTo>
                    <a:cubicBezTo>
                      <a:pt x="567" y="444"/>
                      <a:pt x="567" y="447"/>
                      <a:pt x="569" y="446"/>
                    </a:cubicBezTo>
                    <a:cubicBezTo>
                      <a:pt x="571" y="446"/>
                      <a:pt x="576" y="442"/>
                      <a:pt x="578" y="441"/>
                    </a:cubicBezTo>
                    <a:cubicBezTo>
                      <a:pt x="580" y="439"/>
                      <a:pt x="584" y="437"/>
                      <a:pt x="586" y="435"/>
                    </a:cubicBezTo>
                    <a:cubicBezTo>
                      <a:pt x="590" y="440"/>
                      <a:pt x="586" y="447"/>
                      <a:pt x="596" y="445"/>
                    </a:cubicBezTo>
                    <a:cubicBezTo>
                      <a:pt x="600" y="444"/>
                      <a:pt x="603" y="440"/>
                      <a:pt x="606" y="437"/>
                    </a:cubicBezTo>
                    <a:cubicBezTo>
                      <a:pt x="609" y="435"/>
                      <a:pt x="610" y="434"/>
                      <a:pt x="612" y="431"/>
                    </a:cubicBezTo>
                    <a:cubicBezTo>
                      <a:pt x="616" y="434"/>
                      <a:pt x="623" y="422"/>
                      <a:pt x="625" y="419"/>
                    </a:cubicBezTo>
                    <a:cubicBezTo>
                      <a:pt x="625" y="420"/>
                      <a:pt x="625" y="423"/>
                      <a:pt x="625" y="424"/>
                    </a:cubicBezTo>
                    <a:cubicBezTo>
                      <a:pt x="624" y="426"/>
                      <a:pt x="621" y="427"/>
                      <a:pt x="621" y="429"/>
                    </a:cubicBezTo>
                    <a:cubicBezTo>
                      <a:pt x="621" y="435"/>
                      <a:pt x="631" y="436"/>
                      <a:pt x="636" y="435"/>
                    </a:cubicBezTo>
                    <a:cubicBezTo>
                      <a:pt x="642" y="433"/>
                      <a:pt x="647" y="430"/>
                      <a:pt x="653" y="429"/>
                    </a:cubicBezTo>
                    <a:cubicBezTo>
                      <a:pt x="660" y="427"/>
                      <a:pt x="667" y="425"/>
                      <a:pt x="674" y="422"/>
                    </a:cubicBezTo>
                    <a:cubicBezTo>
                      <a:pt x="675" y="425"/>
                      <a:pt x="674" y="428"/>
                      <a:pt x="670" y="428"/>
                    </a:cubicBezTo>
                    <a:cubicBezTo>
                      <a:pt x="669" y="432"/>
                      <a:pt x="674" y="436"/>
                      <a:pt x="669" y="439"/>
                    </a:cubicBezTo>
                    <a:cubicBezTo>
                      <a:pt x="665" y="441"/>
                      <a:pt x="653" y="440"/>
                      <a:pt x="652" y="435"/>
                    </a:cubicBezTo>
                    <a:cubicBezTo>
                      <a:pt x="651" y="435"/>
                      <a:pt x="649" y="435"/>
                      <a:pt x="648" y="435"/>
                    </a:cubicBezTo>
                    <a:cubicBezTo>
                      <a:pt x="645" y="435"/>
                      <a:pt x="644" y="436"/>
                      <a:pt x="642" y="437"/>
                    </a:cubicBezTo>
                    <a:cubicBezTo>
                      <a:pt x="640" y="437"/>
                      <a:pt x="639" y="437"/>
                      <a:pt x="637" y="437"/>
                    </a:cubicBezTo>
                    <a:cubicBezTo>
                      <a:pt x="634" y="437"/>
                      <a:pt x="633" y="439"/>
                      <a:pt x="630" y="440"/>
                    </a:cubicBezTo>
                    <a:cubicBezTo>
                      <a:pt x="627" y="441"/>
                      <a:pt x="622" y="443"/>
                      <a:pt x="624" y="447"/>
                    </a:cubicBezTo>
                    <a:cubicBezTo>
                      <a:pt x="626" y="451"/>
                      <a:pt x="634" y="452"/>
                      <a:pt x="638" y="452"/>
                    </a:cubicBezTo>
                    <a:cubicBezTo>
                      <a:pt x="639" y="455"/>
                      <a:pt x="638" y="455"/>
                      <a:pt x="637" y="457"/>
                    </a:cubicBezTo>
                    <a:cubicBezTo>
                      <a:pt x="635" y="460"/>
                      <a:pt x="633" y="459"/>
                      <a:pt x="631" y="461"/>
                    </a:cubicBezTo>
                    <a:cubicBezTo>
                      <a:pt x="630" y="457"/>
                      <a:pt x="626" y="453"/>
                      <a:pt x="622" y="451"/>
                    </a:cubicBezTo>
                    <a:cubicBezTo>
                      <a:pt x="622" y="453"/>
                      <a:pt x="622" y="454"/>
                      <a:pt x="622" y="455"/>
                    </a:cubicBezTo>
                    <a:cubicBezTo>
                      <a:pt x="622" y="458"/>
                      <a:pt x="623" y="458"/>
                      <a:pt x="624" y="460"/>
                    </a:cubicBezTo>
                    <a:cubicBezTo>
                      <a:pt x="625" y="463"/>
                      <a:pt x="625" y="466"/>
                      <a:pt x="625" y="469"/>
                    </a:cubicBezTo>
                    <a:cubicBezTo>
                      <a:pt x="624" y="473"/>
                      <a:pt x="623" y="480"/>
                      <a:pt x="618" y="482"/>
                    </a:cubicBezTo>
                    <a:cubicBezTo>
                      <a:pt x="619" y="476"/>
                      <a:pt x="620" y="470"/>
                      <a:pt x="616" y="465"/>
                    </a:cubicBezTo>
                    <a:cubicBezTo>
                      <a:pt x="615" y="465"/>
                      <a:pt x="613" y="460"/>
                      <a:pt x="612" y="460"/>
                    </a:cubicBezTo>
                    <a:cubicBezTo>
                      <a:pt x="609" y="461"/>
                      <a:pt x="609" y="466"/>
                      <a:pt x="609" y="468"/>
                    </a:cubicBezTo>
                    <a:cubicBezTo>
                      <a:pt x="609" y="470"/>
                      <a:pt x="609" y="471"/>
                      <a:pt x="608" y="473"/>
                    </a:cubicBezTo>
                    <a:cubicBezTo>
                      <a:pt x="606" y="474"/>
                      <a:pt x="604" y="474"/>
                      <a:pt x="603" y="475"/>
                    </a:cubicBezTo>
                    <a:cubicBezTo>
                      <a:pt x="601" y="476"/>
                      <a:pt x="601" y="477"/>
                      <a:pt x="600" y="478"/>
                    </a:cubicBezTo>
                    <a:cubicBezTo>
                      <a:pt x="597" y="481"/>
                      <a:pt x="593" y="485"/>
                      <a:pt x="588" y="484"/>
                    </a:cubicBezTo>
                    <a:cubicBezTo>
                      <a:pt x="588" y="482"/>
                      <a:pt x="588" y="480"/>
                      <a:pt x="588" y="479"/>
                    </a:cubicBezTo>
                    <a:cubicBezTo>
                      <a:pt x="589" y="479"/>
                      <a:pt x="590" y="479"/>
                      <a:pt x="591" y="478"/>
                    </a:cubicBezTo>
                    <a:cubicBezTo>
                      <a:pt x="593" y="473"/>
                      <a:pt x="587" y="472"/>
                      <a:pt x="583" y="474"/>
                    </a:cubicBezTo>
                    <a:cubicBezTo>
                      <a:pt x="580" y="475"/>
                      <a:pt x="579" y="476"/>
                      <a:pt x="578" y="478"/>
                    </a:cubicBezTo>
                    <a:cubicBezTo>
                      <a:pt x="575" y="481"/>
                      <a:pt x="575" y="481"/>
                      <a:pt x="575" y="485"/>
                    </a:cubicBezTo>
                    <a:cubicBezTo>
                      <a:pt x="575" y="488"/>
                      <a:pt x="574" y="490"/>
                      <a:pt x="577" y="491"/>
                    </a:cubicBezTo>
                    <a:cubicBezTo>
                      <a:pt x="580" y="492"/>
                      <a:pt x="586" y="490"/>
                      <a:pt x="589" y="492"/>
                    </a:cubicBezTo>
                    <a:cubicBezTo>
                      <a:pt x="592" y="493"/>
                      <a:pt x="591" y="499"/>
                      <a:pt x="591" y="502"/>
                    </a:cubicBezTo>
                    <a:cubicBezTo>
                      <a:pt x="587" y="503"/>
                      <a:pt x="582" y="504"/>
                      <a:pt x="578" y="503"/>
                    </a:cubicBezTo>
                    <a:cubicBezTo>
                      <a:pt x="576" y="503"/>
                      <a:pt x="575" y="503"/>
                      <a:pt x="574" y="503"/>
                    </a:cubicBezTo>
                    <a:cubicBezTo>
                      <a:pt x="573" y="503"/>
                      <a:pt x="572" y="502"/>
                      <a:pt x="571" y="501"/>
                    </a:cubicBezTo>
                    <a:cubicBezTo>
                      <a:pt x="571" y="501"/>
                      <a:pt x="571" y="500"/>
                      <a:pt x="570" y="499"/>
                    </a:cubicBezTo>
                    <a:cubicBezTo>
                      <a:pt x="562" y="495"/>
                      <a:pt x="558" y="502"/>
                      <a:pt x="555" y="509"/>
                    </a:cubicBezTo>
                    <a:cubicBezTo>
                      <a:pt x="553" y="513"/>
                      <a:pt x="547" y="517"/>
                      <a:pt x="547" y="522"/>
                    </a:cubicBezTo>
                    <a:cubicBezTo>
                      <a:pt x="548" y="529"/>
                      <a:pt x="556" y="525"/>
                      <a:pt x="557" y="529"/>
                    </a:cubicBezTo>
                    <a:cubicBezTo>
                      <a:pt x="558" y="533"/>
                      <a:pt x="553" y="534"/>
                      <a:pt x="551" y="537"/>
                    </a:cubicBezTo>
                    <a:cubicBezTo>
                      <a:pt x="549" y="539"/>
                      <a:pt x="547" y="545"/>
                      <a:pt x="548" y="548"/>
                    </a:cubicBezTo>
                    <a:cubicBezTo>
                      <a:pt x="554" y="550"/>
                      <a:pt x="563" y="543"/>
                      <a:pt x="567" y="539"/>
                    </a:cubicBezTo>
                    <a:cubicBezTo>
                      <a:pt x="569" y="537"/>
                      <a:pt x="569" y="537"/>
                      <a:pt x="571" y="535"/>
                    </a:cubicBezTo>
                    <a:cubicBezTo>
                      <a:pt x="573" y="531"/>
                      <a:pt x="576" y="527"/>
                      <a:pt x="579" y="523"/>
                    </a:cubicBezTo>
                    <a:cubicBezTo>
                      <a:pt x="582" y="528"/>
                      <a:pt x="580" y="532"/>
                      <a:pt x="579" y="536"/>
                    </a:cubicBezTo>
                    <a:cubicBezTo>
                      <a:pt x="578" y="541"/>
                      <a:pt x="578" y="542"/>
                      <a:pt x="573" y="544"/>
                    </a:cubicBezTo>
                    <a:cubicBezTo>
                      <a:pt x="571" y="546"/>
                      <a:pt x="567" y="546"/>
                      <a:pt x="566" y="549"/>
                    </a:cubicBezTo>
                    <a:cubicBezTo>
                      <a:pt x="566" y="552"/>
                      <a:pt x="566" y="556"/>
                      <a:pt x="568" y="557"/>
                    </a:cubicBezTo>
                    <a:cubicBezTo>
                      <a:pt x="566" y="558"/>
                      <a:pt x="563" y="556"/>
                      <a:pt x="561" y="556"/>
                    </a:cubicBezTo>
                    <a:cubicBezTo>
                      <a:pt x="558" y="556"/>
                      <a:pt x="554" y="555"/>
                      <a:pt x="552" y="556"/>
                    </a:cubicBezTo>
                    <a:cubicBezTo>
                      <a:pt x="548" y="557"/>
                      <a:pt x="546" y="560"/>
                      <a:pt x="543" y="563"/>
                    </a:cubicBezTo>
                    <a:cubicBezTo>
                      <a:pt x="541" y="565"/>
                      <a:pt x="538" y="566"/>
                      <a:pt x="535" y="568"/>
                    </a:cubicBezTo>
                    <a:cubicBezTo>
                      <a:pt x="533" y="569"/>
                      <a:pt x="525" y="573"/>
                      <a:pt x="525" y="577"/>
                    </a:cubicBezTo>
                    <a:cubicBezTo>
                      <a:pt x="525" y="581"/>
                      <a:pt x="531" y="582"/>
                      <a:pt x="531" y="584"/>
                    </a:cubicBezTo>
                    <a:cubicBezTo>
                      <a:pt x="533" y="588"/>
                      <a:pt x="529" y="585"/>
                      <a:pt x="527" y="587"/>
                    </a:cubicBezTo>
                    <a:cubicBezTo>
                      <a:pt x="524" y="588"/>
                      <a:pt x="526" y="590"/>
                      <a:pt x="525" y="591"/>
                    </a:cubicBezTo>
                    <a:cubicBezTo>
                      <a:pt x="523" y="592"/>
                      <a:pt x="523" y="592"/>
                      <a:pt x="522" y="593"/>
                    </a:cubicBezTo>
                    <a:cubicBezTo>
                      <a:pt x="518" y="596"/>
                      <a:pt x="516" y="600"/>
                      <a:pt x="516" y="605"/>
                    </a:cubicBezTo>
                    <a:cubicBezTo>
                      <a:pt x="520" y="606"/>
                      <a:pt x="524" y="603"/>
                      <a:pt x="528" y="602"/>
                    </a:cubicBezTo>
                    <a:cubicBezTo>
                      <a:pt x="533" y="600"/>
                      <a:pt x="540" y="599"/>
                      <a:pt x="546" y="600"/>
                    </a:cubicBezTo>
                    <a:cubicBezTo>
                      <a:pt x="548" y="600"/>
                      <a:pt x="550" y="601"/>
                      <a:pt x="552" y="601"/>
                    </a:cubicBezTo>
                    <a:cubicBezTo>
                      <a:pt x="555" y="601"/>
                      <a:pt x="558" y="601"/>
                      <a:pt x="559" y="604"/>
                    </a:cubicBezTo>
                    <a:cubicBezTo>
                      <a:pt x="559" y="604"/>
                      <a:pt x="559" y="605"/>
                      <a:pt x="559" y="605"/>
                    </a:cubicBezTo>
                    <a:cubicBezTo>
                      <a:pt x="558" y="605"/>
                      <a:pt x="558" y="606"/>
                      <a:pt x="558" y="607"/>
                    </a:cubicBezTo>
                    <a:cubicBezTo>
                      <a:pt x="556" y="608"/>
                      <a:pt x="551" y="607"/>
                      <a:pt x="548" y="607"/>
                    </a:cubicBezTo>
                    <a:cubicBezTo>
                      <a:pt x="542" y="607"/>
                      <a:pt x="528" y="605"/>
                      <a:pt x="523" y="610"/>
                    </a:cubicBezTo>
                    <a:cubicBezTo>
                      <a:pt x="518" y="613"/>
                      <a:pt x="519" y="622"/>
                      <a:pt x="516" y="627"/>
                    </a:cubicBezTo>
                    <a:cubicBezTo>
                      <a:pt x="513" y="623"/>
                      <a:pt x="515" y="615"/>
                      <a:pt x="509" y="614"/>
                    </a:cubicBezTo>
                    <a:cubicBezTo>
                      <a:pt x="505" y="612"/>
                      <a:pt x="503" y="617"/>
                      <a:pt x="503" y="620"/>
                    </a:cubicBezTo>
                    <a:cubicBezTo>
                      <a:pt x="502" y="626"/>
                      <a:pt x="503" y="625"/>
                      <a:pt x="499" y="629"/>
                    </a:cubicBezTo>
                    <a:cubicBezTo>
                      <a:pt x="495" y="632"/>
                      <a:pt x="496" y="634"/>
                      <a:pt x="495" y="639"/>
                    </a:cubicBezTo>
                    <a:cubicBezTo>
                      <a:pt x="493" y="640"/>
                      <a:pt x="491" y="642"/>
                      <a:pt x="488" y="643"/>
                    </a:cubicBezTo>
                    <a:cubicBezTo>
                      <a:pt x="486" y="644"/>
                      <a:pt x="484" y="643"/>
                      <a:pt x="482" y="644"/>
                    </a:cubicBezTo>
                    <a:cubicBezTo>
                      <a:pt x="477" y="646"/>
                      <a:pt x="482" y="647"/>
                      <a:pt x="483" y="650"/>
                    </a:cubicBezTo>
                    <a:cubicBezTo>
                      <a:pt x="484" y="652"/>
                      <a:pt x="483" y="653"/>
                      <a:pt x="484" y="655"/>
                    </a:cubicBezTo>
                    <a:cubicBezTo>
                      <a:pt x="484" y="656"/>
                      <a:pt x="486" y="657"/>
                      <a:pt x="487" y="657"/>
                    </a:cubicBezTo>
                    <a:cubicBezTo>
                      <a:pt x="490" y="659"/>
                      <a:pt x="495" y="661"/>
                      <a:pt x="497" y="665"/>
                    </a:cubicBezTo>
                    <a:cubicBezTo>
                      <a:pt x="489" y="666"/>
                      <a:pt x="480" y="664"/>
                      <a:pt x="473" y="666"/>
                    </a:cubicBezTo>
                    <a:cubicBezTo>
                      <a:pt x="469" y="667"/>
                      <a:pt x="468" y="667"/>
                      <a:pt x="467" y="670"/>
                    </a:cubicBezTo>
                    <a:cubicBezTo>
                      <a:pt x="466" y="673"/>
                      <a:pt x="466" y="674"/>
                      <a:pt x="467" y="676"/>
                    </a:cubicBezTo>
                    <a:cubicBezTo>
                      <a:pt x="467" y="677"/>
                      <a:pt x="469" y="676"/>
                      <a:pt x="468" y="679"/>
                    </a:cubicBezTo>
                    <a:cubicBezTo>
                      <a:pt x="465" y="679"/>
                      <a:pt x="465" y="680"/>
                      <a:pt x="464" y="682"/>
                    </a:cubicBezTo>
                    <a:cubicBezTo>
                      <a:pt x="462" y="683"/>
                      <a:pt x="456" y="684"/>
                      <a:pt x="455" y="687"/>
                    </a:cubicBezTo>
                    <a:cubicBezTo>
                      <a:pt x="454" y="689"/>
                      <a:pt x="455" y="690"/>
                      <a:pt x="456" y="691"/>
                    </a:cubicBezTo>
                    <a:cubicBezTo>
                      <a:pt x="457" y="694"/>
                      <a:pt x="457" y="695"/>
                      <a:pt x="458" y="699"/>
                    </a:cubicBezTo>
                    <a:cubicBezTo>
                      <a:pt x="461" y="699"/>
                      <a:pt x="465" y="699"/>
                      <a:pt x="468" y="699"/>
                    </a:cubicBezTo>
                    <a:cubicBezTo>
                      <a:pt x="472" y="698"/>
                      <a:pt x="476" y="696"/>
                      <a:pt x="476" y="702"/>
                    </a:cubicBezTo>
                    <a:cubicBezTo>
                      <a:pt x="475" y="705"/>
                      <a:pt x="471" y="706"/>
                      <a:pt x="470" y="708"/>
                    </a:cubicBezTo>
                    <a:cubicBezTo>
                      <a:pt x="467" y="711"/>
                      <a:pt x="466" y="714"/>
                      <a:pt x="462" y="713"/>
                    </a:cubicBezTo>
                    <a:cubicBezTo>
                      <a:pt x="460" y="709"/>
                      <a:pt x="462" y="705"/>
                      <a:pt x="457" y="702"/>
                    </a:cubicBezTo>
                    <a:cubicBezTo>
                      <a:pt x="452" y="699"/>
                      <a:pt x="446" y="701"/>
                      <a:pt x="446" y="706"/>
                    </a:cubicBezTo>
                    <a:cubicBezTo>
                      <a:pt x="446" y="708"/>
                      <a:pt x="448" y="710"/>
                      <a:pt x="447" y="712"/>
                    </a:cubicBezTo>
                    <a:cubicBezTo>
                      <a:pt x="447" y="715"/>
                      <a:pt x="446" y="717"/>
                      <a:pt x="447" y="720"/>
                    </a:cubicBezTo>
                    <a:cubicBezTo>
                      <a:pt x="447" y="723"/>
                      <a:pt x="447" y="724"/>
                      <a:pt x="451" y="726"/>
                    </a:cubicBezTo>
                    <a:cubicBezTo>
                      <a:pt x="455" y="728"/>
                      <a:pt x="460" y="727"/>
                      <a:pt x="465" y="728"/>
                    </a:cubicBezTo>
                    <a:cubicBezTo>
                      <a:pt x="463" y="730"/>
                      <a:pt x="459" y="731"/>
                      <a:pt x="456" y="732"/>
                    </a:cubicBezTo>
                    <a:cubicBezTo>
                      <a:pt x="455" y="733"/>
                      <a:pt x="454" y="736"/>
                      <a:pt x="453" y="737"/>
                    </a:cubicBezTo>
                    <a:cubicBezTo>
                      <a:pt x="452" y="739"/>
                      <a:pt x="450" y="740"/>
                      <a:pt x="447" y="740"/>
                    </a:cubicBezTo>
                    <a:cubicBezTo>
                      <a:pt x="443" y="741"/>
                      <a:pt x="442" y="740"/>
                      <a:pt x="438" y="744"/>
                    </a:cubicBezTo>
                    <a:cubicBezTo>
                      <a:pt x="436" y="747"/>
                      <a:pt x="436" y="745"/>
                      <a:pt x="436" y="749"/>
                    </a:cubicBezTo>
                    <a:cubicBezTo>
                      <a:pt x="436" y="750"/>
                      <a:pt x="436" y="752"/>
                      <a:pt x="436" y="754"/>
                    </a:cubicBezTo>
                    <a:cubicBezTo>
                      <a:pt x="436" y="761"/>
                      <a:pt x="429" y="758"/>
                      <a:pt x="427" y="763"/>
                    </a:cubicBezTo>
                    <a:cubicBezTo>
                      <a:pt x="426" y="765"/>
                      <a:pt x="427" y="767"/>
                      <a:pt x="426" y="769"/>
                    </a:cubicBezTo>
                    <a:cubicBezTo>
                      <a:pt x="425" y="770"/>
                      <a:pt x="423" y="771"/>
                      <a:pt x="422" y="773"/>
                    </a:cubicBezTo>
                    <a:cubicBezTo>
                      <a:pt x="422" y="774"/>
                      <a:pt x="422" y="775"/>
                      <a:pt x="421" y="776"/>
                    </a:cubicBezTo>
                    <a:cubicBezTo>
                      <a:pt x="420" y="778"/>
                      <a:pt x="417" y="778"/>
                      <a:pt x="417" y="779"/>
                    </a:cubicBezTo>
                    <a:cubicBezTo>
                      <a:pt x="416" y="781"/>
                      <a:pt x="416" y="783"/>
                      <a:pt x="416" y="785"/>
                    </a:cubicBezTo>
                    <a:cubicBezTo>
                      <a:pt x="416" y="787"/>
                      <a:pt x="415" y="789"/>
                      <a:pt x="418" y="790"/>
                    </a:cubicBezTo>
                    <a:cubicBezTo>
                      <a:pt x="421" y="790"/>
                      <a:pt x="421" y="787"/>
                      <a:pt x="422" y="785"/>
                    </a:cubicBezTo>
                    <a:cubicBezTo>
                      <a:pt x="425" y="782"/>
                      <a:pt x="431" y="781"/>
                      <a:pt x="436" y="780"/>
                    </a:cubicBezTo>
                    <a:cubicBezTo>
                      <a:pt x="437" y="779"/>
                      <a:pt x="438" y="779"/>
                      <a:pt x="441" y="780"/>
                    </a:cubicBezTo>
                    <a:cubicBezTo>
                      <a:pt x="439" y="780"/>
                      <a:pt x="438" y="780"/>
                      <a:pt x="436" y="780"/>
                    </a:cubicBezTo>
                    <a:cubicBezTo>
                      <a:pt x="435" y="782"/>
                      <a:pt x="434" y="784"/>
                      <a:pt x="433" y="785"/>
                    </a:cubicBezTo>
                    <a:cubicBezTo>
                      <a:pt x="432" y="786"/>
                      <a:pt x="429" y="787"/>
                      <a:pt x="429" y="788"/>
                    </a:cubicBezTo>
                    <a:cubicBezTo>
                      <a:pt x="428" y="790"/>
                      <a:pt x="429" y="792"/>
                      <a:pt x="428" y="794"/>
                    </a:cubicBezTo>
                    <a:cubicBezTo>
                      <a:pt x="427" y="798"/>
                      <a:pt x="423" y="799"/>
                      <a:pt x="421" y="801"/>
                    </a:cubicBezTo>
                    <a:cubicBezTo>
                      <a:pt x="419" y="804"/>
                      <a:pt x="419" y="808"/>
                      <a:pt x="415" y="811"/>
                    </a:cubicBezTo>
                    <a:cubicBezTo>
                      <a:pt x="411" y="813"/>
                      <a:pt x="408" y="810"/>
                      <a:pt x="407" y="815"/>
                    </a:cubicBezTo>
                    <a:cubicBezTo>
                      <a:pt x="407" y="818"/>
                      <a:pt x="406" y="823"/>
                      <a:pt x="407" y="825"/>
                    </a:cubicBezTo>
                    <a:cubicBezTo>
                      <a:pt x="408" y="828"/>
                      <a:pt x="418" y="833"/>
                      <a:pt x="416" y="837"/>
                    </a:cubicBezTo>
                    <a:cubicBezTo>
                      <a:pt x="415" y="839"/>
                      <a:pt x="406" y="839"/>
                      <a:pt x="407" y="835"/>
                    </a:cubicBezTo>
                    <a:cubicBezTo>
                      <a:pt x="404" y="836"/>
                      <a:pt x="403" y="844"/>
                      <a:pt x="401" y="847"/>
                    </a:cubicBezTo>
                    <a:cubicBezTo>
                      <a:pt x="399" y="850"/>
                      <a:pt x="394" y="853"/>
                      <a:pt x="393" y="857"/>
                    </a:cubicBezTo>
                    <a:cubicBezTo>
                      <a:pt x="391" y="861"/>
                      <a:pt x="392" y="866"/>
                      <a:pt x="396" y="870"/>
                    </a:cubicBezTo>
                    <a:cubicBezTo>
                      <a:pt x="397" y="871"/>
                      <a:pt x="400" y="872"/>
                      <a:pt x="399" y="874"/>
                    </a:cubicBezTo>
                    <a:cubicBezTo>
                      <a:pt x="399" y="876"/>
                      <a:pt x="395" y="874"/>
                      <a:pt x="396" y="877"/>
                    </a:cubicBezTo>
                    <a:cubicBezTo>
                      <a:pt x="399" y="878"/>
                      <a:pt x="400" y="876"/>
                      <a:pt x="403" y="876"/>
                    </a:cubicBezTo>
                    <a:cubicBezTo>
                      <a:pt x="403" y="877"/>
                      <a:pt x="403" y="878"/>
                      <a:pt x="403" y="880"/>
                    </a:cubicBezTo>
                    <a:cubicBezTo>
                      <a:pt x="403" y="880"/>
                      <a:pt x="402" y="881"/>
                      <a:pt x="402" y="882"/>
                    </a:cubicBezTo>
                    <a:cubicBezTo>
                      <a:pt x="398" y="882"/>
                      <a:pt x="394" y="884"/>
                      <a:pt x="391" y="887"/>
                    </a:cubicBezTo>
                    <a:cubicBezTo>
                      <a:pt x="389" y="889"/>
                      <a:pt x="389" y="890"/>
                      <a:pt x="386" y="892"/>
                    </a:cubicBezTo>
                    <a:cubicBezTo>
                      <a:pt x="383" y="894"/>
                      <a:pt x="380" y="895"/>
                      <a:pt x="380" y="898"/>
                    </a:cubicBezTo>
                    <a:cubicBezTo>
                      <a:pt x="375" y="897"/>
                      <a:pt x="374" y="886"/>
                      <a:pt x="370" y="889"/>
                    </a:cubicBezTo>
                    <a:cubicBezTo>
                      <a:pt x="369" y="890"/>
                      <a:pt x="367" y="895"/>
                      <a:pt x="367" y="896"/>
                    </a:cubicBezTo>
                    <a:cubicBezTo>
                      <a:pt x="366" y="899"/>
                      <a:pt x="368" y="900"/>
                      <a:pt x="369" y="902"/>
                    </a:cubicBezTo>
                    <a:cubicBezTo>
                      <a:pt x="369" y="903"/>
                      <a:pt x="369" y="905"/>
                      <a:pt x="368" y="906"/>
                    </a:cubicBezTo>
                    <a:cubicBezTo>
                      <a:pt x="368" y="907"/>
                      <a:pt x="365" y="907"/>
                      <a:pt x="364" y="908"/>
                    </a:cubicBezTo>
                    <a:cubicBezTo>
                      <a:pt x="363" y="908"/>
                      <a:pt x="363" y="909"/>
                      <a:pt x="362" y="910"/>
                    </a:cubicBezTo>
                    <a:cubicBezTo>
                      <a:pt x="360" y="911"/>
                      <a:pt x="360" y="912"/>
                      <a:pt x="357" y="912"/>
                    </a:cubicBezTo>
                    <a:cubicBezTo>
                      <a:pt x="356" y="912"/>
                      <a:pt x="352" y="909"/>
                      <a:pt x="350" y="909"/>
                    </a:cubicBezTo>
                    <a:cubicBezTo>
                      <a:pt x="348" y="908"/>
                      <a:pt x="347" y="909"/>
                      <a:pt x="345" y="908"/>
                    </a:cubicBezTo>
                    <a:cubicBezTo>
                      <a:pt x="345" y="906"/>
                      <a:pt x="346" y="903"/>
                      <a:pt x="345" y="902"/>
                    </a:cubicBezTo>
                    <a:cubicBezTo>
                      <a:pt x="344" y="898"/>
                      <a:pt x="340" y="901"/>
                      <a:pt x="338" y="904"/>
                    </a:cubicBezTo>
                    <a:cubicBezTo>
                      <a:pt x="336" y="906"/>
                      <a:pt x="336" y="908"/>
                      <a:pt x="334" y="910"/>
                    </a:cubicBezTo>
                    <a:cubicBezTo>
                      <a:pt x="332" y="913"/>
                      <a:pt x="330" y="914"/>
                      <a:pt x="328" y="917"/>
                    </a:cubicBezTo>
                    <a:cubicBezTo>
                      <a:pt x="327" y="918"/>
                      <a:pt x="326" y="922"/>
                      <a:pt x="326" y="924"/>
                    </a:cubicBezTo>
                    <a:cubicBezTo>
                      <a:pt x="328" y="925"/>
                      <a:pt x="332" y="925"/>
                      <a:pt x="334" y="925"/>
                    </a:cubicBezTo>
                    <a:cubicBezTo>
                      <a:pt x="336" y="924"/>
                      <a:pt x="339" y="923"/>
                      <a:pt x="341" y="924"/>
                    </a:cubicBezTo>
                    <a:cubicBezTo>
                      <a:pt x="346" y="924"/>
                      <a:pt x="352" y="929"/>
                      <a:pt x="357" y="929"/>
                    </a:cubicBezTo>
                    <a:cubicBezTo>
                      <a:pt x="360" y="929"/>
                      <a:pt x="363" y="926"/>
                      <a:pt x="366" y="927"/>
                    </a:cubicBezTo>
                    <a:cubicBezTo>
                      <a:pt x="369" y="928"/>
                      <a:pt x="368" y="930"/>
                      <a:pt x="369" y="931"/>
                    </a:cubicBezTo>
                    <a:cubicBezTo>
                      <a:pt x="369" y="931"/>
                      <a:pt x="369" y="931"/>
                      <a:pt x="369" y="931"/>
                    </a:cubicBezTo>
                    <a:cubicBezTo>
                      <a:pt x="367" y="932"/>
                      <a:pt x="360" y="934"/>
                      <a:pt x="361" y="936"/>
                    </a:cubicBezTo>
                    <a:cubicBezTo>
                      <a:pt x="362" y="937"/>
                      <a:pt x="370" y="936"/>
                      <a:pt x="372" y="936"/>
                    </a:cubicBezTo>
                    <a:cubicBezTo>
                      <a:pt x="374" y="942"/>
                      <a:pt x="359" y="938"/>
                      <a:pt x="357" y="941"/>
                    </a:cubicBezTo>
                    <a:cubicBezTo>
                      <a:pt x="355" y="942"/>
                      <a:pt x="356" y="943"/>
                      <a:pt x="357" y="945"/>
                    </a:cubicBezTo>
                    <a:cubicBezTo>
                      <a:pt x="358" y="948"/>
                      <a:pt x="359" y="950"/>
                      <a:pt x="360" y="953"/>
                    </a:cubicBezTo>
                    <a:cubicBezTo>
                      <a:pt x="358" y="952"/>
                      <a:pt x="357" y="949"/>
                      <a:pt x="355" y="948"/>
                    </a:cubicBezTo>
                    <a:cubicBezTo>
                      <a:pt x="352" y="946"/>
                      <a:pt x="352" y="948"/>
                      <a:pt x="351" y="949"/>
                    </a:cubicBezTo>
                    <a:cubicBezTo>
                      <a:pt x="349" y="950"/>
                      <a:pt x="351" y="951"/>
                      <a:pt x="348" y="951"/>
                    </a:cubicBezTo>
                    <a:cubicBezTo>
                      <a:pt x="346" y="951"/>
                      <a:pt x="345" y="950"/>
                      <a:pt x="344" y="949"/>
                    </a:cubicBezTo>
                    <a:cubicBezTo>
                      <a:pt x="343" y="953"/>
                      <a:pt x="345" y="954"/>
                      <a:pt x="343" y="957"/>
                    </a:cubicBezTo>
                    <a:cubicBezTo>
                      <a:pt x="341" y="961"/>
                      <a:pt x="336" y="960"/>
                      <a:pt x="332" y="960"/>
                    </a:cubicBezTo>
                    <a:cubicBezTo>
                      <a:pt x="330" y="955"/>
                      <a:pt x="330" y="955"/>
                      <a:pt x="330" y="955"/>
                    </a:cubicBezTo>
                    <a:cubicBezTo>
                      <a:pt x="326" y="959"/>
                      <a:pt x="319" y="962"/>
                      <a:pt x="318" y="967"/>
                    </a:cubicBezTo>
                    <a:cubicBezTo>
                      <a:pt x="317" y="970"/>
                      <a:pt x="317" y="972"/>
                      <a:pt x="316" y="974"/>
                    </a:cubicBezTo>
                    <a:cubicBezTo>
                      <a:pt x="315" y="976"/>
                      <a:pt x="313" y="976"/>
                      <a:pt x="314" y="979"/>
                    </a:cubicBezTo>
                    <a:cubicBezTo>
                      <a:pt x="317" y="979"/>
                      <a:pt x="321" y="978"/>
                      <a:pt x="325" y="979"/>
                    </a:cubicBezTo>
                    <a:cubicBezTo>
                      <a:pt x="329" y="986"/>
                      <a:pt x="314" y="983"/>
                      <a:pt x="311" y="985"/>
                    </a:cubicBezTo>
                    <a:cubicBezTo>
                      <a:pt x="312" y="985"/>
                      <a:pt x="310" y="989"/>
                      <a:pt x="310" y="988"/>
                    </a:cubicBezTo>
                    <a:cubicBezTo>
                      <a:pt x="309" y="989"/>
                      <a:pt x="310" y="992"/>
                      <a:pt x="309" y="993"/>
                    </a:cubicBezTo>
                    <a:cubicBezTo>
                      <a:pt x="308" y="995"/>
                      <a:pt x="300" y="994"/>
                      <a:pt x="302" y="998"/>
                    </a:cubicBezTo>
                    <a:cubicBezTo>
                      <a:pt x="304" y="998"/>
                      <a:pt x="304" y="999"/>
                      <a:pt x="304" y="1001"/>
                    </a:cubicBezTo>
                    <a:cubicBezTo>
                      <a:pt x="304" y="1004"/>
                      <a:pt x="303" y="1004"/>
                      <a:pt x="300" y="1005"/>
                    </a:cubicBezTo>
                    <a:cubicBezTo>
                      <a:pt x="294" y="1008"/>
                      <a:pt x="296" y="1007"/>
                      <a:pt x="297" y="1013"/>
                    </a:cubicBezTo>
                    <a:cubicBezTo>
                      <a:pt x="292" y="1016"/>
                      <a:pt x="291" y="1018"/>
                      <a:pt x="297" y="1019"/>
                    </a:cubicBezTo>
                    <a:cubicBezTo>
                      <a:pt x="297" y="1025"/>
                      <a:pt x="285" y="1020"/>
                      <a:pt x="283" y="1017"/>
                    </a:cubicBezTo>
                    <a:cubicBezTo>
                      <a:pt x="278" y="1023"/>
                      <a:pt x="285" y="1027"/>
                      <a:pt x="289" y="1028"/>
                    </a:cubicBezTo>
                    <a:cubicBezTo>
                      <a:pt x="289" y="1031"/>
                      <a:pt x="283" y="1033"/>
                      <a:pt x="282" y="1037"/>
                    </a:cubicBezTo>
                    <a:cubicBezTo>
                      <a:pt x="284" y="1038"/>
                      <a:pt x="288" y="1039"/>
                      <a:pt x="285" y="1042"/>
                    </a:cubicBezTo>
                    <a:cubicBezTo>
                      <a:pt x="282" y="1044"/>
                      <a:pt x="277" y="1039"/>
                      <a:pt x="274" y="1040"/>
                    </a:cubicBezTo>
                    <a:cubicBezTo>
                      <a:pt x="273" y="1041"/>
                      <a:pt x="274" y="1045"/>
                      <a:pt x="273" y="1047"/>
                    </a:cubicBezTo>
                    <a:cubicBezTo>
                      <a:pt x="272" y="1048"/>
                      <a:pt x="269" y="1048"/>
                      <a:pt x="267" y="1047"/>
                    </a:cubicBezTo>
                    <a:cubicBezTo>
                      <a:pt x="267" y="1047"/>
                      <a:pt x="267" y="1046"/>
                      <a:pt x="266" y="1046"/>
                    </a:cubicBezTo>
                    <a:cubicBezTo>
                      <a:pt x="262" y="1046"/>
                      <a:pt x="266" y="1052"/>
                      <a:pt x="268" y="1053"/>
                    </a:cubicBezTo>
                    <a:cubicBezTo>
                      <a:pt x="270" y="1054"/>
                      <a:pt x="272" y="1053"/>
                      <a:pt x="271" y="1056"/>
                    </a:cubicBezTo>
                    <a:cubicBezTo>
                      <a:pt x="271" y="1058"/>
                      <a:pt x="263" y="1061"/>
                      <a:pt x="260" y="1061"/>
                    </a:cubicBezTo>
                    <a:cubicBezTo>
                      <a:pt x="259" y="1067"/>
                      <a:pt x="267" y="1065"/>
                      <a:pt x="272" y="1065"/>
                    </a:cubicBezTo>
                    <a:cubicBezTo>
                      <a:pt x="272" y="1065"/>
                      <a:pt x="273" y="1064"/>
                      <a:pt x="273" y="1064"/>
                    </a:cubicBezTo>
                    <a:cubicBezTo>
                      <a:pt x="274" y="1063"/>
                      <a:pt x="275" y="1061"/>
                      <a:pt x="277" y="1060"/>
                    </a:cubicBezTo>
                    <a:cubicBezTo>
                      <a:pt x="278" y="1059"/>
                      <a:pt x="283" y="1060"/>
                      <a:pt x="285" y="1060"/>
                    </a:cubicBezTo>
                    <a:cubicBezTo>
                      <a:pt x="283" y="1063"/>
                      <a:pt x="275" y="1068"/>
                      <a:pt x="278" y="1073"/>
                    </a:cubicBezTo>
                    <a:cubicBezTo>
                      <a:pt x="279" y="1075"/>
                      <a:pt x="284" y="1075"/>
                      <a:pt x="286" y="1079"/>
                    </a:cubicBezTo>
                    <a:cubicBezTo>
                      <a:pt x="287" y="1082"/>
                      <a:pt x="286" y="1083"/>
                      <a:pt x="291" y="1084"/>
                    </a:cubicBezTo>
                    <a:cubicBezTo>
                      <a:pt x="293" y="1084"/>
                      <a:pt x="296" y="1083"/>
                      <a:pt x="298" y="1084"/>
                    </a:cubicBezTo>
                    <a:cubicBezTo>
                      <a:pt x="299" y="1084"/>
                      <a:pt x="299" y="1085"/>
                      <a:pt x="301" y="1085"/>
                    </a:cubicBezTo>
                    <a:cubicBezTo>
                      <a:pt x="303" y="1083"/>
                      <a:pt x="302" y="1079"/>
                      <a:pt x="305" y="1077"/>
                    </a:cubicBezTo>
                    <a:cubicBezTo>
                      <a:pt x="306" y="1076"/>
                      <a:pt x="308" y="1076"/>
                      <a:pt x="309" y="1076"/>
                    </a:cubicBezTo>
                    <a:cubicBezTo>
                      <a:pt x="311" y="1076"/>
                      <a:pt x="311" y="1078"/>
                      <a:pt x="312" y="1078"/>
                    </a:cubicBezTo>
                    <a:cubicBezTo>
                      <a:pt x="315" y="1078"/>
                      <a:pt x="314" y="1073"/>
                      <a:pt x="315" y="1071"/>
                    </a:cubicBezTo>
                    <a:cubicBezTo>
                      <a:pt x="316" y="1068"/>
                      <a:pt x="319" y="1066"/>
                      <a:pt x="322" y="1065"/>
                    </a:cubicBezTo>
                    <a:cubicBezTo>
                      <a:pt x="325" y="1064"/>
                      <a:pt x="325" y="1065"/>
                      <a:pt x="326" y="1063"/>
                    </a:cubicBezTo>
                    <a:cubicBezTo>
                      <a:pt x="328" y="1061"/>
                      <a:pt x="328" y="1060"/>
                      <a:pt x="330" y="1058"/>
                    </a:cubicBezTo>
                    <a:cubicBezTo>
                      <a:pt x="331" y="1057"/>
                      <a:pt x="332" y="1056"/>
                      <a:pt x="333" y="1056"/>
                    </a:cubicBezTo>
                    <a:cubicBezTo>
                      <a:pt x="334" y="1054"/>
                      <a:pt x="334" y="1055"/>
                      <a:pt x="336" y="1054"/>
                    </a:cubicBezTo>
                    <a:cubicBezTo>
                      <a:pt x="341" y="1052"/>
                      <a:pt x="351" y="1050"/>
                      <a:pt x="353" y="1044"/>
                    </a:cubicBezTo>
                    <a:cubicBezTo>
                      <a:pt x="348" y="1044"/>
                      <a:pt x="345" y="1037"/>
                      <a:pt x="348" y="1033"/>
                    </a:cubicBezTo>
                    <a:cubicBezTo>
                      <a:pt x="343" y="1032"/>
                      <a:pt x="339" y="1035"/>
                      <a:pt x="334" y="1035"/>
                    </a:cubicBezTo>
                    <a:cubicBezTo>
                      <a:pt x="332" y="1030"/>
                      <a:pt x="338" y="1028"/>
                      <a:pt x="343" y="1026"/>
                    </a:cubicBezTo>
                    <a:cubicBezTo>
                      <a:pt x="346" y="1025"/>
                      <a:pt x="350" y="1024"/>
                      <a:pt x="353" y="1023"/>
                    </a:cubicBezTo>
                    <a:cubicBezTo>
                      <a:pt x="355" y="1022"/>
                      <a:pt x="357" y="1020"/>
                      <a:pt x="359" y="1020"/>
                    </a:cubicBezTo>
                    <a:cubicBezTo>
                      <a:pt x="361" y="1020"/>
                      <a:pt x="363" y="1022"/>
                      <a:pt x="361" y="1025"/>
                    </a:cubicBezTo>
                    <a:cubicBezTo>
                      <a:pt x="360" y="1026"/>
                      <a:pt x="355" y="1027"/>
                      <a:pt x="354" y="1029"/>
                    </a:cubicBezTo>
                    <a:cubicBezTo>
                      <a:pt x="352" y="1030"/>
                      <a:pt x="350" y="1033"/>
                      <a:pt x="353" y="1035"/>
                    </a:cubicBezTo>
                    <a:cubicBezTo>
                      <a:pt x="355" y="1037"/>
                      <a:pt x="360" y="1033"/>
                      <a:pt x="361" y="1037"/>
                    </a:cubicBezTo>
                    <a:cubicBezTo>
                      <a:pt x="362" y="1038"/>
                      <a:pt x="361" y="1039"/>
                      <a:pt x="361" y="1040"/>
                    </a:cubicBezTo>
                    <a:cubicBezTo>
                      <a:pt x="362" y="1042"/>
                      <a:pt x="362" y="1041"/>
                      <a:pt x="364" y="1042"/>
                    </a:cubicBezTo>
                    <a:cubicBezTo>
                      <a:pt x="367" y="1044"/>
                      <a:pt x="368" y="1046"/>
                      <a:pt x="368" y="1050"/>
                    </a:cubicBezTo>
                    <a:cubicBezTo>
                      <a:pt x="362" y="1050"/>
                      <a:pt x="356" y="1049"/>
                      <a:pt x="351" y="1050"/>
                    </a:cubicBezTo>
                    <a:cubicBezTo>
                      <a:pt x="350" y="1054"/>
                      <a:pt x="348" y="1058"/>
                      <a:pt x="345" y="1061"/>
                    </a:cubicBezTo>
                    <a:cubicBezTo>
                      <a:pt x="341" y="1066"/>
                      <a:pt x="335" y="1064"/>
                      <a:pt x="330" y="1068"/>
                    </a:cubicBezTo>
                    <a:cubicBezTo>
                      <a:pt x="327" y="1071"/>
                      <a:pt x="326" y="1077"/>
                      <a:pt x="327" y="1080"/>
                    </a:cubicBezTo>
                    <a:cubicBezTo>
                      <a:pt x="328" y="1082"/>
                      <a:pt x="332" y="1089"/>
                      <a:pt x="331" y="1091"/>
                    </a:cubicBezTo>
                    <a:cubicBezTo>
                      <a:pt x="329" y="1095"/>
                      <a:pt x="325" y="1088"/>
                      <a:pt x="324" y="1087"/>
                    </a:cubicBezTo>
                    <a:cubicBezTo>
                      <a:pt x="321" y="1086"/>
                      <a:pt x="320" y="1087"/>
                      <a:pt x="317" y="1086"/>
                    </a:cubicBezTo>
                    <a:cubicBezTo>
                      <a:pt x="314" y="1085"/>
                      <a:pt x="310" y="1081"/>
                      <a:pt x="307" y="1083"/>
                    </a:cubicBezTo>
                    <a:cubicBezTo>
                      <a:pt x="304" y="1085"/>
                      <a:pt x="306" y="1087"/>
                      <a:pt x="302" y="1088"/>
                    </a:cubicBezTo>
                    <a:cubicBezTo>
                      <a:pt x="300" y="1089"/>
                      <a:pt x="296" y="1088"/>
                      <a:pt x="294" y="1090"/>
                    </a:cubicBezTo>
                    <a:cubicBezTo>
                      <a:pt x="293" y="1092"/>
                      <a:pt x="295" y="1094"/>
                      <a:pt x="293" y="1096"/>
                    </a:cubicBezTo>
                    <a:cubicBezTo>
                      <a:pt x="292" y="1098"/>
                      <a:pt x="286" y="1100"/>
                      <a:pt x="289" y="1103"/>
                    </a:cubicBezTo>
                    <a:cubicBezTo>
                      <a:pt x="291" y="1104"/>
                      <a:pt x="295" y="1103"/>
                      <a:pt x="297" y="1103"/>
                    </a:cubicBezTo>
                    <a:cubicBezTo>
                      <a:pt x="296" y="1105"/>
                      <a:pt x="289" y="1106"/>
                      <a:pt x="287" y="1105"/>
                    </a:cubicBezTo>
                    <a:cubicBezTo>
                      <a:pt x="285" y="1104"/>
                      <a:pt x="285" y="1103"/>
                      <a:pt x="285" y="1101"/>
                    </a:cubicBezTo>
                    <a:cubicBezTo>
                      <a:pt x="285" y="1100"/>
                      <a:pt x="286" y="1097"/>
                      <a:pt x="286" y="1097"/>
                    </a:cubicBezTo>
                    <a:cubicBezTo>
                      <a:pt x="286" y="1095"/>
                      <a:pt x="282" y="1094"/>
                      <a:pt x="281" y="1092"/>
                    </a:cubicBezTo>
                    <a:cubicBezTo>
                      <a:pt x="279" y="1090"/>
                      <a:pt x="278" y="1085"/>
                      <a:pt x="277" y="1082"/>
                    </a:cubicBezTo>
                    <a:cubicBezTo>
                      <a:pt x="277" y="1080"/>
                      <a:pt x="278" y="1077"/>
                      <a:pt x="277" y="1075"/>
                    </a:cubicBezTo>
                    <a:cubicBezTo>
                      <a:pt x="277" y="1073"/>
                      <a:pt x="274" y="1072"/>
                      <a:pt x="274" y="1070"/>
                    </a:cubicBezTo>
                    <a:cubicBezTo>
                      <a:pt x="269" y="1069"/>
                      <a:pt x="268" y="1075"/>
                      <a:pt x="265" y="1076"/>
                    </a:cubicBezTo>
                    <a:cubicBezTo>
                      <a:pt x="263" y="1074"/>
                      <a:pt x="259" y="1073"/>
                      <a:pt x="257" y="1075"/>
                    </a:cubicBezTo>
                    <a:cubicBezTo>
                      <a:pt x="255" y="1076"/>
                      <a:pt x="255" y="1079"/>
                      <a:pt x="253" y="1081"/>
                    </a:cubicBezTo>
                    <a:cubicBezTo>
                      <a:pt x="251" y="1082"/>
                      <a:pt x="240" y="1081"/>
                      <a:pt x="242" y="1087"/>
                    </a:cubicBezTo>
                    <a:cubicBezTo>
                      <a:pt x="246" y="1088"/>
                      <a:pt x="249" y="1087"/>
                      <a:pt x="252" y="1088"/>
                    </a:cubicBezTo>
                    <a:cubicBezTo>
                      <a:pt x="253" y="1089"/>
                      <a:pt x="254" y="1090"/>
                      <a:pt x="254" y="1091"/>
                    </a:cubicBezTo>
                    <a:cubicBezTo>
                      <a:pt x="256" y="1091"/>
                      <a:pt x="257" y="1090"/>
                      <a:pt x="258" y="1092"/>
                    </a:cubicBezTo>
                    <a:cubicBezTo>
                      <a:pt x="255" y="1093"/>
                      <a:pt x="244" y="1094"/>
                      <a:pt x="247" y="1099"/>
                    </a:cubicBezTo>
                    <a:cubicBezTo>
                      <a:pt x="249" y="1104"/>
                      <a:pt x="260" y="1101"/>
                      <a:pt x="264" y="1101"/>
                    </a:cubicBezTo>
                    <a:cubicBezTo>
                      <a:pt x="264" y="1104"/>
                      <a:pt x="260" y="1103"/>
                      <a:pt x="258" y="1104"/>
                    </a:cubicBezTo>
                    <a:cubicBezTo>
                      <a:pt x="255" y="1105"/>
                      <a:pt x="254" y="1108"/>
                      <a:pt x="252" y="1110"/>
                    </a:cubicBezTo>
                    <a:cubicBezTo>
                      <a:pt x="247" y="1112"/>
                      <a:pt x="248" y="1104"/>
                      <a:pt x="245" y="1103"/>
                    </a:cubicBezTo>
                    <a:cubicBezTo>
                      <a:pt x="243" y="1103"/>
                      <a:pt x="240" y="1105"/>
                      <a:pt x="239" y="1105"/>
                    </a:cubicBezTo>
                    <a:cubicBezTo>
                      <a:pt x="238" y="1102"/>
                      <a:pt x="240" y="1097"/>
                      <a:pt x="239" y="1095"/>
                    </a:cubicBezTo>
                    <a:cubicBezTo>
                      <a:pt x="238" y="1093"/>
                      <a:pt x="234" y="1090"/>
                      <a:pt x="232" y="1090"/>
                    </a:cubicBezTo>
                    <a:cubicBezTo>
                      <a:pt x="226" y="1088"/>
                      <a:pt x="224" y="1093"/>
                      <a:pt x="219" y="1094"/>
                    </a:cubicBezTo>
                    <a:cubicBezTo>
                      <a:pt x="216" y="1094"/>
                      <a:pt x="214" y="1093"/>
                      <a:pt x="212" y="1094"/>
                    </a:cubicBezTo>
                    <a:cubicBezTo>
                      <a:pt x="210" y="1094"/>
                      <a:pt x="208" y="1095"/>
                      <a:pt x="206" y="1097"/>
                    </a:cubicBezTo>
                    <a:cubicBezTo>
                      <a:pt x="205" y="1098"/>
                      <a:pt x="205" y="1099"/>
                      <a:pt x="204" y="1100"/>
                    </a:cubicBezTo>
                    <a:cubicBezTo>
                      <a:pt x="203" y="1102"/>
                      <a:pt x="203" y="1101"/>
                      <a:pt x="202" y="1102"/>
                    </a:cubicBezTo>
                    <a:cubicBezTo>
                      <a:pt x="200" y="1103"/>
                      <a:pt x="199" y="1106"/>
                      <a:pt x="197" y="1107"/>
                    </a:cubicBezTo>
                    <a:cubicBezTo>
                      <a:pt x="200" y="1108"/>
                      <a:pt x="205" y="1110"/>
                      <a:pt x="200" y="1112"/>
                    </a:cubicBezTo>
                    <a:cubicBezTo>
                      <a:pt x="198" y="1113"/>
                      <a:pt x="195" y="1112"/>
                      <a:pt x="193" y="1113"/>
                    </a:cubicBezTo>
                    <a:cubicBezTo>
                      <a:pt x="192" y="1113"/>
                      <a:pt x="192" y="1115"/>
                      <a:pt x="190" y="1116"/>
                    </a:cubicBezTo>
                    <a:cubicBezTo>
                      <a:pt x="189" y="1117"/>
                      <a:pt x="188" y="1117"/>
                      <a:pt x="187" y="1117"/>
                    </a:cubicBezTo>
                    <a:cubicBezTo>
                      <a:pt x="184" y="1118"/>
                      <a:pt x="182" y="1120"/>
                      <a:pt x="179" y="1121"/>
                    </a:cubicBezTo>
                    <a:cubicBezTo>
                      <a:pt x="176" y="1122"/>
                      <a:pt x="170" y="1122"/>
                      <a:pt x="172" y="1127"/>
                    </a:cubicBezTo>
                    <a:cubicBezTo>
                      <a:pt x="176" y="1127"/>
                      <a:pt x="179" y="1124"/>
                      <a:pt x="183" y="1124"/>
                    </a:cubicBezTo>
                    <a:cubicBezTo>
                      <a:pt x="186" y="1124"/>
                      <a:pt x="185" y="1127"/>
                      <a:pt x="187" y="1128"/>
                    </a:cubicBezTo>
                    <a:cubicBezTo>
                      <a:pt x="190" y="1129"/>
                      <a:pt x="191" y="1126"/>
                      <a:pt x="193" y="1128"/>
                    </a:cubicBezTo>
                    <a:cubicBezTo>
                      <a:pt x="195" y="1129"/>
                      <a:pt x="186" y="1129"/>
                      <a:pt x="188" y="1133"/>
                    </a:cubicBezTo>
                    <a:cubicBezTo>
                      <a:pt x="188" y="1134"/>
                      <a:pt x="190" y="1136"/>
                      <a:pt x="191" y="1136"/>
                    </a:cubicBezTo>
                    <a:cubicBezTo>
                      <a:pt x="193" y="1138"/>
                      <a:pt x="194" y="1141"/>
                      <a:pt x="196" y="1143"/>
                    </a:cubicBezTo>
                    <a:cubicBezTo>
                      <a:pt x="200" y="1147"/>
                      <a:pt x="201" y="1146"/>
                      <a:pt x="205" y="1147"/>
                    </a:cubicBezTo>
                    <a:cubicBezTo>
                      <a:pt x="212" y="1148"/>
                      <a:pt x="205" y="1149"/>
                      <a:pt x="203" y="1151"/>
                    </a:cubicBezTo>
                    <a:cubicBezTo>
                      <a:pt x="203" y="1152"/>
                      <a:pt x="202" y="1154"/>
                      <a:pt x="203" y="1155"/>
                    </a:cubicBezTo>
                    <a:cubicBezTo>
                      <a:pt x="203" y="1157"/>
                      <a:pt x="205" y="1156"/>
                      <a:pt x="207" y="1157"/>
                    </a:cubicBezTo>
                    <a:cubicBezTo>
                      <a:pt x="211" y="1159"/>
                      <a:pt x="211" y="1162"/>
                      <a:pt x="212" y="1165"/>
                    </a:cubicBezTo>
                    <a:cubicBezTo>
                      <a:pt x="209" y="1164"/>
                      <a:pt x="205" y="1164"/>
                      <a:pt x="202" y="1163"/>
                    </a:cubicBezTo>
                    <a:cubicBezTo>
                      <a:pt x="202" y="1161"/>
                      <a:pt x="200" y="1162"/>
                      <a:pt x="198" y="1161"/>
                    </a:cubicBezTo>
                    <a:cubicBezTo>
                      <a:pt x="198" y="1160"/>
                      <a:pt x="198" y="1160"/>
                      <a:pt x="198" y="1159"/>
                    </a:cubicBezTo>
                    <a:cubicBezTo>
                      <a:pt x="196" y="1158"/>
                      <a:pt x="195" y="1159"/>
                      <a:pt x="194" y="1157"/>
                    </a:cubicBezTo>
                    <a:cubicBezTo>
                      <a:pt x="192" y="1154"/>
                      <a:pt x="195" y="1153"/>
                      <a:pt x="191" y="1150"/>
                    </a:cubicBezTo>
                    <a:cubicBezTo>
                      <a:pt x="187" y="1148"/>
                      <a:pt x="186" y="1148"/>
                      <a:pt x="186" y="1143"/>
                    </a:cubicBezTo>
                    <a:cubicBezTo>
                      <a:pt x="186" y="1142"/>
                      <a:pt x="186" y="1140"/>
                      <a:pt x="185" y="1138"/>
                    </a:cubicBezTo>
                    <a:cubicBezTo>
                      <a:pt x="185" y="1138"/>
                      <a:pt x="184" y="1138"/>
                      <a:pt x="184" y="1137"/>
                    </a:cubicBezTo>
                    <a:cubicBezTo>
                      <a:pt x="183" y="1137"/>
                      <a:pt x="183" y="1135"/>
                      <a:pt x="183" y="1134"/>
                    </a:cubicBezTo>
                    <a:cubicBezTo>
                      <a:pt x="182" y="1133"/>
                      <a:pt x="180" y="1132"/>
                      <a:pt x="178" y="1132"/>
                    </a:cubicBezTo>
                    <a:cubicBezTo>
                      <a:pt x="175" y="1133"/>
                      <a:pt x="176" y="1133"/>
                      <a:pt x="174" y="1135"/>
                    </a:cubicBezTo>
                    <a:cubicBezTo>
                      <a:pt x="174" y="1136"/>
                      <a:pt x="174" y="1136"/>
                      <a:pt x="174" y="1137"/>
                    </a:cubicBezTo>
                    <a:cubicBezTo>
                      <a:pt x="174" y="1138"/>
                      <a:pt x="174" y="1138"/>
                      <a:pt x="173" y="1139"/>
                    </a:cubicBezTo>
                    <a:cubicBezTo>
                      <a:pt x="173" y="1139"/>
                      <a:pt x="171" y="1141"/>
                      <a:pt x="170" y="1142"/>
                    </a:cubicBezTo>
                    <a:cubicBezTo>
                      <a:pt x="168" y="1144"/>
                      <a:pt x="167" y="1148"/>
                      <a:pt x="165" y="1150"/>
                    </a:cubicBezTo>
                    <a:cubicBezTo>
                      <a:pt x="164" y="1150"/>
                      <a:pt x="160" y="1150"/>
                      <a:pt x="159" y="1150"/>
                    </a:cubicBezTo>
                    <a:cubicBezTo>
                      <a:pt x="157" y="1151"/>
                      <a:pt x="156" y="1152"/>
                      <a:pt x="154" y="1151"/>
                    </a:cubicBezTo>
                    <a:cubicBezTo>
                      <a:pt x="152" y="1146"/>
                      <a:pt x="176" y="1136"/>
                      <a:pt x="167" y="1131"/>
                    </a:cubicBezTo>
                    <a:cubicBezTo>
                      <a:pt x="165" y="1130"/>
                      <a:pt x="162" y="1130"/>
                      <a:pt x="160" y="1130"/>
                    </a:cubicBezTo>
                    <a:cubicBezTo>
                      <a:pt x="156" y="1130"/>
                      <a:pt x="154" y="1130"/>
                      <a:pt x="152" y="1133"/>
                    </a:cubicBezTo>
                    <a:cubicBezTo>
                      <a:pt x="151" y="1134"/>
                      <a:pt x="152" y="1134"/>
                      <a:pt x="150" y="1136"/>
                    </a:cubicBezTo>
                    <a:cubicBezTo>
                      <a:pt x="148" y="1137"/>
                      <a:pt x="146" y="1136"/>
                      <a:pt x="144" y="1137"/>
                    </a:cubicBezTo>
                    <a:cubicBezTo>
                      <a:pt x="142" y="1139"/>
                      <a:pt x="141" y="1142"/>
                      <a:pt x="140" y="1144"/>
                    </a:cubicBezTo>
                    <a:cubicBezTo>
                      <a:pt x="138" y="1145"/>
                      <a:pt x="136" y="1144"/>
                      <a:pt x="134" y="1145"/>
                    </a:cubicBezTo>
                    <a:cubicBezTo>
                      <a:pt x="132" y="1145"/>
                      <a:pt x="129" y="1147"/>
                      <a:pt x="128" y="1148"/>
                    </a:cubicBezTo>
                    <a:cubicBezTo>
                      <a:pt x="125" y="1150"/>
                      <a:pt x="123" y="1154"/>
                      <a:pt x="122" y="1158"/>
                    </a:cubicBezTo>
                    <a:cubicBezTo>
                      <a:pt x="122" y="1163"/>
                      <a:pt x="126" y="1166"/>
                      <a:pt x="130" y="1167"/>
                    </a:cubicBezTo>
                    <a:cubicBezTo>
                      <a:pt x="132" y="1167"/>
                      <a:pt x="135" y="1165"/>
                      <a:pt x="136" y="1167"/>
                    </a:cubicBezTo>
                    <a:cubicBezTo>
                      <a:pt x="137" y="1170"/>
                      <a:pt x="126" y="1170"/>
                      <a:pt x="125" y="1170"/>
                    </a:cubicBezTo>
                    <a:cubicBezTo>
                      <a:pt x="124" y="1173"/>
                      <a:pt x="125" y="1174"/>
                      <a:pt x="126" y="1176"/>
                    </a:cubicBezTo>
                    <a:cubicBezTo>
                      <a:pt x="127" y="1180"/>
                      <a:pt x="127" y="1180"/>
                      <a:pt x="131" y="1180"/>
                    </a:cubicBezTo>
                    <a:cubicBezTo>
                      <a:pt x="135" y="1180"/>
                      <a:pt x="137" y="1179"/>
                      <a:pt x="140" y="1179"/>
                    </a:cubicBezTo>
                    <a:cubicBezTo>
                      <a:pt x="143" y="1179"/>
                      <a:pt x="144" y="1181"/>
                      <a:pt x="147" y="1182"/>
                    </a:cubicBezTo>
                    <a:cubicBezTo>
                      <a:pt x="153" y="1183"/>
                      <a:pt x="155" y="1177"/>
                      <a:pt x="160" y="1175"/>
                    </a:cubicBezTo>
                    <a:cubicBezTo>
                      <a:pt x="162" y="1174"/>
                      <a:pt x="165" y="1175"/>
                      <a:pt x="168" y="1174"/>
                    </a:cubicBezTo>
                    <a:cubicBezTo>
                      <a:pt x="170" y="1173"/>
                      <a:pt x="174" y="1172"/>
                      <a:pt x="177" y="1172"/>
                    </a:cubicBezTo>
                    <a:cubicBezTo>
                      <a:pt x="178" y="1177"/>
                      <a:pt x="171" y="1176"/>
                      <a:pt x="169" y="1176"/>
                    </a:cubicBezTo>
                    <a:cubicBezTo>
                      <a:pt x="165" y="1176"/>
                      <a:pt x="161" y="1178"/>
                      <a:pt x="159" y="1179"/>
                    </a:cubicBezTo>
                    <a:cubicBezTo>
                      <a:pt x="153" y="1183"/>
                      <a:pt x="146" y="1183"/>
                      <a:pt x="147" y="1191"/>
                    </a:cubicBezTo>
                    <a:cubicBezTo>
                      <a:pt x="151" y="1192"/>
                      <a:pt x="156" y="1194"/>
                      <a:pt x="155" y="1198"/>
                    </a:cubicBezTo>
                    <a:cubicBezTo>
                      <a:pt x="151" y="1200"/>
                      <a:pt x="148" y="1196"/>
                      <a:pt x="145" y="1194"/>
                    </a:cubicBezTo>
                    <a:cubicBezTo>
                      <a:pt x="144" y="1193"/>
                      <a:pt x="142" y="1192"/>
                      <a:pt x="141" y="1191"/>
                    </a:cubicBezTo>
                    <a:cubicBezTo>
                      <a:pt x="138" y="1191"/>
                      <a:pt x="138" y="1191"/>
                      <a:pt x="136" y="1192"/>
                    </a:cubicBezTo>
                    <a:cubicBezTo>
                      <a:pt x="133" y="1193"/>
                      <a:pt x="130" y="1191"/>
                      <a:pt x="128" y="1191"/>
                    </a:cubicBezTo>
                    <a:cubicBezTo>
                      <a:pt x="126" y="1190"/>
                      <a:pt x="125" y="1189"/>
                      <a:pt x="123" y="1187"/>
                    </a:cubicBezTo>
                    <a:cubicBezTo>
                      <a:pt x="122" y="1187"/>
                      <a:pt x="123" y="1185"/>
                      <a:pt x="121" y="1186"/>
                    </a:cubicBezTo>
                    <a:cubicBezTo>
                      <a:pt x="120" y="1186"/>
                      <a:pt x="121" y="1188"/>
                      <a:pt x="120" y="1188"/>
                    </a:cubicBezTo>
                    <a:cubicBezTo>
                      <a:pt x="118" y="1189"/>
                      <a:pt x="117" y="1188"/>
                      <a:pt x="115" y="1187"/>
                    </a:cubicBezTo>
                    <a:cubicBezTo>
                      <a:pt x="112" y="1187"/>
                      <a:pt x="112" y="1188"/>
                      <a:pt x="110" y="1189"/>
                    </a:cubicBezTo>
                    <a:cubicBezTo>
                      <a:pt x="108" y="1190"/>
                      <a:pt x="106" y="1189"/>
                      <a:pt x="104" y="1189"/>
                    </a:cubicBezTo>
                    <a:cubicBezTo>
                      <a:pt x="102" y="1189"/>
                      <a:pt x="99" y="1189"/>
                      <a:pt x="97" y="1189"/>
                    </a:cubicBezTo>
                    <a:cubicBezTo>
                      <a:pt x="95" y="1189"/>
                      <a:pt x="93" y="1191"/>
                      <a:pt x="92" y="1191"/>
                    </a:cubicBezTo>
                    <a:cubicBezTo>
                      <a:pt x="88" y="1192"/>
                      <a:pt x="83" y="1191"/>
                      <a:pt x="83" y="1196"/>
                    </a:cubicBezTo>
                    <a:cubicBezTo>
                      <a:pt x="84" y="1201"/>
                      <a:pt x="87" y="1199"/>
                      <a:pt x="89" y="1200"/>
                    </a:cubicBezTo>
                    <a:cubicBezTo>
                      <a:pt x="91" y="1200"/>
                      <a:pt x="92" y="1201"/>
                      <a:pt x="94" y="1202"/>
                    </a:cubicBezTo>
                    <a:cubicBezTo>
                      <a:pt x="90" y="1203"/>
                      <a:pt x="82" y="1201"/>
                      <a:pt x="79" y="1205"/>
                    </a:cubicBezTo>
                    <a:cubicBezTo>
                      <a:pt x="78" y="1206"/>
                      <a:pt x="79" y="1207"/>
                      <a:pt x="79" y="1208"/>
                    </a:cubicBezTo>
                    <a:cubicBezTo>
                      <a:pt x="78" y="1209"/>
                      <a:pt x="78" y="1209"/>
                      <a:pt x="77" y="1210"/>
                    </a:cubicBezTo>
                    <a:cubicBezTo>
                      <a:pt x="76" y="1211"/>
                      <a:pt x="75" y="1210"/>
                      <a:pt x="74" y="1211"/>
                    </a:cubicBezTo>
                    <a:cubicBezTo>
                      <a:pt x="74" y="1212"/>
                      <a:pt x="74" y="1214"/>
                      <a:pt x="74" y="1214"/>
                    </a:cubicBezTo>
                    <a:cubicBezTo>
                      <a:pt x="77" y="1215"/>
                      <a:pt x="77" y="1217"/>
                      <a:pt x="80" y="1218"/>
                    </a:cubicBezTo>
                    <a:cubicBezTo>
                      <a:pt x="82" y="1218"/>
                      <a:pt x="83" y="1217"/>
                      <a:pt x="85" y="1217"/>
                    </a:cubicBezTo>
                    <a:cubicBezTo>
                      <a:pt x="87" y="1216"/>
                      <a:pt x="90" y="1216"/>
                      <a:pt x="91" y="1216"/>
                    </a:cubicBezTo>
                    <a:cubicBezTo>
                      <a:pt x="94" y="1215"/>
                      <a:pt x="95" y="1211"/>
                      <a:pt x="97" y="1208"/>
                    </a:cubicBezTo>
                    <a:cubicBezTo>
                      <a:pt x="99" y="1206"/>
                      <a:pt x="101" y="1206"/>
                      <a:pt x="103" y="1206"/>
                    </a:cubicBezTo>
                    <a:cubicBezTo>
                      <a:pt x="110" y="1206"/>
                      <a:pt x="113" y="1206"/>
                      <a:pt x="118" y="1211"/>
                    </a:cubicBezTo>
                    <a:cubicBezTo>
                      <a:pt x="120" y="1213"/>
                      <a:pt x="124" y="1214"/>
                      <a:pt x="126" y="1217"/>
                    </a:cubicBezTo>
                    <a:cubicBezTo>
                      <a:pt x="127" y="1219"/>
                      <a:pt x="126" y="1222"/>
                      <a:pt x="126" y="1224"/>
                    </a:cubicBezTo>
                    <a:cubicBezTo>
                      <a:pt x="128" y="1225"/>
                      <a:pt x="131" y="1224"/>
                      <a:pt x="133" y="1225"/>
                    </a:cubicBezTo>
                    <a:cubicBezTo>
                      <a:pt x="133" y="1225"/>
                      <a:pt x="133" y="1226"/>
                      <a:pt x="133" y="1227"/>
                    </a:cubicBezTo>
                    <a:cubicBezTo>
                      <a:pt x="129" y="1228"/>
                      <a:pt x="127" y="1227"/>
                      <a:pt x="125" y="1225"/>
                    </a:cubicBezTo>
                    <a:cubicBezTo>
                      <a:pt x="125" y="1224"/>
                      <a:pt x="125" y="1224"/>
                      <a:pt x="124" y="1223"/>
                    </a:cubicBezTo>
                    <a:cubicBezTo>
                      <a:pt x="124" y="1223"/>
                      <a:pt x="123" y="1223"/>
                      <a:pt x="123" y="1222"/>
                    </a:cubicBezTo>
                    <a:cubicBezTo>
                      <a:pt x="122" y="1222"/>
                      <a:pt x="122" y="1222"/>
                      <a:pt x="121" y="1222"/>
                    </a:cubicBezTo>
                    <a:cubicBezTo>
                      <a:pt x="120" y="1221"/>
                      <a:pt x="121" y="1219"/>
                      <a:pt x="120" y="1219"/>
                    </a:cubicBezTo>
                    <a:cubicBezTo>
                      <a:pt x="118" y="1217"/>
                      <a:pt x="115" y="1217"/>
                      <a:pt x="113" y="1216"/>
                    </a:cubicBezTo>
                    <a:cubicBezTo>
                      <a:pt x="109" y="1214"/>
                      <a:pt x="108" y="1214"/>
                      <a:pt x="104" y="1215"/>
                    </a:cubicBezTo>
                    <a:cubicBezTo>
                      <a:pt x="102" y="1216"/>
                      <a:pt x="97" y="1215"/>
                      <a:pt x="96" y="1217"/>
                    </a:cubicBezTo>
                    <a:cubicBezTo>
                      <a:pt x="94" y="1220"/>
                      <a:pt x="95" y="1222"/>
                      <a:pt x="96" y="1224"/>
                    </a:cubicBezTo>
                    <a:cubicBezTo>
                      <a:pt x="97" y="1227"/>
                      <a:pt x="97" y="1230"/>
                      <a:pt x="98" y="1233"/>
                    </a:cubicBezTo>
                    <a:cubicBezTo>
                      <a:pt x="98" y="1236"/>
                      <a:pt x="99" y="1239"/>
                      <a:pt x="100" y="1241"/>
                    </a:cubicBezTo>
                    <a:cubicBezTo>
                      <a:pt x="101" y="1243"/>
                      <a:pt x="102" y="1243"/>
                      <a:pt x="101" y="1245"/>
                    </a:cubicBezTo>
                    <a:cubicBezTo>
                      <a:pt x="99" y="1245"/>
                      <a:pt x="99" y="1242"/>
                      <a:pt x="97" y="1240"/>
                    </a:cubicBezTo>
                    <a:cubicBezTo>
                      <a:pt x="96" y="1238"/>
                      <a:pt x="93" y="1236"/>
                      <a:pt x="92" y="1233"/>
                    </a:cubicBezTo>
                    <a:cubicBezTo>
                      <a:pt x="91" y="1230"/>
                      <a:pt x="89" y="1221"/>
                      <a:pt x="84" y="1221"/>
                    </a:cubicBezTo>
                    <a:cubicBezTo>
                      <a:pt x="80" y="1221"/>
                      <a:pt x="78" y="1228"/>
                      <a:pt x="75" y="1230"/>
                    </a:cubicBezTo>
                    <a:cubicBezTo>
                      <a:pt x="74" y="1231"/>
                      <a:pt x="71" y="1230"/>
                      <a:pt x="70" y="1231"/>
                    </a:cubicBezTo>
                    <a:cubicBezTo>
                      <a:pt x="69" y="1232"/>
                      <a:pt x="68" y="1235"/>
                      <a:pt x="67" y="1237"/>
                    </a:cubicBezTo>
                    <a:cubicBezTo>
                      <a:pt x="64" y="1235"/>
                      <a:pt x="63" y="1232"/>
                      <a:pt x="64" y="1229"/>
                    </a:cubicBezTo>
                    <a:cubicBezTo>
                      <a:pt x="69" y="1227"/>
                      <a:pt x="77" y="1222"/>
                      <a:pt x="70" y="1216"/>
                    </a:cubicBezTo>
                    <a:cubicBezTo>
                      <a:pt x="67" y="1214"/>
                      <a:pt x="63" y="1212"/>
                      <a:pt x="61" y="1215"/>
                    </a:cubicBezTo>
                    <a:cubicBezTo>
                      <a:pt x="59" y="1218"/>
                      <a:pt x="62" y="1228"/>
                      <a:pt x="58" y="1229"/>
                    </a:cubicBezTo>
                    <a:cubicBezTo>
                      <a:pt x="56" y="1229"/>
                      <a:pt x="55" y="1227"/>
                      <a:pt x="54" y="1226"/>
                    </a:cubicBezTo>
                    <a:cubicBezTo>
                      <a:pt x="53" y="1225"/>
                      <a:pt x="51" y="1225"/>
                      <a:pt x="50" y="1225"/>
                    </a:cubicBezTo>
                    <a:cubicBezTo>
                      <a:pt x="47" y="1226"/>
                      <a:pt x="44" y="1228"/>
                      <a:pt x="43" y="1231"/>
                    </a:cubicBezTo>
                    <a:cubicBezTo>
                      <a:pt x="41" y="1239"/>
                      <a:pt x="52" y="1238"/>
                      <a:pt x="57" y="1237"/>
                    </a:cubicBezTo>
                    <a:cubicBezTo>
                      <a:pt x="57" y="1237"/>
                      <a:pt x="57" y="1236"/>
                      <a:pt x="57" y="1236"/>
                    </a:cubicBezTo>
                    <a:cubicBezTo>
                      <a:pt x="59" y="1236"/>
                      <a:pt x="59" y="1238"/>
                      <a:pt x="59" y="1240"/>
                    </a:cubicBezTo>
                    <a:cubicBezTo>
                      <a:pt x="62" y="1240"/>
                      <a:pt x="63" y="1241"/>
                      <a:pt x="65" y="1242"/>
                    </a:cubicBezTo>
                    <a:cubicBezTo>
                      <a:pt x="68" y="1244"/>
                      <a:pt x="68" y="1244"/>
                      <a:pt x="68" y="1248"/>
                    </a:cubicBezTo>
                    <a:cubicBezTo>
                      <a:pt x="69" y="1253"/>
                      <a:pt x="70" y="1259"/>
                      <a:pt x="63" y="1258"/>
                    </a:cubicBezTo>
                    <a:cubicBezTo>
                      <a:pt x="63" y="1257"/>
                      <a:pt x="63" y="1256"/>
                      <a:pt x="62" y="1256"/>
                    </a:cubicBezTo>
                    <a:cubicBezTo>
                      <a:pt x="62" y="1255"/>
                      <a:pt x="61" y="1255"/>
                      <a:pt x="61" y="1254"/>
                    </a:cubicBezTo>
                    <a:cubicBezTo>
                      <a:pt x="61" y="1254"/>
                      <a:pt x="61" y="1253"/>
                      <a:pt x="61" y="1253"/>
                    </a:cubicBezTo>
                    <a:cubicBezTo>
                      <a:pt x="59" y="1250"/>
                      <a:pt x="56" y="1247"/>
                      <a:pt x="53" y="1247"/>
                    </a:cubicBezTo>
                    <a:cubicBezTo>
                      <a:pt x="50" y="1246"/>
                      <a:pt x="48" y="1248"/>
                      <a:pt x="46" y="1246"/>
                    </a:cubicBezTo>
                    <a:cubicBezTo>
                      <a:pt x="45" y="1245"/>
                      <a:pt x="46" y="1244"/>
                      <a:pt x="45" y="1243"/>
                    </a:cubicBezTo>
                    <a:cubicBezTo>
                      <a:pt x="44" y="1242"/>
                      <a:pt x="41" y="1242"/>
                      <a:pt x="40" y="1242"/>
                    </a:cubicBezTo>
                    <a:cubicBezTo>
                      <a:pt x="40" y="1244"/>
                      <a:pt x="40" y="1246"/>
                      <a:pt x="40" y="1248"/>
                    </a:cubicBezTo>
                    <a:cubicBezTo>
                      <a:pt x="44" y="1248"/>
                      <a:pt x="45" y="1260"/>
                      <a:pt x="39" y="1256"/>
                    </a:cubicBezTo>
                    <a:cubicBezTo>
                      <a:pt x="33" y="1252"/>
                      <a:pt x="35" y="1247"/>
                      <a:pt x="34" y="1241"/>
                    </a:cubicBezTo>
                    <a:cubicBezTo>
                      <a:pt x="33" y="1237"/>
                      <a:pt x="31" y="1235"/>
                      <a:pt x="27" y="1236"/>
                    </a:cubicBezTo>
                    <a:cubicBezTo>
                      <a:pt x="23" y="1237"/>
                      <a:pt x="24" y="1240"/>
                      <a:pt x="24" y="1243"/>
                    </a:cubicBezTo>
                    <a:cubicBezTo>
                      <a:pt x="24" y="1247"/>
                      <a:pt x="25" y="1248"/>
                      <a:pt x="28" y="1249"/>
                    </a:cubicBezTo>
                    <a:cubicBezTo>
                      <a:pt x="30" y="1250"/>
                      <a:pt x="32" y="1250"/>
                      <a:pt x="33" y="1252"/>
                    </a:cubicBezTo>
                    <a:cubicBezTo>
                      <a:pt x="34" y="1254"/>
                      <a:pt x="34" y="1257"/>
                      <a:pt x="34" y="1259"/>
                    </a:cubicBezTo>
                    <a:cubicBezTo>
                      <a:pt x="35" y="1262"/>
                      <a:pt x="36" y="1265"/>
                      <a:pt x="32" y="1267"/>
                    </a:cubicBezTo>
                    <a:cubicBezTo>
                      <a:pt x="31" y="1267"/>
                      <a:pt x="26" y="1267"/>
                      <a:pt x="25" y="1267"/>
                    </a:cubicBezTo>
                    <a:cubicBezTo>
                      <a:pt x="24" y="1266"/>
                      <a:pt x="24" y="1264"/>
                      <a:pt x="22" y="1264"/>
                    </a:cubicBezTo>
                    <a:cubicBezTo>
                      <a:pt x="22" y="1264"/>
                      <a:pt x="19" y="1264"/>
                      <a:pt x="19" y="1264"/>
                    </a:cubicBezTo>
                    <a:cubicBezTo>
                      <a:pt x="14" y="1267"/>
                      <a:pt x="21" y="1271"/>
                      <a:pt x="24" y="1271"/>
                    </a:cubicBezTo>
                    <a:cubicBezTo>
                      <a:pt x="29" y="1273"/>
                      <a:pt x="36" y="1271"/>
                      <a:pt x="42" y="1271"/>
                    </a:cubicBezTo>
                    <a:cubicBezTo>
                      <a:pt x="47" y="1272"/>
                      <a:pt x="53" y="1272"/>
                      <a:pt x="58" y="1273"/>
                    </a:cubicBezTo>
                    <a:cubicBezTo>
                      <a:pt x="61" y="1273"/>
                      <a:pt x="66" y="1273"/>
                      <a:pt x="66" y="1277"/>
                    </a:cubicBezTo>
                    <a:cubicBezTo>
                      <a:pt x="62" y="1278"/>
                      <a:pt x="57" y="1277"/>
                      <a:pt x="54" y="1277"/>
                    </a:cubicBezTo>
                    <a:cubicBezTo>
                      <a:pt x="52" y="1277"/>
                      <a:pt x="49" y="1277"/>
                      <a:pt x="48" y="1277"/>
                    </a:cubicBezTo>
                    <a:cubicBezTo>
                      <a:pt x="45" y="1276"/>
                      <a:pt x="42" y="1275"/>
                      <a:pt x="39" y="1274"/>
                    </a:cubicBezTo>
                    <a:cubicBezTo>
                      <a:pt x="36" y="1274"/>
                      <a:pt x="34" y="1274"/>
                      <a:pt x="33" y="1277"/>
                    </a:cubicBezTo>
                    <a:cubicBezTo>
                      <a:pt x="31" y="1280"/>
                      <a:pt x="30" y="1283"/>
                      <a:pt x="30" y="1286"/>
                    </a:cubicBezTo>
                    <a:cubicBezTo>
                      <a:pt x="25" y="1287"/>
                      <a:pt x="14" y="1286"/>
                      <a:pt x="18" y="1294"/>
                    </a:cubicBezTo>
                    <a:cubicBezTo>
                      <a:pt x="15" y="1294"/>
                      <a:pt x="15" y="1299"/>
                      <a:pt x="15" y="1302"/>
                    </a:cubicBezTo>
                    <a:cubicBezTo>
                      <a:pt x="17" y="1306"/>
                      <a:pt x="23" y="1304"/>
                      <a:pt x="27" y="1305"/>
                    </a:cubicBezTo>
                    <a:cubicBezTo>
                      <a:pt x="31" y="1307"/>
                      <a:pt x="30" y="1311"/>
                      <a:pt x="35" y="1311"/>
                    </a:cubicBezTo>
                    <a:cubicBezTo>
                      <a:pt x="38" y="1310"/>
                      <a:pt x="38" y="1310"/>
                      <a:pt x="40" y="1309"/>
                    </a:cubicBezTo>
                    <a:cubicBezTo>
                      <a:pt x="43" y="1308"/>
                      <a:pt x="48" y="1309"/>
                      <a:pt x="50" y="1309"/>
                    </a:cubicBezTo>
                    <a:cubicBezTo>
                      <a:pt x="51" y="1311"/>
                      <a:pt x="44" y="1315"/>
                      <a:pt x="42" y="1315"/>
                    </a:cubicBezTo>
                    <a:cubicBezTo>
                      <a:pt x="39" y="1316"/>
                      <a:pt x="35" y="1313"/>
                      <a:pt x="32" y="1312"/>
                    </a:cubicBezTo>
                    <a:cubicBezTo>
                      <a:pt x="30" y="1311"/>
                      <a:pt x="28" y="1311"/>
                      <a:pt x="25" y="1312"/>
                    </a:cubicBezTo>
                    <a:cubicBezTo>
                      <a:pt x="25" y="1313"/>
                      <a:pt x="25" y="1314"/>
                      <a:pt x="25" y="1316"/>
                    </a:cubicBezTo>
                    <a:cubicBezTo>
                      <a:pt x="27" y="1316"/>
                      <a:pt x="30" y="1319"/>
                      <a:pt x="32" y="1320"/>
                    </a:cubicBezTo>
                    <a:cubicBezTo>
                      <a:pt x="34" y="1321"/>
                      <a:pt x="34" y="1321"/>
                      <a:pt x="35" y="1321"/>
                    </a:cubicBezTo>
                    <a:cubicBezTo>
                      <a:pt x="37" y="1322"/>
                      <a:pt x="39" y="1321"/>
                      <a:pt x="41" y="1322"/>
                    </a:cubicBezTo>
                    <a:cubicBezTo>
                      <a:pt x="43" y="1327"/>
                      <a:pt x="31" y="1327"/>
                      <a:pt x="28" y="1329"/>
                    </a:cubicBezTo>
                    <a:cubicBezTo>
                      <a:pt x="24" y="1331"/>
                      <a:pt x="13" y="1332"/>
                      <a:pt x="16" y="1339"/>
                    </a:cubicBezTo>
                    <a:cubicBezTo>
                      <a:pt x="24" y="1340"/>
                      <a:pt x="31" y="1333"/>
                      <a:pt x="40" y="1335"/>
                    </a:cubicBezTo>
                    <a:cubicBezTo>
                      <a:pt x="42" y="1339"/>
                      <a:pt x="32" y="1343"/>
                      <a:pt x="29" y="1343"/>
                    </a:cubicBezTo>
                    <a:cubicBezTo>
                      <a:pt x="26" y="1343"/>
                      <a:pt x="20" y="1340"/>
                      <a:pt x="18" y="1342"/>
                    </a:cubicBezTo>
                    <a:cubicBezTo>
                      <a:pt x="16" y="1343"/>
                      <a:pt x="17" y="1345"/>
                      <a:pt x="16" y="1346"/>
                    </a:cubicBezTo>
                    <a:cubicBezTo>
                      <a:pt x="16" y="1347"/>
                      <a:pt x="13" y="1349"/>
                      <a:pt x="15" y="1351"/>
                    </a:cubicBezTo>
                    <a:cubicBezTo>
                      <a:pt x="15" y="1351"/>
                      <a:pt x="18" y="1351"/>
                      <a:pt x="19" y="1351"/>
                    </a:cubicBezTo>
                    <a:cubicBezTo>
                      <a:pt x="19" y="1352"/>
                      <a:pt x="21" y="1353"/>
                      <a:pt x="21" y="1353"/>
                    </a:cubicBezTo>
                    <a:cubicBezTo>
                      <a:pt x="24" y="1354"/>
                      <a:pt x="27" y="1353"/>
                      <a:pt x="30" y="1354"/>
                    </a:cubicBezTo>
                    <a:cubicBezTo>
                      <a:pt x="32" y="1357"/>
                      <a:pt x="30" y="1362"/>
                      <a:pt x="33" y="1365"/>
                    </a:cubicBezTo>
                    <a:cubicBezTo>
                      <a:pt x="37" y="1369"/>
                      <a:pt x="46" y="1365"/>
                      <a:pt x="50" y="1364"/>
                    </a:cubicBezTo>
                    <a:cubicBezTo>
                      <a:pt x="62" y="1364"/>
                      <a:pt x="73" y="1364"/>
                      <a:pt x="84" y="1364"/>
                    </a:cubicBezTo>
                    <a:cubicBezTo>
                      <a:pt x="88" y="1364"/>
                      <a:pt x="94" y="1365"/>
                      <a:pt x="97" y="1363"/>
                    </a:cubicBezTo>
                    <a:cubicBezTo>
                      <a:pt x="102" y="1361"/>
                      <a:pt x="102" y="1356"/>
                      <a:pt x="108" y="1355"/>
                    </a:cubicBezTo>
                    <a:cubicBezTo>
                      <a:pt x="111" y="1355"/>
                      <a:pt x="113" y="1355"/>
                      <a:pt x="116" y="1357"/>
                    </a:cubicBezTo>
                    <a:cubicBezTo>
                      <a:pt x="117" y="1358"/>
                      <a:pt x="119" y="1361"/>
                      <a:pt x="120" y="1362"/>
                    </a:cubicBezTo>
                    <a:cubicBezTo>
                      <a:pt x="123" y="1364"/>
                      <a:pt x="132" y="1362"/>
                      <a:pt x="130" y="1369"/>
                    </a:cubicBezTo>
                    <a:cubicBezTo>
                      <a:pt x="128" y="1369"/>
                      <a:pt x="124" y="1369"/>
                      <a:pt x="122" y="1369"/>
                    </a:cubicBezTo>
                    <a:cubicBezTo>
                      <a:pt x="120" y="1368"/>
                      <a:pt x="120" y="1366"/>
                      <a:pt x="118" y="1365"/>
                    </a:cubicBezTo>
                    <a:cubicBezTo>
                      <a:pt x="115" y="1363"/>
                      <a:pt x="108" y="1363"/>
                      <a:pt x="105" y="1365"/>
                    </a:cubicBezTo>
                    <a:cubicBezTo>
                      <a:pt x="98" y="1369"/>
                      <a:pt x="89" y="1365"/>
                      <a:pt x="81" y="1365"/>
                    </a:cubicBezTo>
                    <a:cubicBezTo>
                      <a:pt x="76" y="1365"/>
                      <a:pt x="71" y="1365"/>
                      <a:pt x="67" y="1365"/>
                    </a:cubicBezTo>
                    <a:cubicBezTo>
                      <a:pt x="64" y="1365"/>
                      <a:pt x="61" y="1365"/>
                      <a:pt x="59" y="1366"/>
                    </a:cubicBezTo>
                    <a:cubicBezTo>
                      <a:pt x="55" y="1366"/>
                      <a:pt x="54" y="1367"/>
                      <a:pt x="51" y="1369"/>
                    </a:cubicBezTo>
                    <a:cubicBezTo>
                      <a:pt x="47" y="1371"/>
                      <a:pt x="44" y="1371"/>
                      <a:pt x="40" y="1371"/>
                    </a:cubicBezTo>
                    <a:cubicBezTo>
                      <a:pt x="37" y="1372"/>
                      <a:pt x="36" y="1374"/>
                      <a:pt x="33" y="1373"/>
                    </a:cubicBezTo>
                    <a:cubicBezTo>
                      <a:pt x="30" y="1373"/>
                      <a:pt x="29" y="1370"/>
                      <a:pt x="29" y="1367"/>
                    </a:cubicBezTo>
                    <a:cubicBezTo>
                      <a:pt x="26" y="1367"/>
                      <a:pt x="21" y="1366"/>
                      <a:pt x="18" y="1367"/>
                    </a:cubicBezTo>
                    <a:cubicBezTo>
                      <a:pt x="14" y="1369"/>
                      <a:pt x="14" y="1372"/>
                      <a:pt x="10" y="1370"/>
                    </a:cubicBezTo>
                    <a:cubicBezTo>
                      <a:pt x="6" y="1368"/>
                      <a:pt x="6" y="1367"/>
                      <a:pt x="4" y="1370"/>
                    </a:cubicBezTo>
                    <a:cubicBezTo>
                      <a:pt x="3" y="1371"/>
                      <a:pt x="2" y="1373"/>
                      <a:pt x="2" y="1375"/>
                    </a:cubicBezTo>
                    <a:cubicBezTo>
                      <a:pt x="1" y="1377"/>
                      <a:pt x="0" y="1382"/>
                      <a:pt x="1" y="1383"/>
                    </a:cubicBezTo>
                    <a:cubicBezTo>
                      <a:pt x="2" y="1386"/>
                      <a:pt x="5" y="1385"/>
                      <a:pt x="7" y="1385"/>
                    </a:cubicBezTo>
                    <a:cubicBezTo>
                      <a:pt x="7" y="1388"/>
                      <a:pt x="6" y="1389"/>
                      <a:pt x="6" y="1391"/>
                    </a:cubicBezTo>
                    <a:cubicBezTo>
                      <a:pt x="5" y="1394"/>
                      <a:pt x="4" y="1397"/>
                      <a:pt x="9" y="1396"/>
                    </a:cubicBezTo>
                    <a:cubicBezTo>
                      <a:pt x="11" y="1399"/>
                      <a:pt x="12" y="1403"/>
                      <a:pt x="15" y="1406"/>
                    </a:cubicBezTo>
                    <a:cubicBezTo>
                      <a:pt x="16" y="1406"/>
                      <a:pt x="16" y="1404"/>
                      <a:pt x="17" y="1403"/>
                    </a:cubicBezTo>
                    <a:cubicBezTo>
                      <a:pt x="18" y="1400"/>
                      <a:pt x="19" y="1399"/>
                      <a:pt x="22" y="1398"/>
                    </a:cubicBezTo>
                    <a:cubicBezTo>
                      <a:pt x="27" y="1397"/>
                      <a:pt x="29" y="1398"/>
                      <a:pt x="34" y="1400"/>
                    </a:cubicBezTo>
                    <a:cubicBezTo>
                      <a:pt x="34" y="1412"/>
                      <a:pt x="40" y="1400"/>
                      <a:pt x="44" y="1399"/>
                    </a:cubicBezTo>
                    <a:cubicBezTo>
                      <a:pt x="44" y="1401"/>
                      <a:pt x="44" y="1403"/>
                      <a:pt x="44" y="1404"/>
                    </a:cubicBezTo>
                    <a:cubicBezTo>
                      <a:pt x="41" y="1405"/>
                      <a:pt x="39" y="1407"/>
                      <a:pt x="36" y="1407"/>
                    </a:cubicBezTo>
                    <a:cubicBezTo>
                      <a:pt x="34" y="1406"/>
                      <a:pt x="33" y="1404"/>
                      <a:pt x="31" y="1403"/>
                    </a:cubicBezTo>
                    <a:cubicBezTo>
                      <a:pt x="29" y="1402"/>
                      <a:pt x="25" y="1402"/>
                      <a:pt x="23" y="1403"/>
                    </a:cubicBezTo>
                    <a:cubicBezTo>
                      <a:pt x="17" y="1404"/>
                      <a:pt x="20" y="1414"/>
                      <a:pt x="15" y="1413"/>
                    </a:cubicBezTo>
                    <a:cubicBezTo>
                      <a:pt x="13" y="1418"/>
                      <a:pt x="19" y="1417"/>
                      <a:pt x="22" y="1418"/>
                    </a:cubicBezTo>
                    <a:cubicBezTo>
                      <a:pt x="23" y="1422"/>
                      <a:pt x="24" y="1423"/>
                      <a:pt x="21" y="1424"/>
                    </a:cubicBezTo>
                    <a:cubicBezTo>
                      <a:pt x="18" y="1426"/>
                      <a:pt x="15" y="1427"/>
                      <a:pt x="13" y="1430"/>
                    </a:cubicBezTo>
                    <a:cubicBezTo>
                      <a:pt x="11" y="1434"/>
                      <a:pt x="16" y="1434"/>
                      <a:pt x="18" y="1437"/>
                    </a:cubicBezTo>
                    <a:cubicBezTo>
                      <a:pt x="20" y="1440"/>
                      <a:pt x="19" y="1445"/>
                      <a:pt x="18" y="1448"/>
                    </a:cubicBezTo>
                    <a:cubicBezTo>
                      <a:pt x="16" y="1453"/>
                      <a:pt x="13" y="1466"/>
                      <a:pt x="20" y="1469"/>
                    </a:cubicBezTo>
                    <a:cubicBezTo>
                      <a:pt x="28" y="1471"/>
                      <a:pt x="25" y="1455"/>
                      <a:pt x="26" y="1451"/>
                    </a:cubicBezTo>
                    <a:cubicBezTo>
                      <a:pt x="33" y="1450"/>
                      <a:pt x="34" y="1453"/>
                      <a:pt x="35" y="1459"/>
                    </a:cubicBezTo>
                    <a:cubicBezTo>
                      <a:pt x="35" y="1466"/>
                      <a:pt x="36" y="1475"/>
                      <a:pt x="45" y="1473"/>
                    </a:cubicBezTo>
                    <a:cubicBezTo>
                      <a:pt x="45" y="1471"/>
                      <a:pt x="47" y="1472"/>
                      <a:pt x="48" y="1470"/>
                    </a:cubicBezTo>
                    <a:cubicBezTo>
                      <a:pt x="49" y="1469"/>
                      <a:pt x="49" y="1467"/>
                      <a:pt x="50" y="1466"/>
                    </a:cubicBezTo>
                    <a:cubicBezTo>
                      <a:pt x="50" y="1463"/>
                      <a:pt x="50" y="1459"/>
                      <a:pt x="52" y="1457"/>
                    </a:cubicBezTo>
                    <a:cubicBezTo>
                      <a:pt x="53" y="1458"/>
                      <a:pt x="55" y="1458"/>
                      <a:pt x="55" y="1459"/>
                    </a:cubicBezTo>
                    <a:cubicBezTo>
                      <a:pt x="56" y="1461"/>
                      <a:pt x="55" y="1463"/>
                      <a:pt x="55" y="1464"/>
                    </a:cubicBezTo>
                    <a:cubicBezTo>
                      <a:pt x="55" y="1466"/>
                      <a:pt x="55" y="1467"/>
                      <a:pt x="56" y="1469"/>
                    </a:cubicBezTo>
                    <a:cubicBezTo>
                      <a:pt x="56" y="1470"/>
                      <a:pt x="58" y="1471"/>
                      <a:pt x="57" y="1473"/>
                    </a:cubicBezTo>
                    <a:cubicBezTo>
                      <a:pt x="57" y="1474"/>
                      <a:pt x="55" y="1474"/>
                      <a:pt x="54" y="1475"/>
                    </a:cubicBezTo>
                    <a:cubicBezTo>
                      <a:pt x="54" y="1476"/>
                      <a:pt x="54" y="1477"/>
                      <a:pt x="53" y="1477"/>
                    </a:cubicBezTo>
                    <a:cubicBezTo>
                      <a:pt x="51" y="1478"/>
                      <a:pt x="46" y="1479"/>
                      <a:pt x="45" y="1478"/>
                    </a:cubicBezTo>
                    <a:cubicBezTo>
                      <a:pt x="41" y="1480"/>
                      <a:pt x="39" y="1479"/>
                      <a:pt x="38" y="1484"/>
                    </a:cubicBezTo>
                    <a:cubicBezTo>
                      <a:pt x="33" y="1484"/>
                      <a:pt x="33" y="1480"/>
                      <a:pt x="28" y="1481"/>
                    </a:cubicBezTo>
                    <a:cubicBezTo>
                      <a:pt x="28" y="1483"/>
                      <a:pt x="26" y="1485"/>
                      <a:pt x="26" y="1487"/>
                    </a:cubicBezTo>
                    <a:cubicBezTo>
                      <a:pt x="28" y="1489"/>
                      <a:pt x="32" y="1486"/>
                      <a:pt x="35" y="1488"/>
                    </a:cubicBezTo>
                    <a:cubicBezTo>
                      <a:pt x="35" y="1488"/>
                      <a:pt x="36" y="1490"/>
                      <a:pt x="37" y="1490"/>
                    </a:cubicBezTo>
                    <a:cubicBezTo>
                      <a:pt x="38" y="1492"/>
                      <a:pt x="41" y="1492"/>
                      <a:pt x="42" y="1493"/>
                    </a:cubicBezTo>
                    <a:cubicBezTo>
                      <a:pt x="40" y="1495"/>
                      <a:pt x="38" y="1495"/>
                      <a:pt x="36" y="1494"/>
                    </a:cubicBezTo>
                    <a:cubicBezTo>
                      <a:pt x="34" y="1494"/>
                      <a:pt x="35" y="1492"/>
                      <a:pt x="32" y="1493"/>
                    </a:cubicBezTo>
                    <a:cubicBezTo>
                      <a:pt x="32" y="1496"/>
                      <a:pt x="33" y="1499"/>
                      <a:pt x="33" y="1502"/>
                    </a:cubicBezTo>
                    <a:cubicBezTo>
                      <a:pt x="30" y="1503"/>
                      <a:pt x="28" y="1499"/>
                      <a:pt x="26" y="1498"/>
                    </a:cubicBezTo>
                    <a:cubicBezTo>
                      <a:pt x="25" y="1498"/>
                      <a:pt x="23" y="1498"/>
                      <a:pt x="21" y="1498"/>
                    </a:cubicBezTo>
                    <a:cubicBezTo>
                      <a:pt x="20" y="1503"/>
                      <a:pt x="26" y="1506"/>
                      <a:pt x="29" y="1509"/>
                    </a:cubicBezTo>
                    <a:cubicBezTo>
                      <a:pt x="31" y="1513"/>
                      <a:pt x="28" y="1515"/>
                      <a:pt x="28" y="1519"/>
                    </a:cubicBezTo>
                    <a:cubicBezTo>
                      <a:pt x="27" y="1522"/>
                      <a:pt x="27" y="1526"/>
                      <a:pt x="27" y="1529"/>
                    </a:cubicBezTo>
                    <a:cubicBezTo>
                      <a:pt x="26" y="1534"/>
                      <a:pt x="28" y="1536"/>
                      <a:pt x="33" y="1535"/>
                    </a:cubicBezTo>
                    <a:cubicBezTo>
                      <a:pt x="34" y="1531"/>
                      <a:pt x="32" y="1526"/>
                      <a:pt x="38" y="1526"/>
                    </a:cubicBezTo>
                    <a:cubicBezTo>
                      <a:pt x="40" y="1527"/>
                      <a:pt x="41" y="1529"/>
                      <a:pt x="43" y="1527"/>
                    </a:cubicBezTo>
                    <a:cubicBezTo>
                      <a:pt x="45" y="1526"/>
                      <a:pt x="44" y="1522"/>
                      <a:pt x="48" y="1523"/>
                    </a:cubicBezTo>
                    <a:cubicBezTo>
                      <a:pt x="49" y="1529"/>
                      <a:pt x="40" y="1527"/>
                      <a:pt x="38" y="1530"/>
                    </a:cubicBezTo>
                    <a:cubicBezTo>
                      <a:pt x="37" y="1532"/>
                      <a:pt x="38" y="1534"/>
                      <a:pt x="37" y="1536"/>
                    </a:cubicBezTo>
                    <a:cubicBezTo>
                      <a:pt x="35" y="1538"/>
                      <a:pt x="34" y="1539"/>
                      <a:pt x="32" y="1539"/>
                    </a:cubicBezTo>
                    <a:cubicBezTo>
                      <a:pt x="31" y="1546"/>
                      <a:pt x="32" y="1553"/>
                      <a:pt x="32" y="1559"/>
                    </a:cubicBezTo>
                    <a:cubicBezTo>
                      <a:pt x="32" y="1566"/>
                      <a:pt x="28" y="1572"/>
                      <a:pt x="30" y="1578"/>
                    </a:cubicBezTo>
                    <a:cubicBezTo>
                      <a:pt x="31" y="1579"/>
                      <a:pt x="32" y="1583"/>
                      <a:pt x="34" y="1583"/>
                    </a:cubicBezTo>
                    <a:cubicBezTo>
                      <a:pt x="38" y="1585"/>
                      <a:pt x="39" y="1580"/>
                      <a:pt x="39" y="1577"/>
                    </a:cubicBezTo>
                    <a:cubicBezTo>
                      <a:pt x="39" y="1576"/>
                      <a:pt x="38" y="1572"/>
                      <a:pt x="40" y="1571"/>
                    </a:cubicBezTo>
                    <a:cubicBezTo>
                      <a:pt x="43" y="1569"/>
                      <a:pt x="47" y="1578"/>
                      <a:pt x="47" y="1580"/>
                    </a:cubicBezTo>
                    <a:cubicBezTo>
                      <a:pt x="52" y="1582"/>
                      <a:pt x="51" y="1574"/>
                      <a:pt x="53" y="1571"/>
                    </a:cubicBezTo>
                    <a:cubicBezTo>
                      <a:pt x="55" y="1569"/>
                      <a:pt x="57" y="1570"/>
                      <a:pt x="58" y="1568"/>
                    </a:cubicBezTo>
                    <a:cubicBezTo>
                      <a:pt x="60" y="1567"/>
                      <a:pt x="59" y="1564"/>
                      <a:pt x="59" y="1562"/>
                    </a:cubicBezTo>
                    <a:cubicBezTo>
                      <a:pt x="62" y="1561"/>
                      <a:pt x="72" y="1561"/>
                      <a:pt x="70" y="1566"/>
                    </a:cubicBezTo>
                    <a:cubicBezTo>
                      <a:pt x="67" y="1566"/>
                      <a:pt x="66" y="1569"/>
                      <a:pt x="67" y="1571"/>
                    </a:cubicBezTo>
                    <a:cubicBezTo>
                      <a:pt x="71" y="1571"/>
                      <a:pt x="75" y="1570"/>
                      <a:pt x="79" y="1571"/>
                    </a:cubicBezTo>
                    <a:cubicBezTo>
                      <a:pt x="80" y="1575"/>
                      <a:pt x="80" y="1576"/>
                      <a:pt x="76" y="1578"/>
                    </a:cubicBezTo>
                    <a:cubicBezTo>
                      <a:pt x="75" y="1578"/>
                      <a:pt x="73" y="1579"/>
                      <a:pt x="72" y="1579"/>
                    </a:cubicBezTo>
                    <a:cubicBezTo>
                      <a:pt x="69" y="1578"/>
                      <a:pt x="68" y="1576"/>
                      <a:pt x="66" y="1577"/>
                    </a:cubicBezTo>
                    <a:cubicBezTo>
                      <a:pt x="65" y="1579"/>
                      <a:pt x="64" y="1583"/>
                      <a:pt x="65" y="1585"/>
                    </a:cubicBezTo>
                    <a:cubicBezTo>
                      <a:pt x="65" y="1588"/>
                      <a:pt x="67" y="1588"/>
                      <a:pt x="66" y="1591"/>
                    </a:cubicBezTo>
                    <a:cubicBezTo>
                      <a:pt x="65" y="1591"/>
                      <a:pt x="64" y="1591"/>
                      <a:pt x="63" y="1591"/>
                    </a:cubicBezTo>
                    <a:cubicBezTo>
                      <a:pt x="63" y="1589"/>
                      <a:pt x="63" y="1587"/>
                      <a:pt x="63" y="1585"/>
                    </a:cubicBezTo>
                    <a:cubicBezTo>
                      <a:pt x="58" y="1585"/>
                      <a:pt x="52" y="1584"/>
                      <a:pt x="47" y="1585"/>
                    </a:cubicBezTo>
                    <a:cubicBezTo>
                      <a:pt x="46" y="1589"/>
                      <a:pt x="49" y="1590"/>
                      <a:pt x="49" y="1593"/>
                    </a:cubicBezTo>
                    <a:cubicBezTo>
                      <a:pt x="50" y="1596"/>
                      <a:pt x="49" y="1597"/>
                      <a:pt x="49" y="1599"/>
                    </a:cubicBezTo>
                    <a:cubicBezTo>
                      <a:pt x="47" y="1604"/>
                      <a:pt x="48" y="1608"/>
                      <a:pt x="47" y="1613"/>
                    </a:cubicBezTo>
                    <a:cubicBezTo>
                      <a:pt x="47" y="1615"/>
                      <a:pt x="46" y="1619"/>
                      <a:pt x="47" y="1622"/>
                    </a:cubicBezTo>
                    <a:cubicBezTo>
                      <a:pt x="47" y="1624"/>
                      <a:pt x="49" y="1624"/>
                      <a:pt x="50" y="1626"/>
                    </a:cubicBezTo>
                    <a:cubicBezTo>
                      <a:pt x="52" y="1628"/>
                      <a:pt x="53" y="1631"/>
                      <a:pt x="54" y="1633"/>
                    </a:cubicBezTo>
                    <a:cubicBezTo>
                      <a:pt x="57" y="1637"/>
                      <a:pt x="62" y="1639"/>
                      <a:pt x="67" y="1641"/>
                    </a:cubicBezTo>
                    <a:cubicBezTo>
                      <a:pt x="66" y="1644"/>
                      <a:pt x="68" y="1644"/>
                      <a:pt x="69" y="1646"/>
                    </a:cubicBezTo>
                    <a:cubicBezTo>
                      <a:pt x="69" y="1647"/>
                      <a:pt x="68" y="1649"/>
                      <a:pt x="68" y="1651"/>
                    </a:cubicBezTo>
                    <a:cubicBezTo>
                      <a:pt x="69" y="1654"/>
                      <a:pt x="69" y="1657"/>
                      <a:pt x="72" y="1658"/>
                    </a:cubicBezTo>
                    <a:cubicBezTo>
                      <a:pt x="73" y="1659"/>
                      <a:pt x="76" y="1658"/>
                      <a:pt x="78" y="1659"/>
                    </a:cubicBezTo>
                    <a:cubicBezTo>
                      <a:pt x="80" y="1660"/>
                      <a:pt x="80" y="1663"/>
                      <a:pt x="83" y="1664"/>
                    </a:cubicBezTo>
                    <a:cubicBezTo>
                      <a:pt x="84" y="1664"/>
                      <a:pt x="86" y="1663"/>
                      <a:pt x="88" y="1664"/>
                    </a:cubicBezTo>
                    <a:cubicBezTo>
                      <a:pt x="90" y="1666"/>
                      <a:pt x="91" y="1668"/>
                      <a:pt x="93" y="1670"/>
                    </a:cubicBezTo>
                    <a:cubicBezTo>
                      <a:pt x="95" y="1671"/>
                      <a:pt x="95" y="1672"/>
                      <a:pt x="97" y="1673"/>
                    </a:cubicBezTo>
                    <a:cubicBezTo>
                      <a:pt x="99" y="1674"/>
                      <a:pt x="102" y="1673"/>
                      <a:pt x="105" y="1674"/>
                    </a:cubicBezTo>
                    <a:cubicBezTo>
                      <a:pt x="112" y="1676"/>
                      <a:pt x="108" y="1680"/>
                      <a:pt x="106" y="1684"/>
                    </a:cubicBezTo>
                    <a:cubicBezTo>
                      <a:pt x="104" y="1690"/>
                      <a:pt x="109" y="1690"/>
                      <a:pt x="114" y="1690"/>
                    </a:cubicBezTo>
                    <a:cubicBezTo>
                      <a:pt x="116" y="1690"/>
                      <a:pt x="118" y="1688"/>
                      <a:pt x="120" y="1689"/>
                    </a:cubicBezTo>
                    <a:cubicBezTo>
                      <a:pt x="122" y="1690"/>
                      <a:pt x="122" y="1692"/>
                      <a:pt x="123" y="1693"/>
                    </a:cubicBezTo>
                    <a:cubicBezTo>
                      <a:pt x="125" y="1697"/>
                      <a:pt x="129" y="1696"/>
                      <a:pt x="133" y="1698"/>
                    </a:cubicBezTo>
                    <a:cubicBezTo>
                      <a:pt x="135" y="1699"/>
                      <a:pt x="136" y="1701"/>
                      <a:pt x="138" y="1700"/>
                    </a:cubicBezTo>
                    <a:cubicBezTo>
                      <a:pt x="138" y="1693"/>
                      <a:pt x="143" y="1695"/>
                      <a:pt x="149" y="1697"/>
                    </a:cubicBezTo>
                    <a:cubicBezTo>
                      <a:pt x="154" y="1698"/>
                      <a:pt x="161" y="1699"/>
                      <a:pt x="167" y="1698"/>
                    </a:cubicBezTo>
                    <a:cubicBezTo>
                      <a:pt x="169" y="1697"/>
                      <a:pt x="171" y="1696"/>
                      <a:pt x="174" y="1695"/>
                    </a:cubicBezTo>
                    <a:cubicBezTo>
                      <a:pt x="177" y="1695"/>
                      <a:pt x="180" y="1695"/>
                      <a:pt x="183" y="1695"/>
                    </a:cubicBezTo>
                    <a:cubicBezTo>
                      <a:pt x="187" y="1696"/>
                      <a:pt x="187" y="1695"/>
                      <a:pt x="190" y="1692"/>
                    </a:cubicBezTo>
                    <a:cubicBezTo>
                      <a:pt x="194" y="1689"/>
                      <a:pt x="199" y="1690"/>
                      <a:pt x="202" y="1685"/>
                    </a:cubicBezTo>
                    <a:cubicBezTo>
                      <a:pt x="203" y="1683"/>
                      <a:pt x="202" y="1681"/>
                      <a:pt x="204" y="1679"/>
                    </a:cubicBezTo>
                    <a:cubicBezTo>
                      <a:pt x="204" y="1677"/>
                      <a:pt x="206" y="1676"/>
                      <a:pt x="207" y="1675"/>
                    </a:cubicBezTo>
                    <a:cubicBezTo>
                      <a:pt x="209" y="1672"/>
                      <a:pt x="212" y="1668"/>
                      <a:pt x="217" y="1666"/>
                    </a:cubicBezTo>
                    <a:cubicBezTo>
                      <a:pt x="220" y="1665"/>
                      <a:pt x="221" y="1666"/>
                      <a:pt x="223" y="1663"/>
                    </a:cubicBezTo>
                    <a:cubicBezTo>
                      <a:pt x="225" y="1661"/>
                      <a:pt x="225" y="1660"/>
                      <a:pt x="227" y="1658"/>
                    </a:cubicBezTo>
                    <a:cubicBezTo>
                      <a:pt x="229" y="1656"/>
                      <a:pt x="230" y="1655"/>
                      <a:pt x="232" y="1653"/>
                    </a:cubicBezTo>
                    <a:cubicBezTo>
                      <a:pt x="234" y="1649"/>
                      <a:pt x="237" y="1647"/>
                      <a:pt x="240" y="1644"/>
                    </a:cubicBezTo>
                    <a:cubicBezTo>
                      <a:pt x="243" y="1641"/>
                      <a:pt x="245" y="1639"/>
                      <a:pt x="248" y="1637"/>
                    </a:cubicBezTo>
                    <a:cubicBezTo>
                      <a:pt x="252" y="1634"/>
                      <a:pt x="252" y="1629"/>
                      <a:pt x="256" y="1625"/>
                    </a:cubicBezTo>
                    <a:cubicBezTo>
                      <a:pt x="257" y="1624"/>
                      <a:pt x="260" y="1623"/>
                      <a:pt x="261" y="1622"/>
                    </a:cubicBezTo>
                    <a:cubicBezTo>
                      <a:pt x="263" y="1620"/>
                      <a:pt x="264" y="1619"/>
                      <a:pt x="265" y="1617"/>
                    </a:cubicBezTo>
                    <a:cubicBezTo>
                      <a:pt x="266" y="1615"/>
                      <a:pt x="267" y="1614"/>
                      <a:pt x="268" y="1612"/>
                    </a:cubicBezTo>
                    <a:cubicBezTo>
                      <a:pt x="270" y="1610"/>
                      <a:pt x="272" y="1609"/>
                      <a:pt x="274" y="1605"/>
                    </a:cubicBezTo>
                    <a:cubicBezTo>
                      <a:pt x="275" y="1601"/>
                      <a:pt x="277" y="1597"/>
                      <a:pt x="279" y="1594"/>
                    </a:cubicBezTo>
                    <a:cubicBezTo>
                      <a:pt x="281" y="1592"/>
                      <a:pt x="280" y="1593"/>
                      <a:pt x="282" y="1592"/>
                    </a:cubicBezTo>
                    <a:cubicBezTo>
                      <a:pt x="283" y="1592"/>
                      <a:pt x="286" y="1592"/>
                      <a:pt x="287" y="1593"/>
                    </a:cubicBezTo>
                    <a:cubicBezTo>
                      <a:pt x="288" y="1594"/>
                      <a:pt x="287" y="1595"/>
                      <a:pt x="288" y="1596"/>
                    </a:cubicBezTo>
                    <a:cubicBezTo>
                      <a:pt x="290" y="1603"/>
                      <a:pt x="294" y="1599"/>
                      <a:pt x="296" y="1596"/>
                    </a:cubicBezTo>
                    <a:cubicBezTo>
                      <a:pt x="297" y="1594"/>
                      <a:pt x="298" y="1592"/>
                      <a:pt x="300" y="1592"/>
                    </a:cubicBezTo>
                    <a:cubicBezTo>
                      <a:pt x="302" y="1592"/>
                      <a:pt x="302" y="1594"/>
                      <a:pt x="304" y="1594"/>
                    </a:cubicBezTo>
                    <a:cubicBezTo>
                      <a:pt x="305" y="1595"/>
                      <a:pt x="307" y="1594"/>
                      <a:pt x="309" y="1594"/>
                    </a:cubicBezTo>
                    <a:cubicBezTo>
                      <a:pt x="316" y="1591"/>
                      <a:pt x="314" y="1581"/>
                      <a:pt x="314" y="1574"/>
                    </a:cubicBezTo>
                    <a:cubicBezTo>
                      <a:pt x="314" y="1568"/>
                      <a:pt x="316" y="1563"/>
                      <a:pt x="316" y="1557"/>
                    </a:cubicBezTo>
                    <a:cubicBezTo>
                      <a:pt x="316" y="1554"/>
                      <a:pt x="316" y="1552"/>
                      <a:pt x="315" y="1549"/>
                    </a:cubicBezTo>
                    <a:cubicBezTo>
                      <a:pt x="314" y="1545"/>
                      <a:pt x="312" y="1542"/>
                      <a:pt x="308" y="1540"/>
                    </a:cubicBezTo>
                    <a:cubicBezTo>
                      <a:pt x="307" y="1540"/>
                      <a:pt x="305" y="1540"/>
                      <a:pt x="304" y="1539"/>
                    </a:cubicBezTo>
                    <a:cubicBezTo>
                      <a:pt x="304" y="1538"/>
                      <a:pt x="303" y="1536"/>
                      <a:pt x="304" y="1535"/>
                    </a:cubicBezTo>
                    <a:cubicBezTo>
                      <a:pt x="307" y="1532"/>
                      <a:pt x="313" y="1539"/>
                      <a:pt x="316" y="1540"/>
                    </a:cubicBezTo>
                    <a:cubicBezTo>
                      <a:pt x="320" y="1540"/>
                      <a:pt x="321" y="1537"/>
                      <a:pt x="323" y="1534"/>
                    </a:cubicBezTo>
                    <a:cubicBezTo>
                      <a:pt x="325" y="1531"/>
                      <a:pt x="326" y="1530"/>
                      <a:pt x="325" y="1526"/>
                    </a:cubicBezTo>
                    <a:cubicBezTo>
                      <a:pt x="325" y="1525"/>
                      <a:pt x="324" y="1524"/>
                      <a:pt x="325" y="1522"/>
                    </a:cubicBezTo>
                    <a:cubicBezTo>
                      <a:pt x="331" y="1520"/>
                      <a:pt x="329" y="1530"/>
                      <a:pt x="329" y="1533"/>
                    </a:cubicBezTo>
                    <a:cubicBezTo>
                      <a:pt x="329" y="1538"/>
                      <a:pt x="333" y="1544"/>
                      <a:pt x="332" y="1548"/>
                    </a:cubicBezTo>
                    <a:cubicBezTo>
                      <a:pt x="331" y="1551"/>
                      <a:pt x="329" y="1552"/>
                      <a:pt x="329" y="1555"/>
                    </a:cubicBezTo>
                    <a:cubicBezTo>
                      <a:pt x="329" y="1556"/>
                      <a:pt x="330" y="1558"/>
                      <a:pt x="330" y="1559"/>
                    </a:cubicBezTo>
                    <a:cubicBezTo>
                      <a:pt x="331" y="1561"/>
                      <a:pt x="332" y="1562"/>
                      <a:pt x="333" y="1565"/>
                    </a:cubicBezTo>
                    <a:cubicBezTo>
                      <a:pt x="334" y="1568"/>
                      <a:pt x="334" y="1570"/>
                      <a:pt x="334" y="1573"/>
                    </a:cubicBezTo>
                    <a:cubicBezTo>
                      <a:pt x="336" y="1573"/>
                      <a:pt x="338" y="1573"/>
                      <a:pt x="340" y="1572"/>
                    </a:cubicBezTo>
                    <a:cubicBezTo>
                      <a:pt x="341" y="1574"/>
                      <a:pt x="345" y="1579"/>
                      <a:pt x="346" y="1580"/>
                    </a:cubicBezTo>
                    <a:cubicBezTo>
                      <a:pt x="350" y="1582"/>
                      <a:pt x="352" y="1578"/>
                      <a:pt x="352" y="1584"/>
                    </a:cubicBezTo>
                    <a:cubicBezTo>
                      <a:pt x="353" y="1593"/>
                      <a:pt x="346" y="1586"/>
                      <a:pt x="341" y="1587"/>
                    </a:cubicBezTo>
                    <a:cubicBezTo>
                      <a:pt x="340" y="1590"/>
                      <a:pt x="341" y="1592"/>
                      <a:pt x="343" y="1593"/>
                    </a:cubicBezTo>
                    <a:cubicBezTo>
                      <a:pt x="344" y="1594"/>
                      <a:pt x="345" y="1594"/>
                      <a:pt x="346" y="1594"/>
                    </a:cubicBezTo>
                    <a:cubicBezTo>
                      <a:pt x="347" y="1595"/>
                      <a:pt x="346" y="1595"/>
                      <a:pt x="346" y="1596"/>
                    </a:cubicBezTo>
                    <a:cubicBezTo>
                      <a:pt x="348" y="1601"/>
                      <a:pt x="345" y="1607"/>
                      <a:pt x="350" y="1610"/>
                    </a:cubicBezTo>
                    <a:cubicBezTo>
                      <a:pt x="355" y="1605"/>
                      <a:pt x="352" y="1595"/>
                      <a:pt x="357" y="1589"/>
                    </a:cubicBezTo>
                    <a:cubicBezTo>
                      <a:pt x="358" y="1588"/>
                      <a:pt x="361" y="1586"/>
                      <a:pt x="363" y="1587"/>
                    </a:cubicBezTo>
                    <a:cubicBezTo>
                      <a:pt x="366" y="1588"/>
                      <a:pt x="366" y="1594"/>
                      <a:pt x="367" y="1597"/>
                    </a:cubicBezTo>
                    <a:cubicBezTo>
                      <a:pt x="368" y="1600"/>
                      <a:pt x="368" y="1603"/>
                      <a:pt x="371" y="1605"/>
                    </a:cubicBezTo>
                    <a:cubicBezTo>
                      <a:pt x="372" y="1605"/>
                      <a:pt x="373" y="1605"/>
                      <a:pt x="374" y="1606"/>
                    </a:cubicBezTo>
                    <a:cubicBezTo>
                      <a:pt x="376" y="1606"/>
                      <a:pt x="375" y="1608"/>
                      <a:pt x="376" y="1608"/>
                    </a:cubicBezTo>
                    <a:cubicBezTo>
                      <a:pt x="381" y="1609"/>
                      <a:pt x="383" y="1605"/>
                      <a:pt x="384" y="1601"/>
                    </a:cubicBezTo>
                    <a:cubicBezTo>
                      <a:pt x="385" y="1597"/>
                      <a:pt x="384" y="1593"/>
                      <a:pt x="385" y="1588"/>
                    </a:cubicBezTo>
                    <a:cubicBezTo>
                      <a:pt x="388" y="1579"/>
                      <a:pt x="388" y="1570"/>
                      <a:pt x="388" y="1561"/>
                    </a:cubicBezTo>
                    <a:cubicBezTo>
                      <a:pt x="388" y="1553"/>
                      <a:pt x="385" y="1545"/>
                      <a:pt x="385" y="1537"/>
                    </a:cubicBezTo>
                    <a:cubicBezTo>
                      <a:pt x="385" y="1535"/>
                      <a:pt x="385" y="1532"/>
                      <a:pt x="385" y="1530"/>
                    </a:cubicBezTo>
                    <a:cubicBezTo>
                      <a:pt x="386" y="1527"/>
                      <a:pt x="390" y="1524"/>
                      <a:pt x="391" y="1522"/>
                    </a:cubicBezTo>
                    <a:cubicBezTo>
                      <a:pt x="393" y="1520"/>
                      <a:pt x="393" y="1519"/>
                      <a:pt x="394" y="1516"/>
                    </a:cubicBezTo>
                    <a:cubicBezTo>
                      <a:pt x="394" y="1512"/>
                      <a:pt x="389" y="1508"/>
                      <a:pt x="390" y="1504"/>
                    </a:cubicBezTo>
                    <a:cubicBezTo>
                      <a:pt x="396" y="1504"/>
                      <a:pt x="399" y="1499"/>
                      <a:pt x="404" y="1497"/>
                    </a:cubicBezTo>
                    <a:cubicBezTo>
                      <a:pt x="407" y="1496"/>
                      <a:pt x="412" y="1493"/>
                      <a:pt x="415" y="1489"/>
                    </a:cubicBezTo>
                    <a:cubicBezTo>
                      <a:pt x="417" y="1485"/>
                      <a:pt x="416" y="1478"/>
                      <a:pt x="418" y="1473"/>
                    </a:cubicBezTo>
                    <a:cubicBezTo>
                      <a:pt x="419" y="1470"/>
                      <a:pt x="421" y="1469"/>
                      <a:pt x="422" y="1466"/>
                    </a:cubicBezTo>
                    <a:cubicBezTo>
                      <a:pt x="422" y="1466"/>
                      <a:pt x="422" y="1464"/>
                      <a:pt x="422" y="1463"/>
                    </a:cubicBezTo>
                    <a:cubicBezTo>
                      <a:pt x="422" y="1463"/>
                      <a:pt x="421" y="1463"/>
                      <a:pt x="420" y="1464"/>
                    </a:cubicBezTo>
                    <a:cubicBezTo>
                      <a:pt x="422" y="1457"/>
                      <a:pt x="427" y="1451"/>
                      <a:pt x="430" y="1446"/>
                    </a:cubicBezTo>
                    <a:cubicBezTo>
                      <a:pt x="432" y="1443"/>
                      <a:pt x="433" y="1442"/>
                      <a:pt x="433" y="1440"/>
                    </a:cubicBezTo>
                    <a:cubicBezTo>
                      <a:pt x="434" y="1437"/>
                      <a:pt x="433" y="1434"/>
                      <a:pt x="433" y="1431"/>
                    </a:cubicBezTo>
                    <a:cubicBezTo>
                      <a:pt x="431" y="1419"/>
                      <a:pt x="423" y="1410"/>
                      <a:pt x="420" y="1398"/>
                    </a:cubicBezTo>
                    <a:cubicBezTo>
                      <a:pt x="419" y="1394"/>
                      <a:pt x="418" y="1390"/>
                      <a:pt x="417" y="1386"/>
                    </a:cubicBezTo>
                    <a:cubicBezTo>
                      <a:pt x="417" y="1383"/>
                      <a:pt x="415" y="1377"/>
                      <a:pt x="416" y="1374"/>
                    </a:cubicBezTo>
                    <a:cubicBezTo>
                      <a:pt x="418" y="1374"/>
                      <a:pt x="419" y="1375"/>
                      <a:pt x="421" y="1374"/>
                    </a:cubicBezTo>
                    <a:cubicBezTo>
                      <a:pt x="424" y="1374"/>
                      <a:pt x="426" y="1373"/>
                      <a:pt x="428" y="1372"/>
                    </a:cubicBezTo>
                    <a:cubicBezTo>
                      <a:pt x="429" y="1371"/>
                      <a:pt x="430" y="1371"/>
                      <a:pt x="431" y="1371"/>
                    </a:cubicBezTo>
                    <a:cubicBezTo>
                      <a:pt x="431" y="1370"/>
                      <a:pt x="431" y="1370"/>
                      <a:pt x="432" y="1370"/>
                    </a:cubicBezTo>
                    <a:cubicBezTo>
                      <a:pt x="434" y="1370"/>
                      <a:pt x="435" y="1369"/>
                      <a:pt x="436" y="1369"/>
                    </a:cubicBezTo>
                    <a:cubicBezTo>
                      <a:pt x="437" y="1367"/>
                      <a:pt x="436" y="1367"/>
                      <a:pt x="437" y="1365"/>
                    </a:cubicBezTo>
                    <a:cubicBezTo>
                      <a:pt x="437" y="1363"/>
                      <a:pt x="437" y="1364"/>
                      <a:pt x="439" y="1361"/>
                    </a:cubicBezTo>
                    <a:cubicBezTo>
                      <a:pt x="441" y="1356"/>
                      <a:pt x="443" y="1351"/>
                      <a:pt x="445" y="1346"/>
                    </a:cubicBezTo>
                    <a:cubicBezTo>
                      <a:pt x="447" y="1343"/>
                      <a:pt x="452" y="1338"/>
                      <a:pt x="451" y="1334"/>
                    </a:cubicBezTo>
                    <a:cubicBezTo>
                      <a:pt x="448" y="1333"/>
                      <a:pt x="445" y="1327"/>
                      <a:pt x="443" y="1325"/>
                    </a:cubicBezTo>
                    <a:cubicBezTo>
                      <a:pt x="442" y="1324"/>
                      <a:pt x="441" y="1324"/>
                      <a:pt x="440" y="1322"/>
                    </a:cubicBezTo>
                    <a:cubicBezTo>
                      <a:pt x="439" y="1322"/>
                      <a:pt x="440" y="1320"/>
                      <a:pt x="439" y="1320"/>
                    </a:cubicBezTo>
                    <a:cubicBezTo>
                      <a:pt x="435" y="1314"/>
                      <a:pt x="427" y="1318"/>
                      <a:pt x="423" y="1314"/>
                    </a:cubicBezTo>
                    <a:cubicBezTo>
                      <a:pt x="420" y="1311"/>
                      <a:pt x="419" y="1308"/>
                      <a:pt x="416" y="1306"/>
                    </a:cubicBezTo>
                    <a:cubicBezTo>
                      <a:pt x="413" y="1304"/>
                      <a:pt x="408" y="1303"/>
                      <a:pt x="406" y="1299"/>
                    </a:cubicBezTo>
                    <a:cubicBezTo>
                      <a:pt x="403" y="1293"/>
                      <a:pt x="408" y="1285"/>
                      <a:pt x="409" y="1279"/>
                    </a:cubicBezTo>
                    <a:cubicBezTo>
                      <a:pt x="412" y="1266"/>
                      <a:pt x="412" y="1253"/>
                      <a:pt x="412" y="1239"/>
                    </a:cubicBezTo>
                    <a:cubicBezTo>
                      <a:pt x="412" y="1235"/>
                      <a:pt x="413" y="1231"/>
                      <a:pt x="412" y="1227"/>
                    </a:cubicBezTo>
                    <a:cubicBezTo>
                      <a:pt x="412" y="1225"/>
                      <a:pt x="411" y="1223"/>
                      <a:pt x="410" y="1221"/>
                    </a:cubicBezTo>
                    <a:cubicBezTo>
                      <a:pt x="407" y="1214"/>
                      <a:pt x="404" y="1207"/>
                      <a:pt x="400" y="1201"/>
                    </a:cubicBezTo>
                    <a:cubicBezTo>
                      <a:pt x="399" y="1198"/>
                      <a:pt x="398" y="1198"/>
                      <a:pt x="398" y="1195"/>
                    </a:cubicBezTo>
                    <a:cubicBezTo>
                      <a:pt x="399" y="1190"/>
                      <a:pt x="400" y="1186"/>
                      <a:pt x="400" y="1182"/>
                    </a:cubicBezTo>
                    <a:cubicBezTo>
                      <a:pt x="400" y="1176"/>
                      <a:pt x="400" y="1171"/>
                      <a:pt x="400" y="1165"/>
                    </a:cubicBezTo>
                    <a:cubicBezTo>
                      <a:pt x="400" y="1163"/>
                      <a:pt x="399" y="1159"/>
                      <a:pt x="400" y="1157"/>
                    </a:cubicBezTo>
                    <a:cubicBezTo>
                      <a:pt x="400" y="1156"/>
                      <a:pt x="402" y="1157"/>
                      <a:pt x="402" y="1156"/>
                    </a:cubicBezTo>
                    <a:cubicBezTo>
                      <a:pt x="403" y="1155"/>
                      <a:pt x="403" y="1153"/>
                      <a:pt x="404" y="1152"/>
                    </a:cubicBezTo>
                    <a:cubicBezTo>
                      <a:pt x="405" y="1151"/>
                      <a:pt x="408" y="1149"/>
                      <a:pt x="408" y="1147"/>
                    </a:cubicBezTo>
                    <a:cubicBezTo>
                      <a:pt x="409" y="1145"/>
                      <a:pt x="408" y="1144"/>
                      <a:pt x="407" y="1142"/>
                    </a:cubicBezTo>
                    <a:cubicBezTo>
                      <a:pt x="405" y="1138"/>
                      <a:pt x="405" y="1134"/>
                      <a:pt x="404" y="1130"/>
                    </a:cubicBezTo>
                    <a:cubicBezTo>
                      <a:pt x="403" y="1127"/>
                      <a:pt x="402" y="1124"/>
                      <a:pt x="400" y="1121"/>
                    </a:cubicBezTo>
                    <a:cubicBezTo>
                      <a:pt x="400" y="1119"/>
                      <a:pt x="399" y="1117"/>
                      <a:pt x="399" y="1115"/>
                    </a:cubicBezTo>
                    <a:cubicBezTo>
                      <a:pt x="399" y="1113"/>
                      <a:pt x="400" y="1112"/>
                      <a:pt x="401" y="1110"/>
                    </a:cubicBezTo>
                    <a:cubicBezTo>
                      <a:pt x="404" y="1105"/>
                      <a:pt x="403" y="1097"/>
                      <a:pt x="403" y="1092"/>
                    </a:cubicBezTo>
                    <a:cubicBezTo>
                      <a:pt x="403" y="1088"/>
                      <a:pt x="403" y="1084"/>
                      <a:pt x="403" y="1080"/>
                    </a:cubicBezTo>
                    <a:cubicBezTo>
                      <a:pt x="404" y="1073"/>
                      <a:pt x="409" y="1071"/>
                      <a:pt x="412" y="1066"/>
                    </a:cubicBezTo>
                    <a:cubicBezTo>
                      <a:pt x="415" y="1062"/>
                      <a:pt x="418" y="1057"/>
                      <a:pt x="419" y="1053"/>
                    </a:cubicBezTo>
                    <a:cubicBezTo>
                      <a:pt x="420" y="1050"/>
                      <a:pt x="421" y="1047"/>
                      <a:pt x="422" y="1045"/>
                    </a:cubicBezTo>
                    <a:cubicBezTo>
                      <a:pt x="423" y="1041"/>
                      <a:pt x="422" y="1039"/>
                      <a:pt x="425" y="1036"/>
                    </a:cubicBezTo>
                    <a:cubicBezTo>
                      <a:pt x="427" y="1034"/>
                      <a:pt x="429" y="1032"/>
                      <a:pt x="431" y="1031"/>
                    </a:cubicBezTo>
                    <a:cubicBezTo>
                      <a:pt x="433" y="1030"/>
                      <a:pt x="435" y="1030"/>
                      <a:pt x="436" y="1029"/>
                    </a:cubicBezTo>
                    <a:cubicBezTo>
                      <a:pt x="439" y="1027"/>
                      <a:pt x="440" y="1023"/>
                      <a:pt x="444" y="1021"/>
                    </a:cubicBezTo>
                    <a:cubicBezTo>
                      <a:pt x="449" y="1019"/>
                      <a:pt x="453" y="1018"/>
                      <a:pt x="458" y="1018"/>
                    </a:cubicBezTo>
                    <a:cubicBezTo>
                      <a:pt x="463" y="1018"/>
                      <a:pt x="467" y="1017"/>
                      <a:pt x="472" y="1017"/>
                    </a:cubicBezTo>
                    <a:cubicBezTo>
                      <a:pt x="478" y="1018"/>
                      <a:pt x="483" y="1019"/>
                      <a:pt x="489" y="1019"/>
                    </a:cubicBezTo>
                    <a:cubicBezTo>
                      <a:pt x="493" y="1020"/>
                      <a:pt x="499" y="1020"/>
                      <a:pt x="503" y="1022"/>
                    </a:cubicBezTo>
                    <a:cubicBezTo>
                      <a:pt x="505" y="1019"/>
                      <a:pt x="506" y="1014"/>
                      <a:pt x="507" y="1011"/>
                    </a:cubicBezTo>
                    <a:cubicBezTo>
                      <a:pt x="509" y="1007"/>
                      <a:pt x="510" y="1004"/>
                      <a:pt x="510" y="1000"/>
                    </a:cubicBezTo>
                    <a:cubicBezTo>
                      <a:pt x="509" y="996"/>
                      <a:pt x="507" y="992"/>
                      <a:pt x="506" y="988"/>
                    </a:cubicBezTo>
                    <a:cubicBezTo>
                      <a:pt x="506" y="985"/>
                      <a:pt x="506" y="981"/>
                      <a:pt x="506" y="977"/>
                    </a:cubicBezTo>
                    <a:cubicBezTo>
                      <a:pt x="506" y="971"/>
                      <a:pt x="508" y="963"/>
                      <a:pt x="503" y="959"/>
                    </a:cubicBezTo>
                    <a:cubicBezTo>
                      <a:pt x="500" y="957"/>
                      <a:pt x="498" y="956"/>
                      <a:pt x="495" y="955"/>
                    </a:cubicBezTo>
                    <a:cubicBezTo>
                      <a:pt x="493" y="953"/>
                      <a:pt x="492" y="951"/>
                      <a:pt x="489" y="950"/>
                    </a:cubicBezTo>
                    <a:cubicBezTo>
                      <a:pt x="490" y="947"/>
                      <a:pt x="492" y="944"/>
                      <a:pt x="494" y="941"/>
                    </a:cubicBezTo>
                    <a:cubicBezTo>
                      <a:pt x="497" y="937"/>
                      <a:pt x="500" y="933"/>
                      <a:pt x="502" y="928"/>
                    </a:cubicBezTo>
                    <a:cubicBezTo>
                      <a:pt x="504" y="925"/>
                      <a:pt x="505" y="921"/>
                      <a:pt x="506" y="917"/>
                    </a:cubicBezTo>
                    <a:cubicBezTo>
                      <a:pt x="506" y="915"/>
                      <a:pt x="506" y="913"/>
                      <a:pt x="507" y="911"/>
                    </a:cubicBezTo>
                    <a:cubicBezTo>
                      <a:pt x="508" y="909"/>
                      <a:pt x="508" y="907"/>
                      <a:pt x="509" y="905"/>
                    </a:cubicBezTo>
                    <a:cubicBezTo>
                      <a:pt x="512" y="902"/>
                      <a:pt x="512" y="896"/>
                      <a:pt x="515" y="891"/>
                    </a:cubicBezTo>
                    <a:cubicBezTo>
                      <a:pt x="517" y="887"/>
                      <a:pt x="518" y="882"/>
                      <a:pt x="520" y="878"/>
                    </a:cubicBezTo>
                    <a:cubicBezTo>
                      <a:pt x="521" y="875"/>
                      <a:pt x="523" y="871"/>
                      <a:pt x="526" y="869"/>
                    </a:cubicBezTo>
                    <a:cubicBezTo>
                      <a:pt x="530" y="866"/>
                      <a:pt x="530" y="865"/>
                      <a:pt x="530" y="859"/>
                    </a:cubicBezTo>
                    <a:cubicBezTo>
                      <a:pt x="530" y="853"/>
                      <a:pt x="530" y="848"/>
                      <a:pt x="530" y="843"/>
                    </a:cubicBezTo>
                    <a:cubicBezTo>
                      <a:pt x="529" y="837"/>
                      <a:pt x="528" y="831"/>
                      <a:pt x="529" y="825"/>
                    </a:cubicBezTo>
                    <a:cubicBezTo>
                      <a:pt x="529" y="820"/>
                      <a:pt x="532" y="816"/>
                      <a:pt x="533" y="812"/>
                    </a:cubicBezTo>
                    <a:cubicBezTo>
                      <a:pt x="534" y="810"/>
                      <a:pt x="534" y="808"/>
                      <a:pt x="535" y="806"/>
                    </a:cubicBezTo>
                    <a:cubicBezTo>
                      <a:pt x="536" y="806"/>
                      <a:pt x="537" y="805"/>
                      <a:pt x="538" y="804"/>
                    </a:cubicBezTo>
                    <a:cubicBezTo>
                      <a:pt x="539" y="802"/>
                      <a:pt x="539" y="801"/>
                      <a:pt x="539" y="798"/>
                    </a:cubicBezTo>
                    <a:cubicBezTo>
                      <a:pt x="541" y="791"/>
                      <a:pt x="537" y="784"/>
                      <a:pt x="536" y="776"/>
                    </a:cubicBezTo>
                    <a:cubicBezTo>
                      <a:pt x="535" y="770"/>
                      <a:pt x="534" y="763"/>
                      <a:pt x="533" y="757"/>
                    </a:cubicBezTo>
                    <a:cubicBezTo>
                      <a:pt x="533" y="757"/>
                      <a:pt x="533" y="751"/>
                      <a:pt x="533" y="750"/>
                    </a:cubicBezTo>
                    <a:cubicBezTo>
                      <a:pt x="535" y="747"/>
                      <a:pt x="548" y="750"/>
                      <a:pt x="552" y="749"/>
                    </a:cubicBezTo>
                    <a:cubicBezTo>
                      <a:pt x="556" y="748"/>
                      <a:pt x="561" y="747"/>
                      <a:pt x="564" y="745"/>
                    </a:cubicBezTo>
                    <a:cubicBezTo>
                      <a:pt x="570" y="743"/>
                      <a:pt x="570" y="736"/>
                      <a:pt x="575" y="733"/>
                    </a:cubicBezTo>
                    <a:cubicBezTo>
                      <a:pt x="578" y="731"/>
                      <a:pt x="583" y="732"/>
                      <a:pt x="585" y="729"/>
                    </a:cubicBezTo>
                    <a:cubicBezTo>
                      <a:pt x="588" y="723"/>
                      <a:pt x="580" y="714"/>
                      <a:pt x="580" y="709"/>
                    </a:cubicBezTo>
                    <a:cubicBezTo>
                      <a:pt x="579" y="703"/>
                      <a:pt x="582" y="701"/>
                      <a:pt x="586" y="698"/>
                    </a:cubicBezTo>
                    <a:cubicBezTo>
                      <a:pt x="591" y="695"/>
                      <a:pt x="592" y="692"/>
                      <a:pt x="594" y="687"/>
                    </a:cubicBezTo>
                    <a:cubicBezTo>
                      <a:pt x="598" y="679"/>
                      <a:pt x="602" y="670"/>
                      <a:pt x="605" y="662"/>
                    </a:cubicBezTo>
                    <a:cubicBezTo>
                      <a:pt x="607" y="658"/>
                      <a:pt x="610" y="654"/>
                      <a:pt x="611" y="649"/>
                    </a:cubicBezTo>
                    <a:cubicBezTo>
                      <a:pt x="611" y="645"/>
                      <a:pt x="613" y="641"/>
                      <a:pt x="616" y="638"/>
                    </a:cubicBezTo>
                    <a:cubicBezTo>
                      <a:pt x="620" y="635"/>
                      <a:pt x="624" y="634"/>
                      <a:pt x="628" y="632"/>
                    </a:cubicBezTo>
                    <a:cubicBezTo>
                      <a:pt x="632" y="629"/>
                      <a:pt x="631" y="617"/>
                      <a:pt x="630" y="613"/>
                    </a:cubicBezTo>
                    <a:cubicBezTo>
                      <a:pt x="629" y="610"/>
                      <a:pt x="627" y="607"/>
                      <a:pt x="627" y="605"/>
                    </a:cubicBezTo>
                    <a:cubicBezTo>
                      <a:pt x="627" y="603"/>
                      <a:pt x="627" y="601"/>
                      <a:pt x="627" y="600"/>
                    </a:cubicBezTo>
                    <a:cubicBezTo>
                      <a:pt x="626" y="598"/>
                      <a:pt x="624" y="596"/>
                      <a:pt x="624" y="594"/>
                    </a:cubicBezTo>
                    <a:cubicBezTo>
                      <a:pt x="623" y="591"/>
                      <a:pt x="623" y="588"/>
                      <a:pt x="622" y="584"/>
                    </a:cubicBezTo>
                    <a:cubicBezTo>
                      <a:pt x="621" y="582"/>
                      <a:pt x="621" y="580"/>
                      <a:pt x="621" y="578"/>
                    </a:cubicBezTo>
                    <a:cubicBezTo>
                      <a:pt x="621" y="574"/>
                      <a:pt x="621" y="572"/>
                      <a:pt x="622" y="569"/>
                    </a:cubicBezTo>
                    <a:cubicBezTo>
                      <a:pt x="623" y="564"/>
                      <a:pt x="624" y="562"/>
                      <a:pt x="629" y="559"/>
                    </a:cubicBezTo>
                    <a:cubicBezTo>
                      <a:pt x="633" y="558"/>
                      <a:pt x="634" y="555"/>
                      <a:pt x="634" y="551"/>
                    </a:cubicBezTo>
                    <a:cubicBezTo>
                      <a:pt x="635" y="546"/>
                      <a:pt x="637" y="542"/>
                      <a:pt x="639" y="537"/>
                    </a:cubicBezTo>
                    <a:cubicBezTo>
                      <a:pt x="640" y="534"/>
                      <a:pt x="642" y="530"/>
                      <a:pt x="643" y="527"/>
                    </a:cubicBezTo>
                    <a:cubicBezTo>
                      <a:pt x="644" y="525"/>
                      <a:pt x="644" y="523"/>
                      <a:pt x="645" y="522"/>
                    </a:cubicBezTo>
                    <a:cubicBezTo>
                      <a:pt x="645" y="522"/>
                      <a:pt x="644" y="522"/>
                      <a:pt x="643" y="523"/>
                    </a:cubicBezTo>
                    <a:cubicBezTo>
                      <a:pt x="644" y="521"/>
                      <a:pt x="645" y="520"/>
                      <a:pt x="646" y="518"/>
                    </a:cubicBezTo>
                    <a:cubicBezTo>
                      <a:pt x="647" y="516"/>
                      <a:pt x="647" y="513"/>
                      <a:pt x="650" y="512"/>
                    </a:cubicBezTo>
                    <a:cubicBezTo>
                      <a:pt x="650" y="510"/>
                      <a:pt x="653" y="508"/>
                      <a:pt x="654" y="507"/>
                    </a:cubicBezTo>
                    <a:cubicBezTo>
                      <a:pt x="657" y="503"/>
                      <a:pt x="660" y="498"/>
                      <a:pt x="663" y="494"/>
                    </a:cubicBezTo>
                    <a:cubicBezTo>
                      <a:pt x="666" y="490"/>
                      <a:pt x="668" y="488"/>
                      <a:pt x="672" y="486"/>
                    </a:cubicBezTo>
                    <a:cubicBezTo>
                      <a:pt x="674" y="484"/>
                      <a:pt x="677" y="481"/>
                      <a:pt x="680" y="480"/>
                    </a:cubicBezTo>
                    <a:cubicBezTo>
                      <a:pt x="684" y="479"/>
                      <a:pt x="691" y="479"/>
                      <a:pt x="695" y="481"/>
                    </a:cubicBezTo>
                    <a:cubicBezTo>
                      <a:pt x="698" y="482"/>
                      <a:pt x="700" y="484"/>
                      <a:pt x="704" y="486"/>
                    </a:cubicBezTo>
                    <a:cubicBezTo>
                      <a:pt x="709" y="487"/>
                      <a:pt x="714" y="490"/>
                      <a:pt x="719" y="492"/>
                    </a:cubicBezTo>
                    <a:cubicBezTo>
                      <a:pt x="720" y="490"/>
                      <a:pt x="720" y="488"/>
                      <a:pt x="721" y="486"/>
                    </a:cubicBezTo>
                    <a:cubicBezTo>
                      <a:pt x="723" y="482"/>
                      <a:pt x="726" y="477"/>
                      <a:pt x="728" y="472"/>
                    </a:cubicBezTo>
                    <a:cubicBezTo>
                      <a:pt x="730" y="469"/>
                      <a:pt x="732" y="467"/>
                      <a:pt x="733" y="464"/>
                    </a:cubicBezTo>
                    <a:cubicBezTo>
                      <a:pt x="733" y="463"/>
                      <a:pt x="734" y="461"/>
                      <a:pt x="735" y="459"/>
                    </a:cubicBezTo>
                    <a:cubicBezTo>
                      <a:pt x="735" y="458"/>
                      <a:pt x="735" y="454"/>
                      <a:pt x="735" y="452"/>
                    </a:cubicBezTo>
                    <a:cubicBezTo>
                      <a:pt x="735" y="429"/>
                      <a:pt x="735" y="429"/>
                      <a:pt x="735" y="429"/>
                    </a:cubicBezTo>
                    <a:cubicBezTo>
                      <a:pt x="735" y="424"/>
                      <a:pt x="735" y="418"/>
                      <a:pt x="734" y="413"/>
                    </a:cubicBezTo>
                    <a:cubicBezTo>
                      <a:pt x="737" y="416"/>
                      <a:pt x="742" y="415"/>
                      <a:pt x="746" y="415"/>
                    </a:cubicBezTo>
                    <a:cubicBezTo>
                      <a:pt x="748" y="415"/>
                      <a:pt x="749" y="416"/>
                      <a:pt x="752" y="417"/>
                    </a:cubicBezTo>
                    <a:cubicBezTo>
                      <a:pt x="754" y="418"/>
                      <a:pt x="758" y="418"/>
                      <a:pt x="760" y="419"/>
                    </a:cubicBezTo>
                    <a:cubicBezTo>
                      <a:pt x="769" y="422"/>
                      <a:pt x="778" y="424"/>
                      <a:pt x="787" y="426"/>
                    </a:cubicBezTo>
                    <a:cubicBezTo>
                      <a:pt x="793" y="427"/>
                      <a:pt x="799" y="426"/>
                      <a:pt x="804" y="429"/>
                    </a:cubicBezTo>
                    <a:cubicBezTo>
                      <a:pt x="811" y="433"/>
                      <a:pt x="817" y="435"/>
                      <a:pt x="824" y="436"/>
                    </a:cubicBezTo>
                    <a:cubicBezTo>
                      <a:pt x="826" y="436"/>
                      <a:pt x="827" y="437"/>
                      <a:pt x="829" y="436"/>
                    </a:cubicBezTo>
                    <a:cubicBezTo>
                      <a:pt x="830" y="435"/>
                      <a:pt x="833" y="431"/>
                      <a:pt x="833" y="429"/>
                    </a:cubicBezTo>
                    <a:cubicBezTo>
                      <a:pt x="835" y="427"/>
                      <a:pt x="835" y="426"/>
                      <a:pt x="836" y="424"/>
                    </a:cubicBezTo>
                    <a:cubicBezTo>
                      <a:pt x="836" y="423"/>
                      <a:pt x="839" y="421"/>
                      <a:pt x="839" y="420"/>
                    </a:cubicBezTo>
                    <a:cubicBezTo>
                      <a:pt x="839" y="416"/>
                      <a:pt x="826" y="413"/>
                      <a:pt x="823" y="411"/>
                    </a:cubicBezTo>
                    <a:cubicBezTo>
                      <a:pt x="825" y="408"/>
                      <a:pt x="830" y="407"/>
                      <a:pt x="833" y="405"/>
                    </a:cubicBezTo>
                    <a:cubicBezTo>
                      <a:pt x="838" y="402"/>
                      <a:pt x="842" y="399"/>
                      <a:pt x="847" y="395"/>
                    </a:cubicBezTo>
                    <a:cubicBezTo>
                      <a:pt x="852" y="391"/>
                      <a:pt x="855" y="389"/>
                      <a:pt x="855" y="382"/>
                    </a:cubicBezTo>
                    <a:cubicBezTo>
                      <a:pt x="855" y="374"/>
                      <a:pt x="853" y="368"/>
                      <a:pt x="848" y="361"/>
                    </a:cubicBezTo>
                    <a:cubicBezTo>
                      <a:pt x="845" y="357"/>
                      <a:pt x="842" y="352"/>
                      <a:pt x="840" y="347"/>
                    </a:cubicBezTo>
                    <a:cubicBezTo>
                      <a:pt x="838" y="345"/>
                      <a:pt x="837" y="341"/>
                      <a:pt x="835" y="339"/>
                    </a:cubicBezTo>
                    <a:cubicBezTo>
                      <a:pt x="836" y="336"/>
                      <a:pt x="849" y="336"/>
                      <a:pt x="852" y="336"/>
                    </a:cubicBezTo>
                    <a:cubicBezTo>
                      <a:pt x="857" y="335"/>
                      <a:pt x="863" y="335"/>
                      <a:pt x="869" y="334"/>
                    </a:cubicBezTo>
                    <a:cubicBezTo>
                      <a:pt x="869" y="333"/>
                      <a:pt x="869" y="332"/>
                      <a:pt x="869" y="332"/>
                    </a:cubicBezTo>
                    <a:cubicBezTo>
                      <a:pt x="871" y="331"/>
                      <a:pt x="875" y="334"/>
                      <a:pt x="877" y="335"/>
                    </a:cubicBezTo>
                    <a:cubicBezTo>
                      <a:pt x="880" y="336"/>
                      <a:pt x="883" y="338"/>
                      <a:pt x="886" y="339"/>
                    </a:cubicBezTo>
                    <a:cubicBezTo>
                      <a:pt x="886" y="336"/>
                      <a:pt x="886" y="332"/>
                      <a:pt x="886" y="329"/>
                    </a:cubicBezTo>
                    <a:cubicBezTo>
                      <a:pt x="885" y="324"/>
                      <a:pt x="883" y="322"/>
                      <a:pt x="882" y="319"/>
                    </a:cubicBezTo>
                    <a:cubicBezTo>
                      <a:pt x="879" y="312"/>
                      <a:pt x="886" y="310"/>
                      <a:pt x="891" y="308"/>
                    </a:cubicBezTo>
                    <a:cubicBezTo>
                      <a:pt x="896" y="307"/>
                      <a:pt x="901" y="304"/>
                      <a:pt x="907" y="304"/>
                    </a:cubicBezTo>
                    <a:cubicBezTo>
                      <a:pt x="909" y="304"/>
                      <a:pt x="914" y="303"/>
                      <a:pt x="916" y="305"/>
                    </a:cubicBezTo>
                    <a:cubicBezTo>
                      <a:pt x="918" y="307"/>
                      <a:pt x="918" y="311"/>
                      <a:pt x="919" y="313"/>
                    </a:cubicBezTo>
                    <a:cubicBezTo>
                      <a:pt x="920" y="315"/>
                      <a:pt x="922" y="316"/>
                      <a:pt x="923" y="317"/>
                    </a:cubicBezTo>
                    <a:cubicBezTo>
                      <a:pt x="924" y="319"/>
                      <a:pt x="924" y="320"/>
                      <a:pt x="925" y="322"/>
                    </a:cubicBezTo>
                    <a:cubicBezTo>
                      <a:pt x="926" y="326"/>
                      <a:pt x="928" y="331"/>
                      <a:pt x="931" y="335"/>
                    </a:cubicBezTo>
                    <a:cubicBezTo>
                      <a:pt x="933" y="338"/>
                      <a:pt x="935" y="340"/>
                      <a:pt x="937" y="342"/>
                    </a:cubicBezTo>
                    <a:cubicBezTo>
                      <a:pt x="940" y="345"/>
                      <a:pt x="943" y="349"/>
                      <a:pt x="945" y="352"/>
                    </a:cubicBezTo>
                    <a:cubicBezTo>
                      <a:pt x="946" y="353"/>
                      <a:pt x="947" y="355"/>
                      <a:pt x="948" y="356"/>
                    </a:cubicBezTo>
                    <a:cubicBezTo>
                      <a:pt x="949" y="358"/>
                      <a:pt x="951" y="359"/>
                      <a:pt x="951" y="361"/>
                    </a:cubicBezTo>
                    <a:cubicBezTo>
                      <a:pt x="952" y="362"/>
                      <a:pt x="952" y="363"/>
                      <a:pt x="953" y="364"/>
                    </a:cubicBezTo>
                    <a:cubicBezTo>
                      <a:pt x="955" y="366"/>
                      <a:pt x="955" y="364"/>
                      <a:pt x="956" y="367"/>
                    </a:cubicBezTo>
                    <a:cubicBezTo>
                      <a:pt x="957" y="374"/>
                      <a:pt x="956" y="382"/>
                      <a:pt x="957" y="389"/>
                    </a:cubicBezTo>
                    <a:cubicBezTo>
                      <a:pt x="959" y="389"/>
                      <a:pt x="960" y="388"/>
                      <a:pt x="962" y="388"/>
                    </a:cubicBezTo>
                    <a:cubicBezTo>
                      <a:pt x="964" y="388"/>
                      <a:pt x="966" y="388"/>
                      <a:pt x="967" y="389"/>
                    </a:cubicBezTo>
                    <a:cubicBezTo>
                      <a:pt x="973" y="390"/>
                      <a:pt x="977" y="391"/>
                      <a:pt x="982" y="393"/>
                    </a:cubicBezTo>
                    <a:cubicBezTo>
                      <a:pt x="984" y="394"/>
                      <a:pt x="985" y="395"/>
                      <a:pt x="987" y="395"/>
                    </a:cubicBezTo>
                    <a:cubicBezTo>
                      <a:pt x="989" y="395"/>
                      <a:pt x="992" y="395"/>
                      <a:pt x="994" y="395"/>
                    </a:cubicBezTo>
                    <a:cubicBezTo>
                      <a:pt x="998" y="397"/>
                      <a:pt x="998" y="400"/>
                      <a:pt x="1002" y="401"/>
                    </a:cubicBezTo>
                    <a:cubicBezTo>
                      <a:pt x="1006" y="402"/>
                      <a:pt x="1011" y="398"/>
                      <a:pt x="1015" y="398"/>
                    </a:cubicBezTo>
                    <a:cubicBezTo>
                      <a:pt x="1017" y="398"/>
                      <a:pt x="1019" y="398"/>
                      <a:pt x="1021" y="398"/>
                    </a:cubicBezTo>
                    <a:cubicBezTo>
                      <a:pt x="1024" y="398"/>
                      <a:pt x="1022" y="398"/>
                      <a:pt x="1024" y="395"/>
                    </a:cubicBezTo>
                    <a:cubicBezTo>
                      <a:pt x="1024" y="395"/>
                      <a:pt x="1024" y="394"/>
                      <a:pt x="1024" y="393"/>
                    </a:cubicBezTo>
                    <a:cubicBezTo>
                      <a:pt x="1024" y="392"/>
                      <a:pt x="1026" y="393"/>
                      <a:pt x="1027" y="392"/>
                    </a:cubicBezTo>
                    <a:cubicBezTo>
                      <a:pt x="1028" y="390"/>
                      <a:pt x="1028" y="387"/>
                      <a:pt x="1030" y="384"/>
                    </a:cubicBezTo>
                    <a:cubicBezTo>
                      <a:pt x="1031" y="383"/>
                      <a:pt x="1033" y="381"/>
                      <a:pt x="1034" y="380"/>
                    </a:cubicBezTo>
                    <a:cubicBezTo>
                      <a:pt x="1035" y="378"/>
                      <a:pt x="1035" y="376"/>
                      <a:pt x="1036" y="374"/>
                    </a:cubicBezTo>
                    <a:cubicBezTo>
                      <a:pt x="1042" y="374"/>
                      <a:pt x="1047" y="378"/>
                      <a:pt x="1052" y="381"/>
                    </a:cubicBezTo>
                    <a:cubicBezTo>
                      <a:pt x="1056" y="384"/>
                      <a:pt x="1061" y="386"/>
                      <a:pt x="1065" y="389"/>
                    </a:cubicBezTo>
                    <a:cubicBezTo>
                      <a:pt x="1065" y="390"/>
                      <a:pt x="1066" y="390"/>
                      <a:pt x="1066" y="391"/>
                    </a:cubicBezTo>
                    <a:cubicBezTo>
                      <a:pt x="1067" y="391"/>
                      <a:pt x="1068" y="391"/>
                      <a:pt x="1069" y="392"/>
                    </a:cubicBezTo>
                    <a:cubicBezTo>
                      <a:pt x="1070" y="393"/>
                      <a:pt x="1072" y="393"/>
                      <a:pt x="1074" y="394"/>
                    </a:cubicBezTo>
                    <a:cubicBezTo>
                      <a:pt x="1077" y="395"/>
                      <a:pt x="1081" y="397"/>
                      <a:pt x="1084" y="398"/>
                    </a:cubicBezTo>
                    <a:cubicBezTo>
                      <a:pt x="1086" y="399"/>
                      <a:pt x="1086" y="401"/>
                      <a:pt x="1087" y="402"/>
                    </a:cubicBezTo>
                    <a:cubicBezTo>
                      <a:pt x="1089" y="404"/>
                      <a:pt x="1088" y="410"/>
                      <a:pt x="1091" y="410"/>
                    </a:cubicBezTo>
                    <a:cubicBezTo>
                      <a:pt x="1093" y="409"/>
                      <a:pt x="1093" y="407"/>
                      <a:pt x="1095" y="406"/>
                    </a:cubicBezTo>
                    <a:cubicBezTo>
                      <a:pt x="1097" y="404"/>
                      <a:pt x="1099" y="406"/>
                      <a:pt x="1101" y="405"/>
                    </a:cubicBezTo>
                    <a:cubicBezTo>
                      <a:pt x="1107" y="402"/>
                      <a:pt x="1099" y="392"/>
                      <a:pt x="1100" y="388"/>
                    </a:cubicBezTo>
                    <a:cubicBezTo>
                      <a:pt x="1101" y="385"/>
                      <a:pt x="1104" y="381"/>
                      <a:pt x="1106" y="379"/>
                    </a:cubicBezTo>
                    <a:cubicBezTo>
                      <a:pt x="1102" y="379"/>
                      <a:pt x="1095" y="376"/>
                      <a:pt x="1093" y="373"/>
                    </a:cubicBezTo>
                    <a:cubicBezTo>
                      <a:pt x="1096" y="374"/>
                      <a:pt x="1101" y="373"/>
                      <a:pt x="1104" y="376"/>
                    </a:cubicBezTo>
                    <a:cubicBezTo>
                      <a:pt x="1106" y="377"/>
                      <a:pt x="1106" y="379"/>
                      <a:pt x="1107" y="379"/>
                    </a:cubicBezTo>
                    <a:cubicBezTo>
                      <a:pt x="1107" y="380"/>
                      <a:pt x="1107" y="381"/>
                      <a:pt x="1108" y="381"/>
                    </a:cubicBezTo>
                    <a:cubicBezTo>
                      <a:pt x="1108" y="379"/>
                      <a:pt x="1109" y="380"/>
                      <a:pt x="1110" y="379"/>
                    </a:cubicBezTo>
                    <a:cubicBezTo>
                      <a:pt x="1111" y="378"/>
                      <a:pt x="1112" y="377"/>
                      <a:pt x="1112" y="376"/>
                    </a:cubicBezTo>
                    <a:cubicBezTo>
                      <a:pt x="1112" y="376"/>
                      <a:pt x="1115" y="374"/>
                      <a:pt x="1115" y="374"/>
                    </a:cubicBezTo>
                    <a:cubicBezTo>
                      <a:pt x="1117" y="372"/>
                      <a:pt x="1117" y="370"/>
                      <a:pt x="1118" y="367"/>
                    </a:cubicBezTo>
                    <a:cubicBezTo>
                      <a:pt x="1120" y="363"/>
                      <a:pt x="1120" y="363"/>
                      <a:pt x="1123" y="364"/>
                    </a:cubicBezTo>
                    <a:cubicBezTo>
                      <a:pt x="1126" y="364"/>
                      <a:pt x="1127" y="365"/>
                      <a:pt x="1130" y="365"/>
                    </a:cubicBezTo>
                    <a:cubicBezTo>
                      <a:pt x="1131" y="363"/>
                      <a:pt x="1130" y="362"/>
                      <a:pt x="1130" y="361"/>
                    </a:cubicBezTo>
                    <a:cubicBezTo>
                      <a:pt x="1131" y="358"/>
                      <a:pt x="1132" y="356"/>
                      <a:pt x="1133" y="355"/>
                    </a:cubicBezTo>
                    <a:cubicBezTo>
                      <a:pt x="1134" y="353"/>
                      <a:pt x="1135" y="350"/>
                      <a:pt x="1136" y="348"/>
                    </a:cubicBezTo>
                    <a:cubicBezTo>
                      <a:pt x="1137" y="347"/>
                      <a:pt x="1138" y="347"/>
                      <a:pt x="1139" y="345"/>
                    </a:cubicBezTo>
                    <a:cubicBezTo>
                      <a:pt x="1140" y="343"/>
                      <a:pt x="1140" y="342"/>
                      <a:pt x="1140" y="338"/>
                    </a:cubicBezTo>
                    <a:cubicBezTo>
                      <a:pt x="1140" y="330"/>
                      <a:pt x="1140" y="321"/>
                      <a:pt x="1140" y="313"/>
                    </a:cubicBezTo>
                    <a:cubicBezTo>
                      <a:pt x="1140" y="306"/>
                      <a:pt x="1140" y="299"/>
                      <a:pt x="1140" y="293"/>
                    </a:cubicBezTo>
                    <a:cubicBezTo>
                      <a:pt x="1140" y="288"/>
                      <a:pt x="1141" y="285"/>
                      <a:pt x="1142" y="280"/>
                    </a:cubicBezTo>
                    <a:cubicBezTo>
                      <a:pt x="1144" y="275"/>
                      <a:pt x="1143" y="269"/>
                      <a:pt x="1144" y="264"/>
                    </a:cubicBezTo>
                    <a:cubicBezTo>
                      <a:pt x="1144" y="261"/>
                      <a:pt x="1145" y="258"/>
                      <a:pt x="1145" y="256"/>
                    </a:cubicBezTo>
                    <a:cubicBezTo>
                      <a:pt x="1145" y="255"/>
                      <a:pt x="1144" y="253"/>
                      <a:pt x="1145" y="252"/>
                    </a:cubicBezTo>
                    <a:cubicBezTo>
                      <a:pt x="1145" y="251"/>
                      <a:pt x="1145" y="251"/>
                      <a:pt x="1146" y="250"/>
                    </a:cubicBezTo>
                    <a:cubicBezTo>
                      <a:pt x="1146" y="249"/>
                      <a:pt x="1146" y="248"/>
                      <a:pt x="1147" y="247"/>
                    </a:cubicBezTo>
                    <a:cubicBezTo>
                      <a:pt x="1149" y="243"/>
                      <a:pt x="1155" y="245"/>
                      <a:pt x="1158" y="242"/>
                    </a:cubicBezTo>
                    <a:cubicBezTo>
                      <a:pt x="1161" y="239"/>
                      <a:pt x="1158" y="234"/>
                      <a:pt x="1159" y="230"/>
                    </a:cubicBezTo>
                    <a:cubicBezTo>
                      <a:pt x="1159" y="228"/>
                      <a:pt x="1160" y="227"/>
                      <a:pt x="1161" y="226"/>
                    </a:cubicBezTo>
                    <a:cubicBezTo>
                      <a:pt x="1163" y="224"/>
                      <a:pt x="1163" y="221"/>
                      <a:pt x="1164" y="219"/>
                    </a:cubicBezTo>
                    <a:cubicBezTo>
                      <a:pt x="1167" y="214"/>
                      <a:pt x="1173" y="208"/>
                      <a:pt x="1178" y="205"/>
                    </a:cubicBezTo>
                    <a:cubicBezTo>
                      <a:pt x="1182" y="203"/>
                      <a:pt x="1187" y="204"/>
                      <a:pt x="1191" y="204"/>
                    </a:cubicBezTo>
                    <a:cubicBezTo>
                      <a:pt x="1195" y="204"/>
                      <a:pt x="1200" y="203"/>
                      <a:pt x="1204" y="204"/>
                    </a:cubicBezTo>
                    <a:cubicBezTo>
                      <a:pt x="1204" y="204"/>
                      <a:pt x="1204" y="206"/>
                      <a:pt x="1204" y="206"/>
                    </a:cubicBezTo>
                    <a:cubicBezTo>
                      <a:pt x="1207" y="207"/>
                      <a:pt x="1211" y="205"/>
                      <a:pt x="1214" y="205"/>
                    </a:cubicBezTo>
                    <a:cubicBezTo>
                      <a:pt x="1217" y="204"/>
                      <a:pt x="1220" y="204"/>
                      <a:pt x="1223" y="203"/>
                    </a:cubicBezTo>
                    <a:cubicBezTo>
                      <a:pt x="1224" y="199"/>
                      <a:pt x="1223" y="195"/>
                      <a:pt x="1226" y="192"/>
                    </a:cubicBezTo>
                    <a:cubicBezTo>
                      <a:pt x="1227" y="190"/>
                      <a:pt x="1229" y="189"/>
                      <a:pt x="1231" y="187"/>
                    </a:cubicBezTo>
                    <a:cubicBezTo>
                      <a:pt x="1233" y="185"/>
                      <a:pt x="1234" y="182"/>
                      <a:pt x="1237" y="180"/>
                    </a:cubicBezTo>
                    <a:cubicBezTo>
                      <a:pt x="1237" y="180"/>
                      <a:pt x="1238" y="179"/>
                      <a:pt x="1239" y="179"/>
                    </a:cubicBezTo>
                    <a:cubicBezTo>
                      <a:pt x="1240" y="179"/>
                      <a:pt x="1241" y="179"/>
                      <a:pt x="1242" y="178"/>
                    </a:cubicBezTo>
                    <a:cubicBezTo>
                      <a:pt x="1244" y="179"/>
                      <a:pt x="1244" y="180"/>
                      <a:pt x="1245" y="181"/>
                    </a:cubicBezTo>
                    <a:cubicBezTo>
                      <a:pt x="1249" y="183"/>
                      <a:pt x="1253" y="181"/>
                      <a:pt x="1256" y="181"/>
                    </a:cubicBezTo>
                    <a:cubicBezTo>
                      <a:pt x="1260" y="182"/>
                      <a:pt x="1257" y="180"/>
                      <a:pt x="1259" y="183"/>
                    </a:cubicBezTo>
                    <a:cubicBezTo>
                      <a:pt x="1260" y="183"/>
                      <a:pt x="1261" y="186"/>
                      <a:pt x="1261" y="187"/>
                    </a:cubicBezTo>
                    <a:cubicBezTo>
                      <a:pt x="1261" y="188"/>
                      <a:pt x="1260" y="191"/>
                      <a:pt x="1261" y="192"/>
                    </a:cubicBezTo>
                    <a:cubicBezTo>
                      <a:pt x="1262" y="195"/>
                      <a:pt x="1264" y="194"/>
                      <a:pt x="1266" y="195"/>
                    </a:cubicBezTo>
                    <a:cubicBezTo>
                      <a:pt x="1267" y="196"/>
                      <a:pt x="1269" y="199"/>
                      <a:pt x="1269" y="199"/>
                    </a:cubicBezTo>
                    <a:cubicBezTo>
                      <a:pt x="1271" y="202"/>
                      <a:pt x="1274" y="204"/>
                      <a:pt x="1275" y="207"/>
                    </a:cubicBezTo>
                    <a:cubicBezTo>
                      <a:pt x="1277" y="210"/>
                      <a:pt x="1278" y="212"/>
                      <a:pt x="1280" y="214"/>
                    </a:cubicBezTo>
                    <a:cubicBezTo>
                      <a:pt x="1280" y="215"/>
                      <a:pt x="1281" y="217"/>
                      <a:pt x="1282" y="218"/>
                    </a:cubicBezTo>
                    <a:cubicBezTo>
                      <a:pt x="1283" y="220"/>
                      <a:pt x="1284" y="221"/>
                      <a:pt x="1286" y="223"/>
                    </a:cubicBezTo>
                    <a:cubicBezTo>
                      <a:pt x="1293" y="226"/>
                      <a:pt x="1299" y="229"/>
                      <a:pt x="1304" y="234"/>
                    </a:cubicBezTo>
                    <a:cubicBezTo>
                      <a:pt x="1308" y="237"/>
                      <a:pt x="1310" y="241"/>
                      <a:pt x="1314" y="243"/>
                    </a:cubicBezTo>
                    <a:cubicBezTo>
                      <a:pt x="1316" y="244"/>
                      <a:pt x="1317" y="245"/>
                      <a:pt x="1318" y="247"/>
                    </a:cubicBezTo>
                    <a:cubicBezTo>
                      <a:pt x="1318" y="248"/>
                      <a:pt x="1318" y="250"/>
                      <a:pt x="1319" y="251"/>
                    </a:cubicBezTo>
                    <a:cubicBezTo>
                      <a:pt x="1320" y="255"/>
                      <a:pt x="1321" y="258"/>
                      <a:pt x="1323" y="262"/>
                    </a:cubicBezTo>
                    <a:cubicBezTo>
                      <a:pt x="1324" y="265"/>
                      <a:pt x="1326" y="269"/>
                      <a:pt x="1326" y="272"/>
                    </a:cubicBezTo>
                    <a:cubicBezTo>
                      <a:pt x="1326" y="274"/>
                      <a:pt x="1325" y="276"/>
                      <a:pt x="1324" y="278"/>
                    </a:cubicBezTo>
                    <a:cubicBezTo>
                      <a:pt x="1322" y="280"/>
                      <a:pt x="1321" y="282"/>
                      <a:pt x="1319" y="285"/>
                    </a:cubicBezTo>
                    <a:cubicBezTo>
                      <a:pt x="1315" y="290"/>
                      <a:pt x="1312" y="296"/>
                      <a:pt x="1308" y="303"/>
                    </a:cubicBezTo>
                    <a:cubicBezTo>
                      <a:pt x="1307" y="305"/>
                      <a:pt x="1306" y="308"/>
                      <a:pt x="1304" y="311"/>
                    </a:cubicBezTo>
                    <a:cubicBezTo>
                      <a:pt x="1303" y="312"/>
                      <a:pt x="1302" y="313"/>
                      <a:pt x="1302" y="314"/>
                    </a:cubicBezTo>
                    <a:cubicBezTo>
                      <a:pt x="1300" y="318"/>
                      <a:pt x="1299" y="321"/>
                      <a:pt x="1301" y="325"/>
                    </a:cubicBezTo>
                    <a:cubicBezTo>
                      <a:pt x="1302" y="326"/>
                      <a:pt x="1302" y="328"/>
                      <a:pt x="1303" y="330"/>
                    </a:cubicBezTo>
                    <a:cubicBezTo>
                      <a:pt x="1304" y="332"/>
                      <a:pt x="1305" y="334"/>
                      <a:pt x="1306" y="336"/>
                    </a:cubicBezTo>
                    <a:cubicBezTo>
                      <a:pt x="1307" y="337"/>
                      <a:pt x="1308" y="339"/>
                      <a:pt x="1310" y="340"/>
                    </a:cubicBezTo>
                    <a:cubicBezTo>
                      <a:pt x="1311" y="342"/>
                      <a:pt x="1314" y="341"/>
                      <a:pt x="1316" y="340"/>
                    </a:cubicBezTo>
                    <a:cubicBezTo>
                      <a:pt x="1319" y="339"/>
                      <a:pt x="1320" y="339"/>
                      <a:pt x="1322" y="337"/>
                    </a:cubicBezTo>
                    <a:cubicBezTo>
                      <a:pt x="1323" y="336"/>
                      <a:pt x="1325" y="336"/>
                      <a:pt x="1325" y="335"/>
                    </a:cubicBezTo>
                    <a:cubicBezTo>
                      <a:pt x="1326" y="333"/>
                      <a:pt x="1326" y="331"/>
                      <a:pt x="1327" y="330"/>
                    </a:cubicBezTo>
                    <a:cubicBezTo>
                      <a:pt x="1327" y="327"/>
                      <a:pt x="1327" y="325"/>
                      <a:pt x="1327" y="323"/>
                    </a:cubicBezTo>
                    <a:cubicBezTo>
                      <a:pt x="1328" y="320"/>
                      <a:pt x="1328" y="317"/>
                      <a:pt x="1329" y="315"/>
                    </a:cubicBezTo>
                    <a:cubicBezTo>
                      <a:pt x="1329" y="312"/>
                      <a:pt x="1330" y="309"/>
                      <a:pt x="1331" y="306"/>
                    </a:cubicBezTo>
                    <a:cubicBezTo>
                      <a:pt x="1331" y="305"/>
                      <a:pt x="1330" y="303"/>
                      <a:pt x="1330" y="302"/>
                    </a:cubicBezTo>
                    <a:cubicBezTo>
                      <a:pt x="1331" y="301"/>
                      <a:pt x="1332" y="300"/>
                      <a:pt x="1333" y="299"/>
                    </a:cubicBezTo>
                    <a:cubicBezTo>
                      <a:pt x="1335" y="298"/>
                      <a:pt x="1336" y="298"/>
                      <a:pt x="1338" y="298"/>
                    </a:cubicBezTo>
                    <a:cubicBezTo>
                      <a:pt x="1341" y="298"/>
                      <a:pt x="1344" y="295"/>
                      <a:pt x="1347" y="293"/>
                    </a:cubicBezTo>
                    <a:cubicBezTo>
                      <a:pt x="1348" y="292"/>
                      <a:pt x="1350" y="290"/>
                      <a:pt x="1351" y="289"/>
                    </a:cubicBezTo>
                    <a:cubicBezTo>
                      <a:pt x="1352" y="288"/>
                      <a:pt x="1353" y="288"/>
                      <a:pt x="1354" y="288"/>
                    </a:cubicBezTo>
                    <a:cubicBezTo>
                      <a:pt x="1354" y="287"/>
                      <a:pt x="1355" y="286"/>
                      <a:pt x="1356" y="286"/>
                    </a:cubicBezTo>
                    <a:cubicBezTo>
                      <a:pt x="1357" y="285"/>
                      <a:pt x="1358" y="285"/>
                      <a:pt x="1359" y="283"/>
                    </a:cubicBezTo>
                    <a:cubicBezTo>
                      <a:pt x="1360" y="282"/>
                      <a:pt x="1360" y="282"/>
                      <a:pt x="1362" y="282"/>
                    </a:cubicBezTo>
                    <a:cubicBezTo>
                      <a:pt x="1362" y="282"/>
                      <a:pt x="1363" y="282"/>
                      <a:pt x="1363" y="282"/>
                    </a:cubicBezTo>
                    <a:cubicBezTo>
                      <a:pt x="1364" y="282"/>
                      <a:pt x="1365" y="283"/>
                      <a:pt x="1365" y="283"/>
                    </a:cubicBezTo>
                    <a:cubicBezTo>
                      <a:pt x="1366" y="283"/>
                      <a:pt x="1366" y="281"/>
                      <a:pt x="1366" y="280"/>
                    </a:cubicBezTo>
                    <a:cubicBezTo>
                      <a:pt x="1367" y="278"/>
                      <a:pt x="1368" y="276"/>
                      <a:pt x="1370" y="274"/>
                    </a:cubicBezTo>
                    <a:cubicBezTo>
                      <a:pt x="1371" y="272"/>
                      <a:pt x="1372" y="269"/>
                      <a:pt x="1373" y="267"/>
                    </a:cubicBezTo>
                    <a:cubicBezTo>
                      <a:pt x="1374" y="265"/>
                      <a:pt x="1375" y="264"/>
                      <a:pt x="1375" y="261"/>
                    </a:cubicBezTo>
                    <a:cubicBezTo>
                      <a:pt x="1375" y="258"/>
                      <a:pt x="1375" y="255"/>
                      <a:pt x="1375" y="252"/>
                    </a:cubicBezTo>
                    <a:cubicBezTo>
                      <a:pt x="1375" y="251"/>
                      <a:pt x="1375" y="250"/>
                      <a:pt x="1374" y="249"/>
                    </a:cubicBezTo>
                    <a:cubicBezTo>
                      <a:pt x="1373" y="248"/>
                      <a:pt x="1370" y="247"/>
                      <a:pt x="1371" y="246"/>
                    </a:cubicBezTo>
                    <a:cubicBezTo>
                      <a:pt x="1372" y="245"/>
                      <a:pt x="1373" y="246"/>
                      <a:pt x="1374" y="246"/>
                    </a:cubicBezTo>
                    <a:cubicBezTo>
                      <a:pt x="1376" y="247"/>
                      <a:pt x="1378" y="248"/>
                      <a:pt x="1380" y="249"/>
                    </a:cubicBezTo>
                    <a:cubicBezTo>
                      <a:pt x="1382" y="250"/>
                      <a:pt x="1384" y="253"/>
                      <a:pt x="1385" y="256"/>
                    </a:cubicBezTo>
                    <a:cubicBezTo>
                      <a:pt x="1386" y="258"/>
                      <a:pt x="1388" y="258"/>
                      <a:pt x="1389" y="259"/>
                    </a:cubicBezTo>
                    <a:cubicBezTo>
                      <a:pt x="1392" y="260"/>
                      <a:pt x="1395" y="261"/>
                      <a:pt x="1397" y="263"/>
                    </a:cubicBezTo>
                    <a:cubicBezTo>
                      <a:pt x="1400" y="264"/>
                      <a:pt x="1402" y="266"/>
                      <a:pt x="1405" y="266"/>
                    </a:cubicBezTo>
                    <a:cubicBezTo>
                      <a:pt x="1408" y="267"/>
                      <a:pt x="1413" y="265"/>
                      <a:pt x="1415" y="264"/>
                    </a:cubicBezTo>
                    <a:cubicBezTo>
                      <a:pt x="1416" y="262"/>
                      <a:pt x="1417" y="260"/>
                      <a:pt x="1418" y="259"/>
                    </a:cubicBezTo>
                    <a:cubicBezTo>
                      <a:pt x="1420" y="255"/>
                      <a:pt x="1419" y="250"/>
                      <a:pt x="1418" y="246"/>
                    </a:cubicBezTo>
                    <a:cubicBezTo>
                      <a:pt x="1417" y="244"/>
                      <a:pt x="1417" y="242"/>
                      <a:pt x="1416" y="240"/>
                    </a:cubicBezTo>
                    <a:cubicBezTo>
                      <a:pt x="1416" y="238"/>
                      <a:pt x="1415" y="237"/>
                      <a:pt x="1415" y="235"/>
                    </a:cubicBezTo>
                    <a:cubicBezTo>
                      <a:pt x="1415" y="233"/>
                      <a:pt x="1414" y="232"/>
                      <a:pt x="1414" y="230"/>
                    </a:cubicBezTo>
                    <a:cubicBezTo>
                      <a:pt x="1413" y="229"/>
                      <a:pt x="1413" y="227"/>
                      <a:pt x="1412" y="226"/>
                    </a:cubicBezTo>
                    <a:cubicBezTo>
                      <a:pt x="1410" y="224"/>
                      <a:pt x="1407" y="227"/>
                      <a:pt x="1405" y="227"/>
                    </a:cubicBezTo>
                    <a:cubicBezTo>
                      <a:pt x="1403" y="227"/>
                      <a:pt x="1401" y="226"/>
                      <a:pt x="1400" y="226"/>
                    </a:cubicBezTo>
                    <a:cubicBezTo>
                      <a:pt x="1398" y="225"/>
                      <a:pt x="1397" y="224"/>
                      <a:pt x="1396" y="223"/>
                    </a:cubicBezTo>
                    <a:cubicBezTo>
                      <a:pt x="1396" y="223"/>
                      <a:pt x="1396" y="222"/>
                      <a:pt x="1396" y="222"/>
                    </a:cubicBezTo>
                    <a:cubicBezTo>
                      <a:pt x="1394" y="221"/>
                      <a:pt x="1392" y="223"/>
                      <a:pt x="1390" y="223"/>
                    </a:cubicBezTo>
                    <a:cubicBezTo>
                      <a:pt x="1386" y="222"/>
                      <a:pt x="1390" y="218"/>
                      <a:pt x="1390" y="215"/>
                    </a:cubicBezTo>
                    <a:cubicBezTo>
                      <a:pt x="1390" y="214"/>
                      <a:pt x="1384" y="212"/>
                      <a:pt x="1383" y="212"/>
                    </a:cubicBezTo>
                    <a:cubicBezTo>
                      <a:pt x="1381" y="211"/>
                      <a:pt x="1376" y="210"/>
                      <a:pt x="1374" y="213"/>
                    </a:cubicBezTo>
                    <a:cubicBezTo>
                      <a:pt x="1372" y="217"/>
                      <a:pt x="1377" y="220"/>
                      <a:pt x="1376" y="224"/>
                    </a:cubicBezTo>
                    <a:cubicBezTo>
                      <a:pt x="1375" y="224"/>
                      <a:pt x="1373" y="224"/>
                      <a:pt x="1372" y="224"/>
                    </a:cubicBezTo>
                    <a:cubicBezTo>
                      <a:pt x="1372" y="226"/>
                      <a:pt x="1373" y="228"/>
                      <a:pt x="1373" y="229"/>
                    </a:cubicBezTo>
                    <a:cubicBezTo>
                      <a:pt x="1374" y="230"/>
                      <a:pt x="1374" y="234"/>
                      <a:pt x="1373" y="235"/>
                    </a:cubicBezTo>
                    <a:cubicBezTo>
                      <a:pt x="1372" y="234"/>
                      <a:pt x="1373" y="233"/>
                      <a:pt x="1372" y="232"/>
                    </a:cubicBezTo>
                    <a:cubicBezTo>
                      <a:pt x="1371" y="231"/>
                      <a:pt x="1371" y="231"/>
                      <a:pt x="1370" y="230"/>
                    </a:cubicBezTo>
                    <a:cubicBezTo>
                      <a:pt x="1369" y="230"/>
                      <a:pt x="1367" y="229"/>
                      <a:pt x="1367" y="228"/>
                    </a:cubicBezTo>
                    <a:cubicBezTo>
                      <a:pt x="1367" y="226"/>
                      <a:pt x="1369" y="226"/>
                      <a:pt x="1370" y="225"/>
                    </a:cubicBezTo>
                    <a:cubicBezTo>
                      <a:pt x="1371" y="224"/>
                      <a:pt x="1372" y="223"/>
                      <a:pt x="1371" y="222"/>
                    </a:cubicBezTo>
                    <a:cubicBezTo>
                      <a:pt x="1371" y="221"/>
                      <a:pt x="1370" y="221"/>
                      <a:pt x="1370" y="220"/>
                    </a:cubicBezTo>
                    <a:cubicBezTo>
                      <a:pt x="1368" y="218"/>
                      <a:pt x="1369" y="218"/>
                      <a:pt x="1371" y="218"/>
                    </a:cubicBezTo>
                    <a:cubicBezTo>
                      <a:pt x="1372" y="218"/>
                      <a:pt x="1373" y="216"/>
                      <a:pt x="1373" y="215"/>
                    </a:cubicBezTo>
                    <a:cubicBezTo>
                      <a:pt x="1373" y="214"/>
                      <a:pt x="1371" y="213"/>
                      <a:pt x="1370" y="213"/>
                    </a:cubicBezTo>
                    <a:cubicBezTo>
                      <a:pt x="1369" y="211"/>
                      <a:pt x="1368" y="210"/>
                      <a:pt x="1367" y="209"/>
                    </a:cubicBezTo>
                    <a:cubicBezTo>
                      <a:pt x="1365" y="207"/>
                      <a:pt x="1362" y="207"/>
                      <a:pt x="1359" y="208"/>
                    </a:cubicBezTo>
                    <a:cubicBezTo>
                      <a:pt x="1357" y="208"/>
                      <a:pt x="1355" y="208"/>
                      <a:pt x="1353" y="208"/>
                    </a:cubicBezTo>
                    <a:cubicBezTo>
                      <a:pt x="1352" y="207"/>
                      <a:pt x="1350" y="207"/>
                      <a:pt x="1349" y="207"/>
                    </a:cubicBezTo>
                    <a:cubicBezTo>
                      <a:pt x="1348" y="207"/>
                      <a:pt x="1348" y="206"/>
                      <a:pt x="1347" y="206"/>
                    </a:cubicBezTo>
                    <a:cubicBezTo>
                      <a:pt x="1346" y="206"/>
                      <a:pt x="1345" y="206"/>
                      <a:pt x="1344" y="206"/>
                    </a:cubicBezTo>
                    <a:cubicBezTo>
                      <a:pt x="1342" y="206"/>
                      <a:pt x="1342" y="205"/>
                      <a:pt x="1341" y="204"/>
                    </a:cubicBezTo>
                    <a:cubicBezTo>
                      <a:pt x="1341" y="204"/>
                      <a:pt x="1340" y="204"/>
                      <a:pt x="1340" y="204"/>
                    </a:cubicBezTo>
                    <a:cubicBezTo>
                      <a:pt x="1339" y="203"/>
                      <a:pt x="1339" y="203"/>
                      <a:pt x="1339" y="202"/>
                    </a:cubicBezTo>
                    <a:cubicBezTo>
                      <a:pt x="1338" y="202"/>
                      <a:pt x="1338" y="202"/>
                      <a:pt x="1338" y="202"/>
                    </a:cubicBezTo>
                    <a:cubicBezTo>
                      <a:pt x="1339" y="202"/>
                      <a:pt x="1339" y="202"/>
                      <a:pt x="1339" y="200"/>
                    </a:cubicBezTo>
                    <a:cubicBezTo>
                      <a:pt x="1340" y="195"/>
                      <a:pt x="1338" y="195"/>
                      <a:pt x="1335" y="193"/>
                    </a:cubicBezTo>
                    <a:cubicBezTo>
                      <a:pt x="1325" y="188"/>
                      <a:pt x="1314" y="183"/>
                      <a:pt x="1303" y="180"/>
                    </a:cubicBezTo>
                    <a:cubicBezTo>
                      <a:pt x="1298" y="179"/>
                      <a:pt x="1295" y="177"/>
                      <a:pt x="1295" y="174"/>
                    </a:cubicBezTo>
                    <a:cubicBezTo>
                      <a:pt x="1307" y="173"/>
                      <a:pt x="1320" y="172"/>
                      <a:pt x="1332" y="174"/>
                    </a:cubicBezTo>
                    <a:cubicBezTo>
                      <a:pt x="1338" y="174"/>
                      <a:pt x="1346" y="173"/>
                      <a:pt x="1352" y="175"/>
                    </a:cubicBezTo>
                    <a:cubicBezTo>
                      <a:pt x="1355" y="176"/>
                      <a:pt x="1356" y="178"/>
                      <a:pt x="1359" y="178"/>
                    </a:cubicBezTo>
                    <a:cubicBezTo>
                      <a:pt x="1361" y="178"/>
                      <a:pt x="1363" y="178"/>
                      <a:pt x="1365" y="178"/>
                    </a:cubicBezTo>
                    <a:cubicBezTo>
                      <a:pt x="1369" y="178"/>
                      <a:pt x="1377" y="179"/>
                      <a:pt x="1381" y="178"/>
                    </a:cubicBezTo>
                    <a:cubicBezTo>
                      <a:pt x="1382" y="177"/>
                      <a:pt x="1386" y="174"/>
                      <a:pt x="1387" y="172"/>
                    </a:cubicBezTo>
                    <a:cubicBezTo>
                      <a:pt x="1390" y="169"/>
                      <a:pt x="1389" y="164"/>
                      <a:pt x="1392" y="162"/>
                    </a:cubicBezTo>
                    <a:cubicBezTo>
                      <a:pt x="1393" y="161"/>
                      <a:pt x="1397" y="161"/>
                      <a:pt x="1399" y="160"/>
                    </a:cubicBezTo>
                    <a:cubicBezTo>
                      <a:pt x="1401" y="159"/>
                      <a:pt x="1404" y="157"/>
                      <a:pt x="1406" y="156"/>
                    </a:cubicBezTo>
                    <a:cubicBezTo>
                      <a:pt x="1407" y="155"/>
                      <a:pt x="1406" y="154"/>
                      <a:pt x="1407" y="154"/>
                    </a:cubicBezTo>
                    <a:cubicBezTo>
                      <a:pt x="1408" y="154"/>
                      <a:pt x="1409" y="154"/>
                      <a:pt x="1410" y="154"/>
                    </a:cubicBezTo>
                    <a:cubicBezTo>
                      <a:pt x="1412" y="153"/>
                      <a:pt x="1411" y="151"/>
                      <a:pt x="1413" y="149"/>
                    </a:cubicBezTo>
                    <a:cubicBezTo>
                      <a:pt x="1416" y="146"/>
                      <a:pt x="1420" y="149"/>
                      <a:pt x="1423" y="146"/>
                    </a:cubicBezTo>
                    <a:cubicBezTo>
                      <a:pt x="1429" y="142"/>
                      <a:pt x="1419" y="130"/>
                      <a:pt x="1418" y="124"/>
                    </a:cubicBezTo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  <p:sp>
            <p:nvSpPr>
              <p:cNvPr id="623" name="Freeform 139">
                <a:extLst>
                  <a:ext uri="{FF2B5EF4-FFF2-40B4-BE49-F238E27FC236}">
                    <a16:creationId xmlns:a16="http://schemas.microsoft.com/office/drawing/2014/main" id="{0AEDDF38-91A7-43B6-89EA-DB93330C2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0138" y="6602413"/>
                <a:ext cx="34925" cy="20638"/>
              </a:xfrm>
              <a:custGeom>
                <a:avLst/>
                <a:gdLst/>
                <a:ahLst/>
                <a:cxnLst>
                  <a:cxn ang="0">
                    <a:pos x="16" y="2"/>
                  </a:cxn>
                  <a:cxn ang="0">
                    <a:pos x="3" y="3"/>
                  </a:cxn>
                  <a:cxn ang="0">
                    <a:pos x="1" y="7"/>
                  </a:cxn>
                  <a:cxn ang="0">
                    <a:pos x="5" y="10"/>
                  </a:cxn>
                  <a:cxn ang="0">
                    <a:pos x="14" y="11"/>
                  </a:cxn>
                  <a:cxn ang="0">
                    <a:pos x="17" y="7"/>
                  </a:cxn>
                  <a:cxn ang="0">
                    <a:pos x="19" y="3"/>
                  </a:cxn>
                  <a:cxn ang="0">
                    <a:pos x="16" y="2"/>
                  </a:cxn>
                </a:cxnLst>
                <a:rect l="0" t="0" r="r" b="b"/>
                <a:pathLst>
                  <a:path w="19" h="11">
                    <a:moveTo>
                      <a:pt x="16" y="2"/>
                    </a:moveTo>
                    <a:cubicBezTo>
                      <a:pt x="12" y="0"/>
                      <a:pt x="6" y="0"/>
                      <a:pt x="3" y="3"/>
                    </a:cubicBezTo>
                    <a:cubicBezTo>
                      <a:pt x="2" y="4"/>
                      <a:pt x="0" y="5"/>
                      <a:pt x="1" y="7"/>
                    </a:cubicBezTo>
                    <a:cubicBezTo>
                      <a:pt x="1" y="9"/>
                      <a:pt x="3" y="9"/>
                      <a:pt x="5" y="10"/>
                    </a:cubicBezTo>
                    <a:cubicBezTo>
                      <a:pt x="7" y="11"/>
                      <a:pt x="11" y="11"/>
                      <a:pt x="14" y="11"/>
                    </a:cubicBezTo>
                    <a:cubicBezTo>
                      <a:pt x="15" y="10"/>
                      <a:pt x="15" y="9"/>
                      <a:pt x="17" y="7"/>
                    </a:cubicBezTo>
                    <a:cubicBezTo>
                      <a:pt x="19" y="6"/>
                      <a:pt x="19" y="6"/>
                      <a:pt x="19" y="3"/>
                    </a:cubicBezTo>
                    <a:lnTo>
                      <a:pt x="16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latin typeface="+mn-lt"/>
                </a:endParaRPr>
              </a:p>
            </p:txBody>
          </p:sp>
        </p:grpSp>
      </p:grpSp>
      <p:sp>
        <p:nvSpPr>
          <p:cNvPr id="625" name="Oval 7">
            <a:extLst>
              <a:ext uri="{FF2B5EF4-FFF2-40B4-BE49-F238E27FC236}">
                <a16:creationId xmlns:a16="http://schemas.microsoft.com/office/drawing/2014/main" id="{33D1CBF3-10D9-41F2-9783-BF8E9B7EFB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0069" y="3648759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626" name="Gruppieren 625">
            <a:extLst>
              <a:ext uri="{FF2B5EF4-FFF2-40B4-BE49-F238E27FC236}">
                <a16:creationId xmlns:a16="http://schemas.microsoft.com/office/drawing/2014/main" id="{9A01C681-A4D1-4EEF-BDBA-885826394288}"/>
              </a:ext>
            </a:extLst>
          </p:cNvPr>
          <p:cNvGrpSpPr/>
          <p:nvPr/>
        </p:nvGrpSpPr>
        <p:grpSpPr>
          <a:xfrm>
            <a:off x="7013897" y="3846587"/>
            <a:ext cx="492344" cy="324343"/>
            <a:chOff x="3363913" y="1768476"/>
            <a:chExt cx="2416175" cy="1601788"/>
          </a:xfrm>
          <a:solidFill>
            <a:schemeClr val="accent3"/>
          </a:solidFill>
        </p:grpSpPr>
        <p:sp>
          <p:nvSpPr>
            <p:cNvPr id="627" name="Rectangle 14">
              <a:extLst>
                <a:ext uri="{FF2B5EF4-FFF2-40B4-BE49-F238E27FC236}">
                  <a16:creationId xmlns:a16="http://schemas.microsoft.com/office/drawing/2014/main" id="{BED61AC4-8AEF-4C2B-9A90-D14414C979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7776" y="3262313"/>
              <a:ext cx="539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28" name="Rectangle 15">
              <a:extLst>
                <a:ext uri="{FF2B5EF4-FFF2-40B4-BE49-F238E27FC236}">
                  <a16:creationId xmlns:a16="http://schemas.microsoft.com/office/drawing/2014/main" id="{A8095147-B637-4B03-BB62-D85FE001DE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813" y="3262313"/>
              <a:ext cx="114300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29" name="Rectangle 16">
              <a:extLst>
                <a:ext uri="{FF2B5EF4-FFF2-40B4-BE49-F238E27FC236}">
                  <a16:creationId xmlns:a16="http://schemas.microsoft.com/office/drawing/2014/main" id="{DC41887F-AA87-4B6F-AB16-AF3C358A08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4038" y="3262313"/>
              <a:ext cx="114300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30" name="Rectangle 17">
              <a:extLst>
                <a:ext uri="{FF2B5EF4-FFF2-40B4-BE49-F238E27FC236}">
                  <a16:creationId xmlns:a16="http://schemas.microsoft.com/office/drawing/2014/main" id="{4AC1002E-B228-4784-AE87-5A0F502542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6001" y="3262313"/>
              <a:ext cx="1174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31" name="Rectangle 18">
              <a:extLst>
                <a:ext uri="{FF2B5EF4-FFF2-40B4-BE49-F238E27FC236}">
                  <a16:creationId xmlns:a16="http://schemas.microsoft.com/office/drawing/2014/main" id="{2974DC7D-CE3F-490B-A3CD-5A0B4F0D3D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2588" y="3262313"/>
              <a:ext cx="539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32" name="Freeform 19">
              <a:extLst>
                <a:ext uri="{FF2B5EF4-FFF2-40B4-BE49-F238E27FC236}">
                  <a16:creationId xmlns:a16="http://schemas.microsoft.com/office/drawing/2014/main" id="{1456B827-1164-4805-A380-64A8A76CD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913" y="1768476"/>
              <a:ext cx="2416175" cy="1601788"/>
            </a:xfrm>
            <a:custGeom>
              <a:avLst/>
              <a:gdLst>
                <a:gd name="T0" fmla="*/ 828 w 887"/>
                <a:gd name="T1" fmla="*/ 232 h 590"/>
                <a:gd name="T2" fmla="*/ 704 w 887"/>
                <a:gd name="T3" fmla="*/ 185 h 590"/>
                <a:gd name="T4" fmla="*/ 78 w 887"/>
                <a:gd name="T5" fmla="*/ 185 h 590"/>
                <a:gd name="T6" fmla="*/ 233 w 887"/>
                <a:gd name="T7" fmla="*/ 36 h 590"/>
                <a:gd name="T8" fmla="*/ 233 w 887"/>
                <a:gd name="T9" fmla="*/ 8 h 590"/>
                <a:gd name="T10" fmla="*/ 205 w 887"/>
                <a:gd name="T11" fmla="*/ 7 h 590"/>
                <a:gd name="T12" fmla="*/ 0 w 887"/>
                <a:gd name="T13" fmla="*/ 205 h 590"/>
                <a:gd name="T14" fmla="*/ 205 w 887"/>
                <a:gd name="T15" fmla="*/ 402 h 590"/>
                <a:gd name="T16" fmla="*/ 219 w 887"/>
                <a:gd name="T17" fmla="*/ 407 h 590"/>
                <a:gd name="T18" fmla="*/ 233 w 887"/>
                <a:gd name="T19" fmla="*/ 401 h 590"/>
                <a:gd name="T20" fmla="*/ 233 w 887"/>
                <a:gd name="T21" fmla="*/ 373 h 590"/>
                <a:gd name="T22" fmla="*/ 78 w 887"/>
                <a:gd name="T23" fmla="*/ 225 h 590"/>
                <a:gd name="T24" fmla="*/ 704 w 887"/>
                <a:gd name="T25" fmla="*/ 225 h 590"/>
                <a:gd name="T26" fmla="*/ 705 w 887"/>
                <a:gd name="T27" fmla="*/ 225 h 590"/>
                <a:gd name="T28" fmla="*/ 800 w 887"/>
                <a:gd name="T29" fmla="*/ 261 h 590"/>
                <a:gd name="T30" fmla="*/ 847 w 887"/>
                <a:gd name="T31" fmla="*/ 396 h 590"/>
                <a:gd name="T32" fmla="*/ 704 w 887"/>
                <a:gd name="T33" fmla="*/ 550 h 590"/>
                <a:gd name="T34" fmla="*/ 676 w 887"/>
                <a:gd name="T35" fmla="*/ 550 h 590"/>
                <a:gd name="T36" fmla="*/ 676 w 887"/>
                <a:gd name="T37" fmla="*/ 590 h 590"/>
                <a:gd name="T38" fmla="*/ 704 w 887"/>
                <a:gd name="T39" fmla="*/ 590 h 590"/>
                <a:gd name="T40" fmla="*/ 864 w 887"/>
                <a:gd name="T41" fmla="*/ 491 h 590"/>
                <a:gd name="T42" fmla="*/ 887 w 887"/>
                <a:gd name="T43" fmla="*/ 396 h 590"/>
                <a:gd name="T44" fmla="*/ 828 w 887"/>
                <a:gd name="T45" fmla="*/ 232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87" h="590">
                  <a:moveTo>
                    <a:pt x="828" y="232"/>
                  </a:moveTo>
                  <a:cubicBezTo>
                    <a:pt x="777" y="184"/>
                    <a:pt x="711" y="185"/>
                    <a:pt x="704" y="185"/>
                  </a:cubicBezTo>
                  <a:cubicBezTo>
                    <a:pt x="78" y="185"/>
                    <a:pt x="78" y="185"/>
                    <a:pt x="78" y="185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41" y="28"/>
                    <a:pt x="241" y="16"/>
                    <a:pt x="233" y="8"/>
                  </a:cubicBezTo>
                  <a:cubicBezTo>
                    <a:pt x="225" y="0"/>
                    <a:pt x="213" y="0"/>
                    <a:pt x="205" y="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205" y="402"/>
                    <a:pt x="205" y="402"/>
                    <a:pt x="205" y="402"/>
                  </a:cubicBezTo>
                  <a:cubicBezTo>
                    <a:pt x="209" y="406"/>
                    <a:pt x="214" y="407"/>
                    <a:pt x="219" y="407"/>
                  </a:cubicBezTo>
                  <a:cubicBezTo>
                    <a:pt x="224" y="407"/>
                    <a:pt x="229" y="405"/>
                    <a:pt x="233" y="401"/>
                  </a:cubicBezTo>
                  <a:cubicBezTo>
                    <a:pt x="241" y="393"/>
                    <a:pt x="241" y="381"/>
                    <a:pt x="233" y="373"/>
                  </a:cubicBezTo>
                  <a:cubicBezTo>
                    <a:pt x="78" y="225"/>
                    <a:pt x="78" y="225"/>
                    <a:pt x="78" y="225"/>
                  </a:cubicBezTo>
                  <a:cubicBezTo>
                    <a:pt x="704" y="225"/>
                    <a:pt x="704" y="225"/>
                    <a:pt x="704" y="225"/>
                  </a:cubicBezTo>
                  <a:cubicBezTo>
                    <a:pt x="705" y="225"/>
                    <a:pt x="705" y="225"/>
                    <a:pt x="705" y="225"/>
                  </a:cubicBezTo>
                  <a:cubicBezTo>
                    <a:pt x="706" y="225"/>
                    <a:pt x="759" y="222"/>
                    <a:pt x="800" y="261"/>
                  </a:cubicBezTo>
                  <a:cubicBezTo>
                    <a:pt x="831" y="290"/>
                    <a:pt x="847" y="336"/>
                    <a:pt x="847" y="396"/>
                  </a:cubicBezTo>
                  <a:cubicBezTo>
                    <a:pt x="847" y="402"/>
                    <a:pt x="844" y="550"/>
                    <a:pt x="704" y="550"/>
                  </a:cubicBezTo>
                  <a:cubicBezTo>
                    <a:pt x="676" y="550"/>
                    <a:pt x="676" y="550"/>
                    <a:pt x="676" y="550"/>
                  </a:cubicBezTo>
                  <a:cubicBezTo>
                    <a:pt x="676" y="590"/>
                    <a:pt x="676" y="590"/>
                    <a:pt x="676" y="590"/>
                  </a:cubicBezTo>
                  <a:cubicBezTo>
                    <a:pt x="704" y="590"/>
                    <a:pt x="704" y="590"/>
                    <a:pt x="704" y="590"/>
                  </a:cubicBezTo>
                  <a:cubicBezTo>
                    <a:pt x="799" y="590"/>
                    <a:pt x="843" y="536"/>
                    <a:pt x="864" y="491"/>
                  </a:cubicBezTo>
                  <a:cubicBezTo>
                    <a:pt x="886" y="445"/>
                    <a:pt x="887" y="398"/>
                    <a:pt x="887" y="396"/>
                  </a:cubicBezTo>
                  <a:cubicBezTo>
                    <a:pt x="887" y="324"/>
                    <a:pt x="867" y="269"/>
                    <a:pt x="828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634" name="Oval 8">
            <a:extLst>
              <a:ext uri="{FF2B5EF4-FFF2-40B4-BE49-F238E27FC236}">
                <a16:creationId xmlns:a16="http://schemas.microsoft.com/office/drawing/2014/main" id="{2994F290-E355-42C5-B572-575A7AF354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2253" y="1429873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635" name="Gruppieren 634">
            <a:extLst>
              <a:ext uri="{FF2B5EF4-FFF2-40B4-BE49-F238E27FC236}">
                <a16:creationId xmlns:a16="http://schemas.microsoft.com/office/drawing/2014/main" id="{524C02D1-29EF-482E-ADFC-24FAF240D0E6}"/>
              </a:ext>
            </a:extLst>
          </p:cNvPr>
          <p:cNvGrpSpPr/>
          <p:nvPr/>
        </p:nvGrpSpPr>
        <p:grpSpPr>
          <a:xfrm>
            <a:off x="8095183" y="1684677"/>
            <a:ext cx="534141" cy="210392"/>
            <a:chOff x="1504868" y="1362965"/>
            <a:chExt cx="1143979" cy="454025"/>
          </a:xfrm>
          <a:solidFill>
            <a:schemeClr val="accent3"/>
          </a:solidFill>
        </p:grpSpPr>
        <p:grpSp>
          <p:nvGrpSpPr>
            <p:cNvPr id="636" name="Group 250">
              <a:extLst>
                <a:ext uri="{FF2B5EF4-FFF2-40B4-BE49-F238E27FC236}">
                  <a16:creationId xmlns:a16="http://schemas.microsoft.com/office/drawing/2014/main" id="{04244012-5454-4DF7-9ADD-84CEBC674BF1}"/>
                </a:ext>
              </a:extLst>
            </p:cNvPr>
            <p:cNvGrpSpPr/>
            <p:nvPr/>
          </p:nvGrpSpPr>
          <p:grpSpPr>
            <a:xfrm>
              <a:off x="1504868" y="1362965"/>
              <a:ext cx="1143979" cy="454025"/>
              <a:chOff x="-2701925" y="2127250"/>
              <a:chExt cx="1323975" cy="525463"/>
            </a:xfrm>
            <a:grpFill/>
          </p:grpSpPr>
          <p:sp>
            <p:nvSpPr>
              <p:cNvPr id="638" name="Freeform 44">
                <a:extLst>
                  <a:ext uri="{FF2B5EF4-FFF2-40B4-BE49-F238E27FC236}">
                    <a16:creationId xmlns:a16="http://schemas.microsoft.com/office/drawing/2014/main" id="{389FFDF4-EC4B-4264-830D-E8FB3AA1ED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278063" y="2462213"/>
                <a:ext cx="184150" cy="190500"/>
              </a:xfrm>
              <a:custGeom>
                <a:avLst/>
                <a:gdLst>
                  <a:gd name="T0" fmla="*/ 49 w 49"/>
                  <a:gd name="T1" fmla="*/ 25 h 51"/>
                  <a:gd name="T2" fmla="*/ 25 w 49"/>
                  <a:gd name="T3" fmla="*/ 0 h 51"/>
                  <a:gd name="T4" fmla="*/ 0 w 49"/>
                  <a:gd name="T5" fmla="*/ 25 h 51"/>
                  <a:gd name="T6" fmla="*/ 25 w 49"/>
                  <a:gd name="T7" fmla="*/ 51 h 51"/>
                  <a:gd name="T8" fmla="*/ 49 w 49"/>
                  <a:gd name="T9" fmla="*/ 25 h 51"/>
                  <a:gd name="T10" fmla="*/ 36 w 49"/>
                  <a:gd name="T11" fmla="*/ 25 h 51"/>
                  <a:gd name="T12" fmla="*/ 25 w 49"/>
                  <a:gd name="T13" fmla="*/ 37 h 51"/>
                  <a:gd name="T14" fmla="*/ 15 w 49"/>
                  <a:gd name="T15" fmla="*/ 25 h 51"/>
                  <a:gd name="T16" fmla="*/ 25 w 49"/>
                  <a:gd name="T17" fmla="*/ 14 h 51"/>
                  <a:gd name="T18" fmla="*/ 36 w 49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51">
                    <a:moveTo>
                      <a:pt x="49" y="25"/>
                    </a:moveTo>
                    <a:cubicBezTo>
                      <a:pt x="49" y="12"/>
                      <a:pt x="38" y="0"/>
                      <a:pt x="25" y="0"/>
                    </a:cubicBezTo>
                    <a:cubicBezTo>
                      <a:pt x="12" y="0"/>
                      <a:pt x="0" y="12"/>
                      <a:pt x="0" y="25"/>
                    </a:cubicBezTo>
                    <a:cubicBezTo>
                      <a:pt x="0" y="39"/>
                      <a:pt x="12" y="51"/>
                      <a:pt x="25" y="51"/>
                    </a:cubicBezTo>
                    <a:cubicBezTo>
                      <a:pt x="38" y="51"/>
                      <a:pt x="49" y="39"/>
                      <a:pt x="49" y="25"/>
                    </a:cubicBezTo>
                    <a:close/>
                    <a:moveTo>
                      <a:pt x="36" y="25"/>
                    </a:moveTo>
                    <a:cubicBezTo>
                      <a:pt x="36" y="32"/>
                      <a:pt x="31" y="37"/>
                      <a:pt x="25" y="37"/>
                    </a:cubicBezTo>
                    <a:cubicBezTo>
                      <a:pt x="19" y="37"/>
                      <a:pt x="15" y="32"/>
                      <a:pt x="15" y="25"/>
                    </a:cubicBezTo>
                    <a:cubicBezTo>
                      <a:pt x="15" y="19"/>
                      <a:pt x="19" y="14"/>
                      <a:pt x="25" y="14"/>
                    </a:cubicBezTo>
                    <a:cubicBezTo>
                      <a:pt x="31" y="14"/>
                      <a:pt x="36" y="19"/>
                      <a:pt x="36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39" name="Freeform 45">
                <a:extLst>
                  <a:ext uri="{FF2B5EF4-FFF2-40B4-BE49-F238E27FC236}">
                    <a16:creationId xmlns:a16="http://schemas.microsoft.com/office/drawing/2014/main" id="{C26AFD3D-EEFD-4B87-AF30-7E25E6D699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636713" y="2462213"/>
                <a:ext cx="179388" cy="190500"/>
              </a:xfrm>
              <a:custGeom>
                <a:avLst/>
                <a:gdLst>
                  <a:gd name="T0" fmla="*/ 48 w 48"/>
                  <a:gd name="T1" fmla="*/ 25 h 51"/>
                  <a:gd name="T2" fmla="*/ 23 w 48"/>
                  <a:gd name="T3" fmla="*/ 0 h 51"/>
                  <a:gd name="T4" fmla="*/ 0 w 48"/>
                  <a:gd name="T5" fmla="*/ 25 h 51"/>
                  <a:gd name="T6" fmla="*/ 23 w 48"/>
                  <a:gd name="T7" fmla="*/ 51 h 51"/>
                  <a:gd name="T8" fmla="*/ 48 w 48"/>
                  <a:gd name="T9" fmla="*/ 25 h 51"/>
                  <a:gd name="T10" fmla="*/ 35 w 48"/>
                  <a:gd name="T11" fmla="*/ 25 h 51"/>
                  <a:gd name="T12" fmla="*/ 23 w 48"/>
                  <a:gd name="T13" fmla="*/ 37 h 51"/>
                  <a:gd name="T14" fmla="*/ 13 w 48"/>
                  <a:gd name="T15" fmla="*/ 25 h 51"/>
                  <a:gd name="T16" fmla="*/ 23 w 48"/>
                  <a:gd name="T17" fmla="*/ 14 h 51"/>
                  <a:gd name="T18" fmla="*/ 35 w 48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51">
                    <a:moveTo>
                      <a:pt x="48" y="25"/>
                    </a:moveTo>
                    <a:cubicBezTo>
                      <a:pt x="48" y="12"/>
                      <a:pt x="37" y="0"/>
                      <a:pt x="23" y="0"/>
                    </a:cubicBezTo>
                    <a:cubicBezTo>
                      <a:pt x="10" y="0"/>
                      <a:pt x="0" y="12"/>
                      <a:pt x="0" y="25"/>
                    </a:cubicBezTo>
                    <a:cubicBezTo>
                      <a:pt x="0" y="39"/>
                      <a:pt x="10" y="51"/>
                      <a:pt x="23" y="51"/>
                    </a:cubicBezTo>
                    <a:cubicBezTo>
                      <a:pt x="37" y="51"/>
                      <a:pt x="48" y="39"/>
                      <a:pt x="48" y="25"/>
                    </a:cubicBezTo>
                    <a:close/>
                    <a:moveTo>
                      <a:pt x="35" y="25"/>
                    </a:moveTo>
                    <a:cubicBezTo>
                      <a:pt x="35" y="32"/>
                      <a:pt x="29" y="37"/>
                      <a:pt x="23" y="37"/>
                    </a:cubicBezTo>
                    <a:cubicBezTo>
                      <a:pt x="17" y="37"/>
                      <a:pt x="13" y="32"/>
                      <a:pt x="13" y="25"/>
                    </a:cubicBezTo>
                    <a:cubicBezTo>
                      <a:pt x="13" y="19"/>
                      <a:pt x="17" y="14"/>
                      <a:pt x="23" y="14"/>
                    </a:cubicBezTo>
                    <a:cubicBezTo>
                      <a:pt x="29" y="14"/>
                      <a:pt x="35" y="19"/>
                      <a:pt x="35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40" name="Freeform 46">
                <a:extLst>
                  <a:ext uri="{FF2B5EF4-FFF2-40B4-BE49-F238E27FC236}">
                    <a16:creationId xmlns:a16="http://schemas.microsoft.com/office/drawing/2014/main" id="{8128D6B1-0D78-49F0-BE21-B4E415215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38388" y="2473325"/>
                <a:ext cx="79375" cy="82550"/>
              </a:xfrm>
              <a:custGeom>
                <a:avLst/>
                <a:gdLst>
                  <a:gd name="T0" fmla="*/ 0 w 21"/>
                  <a:gd name="T1" fmla="*/ 0 h 22"/>
                  <a:gd name="T2" fmla="*/ 0 w 21"/>
                  <a:gd name="T3" fmla="*/ 20 h 22"/>
                  <a:gd name="T4" fmla="*/ 4 w 21"/>
                  <a:gd name="T5" fmla="*/ 22 h 22"/>
                  <a:gd name="T6" fmla="*/ 11 w 21"/>
                  <a:gd name="T7" fmla="*/ 22 h 22"/>
                  <a:gd name="T8" fmla="*/ 11 w 21"/>
                  <a:gd name="T9" fmla="*/ 22 h 22"/>
                  <a:gd name="T10" fmla="*/ 21 w 21"/>
                  <a:gd name="T11" fmla="*/ 0 h 22"/>
                  <a:gd name="T12" fmla="*/ 0 w 21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2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2"/>
                      <a:pt x="4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13"/>
                      <a:pt x="15" y="5"/>
                      <a:pt x="2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41" name="Freeform 47">
                <a:extLst>
                  <a:ext uri="{FF2B5EF4-FFF2-40B4-BE49-F238E27FC236}">
                    <a16:creationId xmlns:a16="http://schemas.microsoft.com/office/drawing/2014/main" id="{4DACC405-D2AD-4CBC-9A4A-614BE6490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38388" y="2127250"/>
                <a:ext cx="646113" cy="330200"/>
              </a:xfrm>
              <a:custGeom>
                <a:avLst/>
                <a:gdLst>
                  <a:gd name="T0" fmla="*/ 169 w 172"/>
                  <a:gd name="T1" fmla="*/ 0 h 88"/>
                  <a:gd name="T2" fmla="*/ 4 w 172"/>
                  <a:gd name="T3" fmla="*/ 0 h 88"/>
                  <a:gd name="T4" fmla="*/ 0 w 172"/>
                  <a:gd name="T5" fmla="*/ 3 h 88"/>
                  <a:gd name="T6" fmla="*/ 0 w 172"/>
                  <a:gd name="T7" fmla="*/ 88 h 88"/>
                  <a:gd name="T8" fmla="*/ 26 w 172"/>
                  <a:gd name="T9" fmla="*/ 88 h 88"/>
                  <a:gd name="T10" fmla="*/ 41 w 172"/>
                  <a:gd name="T11" fmla="*/ 83 h 88"/>
                  <a:gd name="T12" fmla="*/ 56 w 172"/>
                  <a:gd name="T13" fmla="*/ 88 h 88"/>
                  <a:gd name="T14" fmla="*/ 172 w 172"/>
                  <a:gd name="T15" fmla="*/ 88 h 88"/>
                  <a:gd name="T16" fmla="*/ 172 w 172"/>
                  <a:gd name="T17" fmla="*/ 3 h 88"/>
                  <a:gd name="T18" fmla="*/ 169 w 172"/>
                  <a:gd name="T1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88">
                    <a:moveTo>
                      <a:pt x="169" y="0"/>
                    </a:moveTo>
                    <a:cubicBezTo>
                      <a:pt x="0" y="0"/>
                      <a:pt x="4" y="0"/>
                      <a:pt x="4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31" y="85"/>
                      <a:pt x="36" y="83"/>
                      <a:pt x="41" y="83"/>
                    </a:cubicBezTo>
                    <a:cubicBezTo>
                      <a:pt x="47" y="83"/>
                      <a:pt x="52" y="85"/>
                      <a:pt x="56" y="88"/>
                    </a:cubicBezTo>
                    <a:cubicBezTo>
                      <a:pt x="172" y="88"/>
                      <a:pt x="172" y="88"/>
                      <a:pt x="172" y="88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72" y="1"/>
                      <a:pt x="171" y="0"/>
                      <a:pt x="1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42" name="Freeform 48">
                <a:extLst>
                  <a:ext uri="{FF2B5EF4-FFF2-40B4-BE49-F238E27FC236}">
                    <a16:creationId xmlns:a16="http://schemas.microsoft.com/office/drawing/2014/main" id="{D5062419-4006-4ED9-8AD4-6982D4DC75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109788" y="2198688"/>
                <a:ext cx="731838" cy="357188"/>
              </a:xfrm>
              <a:custGeom>
                <a:avLst/>
                <a:gdLst>
                  <a:gd name="T0" fmla="*/ 176 w 195"/>
                  <a:gd name="T1" fmla="*/ 4 h 95"/>
                  <a:gd name="T2" fmla="*/ 171 w 195"/>
                  <a:gd name="T3" fmla="*/ 2 h 95"/>
                  <a:gd name="T4" fmla="*/ 123 w 195"/>
                  <a:gd name="T5" fmla="*/ 2 h 95"/>
                  <a:gd name="T6" fmla="*/ 119 w 195"/>
                  <a:gd name="T7" fmla="*/ 4 h 95"/>
                  <a:gd name="T8" fmla="*/ 119 w 195"/>
                  <a:gd name="T9" fmla="*/ 73 h 95"/>
                  <a:gd name="T10" fmla="*/ 108 w 195"/>
                  <a:gd name="T11" fmla="*/ 73 h 95"/>
                  <a:gd name="T12" fmla="*/ 108 w 195"/>
                  <a:gd name="T13" fmla="*/ 73 h 95"/>
                  <a:gd name="T14" fmla="*/ 95 w 195"/>
                  <a:gd name="T15" fmla="*/ 73 h 95"/>
                  <a:gd name="T16" fmla="*/ 55 w 195"/>
                  <a:gd name="T17" fmla="*/ 73 h 95"/>
                  <a:gd name="T18" fmla="*/ 0 w 195"/>
                  <a:gd name="T19" fmla="*/ 73 h 95"/>
                  <a:gd name="T20" fmla="*/ 9 w 195"/>
                  <a:gd name="T21" fmla="*/ 95 h 95"/>
                  <a:gd name="T22" fmla="*/ 9 w 195"/>
                  <a:gd name="T23" fmla="*/ 95 h 95"/>
                  <a:gd name="T24" fmla="*/ 45 w 195"/>
                  <a:gd name="T25" fmla="*/ 95 h 95"/>
                  <a:gd name="T26" fmla="*/ 104 w 195"/>
                  <a:gd name="T27" fmla="*/ 95 h 95"/>
                  <a:gd name="T28" fmla="*/ 108 w 195"/>
                  <a:gd name="T29" fmla="*/ 95 h 95"/>
                  <a:gd name="T30" fmla="*/ 108 w 195"/>
                  <a:gd name="T31" fmla="*/ 95 h 95"/>
                  <a:gd name="T32" fmla="*/ 120 w 195"/>
                  <a:gd name="T33" fmla="*/ 95 h 95"/>
                  <a:gd name="T34" fmla="*/ 120 w 195"/>
                  <a:gd name="T35" fmla="*/ 88 h 95"/>
                  <a:gd name="T36" fmla="*/ 149 w 195"/>
                  <a:gd name="T37" fmla="*/ 64 h 95"/>
                  <a:gd name="T38" fmla="*/ 180 w 195"/>
                  <a:gd name="T39" fmla="*/ 95 h 95"/>
                  <a:gd name="T40" fmla="*/ 195 w 195"/>
                  <a:gd name="T41" fmla="*/ 95 h 95"/>
                  <a:gd name="T42" fmla="*/ 195 w 195"/>
                  <a:gd name="T43" fmla="*/ 48 h 95"/>
                  <a:gd name="T44" fmla="*/ 176 w 195"/>
                  <a:gd name="T45" fmla="*/ 4 h 95"/>
                  <a:gd name="T46" fmla="*/ 141 w 195"/>
                  <a:gd name="T47" fmla="*/ 39 h 95"/>
                  <a:gd name="T48" fmla="*/ 141 w 195"/>
                  <a:gd name="T49" fmla="*/ 10 h 95"/>
                  <a:gd name="T50" fmla="*/ 167 w 195"/>
                  <a:gd name="T51" fmla="*/ 10 h 95"/>
                  <a:gd name="T52" fmla="*/ 179 w 195"/>
                  <a:gd name="T53" fmla="*/ 39 h 95"/>
                  <a:gd name="T54" fmla="*/ 141 w 195"/>
                  <a:gd name="T55" fmla="*/ 3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5" h="95">
                    <a:moveTo>
                      <a:pt x="176" y="4"/>
                    </a:moveTo>
                    <a:cubicBezTo>
                      <a:pt x="176" y="0"/>
                      <a:pt x="171" y="2"/>
                      <a:pt x="171" y="2"/>
                    </a:cubicBezTo>
                    <a:cubicBezTo>
                      <a:pt x="171" y="2"/>
                      <a:pt x="171" y="2"/>
                      <a:pt x="123" y="2"/>
                    </a:cubicBezTo>
                    <a:cubicBezTo>
                      <a:pt x="123" y="2"/>
                      <a:pt x="119" y="0"/>
                      <a:pt x="119" y="4"/>
                    </a:cubicBezTo>
                    <a:cubicBezTo>
                      <a:pt x="119" y="4"/>
                      <a:pt x="119" y="4"/>
                      <a:pt x="119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95" y="73"/>
                      <a:pt x="95" y="73"/>
                      <a:pt x="95" y="73"/>
                    </a:cubicBezTo>
                    <a:cubicBezTo>
                      <a:pt x="55" y="73"/>
                      <a:pt x="55" y="73"/>
                      <a:pt x="55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6" y="78"/>
                      <a:pt x="9" y="86"/>
                      <a:pt x="9" y="95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44" y="95"/>
                      <a:pt x="45" y="95"/>
                      <a:pt x="45" y="95"/>
                    </a:cubicBezTo>
                    <a:cubicBezTo>
                      <a:pt x="104" y="95"/>
                      <a:pt x="104" y="95"/>
                      <a:pt x="104" y="95"/>
                    </a:cubicBezTo>
                    <a:cubicBezTo>
                      <a:pt x="107" y="95"/>
                      <a:pt x="107" y="95"/>
                      <a:pt x="108" y="95"/>
                    </a:cubicBezTo>
                    <a:cubicBezTo>
                      <a:pt x="108" y="95"/>
                      <a:pt x="108" y="95"/>
                      <a:pt x="108" y="95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0" y="88"/>
                      <a:pt x="120" y="88"/>
                      <a:pt x="120" y="88"/>
                    </a:cubicBezTo>
                    <a:cubicBezTo>
                      <a:pt x="123" y="75"/>
                      <a:pt x="135" y="64"/>
                      <a:pt x="149" y="64"/>
                    </a:cubicBezTo>
                    <a:cubicBezTo>
                      <a:pt x="165" y="64"/>
                      <a:pt x="180" y="78"/>
                      <a:pt x="180" y="95"/>
                    </a:cubicBezTo>
                    <a:cubicBezTo>
                      <a:pt x="180" y="95"/>
                      <a:pt x="180" y="95"/>
                      <a:pt x="195" y="95"/>
                    </a:cubicBezTo>
                    <a:cubicBezTo>
                      <a:pt x="195" y="48"/>
                      <a:pt x="195" y="48"/>
                      <a:pt x="195" y="48"/>
                    </a:cubicBezTo>
                    <a:cubicBezTo>
                      <a:pt x="195" y="48"/>
                      <a:pt x="177" y="8"/>
                      <a:pt x="176" y="4"/>
                    </a:cubicBezTo>
                    <a:close/>
                    <a:moveTo>
                      <a:pt x="141" y="39"/>
                    </a:moveTo>
                    <a:cubicBezTo>
                      <a:pt x="141" y="39"/>
                      <a:pt x="141" y="39"/>
                      <a:pt x="141" y="10"/>
                    </a:cubicBezTo>
                    <a:cubicBezTo>
                      <a:pt x="141" y="10"/>
                      <a:pt x="141" y="10"/>
                      <a:pt x="167" y="10"/>
                    </a:cubicBezTo>
                    <a:cubicBezTo>
                      <a:pt x="179" y="39"/>
                      <a:pt x="179" y="39"/>
                      <a:pt x="179" y="39"/>
                    </a:cubicBezTo>
                    <a:cubicBezTo>
                      <a:pt x="179" y="39"/>
                      <a:pt x="172" y="39"/>
                      <a:pt x="141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43" name="Freeform 49">
                <a:extLst>
                  <a:ext uri="{FF2B5EF4-FFF2-40B4-BE49-F238E27FC236}">
                    <a16:creationId xmlns:a16="http://schemas.microsoft.com/office/drawing/2014/main" id="{454A5D06-9B28-4803-AC09-BEF1347ED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01925" y="2449513"/>
                <a:ext cx="398463" cy="98425"/>
              </a:xfrm>
              <a:custGeom>
                <a:avLst/>
                <a:gdLst>
                  <a:gd name="T0" fmla="*/ 106 w 106"/>
                  <a:gd name="T1" fmla="*/ 15 h 26"/>
                  <a:gd name="T2" fmla="*/ 101 w 106"/>
                  <a:gd name="T3" fmla="*/ 12 h 26"/>
                  <a:gd name="T4" fmla="*/ 83 w 106"/>
                  <a:gd name="T5" fmla="*/ 17 h 26"/>
                  <a:gd name="T6" fmla="*/ 81 w 106"/>
                  <a:gd name="T7" fmla="*/ 8 h 26"/>
                  <a:gd name="T8" fmla="*/ 89 w 106"/>
                  <a:gd name="T9" fmla="*/ 8 h 26"/>
                  <a:gd name="T10" fmla="*/ 93 w 106"/>
                  <a:gd name="T11" fmla="*/ 4 h 26"/>
                  <a:gd name="T12" fmla="*/ 89 w 106"/>
                  <a:gd name="T13" fmla="*/ 0 h 26"/>
                  <a:gd name="T14" fmla="*/ 4 w 106"/>
                  <a:gd name="T15" fmla="*/ 0 h 26"/>
                  <a:gd name="T16" fmla="*/ 0 w 106"/>
                  <a:gd name="T17" fmla="*/ 4 h 26"/>
                  <a:gd name="T18" fmla="*/ 4 w 106"/>
                  <a:gd name="T19" fmla="*/ 8 h 26"/>
                  <a:gd name="T20" fmla="*/ 73 w 106"/>
                  <a:gd name="T21" fmla="*/ 8 h 26"/>
                  <a:gd name="T22" fmla="*/ 77 w 106"/>
                  <a:gd name="T23" fmla="*/ 23 h 26"/>
                  <a:gd name="T24" fmla="*/ 78 w 106"/>
                  <a:gd name="T25" fmla="*/ 25 h 26"/>
                  <a:gd name="T26" fmla="*/ 80 w 106"/>
                  <a:gd name="T27" fmla="*/ 26 h 26"/>
                  <a:gd name="T28" fmla="*/ 81 w 106"/>
                  <a:gd name="T29" fmla="*/ 26 h 26"/>
                  <a:gd name="T30" fmla="*/ 103 w 106"/>
                  <a:gd name="T31" fmla="*/ 20 h 26"/>
                  <a:gd name="T32" fmla="*/ 106 w 106"/>
                  <a:gd name="T33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6" h="26">
                    <a:moveTo>
                      <a:pt x="106" y="15"/>
                    </a:moveTo>
                    <a:cubicBezTo>
                      <a:pt x="105" y="13"/>
                      <a:pt x="103" y="12"/>
                      <a:pt x="101" y="12"/>
                    </a:cubicBezTo>
                    <a:cubicBezTo>
                      <a:pt x="83" y="17"/>
                      <a:pt x="83" y="17"/>
                      <a:pt x="83" y="17"/>
                    </a:cubicBezTo>
                    <a:cubicBezTo>
                      <a:pt x="81" y="8"/>
                      <a:pt x="81" y="8"/>
                      <a:pt x="81" y="8"/>
                    </a:cubicBezTo>
                    <a:cubicBezTo>
                      <a:pt x="89" y="8"/>
                      <a:pt x="89" y="8"/>
                      <a:pt x="89" y="8"/>
                    </a:cubicBezTo>
                    <a:cubicBezTo>
                      <a:pt x="91" y="8"/>
                      <a:pt x="93" y="6"/>
                      <a:pt x="93" y="4"/>
                    </a:cubicBezTo>
                    <a:cubicBezTo>
                      <a:pt x="93" y="2"/>
                      <a:pt x="91" y="0"/>
                      <a:pt x="8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6"/>
                      <a:pt x="1" y="8"/>
                      <a:pt x="4" y="8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7" y="24"/>
                      <a:pt x="77" y="25"/>
                      <a:pt x="78" y="25"/>
                    </a:cubicBezTo>
                    <a:cubicBezTo>
                      <a:pt x="79" y="26"/>
                      <a:pt x="80" y="26"/>
                      <a:pt x="80" y="26"/>
                    </a:cubicBezTo>
                    <a:cubicBezTo>
                      <a:pt x="81" y="26"/>
                      <a:pt x="81" y="26"/>
                      <a:pt x="81" y="26"/>
                    </a:cubicBezTo>
                    <a:cubicBezTo>
                      <a:pt x="103" y="20"/>
                      <a:pt x="103" y="20"/>
                      <a:pt x="103" y="20"/>
                    </a:cubicBezTo>
                    <a:cubicBezTo>
                      <a:pt x="105" y="19"/>
                      <a:pt x="106" y="17"/>
                      <a:pt x="10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447D58DC-79FC-4812-A50C-81687CB82A8C}"/>
                </a:ext>
              </a:extLst>
            </p:cNvPr>
            <p:cNvSpPr/>
            <p:nvPr/>
          </p:nvSpPr>
          <p:spPr>
            <a:xfrm>
              <a:off x="1552575" y="1434557"/>
              <a:ext cx="185899" cy="1858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>
              <a:spAutoFit/>
            </a:bodyPr>
            <a:lstStyle/>
            <a:p>
              <a:pPr algn="l" rtl="0"/>
              <a:endParaRPr lang="fr-FR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65CC8DE5-2632-42FD-912D-891A6822A4F6}"/>
              </a:ext>
            </a:extLst>
          </p:cNvPr>
          <p:cNvSpPr/>
          <p:nvPr/>
        </p:nvSpPr>
        <p:spPr>
          <a:xfrm>
            <a:off x="6193154" y="648653"/>
            <a:ext cx="733425" cy="365760"/>
          </a:xfrm>
          <a:custGeom>
            <a:avLst/>
            <a:gdLst>
              <a:gd name="connsiteX0" fmla="*/ 762000 w 762000"/>
              <a:gd name="connsiteY0" fmla="*/ 365760 h 365760"/>
              <a:gd name="connsiteX1" fmla="*/ 388620 w 762000"/>
              <a:gd name="connsiteY1" fmla="*/ 91440 h 365760"/>
              <a:gd name="connsiteX2" fmla="*/ 0 w 762000"/>
              <a:gd name="connsiteY2" fmla="*/ 0 h 365760"/>
              <a:gd name="connsiteX0" fmla="*/ 723900 w 723900"/>
              <a:gd name="connsiteY0" fmla="*/ 503872 h 503872"/>
              <a:gd name="connsiteX1" fmla="*/ 388620 w 723900"/>
              <a:gd name="connsiteY1" fmla="*/ 91440 h 503872"/>
              <a:gd name="connsiteX2" fmla="*/ 0 w 723900"/>
              <a:gd name="connsiteY2" fmla="*/ 0 h 503872"/>
              <a:gd name="connsiteX0" fmla="*/ 733425 w 733425"/>
              <a:gd name="connsiteY0" fmla="*/ 429525 h 429525"/>
              <a:gd name="connsiteX1" fmla="*/ 398145 w 733425"/>
              <a:gd name="connsiteY1" fmla="*/ 17093 h 429525"/>
              <a:gd name="connsiteX2" fmla="*/ 0 w 733425"/>
              <a:gd name="connsiteY2" fmla="*/ 63765 h 429525"/>
              <a:gd name="connsiteX0" fmla="*/ 733425 w 733425"/>
              <a:gd name="connsiteY0" fmla="*/ 365760 h 365760"/>
              <a:gd name="connsiteX1" fmla="*/ 412432 w 733425"/>
              <a:gd name="connsiteY1" fmla="*/ 77153 h 365760"/>
              <a:gd name="connsiteX2" fmla="*/ 0 w 733425"/>
              <a:gd name="connsiteY2" fmla="*/ 0 h 365760"/>
              <a:gd name="connsiteX0" fmla="*/ 733425 w 733425"/>
              <a:gd name="connsiteY0" fmla="*/ 365760 h 365760"/>
              <a:gd name="connsiteX1" fmla="*/ 412432 w 733425"/>
              <a:gd name="connsiteY1" fmla="*/ 77153 h 365760"/>
              <a:gd name="connsiteX2" fmla="*/ 0 w 733425"/>
              <a:gd name="connsiteY2" fmla="*/ 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425" h="365760">
                <a:moveTo>
                  <a:pt x="733425" y="365760"/>
                </a:moveTo>
                <a:cubicBezTo>
                  <a:pt x="619760" y="216217"/>
                  <a:pt x="534670" y="138113"/>
                  <a:pt x="412432" y="77153"/>
                </a:cubicBezTo>
                <a:cubicBezTo>
                  <a:pt x="290194" y="16193"/>
                  <a:pt x="130810" y="15240"/>
                  <a:pt x="0" y="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44983192-12C2-4043-86A2-4FDDC039BC8D}"/>
              </a:ext>
            </a:extLst>
          </p:cNvPr>
          <p:cNvSpPr/>
          <p:nvPr/>
        </p:nvSpPr>
        <p:spPr>
          <a:xfrm>
            <a:off x="7613333" y="975310"/>
            <a:ext cx="754380" cy="464870"/>
          </a:xfrm>
          <a:custGeom>
            <a:avLst/>
            <a:gdLst>
              <a:gd name="connsiteX0" fmla="*/ 0 w 754380"/>
              <a:gd name="connsiteY0" fmla="*/ 0 h 464820"/>
              <a:gd name="connsiteX1" fmla="*/ 624840 w 754380"/>
              <a:gd name="connsiteY1" fmla="*/ 160020 h 464820"/>
              <a:gd name="connsiteX2" fmla="*/ 754380 w 754380"/>
              <a:gd name="connsiteY2" fmla="*/ 464820 h 464820"/>
              <a:gd name="connsiteX0" fmla="*/ 0 w 754380"/>
              <a:gd name="connsiteY0" fmla="*/ 0 h 464820"/>
              <a:gd name="connsiteX1" fmla="*/ 491490 w 754380"/>
              <a:gd name="connsiteY1" fmla="*/ 79057 h 464820"/>
              <a:gd name="connsiteX2" fmla="*/ 754380 w 754380"/>
              <a:gd name="connsiteY2" fmla="*/ 464820 h 464820"/>
              <a:gd name="connsiteX0" fmla="*/ 0 w 754380"/>
              <a:gd name="connsiteY0" fmla="*/ 263 h 465083"/>
              <a:gd name="connsiteX1" fmla="*/ 491490 w 754380"/>
              <a:gd name="connsiteY1" fmla="*/ 79320 h 465083"/>
              <a:gd name="connsiteX2" fmla="*/ 754380 w 754380"/>
              <a:gd name="connsiteY2" fmla="*/ 465083 h 465083"/>
              <a:gd name="connsiteX0" fmla="*/ 0 w 754380"/>
              <a:gd name="connsiteY0" fmla="*/ 50 h 464870"/>
              <a:gd name="connsiteX1" fmla="*/ 501015 w 754380"/>
              <a:gd name="connsiteY1" fmla="*/ 112445 h 464870"/>
              <a:gd name="connsiteX2" fmla="*/ 754380 w 754380"/>
              <a:gd name="connsiteY2" fmla="*/ 464870 h 46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54380" h="464870">
                <a:moveTo>
                  <a:pt x="0" y="50"/>
                </a:moveTo>
                <a:cubicBezTo>
                  <a:pt x="330517" y="-1537"/>
                  <a:pt x="375285" y="34975"/>
                  <a:pt x="501015" y="112445"/>
                </a:cubicBezTo>
                <a:cubicBezTo>
                  <a:pt x="626745" y="189915"/>
                  <a:pt x="752475" y="351205"/>
                  <a:pt x="754380" y="46487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CE31A3EA-5062-4C74-92E4-D48395F34902}"/>
              </a:ext>
            </a:extLst>
          </p:cNvPr>
          <p:cNvSpPr/>
          <p:nvPr/>
        </p:nvSpPr>
        <p:spPr>
          <a:xfrm>
            <a:off x="7277100" y="1730692"/>
            <a:ext cx="727710" cy="448628"/>
          </a:xfrm>
          <a:custGeom>
            <a:avLst/>
            <a:gdLst>
              <a:gd name="connsiteX0" fmla="*/ 708660 w 708660"/>
              <a:gd name="connsiteY0" fmla="*/ 0 h 358140"/>
              <a:gd name="connsiteX1" fmla="*/ 205740 w 708660"/>
              <a:gd name="connsiteY1" fmla="*/ 129540 h 358140"/>
              <a:gd name="connsiteX2" fmla="*/ 0 w 708660"/>
              <a:gd name="connsiteY2" fmla="*/ 358140 h 358140"/>
              <a:gd name="connsiteX0" fmla="*/ 727710 w 727710"/>
              <a:gd name="connsiteY0" fmla="*/ 0 h 448628"/>
              <a:gd name="connsiteX1" fmla="*/ 205740 w 727710"/>
              <a:gd name="connsiteY1" fmla="*/ 220028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7710" h="448628">
                <a:moveTo>
                  <a:pt x="727710" y="0"/>
                </a:moveTo>
                <a:cubicBezTo>
                  <a:pt x="530543" y="11113"/>
                  <a:pt x="398462" y="45244"/>
                  <a:pt x="277177" y="120015"/>
                </a:cubicBezTo>
                <a:cubicBezTo>
                  <a:pt x="155892" y="194786"/>
                  <a:pt x="91440" y="278448"/>
                  <a:pt x="0" y="44862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4D15D10C-5819-4093-8680-99DF3788E3DB}"/>
              </a:ext>
            </a:extLst>
          </p:cNvPr>
          <p:cNvSpPr/>
          <p:nvPr/>
        </p:nvSpPr>
        <p:spPr>
          <a:xfrm>
            <a:off x="7635240" y="4038600"/>
            <a:ext cx="1036320" cy="1112520"/>
          </a:xfrm>
          <a:custGeom>
            <a:avLst/>
            <a:gdLst>
              <a:gd name="connsiteX0" fmla="*/ 0 w 1036320"/>
              <a:gd name="connsiteY0" fmla="*/ 0 h 1112520"/>
              <a:gd name="connsiteX1" fmla="*/ 571500 w 1036320"/>
              <a:gd name="connsiteY1" fmla="*/ 358140 h 1112520"/>
              <a:gd name="connsiteX2" fmla="*/ 1036320 w 1036320"/>
              <a:gd name="connsiteY2" fmla="*/ 1112520 h 111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6320" h="1112520">
                <a:moveTo>
                  <a:pt x="0" y="0"/>
                </a:moveTo>
                <a:cubicBezTo>
                  <a:pt x="199390" y="86360"/>
                  <a:pt x="398780" y="172720"/>
                  <a:pt x="571500" y="358140"/>
                </a:cubicBezTo>
                <a:cubicBezTo>
                  <a:pt x="744220" y="543560"/>
                  <a:pt x="890270" y="828040"/>
                  <a:pt x="1036320" y="111252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644" name="Freihandform: Form 643">
            <a:extLst>
              <a:ext uri="{FF2B5EF4-FFF2-40B4-BE49-F238E27FC236}">
                <a16:creationId xmlns:a16="http://schemas.microsoft.com/office/drawing/2014/main" id="{34F603E2-5900-4C6D-A5CC-623FC07DDDCD}"/>
              </a:ext>
            </a:extLst>
          </p:cNvPr>
          <p:cNvSpPr/>
          <p:nvPr/>
        </p:nvSpPr>
        <p:spPr>
          <a:xfrm>
            <a:off x="7229475" y="3202305"/>
            <a:ext cx="727710" cy="448628"/>
          </a:xfrm>
          <a:custGeom>
            <a:avLst/>
            <a:gdLst>
              <a:gd name="connsiteX0" fmla="*/ 708660 w 708660"/>
              <a:gd name="connsiteY0" fmla="*/ 0 h 358140"/>
              <a:gd name="connsiteX1" fmla="*/ 205740 w 708660"/>
              <a:gd name="connsiteY1" fmla="*/ 129540 h 358140"/>
              <a:gd name="connsiteX2" fmla="*/ 0 w 708660"/>
              <a:gd name="connsiteY2" fmla="*/ 358140 h 358140"/>
              <a:gd name="connsiteX0" fmla="*/ 727710 w 727710"/>
              <a:gd name="connsiteY0" fmla="*/ 0 h 448628"/>
              <a:gd name="connsiteX1" fmla="*/ 205740 w 727710"/>
              <a:gd name="connsiteY1" fmla="*/ 220028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7710" h="448628">
                <a:moveTo>
                  <a:pt x="727710" y="0"/>
                </a:moveTo>
                <a:cubicBezTo>
                  <a:pt x="530543" y="11113"/>
                  <a:pt x="398462" y="45244"/>
                  <a:pt x="277177" y="120015"/>
                </a:cubicBezTo>
                <a:cubicBezTo>
                  <a:pt x="155892" y="194786"/>
                  <a:pt x="91440" y="278448"/>
                  <a:pt x="0" y="44862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647" name="Freihandform: Form 646">
            <a:extLst>
              <a:ext uri="{FF2B5EF4-FFF2-40B4-BE49-F238E27FC236}">
                <a16:creationId xmlns:a16="http://schemas.microsoft.com/office/drawing/2014/main" id="{B44BB5B8-5F20-4316-94B7-0BD81610D1B5}"/>
              </a:ext>
            </a:extLst>
          </p:cNvPr>
          <p:cNvSpPr/>
          <p:nvPr/>
        </p:nvSpPr>
        <p:spPr>
          <a:xfrm>
            <a:off x="7637144" y="2418366"/>
            <a:ext cx="687705" cy="498188"/>
          </a:xfrm>
          <a:custGeom>
            <a:avLst/>
            <a:gdLst>
              <a:gd name="connsiteX0" fmla="*/ 0 w 754380"/>
              <a:gd name="connsiteY0" fmla="*/ 0 h 464820"/>
              <a:gd name="connsiteX1" fmla="*/ 624840 w 754380"/>
              <a:gd name="connsiteY1" fmla="*/ 160020 h 464820"/>
              <a:gd name="connsiteX2" fmla="*/ 754380 w 754380"/>
              <a:gd name="connsiteY2" fmla="*/ 464820 h 464820"/>
              <a:gd name="connsiteX0" fmla="*/ 0 w 754380"/>
              <a:gd name="connsiteY0" fmla="*/ 0 h 464820"/>
              <a:gd name="connsiteX1" fmla="*/ 491490 w 754380"/>
              <a:gd name="connsiteY1" fmla="*/ 79057 h 464820"/>
              <a:gd name="connsiteX2" fmla="*/ 754380 w 754380"/>
              <a:gd name="connsiteY2" fmla="*/ 464820 h 464820"/>
              <a:gd name="connsiteX0" fmla="*/ 0 w 754380"/>
              <a:gd name="connsiteY0" fmla="*/ 263 h 465083"/>
              <a:gd name="connsiteX1" fmla="*/ 491490 w 754380"/>
              <a:gd name="connsiteY1" fmla="*/ 79320 h 465083"/>
              <a:gd name="connsiteX2" fmla="*/ 754380 w 754380"/>
              <a:gd name="connsiteY2" fmla="*/ 465083 h 465083"/>
              <a:gd name="connsiteX0" fmla="*/ 0 w 754380"/>
              <a:gd name="connsiteY0" fmla="*/ 50 h 464870"/>
              <a:gd name="connsiteX1" fmla="*/ 501015 w 754380"/>
              <a:gd name="connsiteY1" fmla="*/ 112445 h 464870"/>
              <a:gd name="connsiteX2" fmla="*/ 754380 w 754380"/>
              <a:gd name="connsiteY2" fmla="*/ 464870 h 464870"/>
              <a:gd name="connsiteX0" fmla="*/ 0 w 687705"/>
              <a:gd name="connsiteY0" fmla="*/ 57 h 498214"/>
              <a:gd name="connsiteX1" fmla="*/ 501015 w 687705"/>
              <a:gd name="connsiteY1" fmla="*/ 112452 h 498214"/>
              <a:gd name="connsiteX2" fmla="*/ 687705 w 687705"/>
              <a:gd name="connsiteY2" fmla="*/ 498214 h 498214"/>
              <a:gd name="connsiteX0" fmla="*/ 0 w 687705"/>
              <a:gd name="connsiteY0" fmla="*/ 31 h 498188"/>
              <a:gd name="connsiteX1" fmla="*/ 539115 w 687705"/>
              <a:gd name="connsiteY1" fmla="*/ 141001 h 498188"/>
              <a:gd name="connsiteX2" fmla="*/ 687705 w 687705"/>
              <a:gd name="connsiteY2" fmla="*/ 498188 h 49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7705" h="498188">
                <a:moveTo>
                  <a:pt x="0" y="31"/>
                </a:moveTo>
                <a:cubicBezTo>
                  <a:pt x="330517" y="-1556"/>
                  <a:pt x="424498" y="57975"/>
                  <a:pt x="539115" y="141001"/>
                </a:cubicBezTo>
                <a:cubicBezTo>
                  <a:pt x="653733" y="224027"/>
                  <a:pt x="685800" y="384523"/>
                  <a:pt x="687705" y="49818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13422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17796B2-12F1-4AAA-8482-383F9901DC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37410" y="0"/>
            <a:ext cx="3006589" cy="5143500"/>
          </a:xfrm>
        </p:spPr>
        <p:txBody>
          <a:bodyPr/>
          <a:lstStyle/>
          <a:p>
            <a:pPr algn="l" rtl="0"/>
            <a:r>
              <a:rPr lang="fr-FR" b="0" i="0" u="none" baseline="0"/>
              <a:t> </a:t>
            </a:r>
            <a:endParaRPr lang="fr-FR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D3F938-DD09-4A2C-8C19-09760F0CC6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  <a:endParaRPr lang="fr-FR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BBB826-20D6-4809-8C59-CA9F260038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8</a:t>
            </a:fld>
            <a:endParaRPr lang="fr-FR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29140B4-9CC6-4264-8D66-5DA5BEA63EB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17501" y="1038918"/>
            <a:ext cx="5327527" cy="1564845"/>
          </a:xfrm>
        </p:spPr>
        <p:txBody>
          <a:bodyPr anchor="t" anchorCtr="0"/>
          <a:lstStyle/>
          <a:p>
            <a:pPr lvl="1" algn="l" rtl="0"/>
            <a:r>
              <a:rPr lang="fr-FR" sz="1400" b="1" i="0" u="none" baseline="0" dirty="0"/>
              <a:t>Une configuration standardisée des expéditions entrantes </a:t>
            </a:r>
            <a:r>
              <a:rPr lang="fr-FR" sz="1400" b="0" i="0" u="none" baseline="0" dirty="0"/>
              <a:t>qui traite vos produits de manière à s’intégrer efficacement dans nos opérations multi-utilisateurs</a:t>
            </a:r>
          </a:p>
          <a:p>
            <a:pPr lvl="1" algn="l" rtl="0"/>
            <a:r>
              <a:rPr lang="fr-FR" sz="1400" b="1" i="0" u="none" baseline="0" dirty="0"/>
              <a:t>Des procédures de manutention souples </a:t>
            </a:r>
            <a:r>
              <a:rPr lang="fr-FR" sz="1400" b="0" i="0" u="none" baseline="0" dirty="0"/>
              <a:t>qui incluent la réception sur palette, en carton, </a:t>
            </a:r>
            <a:r>
              <a:rPr lang="fr-FR" sz="1400" dirty="0"/>
              <a:t/>
            </a:r>
            <a:br>
              <a:rPr lang="fr-FR" sz="1400" dirty="0"/>
            </a:br>
            <a:r>
              <a:rPr lang="fr-FR" sz="1400" b="0" i="0" u="none" baseline="0" dirty="0"/>
              <a:t>à la pièce et à l’aveugle, en fonction de votre profi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D47F287-5D85-4694-BA2D-ED70D15F4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5593510" cy="493950"/>
          </a:xfrm>
        </p:spPr>
        <p:txBody>
          <a:bodyPr/>
          <a:lstStyle/>
          <a:p>
            <a:pPr algn="l" rtl="0"/>
            <a:r>
              <a:rPr lang="fr-FR" b="1" i="0" u="none" baseline="0"/>
              <a:t>Qu’est-ce que le European Fulfillment Network ?</a:t>
            </a:r>
            <a:endParaRPr lang="fr-FR" dirty="0"/>
          </a:p>
        </p:txBody>
      </p:sp>
      <p:pic>
        <p:nvPicPr>
          <p:cNvPr id="485" name="Picture 2">
            <a:extLst>
              <a:ext uri="{FF2B5EF4-FFF2-40B4-BE49-F238E27FC236}">
                <a16:creationId xmlns:a16="http://schemas.microsoft.com/office/drawing/2014/main" id="{4FE68065-88C7-4655-90F7-43A640214E3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001" y="2662600"/>
            <a:ext cx="5303482" cy="2018937"/>
          </a:xfrm>
          <a:prstGeom prst="rect">
            <a:avLst/>
          </a:prstGeom>
        </p:spPr>
      </p:pic>
      <p:sp>
        <p:nvSpPr>
          <p:cNvPr id="199" name="Foliennummernplatzhalter 3">
            <a:extLst>
              <a:ext uri="{FF2B5EF4-FFF2-40B4-BE49-F238E27FC236}">
                <a16:creationId xmlns:a16="http://schemas.microsoft.com/office/drawing/2014/main" id="{8E322C29-0CF3-4E0D-9635-F849087E250B}"/>
              </a:ext>
            </a:extLst>
          </p:cNvPr>
          <p:cNvSpPr txBox="1">
            <a:spLocks/>
          </p:cNvSpPr>
          <p:nvPr/>
        </p:nvSpPr>
        <p:spPr>
          <a:xfrm>
            <a:off x="8441531" y="4803982"/>
            <a:ext cx="378469" cy="13849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fld id="{C2245BC1-4D7B-4ED3-8F01-840FA35126C6}" type="slidenum">
              <a:rPr/>
              <a:pPr/>
              <a:t>8</a:t>
            </a:fld>
            <a:endParaRPr lang="fr-FR" dirty="0"/>
          </a:p>
        </p:txBody>
      </p:sp>
      <p:sp>
        <p:nvSpPr>
          <p:cNvPr id="200" name="Rectangle 42">
            <a:extLst>
              <a:ext uri="{FF2B5EF4-FFF2-40B4-BE49-F238E27FC236}">
                <a16:creationId xmlns:a16="http://schemas.microsoft.com/office/drawing/2014/main" id="{0BFB3709-89FC-4C00-8039-A3FC769669CE}"/>
              </a:ext>
            </a:extLst>
          </p:cNvPr>
          <p:cNvSpPr/>
          <p:nvPr/>
        </p:nvSpPr>
        <p:spPr>
          <a:xfrm>
            <a:off x="7834587" y="3722006"/>
            <a:ext cx="1024901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 dirty="0">
                <a:solidFill>
                  <a:schemeClr val="accent1"/>
                </a:solidFill>
              </a:rPr>
              <a:t>Dernier kilomètre</a:t>
            </a:r>
          </a:p>
          <a:p>
            <a:pPr algn="ctr" rtl="0">
              <a:lnSpc>
                <a:spcPct val="95000"/>
              </a:lnSpc>
            </a:pPr>
            <a:r>
              <a:rPr lang="fr-FR" sz="1000" b="0" i="0" u="none" baseline="0" dirty="0">
                <a:solidFill>
                  <a:schemeClr val="accent1"/>
                </a:solidFill>
              </a:rPr>
              <a:t>indépendant du transporteur</a:t>
            </a:r>
          </a:p>
        </p:txBody>
      </p:sp>
      <p:sp>
        <p:nvSpPr>
          <p:cNvPr id="201" name="Rectangle 43">
            <a:extLst>
              <a:ext uri="{FF2B5EF4-FFF2-40B4-BE49-F238E27FC236}">
                <a16:creationId xmlns:a16="http://schemas.microsoft.com/office/drawing/2014/main" id="{394F10BF-4B1C-46D2-BEBD-1AF4A8C796F3}"/>
              </a:ext>
            </a:extLst>
          </p:cNvPr>
          <p:cNvSpPr/>
          <p:nvPr/>
        </p:nvSpPr>
        <p:spPr>
          <a:xfrm>
            <a:off x="6768977" y="4414343"/>
            <a:ext cx="1024901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Traitement et expédition des retours</a:t>
            </a:r>
          </a:p>
        </p:txBody>
      </p:sp>
      <p:sp>
        <p:nvSpPr>
          <p:cNvPr id="202" name="Rectangle 46">
            <a:extLst>
              <a:ext uri="{FF2B5EF4-FFF2-40B4-BE49-F238E27FC236}">
                <a16:creationId xmlns:a16="http://schemas.microsoft.com/office/drawing/2014/main" id="{8A88A6D9-FB19-42A8-B976-6DA5B540F612}"/>
              </a:ext>
            </a:extLst>
          </p:cNvPr>
          <p:cNvSpPr/>
          <p:nvPr/>
        </p:nvSpPr>
        <p:spPr>
          <a:xfrm>
            <a:off x="7849803" y="2172172"/>
            <a:ext cx="1024901" cy="1461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1" i="0" u="none" baseline="0"/>
              <a:t>Manutention des expéditions entrantes</a:t>
            </a:r>
          </a:p>
        </p:txBody>
      </p:sp>
      <p:sp>
        <p:nvSpPr>
          <p:cNvPr id="203" name="Rectangle 62">
            <a:extLst>
              <a:ext uri="{FF2B5EF4-FFF2-40B4-BE49-F238E27FC236}">
                <a16:creationId xmlns:a16="http://schemas.microsoft.com/office/drawing/2014/main" id="{5AAE10F1-9B34-4B5C-AE1B-01C48C2596FE}"/>
              </a:ext>
            </a:extLst>
          </p:cNvPr>
          <p:cNvSpPr/>
          <p:nvPr/>
        </p:nvSpPr>
        <p:spPr>
          <a:xfrm>
            <a:off x="6784217" y="2929660"/>
            <a:ext cx="1024901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Stockage et traitement</a:t>
            </a:r>
          </a:p>
        </p:txBody>
      </p:sp>
      <p:sp>
        <p:nvSpPr>
          <p:cNvPr id="204" name="Rectangle 78">
            <a:extLst>
              <a:ext uri="{FF2B5EF4-FFF2-40B4-BE49-F238E27FC236}">
                <a16:creationId xmlns:a16="http://schemas.microsoft.com/office/drawing/2014/main" id="{94A3A4E8-BBE3-4903-831E-EDA97BD31DFB}"/>
              </a:ext>
            </a:extLst>
          </p:cNvPr>
          <p:cNvSpPr/>
          <p:nvPr/>
        </p:nvSpPr>
        <p:spPr>
          <a:xfrm>
            <a:off x="6560697" y="381000"/>
            <a:ext cx="1468266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European</a:t>
            </a:r>
          </a:p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Fulfillment Network</a:t>
            </a:r>
          </a:p>
        </p:txBody>
      </p:sp>
      <p:sp>
        <p:nvSpPr>
          <p:cNvPr id="205" name="Rectangle 80">
            <a:extLst>
              <a:ext uri="{FF2B5EF4-FFF2-40B4-BE49-F238E27FC236}">
                <a16:creationId xmlns:a16="http://schemas.microsoft.com/office/drawing/2014/main" id="{45CA3BB9-1F8A-4008-B511-B79BBB9F98A0}"/>
              </a:ext>
            </a:extLst>
          </p:cNvPr>
          <p:cNvSpPr/>
          <p:nvPr/>
        </p:nvSpPr>
        <p:spPr>
          <a:xfrm rot="16200000">
            <a:off x="4626678" y="2792169"/>
            <a:ext cx="3530600" cy="248136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200" b="1" i="0" u="none" baseline="0"/>
              <a:t>Caractéristiques clés du produit</a:t>
            </a:r>
          </a:p>
        </p:txBody>
      </p:sp>
      <p:sp>
        <p:nvSpPr>
          <p:cNvPr id="206" name="Oval 6">
            <a:extLst>
              <a:ext uri="{FF2B5EF4-FFF2-40B4-BE49-F238E27FC236}">
                <a16:creationId xmlns:a16="http://schemas.microsoft.com/office/drawing/2014/main" id="{D0203B59-ADE8-4B17-B57F-829E08656B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686" y="2169501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07" name="Freeform 5">
            <a:extLst>
              <a:ext uri="{FF2B5EF4-FFF2-40B4-BE49-F238E27FC236}">
                <a16:creationId xmlns:a16="http://schemas.microsoft.com/office/drawing/2014/main" id="{A6D52043-ED32-4E19-9F90-6C6110F87534}"/>
              </a:ext>
            </a:extLst>
          </p:cNvPr>
          <p:cNvSpPr>
            <a:spLocks noEditPoints="1"/>
          </p:cNvSpPr>
          <p:nvPr/>
        </p:nvSpPr>
        <p:spPr bwMode="auto">
          <a:xfrm>
            <a:off x="7121380" y="2396402"/>
            <a:ext cx="360612" cy="266199"/>
          </a:xfrm>
          <a:custGeom>
            <a:avLst/>
            <a:gdLst>
              <a:gd name="T0" fmla="*/ 76 w 630"/>
              <a:gd name="T1" fmla="*/ 249 h 468"/>
              <a:gd name="T2" fmla="*/ 171 w 630"/>
              <a:gd name="T3" fmla="*/ 249 h 468"/>
              <a:gd name="T4" fmla="*/ 171 w 630"/>
              <a:gd name="T5" fmla="*/ 290 h 468"/>
              <a:gd name="T6" fmla="*/ 76 w 630"/>
              <a:gd name="T7" fmla="*/ 290 h 468"/>
              <a:gd name="T8" fmla="*/ 76 w 630"/>
              <a:gd name="T9" fmla="*/ 249 h 468"/>
              <a:gd name="T10" fmla="*/ 200 w 630"/>
              <a:gd name="T11" fmla="*/ 249 h 468"/>
              <a:gd name="T12" fmla="*/ 293 w 630"/>
              <a:gd name="T13" fmla="*/ 249 h 468"/>
              <a:gd name="T14" fmla="*/ 293 w 630"/>
              <a:gd name="T15" fmla="*/ 290 h 468"/>
              <a:gd name="T16" fmla="*/ 200 w 630"/>
              <a:gd name="T17" fmla="*/ 290 h 468"/>
              <a:gd name="T18" fmla="*/ 200 w 630"/>
              <a:gd name="T19" fmla="*/ 249 h 468"/>
              <a:gd name="T20" fmla="*/ 322 w 630"/>
              <a:gd name="T21" fmla="*/ 249 h 468"/>
              <a:gd name="T22" fmla="*/ 417 w 630"/>
              <a:gd name="T23" fmla="*/ 249 h 468"/>
              <a:gd name="T24" fmla="*/ 417 w 630"/>
              <a:gd name="T25" fmla="*/ 290 h 468"/>
              <a:gd name="T26" fmla="*/ 322 w 630"/>
              <a:gd name="T27" fmla="*/ 290 h 468"/>
              <a:gd name="T28" fmla="*/ 322 w 630"/>
              <a:gd name="T29" fmla="*/ 249 h 468"/>
              <a:gd name="T30" fmla="*/ 446 w 630"/>
              <a:gd name="T31" fmla="*/ 249 h 468"/>
              <a:gd name="T32" fmla="*/ 539 w 630"/>
              <a:gd name="T33" fmla="*/ 249 h 468"/>
              <a:gd name="T34" fmla="*/ 539 w 630"/>
              <a:gd name="T35" fmla="*/ 290 h 468"/>
              <a:gd name="T36" fmla="*/ 446 w 630"/>
              <a:gd name="T37" fmla="*/ 290 h 468"/>
              <a:gd name="T38" fmla="*/ 446 w 630"/>
              <a:gd name="T39" fmla="*/ 249 h 468"/>
              <a:gd name="T40" fmla="*/ 315 w 630"/>
              <a:gd name="T41" fmla="*/ 0 h 468"/>
              <a:gd name="T42" fmla="*/ 0 w 630"/>
              <a:gd name="T43" fmla="*/ 124 h 468"/>
              <a:gd name="T44" fmla="*/ 0 w 630"/>
              <a:gd name="T45" fmla="*/ 177 h 468"/>
              <a:gd name="T46" fmla="*/ 45 w 630"/>
              <a:gd name="T47" fmla="*/ 180 h 468"/>
              <a:gd name="T48" fmla="*/ 45 w 630"/>
              <a:gd name="T49" fmla="*/ 465 h 468"/>
              <a:gd name="T50" fmla="*/ 312 w 630"/>
              <a:gd name="T51" fmla="*/ 465 h 468"/>
              <a:gd name="T52" fmla="*/ 312 w 630"/>
              <a:gd name="T53" fmla="*/ 367 h 468"/>
              <a:gd name="T54" fmla="*/ 536 w 630"/>
              <a:gd name="T55" fmla="*/ 367 h 468"/>
              <a:gd name="T56" fmla="*/ 536 w 630"/>
              <a:gd name="T57" fmla="*/ 468 h 468"/>
              <a:gd name="T58" fmla="*/ 584 w 630"/>
              <a:gd name="T59" fmla="*/ 468 h 468"/>
              <a:gd name="T60" fmla="*/ 584 w 630"/>
              <a:gd name="T61" fmla="*/ 177 h 468"/>
              <a:gd name="T62" fmla="*/ 630 w 630"/>
              <a:gd name="T63" fmla="*/ 177 h 468"/>
              <a:gd name="T64" fmla="*/ 630 w 630"/>
              <a:gd name="T65" fmla="*/ 127 h 468"/>
              <a:gd name="T66" fmla="*/ 315 w 630"/>
              <a:gd name="T67" fmla="*/ 0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30" h="468">
                <a:moveTo>
                  <a:pt x="76" y="249"/>
                </a:moveTo>
                <a:lnTo>
                  <a:pt x="171" y="249"/>
                </a:lnTo>
                <a:lnTo>
                  <a:pt x="171" y="290"/>
                </a:lnTo>
                <a:lnTo>
                  <a:pt x="76" y="290"/>
                </a:lnTo>
                <a:lnTo>
                  <a:pt x="76" y="249"/>
                </a:lnTo>
                <a:close/>
                <a:moveTo>
                  <a:pt x="200" y="249"/>
                </a:moveTo>
                <a:lnTo>
                  <a:pt x="293" y="249"/>
                </a:lnTo>
                <a:lnTo>
                  <a:pt x="293" y="290"/>
                </a:lnTo>
                <a:lnTo>
                  <a:pt x="200" y="290"/>
                </a:lnTo>
                <a:lnTo>
                  <a:pt x="200" y="249"/>
                </a:lnTo>
                <a:close/>
                <a:moveTo>
                  <a:pt x="322" y="249"/>
                </a:moveTo>
                <a:lnTo>
                  <a:pt x="417" y="249"/>
                </a:lnTo>
                <a:lnTo>
                  <a:pt x="417" y="290"/>
                </a:lnTo>
                <a:lnTo>
                  <a:pt x="322" y="290"/>
                </a:lnTo>
                <a:lnTo>
                  <a:pt x="322" y="249"/>
                </a:lnTo>
                <a:close/>
                <a:moveTo>
                  <a:pt x="446" y="249"/>
                </a:moveTo>
                <a:lnTo>
                  <a:pt x="539" y="249"/>
                </a:lnTo>
                <a:lnTo>
                  <a:pt x="539" y="290"/>
                </a:lnTo>
                <a:lnTo>
                  <a:pt x="446" y="290"/>
                </a:lnTo>
                <a:lnTo>
                  <a:pt x="446" y="249"/>
                </a:lnTo>
                <a:close/>
                <a:moveTo>
                  <a:pt x="315" y="0"/>
                </a:moveTo>
                <a:lnTo>
                  <a:pt x="0" y="124"/>
                </a:lnTo>
                <a:lnTo>
                  <a:pt x="0" y="177"/>
                </a:lnTo>
                <a:lnTo>
                  <a:pt x="45" y="180"/>
                </a:lnTo>
                <a:lnTo>
                  <a:pt x="45" y="465"/>
                </a:lnTo>
                <a:lnTo>
                  <a:pt x="312" y="465"/>
                </a:lnTo>
                <a:lnTo>
                  <a:pt x="312" y="367"/>
                </a:lnTo>
                <a:lnTo>
                  <a:pt x="536" y="367"/>
                </a:lnTo>
                <a:lnTo>
                  <a:pt x="536" y="468"/>
                </a:lnTo>
                <a:lnTo>
                  <a:pt x="584" y="468"/>
                </a:lnTo>
                <a:lnTo>
                  <a:pt x="584" y="177"/>
                </a:lnTo>
                <a:lnTo>
                  <a:pt x="630" y="177"/>
                </a:lnTo>
                <a:lnTo>
                  <a:pt x="630" y="127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14" name="Oval 7">
            <a:extLst>
              <a:ext uri="{FF2B5EF4-FFF2-40B4-BE49-F238E27FC236}">
                <a16:creationId xmlns:a16="http://schemas.microsoft.com/office/drawing/2014/main" id="{B39A0AF9-449E-4697-B615-98AA0EA38B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7985" y="2909129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217" name="Gruppieren 216">
            <a:extLst>
              <a:ext uri="{FF2B5EF4-FFF2-40B4-BE49-F238E27FC236}">
                <a16:creationId xmlns:a16="http://schemas.microsoft.com/office/drawing/2014/main" id="{7ACC7991-DBF9-4CEF-ACC5-AF10FE6FA8ED}"/>
              </a:ext>
            </a:extLst>
          </p:cNvPr>
          <p:cNvGrpSpPr/>
          <p:nvPr/>
        </p:nvGrpSpPr>
        <p:grpSpPr>
          <a:xfrm>
            <a:off x="8028031" y="3159718"/>
            <a:ext cx="549989" cy="218821"/>
            <a:chOff x="1455282" y="1844935"/>
            <a:chExt cx="1203137" cy="481714"/>
          </a:xfrm>
          <a:solidFill>
            <a:schemeClr val="accent3"/>
          </a:solidFill>
        </p:grpSpPr>
        <p:grpSp>
          <p:nvGrpSpPr>
            <p:cNvPr id="221" name="Group 337954">
              <a:extLst>
                <a:ext uri="{FF2B5EF4-FFF2-40B4-BE49-F238E27FC236}">
                  <a16:creationId xmlns:a16="http://schemas.microsoft.com/office/drawing/2014/main" id="{2503CC2F-6C8F-4781-A39B-8DFE2DCDFB42}"/>
                </a:ext>
              </a:extLst>
            </p:cNvPr>
            <p:cNvGrpSpPr/>
            <p:nvPr/>
          </p:nvGrpSpPr>
          <p:grpSpPr>
            <a:xfrm>
              <a:off x="1777943" y="1844935"/>
              <a:ext cx="880476" cy="481714"/>
              <a:chOff x="-1220788" y="1668463"/>
              <a:chExt cx="960438" cy="525462"/>
            </a:xfrm>
            <a:grpFill/>
          </p:grpSpPr>
          <p:sp>
            <p:nvSpPr>
              <p:cNvPr id="223" name="Freeform 55">
                <a:extLst>
                  <a:ext uri="{FF2B5EF4-FFF2-40B4-BE49-F238E27FC236}">
                    <a16:creationId xmlns:a16="http://schemas.microsoft.com/office/drawing/2014/main" id="{97D115A3-80C1-48EB-BA91-23058719BE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160463" y="2001838"/>
                <a:ext cx="184150" cy="192087"/>
              </a:xfrm>
              <a:custGeom>
                <a:avLst/>
                <a:gdLst>
                  <a:gd name="T0" fmla="*/ 49 w 49"/>
                  <a:gd name="T1" fmla="*/ 25 h 51"/>
                  <a:gd name="T2" fmla="*/ 25 w 49"/>
                  <a:gd name="T3" fmla="*/ 0 h 51"/>
                  <a:gd name="T4" fmla="*/ 0 w 49"/>
                  <a:gd name="T5" fmla="*/ 25 h 51"/>
                  <a:gd name="T6" fmla="*/ 25 w 49"/>
                  <a:gd name="T7" fmla="*/ 51 h 51"/>
                  <a:gd name="T8" fmla="*/ 49 w 49"/>
                  <a:gd name="T9" fmla="*/ 25 h 51"/>
                  <a:gd name="T10" fmla="*/ 36 w 49"/>
                  <a:gd name="T11" fmla="*/ 25 h 51"/>
                  <a:gd name="T12" fmla="*/ 25 w 49"/>
                  <a:gd name="T13" fmla="*/ 37 h 51"/>
                  <a:gd name="T14" fmla="*/ 15 w 49"/>
                  <a:gd name="T15" fmla="*/ 25 h 51"/>
                  <a:gd name="T16" fmla="*/ 25 w 49"/>
                  <a:gd name="T17" fmla="*/ 14 h 51"/>
                  <a:gd name="T18" fmla="*/ 36 w 49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51">
                    <a:moveTo>
                      <a:pt x="49" y="25"/>
                    </a:moveTo>
                    <a:cubicBezTo>
                      <a:pt x="49" y="12"/>
                      <a:pt x="38" y="0"/>
                      <a:pt x="25" y="0"/>
                    </a:cubicBezTo>
                    <a:cubicBezTo>
                      <a:pt x="12" y="0"/>
                      <a:pt x="0" y="12"/>
                      <a:pt x="0" y="25"/>
                    </a:cubicBezTo>
                    <a:cubicBezTo>
                      <a:pt x="0" y="39"/>
                      <a:pt x="12" y="51"/>
                      <a:pt x="25" y="51"/>
                    </a:cubicBezTo>
                    <a:cubicBezTo>
                      <a:pt x="38" y="51"/>
                      <a:pt x="49" y="39"/>
                      <a:pt x="49" y="25"/>
                    </a:cubicBezTo>
                    <a:close/>
                    <a:moveTo>
                      <a:pt x="36" y="25"/>
                    </a:moveTo>
                    <a:cubicBezTo>
                      <a:pt x="36" y="32"/>
                      <a:pt x="31" y="37"/>
                      <a:pt x="25" y="37"/>
                    </a:cubicBezTo>
                    <a:cubicBezTo>
                      <a:pt x="19" y="37"/>
                      <a:pt x="15" y="32"/>
                      <a:pt x="15" y="25"/>
                    </a:cubicBezTo>
                    <a:cubicBezTo>
                      <a:pt x="15" y="19"/>
                      <a:pt x="19" y="14"/>
                      <a:pt x="25" y="14"/>
                    </a:cubicBezTo>
                    <a:cubicBezTo>
                      <a:pt x="31" y="14"/>
                      <a:pt x="36" y="19"/>
                      <a:pt x="36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5" name="Freeform 56">
                <a:extLst>
                  <a:ext uri="{FF2B5EF4-FFF2-40B4-BE49-F238E27FC236}">
                    <a16:creationId xmlns:a16="http://schemas.microsoft.com/office/drawing/2014/main" id="{FF234583-279A-4A6B-AC1B-554DA0AFE5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19113" y="2001838"/>
                <a:ext cx="180975" cy="192087"/>
              </a:xfrm>
              <a:custGeom>
                <a:avLst/>
                <a:gdLst>
                  <a:gd name="T0" fmla="*/ 48 w 48"/>
                  <a:gd name="T1" fmla="*/ 25 h 51"/>
                  <a:gd name="T2" fmla="*/ 23 w 48"/>
                  <a:gd name="T3" fmla="*/ 0 h 51"/>
                  <a:gd name="T4" fmla="*/ 0 w 48"/>
                  <a:gd name="T5" fmla="*/ 25 h 51"/>
                  <a:gd name="T6" fmla="*/ 23 w 48"/>
                  <a:gd name="T7" fmla="*/ 51 h 51"/>
                  <a:gd name="T8" fmla="*/ 48 w 48"/>
                  <a:gd name="T9" fmla="*/ 25 h 51"/>
                  <a:gd name="T10" fmla="*/ 35 w 48"/>
                  <a:gd name="T11" fmla="*/ 25 h 51"/>
                  <a:gd name="T12" fmla="*/ 23 w 48"/>
                  <a:gd name="T13" fmla="*/ 37 h 51"/>
                  <a:gd name="T14" fmla="*/ 13 w 48"/>
                  <a:gd name="T15" fmla="*/ 25 h 51"/>
                  <a:gd name="T16" fmla="*/ 23 w 48"/>
                  <a:gd name="T17" fmla="*/ 14 h 51"/>
                  <a:gd name="T18" fmla="*/ 35 w 48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51">
                    <a:moveTo>
                      <a:pt x="48" y="25"/>
                    </a:moveTo>
                    <a:cubicBezTo>
                      <a:pt x="48" y="12"/>
                      <a:pt x="37" y="0"/>
                      <a:pt x="23" y="0"/>
                    </a:cubicBezTo>
                    <a:cubicBezTo>
                      <a:pt x="10" y="0"/>
                      <a:pt x="0" y="12"/>
                      <a:pt x="0" y="25"/>
                    </a:cubicBezTo>
                    <a:cubicBezTo>
                      <a:pt x="0" y="39"/>
                      <a:pt x="10" y="51"/>
                      <a:pt x="23" y="51"/>
                    </a:cubicBezTo>
                    <a:cubicBezTo>
                      <a:pt x="37" y="51"/>
                      <a:pt x="48" y="39"/>
                      <a:pt x="48" y="25"/>
                    </a:cubicBezTo>
                    <a:close/>
                    <a:moveTo>
                      <a:pt x="35" y="25"/>
                    </a:moveTo>
                    <a:cubicBezTo>
                      <a:pt x="35" y="32"/>
                      <a:pt x="29" y="37"/>
                      <a:pt x="23" y="37"/>
                    </a:cubicBezTo>
                    <a:cubicBezTo>
                      <a:pt x="17" y="37"/>
                      <a:pt x="13" y="32"/>
                      <a:pt x="13" y="25"/>
                    </a:cubicBezTo>
                    <a:cubicBezTo>
                      <a:pt x="13" y="19"/>
                      <a:pt x="17" y="14"/>
                      <a:pt x="23" y="14"/>
                    </a:cubicBezTo>
                    <a:cubicBezTo>
                      <a:pt x="29" y="14"/>
                      <a:pt x="35" y="19"/>
                      <a:pt x="35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8" name="Freeform 57">
                <a:extLst>
                  <a:ext uri="{FF2B5EF4-FFF2-40B4-BE49-F238E27FC236}">
                    <a16:creationId xmlns:a16="http://schemas.microsoft.com/office/drawing/2014/main" id="{5913FCC8-FC83-4B1C-B488-344FE7E23E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0788" y="2012950"/>
                <a:ext cx="79375" cy="82550"/>
              </a:xfrm>
              <a:custGeom>
                <a:avLst/>
                <a:gdLst>
                  <a:gd name="T0" fmla="*/ 0 w 21"/>
                  <a:gd name="T1" fmla="*/ 0 h 22"/>
                  <a:gd name="T2" fmla="*/ 0 w 21"/>
                  <a:gd name="T3" fmla="*/ 20 h 22"/>
                  <a:gd name="T4" fmla="*/ 4 w 21"/>
                  <a:gd name="T5" fmla="*/ 22 h 22"/>
                  <a:gd name="T6" fmla="*/ 11 w 21"/>
                  <a:gd name="T7" fmla="*/ 22 h 22"/>
                  <a:gd name="T8" fmla="*/ 11 w 21"/>
                  <a:gd name="T9" fmla="*/ 22 h 22"/>
                  <a:gd name="T10" fmla="*/ 21 w 21"/>
                  <a:gd name="T11" fmla="*/ 0 h 22"/>
                  <a:gd name="T12" fmla="*/ 0 w 21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2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2"/>
                      <a:pt x="4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13"/>
                      <a:pt x="15" y="5"/>
                      <a:pt x="2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9" name="Freeform 58">
                <a:extLst>
                  <a:ext uri="{FF2B5EF4-FFF2-40B4-BE49-F238E27FC236}">
                    <a16:creationId xmlns:a16="http://schemas.microsoft.com/office/drawing/2014/main" id="{BC0704BC-ADAE-4A27-8D09-A4C398FD4D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0788" y="1668463"/>
                <a:ext cx="646113" cy="330200"/>
              </a:xfrm>
              <a:custGeom>
                <a:avLst/>
                <a:gdLst>
                  <a:gd name="T0" fmla="*/ 169 w 172"/>
                  <a:gd name="T1" fmla="*/ 0 h 88"/>
                  <a:gd name="T2" fmla="*/ 4 w 172"/>
                  <a:gd name="T3" fmla="*/ 0 h 88"/>
                  <a:gd name="T4" fmla="*/ 0 w 172"/>
                  <a:gd name="T5" fmla="*/ 3 h 88"/>
                  <a:gd name="T6" fmla="*/ 0 w 172"/>
                  <a:gd name="T7" fmla="*/ 88 h 88"/>
                  <a:gd name="T8" fmla="*/ 26 w 172"/>
                  <a:gd name="T9" fmla="*/ 88 h 88"/>
                  <a:gd name="T10" fmla="*/ 41 w 172"/>
                  <a:gd name="T11" fmla="*/ 83 h 88"/>
                  <a:gd name="T12" fmla="*/ 56 w 172"/>
                  <a:gd name="T13" fmla="*/ 88 h 88"/>
                  <a:gd name="T14" fmla="*/ 172 w 172"/>
                  <a:gd name="T15" fmla="*/ 88 h 88"/>
                  <a:gd name="T16" fmla="*/ 172 w 172"/>
                  <a:gd name="T17" fmla="*/ 3 h 88"/>
                  <a:gd name="T18" fmla="*/ 169 w 172"/>
                  <a:gd name="T1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88">
                    <a:moveTo>
                      <a:pt x="169" y="0"/>
                    </a:moveTo>
                    <a:cubicBezTo>
                      <a:pt x="0" y="0"/>
                      <a:pt x="4" y="0"/>
                      <a:pt x="4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31" y="85"/>
                      <a:pt x="36" y="83"/>
                      <a:pt x="41" y="83"/>
                    </a:cubicBezTo>
                    <a:cubicBezTo>
                      <a:pt x="47" y="83"/>
                      <a:pt x="52" y="85"/>
                      <a:pt x="56" y="88"/>
                    </a:cubicBezTo>
                    <a:cubicBezTo>
                      <a:pt x="172" y="88"/>
                      <a:pt x="172" y="88"/>
                      <a:pt x="172" y="88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72" y="1"/>
                      <a:pt x="171" y="0"/>
                      <a:pt x="1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0" name="Freeform 59">
                <a:extLst>
                  <a:ext uri="{FF2B5EF4-FFF2-40B4-BE49-F238E27FC236}">
                    <a16:creationId xmlns:a16="http://schemas.microsoft.com/office/drawing/2014/main" id="{13260241-2586-4903-B853-65774EA56F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992188" y="1739900"/>
                <a:ext cx="731838" cy="355600"/>
              </a:xfrm>
              <a:custGeom>
                <a:avLst/>
                <a:gdLst>
                  <a:gd name="T0" fmla="*/ 176 w 195"/>
                  <a:gd name="T1" fmla="*/ 4 h 95"/>
                  <a:gd name="T2" fmla="*/ 171 w 195"/>
                  <a:gd name="T3" fmla="*/ 2 h 95"/>
                  <a:gd name="T4" fmla="*/ 123 w 195"/>
                  <a:gd name="T5" fmla="*/ 2 h 95"/>
                  <a:gd name="T6" fmla="*/ 119 w 195"/>
                  <a:gd name="T7" fmla="*/ 4 h 95"/>
                  <a:gd name="T8" fmla="*/ 119 w 195"/>
                  <a:gd name="T9" fmla="*/ 73 h 95"/>
                  <a:gd name="T10" fmla="*/ 108 w 195"/>
                  <a:gd name="T11" fmla="*/ 73 h 95"/>
                  <a:gd name="T12" fmla="*/ 108 w 195"/>
                  <a:gd name="T13" fmla="*/ 73 h 95"/>
                  <a:gd name="T14" fmla="*/ 95 w 195"/>
                  <a:gd name="T15" fmla="*/ 73 h 95"/>
                  <a:gd name="T16" fmla="*/ 55 w 195"/>
                  <a:gd name="T17" fmla="*/ 73 h 95"/>
                  <a:gd name="T18" fmla="*/ 0 w 195"/>
                  <a:gd name="T19" fmla="*/ 73 h 95"/>
                  <a:gd name="T20" fmla="*/ 9 w 195"/>
                  <a:gd name="T21" fmla="*/ 95 h 95"/>
                  <a:gd name="T22" fmla="*/ 9 w 195"/>
                  <a:gd name="T23" fmla="*/ 95 h 95"/>
                  <a:gd name="T24" fmla="*/ 45 w 195"/>
                  <a:gd name="T25" fmla="*/ 95 h 95"/>
                  <a:gd name="T26" fmla="*/ 104 w 195"/>
                  <a:gd name="T27" fmla="*/ 95 h 95"/>
                  <a:gd name="T28" fmla="*/ 108 w 195"/>
                  <a:gd name="T29" fmla="*/ 95 h 95"/>
                  <a:gd name="T30" fmla="*/ 108 w 195"/>
                  <a:gd name="T31" fmla="*/ 95 h 95"/>
                  <a:gd name="T32" fmla="*/ 120 w 195"/>
                  <a:gd name="T33" fmla="*/ 95 h 95"/>
                  <a:gd name="T34" fmla="*/ 120 w 195"/>
                  <a:gd name="T35" fmla="*/ 88 h 95"/>
                  <a:gd name="T36" fmla="*/ 149 w 195"/>
                  <a:gd name="T37" fmla="*/ 64 h 95"/>
                  <a:gd name="T38" fmla="*/ 180 w 195"/>
                  <a:gd name="T39" fmla="*/ 95 h 95"/>
                  <a:gd name="T40" fmla="*/ 195 w 195"/>
                  <a:gd name="T41" fmla="*/ 95 h 95"/>
                  <a:gd name="T42" fmla="*/ 195 w 195"/>
                  <a:gd name="T43" fmla="*/ 48 h 95"/>
                  <a:gd name="T44" fmla="*/ 176 w 195"/>
                  <a:gd name="T45" fmla="*/ 4 h 95"/>
                  <a:gd name="T46" fmla="*/ 141 w 195"/>
                  <a:gd name="T47" fmla="*/ 39 h 95"/>
                  <a:gd name="T48" fmla="*/ 141 w 195"/>
                  <a:gd name="T49" fmla="*/ 10 h 95"/>
                  <a:gd name="T50" fmla="*/ 167 w 195"/>
                  <a:gd name="T51" fmla="*/ 10 h 95"/>
                  <a:gd name="T52" fmla="*/ 179 w 195"/>
                  <a:gd name="T53" fmla="*/ 39 h 95"/>
                  <a:gd name="T54" fmla="*/ 141 w 195"/>
                  <a:gd name="T55" fmla="*/ 3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5" h="95">
                    <a:moveTo>
                      <a:pt x="176" y="4"/>
                    </a:moveTo>
                    <a:cubicBezTo>
                      <a:pt x="176" y="0"/>
                      <a:pt x="171" y="2"/>
                      <a:pt x="171" y="2"/>
                    </a:cubicBezTo>
                    <a:cubicBezTo>
                      <a:pt x="171" y="2"/>
                      <a:pt x="171" y="2"/>
                      <a:pt x="123" y="2"/>
                    </a:cubicBezTo>
                    <a:cubicBezTo>
                      <a:pt x="123" y="2"/>
                      <a:pt x="119" y="0"/>
                      <a:pt x="119" y="4"/>
                    </a:cubicBezTo>
                    <a:cubicBezTo>
                      <a:pt x="119" y="4"/>
                      <a:pt x="119" y="4"/>
                      <a:pt x="119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95" y="73"/>
                      <a:pt x="95" y="73"/>
                      <a:pt x="95" y="73"/>
                    </a:cubicBezTo>
                    <a:cubicBezTo>
                      <a:pt x="55" y="73"/>
                      <a:pt x="55" y="73"/>
                      <a:pt x="55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6" y="78"/>
                      <a:pt x="9" y="86"/>
                      <a:pt x="9" y="95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44" y="95"/>
                      <a:pt x="45" y="95"/>
                      <a:pt x="45" y="95"/>
                    </a:cubicBezTo>
                    <a:cubicBezTo>
                      <a:pt x="104" y="95"/>
                      <a:pt x="104" y="95"/>
                      <a:pt x="104" y="95"/>
                    </a:cubicBezTo>
                    <a:cubicBezTo>
                      <a:pt x="107" y="95"/>
                      <a:pt x="107" y="95"/>
                      <a:pt x="108" y="95"/>
                    </a:cubicBezTo>
                    <a:cubicBezTo>
                      <a:pt x="108" y="95"/>
                      <a:pt x="108" y="95"/>
                      <a:pt x="108" y="95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0" y="88"/>
                      <a:pt x="120" y="88"/>
                      <a:pt x="120" y="88"/>
                    </a:cubicBezTo>
                    <a:cubicBezTo>
                      <a:pt x="123" y="75"/>
                      <a:pt x="135" y="64"/>
                      <a:pt x="149" y="64"/>
                    </a:cubicBezTo>
                    <a:cubicBezTo>
                      <a:pt x="165" y="64"/>
                      <a:pt x="180" y="78"/>
                      <a:pt x="180" y="95"/>
                    </a:cubicBezTo>
                    <a:cubicBezTo>
                      <a:pt x="180" y="95"/>
                      <a:pt x="180" y="95"/>
                      <a:pt x="195" y="95"/>
                    </a:cubicBezTo>
                    <a:cubicBezTo>
                      <a:pt x="195" y="48"/>
                      <a:pt x="195" y="48"/>
                      <a:pt x="195" y="48"/>
                    </a:cubicBezTo>
                    <a:cubicBezTo>
                      <a:pt x="195" y="48"/>
                      <a:pt x="177" y="8"/>
                      <a:pt x="176" y="4"/>
                    </a:cubicBezTo>
                    <a:close/>
                    <a:moveTo>
                      <a:pt x="141" y="39"/>
                    </a:moveTo>
                    <a:cubicBezTo>
                      <a:pt x="141" y="39"/>
                      <a:pt x="141" y="39"/>
                      <a:pt x="141" y="10"/>
                    </a:cubicBezTo>
                    <a:cubicBezTo>
                      <a:pt x="141" y="10"/>
                      <a:pt x="141" y="10"/>
                      <a:pt x="167" y="10"/>
                    </a:cubicBezTo>
                    <a:cubicBezTo>
                      <a:pt x="179" y="39"/>
                      <a:pt x="179" y="39"/>
                      <a:pt x="179" y="39"/>
                    </a:cubicBezTo>
                    <a:cubicBezTo>
                      <a:pt x="179" y="39"/>
                      <a:pt x="172" y="39"/>
                      <a:pt x="141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222" name="Freeform 7">
              <a:extLst>
                <a:ext uri="{FF2B5EF4-FFF2-40B4-BE49-F238E27FC236}">
                  <a16:creationId xmlns:a16="http://schemas.microsoft.com/office/drawing/2014/main" id="{FBE7CF06-CC5F-4BEA-98BF-6E89DA0E36B3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1455282" y="1871867"/>
              <a:ext cx="239580" cy="315545"/>
            </a:xfrm>
            <a:custGeom>
              <a:avLst/>
              <a:gdLst>
                <a:gd name="T0" fmla="*/ 18 w 243"/>
                <a:gd name="T1" fmla="*/ 36 h 320"/>
                <a:gd name="T2" fmla="*/ 225 w 243"/>
                <a:gd name="T3" fmla="*/ 36 h 320"/>
                <a:gd name="T4" fmla="*/ 243 w 243"/>
                <a:gd name="T5" fmla="*/ 18 h 320"/>
                <a:gd name="T6" fmla="*/ 225 w 243"/>
                <a:gd name="T7" fmla="*/ 0 h 320"/>
                <a:gd name="T8" fmla="*/ 18 w 243"/>
                <a:gd name="T9" fmla="*/ 0 h 320"/>
                <a:gd name="T10" fmla="*/ 0 w 243"/>
                <a:gd name="T11" fmla="*/ 18 h 320"/>
                <a:gd name="T12" fmla="*/ 18 w 243"/>
                <a:gd name="T13" fmla="*/ 36 h 320"/>
                <a:gd name="T14" fmla="*/ 225 w 243"/>
                <a:gd name="T15" fmla="*/ 284 h 320"/>
                <a:gd name="T16" fmla="*/ 18 w 243"/>
                <a:gd name="T17" fmla="*/ 284 h 320"/>
                <a:gd name="T18" fmla="*/ 0 w 243"/>
                <a:gd name="T19" fmla="*/ 302 h 320"/>
                <a:gd name="T20" fmla="*/ 18 w 243"/>
                <a:gd name="T21" fmla="*/ 320 h 320"/>
                <a:gd name="T22" fmla="*/ 225 w 243"/>
                <a:gd name="T23" fmla="*/ 320 h 320"/>
                <a:gd name="T24" fmla="*/ 243 w 243"/>
                <a:gd name="T25" fmla="*/ 302 h 320"/>
                <a:gd name="T26" fmla="*/ 225 w 243"/>
                <a:gd name="T27" fmla="*/ 284 h 320"/>
                <a:gd name="T28" fmla="*/ 18 w 243"/>
                <a:gd name="T29" fmla="*/ 176 h 320"/>
                <a:gd name="T30" fmla="*/ 113 w 243"/>
                <a:gd name="T31" fmla="*/ 176 h 320"/>
                <a:gd name="T32" fmla="*/ 131 w 243"/>
                <a:gd name="T33" fmla="*/ 158 h 320"/>
                <a:gd name="T34" fmla="*/ 113 w 243"/>
                <a:gd name="T35" fmla="*/ 140 h 320"/>
                <a:gd name="T36" fmla="*/ 18 w 243"/>
                <a:gd name="T37" fmla="*/ 140 h 320"/>
                <a:gd name="T38" fmla="*/ 0 w 243"/>
                <a:gd name="T39" fmla="*/ 158 h 320"/>
                <a:gd name="T40" fmla="*/ 18 w 243"/>
                <a:gd name="T41" fmla="*/ 17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320">
                  <a:moveTo>
                    <a:pt x="18" y="36"/>
                  </a:moveTo>
                  <a:cubicBezTo>
                    <a:pt x="225" y="36"/>
                    <a:pt x="225" y="36"/>
                    <a:pt x="225" y="36"/>
                  </a:cubicBezTo>
                  <a:cubicBezTo>
                    <a:pt x="235" y="36"/>
                    <a:pt x="243" y="28"/>
                    <a:pt x="243" y="18"/>
                  </a:cubicBezTo>
                  <a:cubicBezTo>
                    <a:pt x="243" y="8"/>
                    <a:pt x="235" y="0"/>
                    <a:pt x="225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close/>
                  <a:moveTo>
                    <a:pt x="225" y="284"/>
                  </a:moveTo>
                  <a:cubicBezTo>
                    <a:pt x="18" y="284"/>
                    <a:pt x="18" y="284"/>
                    <a:pt x="18" y="284"/>
                  </a:cubicBezTo>
                  <a:cubicBezTo>
                    <a:pt x="8" y="284"/>
                    <a:pt x="0" y="292"/>
                    <a:pt x="0" y="302"/>
                  </a:cubicBezTo>
                  <a:cubicBezTo>
                    <a:pt x="0" y="312"/>
                    <a:pt x="8" y="320"/>
                    <a:pt x="18" y="320"/>
                  </a:cubicBezTo>
                  <a:cubicBezTo>
                    <a:pt x="225" y="320"/>
                    <a:pt x="225" y="320"/>
                    <a:pt x="225" y="320"/>
                  </a:cubicBezTo>
                  <a:cubicBezTo>
                    <a:pt x="235" y="320"/>
                    <a:pt x="243" y="312"/>
                    <a:pt x="243" y="302"/>
                  </a:cubicBezTo>
                  <a:cubicBezTo>
                    <a:pt x="243" y="292"/>
                    <a:pt x="235" y="284"/>
                    <a:pt x="225" y="284"/>
                  </a:cubicBezTo>
                  <a:close/>
                  <a:moveTo>
                    <a:pt x="18" y="176"/>
                  </a:moveTo>
                  <a:cubicBezTo>
                    <a:pt x="113" y="176"/>
                    <a:pt x="113" y="176"/>
                    <a:pt x="113" y="176"/>
                  </a:cubicBezTo>
                  <a:cubicBezTo>
                    <a:pt x="123" y="176"/>
                    <a:pt x="131" y="168"/>
                    <a:pt x="131" y="158"/>
                  </a:cubicBezTo>
                  <a:cubicBezTo>
                    <a:pt x="131" y="148"/>
                    <a:pt x="123" y="140"/>
                    <a:pt x="113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8" y="140"/>
                    <a:pt x="0" y="148"/>
                    <a:pt x="0" y="158"/>
                  </a:cubicBezTo>
                  <a:cubicBezTo>
                    <a:pt x="0" y="168"/>
                    <a:pt x="8" y="176"/>
                    <a:pt x="18" y="1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32" name="Oval 5">
            <a:extLst>
              <a:ext uri="{FF2B5EF4-FFF2-40B4-BE49-F238E27FC236}">
                <a16:creationId xmlns:a16="http://schemas.microsoft.com/office/drawing/2014/main" id="{F443C69E-1563-48BC-8D03-1A468BF5F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3822" y="690245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233" name="Gruppieren 232">
            <a:extLst>
              <a:ext uri="{FF2B5EF4-FFF2-40B4-BE49-F238E27FC236}">
                <a16:creationId xmlns:a16="http://schemas.microsoft.com/office/drawing/2014/main" id="{49211017-D10D-4E73-9252-2F3D6272648D}"/>
              </a:ext>
            </a:extLst>
          </p:cNvPr>
          <p:cNvGrpSpPr>
            <a:grpSpLocks noChangeAspect="1"/>
          </p:cNvGrpSpPr>
          <p:nvPr/>
        </p:nvGrpSpPr>
        <p:grpSpPr>
          <a:xfrm>
            <a:off x="7073377" y="816430"/>
            <a:ext cx="400889" cy="467630"/>
            <a:chOff x="2355850" y="-1588"/>
            <a:chExt cx="5843588" cy="6859588"/>
          </a:xfrm>
          <a:solidFill>
            <a:schemeClr val="accent3"/>
          </a:solidFill>
        </p:grpSpPr>
        <p:sp>
          <p:nvSpPr>
            <p:cNvPr id="234" name="Freeform 5">
              <a:extLst>
                <a:ext uri="{FF2B5EF4-FFF2-40B4-BE49-F238E27FC236}">
                  <a16:creationId xmlns:a16="http://schemas.microsoft.com/office/drawing/2014/main" id="{94910B4C-932F-4F8C-9489-641EF8DDE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7375" y="4162425"/>
              <a:ext cx="1917700" cy="1274763"/>
            </a:xfrm>
            <a:custGeom>
              <a:avLst/>
              <a:gdLst/>
              <a:ahLst/>
              <a:cxnLst>
                <a:cxn ang="0">
                  <a:pos x="575" y="586"/>
                </a:cxn>
                <a:cxn ang="0">
                  <a:pos x="625" y="631"/>
                </a:cxn>
                <a:cxn ang="0">
                  <a:pos x="672" y="660"/>
                </a:cxn>
                <a:cxn ang="0">
                  <a:pos x="758" y="614"/>
                </a:cxn>
                <a:cxn ang="0">
                  <a:pos x="784" y="585"/>
                </a:cxn>
                <a:cxn ang="0">
                  <a:pos x="740" y="599"/>
                </a:cxn>
                <a:cxn ang="0">
                  <a:pos x="668" y="542"/>
                </a:cxn>
                <a:cxn ang="0">
                  <a:pos x="948" y="438"/>
                </a:cxn>
                <a:cxn ang="0">
                  <a:pos x="988" y="242"/>
                </a:cxn>
                <a:cxn ang="0">
                  <a:pos x="913" y="209"/>
                </a:cxn>
                <a:cxn ang="0">
                  <a:pos x="836" y="180"/>
                </a:cxn>
                <a:cxn ang="0">
                  <a:pos x="742" y="162"/>
                </a:cxn>
                <a:cxn ang="0">
                  <a:pos x="686" y="105"/>
                </a:cxn>
                <a:cxn ang="0">
                  <a:pos x="677" y="43"/>
                </a:cxn>
                <a:cxn ang="0">
                  <a:pos x="649" y="6"/>
                </a:cxn>
                <a:cxn ang="0">
                  <a:pos x="592" y="15"/>
                </a:cxn>
                <a:cxn ang="0">
                  <a:pos x="549" y="31"/>
                </a:cxn>
                <a:cxn ang="0">
                  <a:pos x="492" y="52"/>
                </a:cxn>
                <a:cxn ang="0">
                  <a:pos x="432" y="88"/>
                </a:cxn>
                <a:cxn ang="0">
                  <a:pos x="378" y="92"/>
                </a:cxn>
                <a:cxn ang="0">
                  <a:pos x="321" y="83"/>
                </a:cxn>
                <a:cxn ang="0">
                  <a:pos x="255" y="54"/>
                </a:cxn>
                <a:cxn ang="0">
                  <a:pos x="176" y="46"/>
                </a:cxn>
                <a:cxn ang="0">
                  <a:pos x="115" y="70"/>
                </a:cxn>
                <a:cxn ang="0">
                  <a:pos x="139" y="130"/>
                </a:cxn>
                <a:cxn ang="0">
                  <a:pos x="135" y="170"/>
                </a:cxn>
                <a:cxn ang="0">
                  <a:pos x="66" y="235"/>
                </a:cxn>
                <a:cxn ang="0">
                  <a:pos x="67" y="276"/>
                </a:cxn>
                <a:cxn ang="0">
                  <a:pos x="25" y="291"/>
                </a:cxn>
                <a:cxn ang="0">
                  <a:pos x="0" y="331"/>
                </a:cxn>
                <a:cxn ang="0">
                  <a:pos x="52" y="369"/>
                </a:cxn>
                <a:cxn ang="0">
                  <a:pos x="122" y="378"/>
                </a:cxn>
                <a:cxn ang="0">
                  <a:pos x="211" y="374"/>
                </a:cxn>
                <a:cxn ang="0">
                  <a:pos x="252" y="337"/>
                </a:cxn>
                <a:cxn ang="0">
                  <a:pos x="284" y="336"/>
                </a:cxn>
                <a:cxn ang="0">
                  <a:pos x="323" y="348"/>
                </a:cxn>
                <a:cxn ang="0">
                  <a:pos x="343" y="359"/>
                </a:cxn>
                <a:cxn ang="0">
                  <a:pos x="363" y="365"/>
                </a:cxn>
                <a:cxn ang="0">
                  <a:pos x="389" y="378"/>
                </a:cxn>
                <a:cxn ang="0">
                  <a:pos x="387" y="404"/>
                </a:cxn>
                <a:cxn ang="0">
                  <a:pos x="398" y="431"/>
                </a:cxn>
                <a:cxn ang="0">
                  <a:pos x="406" y="453"/>
                </a:cxn>
                <a:cxn ang="0">
                  <a:pos x="427" y="490"/>
                </a:cxn>
                <a:cxn ang="0">
                  <a:pos x="406" y="507"/>
                </a:cxn>
                <a:cxn ang="0">
                  <a:pos x="389" y="504"/>
                </a:cxn>
                <a:cxn ang="0">
                  <a:pos x="375" y="523"/>
                </a:cxn>
                <a:cxn ang="0">
                  <a:pos x="350" y="562"/>
                </a:cxn>
                <a:cxn ang="0">
                  <a:pos x="342" y="586"/>
                </a:cxn>
                <a:cxn ang="0">
                  <a:pos x="385" y="595"/>
                </a:cxn>
                <a:cxn ang="0">
                  <a:pos x="445" y="557"/>
                </a:cxn>
                <a:cxn ang="0">
                  <a:pos x="474" y="508"/>
                </a:cxn>
                <a:cxn ang="0">
                  <a:pos x="542" y="495"/>
                </a:cxn>
                <a:cxn ang="0">
                  <a:pos x="555" y="536"/>
                </a:cxn>
                <a:cxn ang="0">
                  <a:pos x="637" y="532"/>
                </a:cxn>
                <a:cxn ang="0">
                  <a:pos x="695" y="533"/>
                </a:cxn>
                <a:cxn ang="0">
                  <a:pos x="737" y="506"/>
                </a:cxn>
                <a:cxn ang="0">
                  <a:pos x="836" y="469"/>
                </a:cxn>
                <a:cxn ang="0">
                  <a:pos x="912" y="437"/>
                </a:cxn>
                <a:cxn ang="0">
                  <a:pos x="967" y="387"/>
                </a:cxn>
                <a:cxn ang="0">
                  <a:pos x="992" y="331"/>
                </a:cxn>
                <a:cxn ang="0">
                  <a:pos x="134" y="165"/>
                </a:cxn>
              </a:cxnLst>
              <a:rect l="0" t="0" r="r" b="b"/>
              <a:pathLst>
                <a:path w="1026" h="682">
                  <a:moveTo>
                    <a:pt x="641" y="535"/>
                  </a:moveTo>
                  <a:cubicBezTo>
                    <a:pt x="641" y="534"/>
                    <a:pt x="639" y="534"/>
                    <a:pt x="638" y="533"/>
                  </a:cubicBezTo>
                  <a:cubicBezTo>
                    <a:pt x="638" y="536"/>
                    <a:pt x="637" y="539"/>
                    <a:pt x="637" y="542"/>
                  </a:cubicBezTo>
                  <a:cubicBezTo>
                    <a:pt x="637" y="544"/>
                    <a:pt x="637" y="546"/>
                    <a:pt x="638" y="547"/>
                  </a:cubicBezTo>
                  <a:cubicBezTo>
                    <a:pt x="639" y="550"/>
                    <a:pt x="640" y="548"/>
                    <a:pt x="642" y="550"/>
                  </a:cubicBezTo>
                  <a:cubicBezTo>
                    <a:pt x="644" y="552"/>
                    <a:pt x="642" y="553"/>
                    <a:pt x="640" y="554"/>
                  </a:cubicBezTo>
                  <a:cubicBezTo>
                    <a:pt x="639" y="555"/>
                    <a:pt x="637" y="556"/>
                    <a:pt x="635" y="557"/>
                  </a:cubicBezTo>
                  <a:cubicBezTo>
                    <a:pt x="632" y="560"/>
                    <a:pt x="629" y="559"/>
                    <a:pt x="624" y="560"/>
                  </a:cubicBezTo>
                  <a:cubicBezTo>
                    <a:pt x="621" y="560"/>
                    <a:pt x="616" y="562"/>
                    <a:pt x="613" y="564"/>
                  </a:cubicBezTo>
                  <a:cubicBezTo>
                    <a:pt x="607" y="568"/>
                    <a:pt x="599" y="572"/>
                    <a:pt x="593" y="575"/>
                  </a:cubicBezTo>
                  <a:cubicBezTo>
                    <a:pt x="588" y="577"/>
                    <a:pt x="583" y="579"/>
                    <a:pt x="579" y="583"/>
                  </a:cubicBezTo>
                  <a:cubicBezTo>
                    <a:pt x="578" y="584"/>
                    <a:pt x="576" y="585"/>
                    <a:pt x="575" y="586"/>
                  </a:cubicBezTo>
                  <a:cubicBezTo>
                    <a:pt x="572" y="587"/>
                    <a:pt x="571" y="586"/>
                    <a:pt x="569" y="589"/>
                  </a:cubicBezTo>
                  <a:cubicBezTo>
                    <a:pt x="568" y="591"/>
                    <a:pt x="565" y="596"/>
                    <a:pt x="567" y="599"/>
                  </a:cubicBezTo>
                  <a:cubicBezTo>
                    <a:pt x="569" y="601"/>
                    <a:pt x="578" y="601"/>
                    <a:pt x="581" y="601"/>
                  </a:cubicBezTo>
                  <a:cubicBezTo>
                    <a:pt x="583" y="601"/>
                    <a:pt x="586" y="600"/>
                    <a:pt x="588" y="600"/>
                  </a:cubicBezTo>
                  <a:cubicBezTo>
                    <a:pt x="591" y="601"/>
                    <a:pt x="590" y="603"/>
                    <a:pt x="592" y="605"/>
                  </a:cubicBezTo>
                  <a:cubicBezTo>
                    <a:pt x="593" y="606"/>
                    <a:pt x="596" y="607"/>
                    <a:pt x="597" y="607"/>
                  </a:cubicBezTo>
                  <a:cubicBezTo>
                    <a:pt x="600" y="608"/>
                    <a:pt x="601" y="609"/>
                    <a:pt x="603" y="610"/>
                  </a:cubicBezTo>
                  <a:cubicBezTo>
                    <a:pt x="605" y="611"/>
                    <a:pt x="607" y="613"/>
                    <a:pt x="609" y="614"/>
                  </a:cubicBezTo>
                  <a:cubicBezTo>
                    <a:pt x="613" y="616"/>
                    <a:pt x="615" y="612"/>
                    <a:pt x="618" y="610"/>
                  </a:cubicBezTo>
                  <a:cubicBezTo>
                    <a:pt x="623" y="607"/>
                    <a:pt x="625" y="610"/>
                    <a:pt x="625" y="615"/>
                  </a:cubicBezTo>
                  <a:cubicBezTo>
                    <a:pt x="624" y="619"/>
                    <a:pt x="626" y="622"/>
                    <a:pt x="625" y="626"/>
                  </a:cubicBezTo>
                  <a:cubicBezTo>
                    <a:pt x="625" y="629"/>
                    <a:pt x="624" y="629"/>
                    <a:pt x="625" y="631"/>
                  </a:cubicBezTo>
                  <a:cubicBezTo>
                    <a:pt x="626" y="634"/>
                    <a:pt x="628" y="635"/>
                    <a:pt x="628" y="638"/>
                  </a:cubicBezTo>
                  <a:cubicBezTo>
                    <a:pt x="628" y="642"/>
                    <a:pt x="622" y="647"/>
                    <a:pt x="620" y="650"/>
                  </a:cubicBezTo>
                  <a:cubicBezTo>
                    <a:pt x="619" y="651"/>
                    <a:pt x="618" y="652"/>
                    <a:pt x="616" y="653"/>
                  </a:cubicBezTo>
                  <a:cubicBezTo>
                    <a:pt x="614" y="655"/>
                    <a:pt x="611" y="655"/>
                    <a:pt x="612" y="658"/>
                  </a:cubicBezTo>
                  <a:cubicBezTo>
                    <a:pt x="614" y="668"/>
                    <a:pt x="630" y="661"/>
                    <a:pt x="634" y="667"/>
                  </a:cubicBezTo>
                  <a:cubicBezTo>
                    <a:pt x="635" y="668"/>
                    <a:pt x="634" y="670"/>
                    <a:pt x="635" y="671"/>
                  </a:cubicBezTo>
                  <a:cubicBezTo>
                    <a:pt x="636" y="674"/>
                    <a:pt x="639" y="676"/>
                    <a:pt x="642" y="677"/>
                  </a:cubicBezTo>
                  <a:cubicBezTo>
                    <a:pt x="648" y="682"/>
                    <a:pt x="663" y="681"/>
                    <a:pt x="670" y="679"/>
                  </a:cubicBezTo>
                  <a:cubicBezTo>
                    <a:pt x="673" y="678"/>
                    <a:pt x="675" y="677"/>
                    <a:pt x="677" y="676"/>
                  </a:cubicBezTo>
                  <a:cubicBezTo>
                    <a:pt x="681" y="675"/>
                    <a:pt x="684" y="677"/>
                    <a:pt x="684" y="672"/>
                  </a:cubicBezTo>
                  <a:cubicBezTo>
                    <a:pt x="683" y="664"/>
                    <a:pt x="671" y="663"/>
                    <a:pt x="665" y="666"/>
                  </a:cubicBezTo>
                  <a:cubicBezTo>
                    <a:pt x="663" y="662"/>
                    <a:pt x="670" y="661"/>
                    <a:pt x="672" y="660"/>
                  </a:cubicBezTo>
                  <a:cubicBezTo>
                    <a:pt x="676" y="659"/>
                    <a:pt x="678" y="658"/>
                    <a:pt x="681" y="656"/>
                  </a:cubicBezTo>
                  <a:cubicBezTo>
                    <a:pt x="683" y="654"/>
                    <a:pt x="685" y="653"/>
                    <a:pt x="686" y="650"/>
                  </a:cubicBezTo>
                  <a:cubicBezTo>
                    <a:pt x="686" y="647"/>
                    <a:pt x="686" y="642"/>
                    <a:pt x="689" y="640"/>
                  </a:cubicBezTo>
                  <a:cubicBezTo>
                    <a:pt x="692" y="639"/>
                    <a:pt x="696" y="641"/>
                    <a:pt x="699" y="640"/>
                  </a:cubicBezTo>
                  <a:cubicBezTo>
                    <a:pt x="703" y="638"/>
                    <a:pt x="706" y="635"/>
                    <a:pt x="710" y="635"/>
                  </a:cubicBezTo>
                  <a:cubicBezTo>
                    <a:pt x="715" y="635"/>
                    <a:pt x="712" y="637"/>
                    <a:pt x="715" y="639"/>
                  </a:cubicBezTo>
                  <a:cubicBezTo>
                    <a:pt x="718" y="642"/>
                    <a:pt x="721" y="634"/>
                    <a:pt x="722" y="632"/>
                  </a:cubicBezTo>
                  <a:cubicBezTo>
                    <a:pt x="724" y="630"/>
                    <a:pt x="726" y="626"/>
                    <a:pt x="728" y="625"/>
                  </a:cubicBezTo>
                  <a:cubicBezTo>
                    <a:pt x="730" y="623"/>
                    <a:pt x="733" y="625"/>
                    <a:pt x="735" y="622"/>
                  </a:cubicBezTo>
                  <a:cubicBezTo>
                    <a:pt x="740" y="617"/>
                    <a:pt x="742" y="609"/>
                    <a:pt x="750" y="611"/>
                  </a:cubicBezTo>
                  <a:cubicBezTo>
                    <a:pt x="751" y="611"/>
                    <a:pt x="753" y="612"/>
                    <a:pt x="753" y="613"/>
                  </a:cubicBezTo>
                  <a:cubicBezTo>
                    <a:pt x="755" y="613"/>
                    <a:pt x="756" y="614"/>
                    <a:pt x="758" y="614"/>
                  </a:cubicBezTo>
                  <a:cubicBezTo>
                    <a:pt x="761" y="615"/>
                    <a:pt x="764" y="615"/>
                    <a:pt x="767" y="615"/>
                  </a:cubicBezTo>
                  <a:cubicBezTo>
                    <a:pt x="774" y="615"/>
                    <a:pt x="780" y="612"/>
                    <a:pt x="787" y="613"/>
                  </a:cubicBezTo>
                  <a:cubicBezTo>
                    <a:pt x="786" y="613"/>
                    <a:pt x="787" y="614"/>
                    <a:pt x="787" y="615"/>
                  </a:cubicBezTo>
                  <a:cubicBezTo>
                    <a:pt x="789" y="615"/>
                    <a:pt x="791" y="614"/>
                    <a:pt x="793" y="613"/>
                  </a:cubicBezTo>
                  <a:cubicBezTo>
                    <a:pt x="795" y="613"/>
                    <a:pt x="799" y="613"/>
                    <a:pt x="800" y="613"/>
                  </a:cubicBezTo>
                  <a:cubicBezTo>
                    <a:pt x="804" y="611"/>
                    <a:pt x="801" y="604"/>
                    <a:pt x="797" y="605"/>
                  </a:cubicBezTo>
                  <a:cubicBezTo>
                    <a:pt x="794" y="602"/>
                    <a:pt x="797" y="598"/>
                    <a:pt x="800" y="597"/>
                  </a:cubicBezTo>
                  <a:cubicBezTo>
                    <a:pt x="804" y="595"/>
                    <a:pt x="809" y="594"/>
                    <a:pt x="809" y="589"/>
                  </a:cubicBezTo>
                  <a:cubicBezTo>
                    <a:pt x="810" y="589"/>
                    <a:pt x="812" y="590"/>
                    <a:pt x="813" y="590"/>
                  </a:cubicBezTo>
                  <a:cubicBezTo>
                    <a:pt x="815" y="584"/>
                    <a:pt x="804" y="587"/>
                    <a:pt x="802" y="586"/>
                  </a:cubicBezTo>
                  <a:cubicBezTo>
                    <a:pt x="799" y="585"/>
                    <a:pt x="799" y="581"/>
                    <a:pt x="795" y="581"/>
                  </a:cubicBezTo>
                  <a:cubicBezTo>
                    <a:pt x="791" y="580"/>
                    <a:pt x="787" y="583"/>
                    <a:pt x="784" y="585"/>
                  </a:cubicBezTo>
                  <a:cubicBezTo>
                    <a:pt x="782" y="585"/>
                    <a:pt x="783" y="586"/>
                    <a:pt x="781" y="586"/>
                  </a:cubicBezTo>
                  <a:cubicBezTo>
                    <a:pt x="780" y="587"/>
                    <a:pt x="778" y="586"/>
                    <a:pt x="776" y="586"/>
                  </a:cubicBezTo>
                  <a:cubicBezTo>
                    <a:pt x="776" y="587"/>
                    <a:pt x="776" y="587"/>
                    <a:pt x="776" y="588"/>
                  </a:cubicBezTo>
                  <a:cubicBezTo>
                    <a:pt x="774" y="588"/>
                    <a:pt x="771" y="587"/>
                    <a:pt x="769" y="586"/>
                  </a:cubicBezTo>
                  <a:cubicBezTo>
                    <a:pt x="767" y="584"/>
                    <a:pt x="767" y="582"/>
                    <a:pt x="764" y="582"/>
                  </a:cubicBezTo>
                  <a:cubicBezTo>
                    <a:pt x="761" y="581"/>
                    <a:pt x="760" y="585"/>
                    <a:pt x="758" y="587"/>
                  </a:cubicBezTo>
                  <a:cubicBezTo>
                    <a:pt x="757" y="588"/>
                    <a:pt x="756" y="588"/>
                    <a:pt x="755" y="589"/>
                  </a:cubicBezTo>
                  <a:cubicBezTo>
                    <a:pt x="754" y="589"/>
                    <a:pt x="753" y="589"/>
                    <a:pt x="753" y="590"/>
                  </a:cubicBezTo>
                  <a:cubicBezTo>
                    <a:pt x="753" y="590"/>
                    <a:pt x="752" y="591"/>
                    <a:pt x="752" y="591"/>
                  </a:cubicBezTo>
                  <a:cubicBezTo>
                    <a:pt x="751" y="592"/>
                    <a:pt x="750" y="592"/>
                    <a:pt x="749" y="593"/>
                  </a:cubicBezTo>
                  <a:cubicBezTo>
                    <a:pt x="746" y="594"/>
                    <a:pt x="747" y="593"/>
                    <a:pt x="745" y="595"/>
                  </a:cubicBezTo>
                  <a:cubicBezTo>
                    <a:pt x="743" y="597"/>
                    <a:pt x="743" y="598"/>
                    <a:pt x="740" y="599"/>
                  </a:cubicBezTo>
                  <a:cubicBezTo>
                    <a:pt x="734" y="600"/>
                    <a:pt x="730" y="596"/>
                    <a:pt x="726" y="592"/>
                  </a:cubicBezTo>
                  <a:cubicBezTo>
                    <a:pt x="721" y="588"/>
                    <a:pt x="716" y="584"/>
                    <a:pt x="709" y="583"/>
                  </a:cubicBezTo>
                  <a:cubicBezTo>
                    <a:pt x="710" y="582"/>
                    <a:pt x="714" y="582"/>
                    <a:pt x="716" y="579"/>
                  </a:cubicBezTo>
                  <a:cubicBezTo>
                    <a:pt x="719" y="574"/>
                    <a:pt x="713" y="573"/>
                    <a:pt x="709" y="573"/>
                  </a:cubicBezTo>
                  <a:cubicBezTo>
                    <a:pt x="709" y="571"/>
                    <a:pt x="710" y="567"/>
                    <a:pt x="709" y="565"/>
                  </a:cubicBezTo>
                  <a:cubicBezTo>
                    <a:pt x="706" y="562"/>
                    <a:pt x="699" y="563"/>
                    <a:pt x="695" y="563"/>
                  </a:cubicBezTo>
                  <a:cubicBezTo>
                    <a:pt x="695" y="560"/>
                    <a:pt x="695" y="556"/>
                    <a:pt x="694" y="554"/>
                  </a:cubicBezTo>
                  <a:cubicBezTo>
                    <a:pt x="694" y="551"/>
                    <a:pt x="694" y="551"/>
                    <a:pt x="690" y="551"/>
                  </a:cubicBezTo>
                  <a:cubicBezTo>
                    <a:pt x="687" y="551"/>
                    <a:pt x="686" y="552"/>
                    <a:pt x="684" y="554"/>
                  </a:cubicBezTo>
                  <a:cubicBezTo>
                    <a:pt x="683" y="552"/>
                    <a:pt x="680" y="548"/>
                    <a:pt x="678" y="546"/>
                  </a:cubicBezTo>
                  <a:cubicBezTo>
                    <a:pt x="677" y="544"/>
                    <a:pt x="678" y="543"/>
                    <a:pt x="676" y="542"/>
                  </a:cubicBezTo>
                  <a:cubicBezTo>
                    <a:pt x="673" y="540"/>
                    <a:pt x="670" y="542"/>
                    <a:pt x="668" y="542"/>
                  </a:cubicBezTo>
                  <a:cubicBezTo>
                    <a:pt x="665" y="542"/>
                    <a:pt x="662" y="541"/>
                    <a:pt x="660" y="539"/>
                  </a:cubicBezTo>
                  <a:cubicBezTo>
                    <a:pt x="658" y="539"/>
                    <a:pt x="655" y="536"/>
                    <a:pt x="654" y="535"/>
                  </a:cubicBezTo>
                  <a:cubicBezTo>
                    <a:pt x="651" y="535"/>
                    <a:pt x="650" y="537"/>
                    <a:pt x="648" y="538"/>
                  </a:cubicBezTo>
                  <a:cubicBezTo>
                    <a:pt x="646" y="538"/>
                    <a:pt x="644" y="537"/>
                    <a:pt x="641" y="535"/>
                  </a:cubicBezTo>
                  <a:moveTo>
                    <a:pt x="638" y="532"/>
                  </a:moveTo>
                  <a:cubicBezTo>
                    <a:pt x="638" y="532"/>
                    <a:pt x="637" y="532"/>
                    <a:pt x="637" y="532"/>
                  </a:cubicBezTo>
                  <a:cubicBezTo>
                    <a:pt x="637" y="532"/>
                    <a:pt x="638" y="533"/>
                    <a:pt x="638" y="533"/>
                  </a:cubicBezTo>
                  <a:cubicBezTo>
                    <a:pt x="638" y="532"/>
                    <a:pt x="638" y="532"/>
                    <a:pt x="638" y="532"/>
                  </a:cubicBezTo>
                  <a:moveTo>
                    <a:pt x="931" y="441"/>
                  </a:moveTo>
                  <a:cubicBezTo>
                    <a:pt x="929" y="441"/>
                    <a:pt x="928" y="441"/>
                    <a:pt x="927" y="442"/>
                  </a:cubicBezTo>
                  <a:cubicBezTo>
                    <a:pt x="928" y="443"/>
                    <a:pt x="930" y="443"/>
                    <a:pt x="931" y="443"/>
                  </a:cubicBezTo>
                  <a:cubicBezTo>
                    <a:pt x="937" y="443"/>
                    <a:pt x="942" y="442"/>
                    <a:pt x="948" y="438"/>
                  </a:cubicBezTo>
                  <a:cubicBezTo>
                    <a:pt x="944" y="439"/>
                    <a:pt x="942" y="442"/>
                    <a:pt x="939" y="442"/>
                  </a:cubicBezTo>
                  <a:cubicBezTo>
                    <a:pt x="936" y="442"/>
                    <a:pt x="934" y="441"/>
                    <a:pt x="931" y="441"/>
                  </a:cubicBezTo>
                  <a:moveTo>
                    <a:pt x="1024" y="264"/>
                  </a:moveTo>
                  <a:cubicBezTo>
                    <a:pt x="1021" y="260"/>
                    <a:pt x="1014" y="262"/>
                    <a:pt x="1010" y="261"/>
                  </a:cubicBezTo>
                  <a:cubicBezTo>
                    <a:pt x="1010" y="260"/>
                    <a:pt x="1010" y="258"/>
                    <a:pt x="1009" y="257"/>
                  </a:cubicBezTo>
                  <a:cubicBezTo>
                    <a:pt x="1009" y="255"/>
                    <a:pt x="1007" y="255"/>
                    <a:pt x="1008" y="252"/>
                  </a:cubicBezTo>
                  <a:cubicBezTo>
                    <a:pt x="1008" y="250"/>
                    <a:pt x="1009" y="248"/>
                    <a:pt x="1009" y="247"/>
                  </a:cubicBezTo>
                  <a:cubicBezTo>
                    <a:pt x="1010" y="245"/>
                    <a:pt x="1012" y="245"/>
                    <a:pt x="1013" y="244"/>
                  </a:cubicBezTo>
                  <a:cubicBezTo>
                    <a:pt x="1013" y="243"/>
                    <a:pt x="1014" y="240"/>
                    <a:pt x="1013" y="239"/>
                  </a:cubicBezTo>
                  <a:cubicBezTo>
                    <a:pt x="1012" y="238"/>
                    <a:pt x="1008" y="239"/>
                    <a:pt x="1007" y="239"/>
                  </a:cubicBezTo>
                  <a:cubicBezTo>
                    <a:pt x="1004" y="240"/>
                    <a:pt x="1003" y="243"/>
                    <a:pt x="1001" y="244"/>
                  </a:cubicBezTo>
                  <a:cubicBezTo>
                    <a:pt x="997" y="245"/>
                    <a:pt x="991" y="244"/>
                    <a:pt x="988" y="242"/>
                  </a:cubicBezTo>
                  <a:cubicBezTo>
                    <a:pt x="986" y="241"/>
                    <a:pt x="985" y="238"/>
                    <a:pt x="984" y="236"/>
                  </a:cubicBezTo>
                  <a:cubicBezTo>
                    <a:pt x="983" y="235"/>
                    <a:pt x="983" y="232"/>
                    <a:pt x="982" y="231"/>
                  </a:cubicBezTo>
                  <a:cubicBezTo>
                    <a:pt x="980" y="229"/>
                    <a:pt x="975" y="229"/>
                    <a:pt x="972" y="229"/>
                  </a:cubicBezTo>
                  <a:cubicBezTo>
                    <a:pt x="970" y="229"/>
                    <a:pt x="968" y="230"/>
                    <a:pt x="966" y="229"/>
                  </a:cubicBezTo>
                  <a:cubicBezTo>
                    <a:pt x="964" y="229"/>
                    <a:pt x="962" y="226"/>
                    <a:pt x="960" y="225"/>
                  </a:cubicBezTo>
                  <a:cubicBezTo>
                    <a:pt x="957" y="224"/>
                    <a:pt x="953" y="220"/>
                    <a:pt x="950" y="221"/>
                  </a:cubicBezTo>
                  <a:cubicBezTo>
                    <a:pt x="950" y="227"/>
                    <a:pt x="943" y="223"/>
                    <a:pt x="941" y="221"/>
                  </a:cubicBezTo>
                  <a:cubicBezTo>
                    <a:pt x="939" y="219"/>
                    <a:pt x="937" y="219"/>
                    <a:pt x="934" y="217"/>
                  </a:cubicBezTo>
                  <a:cubicBezTo>
                    <a:pt x="929" y="215"/>
                    <a:pt x="931" y="215"/>
                    <a:pt x="930" y="211"/>
                  </a:cubicBezTo>
                  <a:cubicBezTo>
                    <a:pt x="929" y="208"/>
                    <a:pt x="928" y="207"/>
                    <a:pt x="925" y="208"/>
                  </a:cubicBezTo>
                  <a:cubicBezTo>
                    <a:pt x="923" y="209"/>
                    <a:pt x="923" y="212"/>
                    <a:pt x="921" y="213"/>
                  </a:cubicBezTo>
                  <a:cubicBezTo>
                    <a:pt x="917" y="215"/>
                    <a:pt x="916" y="211"/>
                    <a:pt x="913" y="209"/>
                  </a:cubicBezTo>
                  <a:cubicBezTo>
                    <a:pt x="911" y="208"/>
                    <a:pt x="909" y="209"/>
                    <a:pt x="907" y="208"/>
                  </a:cubicBezTo>
                  <a:cubicBezTo>
                    <a:pt x="906" y="206"/>
                    <a:pt x="907" y="204"/>
                    <a:pt x="907" y="202"/>
                  </a:cubicBezTo>
                  <a:cubicBezTo>
                    <a:pt x="898" y="201"/>
                    <a:pt x="904" y="206"/>
                    <a:pt x="901" y="210"/>
                  </a:cubicBezTo>
                  <a:cubicBezTo>
                    <a:pt x="899" y="212"/>
                    <a:pt x="894" y="213"/>
                    <a:pt x="891" y="212"/>
                  </a:cubicBezTo>
                  <a:cubicBezTo>
                    <a:pt x="890" y="212"/>
                    <a:pt x="889" y="209"/>
                    <a:pt x="887" y="208"/>
                  </a:cubicBezTo>
                  <a:cubicBezTo>
                    <a:pt x="885" y="207"/>
                    <a:pt x="882" y="206"/>
                    <a:pt x="879" y="204"/>
                  </a:cubicBezTo>
                  <a:cubicBezTo>
                    <a:pt x="874" y="202"/>
                    <a:pt x="873" y="201"/>
                    <a:pt x="872" y="195"/>
                  </a:cubicBezTo>
                  <a:cubicBezTo>
                    <a:pt x="871" y="190"/>
                    <a:pt x="871" y="177"/>
                    <a:pt x="862" y="182"/>
                  </a:cubicBezTo>
                  <a:cubicBezTo>
                    <a:pt x="863" y="177"/>
                    <a:pt x="859" y="172"/>
                    <a:pt x="855" y="172"/>
                  </a:cubicBezTo>
                  <a:cubicBezTo>
                    <a:pt x="853" y="173"/>
                    <a:pt x="853" y="174"/>
                    <a:pt x="851" y="175"/>
                  </a:cubicBezTo>
                  <a:cubicBezTo>
                    <a:pt x="849" y="176"/>
                    <a:pt x="850" y="177"/>
                    <a:pt x="847" y="177"/>
                  </a:cubicBezTo>
                  <a:cubicBezTo>
                    <a:pt x="843" y="178"/>
                    <a:pt x="840" y="179"/>
                    <a:pt x="836" y="180"/>
                  </a:cubicBezTo>
                  <a:cubicBezTo>
                    <a:pt x="834" y="180"/>
                    <a:pt x="832" y="181"/>
                    <a:pt x="829" y="181"/>
                  </a:cubicBezTo>
                  <a:cubicBezTo>
                    <a:pt x="825" y="182"/>
                    <a:pt x="821" y="184"/>
                    <a:pt x="817" y="187"/>
                  </a:cubicBezTo>
                  <a:cubicBezTo>
                    <a:pt x="815" y="188"/>
                    <a:pt x="815" y="188"/>
                    <a:pt x="814" y="191"/>
                  </a:cubicBezTo>
                  <a:cubicBezTo>
                    <a:pt x="813" y="195"/>
                    <a:pt x="812" y="197"/>
                    <a:pt x="808" y="194"/>
                  </a:cubicBezTo>
                  <a:cubicBezTo>
                    <a:pt x="804" y="192"/>
                    <a:pt x="806" y="182"/>
                    <a:pt x="799" y="185"/>
                  </a:cubicBezTo>
                  <a:cubicBezTo>
                    <a:pt x="796" y="186"/>
                    <a:pt x="797" y="187"/>
                    <a:pt x="794" y="186"/>
                  </a:cubicBezTo>
                  <a:cubicBezTo>
                    <a:pt x="792" y="185"/>
                    <a:pt x="791" y="182"/>
                    <a:pt x="790" y="180"/>
                  </a:cubicBezTo>
                  <a:cubicBezTo>
                    <a:pt x="788" y="179"/>
                    <a:pt x="786" y="178"/>
                    <a:pt x="784" y="178"/>
                  </a:cubicBezTo>
                  <a:cubicBezTo>
                    <a:pt x="780" y="177"/>
                    <a:pt x="777" y="175"/>
                    <a:pt x="773" y="175"/>
                  </a:cubicBezTo>
                  <a:cubicBezTo>
                    <a:pt x="767" y="175"/>
                    <a:pt x="762" y="176"/>
                    <a:pt x="762" y="183"/>
                  </a:cubicBezTo>
                  <a:cubicBezTo>
                    <a:pt x="758" y="184"/>
                    <a:pt x="753" y="175"/>
                    <a:pt x="751" y="173"/>
                  </a:cubicBezTo>
                  <a:cubicBezTo>
                    <a:pt x="747" y="170"/>
                    <a:pt x="741" y="167"/>
                    <a:pt x="742" y="162"/>
                  </a:cubicBezTo>
                  <a:cubicBezTo>
                    <a:pt x="743" y="157"/>
                    <a:pt x="749" y="156"/>
                    <a:pt x="749" y="152"/>
                  </a:cubicBezTo>
                  <a:cubicBezTo>
                    <a:pt x="749" y="151"/>
                    <a:pt x="747" y="148"/>
                    <a:pt x="747" y="147"/>
                  </a:cubicBezTo>
                  <a:cubicBezTo>
                    <a:pt x="746" y="143"/>
                    <a:pt x="745" y="139"/>
                    <a:pt x="744" y="135"/>
                  </a:cubicBezTo>
                  <a:cubicBezTo>
                    <a:pt x="744" y="132"/>
                    <a:pt x="742" y="130"/>
                    <a:pt x="742" y="127"/>
                  </a:cubicBezTo>
                  <a:cubicBezTo>
                    <a:pt x="742" y="125"/>
                    <a:pt x="742" y="124"/>
                    <a:pt x="744" y="123"/>
                  </a:cubicBezTo>
                  <a:cubicBezTo>
                    <a:pt x="740" y="122"/>
                    <a:pt x="736" y="122"/>
                    <a:pt x="733" y="121"/>
                  </a:cubicBezTo>
                  <a:cubicBezTo>
                    <a:pt x="730" y="120"/>
                    <a:pt x="730" y="116"/>
                    <a:pt x="729" y="113"/>
                  </a:cubicBezTo>
                  <a:cubicBezTo>
                    <a:pt x="728" y="110"/>
                    <a:pt x="726" y="108"/>
                    <a:pt x="726" y="106"/>
                  </a:cubicBezTo>
                  <a:cubicBezTo>
                    <a:pt x="721" y="104"/>
                    <a:pt x="720" y="111"/>
                    <a:pt x="716" y="111"/>
                  </a:cubicBezTo>
                  <a:cubicBezTo>
                    <a:pt x="712" y="111"/>
                    <a:pt x="707" y="110"/>
                    <a:pt x="703" y="108"/>
                  </a:cubicBezTo>
                  <a:cubicBezTo>
                    <a:pt x="699" y="106"/>
                    <a:pt x="695" y="103"/>
                    <a:pt x="690" y="104"/>
                  </a:cubicBezTo>
                  <a:cubicBezTo>
                    <a:pt x="689" y="104"/>
                    <a:pt x="688" y="105"/>
                    <a:pt x="686" y="105"/>
                  </a:cubicBezTo>
                  <a:cubicBezTo>
                    <a:pt x="683" y="105"/>
                    <a:pt x="680" y="106"/>
                    <a:pt x="677" y="105"/>
                  </a:cubicBezTo>
                  <a:cubicBezTo>
                    <a:pt x="677" y="103"/>
                    <a:pt x="677" y="99"/>
                    <a:pt x="680" y="99"/>
                  </a:cubicBezTo>
                  <a:cubicBezTo>
                    <a:pt x="680" y="96"/>
                    <a:pt x="671" y="94"/>
                    <a:pt x="672" y="89"/>
                  </a:cubicBezTo>
                  <a:cubicBezTo>
                    <a:pt x="673" y="86"/>
                    <a:pt x="678" y="88"/>
                    <a:pt x="680" y="85"/>
                  </a:cubicBezTo>
                  <a:cubicBezTo>
                    <a:pt x="682" y="83"/>
                    <a:pt x="681" y="77"/>
                    <a:pt x="681" y="74"/>
                  </a:cubicBezTo>
                  <a:cubicBezTo>
                    <a:pt x="678" y="74"/>
                    <a:pt x="672" y="72"/>
                    <a:pt x="670" y="70"/>
                  </a:cubicBezTo>
                  <a:cubicBezTo>
                    <a:pt x="667" y="67"/>
                    <a:pt x="669" y="65"/>
                    <a:pt x="673" y="65"/>
                  </a:cubicBezTo>
                  <a:cubicBezTo>
                    <a:pt x="677" y="64"/>
                    <a:pt x="680" y="65"/>
                    <a:pt x="684" y="65"/>
                  </a:cubicBezTo>
                  <a:cubicBezTo>
                    <a:pt x="687" y="65"/>
                    <a:pt x="687" y="65"/>
                    <a:pt x="690" y="62"/>
                  </a:cubicBezTo>
                  <a:cubicBezTo>
                    <a:pt x="692" y="60"/>
                    <a:pt x="691" y="45"/>
                    <a:pt x="686" y="45"/>
                  </a:cubicBezTo>
                  <a:cubicBezTo>
                    <a:pt x="684" y="45"/>
                    <a:pt x="682" y="45"/>
                    <a:pt x="680" y="45"/>
                  </a:cubicBezTo>
                  <a:cubicBezTo>
                    <a:pt x="678" y="44"/>
                    <a:pt x="678" y="45"/>
                    <a:pt x="677" y="43"/>
                  </a:cubicBezTo>
                  <a:cubicBezTo>
                    <a:pt x="676" y="41"/>
                    <a:pt x="676" y="37"/>
                    <a:pt x="673" y="37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6" y="44"/>
                    <a:pt x="676" y="45"/>
                    <a:pt x="676" y="45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5" y="42"/>
                    <a:pt x="673" y="41"/>
                    <a:pt x="672" y="40"/>
                  </a:cubicBezTo>
                  <a:cubicBezTo>
                    <a:pt x="672" y="39"/>
                    <a:pt x="668" y="36"/>
                    <a:pt x="668" y="35"/>
                  </a:cubicBezTo>
                  <a:cubicBezTo>
                    <a:pt x="666" y="32"/>
                    <a:pt x="668" y="31"/>
                    <a:pt x="669" y="29"/>
                  </a:cubicBezTo>
                  <a:cubicBezTo>
                    <a:pt x="670" y="27"/>
                    <a:pt x="671" y="26"/>
                    <a:pt x="671" y="23"/>
                  </a:cubicBezTo>
                  <a:cubicBezTo>
                    <a:pt x="670" y="19"/>
                    <a:pt x="668" y="21"/>
                    <a:pt x="666" y="19"/>
                  </a:cubicBezTo>
                  <a:cubicBezTo>
                    <a:pt x="665" y="18"/>
                    <a:pt x="664" y="18"/>
                    <a:pt x="664" y="17"/>
                  </a:cubicBezTo>
                  <a:cubicBezTo>
                    <a:pt x="662" y="13"/>
                    <a:pt x="662" y="10"/>
                    <a:pt x="658" y="7"/>
                  </a:cubicBezTo>
                  <a:cubicBezTo>
                    <a:pt x="655" y="4"/>
                    <a:pt x="652" y="0"/>
                    <a:pt x="649" y="6"/>
                  </a:cubicBezTo>
                  <a:cubicBezTo>
                    <a:pt x="646" y="12"/>
                    <a:pt x="647" y="15"/>
                    <a:pt x="639" y="14"/>
                  </a:cubicBezTo>
                  <a:cubicBezTo>
                    <a:pt x="639" y="10"/>
                    <a:pt x="639" y="10"/>
                    <a:pt x="636" y="9"/>
                  </a:cubicBezTo>
                  <a:cubicBezTo>
                    <a:pt x="634" y="8"/>
                    <a:pt x="632" y="8"/>
                    <a:pt x="630" y="8"/>
                  </a:cubicBezTo>
                  <a:cubicBezTo>
                    <a:pt x="629" y="9"/>
                    <a:pt x="629" y="10"/>
                    <a:pt x="628" y="11"/>
                  </a:cubicBezTo>
                  <a:cubicBezTo>
                    <a:pt x="627" y="11"/>
                    <a:pt x="625" y="11"/>
                    <a:pt x="624" y="11"/>
                  </a:cubicBezTo>
                  <a:cubicBezTo>
                    <a:pt x="621" y="11"/>
                    <a:pt x="618" y="10"/>
                    <a:pt x="615" y="11"/>
                  </a:cubicBezTo>
                  <a:cubicBezTo>
                    <a:pt x="615" y="11"/>
                    <a:pt x="612" y="14"/>
                    <a:pt x="612" y="14"/>
                  </a:cubicBezTo>
                  <a:cubicBezTo>
                    <a:pt x="612" y="14"/>
                    <a:pt x="610" y="16"/>
                    <a:pt x="609" y="17"/>
                  </a:cubicBezTo>
                  <a:cubicBezTo>
                    <a:pt x="608" y="18"/>
                    <a:pt x="606" y="18"/>
                    <a:pt x="603" y="17"/>
                  </a:cubicBezTo>
                  <a:cubicBezTo>
                    <a:pt x="601" y="17"/>
                    <a:pt x="600" y="16"/>
                    <a:pt x="598" y="16"/>
                  </a:cubicBezTo>
                  <a:cubicBezTo>
                    <a:pt x="596" y="15"/>
                    <a:pt x="595" y="15"/>
                    <a:pt x="594" y="15"/>
                  </a:cubicBezTo>
                  <a:cubicBezTo>
                    <a:pt x="593" y="15"/>
                    <a:pt x="592" y="15"/>
                    <a:pt x="592" y="15"/>
                  </a:cubicBezTo>
                  <a:cubicBezTo>
                    <a:pt x="591" y="15"/>
                    <a:pt x="590" y="14"/>
                    <a:pt x="590" y="13"/>
                  </a:cubicBezTo>
                  <a:cubicBezTo>
                    <a:pt x="589" y="12"/>
                    <a:pt x="589" y="11"/>
                    <a:pt x="587" y="10"/>
                  </a:cubicBezTo>
                  <a:cubicBezTo>
                    <a:pt x="586" y="9"/>
                    <a:pt x="585" y="9"/>
                    <a:pt x="584" y="9"/>
                  </a:cubicBezTo>
                  <a:cubicBezTo>
                    <a:pt x="582" y="8"/>
                    <a:pt x="584" y="7"/>
                    <a:pt x="582" y="7"/>
                  </a:cubicBezTo>
                  <a:cubicBezTo>
                    <a:pt x="582" y="7"/>
                    <a:pt x="579" y="10"/>
                    <a:pt x="579" y="9"/>
                  </a:cubicBezTo>
                  <a:cubicBezTo>
                    <a:pt x="575" y="14"/>
                    <a:pt x="577" y="17"/>
                    <a:pt x="576" y="23"/>
                  </a:cubicBezTo>
                  <a:cubicBezTo>
                    <a:pt x="576" y="24"/>
                    <a:pt x="575" y="28"/>
                    <a:pt x="574" y="29"/>
                  </a:cubicBezTo>
                  <a:cubicBezTo>
                    <a:pt x="573" y="30"/>
                    <a:pt x="570" y="30"/>
                    <a:pt x="569" y="31"/>
                  </a:cubicBezTo>
                  <a:cubicBezTo>
                    <a:pt x="567" y="33"/>
                    <a:pt x="566" y="35"/>
                    <a:pt x="564" y="36"/>
                  </a:cubicBezTo>
                  <a:cubicBezTo>
                    <a:pt x="561" y="36"/>
                    <a:pt x="554" y="36"/>
                    <a:pt x="552" y="34"/>
                  </a:cubicBezTo>
                  <a:cubicBezTo>
                    <a:pt x="550" y="31"/>
                    <a:pt x="552" y="30"/>
                    <a:pt x="549" y="29"/>
                  </a:cubicBezTo>
                  <a:cubicBezTo>
                    <a:pt x="549" y="30"/>
                    <a:pt x="549" y="30"/>
                    <a:pt x="549" y="31"/>
                  </a:cubicBezTo>
                  <a:cubicBezTo>
                    <a:pt x="548" y="33"/>
                    <a:pt x="545" y="31"/>
                    <a:pt x="543" y="30"/>
                  </a:cubicBezTo>
                  <a:cubicBezTo>
                    <a:pt x="537" y="29"/>
                    <a:pt x="530" y="27"/>
                    <a:pt x="523" y="27"/>
                  </a:cubicBezTo>
                  <a:cubicBezTo>
                    <a:pt x="521" y="27"/>
                    <a:pt x="521" y="27"/>
                    <a:pt x="520" y="29"/>
                  </a:cubicBezTo>
                  <a:cubicBezTo>
                    <a:pt x="519" y="31"/>
                    <a:pt x="517" y="34"/>
                    <a:pt x="516" y="35"/>
                  </a:cubicBezTo>
                  <a:cubicBezTo>
                    <a:pt x="514" y="35"/>
                    <a:pt x="510" y="36"/>
                    <a:pt x="508" y="35"/>
                  </a:cubicBezTo>
                  <a:cubicBezTo>
                    <a:pt x="506" y="34"/>
                    <a:pt x="507" y="34"/>
                    <a:pt x="506" y="33"/>
                  </a:cubicBezTo>
                  <a:cubicBezTo>
                    <a:pt x="505" y="32"/>
                    <a:pt x="504" y="29"/>
                    <a:pt x="502" y="31"/>
                  </a:cubicBezTo>
                  <a:cubicBezTo>
                    <a:pt x="501" y="32"/>
                    <a:pt x="502" y="35"/>
                    <a:pt x="502" y="36"/>
                  </a:cubicBezTo>
                  <a:cubicBezTo>
                    <a:pt x="502" y="38"/>
                    <a:pt x="501" y="40"/>
                    <a:pt x="500" y="42"/>
                  </a:cubicBezTo>
                  <a:cubicBezTo>
                    <a:pt x="499" y="42"/>
                    <a:pt x="499" y="42"/>
                    <a:pt x="498" y="43"/>
                  </a:cubicBezTo>
                  <a:cubicBezTo>
                    <a:pt x="497" y="44"/>
                    <a:pt x="497" y="45"/>
                    <a:pt x="496" y="46"/>
                  </a:cubicBezTo>
                  <a:cubicBezTo>
                    <a:pt x="495" y="48"/>
                    <a:pt x="493" y="51"/>
                    <a:pt x="492" y="52"/>
                  </a:cubicBezTo>
                  <a:cubicBezTo>
                    <a:pt x="491" y="53"/>
                    <a:pt x="490" y="53"/>
                    <a:pt x="490" y="54"/>
                  </a:cubicBezTo>
                  <a:cubicBezTo>
                    <a:pt x="488" y="55"/>
                    <a:pt x="488" y="56"/>
                    <a:pt x="487" y="58"/>
                  </a:cubicBezTo>
                  <a:cubicBezTo>
                    <a:pt x="485" y="61"/>
                    <a:pt x="483" y="64"/>
                    <a:pt x="481" y="67"/>
                  </a:cubicBezTo>
                  <a:cubicBezTo>
                    <a:pt x="476" y="75"/>
                    <a:pt x="478" y="84"/>
                    <a:pt x="480" y="92"/>
                  </a:cubicBezTo>
                  <a:cubicBezTo>
                    <a:pt x="481" y="95"/>
                    <a:pt x="483" y="98"/>
                    <a:pt x="482" y="101"/>
                  </a:cubicBezTo>
                  <a:cubicBezTo>
                    <a:pt x="481" y="103"/>
                    <a:pt x="479" y="106"/>
                    <a:pt x="476" y="105"/>
                  </a:cubicBezTo>
                  <a:cubicBezTo>
                    <a:pt x="474" y="105"/>
                    <a:pt x="473" y="104"/>
                    <a:pt x="472" y="103"/>
                  </a:cubicBezTo>
                  <a:cubicBezTo>
                    <a:pt x="470" y="101"/>
                    <a:pt x="468" y="99"/>
                    <a:pt x="466" y="97"/>
                  </a:cubicBezTo>
                  <a:cubicBezTo>
                    <a:pt x="464" y="94"/>
                    <a:pt x="461" y="94"/>
                    <a:pt x="459" y="92"/>
                  </a:cubicBezTo>
                  <a:cubicBezTo>
                    <a:pt x="457" y="91"/>
                    <a:pt x="456" y="86"/>
                    <a:pt x="453" y="85"/>
                  </a:cubicBezTo>
                  <a:cubicBezTo>
                    <a:pt x="450" y="83"/>
                    <a:pt x="446" y="87"/>
                    <a:pt x="442" y="88"/>
                  </a:cubicBezTo>
                  <a:cubicBezTo>
                    <a:pt x="439" y="88"/>
                    <a:pt x="435" y="88"/>
                    <a:pt x="432" y="88"/>
                  </a:cubicBezTo>
                  <a:cubicBezTo>
                    <a:pt x="432" y="85"/>
                    <a:pt x="431" y="82"/>
                    <a:pt x="428" y="81"/>
                  </a:cubicBezTo>
                  <a:cubicBezTo>
                    <a:pt x="424" y="79"/>
                    <a:pt x="419" y="82"/>
                    <a:pt x="418" y="87"/>
                  </a:cubicBezTo>
                  <a:cubicBezTo>
                    <a:pt x="418" y="89"/>
                    <a:pt x="418" y="90"/>
                    <a:pt x="417" y="92"/>
                  </a:cubicBezTo>
                  <a:cubicBezTo>
                    <a:pt x="416" y="93"/>
                    <a:pt x="416" y="94"/>
                    <a:pt x="414" y="95"/>
                  </a:cubicBezTo>
                  <a:cubicBezTo>
                    <a:pt x="412" y="95"/>
                    <a:pt x="409" y="94"/>
                    <a:pt x="408" y="93"/>
                  </a:cubicBezTo>
                  <a:cubicBezTo>
                    <a:pt x="405" y="90"/>
                    <a:pt x="403" y="83"/>
                    <a:pt x="403" y="79"/>
                  </a:cubicBezTo>
                  <a:cubicBezTo>
                    <a:pt x="402" y="76"/>
                    <a:pt x="400" y="71"/>
                    <a:pt x="395" y="73"/>
                  </a:cubicBezTo>
                  <a:cubicBezTo>
                    <a:pt x="393" y="74"/>
                    <a:pt x="393" y="76"/>
                    <a:pt x="392" y="77"/>
                  </a:cubicBezTo>
                  <a:cubicBezTo>
                    <a:pt x="391" y="79"/>
                    <a:pt x="389" y="80"/>
                    <a:pt x="387" y="80"/>
                  </a:cubicBezTo>
                  <a:cubicBezTo>
                    <a:pt x="385" y="81"/>
                    <a:pt x="384" y="81"/>
                    <a:pt x="382" y="82"/>
                  </a:cubicBezTo>
                  <a:cubicBezTo>
                    <a:pt x="379" y="83"/>
                    <a:pt x="379" y="82"/>
                    <a:pt x="378" y="84"/>
                  </a:cubicBezTo>
                  <a:cubicBezTo>
                    <a:pt x="378" y="86"/>
                    <a:pt x="380" y="91"/>
                    <a:pt x="378" y="92"/>
                  </a:cubicBezTo>
                  <a:cubicBezTo>
                    <a:pt x="377" y="93"/>
                    <a:pt x="374" y="93"/>
                    <a:pt x="372" y="93"/>
                  </a:cubicBezTo>
                  <a:cubicBezTo>
                    <a:pt x="372" y="88"/>
                    <a:pt x="374" y="79"/>
                    <a:pt x="368" y="77"/>
                  </a:cubicBezTo>
                  <a:cubicBezTo>
                    <a:pt x="367" y="77"/>
                    <a:pt x="364" y="77"/>
                    <a:pt x="363" y="77"/>
                  </a:cubicBezTo>
                  <a:cubicBezTo>
                    <a:pt x="361" y="78"/>
                    <a:pt x="360" y="80"/>
                    <a:pt x="359" y="81"/>
                  </a:cubicBezTo>
                  <a:cubicBezTo>
                    <a:pt x="357" y="82"/>
                    <a:pt x="356" y="81"/>
                    <a:pt x="354" y="78"/>
                  </a:cubicBezTo>
                  <a:cubicBezTo>
                    <a:pt x="353" y="75"/>
                    <a:pt x="351" y="66"/>
                    <a:pt x="347" y="66"/>
                  </a:cubicBezTo>
                  <a:cubicBezTo>
                    <a:pt x="344" y="65"/>
                    <a:pt x="343" y="70"/>
                    <a:pt x="343" y="72"/>
                  </a:cubicBezTo>
                  <a:cubicBezTo>
                    <a:pt x="342" y="74"/>
                    <a:pt x="341" y="75"/>
                    <a:pt x="338" y="75"/>
                  </a:cubicBezTo>
                  <a:cubicBezTo>
                    <a:pt x="336" y="75"/>
                    <a:pt x="333" y="72"/>
                    <a:pt x="332" y="73"/>
                  </a:cubicBezTo>
                  <a:cubicBezTo>
                    <a:pt x="330" y="74"/>
                    <a:pt x="331" y="77"/>
                    <a:pt x="331" y="79"/>
                  </a:cubicBezTo>
                  <a:cubicBezTo>
                    <a:pt x="330" y="81"/>
                    <a:pt x="329" y="82"/>
                    <a:pt x="327" y="84"/>
                  </a:cubicBezTo>
                  <a:cubicBezTo>
                    <a:pt x="324" y="86"/>
                    <a:pt x="323" y="86"/>
                    <a:pt x="321" y="83"/>
                  </a:cubicBezTo>
                  <a:cubicBezTo>
                    <a:pt x="320" y="81"/>
                    <a:pt x="319" y="78"/>
                    <a:pt x="318" y="75"/>
                  </a:cubicBezTo>
                  <a:cubicBezTo>
                    <a:pt x="317" y="72"/>
                    <a:pt x="314" y="72"/>
                    <a:pt x="311" y="72"/>
                  </a:cubicBezTo>
                  <a:cubicBezTo>
                    <a:pt x="308" y="72"/>
                    <a:pt x="305" y="75"/>
                    <a:pt x="303" y="74"/>
                  </a:cubicBezTo>
                  <a:cubicBezTo>
                    <a:pt x="302" y="73"/>
                    <a:pt x="302" y="72"/>
                    <a:pt x="302" y="71"/>
                  </a:cubicBezTo>
                  <a:cubicBezTo>
                    <a:pt x="301" y="70"/>
                    <a:pt x="301" y="70"/>
                    <a:pt x="300" y="68"/>
                  </a:cubicBezTo>
                  <a:cubicBezTo>
                    <a:pt x="300" y="67"/>
                    <a:pt x="300" y="67"/>
                    <a:pt x="299" y="66"/>
                  </a:cubicBezTo>
                  <a:cubicBezTo>
                    <a:pt x="299" y="65"/>
                    <a:pt x="298" y="64"/>
                    <a:pt x="298" y="64"/>
                  </a:cubicBezTo>
                  <a:cubicBezTo>
                    <a:pt x="297" y="62"/>
                    <a:pt x="297" y="60"/>
                    <a:pt x="296" y="59"/>
                  </a:cubicBezTo>
                  <a:cubicBezTo>
                    <a:pt x="291" y="53"/>
                    <a:pt x="284" y="62"/>
                    <a:pt x="279" y="61"/>
                  </a:cubicBezTo>
                  <a:cubicBezTo>
                    <a:pt x="276" y="60"/>
                    <a:pt x="274" y="58"/>
                    <a:pt x="272" y="57"/>
                  </a:cubicBezTo>
                  <a:cubicBezTo>
                    <a:pt x="270" y="56"/>
                    <a:pt x="267" y="55"/>
                    <a:pt x="265" y="54"/>
                  </a:cubicBezTo>
                  <a:cubicBezTo>
                    <a:pt x="262" y="54"/>
                    <a:pt x="259" y="54"/>
                    <a:pt x="255" y="54"/>
                  </a:cubicBezTo>
                  <a:cubicBezTo>
                    <a:pt x="253" y="55"/>
                    <a:pt x="250" y="56"/>
                    <a:pt x="248" y="55"/>
                  </a:cubicBezTo>
                  <a:cubicBezTo>
                    <a:pt x="246" y="54"/>
                    <a:pt x="247" y="51"/>
                    <a:pt x="244" y="50"/>
                  </a:cubicBezTo>
                  <a:cubicBezTo>
                    <a:pt x="243" y="49"/>
                    <a:pt x="240" y="50"/>
                    <a:pt x="239" y="50"/>
                  </a:cubicBezTo>
                  <a:cubicBezTo>
                    <a:pt x="237" y="50"/>
                    <a:pt x="235" y="49"/>
                    <a:pt x="234" y="49"/>
                  </a:cubicBezTo>
                  <a:cubicBezTo>
                    <a:pt x="231" y="48"/>
                    <a:pt x="229" y="48"/>
                    <a:pt x="227" y="48"/>
                  </a:cubicBezTo>
                  <a:cubicBezTo>
                    <a:pt x="226" y="48"/>
                    <a:pt x="224" y="48"/>
                    <a:pt x="223" y="47"/>
                  </a:cubicBezTo>
                  <a:cubicBezTo>
                    <a:pt x="222" y="47"/>
                    <a:pt x="221" y="46"/>
                    <a:pt x="220" y="46"/>
                  </a:cubicBezTo>
                  <a:cubicBezTo>
                    <a:pt x="219" y="45"/>
                    <a:pt x="216" y="46"/>
                    <a:pt x="214" y="46"/>
                  </a:cubicBezTo>
                  <a:cubicBezTo>
                    <a:pt x="210" y="46"/>
                    <a:pt x="206" y="45"/>
                    <a:pt x="202" y="45"/>
                  </a:cubicBezTo>
                  <a:cubicBezTo>
                    <a:pt x="198" y="45"/>
                    <a:pt x="194" y="44"/>
                    <a:pt x="190" y="44"/>
                  </a:cubicBezTo>
                  <a:cubicBezTo>
                    <a:pt x="188" y="44"/>
                    <a:pt x="187" y="44"/>
                    <a:pt x="185" y="44"/>
                  </a:cubicBezTo>
                  <a:cubicBezTo>
                    <a:pt x="182" y="43"/>
                    <a:pt x="179" y="46"/>
                    <a:pt x="176" y="46"/>
                  </a:cubicBezTo>
                  <a:cubicBezTo>
                    <a:pt x="174" y="47"/>
                    <a:pt x="172" y="47"/>
                    <a:pt x="171" y="47"/>
                  </a:cubicBezTo>
                  <a:cubicBezTo>
                    <a:pt x="169" y="47"/>
                    <a:pt x="167" y="45"/>
                    <a:pt x="165" y="45"/>
                  </a:cubicBezTo>
                  <a:cubicBezTo>
                    <a:pt x="163" y="44"/>
                    <a:pt x="161" y="44"/>
                    <a:pt x="159" y="44"/>
                  </a:cubicBezTo>
                  <a:cubicBezTo>
                    <a:pt x="156" y="43"/>
                    <a:pt x="153" y="44"/>
                    <a:pt x="151" y="46"/>
                  </a:cubicBezTo>
                  <a:cubicBezTo>
                    <a:pt x="151" y="46"/>
                    <a:pt x="149" y="48"/>
                    <a:pt x="149" y="48"/>
                  </a:cubicBezTo>
                  <a:cubicBezTo>
                    <a:pt x="148" y="48"/>
                    <a:pt x="147" y="48"/>
                    <a:pt x="146" y="48"/>
                  </a:cubicBezTo>
                  <a:cubicBezTo>
                    <a:pt x="145" y="48"/>
                    <a:pt x="143" y="49"/>
                    <a:pt x="142" y="51"/>
                  </a:cubicBezTo>
                  <a:cubicBezTo>
                    <a:pt x="139" y="54"/>
                    <a:pt x="141" y="57"/>
                    <a:pt x="139" y="60"/>
                  </a:cubicBezTo>
                  <a:cubicBezTo>
                    <a:pt x="138" y="64"/>
                    <a:pt x="133" y="64"/>
                    <a:pt x="131" y="66"/>
                  </a:cubicBezTo>
                  <a:cubicBezTo>
                    <a:pt x="128" y="68"/>
                    <a:pt x="127" y="68"/>
                    <a:pt x="124" y="68"/>
                  </a:cubicBezTo>
                  <a:cubicBezTo>
                    <a:pt x="121" y="69"/>
                    <a:pt x="118" y="70"/>
                    <a:pt x="115" y="70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6" y="71"/>
                    <a:pt x="116" y="74"/>
                    <a:pt x="117" y="76"/>
                  </a:cubicBezTo>
                  <a:cubicBezTo>
                    <a:pt x="117" y="78"/>
                    <a:pt x="117" y="79"/>
                    <a:pt x="117" y="81"/>
                  </a:cubicBezTo>
                  <a:cubicBezTo>
                    <a:pt x="117" y="84"/>
                    <a:pt x="118" y="87"/>
                    <a:pt x="119" y="90"/>
                  </a:cubicBezTo>
                  <a:cubicBezTo>
                    <a:pt x="120" y="94"/>
                    <a:pt x="122" y="97"/>
                    <a:pt x="124" y="101"/>
                  </a:cubicBezTo>
                  <a:cubicBezTo>
                    <a:pt x="124" y="103"/>
                    <a:pt x="125" y="104"/>
                    <a:pt x="126" y="106"/>
                  </a:cubicBezTo>
                  <a:cubicBezTo>
                    <a:pt x="126" y="107"/>
                    <a:pt x="126" y="107"/>
                    <a:pt x="127" y="108"/>
                  </a:cubicBezTo>
                  <a:cubicBezTo>
                    <a:pt x="127" y="108"/>
                    <a:pt x="127" y="109"/>
                    <a:pt x="127" y="109"/>
                  </a:cubicBezTo>
                  <a:cubicBezTo>
                    <a:pt x="127" y="110"/>
                    <a:pt x="127" y="111"/>
                    <a:pt x="128" y="111"/>
                  </a:cubicBezTo>
                  <a:cubicBezTo>
                    <a:pt x="129" y="111"/>
                    <a:pt x="130" y="111"/>
                    <a:pt x="130" y="111"/>
                  </a:cubicBezTo>
                  <a:cubicBezTo>
                    <a:pt x="131" y="112"/>
                    <a:pt x="132" y="115"/>
                    <a:pt x="132" y="116"/>
                  </a:cubicBezTo>
                  <a:cubicBezTo>
                    <a:pt x="134" y="119"/>
                    <a:pt x="136" y="122"/>
                    <a:pt x="138" y="124"/>
                  </a:cubicBezTo>
                  <a:cubicBezTo>
                    <a:pt x="138" y="126"/>
                    <a:pt x="138" y="128"/>
                    <a:pt x="139" y="130"/>
                  </a:cubicBezTo>
                  <a:cubicBezTo>
                    <a:pt x="140" y="131"/>
                    <a:pt x="140" y="130"/>
                    <a:pt x="141" y="132"/>
                  </a:cubicBezTo>
                  <a:cubicBezTo>
                    <a:pt x="141" y="133"/>
                    <a:pt x="141" y="134"/>
                    <a:pt x="140" y="135"/>
                  </a:cubicBezTo>
                  <a:cubicBezTo>
                    <a:pt x="140" y="135"/>
                    <a:pt x="125" y="134"/>
                    <a:pt x="129" y="139"/>
                  </a:cubicBezTo>
                  <a:cubicBezTo>
                    <a:pt x="129" y="139"/>
                    <a:pt x="131" y="140"/>
                    <a:pt x="132" y="140"/>
                  </a:cubicBezTo>
                  <a:cubicBezTo>
                    <a:pt x="132" y="140"/>
                    <a:pt x="134" y="141"/>
                    <a:pt x="135" y="142"/>
                  </a:cubicBezTo>
                  <a:cubicBezTo>
                    <a:pt x="136" y="144"/>
                    <a:pt x="136" y="145"/>
                    <a:pt x="136" y="147"/>
                  </a:cubicBezTo>
                  <a:cubicBezTo>
                    <a:pt x="136" y="152"/>
                    <a:pt x="136" y="157"/>
                    <a:pt x="136" y="162"/>
                  </a:cubicBezTo>
                  <a:cubicBezTo>
                    <a:pt x="136" y="162"/>
                    <a:pt x="135" y="163"/>
                    <a:pt x="135" y="164"/>
                  </a:cubicBezTo>
                  <a:cubicBezTo>
                    <a:pt x="136" y="163"/>
                    <a:pt x="136" y="163"/>
                    <a:pt x="136" y="162"/>
                  </a:cubicBezTo>
                  <a:cubicBezTo>
                    <a:pt x="136" y="162"/>
                    <a:pt x="136" y="161"/>
                    <a:pt x="136" y="161"/>
                  </a:cubicBezTo>
                  <a:cubicBezTo>
                    <a:pt x="136" y="161"/>
                    <a:pt x="136" y="162"/>
                    <a:pt x="136" y="162"/>
                  </a:cubicBezTo>
                  <a:cubicBezTo>
                    <a:pt x="136" y="165"/>
                    <a:pt x="137" y="169"/>
                    <a:pt x="135" y="170"/>
                  </a:cubicBezTo>
                  <a:cubicBezTo>
                    <a:pt x="134" y="171"/>
                    <a:pt x="128" y="170"/>
                    <a:pt x="126" y="170"/>
                  </a:cubicBezTo>
                  <a:cubicBezTo>
                    <a:pt x="120" y="170"/>
                    <a:pt x="114" y="172"/>
                    <a:pt x="109" y="176"/>
                  </a:cubicBezTo>
                  <a:cubicBezTo>
                    <a:pt x="105" y="178"/>
                    <a:pt x="101" y="183"/>
                    <a:pt x="98" y="186"/>
                  </a:cubicBezTo>
                  <a:cubicBezTo>
                    <a:pt x="96" y="190"/>
                    <a:pt x="92" y="192"/>
                    <a:pt x="90" y="196"/>
                  </a:cubicBezTo>
                  <a:cubicBezTo>
                    <a:pt x="89" y="197"/>
                    <a:pt x="87" y="197"/>
                    <a:pt x="86" y="199"/>
                  </a:cubicBezTo>
                  <a:cubicBezTo>
                    <a:pt x="85" y="199"/>
                    <a:pt x="85" y="201"/>
                    <a:pt x="85" y="203"/>
                  </a:cubicBezTo>
                  <a:cubicBezTo>
                    <a:pt x="84" y="203"/>
                    <a:pt x="84" y="204"/>
                    <a:pt x="84" y="204"/>
                  </a:cubicBezTo>
                  <a:cubicBezTo>
                    <a:pt x="84" y="205"/>
                    <a:pt x="84" y="206"/>
                    <a:pt x="84" y="206"/>
                  </a:cubicBezTo>
                  <a:cubicBezTo>
                    <a:pt x="83" y="207"/>
                    <a:pt x="82" y="209"/>
                    <a:pt x="81" y="211"/>
                  </a:cubicBezTo>
                  <a:cubicBezTo>
                    <a:pt x="78" y="216"/>
                    <a:pt x="75" y="220"/>
                    <a:pt x="72" y="225"/>
                  </a:cubicBezTo>
                  <a:cubicBezTo>
                    <a:pt x="71" y="228"/>
                    <a:pt x="69" y="231"/>
                    <a:pt x="68" y="233"/>
                  </a:cubicBezTo>
                  <a:cubicBezTo>
                    <a:pt x="68" y="234"/>
                    <a:pt x="67" y="235"/>
                    <a:pt x="66" y="235"/>
                  </a:cubicBezTo>
                  <a:cubicBezTo>
                    <a:pt x="65" y="237"/>
                    <a:pt x="64" y="237"/>
                    <a:pt x="62" y="238"/>
                  </a:cubicBezTo>
                  <a:cubicBezTo>
                    <a:pt x="61" y="239"/>
                    <a:pt x="60" y="241"/>
                    <a:pt x="58" y="242"/>
                  </a:cubicBezTo>
                  <a:cubicBezTo>
                    <a:pt x="57" y="244"/>
                    <a:pt x="57" y="242"/>
                    <a:pt x="57" y="244"/>
                  </a:cubicBezTo>
                  <a:cubicBezTo>
                    <a:pt x="57" y="244"/>
                    <a:pt x="57" y="245"/>
                    <a:pt x="57" y="246"/>
                  </a:cubicBezTo>
                  <a:cubicBezTo>
                    <a:pt x="57" y="247"/>
                    <a:pt x="57" y="247"/>
                    <a:pt x="57" y="248"/>
                  </a:cubicBezTo>
                  <a:cubicBezTo>
                    <a:pt x="58" y="251"/>
                    <a:pt x="59" y="252"/>
                    <a:pt x="59" y="254"/>
                  </a:cubicBezTo>
                  <a:cubicBezTo>
                    <a:pt x="59" y="255"/>
                    <a:pt x="59" y="257"/>
                    <a:pt x="59" y="258"/>
                  </a:cubicBezTo>
                  <a:cubicBezTo>
                    <a:pt x="60" y="258"/>
                    <a:pt x="60" y="259"/>
                    <a:pt x="61" y="259"/>
                  </a:cubicBezTo>
                  <a:cubicBezTo>
                    <a:pt x="62" y="261"/>
                    <a:pt x="61" y="264"/>
                    <a:pt x="61" y="266"/>
                  </a:cubicBezTo>
                  <a:cubicBezTo>
                    <a:pt x="61" y="269"/>
                    <a:pt x="60" y="274"/>
                    <a:pt x="64" y="275"/>
                  </a:cubicBezTo>
                  <a:cubicBezTo>
                    <a:pt x="65" y="275"/>
                    <a:pt x="66" y="275"/>
                    <a:pt x="66" y="275"/>
                  </a:cubicBezTo>
                  <a:cubicBezTo>
                    <a:pt x="67" y="275"/>
                    <a:pt x="67" y="276"/>
                    <a:pt x="67" y="276"/>
                  </a:cubicBezTo>
                  <a:cubicBezTo>
                    <a:pt x="68" y="277"/>
                    <a:pt x="68" y="277"/>
                    <a:pt x="69" y="277"/>
                  </a:cubicBezTo>
                  <a:cubicBezTo>
                    <a:pt x="69" y="280"/>
                    <a:pt x="72" y="282"/>
                    <a:pt x="71" y="285"/>
                  </a:cubicBezTo>
                  <a:cubicBezTo>
                    <a:pt x="69" y="285"/>
                    <a:pt x="65" y="285"/>
                    <a:pt x="63" y="285"/>
                  </a:cubicBezTo>
                  <a:cubicBezTo>
                    <a:pt x="62" y="284"/>
                    <a:pt x="62" y="283"/>
                    <a:pt x="61" y="283"/>
                  </a:cubicBezTo>
                  <a:cubicBezTo>
                    <a:pt x="60" y="283"/>
                    <a:pt x="59" y="283"/>
                    <a:pt x="58" y="283"/>
                  </a:cubicBezTo>
                  <a:cubicBezTo>
                    <a:pt x="55" y="283"/>
                    <a:pt x="54" y="282"/>
                    <a:pt x="52" y="280"/>
                  </a:cubicBezTo>
                  <a:cubicBezTo>
                    <a:pt x="52" y="281"/>
                    <a:pt x="52" y="281"/>
                    <a:pt x="51" y="281"/>
                  </a:cubicBezTo>
                  <a:cubicBezTo>
                    <a:pt x="51" y="283"/>
                    <a:pt x="50" y="284"/>
                    <a:pt x="50" y="285"/>
                  </a:cubicBezTo>
                  <a:cubicBezTo>
                    <a:pt x="47" y="289"/>
                    <a:pt x="44" y="290"/>
                    <a:pt x="40" y="291"/>
                  </a:cubicBezTo>
                  <a:cubicBezTo>
                    <a:pt x="39" y="291"/>
                    <a:pt x="37" y="291"/>
                    <a:pt x="35" y="291"/>
                  </a:cubicBezTo>
                  <a:cubicBezTo>
                    <a:pt x="33" y="291"/>
                    <a:pt x="31" y="290"/>
                    <a:pt x="29" y="290"/>
                  </a:cubicBezTo>
                  <a:cubicBezTo>
                    <a:pt x="28" y="290"/>
                    <a:pt x="27" y="291"/>
                    <a:pt x="25" y="291"/>
                  </a:cubicBezTo>
                  <a:cubicBezTo>
                    <a:pt x="24" y="292"/>
                    <a:pt x="21" y="291"/>
                    <a:pt x="20" y="292"/>
                  </a:cubicBezTo>
                  <a:cubicBezTo>
                    <a:pt x="19" y="292"/>
                    <a:pt x="18" y="293"/>
                    <a:pt x="18" y="293"/>
                  </a:cubicBezTo>
                  <a:cubicBezTo>
                    <a:pt x="17" y="294"/>
                    <a:pt x="18" y="294"/>
                    <a:pt x="17" y="295"/>
                  </a:cubicBezTo>
                  <a:cubicBezTo>
                    <a:pt x="17" y="297"/>
                    <a:pt x="15" y="299"/>
                    <a:pt x="14" y="300"/>
                  </a:cubicBezTo>
                  <a:cubicBezTo>
                    <a:pt x="13" y="302"/>
                    <a:pt x="12" y="303"/>
                    <a:pt x="12" y="305"/>
                  </a:cubicBezTo>
                  <a:cubicBezTo>
                    <a:pt x="11" y="307"/>
                    <a:pt x="11" y="308"/>
                    <a:pt x="11" y="310"/>
                  </a:cubicBezTo>
                  <a:cubicBezTo>
                    <a:pt x="11" y="311"/>
                    <a:pt x="9" y="313"/>
                    <a:pt x="9" y="314"/>
                  </a:cubicBezTo>
                  <a:cubicBezTo>
                    <a:pt x="8" y="315"/>
                    <a:pt x="7" y="317"/>
                    <a:pt x="7" y="318"/>
                  </a:cubicBezTo>
                  <a:cubicBezTo>
                    <a:pt x="6" y="320"/>
                    <a:pt x="6" y="321"/>
                    <a:pt x="5" y="322"/>
                  </a:cubicBezTo>
                  <a:cubicBezTo>
                    <a:pt x="5" y="324"/>
                    <a:pt x="4" y="324"/>
                    <a:pt x="4" y="326"/>
                  </a:cubicBezTo>
                  <a:cubicBezTo>
                    <a:pt x="4" y="328"/>
                    <a:pt x="4" y="327"/>
                    <a:pt x="3" y="328"/>
                  </a:cubicBezTo>
                  <a:cubicBezTo>
                    <a:pt x="2" y="329"/>
                    <a:pt x="1" y="330"/>
                    <a:pt x="0" y="331"/>
                  </a:cubicBezTo>
                  <a:cubicBezTo>
                    <a:pt x="20" y="353"/>
                    <a:pt x="20" y="353"/>
                    <a:pt x="20" y="353"/>
                  </a:cubicBezTo>
                  <a:cubicBezTo>
                    <a:pt x="22" y="353"/>
                    <a:pt x="22" y="353"/>
                    <a:pt x="23" y="354"/>
                  </a:cubicBezTo>
                  <a:cubicBezTo>
                    <a:pt x="23" y="355"/>
                    <a:pt x="23" y="356"/>
                    <a:pt x="23" y="357"/>
                  </a:cubicBezTo>
                  <a:cubicBezTo>
                    <a:pt x="23" y="359"/>
                    <a:pt x="22" y="362"/>
                    <a:pt x="24" y="362"/>
                  </a:cubicBezTo>
                  <a:cubicBezTo>
                    <a:pt x="25" y="360"/>
                    <a:pt x="28" y="362"/>
                    <a:pt x="31" y="362"/>
                  </a:cubicBezTo>
                  <a:cubicBezTo>
                    <a:pt x="32" y="362"/>
                    <a:pt x="33" y="362"/>
                    <a:pt x="34" y="362"/>
                  </a:cubicBezTo>
                  <a:cubicBezTo>
                    <a:pt x="35" y="363"/>
                    <a:pt x="36" y="363"/>
                    <a:pt x="37" y="363"/>
                  </a:cubicBezTo>
                  <a:cubicBezTo>
                    <a:pt x="37" y="364"/>
                    <a:pt x="38" y="364"/>
                    <a:pt x="39" y="365"/>
                  </a:cubicBezTo>
                  <a:cubicBezTo>
                    <a:pt x="39" y="366"/>
                    <a:pt x="39" y="368"/>
                    <a:pt x="39" y="369"/>
                  </a:cubicBezTo>
                  <a:cubicBezTo>
                    <a:pt x="39" y="370"/>
                    <a:pt x="39" y="371"/>
                    <a:pt x="39" y="372"/>
                  </a:cubicBezTo>
                  <a:cubicBezTo>
                    <a:pt x="42" y="371"/>
                    <a:pt x="46" y="373"/>
                    <a:pt x="49" y="372"/>
                  </a:cubicBezTo>
                  <a:cubicBezTo>
                    <a:pt x="50" y="371"/>
                    <a:pt x="51" y="370"/>
                    <a:pt x="52" y="369"/>
                  </a:cubicBezTo>
                  <a:cubicBezTo>
                    <a:pt x="53" y="368"/>
                    <a:pt x="54" y="367"/>
                    <a:pt x="56" y="366"/>
                  </a:cubicBezTo>
                  <a:cubicBezTo>
                    <a:pt x="59" y="364"/>
                    <a:pt x="62" y="365"/>
                    <a:pt x="64" y="367"/>
                  </a:cubicBezTo>
                  <a:cubicBezTo>
                    <a:pt x="66" y="370"/>
                    <a:pt x="65" y="372"/>
                    <a:pt x="69" y="373"/>
                  </a:cubicBezTo>
                  <a:cubicBezTo>
                    <a:pt x="73" y="373"/>
                    <a:pt x="76" y="372"/>
                    <a:pt x="80" y="372"/>
                  </a:cubicBezTo>
                  <a:cubicBezTo>
                    <a:pt x="81" y="372"/>
                    <a:pt x="83" y="371"/>
                    <a:pt x="85" y="373"/>
                  </a:cubicBezTo>
                  <a:cubicBezTo>
                    <a:pt x="86" y="373"/>
                    <a:pt x="88" y="377"/>
                    <a:pt x="88" y="378"/>
                  </a:cubicBezTo>
                  <a:cubicBezTo>
                    <a:pt x="89" y="376"/>
                    <a:pt x="89" y="375"/>
                    <a:pt x="91" y="375"/>
                  </a:cubicBezTo>
                  <a:cubicBezTo>
                    <a:pt x="93" y="375"/>
                    <a:pt x="95" y="375"/>
                    <a:pt x="97" y="375"/>
                  </a:cubicBezTo>
                  <a:cubicBezTo>
                    <a:pt x="99" y="375"/>
                    <a:pt x="104" y="375"/>
                    <a:pt x="106" y="376"/>
                  </a:cubicBezTo>
                  <a:cubicBezTo>
                    <a:pt x="107" y="377"/>
                    <a:pt x="107" y="378"/>
                    <a:pt x="108" y="378"/>
                  </a:cubicBezTo>
                  <a:cubicBezTo>
                    <a:pt x="108" y="378"/>
                    <a:pt x="109" y="378"/>
                    <a:pt x="110" y="378"/>
                  </a:cubicBezTo>
                  <a:cubicBezTo>
                    <a:pt x="114" y="380"/>
                    <a:pt x="117" y="380"/>
                    <a:pt x="122" y="378"/>
                  </a:cubicBezTo>
                  <a:cubicBezTo>
                    <a:pt x="123" y="378"/>
                    <a:pt x="133" y="374"/>
                    <a:pt x="132" y="378"/>
                  </a:cubicBezTo>
                  <a:cubicBezTo>
                    <a:pt x="135" y="378"/>
                    <a:pt x="134" y="379"/>
                    <a:pt x="135" y="380"/>
                  </a:cubicBezTo>
                  <a:cubicBezTo>
                    <a:pt x="136" y="381"/>
                    <a:pt x="138" y="382"/>
                    <a:pt x="139" y="383"/>
                  </a:cubicBezTo>
                  <a:cubicBezTo>
                    <a:pt x="140" y="384"/>
                    <a:pt x="141" y="386"/>
                    <a:pt x="143" y="388"/>
                  </a:cubicBezTo>
                  <a:cubicBezTo>
                    <a:pt x="147" y="391"/>
                    <a:pt x="153" y="393"/>
                    <a:pt x="158" y="391"/>
                  </a:cubicBezTo>
                  <a:cubicBezTo>
                    <a:pt x="161" y="390"/>
                    <a:pt x="162" y="386"/>
                    <a:pt x="163" y="384"/>
                  </a:cubicBezTo>
                  <a:cubicBezTo>
                    <a:pt x="165" y="381"/>
                    <a:pt x="166" y="379"/>
                    <a:pt x="170" y="379"/>
                  </a:cubicBezTo>
                  <a:cubicBezTo>
                    <a:pt x="175" y="379"/>
                    <a:pt x="181" y="379"/>
                    <a:pt x="187" y="379"/>
                  </a:cubicBezTo>
                  <a:cubicBezTo>
                    <a:pt x="187" y="379"/>
                    <a:pt x="189" y="379"/>
                    <a:pt x="189" y="379"/>
                  </a:cubicBezTo>
                  <a:cubicBezTo>
                    <a:pt x="190" y="379"/>
                    <a:pt x="190" y="378"/>
                    <a:pt x="190" y="378"/>
                  </a:cubicBezTo>
                  <a:cubicBezTo>
                    <a:pt x="192" y="377"/>
                    <a:pt x="195" y="376"/>
                    <a:pt x="197" y="376"/>
                  </a:cubicBezTo>
                  <a:cubicBezTo>
                    <a:pt x="202" y="376"/>
                    <a:pt x="207" y="374"/>
                    <a:pt x="211" y="374"/>
                  </a:cubicBezTo>
                  <a:cubicBezTo>
                    <a:pt x="215" y="374"/>
                    <a:pt x="216" y="375"/>
                    <a:pt x="218" y="372"/>
                  </a:cubicBezTo>
                  <a:cubicBezTo>
                    <a:pt x="220" y="370"/>
                    <a:pt x="220" y="367"/>
                    <a:pt x="222" y="365"/>
                  </a:cubicBezTo>
                  <a:cubicBezTo>
                    <a:pt x="223" y="362"/>
                    <a:pt x="227" y="360"/>
                    <a:pt x="230" y="359"/>
                  </a:cubicBezTo>
                  <a:cubicBezTo>
                    <a:pt x="233" y="357"/>
                    <a:pt x="235" y="356"/>
                    <a:pt x="238" y="355"/>
                  </a:cubicBezTo>
                  <a:cubicBezTo>
                    <a:pt x="238" y="355"/>
                    <a:pt x="238" y="355"/>
                    <a:pt x="238" y="355"/>
                  </a:cubicBezTo>
                  <a:cubicBezTo>
                    <a:pt x="241" y="354"/>
                    <a:pt x="244" y="351"/>
                    <a:pt x="248" y="351"/>
                  </a:cubicBezTo>
                  <a:cubicBezTo>
                    <a:pt x="248" y="350"/>
                    <a:pt x="248" y="350"/>
                    <a:pt x="248" y="350"/>
                  </a:cubicBezTo>
                  <a:cubicBezTo>
                    <a:pt x="249" y="349"/>
                    <a:pt x="249" y="349"/>
                    <a:pt x="250" y="348"/>
                  </a:cubicBezTo>
                  <a:cubicBezTo>
                    <a:pt x="250" y="347"/>
                    <a:pt x="250" y="346"/>
                    <a:pt x="250" y="345"/>
                  </a:cubicBezTo>
                  <a:cubicBezTo>
                    <a:pt x="250" y="344"/>
                    <a:pt x="249" y="344"/>
                    <a:pt x="249" y="343"/>
                  </a:cubicBezTo>
                  <a:cubicBezTo>
                    <a:pt x="249" y="342"/>
                    <a:pt x="249" y="341"/>
                    <a:pt x="249" y="340"/>
                  </a:cubicBezTo>
                  <a:cubicBezTo>
                    <a:pt x="249" y="338"/>
                    <a:pt x="250" y="338"/>
                    <a:pt x="252" y="337"/>
                  </a:cubicBezTo>
                  <a:cubicBezTo>
                    <a:pt x="252" y="337"/>
                    <a:pt x="253" y="337"/>
                    <a:pt x="254" y="337"/>
                  </a:cubicBezTo>
                  <a:cubicBezTo>
                    <a:pt x="255" y="337"/>
                    <a:pt x="254" y="340"/>
                    <a:pt x="256" y="340"/>
                  </a:cubicBezTo>
                  <a:cubicBezTo>
                    <a:pt x="257" y="341"/>
                    <a:pt x="258" y="340"/>
                    <a:pt x="259" y="341"/>
                  </a:cubicBezTo>
                  <a:cubicBezTo>
                    <a:pt x="260" y="341"/>
                    <a:pt x="260" y="342"/>
                    <a:pt x="260" y="343"/>
                  </a:cubicBezTo>
                  <a:cubicBezTo>
                    <a:pt x="261" y="344"/>
                    <a:pt x="262" y="344"/>
                    <a:pt x="263" y="343"/>
                  </a:cubicBezTo>
                  <a:cubicBezTo>
                    <a:pt x="266" y="342"/>
                    <a:pt x="266" y="341"/>
                    <a:pt x="267" y="339"/>
                  </a:cubicBezTo>
                  <a:cubicBezTo>
                    <a:pt x="267" y="337"/>
                    <a:pt x="267" y="337"/>
                    <a:pt x="269" y="338"/>
                  </a:cubicBezTo>
                  <a:cubicBezTo>
                    <a:pt x="271" y="338"/>
                    <a:pt x="272" y="339"/>
                    <a:pt x="273" y="341"/>
                  </a:cubicBezTo>
                  <a:cubicBezTo>
                    <a:pt x="273" y="342"/>
                    <a:pt x="273" y="342"/>
                    <a:pt x="274" y="342"/>
                  </a:cubicBezTo>
                  <a:cubicBezTo>
                    <a:pt x="276" y="342"/>
                    <a:pt x="279" y="341"/>
                    <a:pt x="280" y="340"/>
                  </a:cubicBezTo>
                  <a:cubicBezTo>
                    <a:pt x="281" y="339"/>
                    <a:pt x="282" y="339"/>
                    <a:pt x="283" y="338"/>
                  </a:cubicBezTo>
                  <a:cubicBezTo>
                    <a:pt x="283" y="337"/>
                    <a:pt x="283" y="336"/>
                    <a:pt x="284" y="336"/>
                  </a:cubicBezTo>
                  <a:cubicBezTo>
                    <a:pt x="284" y="335"/>
                    <a:pt x="285" y="336"/>
                    <a:pt x="285" y="337"/>
                  </a:cubicBezTo>
                  <a:cubicBezTo>
                    <a:pt x="286" y="337"/>
                    <a:pt x="286" y="338"/>
                    <a:pt x="287" y="339"/>
                  </a:cubicBezTo>
                  <a:cubicBezTo>
                    <a:pt x="288" y="340"/>
                    <a:pt x="289" y="340"/>
                    <a:pt x="290" y="340"/>
                  </a:cubicBezTo>
                  <a:cubicBezTo>
                    <a:pt x="293" y="339"/>
                    <a:pt x="296" y="337"/>
                    <a:pt x="296" y="334"/>
                  </a:cubicBezTo>
                  <a:cubicBezTo>
                    <a:pt x="296" y="334"/>
                    <a:pt x="296" y="332"/>
                    <a:pt x="297" y="332"/>
                  </a:cubicBezTo>
                  <a:cubicBezTo>
                    <a:pt x="299" y="330"/>
                    <a:pt x="301" y="335"/>
                    <a:pt x="302" y="335"/>
                  </a:cubicBezTo>
                  <a:cubicBezTo>
                    <a:pt x="302" y="336"/>
                    <a:pt x="304" y="336"/>
                    <a:pt x="305" y="336"/>
                  </a:cubicBezTo>
                  <a:cubicBezTo>
                    <a:pt x="307" y="336"/>
                    <a:pt x="306" y="336"/>
                    <a:pt x="308" y="337"/>
                  </a:cubicBezTo>
                  <a:cubicBezTo>
                    <a:pt x="308" y="338"/>
                    <a:pt x="309" y="338"/>
                    <a:pt x="309" y="338"/>
                  </a:cubicBezTo>
                  <a:cubicBezTo>
                    <a:pt x="310" y="339"/>
                    <a:pt x="311" y="340"/>
                    <a:pt x="312" y="341"/>
                  </a:cubicBezTo>
                  <a:cubicBezTo>
                    <a:pt x="314" y="342"/>
                    <a:pt x="316" y="342"/>
                    <a:pt x="317" y="343"/>
                  </a:cubicBezTo>
                  <a:cubicBezTo>
                    <a:pt x="319" y="344"/>
                    <a:pt x="321" y="347"/>
                    <a:pt x="323" y="348"/>
                  </a:cubicBezTo>
                  <a:cubicBezTo>
                    <a:pt x="324" y="348"/>
                    <a:pt x="325" y="348"/>
                    <a:pt x="325" y="349"/>
                  </a:cubicBezTo>
                  <a:cubicBezTo>
                    <a:pt x="325" y="349"/>
                    <a:pt x="325" y="350"/>
                    <a:pt x="325" y="350"/>
                  </a:cubicBezTo>
                  <a:cubicBezTo>
                    <a:pt x="325" y="352"/>
                    <a:pt x="325" y="351"/>
                    <a:pt x="327" y="351"/>
                  </a:cubicBezTo>
                  <a:cubicBezTo>
                    <a:pt x="328" y="352"/>
                    <a:pt x="327" y="352"/>
                    <a:pt x="328" y="353"/>
                  </a:cubicBezTo>
                  <a:cubicBezTo>
                    <a:pt x="328" y="354"/>
                    <a:pt x="330" y="355"/>
                    <a:pt x="331" y="355"/>
                  </a:cubicBezTo>
                  <a:cubicBezTo>
                    <a:pt x="331" y="354"/>
                    <a:pt x="332" y="354"/>
                    <a:pt x="332" y="353"/>
                  </a:cubicBezTo>
                  <a:cubicBezTo>
                    <a:pt x="334" y="353"/>
                    <a:pt x="335" y="354"/>
                    <a:pt x="336" y="353"/>
                  </a:cubicBezTo>
                  <a:cubicBezTo>
                    <a:pt x="338" y="353"/>
                    <a:pt x="339" y="352"/>
                    <a:pt x="340" y="354"/>
                  </a:cubicBezTo>
                  <a:cubicBezTo>
                    <a:pt x="341" y="356"/>
                    <a:pt x="340" y="358"/>
                    <a:pt x="339" y="359"/>
                  </a:cubicBezTo>
                  <a:cubicBezTo>
                    <a:pt x="338" y="360"/>
                    <a:pt x="337" y="360"/>
                    <a:pt x="337" y="361"/>
                  </a:cubicBezTo>
                  <a:cubicBezTo>
                    <a:pt x="338" y="362"/>
                    <a:pt x="339" y="361"/>
                    <a:pt x="340" y="361"/>
                  </a:cubicBezTo>
                  <a:cubicBezTo>
                    <a:pt x="341" y="361"/>
                    <a:pt x="342" y="359"/>
                    <a:pt x="343" y="359"/>
                  </a:cubicBezTo>
                  <a:cubicBezTo>
                    <a:pt x="343" y="360"/>
                    <a:pt x="343" y="362"/>
                    <a:pt x="343" y="362"/>
                  </a:cubicBezTo>
                  <a:cubicBezTo>
                    <a:pt x="343" y="363"/>
                    <a:pt x="343" y="365"/>
                    <a:pt x="343" y="365"/>
                  </a:cubicBezTo>
                  <a:cubicBezTo>
                    <a:pt x="344" y="365"/>
                    <a:pt x="344" y="365"/>
                    <a:pt x="345" y="365"/>
                  </a:cubicBezTo>
                  <a:cubicBezTo>
                    <a:pt x="345" y="366"/>
                    <a:pt x="345" y="367"/>
                    <a:pt x="345" y="367"/>
                  </a:cubicBezTo>
                  <a:cubicBezTo>
                    <a:pt x="346" y="367"/>
                    <a:pt x="347" y="365"/>
                    <a:pt x="347" y="364"/>
                  </a:cubicBezTo>
                  <a:cubicBezTo>
                    <a:pt x="347" y="364"/>
                    <a:pt x="347" y="361"/>
                    <a:pt x="347" y="360"/>
                  </a:cubicBezTo>
                  <a:cubicBezTo>
                    <a:pt x="348" y="359"/>
                    <a:pt x="351" y="360"/>
                    <a:pt x="352" y="360"/>
                  </a:cubicBezTo>
                  <a:cubicBezTo>
                    <a:pt x="353" y="360"/>
                    <a:pt x="354" y="360"/>
                    <a:pt x="355" y="361"/>
                  </a:cubicBezTo>
                  <a:cubicBezTo>
                    <a:pt x="356" y="361"/>
                    <a:pt x="357" y="362"/>
                    <a:pt x="357" y="362"/>
                  </a:cubicBezTo>
                  <a:cubicBezTo>
                    <a:pt x="358" y="362"/>
                    <a:pt x="359" y="362"/>
                    <a:pt x="359" y="362"/>
                  </a:cubicBezTo>
                  <a:cubicBezTo>
                    <a:pt x="361" y="362"/>
                    <a:pt x="360" y="362"/>
                    <a:pt x="361" y="363"/>
                  </a:cubicBezTo>
                  <a:cubicBezTo>
                    <a:pt x="362" y="363"/>
                    <a:pt x="362" y="364"/>
                    <a:pt x="363" y="365"/>
                  </a:cubicBezTo>
                  <a:cubicBezTo>
                    <a:pt x="364" y="365"/>
                    <a:pt x="364" y="364"/>
                    <a:pt x="365" y="365"/>
                  </a:cubicBezTo>
                  <a:cubicBezTo>
                    <a:pt x="366" y="365"/>
                    <a:pt x="365" y="367"/>
                    <a:pt x="365" y="368"/>
                  </a:cubicBezTo>
                  <a:cubicBezTo>
                    <a:pt x="365" y="370"/>
                    <a:pt x="365" y="370"/>
                    <a:pt x="367" y="372"/>
                  </a:cubicBezTo>
                  <a:cubicBezTo>
                    <a:pt x="368" y="373"/>
                    <a:pt x="368" y="375"/>
                    <a:pt x="369" y="375"/>
                  </a:cubicBezTo>
                  <a:cubicBezTo>
                    <a:pt x="371" y="375"/>
                    <a:pt x="371" y="375"/>
                    <a:pt x="372" y="376"/>
                  </a:cubicBezTo>
                  <a:cubicBezTo>
                    <a:pt x="373" y="377"/>
                    <a:pt x="372" y="377"/>
                    <a:pt x="373" y="378"/>
                  </a:cubicBezTo>
                  <a:cubicBezTo>
                    <a:pt x="374" y="378"/>
                    <a:pt x="376" y="378"/>
                    <a:pt x="377" y="378"/>
                  </a:cubicBezTo>
                  <a:cubicBezTo>
                    <a:pt x="377" y="378"/>
                    <a:pt x="378" y="378"/>
                    <a:pt x="378" y="378"/>
                  </a:cubicBezTo>
                  <a:cubicBezTo>
                    <a:pt x="379" y="378"/>
                    <a:pt x="379" y="377"/>
                    <a:pt x="380" y="376"/>
                  </a:cubicBezTo>
                  <a:cubicBezTo>
                    <a:pt x="381" y="375"/>
                    <a:pt x="383" y="376"/>
                    <a:pt x="384" y="376"/>
                  </a:cubicBezTo>
                  <a:cubicBezTo>
                    <a:pt x="385" y="377"/>
                    <a:pt x="386" y="377"/>
                    <a:pt x="387" y="378"/>
                  </a:cubicBezTo>
                  <a:cubicBezTo>
                    <a:pt x="388" y="378"/>
                    <a:pt x="389" y="378"/>
                    <a:pt x="389" y="378"/>
                  </a:cubicBezTo>
                  <a:cubicBezTo>
                    <a:pt x="391" y="379"/>
                    <a:pt x="391" y="381"/>
                    <a:pt x="390" y="382"/>
                  </a:cubicBezTo>
                  <a:cubicBezTo>
                    <a:pt x="390" y="383"/>
                    <a:pt x="390" y="383"/>
                    <a:pt x="390" y="383"/>
                  </a:cubicBezTo>
                  <a:cubicBezTo>
                    <a:pt x="389" y="384"/>
                    <a:pt x="389" y="384"/>
                    <a:pt x="389" y="385"/>
                  </a:cubicBezTo>
                  <a:cubicBezTo>
                    <a:pt x="389" y="385"/>
                    <a:pt x="389" y="386"/>
                    <a:pt x="389" y="386"/>
                  </a:cubicBezTo>
                  <a:cubicBezTo>
                    <a:pt x="389" y="388"/>
                    <a:pt x="389" y="388"/>
                    <a:pt x="388" y="389"/>
                  </a:cubicBezTo>
                  <a:cubicBezTo>
                    <a:pt x="388" y="389"/>
                    <a:pt x="388" y="390"/>
                    <a:pt x="388" y="390"/>
                  </a:cubicBezTo>
                  <a:cubicBezTo>
                    <a:pt x="388" y="391"/>
                    <a:pt x="389" y="391"/>
                    <a:pt x="390" y="392"/>
                  </a:cubicBezTo>
                  <a:cubicBezTo>
                    <a:pt x="391" y="393"/>
                    <a:pt x="390" y="393"/>
                    <a:pt x="389" y="393"/>
                  </a:cubicBezTo>
                  <a:cubicBezTo>
                    <a:pt x="389" y="394"/>
                    <a:pt x="388" y="395"/>
                    <a:pt x="388" y="396"/>
                  </a:cubicBezTo>
                  <a:cubicBezTo>
                    <a:pt x="388" y="397"/>
                    <a:pt x="388" y="398"/>
                    <a:pt x="387" y="400"/>
                  </a:cubicBezTo>
                  <a:cubicBezTo>
                    <a:pt x="387" y="400"/>
                    <a:pt x="387" y="401"/>
                    <a:pt x="387" y="402"/>
                  </a:cubicBezTo>
                  <a:cubicBezTo>
                    <a:pt x="387" y="403"/>
                    <a:pt x="387" y="404"/>
                    <a:pt x="387" y="404"/>
                  </a:cubicBezTo>
                  <a:cubicBezTo>
                    <a:pt x="387" y="406"/>
                    <a:pt x="384" y="406"/>
                    <a:pt x="383" y="408"/>
                  </a:cubicBezTo>
                  <a:cubicBezTo>
                    <a:pt x="382" y="409"/>
                    <a:pt x="382" y="410"/>
                    <a:pt x="383" y="411"/>
                  </a:cubicBezTo>
                  <a:cubicBezTo>
                    <a:pt x="383" y="412"/>
                    <a:pt x="383" y="413"/>
                    <a:pt x="383" y="414"/>
                  </a:cubicBezTo>
                  <a:cubicBezTo>
                    <a:pt x="383" y="414"/>
                    <a:pt x="383" y="414"/>
                    <a:pt x="384" y="415"/>
                  </a:cubicBezTo>
                  <a:cubicBezTo>
                    <a:pt x="385" y="416"/>
                    <a:pt x="385" y="418"/>
                    <a:pt x="386" y="419"/>
                  </a:cubicBezTo>
                  <a:cubicBezTo>
                    <a:pt x="387" y="419"/>
                    <a:pt x="387" y="420"/>
                    <a:pt x="388" y="421"/>
                  </a:cubicBezTo>
                  <a:cubicBezTo>
                    <a:pt x="389" y="422"/>
                    <a:pt x="389" y="423"/>
                    <a:pt x="389" y="424"/>
                  </a:cubicBezTo>
                  <a:cubicBezTo>
                    <a:pt x="389" y="425"/>
                    <a:pt x="391" y="426"/>
                    <a:pt x="392" y="426"/>
                  </a:cubicBezTo>
                  <a:cubicBezTo>
                    <a:pt x="392" y="426"/>
                    <a:pt x="393" y="425"/>
                    <a:pt x="393" y="424"/>
                  </a:cubicBezTo>
                  <a:cubicBezTo>
                    <a:pt x="393" y="425"/>
                    <a:pt x="394" y="426"/>
                    <a:pt x="394" y="426"/>
                  </a:cubicBezTo>
                  <a:cubicBezTo>
                    <a:pt x="394" y="427"/>
                    <a:pt x="394" y="429"/>
                    <a:pt x="395" y="430"/>
                  </a:cubicBezTo>
                  <a:cubicBezTo>
                    <a:pt x="396" y="430"/>
                    <a:pt x="397" y="431"/>
                    <a:pt x="398" y="431"/>
                  </a:cubicBezTo>
                  <a:cubicBezTo>
                    <a:pt x="401" y="433"/>
                    <a:pt x="402" y="430"/>
                    <a:pt x="404" y="428"/>
                  </a:cubicBezTo>
                  <a:cubicBezTo>
                    <a:pt x="404" y="428"/>
                    <a:pt x="405" y="428"/>
                    <a:pt x="405" y="428"/>
                  </a:cubicBezTo>
                  <a:cubicBezTo>
                    <a:pt x="406" y="427"/>
                    <a:pt x="407" y="427"/>
                    <a:pt x="408" y="427"/>
                  </a:cubicBezTo>
                  <a:cubicBezTo>
                    <a:pt x="408" y="428"/>
                    <a:pt x="408" y="430"/>
                    <a:pt x="408" y="431"/>
                  </a:cubicBezTo>
                  <a:cubicBezTo>
                    <a:pt x="408" y="433"/>
                    <a:pt x="410" y="435"/>
                    <a:pt x="409" y="437"/>
                  </a:cubicBezTo>
                  <a:cubicBezTo>
                    <a:pt x="408" y="439"/>
                    <a:pt x="406" y="439"/>
                    <a:pt x="407" y="442"/>
                  </a:cubicBezTo>
                  <a:cubicBezTo>
                    <a:pt x="407" y="442"/>
                    <a:pt x="407" y="443"/>
                    <a:pt x="407" y="443"/>
                  </a:cubicBezTo>
                  <a:cubicBezTo>
                    <a:pt x="407" y="444"/>
                    <a:pt x="407" y="444"/>
                    <a:pt x="407" y="445"/>
                  </a:cubicBezTo>
                  <a:cubicBezTo>
                    <a:pt x="406" y="446"/>
                    <a:pt x="406" y="445"/>
                    <a:pt x="405" y="447"/>
                  </a:cubicBezTo>
                  <a:cubicBezTo>
                    <a:pt x="405" y="448"/>
                    <a:pt x="405" y="449"/>
                    <a:pt x="406" y="450"/>
                  </a:cubicBezTo>
                  <a:cubicBezTo>
                    <a:pt x="404" y="449"/>
                    <a:pt x="403" y="448"/>
                    <a:pt x="402" y="450"/>
                  </a:cubicBezTo>
                  <a:cubicBezTo>
                    <a:pt x="400" y="452"/>
                    <a:pt x="404" y="453"/>
                    <a:pt x="406" y="453"/>
                  </a:cubicBezTo>
                  <a:cubicBezTo>
                    <a:pt x="407" y="453"/>
                    <a:pt x="410" y="453"/>
                    <a:pt x="411" y="453"/>
                  </a:cubicBezTo>
                  <a:cubicBezTo>
                    <a:pt x="412" y="454"/>
                    <a:pt x="412" y="456"/>
                    <a:pt x="412" y="456"/>
                  </a:cubicBezTo>
                  <a:cubicBezTo>
                    <a:pt x="412" y="457"/>
                    <a:pt x="412" y="458"/>
                    <a:pt x="412" y="458"/>
                  </a:cubicBezTo>
                  <a:cubicBezTo>
                    <a:pt x="411" y="460"/>
                    <a:pt x="411" y="462"/>
                    <a:pt x="411" y="463"/>
                  </a:cubicBezTo>
                  <a:cubicBezTo>
                    <a:pt x="411" y="463"/>
                    <a:pt x="412" y="464"/>
                    <a:pt x="412" y="464"/>
                  </a:cubicBezTo>
                  <a:cubicBezTo>
                    <a:pt x="413" y="465"/>
                    <a:pt x="413" y="465"/>
                    <a:pt x="413" y="466"/>
                  </a:cubicBezTo>
                  <a:cubicBezTo>
                    <a:pt x="413" y="468"/>
                    <a:pt x="415" y="471"/>
                    <a:pt x="415" y="473"/>
                  </a:cubicBezTo>
                  <a:cubicBezTo>
                    <a:pt x="416" y="474"/>
                    <a:pt x="416" y="474"/>
                    <a:pt x="417" y="474"/>
                  </a:cubicBezTo>
                  <a:cubicBezTo>
                    <a:pt x="418" y="473"/>
                    <a:pt x="419" y="473"/>
                    <a:pt x="421" y="472"/>
                  </a:cubicBezTo>
                  <a:cubicBezTo>
                    <a:pt x="422" y="471"/>
                    <a:pt x="423" y="472"/>
                    <a:pt x="424" y="473"/>
                  </a:cubicBezTo>
                  <a:cubicBezTo>
                    <a:pt x="426" y="474"/>
                    <a:pt x="428" y="474"/>
                    <a:pt x="428" y="477"/>
                  </a:cubicBezTo>
                  <a:cubicBezTo>
                    <a:pt x="428" y="481"/>
                    <a:pt x="428" y="486"/>
                    <a:pt x="427" y="490"/>
                  </a:cubicBezTo>
                  <a:cubicBezTo>
                    <a:pt x="427" y="491"/>
                    <a:pt x="426" y="493"/>
                    <a:pt x="426" y="495"/>
                  </a:cubicBezTo>
                  <a:cubicBezTo>
                    <a:pt x="426" y="496"/>
                    <a:pt x="427" y="497"/>
                    <a:pt x="426" y="498"/>
                  </a:cubicBezTo>
                  <a:cubicBezTo>
                    <a:pt x="424" y="499"/>
                    <a:pt x="423" y="497"/>
                    <a:pt x="421" y="498"/>
                  </a:cubicBezTo>
                  <a:cubicBezTo>
                    <a:pt x="421" y="499"/>
                    <a:pt x="421" y="500"/>
                    <a:pt x="421" y="500"/>
                  </a:cubicBezTo>
                  <a:cubicBezTo>
                    <a:pt x="420" y="501"/>
                    <a:pt x="420" y="501"/>
                    <a:pt x="419" y="502"/>
                  </a:cubicBezTo>
                  <a:cubicBezTo>
                    <a:pt x="418" y="503"/>
                    <a:pt x="419" y="504"/>
                    <a:pt x="418" y="505"/>
                  </a:cubicBezTo>
                  <a:cubicBezTo>
                    <a:pt x="418" y="506"/>
                    <a:pt x="417" y="507"/>
                    <a:pt x="416" y="508"/>
                  </a:cubicBezTo>
                  <a:cubicBezTo>
                    <a:pt x="414" y="510"/>
                    <a:pt x="414" y="512"/>
                    <a:pt x="414" y="515"/>
                  </a:cubicBezTo>
                  <a:cubicBezTo>
                    <a:pt x="413" y="515"/>
                    <a:pt x="411" y="515"/>
                    <a:pt x="411" y="515"/>
                  </a:cubicBezTo>
                  <a:cubicBezTo>
                    <a:pt x="410" y="514"/>
                    <a:pt x="409" y="513"/>
                    <a:pt x="408" y="512"/>
                  </a:cubicBezTo>
                  <a:cubicBezTo>
                    <a:pt x="408" y="511"/>
                    <a:pt x="407" y="510"/>
                    <a:pt x="407" y="510"/>
                  </a:cubicBezTo>
                  <a:cubicBezTo>
                    <a:pt x="407" y="509"/>
                    <a:pt x="406" y="508"/>
                    <a:pt x="406" y="507"/>
                  </a:cubicBezTo>
                  <a:cubicBezTo>
                    <a:pt x="405" y="507"/>
                    <a:pt x="404" y="506"/>
                    <a:pt x="403" y="506"/>
                  </a:cubicBezTo>
                  <a:cubicBezTo>
                    <a:pt x="403" y="505"/>
                    <a:pt x="403" y="505"/>
                    <a:pt x="403" y="504"/>
                  </a:cubicBezTo>
                  <a:cubicBezTo>
                    <a:pt x="403" y="503"/>
                    <a:pt x="403" y="502"/>
                    <a:pt x="402" y="502"/>
                  </a:cubicBezTo>
                  <a:cubicBezTo>
                    <a:pt x="399" y="501"/>
                    <a:pt x="397" y="506"/>
                    <a:pt x="396" y="507"/>
                  </a:cubicBezTo>
                  <a:cubicBezTo>
                    <a:pt x="395" y="506"/>
                    <a:pt x="394" y="502"/>
                    <a:pt x="394" y="501"/>
                  </a:cubicBezTo>
                  <a:cubicBezTo>
                    <a:pt x="394" y="500"/>
                    <a:pt x="395" y="499"/>
                    <a:pt x="394" y="498"/>
                  </a:cubicBezTo>
                  <a:cubicBezTo>
                    <a:pt x="393" y="499"/>
                    <a:pt x="392" y="502"/>
                    <a:pt x="392" y="505"/>
                  </a:cubicBezTo>
                  <a:cubicBezTo>
                    <a:pt x="392" y="506"/>
                    <a:pt x="392" y="507"/>
                    <a:pt x="391" y="508"/>
                  </a:cubicBezTo>
                  <a:cubicBezTo>
                    <a:pt x="391" y="509"/>
                    <a:pt x="390" y="509"/>
                    <a:pt x="390" y="510"/>
                  </a:cubicBezTo>
                  <a:cubicBezTo>
                    <a:pt x="390" y="510"/>
                    <a:pt x="390" y="511"/>
                    <a:pt x="389" y="512"/>
                  </a:cubicBezTo>
                  <a:cubicBezTo>
                    <a:pt x="388" y="513"/>
                    <a:pt x="388" y="510"/>
                    <a:pt x="387" y="509"/>
                  </a:cubicBezTo>
                  <a:cubicBezTo>
                    <a:pt x="387" y="507"/>
                    <a:pt x="387" y="506"/>
                    <a:pt x="389" y="504"/>
                  </a:cubicBezTo>
                  <a:cubicBezTo>
                    <a:pt x="390" y="502"/>
                    <a:pt x="391" y="501"/>
                    <a:pt x="391" y="499"/>
                  </a:cubicBezTo>
                  <a:cubicBezTo>
                    <a:pt x="391" y="494"/>
                    <a:pt x="385" y="496"/>
                    <a:pt x="383" y="498"/>
                  </a:cubicBezTo>
                  <a:cubicBezTo>
                    <a:pt x="382" y="499"/>
                    <a:pt x="383" y="499"/>
                    <a:pt x="382" y="499"/>
                  </a:cubicBezTo>
                  <a:cubicBezTo>
                    <a:pt x="381" y="500"/>
                    <a:pt x="380" y="500"/>
                    <a:pt x="379" y="500"/>
                  </a:cubicBezTo>
                  <a:cubicBezTo>
                    <a:pt x="378" y="500"/>
                    <a:pt x="377" y="501"/>
                    <a:pt x="375" y="502"/>
                  </a:cubicBezTo>
                  <a:cubicBezTo>
                    <a:pt x="374" y="502"/>
                    <a:pt x="374" y="502"/>
                    <a:pt x="373" y="504"/>
                  </a:cubicBezTo>
                  <a:cubicBezTo>
                    <a:pt x="373" y="504"/>
                    <a:pt x="372" y="506"/>
                    <a:pt x="372" y="507"/>
                  </a:cubicBezTo>
                  <a:cubicBezTo>
                    <a:pt x="373" y="508"/>
                    <a:pt x="374" y="507"/>
                    <a:pt x="375" y="509"/>
                  </a:cubicBezTo>
                  <a:cubicBezTo>
                    <a:pt x="375" y="510"/>
                    <a:pt x="374" y="511"/>
                    <a:pt x="374" y="512"/>
                  </a:cubicBezTo>
                  <a:cubicBezTo>
                    <a:pt x="374" y="514"/>
                    <a:pt x="374" y="516"/>
                    <a:pt x="373" y="518"/>
                  </a:cubicBezTo>
                  <a:cubicBezTo>
                    <a:pt x="373" y="519"/>
                    <a:pt x="371" y="522"/>
                    <a:pt x="372" y="523"/>
                  </a:cubicBezTo>
                  <a:cubicBezTo>
                    <a:pt x="372" y="524"/>
                    <a:pt x="374" y="523"/>
                    <a:pt x="375" y="523"/>
                  </a:cubicBezTo>
                  <a:cubicBezTo>
                    <a:pt x="376" y="524"/>
                    <a:pt x="376" y="524"/>
                    <a:pt x="376" y="525"/>
                  </a:cubicBezTo>
                  <a:cubicBezTo>
                    <a:pt x="377" y="527"/>
                    <a:pt x="377" y="528"/>
                    <a:pt x="376" y="530"/>
                  </a:cubicBezTo>
                  <a:cubicBezTo>
                    <a:pt x="375" y="532"/>
                    <a:pt x="373" y="534"/>
                    <a:pt x="374" y="536"/>
                  </a:cubicBezTo>
                  <a:cubicBezTo>
                    <a:pt x="375" y="537"/>
                    <a:pt x="376" y="538"/>
                    <a:pt x="376" y="539"/>
                  </a:cubicBezTo>
                  <a:cubicBezTo>
                    <a:pt x="376" y="540"/>
                    <a:pt x="375" y="540"/>
                    <a:pt x="374" y="541"/>
                  </a:cubicBezTo>
                  <a:cubicBezTo>
                    <a:pt x="370" y="543"/>
                    <a:pt x="366" y="544"/>
                    <a:pt x="363" y="546"/>
                  </a:cubicBezTo>
                  <a:cubicBezTo>
                    <a:pt x="361" y="547"/>
                    <a:pt x="358" y="549"/>
                    <a:pt x="359" y="551"/>
                  </a:cubicBezTo>
                  <a:cubicBezTo>
                    <a:pt x="360" y="553"/>
                    <a:pt x="361" y="555"/>
                    <a:pt x="359" y="557"/>
                  </a:cubicBezTo>
                  <a:cubicBezTo>
                    <a:pt x="358" y="557"/>
                    <a:pt x="357" y="558"/>
                    <a:pt x="356" y="558"/>
                  </a:cubicBezTo>
                  <a:cubicBezTo>
                    <a:pt x="355" y="558"/>
                    <a:pt x="355" y="558"/>
                    <a:pt x="354" y="558"/>
                  </a:cubicBezTo>
                  <a:cubicBezTo>
                    <a:pt x="353" y="559"/>
                    <a:pt x="352" y="559"/>
                    <a:pt x="352" y="560"/>
                  </a:cubicBezTo>
                  <a:cubicBezTo>
                    <a:pt x="351" y="560"/>
                    <a:pt x="350" y="561"/>
                    <a:pt x="350" y="562"/>
                  </a:cubicBezTo>
                  <a:cubicBezTo>
                    <a:pt x="350" y="563"/>
                    <a:pt x="350" y="563"/>
                    <a:pt x="349" y="564"/>
                  </a:cubicBezTo>
                  <a:cubicBezTo>
                    <a:pt x="348" y="564"/>
                    <a:pt x="347" y="564"/>
                    <a:pt x="347" y="565"/>
                  </a:cubicBezTo>
                  <a:cubicBezTo>
                    <a:pt x="347" y="566"/>
                    <a:pt x="347" y="567"/>
                    <a:pt x="347" y="568"/>
                  </a:cubicBezTo>
                  <a:cubicBezTo>
                    <a:pt x="347" y="570"/>
                    <a:pt x="349" y="571"/>
                    <a:pt x="348" y="573"/>
                  </a:cubicBezTo>
                  <a:cubicBezTo>
                    <a:pt x="348" y="573"/>
                    <a:pt x="347" y="574"/>
                    <a:pt x="347" y="574"/>
                  </a:cubicBezTo>
                  <a:cubicBezTo>
                    <a:pt x="347" y="574"/>
                    <a:pt x="347" y="575"/>
                    <a:pt x="347" y="575"/>
                  </a:cubicBezTo>
                  <a:cubicBezTo>
                    <a:pt x="347" y="576"/>
                    <a:pt x="347" y="577"/>
                    <a:pt x="347" y="578"/>
                  </a:cubicBezTo>
                  <a:cubicBezTo>
                    <a:pt x="346" y="579"/>
                    <a:pt x="346" y="580"/>
                    <a:pt x="346" y="580"/>
                  </a:cubicBezTo>
                  <a:cubicBezTo>
                    <a:pt x="346" y="581"/>
                    <a:pt x="346" y="582"/>
                    <a:pt x="346" y="583"/>
                  </a:cubicBezTo>
                  <a:cubicBezTo>
                    <a:pt x="346" y="583"/>
                    <a:pt x="345" y="583"/>
                    <a:pt x="345" y="584"/>
                  </a:cubicBezTo>
                  <a:cubicBezTo>
                    <a:pt x="344" y="584"/>
                    <a:pt x="344" y="585"/>
                    <a:pt x="344" y="585"/>
                  </a:cubicBezTo>
                  <a:cubicBezTo>
                    <a:pt x="343" y="586"/>
                    <a:pt x="343" y="586"/>
                    <a:pt x="342" y="586"/>
                  </a:cubicBezTo>
                  <a:cubicBezTo>
                    <a:pt x="339" y="586"/>
                    <a:pt x="339" y="579"/>
                    <a:pt x="336" y="582"/>
                  </a:cubicBezTo>
                  <a:cubicBezTo>
                    <a:pt x="335" y="582"/>
                    <a:pt x="334" y="583"/>
                    <a:pt x="333" y="584"/>
                  </a:cubicBezTo>
                  <a:cubicBezTo>
                    <a:pt x="332" y="585"/>
                    <a:pt x="331" y="586"/>
                    <a:pt x="330" y="586"/>
                  </a:cubicBezTo>
                  <a:cubicBezTo>
                    <a:pt x="330" y="587"/>
                    <a:pt x="331" y="587"/>
                    <a:pt x="331" y="588"/>
                  </a:cubicBezTo>
                  <a:cubicBezTo>
                    <a:pt x="332" y="588"/>
                    <a:pt x="337" y="596"/>
                    <a:pt x="337" y="597"/>
                  </a:cubicBezTo>
                  <a:cubicBezTo>
                    <a:pt x="339" y="598"/>
                    <a:pt x="345" y="601"/>
                    <a:pt x="347" y="601"/>
                  </a:cubicBezTo>
                  <a:cubicBezTo>
                    <a:pt x="349" y="602"/>
                    <a:pt x="351" y="603"/>
                    <a:pt x="353" y="605"/>
                  </a:cubicBezTo>
                  <a:cubicBezTo>
                    <a:pt x="356" y="606"/>
                    <a:pt x="357" y="608"/>
                    <a:pt x="360" y="605"/>
                  </a:cubicBezTo>
                  <a:cubicBezTo>
                    <a:pt x="361" y="604"/>
                    <a:pt x="361" y="601"/>
                    <a:pt x="362" y="601"/>
                  </a:cubicBezTo>
                  <a:cubicBezTo>
                    <a:pt x="364" y="600"/>
                    <a:pt x="366" y="601"/>
                    <a:pt x="368" y="601"/>
                  </a:cubicBezTo>
                  <a:cubicBezTo>
                    <a:pt x="370" y="601"/>
                    <a:pt x="372" y="601"/>
                    <a:pt x="377" y="599"/>
                  </a:cubicBezTo>
                  <a:cubicBezTo>
                    <a:pt x="381" y="598"/>
                    <a:pt x="384" y="596"/>
                    <a:pt x="385" y="595"/>
                  </a:cubicBezTo>
                  <a:cubicBezTo>
                    <a:pt x="387" y="593"/>
                    <a:pt x="387" y="592"/>
                    <a:pt x="390" y="592"/>
                  </a:cubicBezTo>
                  <a:cubicBezTo>
                    <a:pt x="397" y="590"/>
                    <a:pt x="401" y="593"/>
                    <a:pt x="406" y="596"/>
                  </a:cubicBezTo>
                  <a:cubicBezTo>
                    <a:pt x="408" y="597"/>
                    <a:pt x="413" y="599"/>
                    <a:pt x="416" y="600"/>
                  </a:cubicBezTo>
                  <a:cubicBezTo>
                    <a:pt x="417" y="597"/>
                    <a:pt x="414" y="596"/>
                    <a:pt x="412" y="592"/>
                  </a:cubicBezTo>
                  <a:cubicBezTo>
                    <a:pt x="409" y="588"/>
                    <a:pt x="406" y="582"/>
                    <a:pt x="406" y="578"/>
                  </a:cubicBezTo>
                  <a:cubicBezTo>
                    <a:pt x="405" y="574"/>
                    <a:pt x="410" y="572"/>
                    <a:pt x="409" y="569"/>
                  </a:cubicBezTo>
                  <a:cubicBezTo>
                    <a:pt x="409" y="573"/>
                    <a:pt x="414" y="575"/>
                    <a:pt x="415" y="580"/>
                  </a:cubicBezTo>
                  <a:cubicBezTo>
                    <a:pt x="417" y="580"/>
                    <a:pt x="423" y="578"/>
                    <a:pt x="424" y="576"/>
                  </a:cubicBezTo>
                  <a:cubicBezTo>
                    <a:pt x="425" y="573"/>
                    <a:pt x="422" y="570"/>
                    <a:pt x="423" y="568"/>
                  </a:cubicBezTo>
                  <a:cubicBezTo>
                    <a:pt x="428" y="567"/>
                    <a:pt x="435" y="568"/>
                    <a:pt x="434" y="561"/>
                  </a:cubicBezTo>
                  <a:cubicBezTo>
                    <a:pt x="439" y="560"/>
                    <a:pt x="438" y="564"/>
                    <a:pt x="442" y="561"/>
                  </a:cubicBezTo>
                  <a:cubicBezTo>
                    <a:pt x="443" y="560"/>
                    <a:pt x="444" y="558"/>
                    <a:pt x="445" y="557"/>
                  </a:cubicBezTo>
                  <a:cubicBezTo>
                    <a:pt x="447" y="556"/>
                    <a:pt x="450" y="556"/>
                    <a:pt x="452" y="553"/>
                  </a:cubicBezTo>
                  <a:cubicBezTo>
                    <a:pt x="453" y="550"/>
                    <a:pt x="452" y="546"/>
                    <a:pt x="452" y="543"/>
                  </a:cubicBezTo>
                  <a:cubicBezTo>
                    <a:pt x="453" y="542"/>
                    <a:pt x="454" y="541"/>
                    <a:pt x="453" y="539"/>
                  </a:cubicBezTo>
                  <a:cubicBezTo>
                    <a:pt x="452" y="538"/>
                    <a:pt x="447" y="537"/>
                    <a:pt x="446" y="536"/>
                  </a:cubicBezTo>
                  <a:cubicBezTo>
                    <a:pt x="444" y="535"/>
                    <a:pt x="432" y="528"/>
                    <a:pt x="434" y="523"/>
                  </a:cubicBezTo>
                  <a:cubicBezTo>
                    <a:pt x="436" y="519"/>
                    <a:pt x="446" y="521"/>
                    <a:pt x="448" y="523"/>
                  </a:cubicBezTo>
                  <a:cubicBezTo>
                    <a:pt x="450" y="526"/>
                    <a:pt x="452" y="529"/>
                    <a:pt x="454" y="532"/>
                  </a:cubicBezTo>
                  <a:cubicBezTo>
                    <a:pt x="455" y="534"/>
                    <a:pt x="459" y="535"/>
                    <a:pt x="460" y="538"/>
                  </a:cubicBezTo>
                  <a:cubicBezTo>
                    <a:pt x="459" y="532"/>
                    <a:pt x="464" y="532"/>
                    <a:pt x="467" y="528"/>
                  </a:cubicBezTo>
                  <a:cubicBezTo>
                    <a:pt x="469" y="527"/>
                    <a:pt x="469" y="525"/>
                    <a:pt x="470" y="523"/>
                  </a:cubicBezTo>
                  <a:cubicBezTo>
                    <a:pt x="472" y="522"/>
                    <a:pt x="474" y="520"/>
                    <a:pt x="474" y="517"/>
                  </a:cubicBezTo>
                  <a:cubicBezTo>
                    <a:pt x="473" y="513"/>
                    <a:pt x="466" y="511"/>
                    <a:pt x="474" y="508"/>
                  </a:cubicBezTo>
                  <a:cubicBezTo>
                    <a:pt x="476" y="507"/>
                    <a:pt x="479" y="507"/>
                    <a:pt x="482" y="507"/>
                  </a:cubicBezTo>
                  <a:cubicBezTo>
                    <a:pt x="484" y="507"/>
                    <a:pt x="487" y="508"/>
                    <a:pt x="489" y="507"/>
                  </a:cubicBezTo>
                  <a:cubicBezTo>
                    <a:pt x="491" y="506"/>
                    <a:pt x="491" y="505"/>
                    <a:pt x="492" y="503"/>
                  </a:cubicBezTo>
                  <a:cubicBezTo>
                    <a:pt x="495" y="499"/>
                    <a:pt x="501" y="496"/>
                    <a:pt x="506" y="496"/>
                  </a:cubicBezTo>
                  <a:cubicBezTo>
                    <a:pt x="508" y="495"/>
                    <a:pt x="510" y="496"/>
                    <a:pt x="513" y="495"/>
                  </a:cubicBezTo>
                  <a:cubicBezTo>
                    <a:pt x="515" y="495"/>
                    <a:pt x="517" y="493"/>
                    <a:pt x="519" y="493"/>
                  </a:cubicBezTo>
                  <a:cubicBezTo>
                    <a:pt x="520" y="493"/>
                    <a:pt x="522" y="494"/>
                    <a:pt x="523" y="495"/>
                  </a:cubicBezTo>
                  <a:cubicBezTo>
                    <a:pt x="524" y="495"/>
                    <a:pt x="528" y="495"/>
                    <a:pt x="529" y="495"/>
                  </a:cubicBezTo>
                  <a:cubicBezTo>
                    <a:pt x="533" y="496"/>
                    <a:pt x="533" y="495"/>
                    <a:pt x="535" y="492"/>
                  </a:cubicBezTo>
                  <a:cubicBezTo>
                    <a:pt x="537" y="489"/>
                    <a:pt x="538" y="489"/>
                    <a:pt x="538" y="486"/>
                  </a:cubicBezTo>
                  <a:cubicBezTo>
                    <a:pt x="538" y="485"/>
                    <a:pt x="537" y="483"/>
                    <a:pt x="539" y="481"/>
                  </a:cubicBezTo>
                  <a:cubicBezTo>
                    <a:pt x="543" y="484"/>
                    <a:pt x="541" y="491"/>
                    <a:pt x="542" y="495"/>
                  </a:cubicBezTo>
                  <a:cubicBezTo>
                    <a:pt x="545" y="495"/>
                    <a:pt x="548" y="494"/>
                    <a:pt x="550" y="496"/>
                  </a:cubicBezTo>
                  <a:cubicBezTo>
                    <a:pt x="553" y="497"/>
                    <a:pt x="558" y="502"/>
                    <a:pt x="557" y="505"/>
                  </a:cubicBezTo>
                  <a:cubicBezTo>
                    <a:pt x="552" y="506"/>
                    <a:pt x="547" y="503"/>
                    <a:pt x="543" y="502"/>
                  </a:cubicBezTo>
                  <a:cubicBezTo>
                    <a:pt x="540" y="502"/>
                    <a:pt x="537" y="501"/>
                    <a:pt x="534" y="501"/>
                  </a:cubicBezTo>
                  <a:cubicBezTo>
                    <a:pt x="532" y="501"/>
                    <a:pt x="521" y="502"/>
                    <a:pt x="521" y="506"/>
                  </a:cubicBezTo>
                  <a:cubicBezTo>
                    <a:pt x="526" y="507"/>
                    <a:pt x="529" y="510"/>
                    <a:pt x="533" y="512"/>
                  </a:cubicBezTo>
                  <a:cubicBezTo>
                    <a:pt x="535" y="514"/>
                    <a:pt x="539" y="516"/>
                    <a:pt x="537" y="519"/>
                  </a:cubicBezTo>
                  <a:cubicBezTo>
                    <a:pt x="536" y="521"/>
                    <a:pt x="532" y="519"/>
                    <a:pt x="531" y="521"/>
                  </a:cubicBezTo>
                  <a:cubicBezTo>
                    <a:pt x="528" y="525"/>
                    <a:pt x="533" y="524"/>
                    <a:pt x="534" y="525"/>
                  </a:cubicBezTo>
                  <a:cubicBezTo>
                    <a:pt x="537" y="526"/>
                    <a:pt x="538" y="528"/>
                    <a:pt x="540" y="530"/>
                  </a:cubicBezTo>
                  <a:cubicBezTo>
                    <a:pt x="542" y="532"/>
                    <a:pt x="545" y="533"/>
                    <a:pt x="548" y="534"/>
                  </a:cubicBezTo>
                  <a:cubicBezTo>
                    <a:pt x="550" y="535"/>
                    <a:pt x="552" y="536"/>
                    <a:pt x="555" y="536"/>
                  </a:cubicBezTo>
                  <a:cubicBezTo>
                    <a:pt x="557" y="537"/>
                    <a:pt x="558" y="536"/>
                    <a:pt x="560" y="536"/>
                  </a:cubicBezTo>
                  <a:cubicBezTo>
                    <a:pt x="563" y="537"/>
                    <a:pt x="563" y="540"/>
                    <a:pt x="566" y="542"/>
                  </a:cubicBezTo>
                  <a:cubicBezTo>
                    <a:pt x="569" y="543"/>
                    <a:pt x="569" y="540"/>
                    <a:pt x="571" y="538"/>
                  </a:cubicBezTo>
                  <a:cubicBezTo>
                    <a:pt x="574" y="537"/>
                    <a:pt x="578" y="539"/>
                    <a:pt x="581" y="539"/>
                  </a:cubicBezTo>
                  <a:cubicBezTo>
                    <a:pt x="584" y="539"/>
                    <a:pt x="586" y="540"/>
                    <a:pt x="589" y="540"/>
                  </a:cubicBezTo>
                  <a:cubicBezTo>
                    <a:pt x="591" y="540"/>
                    <a:pt x="595" y="540"/>
                    <a:pt x="597" y="540"/>
                  </a:cubicBezTo>
                  <a:cubicBezTo>
                    <a:pt x="599" y="540"/>
                    <a:pt x="603" y="540"/>
                    <a:pt x="604" y="539"/>
                  </a:cubicBezTo>
                  <a:cubicBezTo>
                    <a:pt x="606" y="538"/>
                    <a:pt x="608" y="535"/>
                    <a:pt x="610" y="535"/>
                  </a:cubicBezTo>
                  <a:cubicBezTo>
                    <a:pt x="612" y="534"/>
                    <a:pt x="616" y="534"/>
                    <a:pt x="618" y="534"/>
                  </a:cubicBezTo>
                  <a:cubicBezTo>
                    <a:pt x="618" y="537"/>
                    <a:pt x="621" y="537"/>
                    <a:pt x="622" y="538"/>
                  </a:cubicBezTo>
                  <a:cubicBezTo>
                    <a:pt x="624" y="540"/>
                    <a:pt x="623" y="542"/>
                    <a:pt x="627" y="542"/>
                  </a:cubicBezTo>
                  <a:cubicBezTo>
                    <a:pt x="632" y="541"/>
                    <a:pt x="633" y="533"/>
                    <a:pt x="637" y="532"/>
                  </a:cubicBezTo>
                  <a:cubicBezTo>
                    <a:pt x="637" y="532"/>
                    <a:pt x="637" y="532"/>
                    <a:pt x="637" y="531"/>
                  </a:cubicBezTo>
                  <a:cubicBezTo>
                    <a:pt x="634" y="526"/>
                    <a:pt x="640" y="526"/>
                    <a:pt x="642" y="526"/>
                  </a:cubicBezTo>
                  <a:cubicBezTo>
                    <a:pt x="646" y="526"/>
                    <a:pt x="647" y="524"/>
                    <a:pt x="650" y="526"/>
                  </a:cubicBezTo>
                  <a:cubicBezTo>
                    <a:pt x="653" y="528"/>
                    <a:pt x="654" y="534"/>
                    <a:pt x="658" y="536"/>
                  </a:cubicBezTo>
                  <a:cubicBezTo>
                    <a:pt x="661" y="537"/>
                    <a:pt x="663" y="535"/>
                    <a:pt x="666" y="535"/>
                  </a:cubicBezTo>
                  <a:cubicBezTo>
                    <a:pt x="668" y="535"/>
                    <a:pt x="669" y="536"/>
                    <a:pt x="671" y="536"/>
                  </a:cubicBezTo>
                  <a:cubicBezTo>
                    <a:pt x="676" y="536"/>
                    <a:pt x="678" y="531"/>
                    <a:pt x="675" y="527"/>
                  </a:cubicBezTo>
                  <a:cubicBezTo>
                    <a:pt x="678" y="527"/>
                    <a:pt x="681" y="528"/>
                    <a:pt x="683" y="529"/>
                  </a:cubicBezTo>
                  <a:cubicBezTo>
                    <a:pt x="686" y="530"/>
                    <a:pt x="690" y="533"/>
                    <a:pt x="692" y="533"/>
                  </a:cubicBezTo>
                  <a:cubicBezTo>
                    <a:pt x="693" y="533"/>
                    <a:pt x="694" y="533"/>
                    <a:pt x="695" y="533"/>
                  </a:cubicBezTo>
                  <a:cubicBezTo>
                    <a:pt x="695" y="533"/>
                    <a:pt x="695" y="532"/>
                    <a:pt x="696" y="532"/>
                  </a:cubicBezTo>
                  <a:cubicBezTo>
                    <a:pt x="696" y="533"/>
                    <a:pt x="695" y="533"/>
                    <a:pt x="695" y="533"/>
                  </a:cubicBezTo>
                  <a:cubicBezTo>
                    <a:pt x="693" y="535"/>
                    <a:pt x="691" y="537"/>
                    <a:pt x="690" y="539"/>
                  </a:cubicBezTo>
                  <a:cubicBezTo>
                    <a:pt x="688" y="541"/>
                    <a:pt x="687" y="542"/>
                    <a:pt x="688" y="545"/>
                  </a:cubicBezTo>
                  <a:cubicBezTo>
                    <a:pt x="692" y="545"/>
                    <a:pt x="696" y="544"/>
                    <a:pt x="698" y="540"/>
                  </a:cubicBezTo>
                  <a:cubicBezTo>
                    <a:pt x="698" y="538"/>
                    <a:pt x="698" y="535"/>
                    <a:pt x="698" y="533"/>
                  </a:cubicBezTo>
                  <a:cubicBezTo>
                    <a:pt x="700" y="533"/>
                    <a:pt x="701" y="532"/>
                    <a:pt x="702" y="532"/>
                  </a:cubicBezTo>
                  <a:cubicBezTo>
                    <a:pt x="705" y="531"/>
                    <a:pt x="707" y="530"/>
                    <a:pt x="709" y="530"/>
                  </a:cubicBezTo>
                  <a:cubicBezTo>
                    <a:pt x="712" y="529"/>
                    <a:pt x="719" y="527"/>
                    <a:pt x="721" y="525"/>
                  </a:cubicBezTo>
                  <a:cubicBezTo>
                    <a:pt x="723" y="522"/>
                    <a:pt x="722" y="518"/>
                    <a:pt x="722" y="515"/>
                  </a:cubicBezTo>
                  <a:cubicBezTo>
                    <a:pt x="723" y="513"/>
                    <a:pt x="723" y="510"/>
                    <a:pt x="724" y="509"/>
                  </a:cubicBezTo>
                  <a:cubicBezTo>
                    <a:pt x="725" y="508"/>
                    <a:pt x="728" y="505"/>
                    <a:pt x="730" y="506"/>
                  </a:cubicBezTo>
                  <a:cubicBezTo>
                    <a:pt x="734" y="508"/>
                    <a:pt x="729" y="514"/>
                    <a:pt x="736" y="512"/>
                  </a:cubicBezTo>
                  <a:cubicBezTo>
                    <a:pt x="737" y="510"/>
                    <a:pt x="737" y="507"/>
                    <a:pt x="737" y="506"/>
                  </a:cubicBezTo>
                  <a:cubicBezTo>
                    <a:pt x="736" y="504"/>
                    <a:pt x="734" y="503"/>
                    <a:pt x="734" y="501"/>
                  </a:cubicBezTo>
                  <a:cubicBezTo>
                    <a:pt x="733" y="499"/>
                    <a:pt x="733" y="493"/>
                    <a:pt x="734" y="490"/>
                  </a:cubicBezTo>
                  <a:cubicBezTo>
                    <a:pt x="737" y="489"/>
                    <a:pt x="740" y="501"/>
                    <a:pt x="742" y="502"/>
                  </a:cubicBezTo>
                  <a:cubicBezTo>
                    <a:pt x="746" y="506"/>
                    <a:pt x="752" y="500"/>
                    <a:pt x="754" y="497"/>
                  </a:cubicBezTo>
                  <a:cubicBezTo>
                    <a:pt x="758" y="491"/>
                    <a:pt x="761" y="484"/>
                    <a:pt x="769" y="482"/>
                  </a:cubicBezTo>
                  <a:cubicBezTo>
                    <a:pt x="772" y="482"/>
                    <a:pt x="775" y="482"/>
                    <a:pt x="778" y="482"/>
                  </a:cubicBezTo>
                  <a:cubicBezTo>
                    <a:pt x="781" y="482"/>
                    <a:pt x="784" y="483"/>
                    <a:pt x="786" y="483"/>
                  </a:cubicBezTo>
                  <a:cubicBezTo>
                    <a:pt x="792" y="485"/>
                    <a:pt x="791" y="482"/>
                    <a:pt x="796" y="479"/>
                  </a:cubicBezTo>
                  <a:cubicBezTo>
                    <a:pt x="797" y="478"/>
                    <a:pt x="800" y="478"/>
                    <a:pt x="801" y="478"/>
                  </a:cubicBezTo>
                  <a:cubicBezTo>
                    <a:pt x="805" y="477"/>
                    <a:pt x="809" y="477"/>
                    <a:pt x="813" y="477"/>
                  </a:cubicBezTo>
                  <a:cubicBezTo>
                    <a:pt x="816" y="476"/>
                    <a:pt x="821" y="475"/>
                    <a:pt x="823" y="477"/>
                  </a:cubicBezTo>
                  <a:cubicBezTo>
                    <a:pt x="824" y="473"/>
                    <a:pt x="832" y="470"/>
                    <a:pt x="836" y="469"/>
                  </a:cubicBezTo>
                  <a:cubicBezTo>
                    <a:pt x="839" y="468"/>
                    <a:pt x="846" y="470"/>
                    <a:pt x="848" y="467"/>
                  </a:cubicBezTo>
                  <a:cubicBezTo>
                    <a:pt x="851" y="470"/>
                    <a:pt x="856" y="461"/>
                    <a:pt x="857" y="459"/>
                  </a:cubicBezTo>
                  <a:cubicBezTo>
                    <a:pt x="860" y="456"/>
                    <a:pt x="861" y="454"/>
                    <a:pt x="865" y="453"/>
                  </a:cubicBezTo>
                  <a:cubicBezTo>
                    <a:pt x="867" y="453"/>
                    <a:pt x="870" y="453"/>
                    <a:pt x="872" y="453"/>
                  </a:cubicBezTo>
                  <a:cubicBezTo>
                    <a:pt x="876" y="452"/>
                    <a:pt x="879" y="449"/>
                    <a:pt x="883" y="448"/>
                  </a:cubicBezTo>
                  <a:cubicBezTo>
                    <a:pt x="886" y="448"/>
                    <a:pt x="889" y="449"/>
                    <a:pt x="892" y="448"/>
                  </a:cubicBezTo>
                  <a:cubicBezTo>
                    <a:pt x="895" y="448"/>
                    <a:pt x="898" y="448"/>
                    <a:pt x="901" y="447"/>
                  </a:cubicBezTo>
                  <a:cubicBezTo>
                    <a:pt x="905" y="447"/>
                    <a:pt x="907" y="446"/>
                    <a:pt x="910" y="443"/>
                  </a:cubicBezTo>
                  <a:cubicBezTo>
                    <a:pt x="912" y="442"/>
                    <a:pt x="914" y="441"/>
                    <a:pt x="916" y="441"/>
                  </a:cubicBezTo>
                  <a:cubicBezTo>
                    <a:pt x="919" y="440"/>
                    <a:pt x="920" y="444"/>
                    <a:pt x="923" y="444"/>
                  </a:cubicBezTo>
                  <a:cubicBezTo>
                    <a:pt x="924" y="444"/>
                    <a:pt x="926" y="443"/>
                    <a:pt x="927" y="442"/>
                  </a:cubicBezTo>
                  <a:cubicBezTo>
                    <a:pt x="922" y="441"/>
                    <a:pt x="918" y="438"/>
                    <a:pt x="912" y="437"/>
                  </a:cubicBezTo>
                  <a:cubicBezTo>
                    <a:pt x="907" y="437"/>
                    <a:pt x="906" y="438"/>
                    <a:pt x="906" y="432"/>
                  </a:cubicBezTo>
                  <a:cubicBezTo>
                    <a:pt x="905" y="427"/>
                    <a:pt x="904" y="422"/>
                    <a:pt x="905" y="417"/>
                  </a:cubicBezTo>
                  <a:cubicBezTo>
                    <a:pt x="906" y="414"/>
                    <a:pt x="908" y="410"/>
                    <a:pt x="911" y="408"/>
                  </a:cubicBezTo>
                  <a:cubicBezTo>
                    <a:pt x="914" y="407"/>
                    <a:pt x="915" y="407"/>
                    <a:pt x="917" y="405"/>
                  </a:cubicBezTo>
                  <a:cubicBezTo>
                    <a:pt x="919" y="403"/>
                    <a:pt x="920" y="402"/>
                    <a:pt x="923" y="401"/>
                  </a:cubicBezTo>
                  <a:cubicBezTo>
                    <a:pt x="926" y="400"/>
                    <a:pt x="931" y="403"/>
                    <a:pt x="934" y="401"/>
                  </a:cubicBezTo>
                  <a:cubicBezTo>
                    <a:pt x="938" y="399"/>
                    <a:pt x="935" y="394"/>
                    <a:pt x="937" y="391"/>
                  </a:cubicBezTo>
                  <a:cubicBezTo>
                    <a:pt x="939" y="389"/>
                    <a:pt x="943" y="390"/>
                    <a:pt x="946" y="390"/>
                  </a:cubicBezTo>
                  <a:cubicBezTo>
                    <a:pt x="947" y="390"/>
                    <a:pt x="949" y="389"/>
                    <a:pt x="949" y="389"/>
                  </a:cubicBezTo>
                  <a:cubicBezTo>
                    <a:pt x="951" y="389"/>
                    <a:pt x="952" y="391"/>
                    <a:pt x="954" y="391"/>
                  </a:cubicBezTo>
                  <a:cubicBezTo>
                    <a:pt x="955" y="391"/>
                    <a:pt x="957" y="389"/>
                    <a:pt x="958" y="389"/>
                  </a:cubicBezTo>
                  <a:cubicBezTo>
                    <a:pt x="961" y="387"/>
                    <a:pt x="964" y="387"/>
                    <a:pt x="967" y="387"/>
                  </a:cubicBezTo>
                  <a:cubicBezTo>
                    <a:pt x="972" y="387"/>
                    <a:pt x="976" y="387"/>
                    <a:pt x="979" y="388"/>
                  </a:cubicBezTo>
                  <a:cubicBezTo>
                    <a:pt x="984" y="390"/>
                    <a:pt x="987" y="391"/>
                    <a:pt x="992" y="387"/>
                  </a:cubicBezTo>
                  <a:cubicBezTo>
                    <a:pt x="993" y="386"/>
                    <a:pt x="994" y="384"/>
                    <a:pt x="995" y="383"/>
                  </a:cubicBezTo>
                  <a:cubicBezTo>
                    <a:pt x="997" y="382"/>
                    <a:pt x="998" y="382"/>
                    <a:pt x="999" y="381"/>
                  </a:cubicBezTo>
                  <a:cubicBezTo>
                    <a:pt x="1001" y="379"/>
                    <a:pt x="1000" y="379"/>
                    <a:pt x="1001" y="377"/>
                  </a:cubicBezTo>
                  <a:cubicBezTo>
                    <a:pt x="1002" y="371"/>
                    <a:pt x="1000" y="365"/>
                    <a:pt x="1002" y="359"/>
                  </a:cubicBezTo>
                  <a:cubicBezTo>
                    <a:pt x="1003" y="357"/>
                    <a:pt x="1005" y="355"/>
                    <a:pt x="1006" y="353"/>
                  </a:cubicBezTo>
                  <a:cubicBezTo>
                    <a:pt x="1007" y="352"/>
                    <a:pt x="1010" y="352"/>
                    <a:pt x="1009" y="349"/>
                  </a:cubicBezTo>
                  <a:cubicBezTo>
                    <a:pt x="1005" y="349"/>
                    <a:pt x="1004" y="349"/>
                    <a:pt x="1002" y="346"/>
                  </a:cubicBezTo>
                  <a:cubicBezTo>
                    <a:pt x="1002" y="347"/>
                    <a:pt x="1001" y="347"/>
                    <a:pt x="1001" y="347"/>
                  </a:cubicBezTo>
                  <a:cubicBezTo>
                    <a:pt x="998" y="342"/>
                    <a:pt x="998" y="336"/>
                    <a:pt x="997" y="331"/>
                  </a:cubicBezTo>
                  <a:cubicBezTo>
                    <a:pt x="995" y="331"/>
                    <a:pt x="994" y="331"/>
                    <a:pt x="992" y="331"/>
                  </a:cubicBezTo>
                  <a:cubicBezTo>
                    <a:pt x="991" y="326"/>
                    <a:pt x="992" y="319"/>
                    <a:pt x="992" y="314"/>
                  </a:cubicBezTo>
                  <a:cubicBezTo>
                    <a:pt x="992" y="313"/>
                    <a:pt x="991" y="308"/>
                    <a:pt x="992" y="306"/>
                  </a:cubicBezTo>
                  <a:cubicBezTo>
                    <a:pt x="994" y="302"/>
                    <a:pt x="1014" y="306"/>
                    <a:pt x="1011" y="300"/>
                  </a:cubicBezTo>
                  <a:cubicBezTo>
                    <a:pt x="1010" y="297"/>
                    <a:pt x="1003" y="298"/>
                    <a:pt x="1001" y="298"/>
                  </a:cubicBezTo>
                  <a:cubicBezTo>
                    <a:pt x="995" y="298"/>
                    <a:pt x="993" y="295"/>
                    <a:pt x="988" y="291"/>
                  </a:cubicBezTo>
                  <a:cubicBezTo>
                    <a:pt x="983" y="287"/>
                    <a:pt x="982" y="283"/>
                    <a:pt x="990" y="282"/>
                  </a:cubicBezTo>
                  <a:cubicBezTo>
                    <a:pt x="996" y="282"/>
                    <a:pt x="1002" y="283"/>
                    <a:pt x="1008" y="282"/>
                  </a:cubicBezTo>
                  <a:cubicBezTo>
                    <a:pt x="1008" y="280"/>
                    <a:pt x="1008" y="278"/>
                    <a:pt x="1009" y="276"/>
                  </a:cubicBezTo>
                  <a:cubicBezTo>
                    <a:pt x="1012" y="269"/>
                    <a:pt x="1018" y="273"/>
                    <a:pt x="1024" y="269"/>
                  </a:cubicBezTo>
                  <a:cubicBezTo>
                    <a:pt x="1026" y="267"/>
                    <a:pt x="1026" y="266"/>
                    <a:pt x="1024" y="264"/>
                  </a:cubicBezTo>
                  <a:moveTo>
                    <a:pt x="134" y="165"/>
                  </a:moveTo>
                  <a:cubicBezTo>
                    <a:pt x="134" y="165"/>
                    <a:pt x="134" y="165"/>
                    <a:pt x="134" y="165"/>
                  </a:cubicBezTo>
                  <a:cubicBezTo>
                    <a:pt x="134" y="165"/>
                    <a:pt x="134" y="165"/>
                    <a:pt x="133" y="165"/>
                  </a:cubicBezTo>
                  <a:lnTo>
                    <a:pt x="134" y="16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35" name="Freeform 6">
              <a:extLst>
                <a:ext uri="{FF2B5EF4-FFF2-40B4-BE49-F238E27FC236}">
                  <a16:creationId xmlns:a16="http://schemas.microsoft.com/office/drawing/2014/main" id="{9DED78F2-4004-4B62-BF1B-396042C70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5363" y="5638800"/>
              <a:ext cx="84138" cy="50800"/>
            </a:xfrm>
            <a:custGeom>
              <a:avLst/>
              <a:gdLst/>
              <a:ahLst/>
              <a:cxnLst>
                <a:cxn ang="0">
                  <a:pos x="17" y="3"/>
                </a:cxn>
                <a:cxn ang="0">
                  <a:pos x="15" y="1"/>
                </a:cxn>
                <a:cxn ang="0">
                  <a:pos x="13" y="0"/>
                </a:cxn>
                <a:cxn ang="0">
                  <a:pos x="10" y="4"/>
                </a:cxn>
                <a:cxn ang="0">
                  <a:pos x="9" y="5"/>
                </a:cxn>
                <a:cxn ang="0">
                  <a:pos x="8" y="6"/>
                </a:cxn>
                <a:cxn ang="0">
                  <a:pos x="7" y="6"/>
                </a:cxn>
                <a:cxn ang="0">
                  <a:pos x="7" y="7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9"/>
                </a:cxn>
                <a:cxn ang="0">
                  <a:pos x="9" y="22"/>
                </a:cxn>
                <a:cxn ang="0">
                  <a:pos x="15" y="22"/>
                </a:cxn>
                <a:cxn ang="0">
                  <a:pos x="18" y="22"/>
                </a:cxn>
                <a:cxn ang="0">
                  <a:pos x="20" y="21"/>
                </a:cxn>
                <a:cxn ang="0">
                  <a:pos x="22" y="21"/>
                </a:cxn>
                <a:cxn ang="0">
                  <a:pos x="25" y="21"/>
                </a:cxn>
                <a:cxn ang="0">
                  <a:pos x="29" y="22"/>
                </a:cxn>
                <a:cxn ang="0">
                  <a:pos x="32" y="24"/>
                </a:cxn>
                <a:cxn ang="0">
                  <a:pos x="39" y="26"/>
                </a:cxn>
                <a:cxn ang="0">
                  <a:pos x="44" y="25"/>
                </a:cxn>
                <a:cxn ang="0">
                  <a:pos x="44" y="19"/>
                </a:cxn>
                <a:cxn ang="0">
                  <a:pos x="43" y="16"/>
                </a:cxn>
                <a:cxn ang="0">
                  <a:pos x="42" y="13"/>
                </a:cxn>
                <a:cxn ang="0">
                  <a:pos x="38" y="10"/>
                </a:cxn>
                <a:cxn ang="0">
                  <a:pos x="35" y="9"/>
                </a:cxn>
                <a:cxn ang="0">
                  <a:pos x="33" y="9"/>
                </a:cxn>
                <a:cxn ang="0">
                  <a:pos x="27" y="5"/>
                </a:cxn>
                <a:cxn ang="0">
                  <a:pos x="23" y="4"/>
                </a:cxn>
                <a:cxn ang="0">
                  <a:pos x="20" y="3"/>
                </a:cxn>
                <a:cxn ang="0">
                  <a:pos x="17" y="3"/>
                </a:cxn>
              </a:cxnLst>
              <a:rect l="0" t="0" r="r" b="b"/>
              <a:pathLst>
                <a:path w="45" h="27">
                  <a:moveTo>
                    <a:pt x="17" y="3"/>
                  </a:moveTo>
                  <a:cubicBezTo>
                    <a:pt x="17" y="2"/>
                    <a:pt x="16" y="2"/>
                    <a:pt x="15" y="1"/>
                  </a:cubicBezTo>
                  <a:cubicBezTo>
                    <a:pt x="14" y="1"/>
                    <a:pt x="13" y="0"/>
                    <a:pt x="13" y="0"/>
                  </a:cubicBezTo>
                  <a:cubicBezTo>
                    <a:pt x="11" y="1"/>
                    <a:pt x="11" y="2"/>
                    <a:pt x="10" y="4"/>
                  </a:cubicBezTo>
                  <a:cubicBezTo>
                    <a:pt x="10" y="4"/>
                    <a:pt x="10" y="5"/>
                    <a:pt x="9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5" y="8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1" y="16"/>
                    <a:pt x="3" y="17"/>
                    <a:pt x="5" y="19"/>
                  </a:cubicBezTo>
                  <a:cubicBezTo>
                    <a:pt x="6" y="20"/>
                    <a:pt x="7" y="21"/>
                    <a:pt x="9" y="22"/>
                  </a:cubicBezTo>
                  <a:cubicBezTo>
                    <a:pt x="11" y="22"/>
                    <a:pt x="13" y="22"/>
                    <a:pt x="15" y="22"/>
                  </a:cubicBezTo>
                  <a:cubicBezTo>
                    <a:pt x="16" y="23"/>
                    <a:pt x="17" y="23"/>
                    <a:pt x="18" y="22"/>
                  </a:cubicBezTo>
                  <a:cubicBezTo>
                    <a:pt x="19" y="22"/>
                    <a:pt x="19" y="22"/>
                    <a:pt x="20" y="21"/>
                  </a:cubicBezTo>
                  <a:cubicBezTo>
                    <a:pt x="20" y="21"/>
                    <a:pt x="21" y="21"/>
                    <a:pt x="22" y="21"/>
                  </a:cubicBezTo>
                  <a:cubicBezTo>
                    <a:pt x="23" y="21"/>
                    <a:pt x="24" y="21"/>
                    <a:pt x="25" y="21"/>
                  </a:cubicBezTo>
                  <a:cubicBezTo>
                    <a:pt x="27" y="21"/>
                    <a:pt x="28" y="22"/>
                    <a:pt x="29" y="22"/>
                  </a:cubicBezTo>
                  <a:cubicBezTo>
                    <a:pt x="30" y="22"/>
                    <a:pt x="31" y="23"/>
                    <a:pt x="32" y="24"/>
                  </a:cubicBezTo>
                  <a:cubicBezTo>
                    <a:pt x="34" y="25"/>
                    <a:pt x="36" y="26"/>
                    <a:pt x="39" y="26"/>
                  </a:cubicBezTo>
                  <a:cubicBezTo>
                    <a:pt x="40" y="27"/>
                    <a:pt x="43" y="27"/>
                    <a:pt x="44" y="25"/>
                  </a:cubicBezTo>
                  <a:cubicBezTo>
                    <a:pt x="45" y="23"/>
                    <a:pt x="44" y="21"/>
                    <a:pt x="44" y="19"/>
                  </a:cubicBezTo>
                  <a:cubicBezTo>
                    <a:pt x="43" y="18"/>
                    <a:pt x="43" y="17"/>
                    <a:pt x="43" y="16"/>
                  </a:cubicBezTo>
                  <a:cubicBezTo>
                    <a:pt x="43" y="15"/>
                    <a:pt x="43" y="14"/>
                    <a:pt x="42" y="13"/>
                  </a:cubicBezTo>
                  <a:cubicBezTo>
                    <a:pt x="41" y="11"/>
                    <a:pt x="39" y="11"/>
                    <a:pt x="38" y="10"/>
                  </a:cubicBezTo>
                  <a:cubicBezTo>
                    <a:pt x="37" y="10"/>
                    <a:pt x="36" y="9"/>
                    <a:pt x="35" y="9"/>
                  </a:cubicBezTo>
                  <a:cubicBezTo>
                    <a:pt x="34" y="9"/>
                    <a:pt x="34" y="9"/>
                    <a:pt x="33" y="9"/>
                  </a:cubicBezTo>
                  <a:cubicBezTo>
                    <a:pt x="31" y="8"/>
                    <a:pt x="29" y="6"/>
                    <a:pt x="27" y="5"/>
                  </a:cubicBezTo>
                  <a:cubicBezTo>
                    <a:pt x="26" y="5"/>
                    <a:pt x="24" y="5"/>
                    <a:pt x="23" y="4"/>
                  </a:cubicBezTo>
                  <a:cubicBezTo>
                    <a:pt x="22" y="4"/>
                    <a:pt x="21" y="4"/>
                    <a:pt x="20" y="3"/>
                  </a:cubicBezTo>
                  <a:cubicBezTo>
                    <a:pt x="20" y="3"/>
                    <a:pt x="19" y="4"/>
                    <a:pt x="17" y="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36" name="Freeform 7">
              <a:extLst>
                <a:ext uri="{FF2B5EF4-FFF2-40B4-BE49-F238E27FC236}">
                  <a16:creationId xmlns:a16="http://schemas.microsoft.com/office/drawing/2014/main" id="{CBE905DB-5827-4D78-B41B-3BD85D99EB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5850" y="3716338"/>
              <a:ext cx="463550" cy="674688"/>
            </a:xfrm>
            <a:custGeom>
              <a:avLst/>
              <a:gdLst/>
              <a:ahLst/>
              <a:cxnLst>
                <a:cxn ang="0">
                  <a:pos x="182" y="8"/>
                </a:cxn>
                <a:cxn ang="0">
                  <a:pos x="163" y="8"/>
                </a:cxn>
                <a:cxn ang="0">
                  <a:pos x="124" y="24"/>
                </a:cxn>
                <a:cxn ang="0">
                  <a:pos x="114" y="53"/>
                </a:cxn>
                <a:cxn ang="0">
                  <a:pos x="94" y="68"/>
                </a:cxn>
                <a:cxn ang="0">
                  <a:pos x="127" y="72"/>
                </a:cxn>
                <a:cxn ang="0">
                  <a:pos x="110" y="90"/>
                </a:cxn>
                <a:cxn ang="0">
                  <a:pos x="100" y="105"/>
                </a:cxn>
                <a:cxn ang="0">
                  <a:pos x="75" y="113"/>
                </a:cxn>
                <a:cxn ang="0">
                  <a:pos x="33" y="106"/>
                </a:cxn>
                <a:cxn ang="0">
                  <a:pos x="31" y="131"/>
                </a:cxn>
                <a:cxn ang="0">
                  <a:pos x="14" y="139"/>
                </a:cxn>
                <a:cxn ang="0">
                  <a:pos x="40" y="142"/>
                </a:cxn>
                <a:cxn ang="0">
                  <a:pos x="35" y="153"/>
                </a:cxn>
                <a:cxn ang="0">
                  <a:pos x="24" y="179"/>
                </a:cxn>
                <a:cxn ang="0">
                  <a:pos x="37" y="189"/>
                </a:cxn>
                <a:cxn ang="0">
                  <a:pos x="45" y="197"/>
                </a:cxn>
                <a:cxn ang="0">
                  <a:pos x="74" y="214"/>
                </a:cxn>
                <a:cxn ang="0">
                  <a:pos x="55" y="240"/>
                </a:cxn>
                <a:cxn ang="0">
                  <a:pos x="39" y="257"/>
                </a:cxn>
                <a:cxn ang="0">
                  <a:pos x="70" y="260"/>
                </a:cxn>
                <a:cxn ang="0">
                  <a:pos x="40" y="289"/>
                </a:cxn>
                <a:cxn ang="0">
                  <a:pos x="4" y="292"/>
                </a:cxn>
                <a:cxn ang="0">
                  <a:pos x="24" y="304"/>
                </a:cxn>
                <a:cxn ang="0">
                  <a:pos x="23" y="310"/>
                </a:cxn>
                <a:cxn ang="0">
                  <a:pos x="10" y="331"/>
                </a:cxn>
                <a:cxn ang="0">
                  <a:pos x="51" y="325"/>
                </a:cxn>
                <a:cxn ang="0">
                  <a:pos x="19" y="346"/>
                </a:cxn>
                <a:cxn ang="0">
                  <a:pos x="56" y="341"/>
                </a:cxn>
                <a:cxn ang="0">
                  <a:pos x="60" y="357"/>
                </a:cxn>
                <a:cxn ang="0">
                  <a:pos x="104" y="344"/>
                </a:cxn>
                <a:cxn ang="0">
                  <a:pos x="134" y="322"/>
                </a:cxn>
                <a:cxn ang="0">
                  <a:pos x="173" y="302"/>
                </a:cxn>
                <a:cxn ang="0">
                  <a:pos x="208" y="294"/>
                </a:cxn>
                <a:cxn ang="0">
                  <a:pos x="219" y="277"/>
                </a:cxn>
                <a:cxn ang="0">
                  <a:pos x="238" y="240"/>
                </a:cxn>
                <a:cxn ang="0">
                  <a:pos x="230" y="195"/>
                </a:cxn>
                <a:cxn ang="0">
                  <a:pos x="245" y="187"/>
                </a:cxn>
                <a:cxn ang="0">
                  <a:pos x="225" y="161"/>
                </a:cxn>
                <a:cxn ang="0">
                  <a:pos x="231" y="134"/>
                </a:cxn>
                <a:cxn ang="0">
                  <a:pos x="234" y="126"/>
                </a:cxn>
                <a:cxn ang="0">
                  <a:pos x="218" y="123"/>
                </a:cxn>
                <a:cxn ang="0">
                  <a:pos x="201" y="112"/>
                </a:cxn>
                <a:cxn ang="0">
                  <a:pos x="184" y="95"/>
                </a:cxn>
                <a:cxn ang="0">
                  <a:pos x="172" y="114"/>
                </a:cxn>
                <a:cxn ang="0">
                  <a:pos x="153" y="114"/>
                </a:cxn>
                <a:cxn ang="0">
                  <a:pos x="137" y="104"/>
                </a:cxn>
                <a:cxn ang="0">
                  <a:pos x="130" y="90"/>
                </a:cxn>
                <a:cxn ang="0">
                  <a:pos x="149" y="73"/>
                </a:cxn>
                <a:cxn ang="0">
                  <a:pos x="147" y="63"/>
                </a:cxn>
                <a:cxn ang="0">
                  <a:pos x="165" y="46"/>
                </a:cxn>
                <a:cxn ang="0">
                  <a:pos x="184" y="28"/>
                </a:cxn>
                <a:cxn ang="0">
                  <a:pos x="191" y="16"/>
                </a:cxn>
                <a:cxn ang="0">
                  <a:pos x="240" y="128"/>
                </a:cxn>
                <a:cxn ang="0">
                  <a:pos x="216" y="17"/>
                </a:cxn>
                <a:cxn ang="0">
                  <a:pos x="214" y="18"/>
                </a:cxn>
              </a:cxnLst>
              <a:rect l="0" t="0" r="r" b="b"/>
              <a:pathLst>
                <a:path w="248" h="361">
                  <a:moveTo>
                    <a:pt x="203" y="10"/>
                  </a:moveTo>
                  <a:cubicBezTo>
                    <a:pt x="201" y="10"/>
                    <a:pt x="199" y="10"/>
                    <a:pt x="198" y="10"/>
                  </a:cubicBezTo>
                  <a:cubicBezTo>
                    <a:pt x="197" y="10"/>
                    <a:pt x="195" y="11"/>
                    <a:pt x="194" y="10"/>
                  </a:cubicBezTo>
                  <a:cubicBezTo>
                    <a:pt x="191" y="10"/>
                    <a:pt x="189" y="8"/>
                    <a:pt x="187" y="8"/>
                  </a:cubicBezTo>
                  <a:cubicBezTo>
                    <a:pt x="185" y="8"/>
                    <a:pt x="183" y="9"/>
                    <a:pt x="182" y="8"/>
                  </a:cubicBezTo>
                  <a:cubicBezTo>
                    <a:pt x="180" y="7"/>
                    <a:pt x="181" y="6"/>
                    <a:pt x="179" y="5"/>
                  </a:cubicBezTo>
                  <a:cubicBezTo>
                    <a:pt x="178" y="4"/>
                    <a:pt x="176" y="4"/>
                    <a:pt x="175" y="4"/>
                  </a:cubicBezTo>
                  <a:cubicBezTo>
                    <a:pt x="172" y="4"/>
                    <a:pt x="172" y="4"/>
                    <a:pt x="170" y="3"/>
                  </a:cubicBezTo>
                  <a:cubicBezTo>
                    <a:pt x="168" y="2"/>
                    <a:pt x="167" y="0"/>
                    <a:pt x="165" y="3"/>
                  </a:cubicBezTo>
                  <a:cubicBezTo>
                    <a:pt x="163" y="4"/>
                    <a:pt x="165" y="7"/>
                    <a:pt x="163" y="8"/>
                  </a:cubicBezTo>
                  <a:cubicBezTo>
                    <a:pt x="162" y="9"/>
                    <a:pt x="160" y="8"/>
                    <a:pt x="159" y="8"/>
                  </a:cubicBezTo>
                  <a:cubicBezTo>
                    <a:pt x="154" y="8"/>
                    <a:pt x="137" y="8"/>
                    <a:pt x="138" y="16"/>
                  </a:cubicBezTo>
                  <a:cubicBezTo>
                    <a:pt x="135" y="17"/>
                    <a:pt x="133" y="13"/>
                    <a:pt x="131" y="11"/>
                  </a:cubicBezTo>
                  <a:cubicBezTo>
                    <a:pt x="128" y="14"/>
                    <a:pt x="133" y="21"/>
                    <a:pt x="128" y="24"/>
                  </a:cubicBezTo>
                  <a:cubicBezTo>
                    <a:pt x="127" y="24"/>
                    <a:pt x="125" y="24"/>
                    <a:pt x="124" y="24"/>
                  </a:cubicBezTo>
                  <a:cubicBezTo>
                    <a:pt x="123" y="24"/>
                    <a:pt x="122" y="25"/>
                    <a:pt x="121" y="26"/>
                  </a:cubicBezTo>
                  <a:cubicBezTo>
                    <a:pt x="120" y="26"/>
                    <a:pt x="117" y="25"/>
                    <a:pt x="116" y="26"/>
                  </a:cubicBezTo>
                  <a:cubicBezTo>
                    <a:pt x="112" y="29"/>
                    <a:pt x="116" y="34"/>
                    <a:pt x="112" y="37"/>
                  </a:cubicBezTo>
                  <a:cubicBezTo>
                    <a:pt x="110" y="39"/>
                    <a:pt x="104" y="40"/>
                    <a:pt x="105" y="46"/>
                  </a:cubicBezTo>
                  <a:cubicBezTo>
                    <a:pt x="109" y="46"/>
                    <a:pt x="115" y="48"/>
                    <a:pt x="114" y="53"/>
                  </a:cubicBezTo>
                  <a:cubicBezTo>
                    <a:pt x="112" y="58"/>
                    <a:pt x="109" y="54"/>
                    <a:pt x="106" y="55"/>
                  </a:cubicBezTo>
                  <a:cubicBezTo>
                    <a:pt x="103" y="55"/>
                    <a:pt x="104" y="55"/>
                    <a:pt x="103" y="57"/>
                  </a:cubicBezTo>
                  <a:cubicBezTo>
                    <a:pt x="103" y="58"/>
                    <a:pt x="103" y="58"/>
                    <a:pt x="103" y="59"/>
                  </a:cubicBezTo>
                  <a:cubicBezTo>
                    <a:pt x="102" y="60"/>
                    <a:pt x="102" y="59"/>
                    <a:pt x="101" y="60"/>
                  </a:cubicBezTo>
                  <a:cubicBezTo>
                    <a:pt x="98" y="62"/>
                    <a:pt x="96" y="65"/>
                    <a:pt x="94" y="68"/>
                  </a:cubicBezTo>
                  <a:cubicBezTo>
                    <a:pt x="91" y="71"/>
                    <a:pt x="88" y="75"/>
                    <a:pt x="94" y="76"/>
                  </a:cubicBezTo>
                  <a:cubicBezTo>
                    <a:pt x="96" y="77"/>
                    <a:pt x="98" y="76"/>
                    <a:pt x="100" y="76"/>
                  </a:cubicBezTo>
                  <a:cubicBezTo>
                    <a:pt x="102" y="76"/>
                    <a:pt x="103" y="78"/>
                    <a:pt x="105" y="78"/>
                  </a:cubicBezTo>
                  <a:cubicBezTo>
                    <a:pt x="110" y="80"/>
                    <a:pt x="112" y="77"/>
                    <a:pt x="117" y="76"/>
                  </a:cubicBezTo>
                  <a:cubicBezTo>
                    <a:pt x="120" y="75"/>
                    <a:pt x="123" y="74"/>
                    <a:pt x="127" y="72"/>
                  </a:cubicBezTo>
                  <a:cubicBezTo>
                    <a:pt x="127" y="75"/>
                    <a:pt x="127" y="76"/>
                    <a:pt x="126" y="77"/>
                  </a:cubicBezTo>
                  <a:cubicBezTo>
                    <a:pt x="124" y="80"/>
                    <a:pt x="123" y="80"/>
                    <a:pt x="122" y="83"/>
                  </a:cubicBezTo>
                  <a:cubicBezTo>
                    <a:pt x="121" y="85"/>
                    <a:pt x="122" y="85"/>
                    <a:pt x="120" y="86"/>
                  </a:cubicBezTo>
                  <a:cubicBezTo>
                    <a:pt x="119" y="87"/>
                    <a:pt x="117" y="87"/>
                    <a:pt x="115" y="88"/>
                  </a:cubicBezTo>
                  <a:cubicBezTo>
                    <a:pt x="113" y="88"/>
                    <a:pt x="112" y="90"/>
                    <a:pt x="110" y="90"/>
                  </a:cubicBezTo>
                  <a:cubicBezTo>
                    <a:pt x="109" y="91"/>
                    <a:pt x="108" y="90"/>
                    <a:pt x="107" y="90"/>
                  </a:cubicBezTo>
                  <a:cubicBezTo>
                    <a:pt x="106" y="91"/>
                    <a:pt x="106" y="92"/>
                    <a:pt x="105" y="93"/>
                  </a:cubicBezTo>
                  <a:cubicBezTo>
                    <a:pt x="103" y="95"/>
                    <a:pt x="98" y="97"/>
                    <a:pt x="99" y="100"/>
                  </a:cubicBezTo>
                  <a:cubicBezTo>
                    <a:pt x="100" y="100"/>
                    <a:pt x="101" y="100"/>
                    <a:pt x="102" y="100"/>
                  </a:cubicBezTo>
                  <a:cubicBezTo>
                    <a:pt x="103" y="103"/>
                    <a:pt x="103" y="104"/>
                    <a:pt x="100" y="105"/>
                  </a:cubicBezTo>
                  <a:cubicBezTo>
                    <a:pt x="99" y="106"/>
                    <a:pt x="97" y="105"/>
                    <a:pt x="96" y="105"/>
                  </a:cubicBezTo>
                  <a:cubicBezTo>
                    <a:pt x="94" y="106"/>
                    <a:pt x="94" y="106"/>
                    <a:pt x="93" y="106"/>
                  </a:cubicBezTo>
                  <a:cubicBezTo>
                    <a:pt x="90" y="107"/>
                    <a:pt x="90" y="105"/>
                    <a:pt x="87" y="104"/>
                  </a:cubicBezTo>
                  <a:cubicBezTo>
                    <a:pt x="85" y="104"/>
                    <a:pt x="82" y="104"/>
                    <a:pt x="80" y="105"/>
                  </a:cubicBezTo>
                  <a:cubicBezTo>
                    <a:pt x="79" y="108"/>
                    <a:pt x="80" y="114"/>
                    <a:pt x="75" y="113"/>
                  </a:cubicBezTo>
                  <a:cubicBezTo>
                    <a:pt x="69" y="112"/>
                    <a:pt x="72" y="105"/>
                    <a:pt x="66" y="103"/>
                  </a:cubicBezTo>
                  <a:cubicBezTo>
                    <a:pt x="61" y="103"/>
                    <a:pt x="57" y="103"/>
                    <a:pt x="52" y="102"/>
                  </a:cubicBezTo>
                  <a:cubicBezTo>
                    <a:pt x="49" y="102"/>
                    <a:pt x="46" y="101"/>
                    <a:pt x="43" y="101"/>
                  </a:cubicBezTo>
                  <a:cubicBezTo>
                    <a:pt x="40" y="101"/>
                    <a:pt x="37" y="102"/>
                    <a:pt x="33" y="102"/>
                  </a:cubicBezTo>
                  <a:cubicBezTo>
                    <a:pt x="33" y="103"/>
                    <a:pt x="33" y="105"/>
                    <a:pt x="33" y="106"/>
                  </a:cubicBezTo>
                  <a:cubicBezTo>
                    <a:pt x="29" y="107"/>
                    <a:pt x="25" y="107"/>
                    <a:pt x="22" y="111"/>
                  </a:cubicBezTo>
                  <a:cubicBezTo>
                    <a:pt x="20" y="115"/>
                    <a:pt x="17" y="123"/>
                    <a:pt x="20" y="126"/>
                  </a:cubicBezTo>
                  <a:cubicBezTo>
                    <a:pt x="21" y="125"/>
                    <a:pt x="22" y="123"/>
                    <a:pt x="23" y="122"/>
                  </a:cubicBezTo>
                  <a:cubicBezTo>
                    <a:pt x="24" y="120"/>
                    <a:pt x="27" y="117"/>
                    <a:pt x="29" y="117"/>
                  </a:cubicBezTo>
                  <a:cubicBezTo>
                    <a:pt x="33" y="117"/>
                    <a:pt x="32" y="128"/>
                    <a:pt x="31" y="131"/>
                  </a:cubicBezTo>
                  <a:cubicBezTo>
                    <a:pt x="35" y="133"/>
                    <a:pt x="39" y="132"/>
                    <a:pt x="42" y="134"/>
                  </a:cubicBezTo>
                  <a:cubicBezTo>
                    <a:pt x="40" y="137"/>
                    <a:pt x="32" y="136"/>
                    <a:pt x="30" y="134"/>
                  </a:cubicBezTo>
                  <a:cubicBezTo>
                    <a:pt x="27" y="133"/>
                    <a:pt x="28" y="132"/>
                    <a:pt x="24" y="131"/>
                  </a:cubicBezTo>
                  <a:cubicBezTo>
                    <a:pt x="21" y="131"/>
                    <a:pt x="18" y="131"/>
                    <a:pt x="16" y="132"/>
                  </a:cubicBezTo>
                  <a:cubicBezTo>
                    <a:pt x="14" y="133"/>
                    <a:pt x="12" y="136"/>
                    <a:pt x="14" y="139"/>
                  </a:cubicBezTo>
                  <a:cubicBezTo>
                    <a:pt x="16" y="141"/>
                    <a:pt x="19" y="138"/>
                    <a:pt x="21" y="139"/>
                  </a:cubicBezTo>
                  <a:cubicBezTo>
                    <a:pt x="22" y="140"/>
                    <a:pt x="23" y="141"/>
                    <a:pt x="24" y="142"/>
                  </a:cubicBezTo>
                  <a:cubicBezTo>
                    <a:pt x="25" y="144"/>
                    <a:pt x="25" y="143"/>
                    <a:pt x="27" y="144"/>
                  </a:cubicBezTo>
                  <a:cubicBezTo>
                    <a:pt x="31" y="146"/>
                    <a:pt x="34" y="147"/>
                    <a:pt x="38" y="146"/>
                  </a:cubicBezTo>
                  <a:cubicBezTo>
                    <a:pt x="38" y="145"/>
                    <a:pt x="39" y="143"/>
                    <a:pt x="40" y="142"/>
                  </a:cubicBezTo>
                  <a:cubicBezTo>
                    <a:pt x="42" y="141"/>
                    <a:pt x="45" y="142"/>
                    <a:pt x="45" y="145"/>
                  </a:cubicBezTo>
                  <a:cubicBezTo>
                    <a:pt x="45" y="145"/>
                    <a:pt x="46" y="145"/>
                    <a:pt x="47" y="145"/>
                  </a:cubicBezTo>
                  <a:cubicBezTo>
                    <a:pt x="47" y="147"/>
                    <a:pt x="46" y="150"/>
                    <a:pt x="44" y="151"/>
                  </a:cubicBezTo>
                  <a:cubicBezTo>
                    <a:pt x="42" y="151"/>
                    <a:pt x="41" y="150"/>
                    <a:pt x="39" y="151"/>
                  </a:cubicBezTo>
                  <a:cubicBezTo>
                    <a:pt x="38" y="151"/>
                    <a:pt x="36" y="153"/>
                    <a:pt x="35" y="153"/>
                  </a:cubicBezTo>
                  <a:cubicBezTo>
                    <a:pt x="32" y="155"/>
                    <a:pt x="32" y="155"/>
                    <a:pt x="32" y="159"/>
                  </a:cubicBezTo>
                  <a:cubicBezTo>
                    <a:pt x="31" y="162"/>
                    <a:pt x="32" y="165"/>
                    <a:pt x="31" y="169"/>
                  </a:cubicBezTo>
                  <a:cubicBezTo>
                    <a:pt x="29" y="169"/>
                    <a:pt x="26" y="168"/>
                    <a:pt x="24" y="169"/>
                  </a:cubicBezTo>
                  <a:cubicBezTo>
                    <a:pt x="21" y="169"/>
                    <a:pt x="18" y="173"/>
                    <a:pt x="19" y="176"/>
                  </a:cubicBezTo>
                  <a:cubicBezTo>
                    <a:pt x="21" y="176"/>
                    <a:pt x="25" y="176"/>
                    <a:pt x="24" y="179"/>
                  </a:cubicBezTo>
                  <a:cubicBezTo>
                    <a:pt x="21" y="179"/>
                    <a:pt x="21" y="182"/>
                    <a:pt x="18" y="182"/>
                  </a:cubicBezTo>
                  <a:cubicBezTo>
                    <a:pt x="17" y="185"/>
                    <a:pt x="18" y="185"/>
                    <a:pt x="20" y="187"/>
                  </a:cubicBezTo>
                  <a:cubicBezTo>
                    <a:pt x="21" y="188"/>
                    <a:pt x="25" y="190"/>
                    <a:pt x="26" y="190"/>
                  </a:cubicBezTo>
                  <a:cubicBezTo>
                    <a:pt x="28" y="191"/>
                    <a:pt x="30" y="191"/>
                    <a:pt x="31" y="191"/>
                  </a:cubicBezTo>
                  <a:cubicBezTo>
                    <a:pt x="33" y="190"/>
                    <a:pt x="34" y="188"/>
                    <a:pt x="37" y="189"/>
                  </a:cubicBezTo>
                  <a:cubicBezTo>
                    <a:pt x="37" y="190"/>
                    <a:pt x="37" y="191"/>
                    <a:pt x="37" y="192"/>
                  </a:cubicBezTo>
                  <a:cubicBezTo>
                    <a:pt x="36" y="191"/>
                    <a:pt x="35" y="192"/>
                    <a:pt x="34" y="192"/>
                  </a:cubicBezTo>
                  <a:cubicBezTo>
                    <a:pt x="34" y="194"/>
                    <a:pt x="35" y="197"/>
                    <a:pt x="38" y="196"/>
                  </a:cubicBezTo>
                  <a:cubicBezTo>
                    <a:pt x="39" y="195"/>
                    <a:pt x="41" y="191"/>
                    <a:pt x="43" y="191"/>
                  </a:cubicBezTo>
                  <a:cubicBezTo>
                    <a:pt x="45" y="191"/>
                    <a:pt x="44" y="196"/>
                    <a:pt x="45" y="197"/>
                  </a:cubicBezTo>
                  <a:cubicBezTo>
                    <a:pt x="46" y="199"/>
                    <a:pt x="51" y="201"/>
                    <a:pt x="53" y="202"/>
                  </a:cubicBezTo>
                  <a:cubicBezTo>
                    <a:pt x="60" y="203"/>
                    <a:pt x="67" y="200"/>
                    <a:pt x="74" y="200"/>
                  </a:cubicBezTo>
                  <a:cubicBezTo>
                    <a:pt x="78" y="200"/>
                    <a:pt x="82" y="202"/>
                    <a:pt x="81" y="207"/>
                  </a:cubicBezTo>
                  <a:cubicBezTo>
                    <a:pt x="78" y="207"/>
                    <a:pt x="77" y="206"/>
                    <a:pt x="75" y="210"/>
                  </a:cubicBezTo>
                  <a:cubicBezTo>
                    <a:pt x="75" y="212"/>
                    <a:pt x="76" y="213"/>
                    <a:pt x="74" y="214"/>
                  </a:cubicBezTo>
                  <a:cubicBezTo>
                    <a:pt x="72" y="215"/>
                    <a:pt x="69" y="213"/>
                    <a:pt x="69" y="210"/>
                  </a:cubicBezTo>
                  <a:cubicBezTo>
                    <a:pt x="65" y="209"/>
                    <a:pt x="63" y="215"/>
                    <a:pt x="61" y="218"/>
                  </a:cubicBezTo>
                  <a:cubicBezTo>
                    <a:pt x="60" y="221"/>
                    <a:pt x="51" y="228"/>
                    <a:pt x="52" y="232"/>
                  </a:cubicBezTo>
                  <a:cubicBezTo>
                    <a:pt x="55" y="232"/>
                    <a:pt x="57" y="233"/>
                    <a:pt x="59" y="230"/>
                  </a:cubicBezTo>
                  <a:cubicBezTo>
                    <a:pt x="59" y="235"/>
                    <a:pt x="56" y="235"/>
                    <a:pt x="55" y="240"/>
                  </a:cubicBezTo>
                  <a:cubicBezTo>
                    <a:pt x="54" y="243"/>
                    <a:pt x="54" y="243"/>
                    <a:pt x="51" y="245"/>
                  </a:cubicBezTo>
                  <a:cubicBezTo>
                    <a:pt x="50" y="247"/>
                    <a:pt x="49" y="248"/>
                    <a:pt x="48" y="249"/>
                  </a:cubicBezTo>
                  <a:cubicBezTo>
                    <a:pt x="47" y="250"/>
                    <a:pt x="46" y="250"/>
                    <a:pt x="45" y="251"/>
                  </a:cubicBezTo>
                  <a:cubicBezTo>
                    <a:pt x="45" y="251"/>
                    <a:pt x="45" y="252"/>
                    <a:pt x="45" y="253"/>
                  </a:cubicBezTo>
                  <a:cubicBezTo>
                    <a:pt x="44" y="255"/>
                    <a:pt x="41" y="256"/>
                    <a:pt x="39" y="257"/>
                  </a:cubicBezTo>
                  <a:cubicBezTo>
                    <a:pt x="36" y="258"/>
                    <a:pt x="31" y="260"/>
                    <a:pt x="32" y="264"/>
                  </a:cubicBezTo>
                  <a:cubicBezTo>
                    <a:pt x="37" y="265"/>
                    <a:pt x="43" y="264"/>
                    <a:pt x="48" y="261"/>
                  </a:cubicBezTo>
                  <a:cubicBezTo>
                    <a:pt x="51" y="258"/>
                    <a:pt x="51" y="258"/>
                    <a:pt x="55" y="258"/>
                  </a:cubicBezTo>
                  <a:cubicBezTo>
                    <a:pt x="57" y="258"/>
                    <a:pt x="59" y="259"/>
                    <a:pt x="62" y="259"/>
                  </a:cubicBezTo>
                  <a:cubicBezTo>
                    <a:pt x="64" y="260"/>
                    <a:pt x="67" y="259"/>
                    <a:pt x="70" y="260"/>
                  </a:cubicBezTo>
                  <a:cubicBezTo>
                    <a:pt x="72" y="267"/>
                    <a:pt x="52" y="263"/>
                    <a:pt x="48" y="264"/>
                  </a:cubicBezTo>
                  <a:cubicBezTo>
                    <a:pt x="46" y="270"/>
                    <a:pt x="39" y="271"/>
                    <a:pt x="35" y="273"/>
                  </a:cubicBezTo>
                  <a:cubicBezTo>
                    <a:pt x="31" y="275"/>
                    <a:pt x="32" y="275"/>
                    <a:pt x="33" y="279"/>
                  </a:cubicBezTo>
                  <a:cubicBezTo>
                    <a:pt x="33" y="282"/>
                    <a:pt x="33" y="284"/>
                    <a:pt x="33" y="287"/>
                  </a:cubicBezTo>
                  <a:cubicBezTo>
                    <a:pt x="35" y="287"/>
                    <a:pt x="39" y="288"/>
                    <a:pt x="40" y="289"/>
                  </a:cubicBezTo>
                  <a:cubicBezTo>
                    <a:pt x="39" y="292"/>
                    <a:pt x="33" y="291"/>
                    <a:pt x="30" y="290"/>
                  </a:cubicBezTo>
                  <a:cubicBezTo>
                    <a:pt x="30" y="284"/>
                    <a:pt x="26" y="283"/>
                    <a:pt x="21" y="286"/>
                  </a:cubicBezTo>
                  <a:cubicBezTo>
                    <a:pt x="20" y="286"/>
                    <a:pt x="19" y="287"/>
                    <a:pt x="18" y="288"/>
                  </a:cubicBezTo>
                  <a:cubicBezTo>
                    <a:pt x="17" y="288"/>
                    <a:pt x="15" y="288"/>
                    <a:pt x="14" y="288"/>
                  </a:cubicBezTo>
                  <a:cubicBezTo>
                    <a:pt x="11" y="289"/>
                    <a:pt x="7" y="291"/>
                    <a:pt x="4" y="292"/>
                  </a:cubicBezTo>
                  <a:cubicBezTo>
                    <a:pt x="4" y="293"/>
                    <a:pt x="4" y="295"/>
                    <a:pt x="4" y="296"/>
                  </a:cubicBezTo>
                  <a:cubicBezTo>
                    <a:pt x="3" y="296"/>
                    <a:pt x="3" y="297"/>
                    <a:pt x="2" y="297"/>
                  </a:cubicBezTo>
                  <a:cubicBezTo>
                    <a:pt x="2" y="298"/>
                    <a:pt x="2" y="299"/>
                    <a:pt x="2" y="300"/>
                  </a:cubicBezTo>
                  <a:cubicBezTo>
                    <a:pt x="0" y="308"/>
                    <a:pt x="8" y="306"/>
                    <a:pt x="15" y="306"/>
                  </a:cubicBezTo>
                  <a:cubicBezTo>
                    <a:pt x="18" y="305"/>
                    <a:pt x="21" y="304"/>
                    <a:pt x="24" y="304"/>
                  </a:cubicBezTo>
                  <a:cubicBezTo>
                    <a:pt x="26" y="304"/>
                    <a:pt x="29" y="304"/>
                    <a:pt x="31" y="304"/>
                  </a:cubicBezTo>
                  <a:cubicBezTo>
                    <a:pt x="32" y="303"/>
                    <a:pt x="35" y="303"/>
                    <a:pt x="36" y="303"/>
                  </a:cubicBezTo>
                  <a:cubicBezTo>
                    <a:pt x="37" y="302"/>
                    <a:pt x="37" y="300"/>
                    <a:pt x="40" y="301"/>
                  </a:cubicBezTo>
                  <a:cubicBezTo>
                    <a:pt x="41" y="309"/>
                    <a:pt x="35" y="305"/>
                    <a:pt x="30" y="307"/>
                  </a:cubicBezTo>
                  <a:cubicBezTo>
                    <a:pt x="28" y="307"/>
                    <a:pt x="26" y="309"/>
                    <a:pt x="23" y="310"/>
                  </a:cubicBezTo>
                  <a:cubicBezTo>
                    <a:pt x="20" y="311"/>
                    <a:pt x="16" y="312"/>
                    <a:pt x="14" y="313"/>
                  </a:cubicBezTo>
                  <a:cubicBezTo>
                    <a:pt x="12" y="314"/>
                    <a:pt x="12" y="315"/>
                    <a:pt x="11" y="316"/>
                  </a:cubicBezTo>
                  <a:cubicBezTo>
                    <a:pt x="10" y="316"/>
                    <a:pt x="9" y="318"/>
                    <a:pt x="8" y="319"/>
                  </a:cubicBezTo>
                  <a:cubicBezTo>
                    <a:pt x="7" y="321"/>
                    <a:pt x="8" y="322"/>
                    <a:pt x="9" y="325"/>
                  </a:cubicBezTo>
                  <a:cubicBezTo>
                    <a:pt x="9" y="328"/>
                    <a:pt x="8" y="329"/>
                    <a:pt x="10" y="331"/>
                  </a:cubicBezTo>
                  <a:cubicBezTo>
                    <a:pt x="13" y="333"/>
                    <a:pt x="15" y="330"/>
                    <a:pt x="18" y="330"/>
                  </a:cubicBezTo>
                  <a:cubicBezTo>
                    <a:pt x="20" y="334"/>
                    <a:pt x="24" y="337"/>
                    <a:pt x="29" y="337"/>
                  </a:cubicBezTo>
                  <a:cubicBezTo>
                    <a:pt x="34" y="336"/>
                    <a:pt x="31" y="333"/>
                    <a:pt x="34" y="330"/>
                  </a:cubicBezTo>
                  <a:cubicBezTo>
                    <a:pt x="36" y="328"/>
                    <a:pt x="39" y="328"/>
                    <a:pt x="41" y="327"/>
                  </a:cubicBezTo>
                  <a:cubicBezTo>
                    <a:pt x="45" y="326"/>
                    <a:pt x="48" y="324"/>
                    <a:pt x="51" y="325"/>
                  </a:cubicBezTo>
                  <a:cubicBezTo>
                    <a:pt x="52" y="328"/>
                    <a:pt x="48" y="330"/>
                    <a:pt x="46" y="332"/>
                  </a:cubicBezTo>
                  <a:cubicBezTo>
                    <a:pt x="43" y="333"/>
                    <a:pt x="41" y="335"/>
                    <a:pt x="38" y="337"/>
                  </a:cubicBezTo>
                  <a:cubicBezTo>
                    <a:pt x="37" y="338"/>
                    <a:pt x="35" y="339"/>
                    <a:pt x="33" y="340"/>
                  </a:cubicBezTo>
                  <a:cubicBezTo>
                    <a:pt x="31" y="340"/>
                    <a:pt x="30" y="339"/>
                    <a:pt x="28" y="340"/>
                  </a:cubicBezTo>
                  <a:cubicBezTo>
                    <a:pt x="26" y="341"/>
                    <a:pt x="19" y="344"/>
                    <a:pt x="19" y="346"/>
                  </a:cubicBezTo>
                  <a:cubicBezTo>
                    <a:pt x="17" y="350"/>
                    <a:pt x="25" y="351"/>
                    <a:pt x="27" y="350"/>
                  </a:cubicBezTo>
                  <a:cubicBezTo>
                    <a:pt x="30" y="350"/>
                    <a:pt x="30" y="349"/>
                    <a:pt x="31" y="348"/>
                  </a:cubicBezTo>
                  <a:cubicBezTo>
                    <a:pt x="34" y="347"/>
                    <a:pt x="37" y="348"/>
                    <a:pt x="40" y="347"/>
                  </a:cubicBezTo>
                  <a:cubicBezTo>
                    <a:pt x="42" y="346"/>
                    <a:pt x="45" y="345"/>
                    <a:pt x="47" y="343"/>
                  </a:cubicBezTo>
                  <a:cubicBezTo>
                    <a:pt x="50" y="342"/>
                    <a:pt x="53" y="340"/>
                    <a:pt x="56" y="341"/>
                  </a:cubicBezTo>
                  <a:cubicBezTo>
                    <a:pt x="58" y="347"/>
                    <a:pt x="40" y="352"/>
                    <a:pt x="36" y="356"/>
                  </a:cubicBezTo>
                  <a:cubicBezTo>
                    <a:pt x="32" y="361"/>
                    <a:pt x="43" y="361"/>
                    <a:pt x="46" y="361"/>
                  </a:cubicBezTo>
                  <a:cubicBezTo>
                    <a:pt x="49" y="360"/>
                    <a:pt x="52" y="360"/>
                    <a:pt x="56" y="358"/>
                  </a:cubicBezTo>
                  <a:cubicBezTo>
                    <a:pt x="57" y="358"/>
                    <a:pt x="56" y="357"/>
                    <a:pt x="58" y="357"/>
                  </a:cubicBezTo>
                  <a:cubicBezTo>
                    <a:pt x="58" y="356"/>
                    <a:pt x="60" y="357"/>
                    <a:pt x="60" y="357"/>
                  </a:cubicBezTo>
                  <a:cubicBezTo>
                    <a:pt x="65" y="357"/>
                    <a:pt x="69" y="357"/>
                    <a:pt x="74" y="355"/>
                  </a:cubicBezTo>
                  <a:cubicBezTo>
                    <a:pt x="77" y="354"/>
                    <a:pt x="81" y="354"/>
                    <a:pt x="84" y="353"/>
                  </a:cubicBezTo>
                  <a:cubicBezTo>
                    <a:pt x="86" y="353"/>
                    <a:pt x="88" y="352"/>
                    <a:pt x="89" y="351"/>
                  </a:cubicBezTo>
                  <a:cubicBezTo>
                    <a:pt x="94" y="350"/>
                    <a:pt x="96" y="351"/>
                    <a:pt x="100" y="348"/>
                  </a:cubicBezTo>
                  <a:cubicBezTo>
                    <a:pt x="101" y="347"/>
                    <a:pt x="103" y="345"/>
                    <a:pt x="104" y="344"/>
                  </a:cubicBezTo>
                  <a:cubicBezTo>
                    <a:pt x="107" y="342"/>
                    <a:pt x="107" y="343"/>
                    <a:pt x="109" y="341"/>
                  </a:cubicBezTo>
                  <a:cubicBezTo>
                    <a:pt x="112" y="338"/>
                    <a:pt x="115" y="338"/>
                    <a:pt x="117" y="335"/>
                  </a:cubicBezTo>
                  <a:cubicBezTo>
                    <a:pt x="119" y="331"/>
                    <a:pt x="120" y="330"/>
                    <a:pt x="124" y="329"/>
                  </a:cubicBezTo>
                  <a:cubicBezTo>
                    <a:pt x="126" y="328"/>
                    <a:pt x="128" y="328"/>
                    <a:pt x="130" y="327"/>
                  </a:cubicBezTo>
                  <a:cubicBezTo>
                    <a:pt x="131" y="325"/>
                    <a:pt x="132" y="324"/>
                    <a:pt x="134" y="322"/>
                  </a:cubicBezTo>
                  <a:cubicBezTo>
                    <a:pt x="136" y="322"/>
                    <a:pt x="138" y="320"/>
                    <a:pt x="140" y="319"/>
                  </a:cubicBezTo>
                  <a:cubicBezTo>
                    <a:pt x="142" y="318"/>
                    <a:pt x="143" y="319"/>
                    <a:pt x="145" y="317"/>
                  </a:cubicBezTo>
                  <a:cubicBezTo>
                    <a:pt x="148" y="315"/>
                    <a:pt x="152" y="312"/>
                    <a:pt x="154" y="310"/>
                  </a:cubicBezTo>
                  <a:cubicBezTo>
                    <a:pt x="157" y="308"/>
                    <a:pt x="158" y="305"/>
                    <a:pt x="161" y="304"/>
                  </a:cubicBezTo>
                  <a:cubicBezTo>
                    <a:pt x="164" y="302"/>
                    <a:pt x="169" y="303"/>
                    <a:pt x="173" y="302"/>
                  </a:cubicBezTo>
                  <a:cubicBezTo>
                    <a:pt x="176" y="301"/>
                    <a:pt x="175" y="301"/>
                    <a:pt x="177" y="299"/>
                  </a:cubicBezTo>
                  <a:cubicBezTo>
                    <a:pt x="181" y="296"/>
                    <a:pt x="189" y="300"/>
                    <a:pt x="192" y="295"/>
                  </a:cubicBezTo>
                  <a:cubicBezTo>
                    <a:pt x="193" y="297"/>
                    <a:pt x="192" y="299"/>
                    <a:pt x="193" y="301"/>
                  </a:cubicBezTo>
                  <a:cubicBezTo>
                    <a:pt x="195" y="301"/>
                    <a:pt x="197" y="301"/>
                    <a:pt x="199" y="300"/>
                  </a:cubicBezTo>
                  <a:cubicBezTo>
                    <a:pt x="202" y="298"/>
                    <a:pt x="206" y="295"/>
                    <a:pt x="208" y="294"/>
                  </a:cubicBezTo>
                  <a:cubicBezTo>
                    <a:pt x="211" y="294"/>
                    <a:pt x="214" y="294"/>
                    <a:pt x="217" y="294"/>
                  </a:cubicBezTo>
                  <a:cubicBezTo>
                    <a:pt x="218" y="294"/>
                    <a:pt x="218" y="295"/>
                    <a:pt x="220" y="295"/>
                  </a:cubicBezTo>
                  <a:cubicBezTo>
                    <a:pt x="221" y="294"/>
                    <a:pt x="222" y="293"/>
                    <a:pt x="223" y="292"/>
                  </a:cubicBezTo>
                  <a:cubicBezTo>
                    <a:pt x="225" y="292"/>
                    <a:pt x="228" y="293"/>
                    <a:pt x="227" y="289"/>
                  </a:cubicBezTo>
                  <a:cubicBezTo>
                    <a:pt x="223" y="288"/>
                    <a:pt x="217" y="281"/>
                    <a:pt x="219" y="277"/>
                  </a:cubicBezTo>
                  <a:cubicBezTo>
                    <a:pt x="223" y="277"/>
                    <a:pt x="223" y="273"/>
                    <a:pt x="225" y="270"/>
                  </a:cubicBezTo>
                  <a:cubicBezTo>
                    <a:pt x="226" y="267"/>
                    <a:pt x="229" y="266"/>
                    <a:pt x="230" y="264"/>
                  </a:cubicBezTo>
                  <a:cubicBezTo>
                    <a:pt x="230" y="262"/>
                    <a:pt x="230" y="259"/>
                    <a:pt x="230" y="257"/>
                  </a:cubicBezTo>
                  <a:cubicBezTo>
                    <a:pt x="230" y="253"/>
                    <a:pt x="230" y="249"/>
                    <a:pt x="233" y="245"/>
                  </a:cubicBezTo>
                  <a:cubicBezTo>
                    <a:pt x="235" y="243"/>
                    <a:pt x="237" y="243"/>
                    <a:pt x="238" y="240"/>
                  </a:cubicBezTo>
                  <a:cubicBezTo>
                    <a:pt x="239" y="238"/>
                    <a:pt x="238" y="238"/>
                    <a:pt x="238" y="236"/>
                  </a:cubicBezTo>
                  <a:cubicBezTo>
                    <a:pt x="238" y="231"/>
                    <a:pt x="238" y="226"/>
                    <a:pt x="238" y="221"/>
                  </a:cubicBezTo>
                  <a:cubicBezTo>
                    <a:pt x="238" y="217"/>
                    <a:pt x="239" y="212"/>
                    <a:pt x="237" y="209"/>
                  </a:cubicBezTo>
                  <a:cubicBezTo>
                    <a:pt x="235" y="206"/>
                    <a:pt x="233" y="204"/>
                    <a:pt x="233" y="200"/>
                  </a:cubicBezTo>
                  <a:cubicBezTo>
                    <a:pt x="232" y="197"/>
                    <a:pt x="232" y="197"/>
                    <a:pt x="230" y="195"/>
                  </a:cubicBezTo>
                  <a:cubicBezTo>
                    <a:pt x="229" y="194"/>
                    <a:pt x="229" y="193"/>
                    <a:pt x="228" y="192"/>
                  </a:cubicBezTo>
                  <a:cubicBezTo>
                    <a:pt x="227" y="192"/>
                    <a:pt x="225" y="193"/>
                    <a:pt x="224" y="192"/>
                  </a:cubicBezTo>
                  <a:cubicBezTo>
                    <a:pt x="226" y="191"/>
                    <a:pt x="229" y="190"/>
                    <a:pt x="232" y="189"/>
                  </a:cubicBezTo>
                  <a:cubicBezTo>
                    <a:pt x="235" y="189"/>
                    <a:pt x="239" y="192"/>
                    <a:pt x="242" y="191"/>
                  </a:cubicBezTo>
                  <a:cubicBezTo>
                    <a:pt x="242" y="189"/>
                    <a:pt x="244" y="188"/>
                    <a:pt x="245" y="187"/>
                  </a:cubicBezTo>
                  <a:cubicBezTo>
                    <a:pt x="247" y="184"/>
                    <a:pt x="248" y="179"/>
                    <a:pt x="248" y="175"/>
                  </a:cubicBezTo>
                  <a:cubicBezTo>
                    <a:pt x="244" y="175"/>
                    <a:pt x="242" y="175"/>
                    <a:pt x="239" y="173"/>
                  </a:cubicBezTo>
                  <a:cubicBezTo>
                    <a:pt x="236" y="172"/>
                    <a:pt x="235" y="170"/>
                    <a:pt x="232" y="168"/>
                  </a:cubicBezTo>
                  <a:cubicBezTo>
                    <a:pt x="231" y="168"/>
                    <a:pt x="226" y="166"/>
                    <a:pt x="225" y="165"/>
                  </a:cubicBezTo>
                  <a:cubicBezTo>
                    <a:pt x="225" y="164"/>
                    <a:pt x="225" y="162"/>
                    <a:pt x="225" y="161"/>
                  </a:cubicBezTo>
                  <a:cubicBezTo>
                    <a:pt x="226" y="159"/>
                    <a:pt x="228" y="159"/>
                    <a:pt x="228" y="156"/>
                  </a:cubicBezTo>
                  <a:cubicBezTo>
                    <a:pt x="228" y="154"/>
                    <a:pt x="228" y="150"/>
                    <a:pt x="228" y="148"/>
                  </a:cubicBezTo>
                  <a:cubicBezTo>
                    <a:pt x="227" y="146"/>
                    <a:pt x="225" y="144"/>
                    <a:pt x="224" y="142"/>
                  </a:cubicBezTo>
                  <a:cubicBezTo>
                    <a:pt x="223" y="139"/>
                    <a:pt x="224" y="137"/>
                    <a:pt x="226" y="135"/>
                  </a:cubicBezTo>
                  <a:cubicBezTo>
                    <a:pt x="228" y="134"/>
                    <a:pt x="229" y="134"/>
                    <a:pt x="231" y="134"/>
                  </a:cubicBezTo>
                  <a:cubicBezTo>
                    <a:pt x="231" y="134"/>
                    <a:pt x="232" y="134"/>
                    <a:pt x="233" y="134"/>
                  </a:cubicBezTo>
                  <a:cubicBezTo>
                    <a:pt x="234" y="133"/>
                    <a:pt x="233" y="132"/>
                    <a:pt x="234" y="131"/>
                  </a:cubicBezTo>
                  <a:cubicBezTo>
                    <a:pt x="235" y="131"/>
                    <a:pt x="237" y="131"/>
                    <a:pt x="238" y="131"/>
                  </a:cubicBezTo>
                  <a:cubicBezTo>
                    <a:pt x="238" y="130"/>
                    <a:pt x="239" y="129"/>
                    <a:pt x="239" y="129"/>
                  </a:cubicBezTo>
                  <a:cubicBezTo>
                    <a:pt x="238" y="128"/>
                    <a:pt x="236" y="127"/>
                    <a:pt x="234" y="126"/>
                  </a:cubicBezTo>
                  <a:cubicBezTo>
                    <a:pt x="232" y="125"/>
                    <a:pt x="232" y="125"/>
                    <a:pt x="230" y="125"/>
                  </a:cubicBezTo>
                  <a:cubicBezTo>
                    <a:pt x="228" y="125"/>
                    <a:pt x="227" y="123"/>
                    <a:pt x="225" y="122"/>
                  </a:cubicBezTo>
                  <a:cubicBezTo>
                    <a:pt x="223" y="121"/>
                    <a:pt x="222" y="121"/>
                    <a:pt x="220" y="120"/>
                  </a:cubicBezTo>
                  <a:cubicBezTo>
                    <a:pt x="219" y="121"/>
                    <a:pt x="219" y="122"/>
                    <a:pt x="219" y="123"/>
                  </a:cubicBezTo>
                  <a:cubicBezTo>
                    <a:pt x="218" y="123"/>
                    <a:pt x="218" y="123"/>
                    <a:pt x="218" y="123"/>
                  </a:cubicBezTo>
                  <a:cubicBezTo>
                    <a:pt x="217" y="125"/>
                    <a:pt x="216" y="125"/>
                    <a:pt x="215" y="126"/>
                  </a:cubicBezTo>
                  <a:cubicBezTo>
                    <a:pt x="213" y="127"/>
                    <a:pt x="211" y="127"/>
                    <a:pt x="209" y="127"/>
                  </a:cubicBezTo>
                  <a:cubicBezTo>
                    <a:pt x="206" y="127"/>
                    <a:pt x="206" y="125"/>
                    <a:pt x="206" y="123"/>
                  </a:cubicBezTo>
                  <a:cubicBezTo>
                    <a:pt x="206" y="120"/>
                    <a:pt x="205" y="118"/>
                    <a:pt x="204" y="115"/>
                  </a:cubicBezTo>
                  <a:cubicBezTo>
                    <a:pt x="204" y="114"/>
                    <a:pt x="203" y="113"/>
                    <a:pt x="201" y="112"/>
                  </a:cubicBezTo>
                  <a:cubicBezTo>
                    <a:pt x="199" y="112"/>
                    <a:pt x="196" y="112"/>
                    <a:pt x="196" y="110"/>
                  </a:cubicBezTo>
                  <a:cubicBezTo>
                    <a:pt x="196" y="108"/>
                    <a:pt x="197" y="107"/>
                    <a:pt x="196" y="105"/>
                  </a:cubicBezTo>
                  <a:cubicBezTo>
                    <a:pt x="195" y="103"/>
                    <a:pt x="194" y="102"/>
                    <a:pt x="192" y="100"/>
                  </a:cubicBezTo>
                  <a:cubicBezTo>
                    <a:pt x="191" y="98"/>
                    <a:pt x="190" y="96"/>
                    <a:pt x="188" y="94"/>
                  </a:cubicBezTo>
                  <a:cubicBezTo>
                    <a:pt x="187" y="95"/>
                    <a:pt x="185" y="94"/>
                    <a:pt x="184" y="95"/>
                  </a:cubicBezTo>
                  <a:cubicBezTo>
                    <a:pt x="182" y="95"/>
                    <a:pt x="181" y="98"/>
                    <a:pt x="180" y="99"/>
                  </a:cubicBezTo>
                  <a:cubicBezTo>
                    <a:pt x="179" y="101"/>
                    <a:pt x="178" y="102"/>
                    <a:pt x="178" y="104"/>
                  </a:cubicBezTo>
                  <a:cubicBezTo>
                    <a:pt x="178" y="105"/>
                    <a:pt x="178" y="106"/>
                    <a:pt x="179" y="107"/>
                  </a:cubicBezTo>
                  <a:cubicBezTo>
                    <a:pt x="180" y="109"/>
                    <a:pt x="180" y="112"/>
                    <a:pt x="178" y="113"/>
                  </a:cubicBezTo>
                  <a:cubicBezTo>
                    <a:pt x="177" y="114"/>
                    <a:pt x="173" y="112"/>
                    <a:pt x="172" y="114"/>
                  </a:cubicBezTo>
                  <a:cubicBezTo>
                    <a:pt x="171" y="116"/>
                    <a:pt x="173" y="119"/>
                    <a:pt x="171" y="120"/>
                  </a:cubicBezTo>
                  <a:cubicBezTo>
                    <a:pt x="169" y="120"/>
                    <a:pt x="166" y="119"/>
                    <a:pt x="165" y="119"/>
                  </a:cubicBezTo>
                  <a:cubicBezTo>
                    <a:pt x="163" y="118"/>
                    <a:pt x="160" y="119"/>
                    <a:pt x="158" y="118"/>
                  </a:cubicBezTo>
                  <a:cubicBezTo>
                    <a:pt x="157" y="117"/>
                    <a:pt x="156" y="116"/>
                    <a:pt x="155" y="116"/>
                  </a:cubicBezTo>
                  <a:cubicBezTo>
                    <a:pt x="154" y="115"/>
                    <a:pt x="154" y="115"/>
                    <a:pt x="153" y="114"/>
                  </a:cubicBezTo>
                  <a:cubicBezTo>
                    <a:pt x="152" y="114"/>
                    <a:pt x="153" y="114"/>
                    <a:pt x="152" y="113"/>
                  </a:cubicBezTo>
                  <a:cubicBezTo>
                    <a:pt x="151" y="112"/>
                    <a:pt x="148" y="112"/>
                    <a:pt x="147" y="112"/>
                  </a:cubicBezTo>
                  <a:cubicBezTo>
                    <a:pt x="145" y="112"/>
                    <a:pt x="142" y="111"/>
                    <a:pt x="141" y="110"/>
                  </a:cubicBezTo>
                  <a:cubicBezTo>
                    <a:pt x="140" y="109"/>
                    <a:pt x="140" y="108"/>
                    <a:pt x="140" y="107"/>
                  </a:cubicBezTo>
                  <a:cubicBezTo>
                    <a:pt x="139" y="105"/>
                    <a:pt x="138" y="105"/>
                    <a:pt x="137" y="104"/>
                  </a:cubicBezTo>
                  <a:cubicBezTo>
                    <a:pt x="137" y="103"/>
                    <a:pt x="137" y="102"/>
                    <a:pt x="136" y="102"/>
                  </a:cubicBezTo>
                  <a:cubicBezTo>
                    <a:pt x="136" y="101"/>
                    <a:pt x="137" y="101"/>
                    <a:pt x="136" y="100"/>
                  </a:cubicBezTo>
                  <a:cubicBezTo>
                    <a:pt x="136" y="100"/>
                    <a:pt x="135" y="99"/>
                    <a:pt x="135" y="99"/>
                  </a:cubicBezTo>
                  <a:cubicBezTo>
                    <a:pt x="133" y="98"/>
                    <a:pt x="132" y="97"/>
                    <a:pt x="131" y="96"/>
                  </a:cubicBezTo>
                  <a:cubicBezTo>
                    <a:pt x="130" y="94"/>
                    <a:pt x="130" y="92"/>
                    <a:pt x="130" y="90"/>
                  </a:cubicBezTo>
                  <a:cubicBezTo>
                    <a:pt x="130" y="88"/>
                    <a:pt x="132" y="88"/>
                    <a:pt x="133" y="86"/>
                  </a:cubicBezTo>
                  <a:cubicBezTo>
                    <a:pt x="135" y="84"/>
                    <a:pt x="136" y="83"/>
                    <a:pt x="138" y="82"/>
                  </a:cubicBezTo>
                  <a:cubicBezTo>
                    <a:pt x="140" y="81"/>
                    <a:pt x="143" y="79"/>
                    <a:pt x="144" y="78"/>
                  </a:cubicBezTo>
                  <a:cubicBezTo>
                    <a:pt x="145" y="77"/>
                    <a:pt x="146" y="76"/>
                    <a:pt x="146" y="75"/>
                  </a:cubicBezTo>
                  <a:cubicBezTo>
                    <a:pt x="147" y="74"/>
                    <a:pt x="148" y="73"/>
                    <a:pt x="149" y="73"/>
                  </a:cubicBezTo>
                  <a:cubicBezTo>
                    <a:pt x="148" y="73"/>
                    <a:pt x="147" y="72"/>
                    <a:pt x="146" y="72"/>
                  </a:cubicBezTo>
                  <a:cubicBezTo>
                    <a:pt x="144" y="72"/>
                    <a:pt x="143" y="72"/>
                    <a:pt x="141" y="71"/>
                  </a:cubicBezTo>
                  <a:cubicBezTo>
                    <a:pt x="140" y="70"/>
                    <a:pt x="140" y="70"/>
                    <a:pt x="140" y="69"/>
                  </a:cubicBezTo>
                  <a:cubicBezTo>
                    <a:pt x="140" y="68"/>
                    <a:pt x="141" y="66"/>
                    <a:pt x="141" y="65"/>
                  </a:cubicBezTo>
                  <a:cubicBezTo>
                    <a:pt x="142" y="63"/>
                    <a:pt x="145" y="63"/>
                    <a:pt x="147" y="63"/>
                  </a:cubicBezTo>
                  <a:cubicBezTo>
                    <a:pt x="150" y="63"/>
                    <a:pt x="152" y="63"/>
                    <a:pt x="154" y="63"/>
                  </a:cubicBezTo>
                  <a:cubicBezTo>
                    <a:pt x="157" y="63"/>
                    <a:pt x="157" y="63"/>
                    <a:pt x="158" y="61"/>
                  </a:cubicBezTo>
                  <a:cubicBezTo>
                    <a:pt x="158" y="59"/>
                    <a:pt x="159" y="56"/>
                    <a:pt x="161" y="54"/>
                  </a:cubicBezTo>
                  <a:cubicBezTo>
                    <a:pt x="162" y="53"/>
                    <a:pt x="163" y="53"/>
                    <a:pt x="163" y="51"/>
                  </a:cubicBezTo>
                  <a:cubicBezTo>
                    <a:pt x="164" y="50"/>
                    <a:pt x="164" y="48"/>
                    <a:pt x="165" y="46"/>
                  </a:cubicBezTo>
                  <a:cubicBezTo>
                    <a:pt x="166" y="44"/>
                    <a:pt x="167" y="43"/>
                    <a:pt x="168" y="41"/>
                  </a:cubicBezTo>
                  <a:cubicBezTo>
                    <a:pt x="170" y="39"/>
                    <a:pt x="171" y="39"/>
                    <a:pt x="171" y="36"/>
                  </a:cubicBezTo>
                  <a:cubicBezTo>
                    <a:pt x="172" y="32"/>
                    <a:pt x="173" y="34"/>
                    <a:pt x="176" y="33"/>
                  </a:cubicBezTo>
                  <a:cubicBezTo>
                    <a:pt x="178" y="33"/>
                    <a:pt x="178" y="32"/>
                    <a:pt x="180" y="31"/>
                  </a:cubicBezTo>
                  <a:cubicBezTo>
                    <a:pt x="181" y="30"/>
                    <a:pt x="183" y="29"/>
                    <a:pt x="184" y="28"/>
                  </a:cubicBezTo>
                  <a:cubicBezTo>
                    <a:pt x="184" y="28"/>
                    <a:pt x="185" y="26"/>
                    <a:pt x="185" y="26"/>
                  </a:cubicBezTo>
                  <a:cubicBezTo>
                    <a:pt x="186" y="25"/>
                    <a:pt x="186" y="24"/>
                    <a:pt x="186" y="23"/>
                  </a:cubicBezTo>
                  <a:cubicBezTo>
                    <a:pt x="187" y="23"/>
                    <a:pt x="187" y="23"/>
                    <a:pt x="188" y="23"/>
                  </a:cubicBezTo>
                  <a:cubicBezTo>
                    <a:pt x="188" y="22"/>
                    <a:pt x="188" y="21"/>
                    <a:pt x="188" y="20"/>
                  </a:cubicBezTo>
                  <a:cubicBezTo>
                    <a:pt x="188" y="19"/>
                    <a:pt x="190" y="17"/>
                    <a:pt x="191" y="16"/>
                  </a:cubicBezTo>
                  <a:cubicBezTo>
                    <a:pt x="193" y="15"/>
                    <a:pt x="194" y="13"/>
                    <a:pt x="196" y="13"/>
                  </a:cubicBezTo>
                  <a:cubicBezTo>
                    <a:pt x="198" y="12"/>
                    <a:pt x="201" y="12"/>
                    <a:pt x="203" y="10"/>
                  </a:cubicBezTo>
                  <a:cubicBezTo>
                    <a:pt x="203" y="10"/>
                    <a:pt x="203" y="10"/>
                    <a:pt x="203" y="10"/>
                  </a:cubicBezTo>
                  <a:moveTo>
                    <a:pt x="240" y="128"/>
                  </a:moveTo>
                  <a:cubicBezTo>
                    <a:pt x="240" y="128"/>
                    <a:pt x="240" y="128"/>
                    <a:pt x="240" y="128"/>
                  </a:cubicBezTo>
                  <a:cubicBezTo>
                    <a:pt x="240" y="128"/>
                    <a:pt x="240" y="128"/>
                    <a:pt x="240" y="128"/>
                  </a:cubicBezTo>
                  <a:moveTo>
                    <a:pt x="203" y="10"/>
                  </a:moveTo>
                  <a:cubicBezTo>
                    <a:pt x="204" y="10"/>
                    <a:pt x="205" y="10"/>
                    <a:pt x="205" y="10"/>
                  </a:cubicBezTo>
                  <a:cubicBezTo>
                    <a:pt x="205" y="10"/>
                    <a:pt x="204" y="10"/>
                    <a:pt x="203" y="10"/>
                  </a:cubicBezTo>
                  <a:moveTo>
                    <a:pt x="216" y="17"/>
                  </a:moveTo>
                  <a:cubicBezTo>
                    <a:pt x="216" y="17"/>
                    <a:pt x="217" y="16"/>
                    <a:pt x="218" y="16"/>
                  </a:cubicBezTo>
                  <a:cubicBezTo>
                    <a:pt x="217" y="16"/>
                    <a:pt x="216" y="17"/>
                    <a:pt x="216" y="17"/>
                  </a:cubicBezTo>
                  <a:moveTo>
                    <a:pt x="214" y="18"/>
                  </a:moveTo>
                  <a:cubicBezTo>
                    <a:pt x="215" y="18"/>
                    <a:pt x="215" y="17"/>
                    <a:pt x="216" y="17"/>
                  </a:cubicBezTo>
                  <a:cubicBezTo>
                    <a:pt x="215" y="17"/>
                    <a:pt x="215" y="18"/>
                    <a:pt x="214" y="18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37" name="Freeform 9">
              <a:extLst>
                <a:ext uri="{FF2B5EF4-FFF2-40B4-BE49-F238E27FC236}">
                  <a16:creationId xmlns:a16="http://schemas.microsoft.com/office/drawing/2014/main" id="{0B335096-6A87-4FC6-A75C-37CF451397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2688" y="4314825"/>
              <a:ext cx="388938" cy="311150"/>
            </a:xfrm>
            <a:custGeom>
              <a:avLst/>
              <a:gdLst/>
              <a:ahLst/>
              <a:cxnLst>
                <a:cxn ang="0">
                  <a:pos x="207" y="85"/>
                </a:cxn>
                <a:cxn ang="0">
                  <a:pos x="198" y="80"/>
                </a:cxn>
                <a:cxn ang="0">
                  <a:pos x="191" y="69"/>
                </a:cxn>
                <a:cxn ang="0">
                  <a:pos x="189" y="63"/>
                </a:cxn>
                <a:cxn ang="0">
                  <a:pos x="188" y="61"/>
                </a:cxn>
                <a:cxn ang="0">
                  <a:pos x="169" y="57"/>
                </a:cxn>
                <a:cxn ang="0">
                  <a:pos x="170" y="46"/>
                </a:cxn>
                <a:cxn ang="0">
                  <a:pos x="175" y="34"/>
                </a:cxn>
                <a:cxn ang="0">
                  <a:pos x="178" y="28"/>
                </a:cxn>
                <a:cxn ang="0">
                  <a:pos x="175" y="22"/>
                </a:cxn>
                <a:cxn ang="0">
                  <a:pos x="168" y="18"/>
                </a:cxn>
                <a:cxn ang="0">
                  <a:pos x="156" y="17"/>
                </a:cxn>
                <a:cxn ang="0">
                  <a:pos x="150" y="15"/>
                </a:cxn>
                <a:cxn ang="0">
                  <a:pos x="140" y="10"/>
                </a:cxn>
                <a:cxn ang="0">
                  <a:pos x="143" y="0"/>
                </a:cxn>
                <a:cxn ang="0">
                  <a:pos x="135" y="2"/>
                </a:cxn>
                <a:cxn ang="0">
                  <a:pos x="119" y="0"/>
                </a:cxn>
                <a:cxn ang="0">
                  <a:pos x="104" y="1"/>
                </a:cxn>
                <a:cxn ang="0">
                  <a:pos x="97" y="6"/>
                </a:cxn>
                <a:cxn ang="0">
                  <a:pos x="92" y="11"/>
                </a:cxn>
                <a:cxn ang="0">
                  <a:pos x="87" y="14"/>
                </a:cxn>
                <a:cxn ang="0">
                  <a:pos x="81" y="21"/>
                </a:cxn>
                <a:cxn ang="0">
                  <a:pos x="61" y="12"/>
                </a:cxn>
                <a:cxn ang="0">
                  <a:pos x="49" y="15"/>
                </a:cxn>
                <a:cxn ang="0">
                  <a:pos x="43" y="8"/>
                </a:cxn>
                <a:cxn ang="0">
                  <a:pos x="31" y="8"/>
                </a:cxn>
                <a:cxn ang="0">
                  <a:pos x="24" y="15"/>
                </a:cxn>
                <a:cxn ang="0">
                  <a:pos x="16" y="19"/>
                </a:cxn>
                <a:cxn ang="0">
                  <a:pos x="5" y="23"/>
                </a:cxn>
                <a:cxn ang="0">
                  <a:pos x="3" y="32"/>
                </a:cxn>
                <a:cxn ang="0">
                  <a:pos x="3" y="45"/>
                </a:cxn>
                <a:cxn ang="0">
                  <a:pos x="31" y="56"/>
                </a:cxn>
                <a:cxn ang="0">
                  <a:pos x="39" y="71"/>
                </a:cxn>
                <a:cxn ang="0">
                  <a:pos x="61" y="89"/>
                </a:cxn>
                <a:cxn ang="0">
                  <a:pos x="79" y="95"/>
                </a:cxn>
                <a:cxn ang="0">
                  <a:pos x="83" y="110"/>
                </a:cxn>
                <a:cxn ang="0">
                  <a:pos x="95" y="127"/>
                </a:cxn>
                <a:cxn ang="0">
                  <a:pos x="114" y="123"/>
                </a:cxn>
                <a:cxn ang="0">
                  <a:pos x="124" y="114"/>
                </a:cxn>
                <a:cxn ang="0">
                  <a:pos x="125" y="141"/>
                </a:cxn>
                <a:cxn ang="0">
                  <a:pos x="153" y="157"/>
                </a:cxn>
                <a:cxn ang="0">
                  <a:pos x="171" y="161"/>
                </a:cxn>
                <a:cxn ang="0">
                  <a:pos x="179" y="152"/>
                </a:cxn>
                <a:cxn ang="0">
                  <a:pos x="171" y="141"/>
                </a:cxn>
                <a:cxn ang="0">
                  <a:pos x="171" y="133"/>
                </a:cxn>
                <a:cxn ang="0">
                  <a:pos x="177" y="127"/>
                </a:cxn>
                <a:cxn ang="0">
                  <a:pos x="185" y="114"/>
                </a:cxn>
                <a:cxn ang="0">
                  <a:pos x="193" y="111"/>
                </a:cxn>
                <a:cxn ang="0">
                  <a:pos x="198" y="106"/>
                </a:cxn>
                <a:cxn ang="0">
                  <a:pos x="201" y="100"/>
                </a:cxn>
                <a:cxn ang="0">
                  <a:pos x="207" y="91"/>
                </a:cxn>
              </a:cxnLst>
              <a:rect l="0" t="0" r="r" b="b"/>
              <a:pathLst>
                <a:path w="208" h="167">
                  <a:moveTo>
                    <a:pt x="196" y="13"/>
                  </a:moveTo>
                  <a:cubicBezTo>
                    <a:pt x="196" y="13"/>
                    <a:pt x="196" y="13"/>
                    <a:pt x="196" y="13"/>
                  </a:cubicBezTo>
                  <a:moveTo>
                    <a:pt x="207" y="85"/>
                  </a:moveTo>
                  <a:cubicBezTo>
                    <a:pt x="206" y="83"/>
                    <a:pt x="205" y="83"/>
                    <a:pt x="203" y="83"/>
                  </a:cubicBezTo>
                  <a:cubicBezTo>
                    <a:pt x="203" y="83"/>
                    <a:pt x="202" y="82"/>
                    <a:pt x="202" y="82"/>
                  </a:cubicBezTo>
                  <a:cubicBezTo>
                    <a:pt x="200" y="81"/>
                    <a:pt x="199" y="81"/>
                    <a:pt x="198" y="80"/>
                  </a:cubicBezTo>
                  <a:cubicBezTo>
                    <a:pt x="197" y="79"/>
                    <a:pt x="197" y="79"/>
                    <a:pt x="196" y="79"/>
                  </a:cubicBezTo>
                  <a:cubicBezTo>
                    <a:pt x="194" y="78"/>
                    <a:pt x="193" y="77"/>
                    <a:pt x="191" y="76"/>
                  </a:cubicBezTo>
                  <a:cubicBezTo>
                    <a:pt x="190" y="74"/>
                    <a:pt x="190" y="71"/>
                    <a:pt x="191" y="69"/>
                  </a:cubicBezTo>
                  <a:cubicBezTo>
                    <a:pt x="191" y="68"/>
                    <a:pt x="191" y="67"/>
                    <a:pt x="191" y="66"/>
                  </a:cubicBezTo>
                  <a:cubicBezTo>
                    <a:pt x="191" y="66"/>
                    <a:pt x="191" y="65"/>
                    <a:pt x="191" y="65"/>
                  </a:cubicBezTo>
                  <a:cubicBezTo>
                    <a:pt x="191" y="64"/>
                    <a:pt x="190" y="63"/>
                    <a:pt x="189" y="63"/>
                  </a:cubicBezTo>
                  <a:cubicBezTo>
                    <a:pt x="189" y="63"/>
                    <a:pt x="188" y="62"/>
                    <a:pt x="188" y="62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5" y="61"/>
                    <a:pt x="182" y="61"/>
                    <a:pt x="180" y="59"/>
                  </a:cubicBezTo>
                  <a:cubicBezTo>
                    <a:pt x="178" y="59"/>
                    <a:pt x="177" y="58"/>
                    <a:pt x="176" y="58"/>
                  </a:cubicBezTo>
                  <a:cubicBezTo>
                    <a:pt x="174" y="58"/>
                    <a:pt x="170" y="59"/>
                    <a:pt x="169" y="57"/>
                  </a:cubicBezTo>
                  <a:cubicBezTo>
                    <a:pt x="168" y="56"/>
                    <a:pt x="169" y="52"/>
                    <a:pt x="169" y="51"/>
                  </a:cubicBezTo>
                  <a:cubicBezTo>
                    <a:pt x="169" y="50"/>
                    <a:pt x="169" y="49"/>
                    <a:pt x="169" y="49"/>
                  </a:cubicBezTo>
                  <a:cubicBezTo>
                    <a:pt x="169" y="47"/>
                    <a:pt x="169" y="47"/>
                    <a:pt x="170" y="46"/>
                  </a:cubicBezTo>
                  <a:cubicBezTo>
                    <a:pt x="171" y="45"/>
                    <a:pt x="171" y="44"/>
                    <a:pt x="171" y="42"/>
                  </a:cubicBezTo>
                  <a:cubicBezTo>
                    <a:pt x="172" y="41"/>
                    <a:pt x="172" y="40"/>
                    <a:pt x="172" y="39"/>
                  </a:cubicBezTo>
                  <a:cubicBezTo>
                    <a:pt x="173" y="37"/>
                    <a:pt x="174" y="36"/>
                    <a:pt x="175" y="34"/>
                  </a:cubicBezTo>
                  <a:cubicBezTo>
                    <a:pt x="175" y="33"/>
                    <a:pt x="175" y="33"/>
                    <a:pt x="175" y="32"/>
                  </a:cubicBezTo>
                  <a:cubicBezTo>
                    <a:pt x="176" y="32"/>
                    <a:pt x="176" y="32"/>
                    <a:pt x="177" y="31"/>
                  </a:cubicBezTo>
                  <a:cubicBezTo>
                    <a:pt x="177" y="30"/>
                    <a:pt x="178" y="29"/>
                    <a:pt x="178" y="28"/>
                  </a:cubicBezTo>
                  <a:cubicBezTo>
                    <a:pt x="179" y="27"/>
                    <a:pt x="179" y="27"/>
                    <a:pt x="180" y="26"/>
                  </a:cubicBezTo>
                  <a:cubicBezTo>
                    <a:pt x="180" y="25"/>
                    <a:pt x="179" y="24"/>
                    <a:pt x="179" y="23"/>
                  </a:cubicBezTo>
                  <a:cubicBezTo>
                    <a:pt x="178" y="23"/>
                    <a:pt x="176" y="23"/>
                    <a:pt x="175" y="22"/>
                  </a:cubicBezTo>
                  <a:cubicBezTo>
                    <a:pt x="174" y="22"/>
                    <a:pt x="173" y="22"/>
                    <a:pt x="172" y="21"/>
                  </a:cubicBezTo>
                  <a:cubicBezTo>
                    <a:pt x="171" y="21"/>
                    <a:pt x="170" y="20"/>
                    <a:pt x="170" y="20"/>
                  </a:cubicBezTo>
                  <a:cubicBezTo>
                    <a:pt x="169" y="19"/>
                    <a:pt x="169" y="19"/>
                    <a:pt x="168" y="18"/>
                  </a:cubicBezTo>
                  <a:cubicBezTo>
                    <a:pt x="168" y="18"/>
                    <a:pt x="167" y="17"/>
                    <a:pt x="167" y="17"/>
                  </a:cubicBezTo>
                  <a:cubicBezTo>
                    <a:pt x="166" y="15"/>
                    <a:pt x="166" y="15"/>
                    <a:pt x="164" y="15"/>
                  </a:cubicBezTo>
                  <a:cubicBezTo>
                    <a:pt x="161" y="15"/>
                    <a:pt x="159" y="16"/>
                    <a:pt x="156" y="17"/>
                  </a:cubicBezTo>
                  <a:cubicBezTo>
                    <a:pt x="155" y="18"/>
                    <a:pt x="154" y="18"/>
                    <a:pt x="152" y="17"/>
                  </a:cubicBezTo>
                  <a:cubicBezTo>
                    <a:pt x="152" y="17"/>
                    <a:pt x="152" y="16"/>
                    <a:pt x="151" y="16"/>
                  </a:cubicBezTo>
                  <a:cubicBezTo>
                    <a:pt x="151" y="16"/>
                    <a:pt x="150" y="15"/>
                    <a:pt x="150" y="15"/>
                  </a:cubicBezTo>
                  <a:cubicBezTo>
                    <a:pt x="149" y="14"/>
                    <a:pt x="149" y="14"/>
                    <a:pt x="147" y="13"/>
                  </a:cubicBezTo>
                  <a:cubicBezTo>
                    <a:pt x="145" y="12"/>
                    <a:pt x="144" y="12"/>
                    <a:pt x="142" y="11"/>
                  </a:cubicBezTo>
                  <a:cubicBezTo>
                    <a:pt x="141" y="11"/>
                    <a:pt x="140" y="11"/>
                    <a:pt x="140" y="10"/>
                  </a:cubicBezTo>
                  <a:cubicBezTo>
                    <a:pt x="140" y="9"/>
                    <a:pt x="141" y="9"/>
                    <a:pt x="141" y="9"/>
                  </a:cubicBezTo>
                  <a:cubicBezTo>
                    <a:pt x="143" y="8"/>
                    <a:pt x="146" y="6"/>
                    <a:pt x="146" y="5"/>
                  </a:cubicBezTo>
                  <a:cubicBezTo>
                    <a:pt x="147" y="3"/>
                    <a:pt x="146" y="0"/>
                    <a:pt x="143" y="0"/>
                  </a:cubicBezTo>
                  <a:cubicBezTo>
                    <a:pt x="143" y="0"/>
                    <a:pt x="142" y="0"/>
                    <a:pt x="141" y="0"/>
                  </a:cubicBezTo>
                  <a:cubicBezTo>
                    <a:pt x="140" y="0"/>
                    <a:pt x="139" y="0"/>
                    <a:pt x="139" y="0"/>
                  </a:cubicBezTo>
                  <a:cubicBezTo>
                    <a:pt x="137" y="1"/>
                    <a:pt x="136" y="2"/>
                    <a:pt x="135" y="2"/>
                  </a:cubicBezTo>
                  <a:cubicBezTo>
                    <a:pt x="134" y="2"/>
                    <a:pt x="132" y="2"/>
                    <a:pt x="131" y="2"/>
                  </a:cubicBezTo>
                  <a:cubicBezTo>
                    <a:pt x="129" y="2"/>
                    <a:pt x="127" y="3"/>
                    <a:pt x="125" y="2"/>
                  </a:cubicBezTo>
                  <a:cubicBezTo>
                    <a:pt x="123" y="2"/>
                    <a:pt x="122" y="0"/>
                    <a:pt x="119" y="0"/>
                  </a:cubicBezTo>
                  <a:cubicBezTo>
                    <a:pt x="116" y="0"/>
                    <a:pt x="113" y="0"/>
                    <a:pt x="110" y="0"/>
                  </a:cubicBezTo>
                  <a:cubicBezTo>
                    <a:pt x="109" y="0"/>
                    <a:pt x="108" y="1"/>
                    <a:pt x="107" y="1"/>
                  </a:cubicBezTo>
                  <a:cubicBezTo>
                    <a:pt x="106" y="1"/>
                    <a:pt x="105" y="1"/>
                    <a:pt x="104" y="1"/>
                  </a:cubicBezTo>
                  <a:cubicBezTo>
                    <a:pt x="103" y="2"/>
                    <a:pt x="103" y="3"/>
                    <a:pt x="102" y="3"/>
                  </a:cubicBezTo>
                  <a:cubicBezTo>
                    <a:pt x="101" y="4"/>
                    <a:pt x="100" y="4"/>
                    <a:pt x="99" y="5"/>
                  </a:cubicBezTo>
                  <a:cubicBezTo>
                    <a:pt x="98" y="5"/>
                    <a:pt x="98" y="5"/>
                    <a:pt x="97" y="6"/>
                  </a:cubicBezTo>
                  <a:cubicBezTo>
                    <a:pt x="96" y="6"/>
                    <a:pt x="95" y="7"/>
                    <a:pt x="94" y="8"/>
                  </a:cubicBezTo>
                  <a:cubicBezTo>
                    <a:pt x="94" y="9"/>
                    <a:pt x="94" y="9"/>
                    <a:pt x="93" y="10"/>
                  </a:cubicBezTo>
                  <a:cubicBezTo>
                    <a:pt x="92" y="10"/>
                    <a:pt x="92" y="10"/>
                    <a:pt x="92" y="11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1" y="12"/>
                    <a:pt x="90" y="12"/>
                    <a:pt x="89" y="12"/>
                  </a:cubicBezTo>
                  <a:cubicBezTo>
                    <a:pt x="87" y="13"/>
                    <a:pt x="87" y="13"/>
                    <a:pt x="87" y="14"/>
                  </a:cubicBezTo>
                  <a:cubicBezTo>
                    <a:pt x="86" y="15"/>
                    <a:pt x="85" y="16"/>
                    <a:pt x="85" y="17"/>
                  </a:cubicBezTo>
                  <a:cubicBezTo>
                    <a:pt x="85" y="17"/>
                    <a:pt x="84" y="18"/>
                    <a:pt x="84" y="19"/>
                  </a:cubicBezTo>
                  <a:cubicBezTo>
                    <a:pt x="83" y="20"/>
                    <a:pt x="82" y="21"/>
                    <a:pt x="81" y="21"/>
                  </a:cubicBezTo>
                  <a:cubicBezTo>
                    <a:pt x="79" y="22"/>
                    <a:pt x="78" y="21"/>
                    <a:pt x="76" y="20"/>
                  </a:cubicBezTo>
                  <a:cubicBezTo>
                    <a:pt x="73" y="19"/>
                    <a:pt x="68" y="18"/>
                    <a:pt x="66" y="16"/>
                  </a:cubicBezTo>
                  <a:cubicBezTo>
                    <a:pt x="65" y="14"/>
                    <a:pt x="64" y="12"/>
                    <a:pt x="61" y="12"/>
                  </a:cubicBezTo>
                  <a:cubicBezTo>
                    <a:pt x="60" y="12"/>
                    <a:pt x="56" y="13"/>
                    <a:pt x="55" y="14"/>
                  </a:cubicBezTo>
                  <a:cubicBezTo>
                    <a:pt x="55" y="14"/>
                    <a:pt x="55" y="15"/>
                    <a:pt x="54" y="16"/>
                  </a:cubicBezTo>
                  <a:cubicBezTo>
                    <a:pt x="52" y="17"/>
                    <a:pt x="50" y="16"/>
                    <a:pt x="49" y="15"/>
                  </a:cubicBezTo>
                  <a:cubicBezTo>
                    <a:pt x="48" y="15"/>
                    <a:pt x="47" y="15"/>
                    <a:pt x="46" y="14"/>
                  </a:cubicBezTo>
                  <a:cubicBezTo>
                    <a:pt x="45" y="13"/>
                    <a:pt x="45" y="12"/>
                    <a:pt x="44" y="11"/>
                  </a:cubicBezTo>
                  <a:cubicBezTo>
                    <a:pt x="44" y="10"/>
                    <a:pt x="43" y="10"/>
                    <a:pt x="43" y="8"/>
                  </a:cubicBezTo>
                  <a:cubicBezTo>
                    <a:pt x="44" y="7"/>
                    <a:pt x="44" y="6"/>
                    <a:pt x="44" y="5"/>
                  </a:cubicBezTo>
                  <a:cubicBezTo>
                    <a:pt x="42" y="5"/>
                    <a:pt x="40" y="5"/>
                    <a:pt x="38" y="5"/>
                  </a:cubicBezTo>
                  <a:cubicBezTo>
                    <a:pt x="35" y="6"/>
                    <a:pt x="34" y="7"/>
                    <a:pt x="31" y="8"/>
                  </a:cubicBezTo>
                  <a:cubicBezTo>
                    <a:pt x="29" y="9"/>
                    <a:pt x="28" y="10"/>
                    <a:pt x="27" y="13"/>
                  </a:cubicBezTo>
                  <a:cubicBezTo>
                    <a:pt x="27" y="13"/>
                    <a:pt x="26" y="14"/>
                    <a:pt x="26" y="14"/>
                  </a:cubicBezTo>
                  <a:cubicBezTo>
                    <a:pt x="25" y="14"/>
                    <a:pt x="25" y="15"/>
                    <a:pt x="24" y="15"/>
                  </a:cubicBezTo>
                  <a:cubicBezTo>
                    <a:pt x="23" y="16"/>
                    <a:pt x="23" y="16"/>
                    <a:pt x="22" y="16"/>
                  </a:cubicBezTo>
                  <a:cubicBezTo>
                    <a:pt x="21" y="17"/>
                    <a:pt x="20" y="16"/>
                    <a:pt x="19" y="17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5" y="20"/>
                    <a:pt x="13" y="21"/>
                    <a:pt x="11" y="22"/>
                  </a:cubicBezTo>
                  <a:cubicBezTo>
                    <a:pt x="10" y="22"/>
                    <a:pt x="8" y="22"/>
                    <a:pt x="7" y="22"/>
                  </a:cubicBezTo>
                  <a:cubicBezTo>
                    <a:pt x="5" y="22"/>
                    <a:pt x="6" y="23"/>
                    <a:pt x="5" y="23"/>
                  </a:cubicBezTo>
                  <a:cubicBezTo>
                    <a:pt x="3" y="25"/>
                    <a:pt x="1" y="26"/>
                    <a:pt x="0" y="28"/>
                  </a:cubicBezTo>
                  <a:cubicBezTo>
                    <a:pt x="1" y="28"/>
                    <a:pt x="1" y="29"/>
                    <a:pt x="2" y="29"/>
                  </a:cubicBezTo>
                  <a:cubicBezTo>
                    <a:pt x="2" y="29"/>
                    <a:pt x="3" y="32"/>
                    <a:pt x="3" y="32"/>
                  </a:cubicBezTo>
                  <a:cubicBezTo>
                    <a:pt x="4" y="33"/>
                    <a:pt x="4" y="32"/>
                    <a:pt x="4" y="3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8"/>
                    <a:pt x="3" y="42"/>
                    <a:pt x="3" y="45"/>
                  </a:cubicBezTo>
                  <a:cubicBezTo>
                    <a:pt x="4" y="49"/>
                    <a:pt x="5" y="51"/>
                    <a:pt x="8" y="54"/>
                  </a:cubicBezTo>
                  <a:cubicBezTo>
                    <a:pt x="12" y="57"/>
                    <a:pt x="14" y="61"/>
                    <a:pt x="19" y="60"/>
                  </a:cubicBezTo>
                  <a:cubicBezTo>
                    <a:pt x="23" y="60"/>
                    <a:pt x="27" y="56"/>
                    <a:pt x="31" y="56"/>
                  </a:cubicBezTo>
                  <a:cubicBezTo>
                    <a:pt x="36" y="55"/>
                    <a:pt x="40" y="59"/>
                    <a:pt x="42" y="63"/>
                  </a:cubicBezTo>
                  <a:cubicBezTo>
                    <a:pt x="42" y="64"/>
                    <a:pt x="43" y="65"/>
                    <a:pt x="43" y="66"/>
                  </a:cubicBezTo>
                  <a:cubicBezTo>
                    <a:pt x="43" y="68"/>
                    <a:pt x="40" y="69"/>
                    <a:pt x="39" y="71"/>
                  </a:cubicBezTo>
                  <a:cubicBezTo>
                    <a:pt x="39" y="75"/>
                    <a:pt x="46" y="81"/>
                    <a:pt x="50" y="81"/>
                  </a:cubicBezTo>
                  <a:cubicBezTo>
                    <a:pt x="53" y="82"/>
                    <a:pt x="58" y="80"/>
                    <a:pt x="60" y="84"/>
                  </a:cubicBezTo>
                  <a:cubicBezTo>
                    <a:pt x="61" y="85"/>
                    <a:pt x="60" y="87"/>
                    <a:pt x="61" y="89"/>
                  </a:cubicBezTo>
                  <a:cubicBezTo>
                    <a:pt x="61" y="92"/>
                    <a:pt x="64" y="94"/>
                    <a:pt x="68" y="94"/>
                  </a:cubicBezTo>
                  <a:cubicBezTo>
                    <a:pt x="70" y="94"/>
                    <a:pt x="72" y="92"/>
                    <a:pt x="75" y="92"/>
                  </a:cubicBezTo>
                  <a:cubicBezTo>
                    <a:pt x="76" y="93"/>
                    <a:pt x="78" y="94"/>
                    <a:pt x="79" y="95"/>
                  </a:cubicBezTo>
                  <a:cubicBezTo>
                    <a:pt x="82" y="96"/>
                    <a:pt x="88" y="97"/>
                    <a:pt x="87" y="101"/>
                  </a:cubicBezTo>
                  <a:cubicBezTo>
                    <a:pt x="87" y="105"/>
                    <a:pt x="84" y="102"/>
                    <a:pt x="83" y="105"/>
                  </a:cubicBezTo>
                  <a:cubicBezTo>
                    <a:pt x="82" y="105"/>
                    <a:pt x="82" y="110"/>
                    <a:pt x="83" y="110"/>
                  </a:cubicBezTo>
                  <a:cubicBezTo>
                    <a:pt x="84" y="112"/>
                    <a:pt x="86" y="110"/>
                    <a:pt x="88" y="111"/>
                  </a:cubicBezTo>
                  <a:cubicBezTo>
                    <a:pt x="90" y="113"/>
                    <a:pt x="90" y="120"/>
                    <a:pt x="91" y="122"/>
                  </a:cubicBezTo>
                  <a:cubicBezTo>
                    <a:pt x="92" y="126"/>
                    <a:pt x="92" y="125"/>
                    <a:pt x="95" y="127"/>
                  </a:cubicBezTo>
                  <a:cubicBezTo>
                    <a:pt x="97" y="129"/>
                    <a:pt x="96" y="129"/>
                    <a:pt x="99" y="130"/>
                  </a:cubicBezTo>
                  <a:cubicBezTo>
                    <a:pt x="102" y="131"/>
                    <a:pt x="106" y="128"/>
                    <a:pt x="109" y="126"/>
                  </a:cubicBezTo>
                  <a:cubicBezTo>
                    <a:pt x="110" y="125"/>
                    <a:pt x="113" y="124"/>
                    <a:pt x="114" y="123"/>
                  </a:cubicBezTo>
                  <a:cubicBezTo>
                    <a:pt x="115" y="121"/>
                    <a:pt x="114" y="118"/>
                    <a:pt x="114" y="116"/>
                  </a:cubicBezTo>
                  <a:cubicBezTo>
                    <a:pt x="115" y="115"/>
                    <a:pt x="117" y="113"/>
                    <a:pt x="119" y="112"/>
                  </a:cubicBezTo>
                  <a:cubicBezTo>
                    <a:pt x="121" y="112"/>
                    <a:pt x="122" y="113"/>
                    <a:pt x="124" y="114"/>
                  </a:cubicBezTo>
                  <a:cubicBezTo>
                    <a:pt x="127" y="117"/>
                    <a:pt x="124" y="119"/>
                    <a:pt x="123" y="122"/>
                  </a:cubicBezTo>
                  <a:cubicBezTo>
                    <a:pt x="122" y="124"/>
                    <a:pt x="123" y="126"/>
                    <a:pt x="123" y="127"/>
                  </a:cubicBezTo>
                  <a:cubicBezTo>
                    <a:pt x="123" y="132"/>
                    <a:pt x="124" y="136"/>
                    <a:pt x="125" y="141"/>
                  </a:cubicBezTo>
                  <a:cubicBezTo>
                    <a:pt x="134" y="141"/>
                    <a:pt x="139" y="148"/>
                    <a:pt x="147" y="151"/>
                  </a:cubicBezTo>
                  <a:cubicBezTo>
                    <a:pt x="149" y="152"/>
                    <a:pt x="151" y="151"/>
                    <a:pt x="152" y="153"/>
                  </a:cubicBezTo>
                  <a:cubicBezTo>
                    <a:pt x="153" y="154"/>
                    <a:pt x="153" y="156"/>
                    <a:pt x="153" y="157"/>
                  </a:cubicBezTo>
                  <a:cubicBezTo>
                    <a:pt x="154" y="159"/>
                    <a:pt x="159" y="167"/>
                    <a:pt x="163" y="165"/>
                  </a:cubicBezTo>
                  <a:cubicBezTo>
                    <a:pt x="164" y="164"/>
                    <a:pt x="165" y="162"/>
                    <a:pt x="167" y="162"/>
                  </a:cubicBezTo>
                  <a:cubicBezTo>
                    <a:pt x="168" y="161"/>
                    <a:pt x="170" y="161"/>
                    <a:pt x="171" y="161"/>
                  </a:cubicBezTo>
                  <a:cubicBezTo>
                    <a:pt x="174" y="161"/>
                    <a:pt x="176" y="162"/>
                    <a:pt x="177" y="162"/>
                  </a:cubicBezTo>
                  <a:cubicBezTo>
                    <a:pt x="178" y="161"/>
                    <a:pt x="178" y="159"/>
                    <a:pt x="179" y="158"/>
                  </a:cubicBezTo>
                  <a:cubicBezTo>
                    <a:pt x="179" y="156"/>
                    <a:pt x="180" y="154"/>
                    <a:pt x="179" y="152"/>
                  </a:cubicBezTo>
                  <a:cubicBezTo>
                    <a:pt x="178" y="151"/>
                    <a:pt x="178" y="151"/>
                    <a:pt x="176" y="151"/>
                  </a:cubicBezTo>
                  <a:cubicBezTo>
                    <a:pt x="174" y="151"/>
                    <a:pt x="173" y="151"/>
                    <a:pt x="171" y="149"/>
                  </a:cubicBezTo>
                  <a:cubicBezTo>
                    <a:pt x="168" y="146"/>
                    <a:pt x="171" y="144"/>
                    <a:pt x="171" y="141"/>
                  </a:cubicBezTo>
                  <a:cubicBezTo>
                    <a:pt x="172" y="140"/>
                    <a:pt x="171" y="139"/>
                    <a:pt x="171" y="139"/>
                  </a:cubicBezTo>
                  <a:cubicBezTo>
                    <a:pt x="171" y="138"/>
                    <a:pt x="171" y="137"/>
                    <a:pt x="171" y="136"/>
                  </a:cubicBezTo>
                  <a:cubicBezTo>
                    <a:pt x="171" y="135"/>
                    <a:pt x="170" y="134"/>
                    <a:pt x="171" y="133"/>
                  </a:cubicBezTo>
                  <a:cubicBezTo>
                    <a:pt x="171" y="133"/>
                    <a:pt x="172" y="132"/>
                    <a:pt x="172" y="131"/>
                  </a:cubicBezTo>
                  <a:cubicBezTo>
                    <a:pt x="173" y="129"/>
                    <a:pt x="172" y="129"/>
                    <a:pt x="174" y="128"/>
                  </a:cubicBezTo>
                  <a:cubicBezTo>
                    <a:pt x="175" y="128"/>
                    <a:pt x="176" y="128"/>
                    <a:pt x="177" y="127"/>
                  </a:cubicBezTo>
                  <a:cubicBezTo>
                    <a:pt x="180" y="125"/>
                    <a:pt x="178" y="122"/>
                    <a:pt x="179" y="119"/>
                  </a:cubicBezTo>
                  <a:cubicBezTo>
                    <a:pt x="180" y="118"/>
                    <a:pt x="181" y="118"/>
                    <a:pt x="182" y="117"/>
                  </a:cubicBezTo>
                  <a:cubicBezTo>
                    <a:pt x="183" y="116"/>
                    <a:pt x="184" y="115"/>
                    <a:pt x="185" y="114"/>
                  </a:cubicBezTo>
                  <a:cubicBezTo>
                    <a:pt x="185" y="114"/>
                    <a:pt x="186" y="111"/>
                    <a:pt x="187" y="110"/>
                  </a:cubicBezTo>
                  <a:cubicBezTo>
                    <a:pt x="187" y="110"/>
                    <a:pt x="189" y="110"/>
                    <a:pt x="189" y="110"/>
                  </a:cubicBezTo>
                  <a:cubicBezTo>
                    <a:pt x="191" y="110"/>
                    <a:pt x="192" y="111"/>
                    <a:pt x="193" y="111"/>
                  </a:cubicBezTo>
                  <a:cubicBezTo>
                    <a:pt x="194" y="111"/>
                    <a:pt x="195" y="111"/>
                    <a:pt x="196" y="111"/>
                  </a:cubicBezTo>
                  <a:cubicBezTo>
                    <a:pt x="196" y="111"/>
                    <a:pt x="196" y="110"/>
                    <a:pt x="196" y="110"/>
                  </a:cubicBezTo>
                  <a:cubicBezTo>
                    <a:pt x="197" y="109"/>
                    <a:pt x="198" y="108"/>
                    <a:pt x="198" y="106"/>
                  </a:cubicBezTo>
                  <a:cubicBezTo>
                    <a:pt x="198" y="106"/>
                    <a:pt x="198" y="106"/>
                    <a:pt x="198" y="105"/>
                  </a:cubicBezTo>
                  <a:cubicBezTo>
                    <a:pt x="198" y="103"/>
                    <a:pt x="200" y="102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2" y="98"/>
                    <a:pt x="204" y="97"/>
                    <a:pt x="205" y="95"/>
                  </a:cubicBezTo>
                  <a:cubicBezTo>
                    <a:pt x="206" y="93"/>
                    <a:pt x="206" y="92"/>
                    <a:pt x="207" y="91"/>
                  </a:cubicBezTo>
                  <a:cubicBezTo>
                    <a:pt x="207" y="89"/>
                    <a:pt x="208" y="87"/>
                    <a:pt x="207" y="8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38" name="Freeform 10">
              <a:extLst>
                <a:ext uri="{FF2B5EF4-FFF2-40B4-BE49-F238E27FC236}">
                  <a16:creationId xmlns:a16="http://schemas.microsoft.com/office/drawing/2014/main" id="{775B5C05-E1BB-4D8D-85F6-DA44805F2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013" y="4519613"/>
              <a:ext cx="95250" cy="112713"/>
            </a:xfrm>
            <a:custGeom>
              <a:avLst/>
              <a:gdLst/>
              <a:ahLst/>
              <a:cxnLst>
                <a:cxn ang="0">
                  <a:pos x="29" y="15"/>
                </a:cxn>
                <a:cxn ang="0">
                  <a:pos x="28" y="11"/>
                </a:cxn>
                <a:cxn ang="0">
                  <a:pos x="27" y="6"/>
                </a:cxn>
                <a:cxn ang="0">
                  <a:pos x="28" y="0"/>
                </a:cxn>
                <a:cxn ang="0">
                  <a:pos x="28" y="1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7" y="4"/>
                </a:cxn>
                <a:cxn ang="0">
                  <a:pos x="14" y="7"/>
                </a:cxn>
                <a:cxn ang="0">
                  <a:pos x="11" y="9"/>
                </a:cxn>
                <a:cxn ang="0">
                  <a:pos x="9" y="17"/>
                </a:cxn>
                <a:cxn ang="0">
                  <a:pos x="6" y="18"/>
                </a:cxn>
                <a:cxn ang="0">
                  <a:pos x="4" y="21"/>
                </a:cxn>
                <a:cxn ang="0">
                  <a:pos x="3" y="23"/>
                </a:cxn>
                <a:cxn ang="0">
                  <a:pos x="3" y="26"/>
                </a:cxn>
                <a:cxn ang="0">
                  <a:pos x="3" y="29"/>
                </a:cxn>
                <a:cxn ang="0">
                  <a:pos x="3" y="31"/>
                </a:cxn>
                <a:cxn ang="0">
                  <a:pos x="3" y="39"/>
                </a:cxn>
                <a:cxn ang="0">
                  <a:pos x="8" y="41"/>
                </a:cxn>
                <a:cxn ang="0">
                  <a:pos x="11" y="42"/>
                </a:cxn>
                <a:cxn ang="0">
                  <a:pos x="11" y="48"/>
                </a:cxn>
                <a:cxn ang="0">
                  <a:pos x="9" y="52"/>
                </a:cxn>
                <a:cxn ang="0">
                  <a:pos x="14" y="54"/>
                </a:cxn>
                <a:cxn ang="0">
                  <a:pos x="26" y="57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9" y="46"/>
                </a:cxn>
                <a:cxn ang="0">
                  <a:pos x="42" y="42"/>
                </a:cxn>
                <a:cxn ang="0">
                  <a:pos x="44" y="38"/>
                </a:cxn>
                <a:cxn ang="0">
                  <a:pos x="51" y="35"/>
                </a:cxn>
                <a:cxn ang="0">
                  <a:pos x="48" y="33"/>
                </a:cxn>
                <a:cxn ang="0">
                  <a:pos x="43" y="32"/>
                </a:cxn>
                <a:cxn ang="0">
                  <a:pos x="39" y="28"/>
                </a:cxn>
                <a:cxn ang="0">
                  <a:pos x="37" y="25"/>
                </a:cxn>
                <a:cxn ang="0">
                  <a:pos x="34" y="24"/>
                </a:cxn>
                <a:cxn ang="0">
                  <a:pos x="32" y="20"/>
                </a:cxn>
                <a:cxn ang="0">
                  <a:pos x="29" y="15"/>
                </a:cxn>
              </a:cxnLst>
              <a:rect l="0" t="0" r="r" b="b"/>
              <a:pathLst>
                <a:path w="51" h="60">
                  <a:moveTo>
                    <a:pt x="29" y="15"/>
                  </a:moveTo>
                  <a:cubicBezTo>
                    <a:pt x="28" y="14"/>
                    <a:pt x="29" y="12"/>
                    <a:pt x="28" y="11"/>
                  </a:cubicBezTo>
                  <a:cubicBezTo>
                    <a:pt x="28" y="9"/>
                    <a:pt x="27" y="8"/>
                    <a:pt x="27" y="6"/>
                  </a:cubicBezTo>
                  <a:cubicBezTo>
                    <a:pt x="27" y="4"/>
                    <a:pt x="27" y="2"/>
                    <a:pt x="28" y="0"/>
                  </a:cubicBezTo>
                  <a:cubicBezTo>
                    <a:pt x="28" y="0"/>
                    <a:pt x="28" y="1"/>
                    <a:pt x="28" y="1"/>
                  </a:cubicBezTo>
                  <a:cubicBezTo>
                    <a:pt x="27" y="1"/>
                    <a:pt x="26" y="1"/>
                    <a:pt x="25" y="1"/>
                  </a:cubicBezTo>
                  <a:cubicBezTo>
                    <a:pt x="24" y="1"/>
                    <a:pt x="23" y="0"/>
                    <a:pt x="21" y="0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8" y="1"/>
                    <a:pt x="17" y="4"/>
                    <a:pt x="17" y="4"/>
                  </a:cubicBezTo>
                  <a:cubicBezTo>
                    <a:pt x="16" y="5"/>
                    <a:pt x="15" y="6"/>
                    <a:pt x="14" y="7"/>
                  </a:cubicBezTo>
                  <a:cubicBezTo>
                    <a:pt x="13" y="8"/>
                    <a:pt x="12" y="8"/>
                    <a:pt x="11" y="9"/>
                  </a:cubicBezTo>
                  <a:cubicBezTo>
                    <a:pt x="10" y="12"/>
                    <a:pt x="12" y="15"/>
                    <a:pt x="9" y="17"/>
                  </a:cubicBezTo>
                  <a:cubicBezTo>
                    <a:pt x="8" y="18"/>
                    <a:pt x="7" y="18"/>
                    <a:pt x="6" y="18"/>
                  </a:cubicBezTo>
                  <a:cubicBezTo>
                    <a:pt x="4" y="19"/>
                    <a:pt x="5" y="19"/>
                    <a:pt x="4" y="21"/>
                  </a:cubicBezTo>
                  <a:cubicBezTo>
                    <a:pt x="4" y="22"/>
                    <a:pt x="3" y="23"/>
                    <a:pt x="3" y="23"/>
                  </a:cubicBezTo>
                  <a:cubicBezTo>
                    <a:pt x="2" y="24"/>
                    <a:pt x="3" y="25"/>
                    <a:pt x="3" y="26"/>
                  </a:cubicBezTo>
                  <a:cubicBezTo>
                    <a:pt x="3" y="27"/>
                    <a:pt x="3" y="28"/>
                    <a:pt x="3" y="29"/>
                  </a:cubicBezTo>
                  <a:cubicBezTo>
                    <a:pt x="3" y="29"/>
                    <a:pt x="4" y="30"/>
                    <a:pt x="3" y="31"/>
                  </a:cubicBezTo>
                  <a:cubicBezTo>
                    <a:pt x="3" y="34"/>
                    <a:pt x="0" y="36"/>
                    <a:pt x="3" y="39"/>
                  </a:cubicBezTo>
                  <a:cubicBezTo>
                    <a:pt x="5" y="41"/>
                    <a:pt x="6" y="41"/>
                    <a:pt x="8" y="41"/>
                  </a:cubicBezTo>
                  <a:cubicBezTo>
                    <a:pt x="10" y="41"/>
                    <a:pt x="10" y="41"/>
                    <a:pt x="11" y="42"/>
                  </a:cubicBezTo>
                  <a:cubicBezTo>
                    <a:pt x="12" y="44"/>
                    <a:pt x="11" y="46"/>
                    <a:pt x="11" y="48"/>
                  </a:cubicBezTo>
                  <a:cubicBezTo>
                    <a:pt x="10" y="49"/>
                    <a:pt x="10" y="51"/>
                    <a:pt x="9" y="52"/>
                  </a:cubicBezTo>
                  <a:cubicBezTo>
                    <a:pt x="11" y="52"/>
                    <a:pt x="12" y="53"/>
                    <a:pt x="14" y="54"/>
                  </a:cubicBezTo>
                  <a:cubicBezTo>
                    <a:pt x="19" y="57"/>
                    <a:pt x="20" y="60"/>
                    <a:pt x="26" y="57"/>
                  </a:cubicBezTo>
                  <a:cubicBezTo>
                    <a:pt x="30" y="54"/>
                    <a:pt x="31" y="56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3"/>
                    <a:pt x="37" y="49"/>
                    <a:pt x="39" y="46"/>
                  </a:cubicBezTo>
                  <a:cubicBezTo>
                    <a:pt x="40" y="44"/>
                    <a:pt x="41" y="43"/>
                    <a:pt x="42" y="42"/>
                  </a:cubicBezTo>
                  <a:cubicBezTo>
                    <a:pt x="42" y="40"/>
                    <a:pt x="43" y="39"/>
                    <a:pt x="44" y="38"/>
                  </a:cubicBezTo>
                  <a:cubicBezTo>
                    <a:pt x="46" y="37"/>
                    <a:pt x="49" y="35"/>
                    <a:pt x="51" y="35"/>
                  </a:cubicBezTo>
                  <a:cubicBezTo>
                    <a:pt x="51" y="33"/>
                    <a:pt x="49" y="33"/>
                    <a:pt x="48" y="33"/>
                  </a:cubicBezTo>
                  <a:cubicBezTo>
                    <a:pt x="46" y="33"/>
                    <a:pt x="45" y="33"/>
                    <a:pt x="43" y="32"/>
                  </a:cubicBezTo>
                  <a:cubicBezTo>
                    <a:pt x="42" y="31"/>
                    <a:pt x="40" y="30"/>
                    <a:pt x="39" y="28"/>
                  </a:cubicBezTo>
                  <a:cubicBezTo>
                    <a:pt x="38" y="27"/>
                    <a:pt x="37" y="26"/>
                    <a:pt x="37" y="25"/>
                  </a:cubicBezTo>
                  <a:cubicBezTo>
                    <a:pt x="36" y="24"/>
                    <a:pt x="35" y="24"/>
                    <a:pt x="34" y="24"/>
                  </a:cubicBezTo>
                  <a:cubicBezTo>
                    <a:pt x="32" y="23"/>
                    <a:pt x="32" y="21"/>
                    <a:pt x="32" y="20"/>
                  </a:cubicBezTo>
                  <a:cubicBezTo>
                    <a:pt x="31" y="18"/>
                    <a:pt x="30" y="17"/>
                    <a:pt x="29" y="1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39" name="Freeform 11">
              <a:extLst>
                <a:ext uri="{FF2B5EF4-FFF2-40B4-BE49-F238E27FC236}">
                  <a16:creationId xmlns:a16="http://schemas.microsoft.com/office/drawing/2014/main" id="{20EE77E6-60B8-4242-8C3E-93D661B3A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4000" y="4889500"/>
              <a:ext cx="452438" cy="293688"/>
            </a:xfrm>
            <a:custGeom>
              <a:avLst/>
              <a:gdLst/>
              <a:ahLst/>
              <a:cxnLst>
                <a:cxn ang="0">
                  <a:pos x="231" y="65"/>
                </a:cxn>
                <a:cxn ang="0">
                  <a:pos x="214" y="71"/>
                </a:cxn>
                <a:cxn ang="0">
                  <a:pos x="204" y="60"/>
                </a:cxn>
                <a:cxn ang="0">
                  <a:pos x="194" y="60"/>
                </a:cxn>
                <a:cxn ang="0">
                  <a:pos x="186" y="51"/>
                </a:cxn>
                <a:cxn ang="0">
                  <a:pos x="183" y="47"/>
                </a:cxn>
                <a:cxn ang="0">
                  <a:pos x="186" y="39"/>
                </a:cxn>
                <a:cxn ang="0">
                  <a:pos x="192" y="36"/>
                </a:cxn>
                <a:cxn ang="0">
                  <a:pos x="195" y="30"/>
                </a:cxn>
                <a:cxn ang="0">
                  <a:pos x="197" y="18"/>
                </a:cxn>
                <a:cxn ang="0">
                  <a:pos x="188" y="17"/>
                </a:cxn>
                <a:cxn ang="0">
                  <a:pos x="174" y="10"/>
                </a:cxn>
                <a:cxn ang="0">
                  <a:pos x="161" y="9"/>
                </a:cxn>
                <a:cxn ang="0">
                  <a:pos x="145" y="1"/>
                </a:cxn>
                <a:cxn ang="0">
                  <a:pos x="133" y="1"/>
                </a:cxn>
                <a:cxn ang="0">
                  <a:pos x="121" y="8"/>
                </a:cxn>
                <a:cxn ang="0">
                  <a:pos x="110" y="18"/>
                </a:cxn>
                <a:cxn ang="0">
                  <a:pos x="94" y="17"/>
                </a:cxn>
                <a:cxn ang="0">
                  <a:pos x="90" y="21"/>
                </a:cxn>
                <a:cxn ang="0">
                  <a:pos x="51" y="27"/>
                </a:cxn>
                <a:cxn ang="0">
                  <a:pos x="39" y="56"/>
                </a:cxn>
                <a:cxn ang="0">
                  <a:pos x="8" y="90"/>
                </a:cxn>
                <a:cxn ang="0">
                  <a:pos x="5" y="118"/>
                </a:cxn>
                <a:cxn ang="0">
                  <a:pos x="41" y="118"/>
                </a:cxn>
                <a:cxn ang="0">
                  <a:pos x="46" y="130"/>
                </a:cxn>
                <a:cxn ang="0">
                  <a:pos x="52" y="144"/>
                </a:cxn>
                <a:cxn ang="0">
                  <a:pos x="57" y="153"/>
                </a:cxn>
                <a:cxn ang="0">
                  <a:pos x="68" y="151"/>
                </a:cxn>
                <a:cxn ang="0">
                  <a:pos x="88" y="145"/>
                </a:cxn>
                <a:cxn ang="0">
                  <a:pos x="108" y="135"/>
                </a:cxn>
                <a:cxn ang="0">
                  <a:pos x="113" y="129"/>
                </a:cxn>
                <a:cxn ang="0">
                  <a:pos x="119" y="114"/>
                </a:cxn>
                <a:cxn ang="0">
                  <a:pos x="127" y="120"/>
                </a:cxn>
                <a:cxn ang="0">
                  <a:pos x="138" y="133"/>
                </a:cxn>
                <a:cxn ang="0">
                  <a:pos x="148" y="137"/>
                </a:cxn>
                <a:cxn ang="0">
                  <a:pos x="147" y="143"/>
                </a:cxn>
                <a:cxn ang="0">
                  <a:pos x="158" y="156"/>
                </a:cxn>
                <a:cxn ang="0">
                  <a:pos x="157" y="147"/>
                </a:cxn>
                <a:cxn ang="0">
                  <a:pos x="163" y="134"/>
                </a:cxn>
                <a:cxn ang="0">
                  <a:pos x="174" y="121"/>
                </a:cxn>
                <a:cxn ang="0">
                  <a:pos x="173" y="106"/>
                </a:cxn>
                <a:cxn ang="0">
                  <a:pos x="185" y="111"/>
                </a:cxn>
                <a:cxn ang="0">
                  <a:pos x="196" y="118"/>
                </a:cxn>
                <a:cxn ang="0">
                  <a:pos x="209" y="115"/>
                </a:cxn>
                <a:cxn ang="0">
                  <a:pos x="223" y="123"/>
                </a:cxn>
                <a:cxn ang="0">
                  <a:pos x="222" y="109"/>
                </a:cxn>
                <a:cxn ang="0">
                  <a:pos x="220" y="97"/>
                </a:cxn>
                <a:cxn ang="0">
                  <a:pos x="236" y="98"/>
                </a:cxn>
                <a:cxn ang="0">
                  <a:pos x="238" y="91"/>
                </a:cxn>
                <a:cxn ang="0">
                  <a:pos x="240" y="71"/>
                </a:cxn>
              </a:cxnLst>
              <a:rect l="0" t="0" r="r" b="b"/>
              <a:pathLst>
                <a:path w="242" h="157">
                  <a:moveTo>
                    <a:pt x="240" y="71"/>
                  </a:moveTo>
                  <a:cubicBezTo>
                    <a:pt x="240" y="69"/>
                    <a:pt x="240" y="67"/>
                    <a:pt x="238" y="65"/>
                  </a:cubicBezTo>
                  <a:cubicBezTo>
                    <a:pt x="237" y="64"/>
                    <a:pt x="234" y="62"/>
                    <a:pt x="233" y="62"/>
                  </a:cubicBezTo>
                  <a:cubicBezTo>
                    <a:pt x="232" y="63"/>
                    <a:pt x="232" y="64"/>
                    <a:pt x="231" y="65"/>
                  </a:cubicBezTo>
                  <a:cubicBezTo>
                    <a:pt x="230" y="65"/>
                    <a:pt x="229" y="65"/>
                    <a:pt x="228" y="66"/>
                  </a:cubicBezTo>
                  <a:cubicBezTo>
                    <a:pt x="226" y="67"/>
                    <a:pt x="227" y="69"/>
                    <a:pt x="226" y="70"/>
                  </a:cubicBezTo>
                  <a:cubicBezTo>
                    <a:pt x="225" y="72"/>
                    <a:pt x="225" y="73"/>
                    <a:pt x="222" y="73"/>
                  </a:cubicBezTo>
                  <a:cubicBezTo>
                    <a:pt x="219" y="73"/>
                    <a:pt x="217" y="72"/>
                    <a:pt x="214" y="71"/>
                  </a:cubicBezTo>
                  <a:cubicBezTo>
                    <a:pt x="213" y="71"/>
                    <a:pt x="212" y="70"/>
                    <a:pt x="212" y="69"/>
                  </a:cubicBezTo>
                  <a:cubicBezTo>
                    <a:pt x="211" y="69"/>
                    <a:pt x="210" y="69"/>
                    <a:pt x="210" y="68"/>
                  </a:cubicBezTo>
                  <a:cubicBezTo>
                    <a:pt x="208" y="67"/>
                    <a:pt x="208" y="66"/>
                    <a:pt x="208" y="64"/>
                  </a:cubicBezTo>
                  <a:cubicBezTo>
                    <a:pt x="208" y="61"/>
                    <a:pt x="206" y="61"/>
                    <a:pt x="204" y="60"/>
                  </a:cubicBezTo>
                  <a:cubicBezTo>
                    <a:pt x="204" y="60"/>
                    <a:pt x="204" y="60"/>
                    <a:pt x="203" y="59"/>
                  </a:cubicBezTo>
                  <a:cubicBezTo>
                    <a:pt x="203" y="59"/>
                    <a:pt x="202" y="59"/>
                    <a:pt x="201" y="59"/>
                  </a:cubicBezTo>
                  <a:cubicBezTo>
                    <a:pt x="200" y="60"/>
                    <a:pt x="200" y="60"/>
                    <a:pt x="198" y="60"/>
                  </a:cubicBezTo>
                  <a:cubicBezTo>
                    <a:pt x="197" y="60"/>
                    <a:pt x="195" y="60"/>
                    <a:pt x="194" y="60"/>
                  </a:cubicBezTo>
                  <a:cubicBezTo>
                    <a:pt x="193" y="60"/>
                    <a:pt x="192" y="60"/>
                    <a:pt x="191" y="60"/>
                  </a:cubicBezTo>
                  <a:cubicBezTo>
                    <a:pt x="190" y="60"/>
                    <a:pt x="189" y="60"/>
                    <a:pt x="188" y="60"/>
                  </a:cubicBezTo>
                  <a:cubicBezTo>
                    <a:pt x="185" y="59"/>
                    <a:pt x="183" y="60"/>
                    <a:pt x="183" y="57"/>
                  </a:cubicBezTo>
                  <a:cubicBezTo>
                    <a:pt x="182" y="53"/>
                    <a:pt x="184" y="53"/>
                    <a:pt x="186" y="51"/>
                  </a:cubicBezTo>
                  <a:cubicBezTo>
                    <a:pt x="186" y="51"/>
                    <a:pt x="187" y="51"/>
                    <a:pt x="187" y="50"/>
                  </a:cubicBezTo>
                  <a:cubicBezTo>
                    <a:pt x="187" y="50"/>
                    <a:pt x="186" y="50"/>
                    <a:pt x="186" y="50"/>
                  </a:cubicBezTo>
                  <a:cubicBezTo>
                    <a:pt x="185" y="50"/>
                    <a:pt x="185" y="50"/>
                    <a:pt x="184" y="49"/>
                  </a:cubicBezTo>
                  <a:cubicBezTo>
                    <a:pt x="183" y="49"/>
                    <a:pt x="183" y="48"/>
                    <a:pt x="183" y="47"/>
                  </a:cubicBezTo>
                  <a:cubicBezTo>
                    <a:pt x="183" y="47"/>
                    <a:pt x="183" y="46"/>
                    <a:pt x="183" y="45"/>
                  </a:cubicBezTo>
                  <a:cubicBezTo>
                    <a:pt x="183" y="44"/>
                    <a:pt x="184" y="44"/>
                    <a:pt x="184" y="43"/>
                  </a:cubicBezTo>
                  <a:cubicBezTo>
                    <a:pt x="184" y="42"/>
                    <a:pt x="185" y="42"/>
                    <a:pt x="185" y="41"/>
                  </a:cubicBezTo>
                  <a:cubicBezTo>
                    <a:pt x="186" y="40"/>
                    <a:pt x="186" y="40"/>
                    <a:pt x="186" y="39"/>
                  </a:cubicBezTo>
                  <a:cubicBezTo>
                    <a:pt x="187" y="38"/>
                    <a:pt x="187" y="38"/>
                    <a:pt x="188" y="38"/>
                  </a:cubicBezTo>
                  <a:cubicBezTo>
                    <a:pt x="188" y="37"/>
                    <a:pt x="189" y="37"/>
                    <a:pt x="189" y="36"/>
                  </a:cubicBezTo>
                  <a:cubicBezTo>
                    <a:pt x="189" y="36"/>
                    <a:pt x="192" y="35"/>
                    <a:pt x="192" y="35"/>
                  </a:cubicBezTo>
                  <a:cubicBezTo>
                    <a:pt x="192" y="36"/>
                    <a:pt x="192" y="36"/>
                    <a:pt x="192" y="36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4" y="36"/>
                    <a:pt x="196" y="36"/>
                    <a:pt x="196" y="35"/>
                  </a:cubicBezTo>
                  <a:cubicBezTo>
                    <a:pt x="197" y="34"/>
                    <a:pt x="196" y="33"/>
                    <a:pt x="196" y="33"/>
                  </a:cubicBezTo>
                  <a:cubicBezTo>
                    <a:pt x="195" y="32"/>
                    <a:pt x="195" y="31"/>
                    <a:pt x="195" y="30"/>
                  </a:cubicBezTo>
                  <a:cubicBezTo>
                    <a:pt x="195" y="28"/>
                    <a:pt x="195" y="26"/>
                    <a:pt x="195" y="24"/>
                  </a:cubicBezTo>
                  <a:cubicBezTo>
                    <a:pt x="195" y="23"/>
                    <a:pt x="196" y="22"/>
                    <a:pt x="196" y="20"/>
                  </a:cubicBezTo>
                  <a:cubicBezTo>
                    <a:pt x="197" y="19"/>
                    <a:pt x="198" y="19"/>
                    <a:pt x="198" y="18"/>
                  </a:cubicBezTo>
                  <a:cubicBezTo>
                    <a:pt x="198" y="18"/>
                    <a:pt x="197" y="18"/>
                    <a:pt x="197" y="18"/>
                  </a:cubicBezTo>
                  <a:cubicBezTo>
                    <a:pt x="196" y="18"/>
                    <a:pt x="195" y="18"/>
                    <a:pt x="195" y="18"/>
                  </a:cubicBezTo>
                  <a:cubicBezTo>
                    <a:pt x="195" y="18"/>
                    <a:pt x="195" y="17"/>
                    <a:pt x="194" y="17"/>
                  </a:cubicBezTo>
                  <a:cubicBezTo>
                    <a:pt x="193" y="17"/>
                    <a:pt x="191" y="17"/>
                    <a:pt x="190" y="17"/>
                  </a:cubicBezTo>
                  <a:cubicBezTo>
                    <a:pt x="189" y="17"/>
                    <a:pt x="189" y="17"/>
                    <a:pt x="188" y="17"/>
                  </a:cubicBezTo>
                  <a:cubicBezTo>
                    <a:pt x="186" y="16"/>
                    <a:pt x="184" y="16"/>
                    <a:pt x="182" y="15"/>
                  </a:cubicBezTo>
                  <a:cubicBezTo>
                    <a:pt x="181" y="15"/>
                    <a:pt x="180" y="15"/>
                    <a:pt x="179" y="13"/>
                  </a:cubicBezTo>
                  <a:cubicBezTo>
                    <a:pt x="178" y="13"/>
                    <a:pt x="178" y="13"/>
                    <a:pt x="178" y="12"/>
                  </a:cubicBezTo>
                  <a:cubicBezTo>
                    <a:pt x="177" y="12"/>
                    <a:pt x="175" y="11"/>
                    <a:pt x="174" y="10"/>
                  </a:cubicBezTo>
                  <a:cubicBezTo>
                    <a:pt x="173" y="10"/>
                    <a:pt x="172" y="9"/>
                    <a:pt x="171" y="8"/>
                  </a:cubicBezTo>
                  <a:cubicBezTo>
                    <a:pt x="170" y="7"/>
                    <a:pt x="171" y="7"/>
                    <a:pt x="169" y="7"/>
                  </a:cubicBezTo>
                  <a:cubicBezTo>
                    <a:pt x="168" y="7"/>
                    <a:pt x="167" y="7"/>
                    <a:pt x="166" y="8"/>
                  </a:cubicBezTo>
                  <a:cubicBezTo>
                    <a:pt x="164" y="8"/>
                    <a:pt x="163" y="9"/>
                    <a:pt x="161" y="9"/>
                  </a:cubicBezTo>
                  <a:cubicBezTo>
                    <a:pt x="159" y="9"/>
                    <a:pt x="157" y="8"/>
                    <a:pt x="155" y="7"/>
                  </a:cubicBezTo>
                  <a:cubicBezTo>
                    <a:pt x="154" y="6"/>
                    <a:pt x="154" y="5"/>
                    <a:pt x="153" y="5"/>
                  </a:cubicBezTo>
                  <a:cubicBezTo>
                    <a:pt x="152" y="4"/>
                    <a:pt x="149" y="3"/>
                    <a:pt x="147" y="2"/>
                  </a:cubicBezTo>
                  <a:cubicBezTo>
                    <a:pt x="147" y="1"/>
                    <a:pt x="146" y="1"/>
                    <a:pt x="145" y="1"/>
                  </a:cubicBezTo>
                  <a:cubicBezTo>
                    <a:pt x="145" y="1"/>
                    <a:pt x="144" y="1"/>
                    <a:pt x="143" y="1"/>
                  </a:cubicBezTo>
                  <a:cubicBezTo>
                    <a:pt x="143" y="1"/>
                    <a:pt x="142" y="0"/>
                    <a:pt x="141" y="0"/>
                  </a:cubicBezTo>
                  <a:cubicBezTo>
                    <a:pt x="141" y="0"/>
                    <a:pt x="140" y="0"/>
                    <a:pt x="139" y="0"/>
                  </a:cubicBezTo>
                  <a:cubicBezTo>
                    <a:pt x="137" y="0"/>
                    <a:pt x="134" y="0"/>
                    <a:pt x="133" y="1"/>
                  </a:cubicBezTo>
                  <a:cubicBezTo>
                    <a:pt x="131" y="3"/>
                    <a:pt x="129" y="6"/>
                    <a:pt x="129" y="8"/>
                  </a:cubicBezTo>
                  <a:cubicBezTo>
                    <a:pt x="129" y="11"/>
                    <a:pt x="129" y="14"/>
                    <a:pt x="126" y="14"/>
                  </a:cubicBezTo>
                  <a:cubicBezTo>
                    <a:pt x="124" y="14"/>
                    <a:pt x="124" y="13"/>
                    <a:pt x="123" y="12"/>
                  </a:cubicBezTo>
                  <a:cubicBezTo>
                    <a:pt x="122" y="11"/>
                    <a:pt x="123" y="9"/>
                    <a:pt x="121" y="8"/>
                  </a:cubicBezTo>
                  <a:cubicBezTo>
                    <a:pt x="120" y="8"/>
                    <a:pt x="119" y="10"/>
                    <a:pt x="118" y="11"/>
                  </a:cubicBezTo>
                  <a:cubicBezTo>
                    <a:pt x="118" y="12"/>
                    <a:pt x="118" y="12"/>
                    <a:pt x="118" y="13"/>
                  </a:cubicBezTo>
                  <a:cubicBezTo>
                    <a:pt x="118" y="15"/>
                    <a:pt x="117" y="15"/>
                    <a:pt x="116" y="15"/>
                  </a:cubicBezTo>
                  <a:cubicBezTo>
                    <a:pt x="114" y="16"/>
                    <a:pt x="113" y="18"/>
                    <a:pt x="110" y="18"/>
                  </a:cubicBezTo>
                  <a:cubicBezTo>
                    <a:pt x="110" y="18"/>
                    <a:pt x="109" y="17"/>
                    <a:pt x="108" y="17"/>
                  </a:cubicBezTo>
                  <a:cubicBezTo>
                    <a:pt x="107" y="17"/>
                    <a:pt x="105" y="17"/>
                    <a:pt x="104" y="18"/>
                  </a:cubicBezTo>
                  <a:cubicBezTo>
                    <a:pt x="102" y="19"/>
                    <a:pt x="100" y="19"/>
                    <a:pt x="97" y="18"/>
                  </a:cubicBezTo>
                  <a:cubicBezTo>
                    <a:pt x="96" y="18"/>
                    <a:pt x="95" y="18"/>
                    <a:pt x="94" y="17"/>
                  </a:cubicBezTo>
                  <a:cubicBezTo>
                    <a:pt x="94" y="17"/>
                    <a:pt x="94" y="17"/>
                    <a:pt x="93" y="17"/>
                  </a:cubicBezTo>
                  <a:cubicBezTo>
                    <a:pt x="93" y="16"/>
                    <a:pt x="93" y="16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7"/>
                    <a:pt x="93" y="19"/>
                    <a:pt x="90" y="21"/>
                  </a:cubicBezTo>
                  <a:cubicBezTo>
                    <a:pt x="87" y="23"/>
                    <a:pt x="83" y="25"/>
                    <a:pt x="80" y="26"/>
                  </a:cubicBezTo>
                  <a:cubicBezTo>
                    <a:pt x="78" y="27"/>
                    <a:pt x="77" y="27"/>
                    <a:pt x="75" y="27"/>
                  </a:cubicBezTo>
                  <a:cubicBezTo>
                    <a:pt x="69" y="27"/>
                    <a:pt x="64" y="30"/>
                    <a:pt x="58" y="29"/>
                  </a:cubicBezTo>
                  <a:cubicBezTo>
                    <a:pt x="56" y="28"/>
                    <a:pt x="54" y="27"/>
                    <a:pt x="51" y="27"/>
                  </a:cubicBezTo>
                  <a:cubicBezTo>
                    <a:pt x="40" y="28"/>
                    <a:pt x="58" y="37"/>
                    <a:pt x="52" y="42"/>
                  </a:cubicBezTo>
                  <a:cubicBezTo>
                    <a:pt x="50" y="44"/>
                    <a:pt x="49" y="43"/>
                    <a:pt x="47" y="44"/>
                  </a:cubicBezTo>
                  <a:cubicBezTo>
                    <a:pt x="47" y="45"/>
                    <a:pt x="46" y="47"/>
                    <a:pt x="46" y="47"/>
                  </a:cubicBezTo>
                  <a:cubicBezTo>
                    <a:pt x="44" y="51"/>
                    <a:pt x="42" y="53"/>
                    <a:pt x="39" y="56"/>
                  </a:cubicBezTo>
                  <a:cubicBezTo>
                    <a:pt x="34" y="62"/>
                    <a:pt x="30" y="69"/>
                    <a:pt x="23" y="74"/>
                  </a:cubicBezTo>
                  <a:cubicBezTo>
                    <a:pt x="22" y="75"/>
                    <a:pt x="20" y="76"/>
                    <a:pt x="19" y="78"/>
                  </a:cubicBezTo>
                  <a:cubicBezTo>
                    <a:pt x="17" y="80"/>
                    <a:pt x="17" y="82"/>
                    <a:pt x="15" y="83"/>
                  </a:cubicBezTo>
                  <a:cubicBezTo>
                    <a:pt x="13" y="86"/>
                    <a:pt x="11" y="88"/>
                    <a:pt x="8" y="90"/>
                  </a:cubicBezTo>
                  <a:cubicBezTo>
                    <a:pt x="6" y="93"/>
                    <a:pt x="6" y="95"/>
                    <a:pt x="6" y="98"/>
                  </a:cubicBezTo>
                  <a:cubicBezTo>
                    <a:pt x="6" y="100"/>
                    <a:pt x="7" y="104"/>
                    <a:pt x="6" y="105"/>
                  </a:cubicBezTo>
                  <a:cubicBezTo>
                    <a:pt x="5" y="107"/>
                    <a:pt x="3" y="106"/>
                    <a:pt x="2" y="108"/>
                  </a:cubicBezTo>
                  <a:cubicBezTo>
                    <a:pt x="0" y="111"/>
                    <a:pt x="3" y="117"/>
                    <a:pt x="5" y="118"/>
                  </a:cubicBezTo>
                  <a:cubicBezTo>
                    <a:pt x="8" y="119"/>
                    <a:pt x="11" y="118"/>
                    <a:pt x="13" y="117"/>
                  </a:cubicBezTo>
                  <a:cubicBezTo>
                    <a:pt x="18" y="115"/>
                    <a:pt x="22" y="112"/>
                    <a:pt x="27" y="112"/>
                  </a:cubicBezTo>
                  <a:cubicBezTo>
                    <a:pt x="31" y="112"/>
                    <a:pt x="35" y="115"/>
                    <a:pt x="38" y="117"/>
                  </a:cubicBezTo>
                  <a:cubicBezTo>
                    <a:pt x="38" y="117"/>
                    <a:pt x="40" y="118"/>
                    <a:pt x="41" y="118"/>
                  </a:cubicBezTo>
                  <a:cubicBezTo>
                    <a:pt x="42" y="118"/>
                    <a:pt x="43" y="119"/>
                    <a:pt x="44" y="119"/>
                  </a:cubicBezTo>
                  <a:cubicBezTo>
                    <a:pt x="45" y="121"/>
                    <a:pt x="44" y="123"/>
                    <a:pt x="45" y="125"/>
                  </a:cubicBezTo>
                  <a:cubicBezTo>
                    <a:pt x="45" y="125"/>
                    <a:pt x="46" y="126"/>
                    <a:pt x="46" y="126"/>
                  </a:cubicBezTo>
                  <a:cubicBezTo>
                    <a:pt x="46" y="127"/>
                    <a:pt x="46" y="129"/>
                    <a:pt x="46" y="130"/>
                  </a:cubicBezTo>
                  <a:cubicBezTo>
                    <a:pt x="46" y="132"/>
                    <a:pt x="46" y="134"/>
                    <a:pt x="47" y="136"/>
                  </a:cubicBezTo>
                  <a:cubicBezTo>
                    <a:pt x="47" y="137"/>
                    <a:pt x="48" y="138"/>
                    <a:pt x="49" y="139"/>
                  </a:cubicBezTo>
                  <a:cubicBezTo>
                    <a:pt x="49" y="140"/>
                    <a:pt x="50" y="141"/>
                    <a:pt x="50" y="141"/>
                  </a:cubicBezTo>
                  <a:cubicBezTo>
                    <a:pt x="51" y="143"/>
                    <a:pt x="51" y="143"/>
                    <a:pt x="52" y="144"/>
                  </a:cubicBezTo>
                  <a:cubicBezTo>
                    <a:pt x="52" y="145"/>
                    <a:pt x="53" y="145"/>
                    <a:pt x="53" y="147"/>
                  </a:cubicBezTo>
                  <a:cubicBezTo>
                    <a:pt x="53" y="147"/>
                    <a:pt x="53" y="149"/>
                    <a:pt x="53" y="150"/>
                  </a:cubicBezTo>
                  <a:cubicBezTo>
                    <a:pt x="53" y="151"/>
                    <a:pt x="51" y="152"/>
                    <a:pt x="51" y="153"/>
                  </a:cubicBezTo>
                  <a:cubicBezTo>
                    <a:pt x="53" y="154"/>
                    <a:pt x="55" y="153"/>
                    <a:pt x="57" y="153"/>
                  </a:cubicBezTo>
                  <a:cubicBezTo>
                    <a:pt x="58" y="153"/>
                    <a:pt x="59" y="154"/>
                    <a:pt x="60" y="154"/>
                  </a:cubicBezTo>
                  <a:cubicBezTo>
                    <a:pt x="61" y="154"/>
                    <a:pt x="62" y="154"/>
                    <a:pt x="63" y="153"/>
                  </a:cubicBezTo>
                  <a:cubicBezTo>
                    <a:pt x="63" y="153"/>
                    <a:pt x="65" y="153"/>
                    <a:pt x="66" y="153"/>
                  </a:cubicBezTo>
                  <a:cubicBezTo>
                    <a:pt x="67" y="152"/>
                    <a:pt x="67" y="151"/>
                    <a:pt x="68" y="151"/>
                  </a:cubicBezTo>
                  <a:cubicBezTo>
                    <a:pt x="71" y="150"/>
                    <a:pt x="74" y="150"/>
                    <a:pt x="77" y="149"/>
                  </a:cubicBezTo>
                  <a:cubicBezTo>
                    <a:pt x="79" y="149"/>
                    <a:pt x="80" y="148"/>
                    <a:pt x="81" y="147"/>
                  </a:cubicBezTo>
                  <a:cubicBezTo>
                    <a:pt x="82" y="145"/>
                    <a:pt x="82" y="144"/>
                    <a:pt x="84" y="143"/>
                  </a:cubicBezTo>
                  <a:cubicBezTo>
                    <a:pt x="85" y="143"/>
                    <a:pt x="86" y="144"/>
                    <a:pt x="88" y="145"/>
                  </a:cubicBezTo>
                  <a:cubicBezTo>
                    <a:pt x="91" y="146"/>
                    <a:pt x="95" y="149"/>
                    <a:pt x="99" y="147"/>
                  </a:cubicBezTo>
                  <a:cubicBezTo>
                    <a:pt x="100" y="146"/>
                    <a:pt x="100" y="145"/>
                    <a:pt x="102" y="144"/>
                  </a:cubicBezTo>
                  <a:cubicBezTo>
                    <a:pt x="103" y="143"/>
                    <a:pt x="105" y="142"/>
                    <a:pt x="105" y="140"/>
                  </a:cubicBezTo>
                  <a:cubicBezTo>
                    <a:pt x="106" y="139"/>
                    <a:pt x="106" y="136"/>
                    <a:pt x="108" y="135"/>
                  </a:cubicBezTo>
                  <a:cubicBezTo>
                    <a:pt x="109" y="135"/>
                    <a:pt x="110" y="135"/>
                    <a:pt x="110" y="135"/>
                  </a:cubicBezTo>
                  <a:cubicBezTo>
                    <a:pt x="110" y="135"/>
                    <a:pt x="111" y="134"/>
                    <a:pt x="111" y="134"/>
                  </a:cubicBezTo>
                  <a:cubicBezTo>
                    <a:pt x="113" y="133"/>
                    <a:pt x="113" y="133"/>
                    <a:pt x="113" y="132"/>
                  </a:cubicBezTo>
                  <a:cubicBezTo>
                    <a:pt x="113" y="131"/>
                    <a:pt x="113" y="130"/>
                    <a:pt x="113" y="129"/>
                  </a:cubicBezTo>
                  <a:cubicBezTo>
                    <a:pt x="112" y="127"/>
                    <a:pt x="111" y="128"/>
                    <a:pt x="110" y="127"/>
                  </a:cubicBezTo>
                  <a:cubicBezTo>
                    <a:pt x="109" y="125"/>
                    <a:pt x="109" y="123"/>
                    <a:pt x="111" y="122"/>
                  </a:cubicBezTo>
                  <a:cubicBezTo>
                    <a:pt x="113" y="120"/>
                    <a:pt x="115" y="120"/>
                    <a:pt x="117" y="119"/>
                  </a:cubicBezTo>
                  <a:cubicBezTo>
                    <a:pt x="118" y="118"/>
                    <a:pt x="119" y="116"/>
                    <a:pt x="119" y="114"/>
                  </a:cubicBezTo>
                  <a:cubicBezTo>
                    <a:pt x="120" y="112"/>
                    <a:pt x="120" y="109"/>
                    <a:pt x="123" y="110"/>
                  </a:cubicBezTo>
                  <a:cubicBezTo>
                    <a:pt x="125" y="111"/>
                    <a:pt x="127" y="113"/>
                    <a:pt x="127" y="115"/>
                  </a:cubicBezTo>
                  <a:cubicBezTo>
                    <a:pt x="127" y="116"/>
                    <a:pt x="127" y="117"/>
                    <a:pt x="127" y="118"/>
                  </a:cubicBezTo>
                  <a:cubicBezTo>
                    <a:pt x="127" y="118"/>
                    <a:pt x="127" y="120"/>
                    <a:pt x="127" y="120"/>
                  </a:cubicBezTo>
                  <a:cubicBezTo>
                    <a:pt x="127" y="121"/>
                    <a:pt x="128" y="121"/>
                    <a:pt x="128" y="122"/>
                  </a:cubicBezTo>
                  <a:cubicBezTo>
                    <a:pt x="129" y="123"/>
                    <a:pt x="130" y="124"/>
                    <a:pt x="131" y="125"/>
                  </a:cubicBezTo>
                  <a:cubicBezTo>
                    <a:pt x="132" y="126"/>
                    <a:pt x="133" y="128"/>
                    <a:pt x="134" y="130"/>
                  </a:cubicBezTo>
                  <a:cubicBezTo>
                    <a:pt x="135" y="132"/>
                    <a:pt x="136" y="133"/>
                    <a:pt x="138" y="133"/>
                  </a:cubicBezTo>
                  <a:cubicBezTo>
                    <a:pt x="139" y="134"/>
                    <a:pt x="140" y="134"/>
                    <a:pt x="141" y="134"/>
                  </a:cubicBezTo>
                  <a:cubicBezTo>
                    <a:pt x="142" y="134"/>
                    <a:pt x="142" y="135"/>
                    <a:pt x="142" y="135"/>
                  </a:cubicBezTo>
                  <a:cubicBezTo>
                    <a:pt x="143" y="135"/>
                    <a:pt x="144" y="135"/>
                    <a:pt x="144" y="135"/>
                  </a:cubicBezTo>
                  <a:cubicBezTo>
                    <a:pt x="146" y="135"/>
                    <a:pt x="147" y="136"/>
                    <a:pt x="148" y="137"/>
                  </a:cubicBezTo>
                  <a:cubicBezTo>
                    <a:pt x="149" y="137"/>
                    <a:pt x="149" y="137"/>
                    <a:pt x="150" y="138"/>
                  </a:cubicBezTo>
                  <a:cubicBezTo>
                    <a:pt x="150" y="139"/>
                    <a:pt x="148" y="140"/>
                    <a:pt x="148" y="141"/>
                  </a:cubicBezTo>
                  <a:cubicBezTo>
                    <a:pt x="148" y="141"/>
                    <a:pt x="148" y="142"/>
                    <a:pt x="148" y="142"/>
                  </a:cubicBezTo>
                  <a:cubicBezTo>
                    <a:pt x="148" y="142"/>
                    <a:pt x="147" y="143"/>
                    <a:pt x="147" y="143"/>
                  </a:cubicBezTo>
                  <a:cubicBezTo>
                    <a:pt x="147" y="143"/>
                    <a:pt x="147" y="144"/>
                    <a:pt x="147" y="145"/>
                  </a:cubicBezTo>
                  <a:cubicBezTo>
                    <a:pt x="149" y="145"/>
                    <a:pt x="151" y="145"/>
                    <a:pt x="152" y="147"/>
                  </a:cubicBezTo>
                  <a:cubicBezTo>
                    <a:pt x="153" y="149"/>
                    <a:pt x="153" y="152"/>
                    <a:pt x="153" y="154"/>
                  </a:cubicBezTo>
                  <a:cubicBezTo>
                    <a:pt x="154" y="156"/>
                    <a:pt x="157" y="156"/>
                    <a:pt x="158" y="156"/>
                  </a:cubicBezTo>
                  <a:cubicBezTo>
                    <a:pt x="161" y="157"/>
                    <a:pt x="162" y="156"/>
                    <a:pt x="163" y="153"/>
                  </a:cubicBezTo>
                  <a:cubicBezTo>
                    <a:pt x="163" y="152"/>
                    <a:pt x="164" y="151"/>
                    <a:pt x="162" y="150"/>
                  </a:cubicBezTo>
                  <a:cubicBezTo>
                    <a:pt x="162" y="149"/>
                    <a:pt x="161" y="149"/>
                    <a:pt x="160" y="148"/>
                  </a:cubicBezTo>
                  <a:cubicBezTo>
                    <a:pt x="160" y="148"/>
                    <a:pt x="158" y="148"/>
                    <a:pt x="157" y="147"/>
                  </a:cubicBezTo>
                  <a:cubicBezTo>
                    <a:pt x="157" y="147"/>
                    <a:pt x="157" y="144"/>
                    <a:pt x="157" y="143"/>
                  </a:cubicBezTo>
                  <a:cubicBezTo>
                    <a:pt x="158" y="143"/>
                    <a:pt x="159" y="142"/>
                    <a:pt x="159" y="141"/>
                  </a:cubicBezTo>
                  <a:cubicBezTo>
                    <a:pt x="160" y="140"/>
                    <a:pt x="160" y="140"/>
                    <a:pt x="160" y="139"/>
                  </a:cubicBezTo>
                  <a:cubicBezTo>
                    <a:pt x="161" y="137"/>
                    <a:pt x="163" y="136"/>
                    <a:pt x="163" y="134"/>
                  </a:cubicBezTo>
                  <a:cubicBezTo>
                    <a:pt x="164" y="132"/>
                    <a:pt x="164" y="130"/>
                    <a:pt x="166" y="129"/>
                  </a:cubicBezTo>
                  <a:cubicBezTo>
                    <a:pt x="168" y="128"/>
                    <a:pt x="169" y="127"/>
                    <a:pt x="171" y="126"/>
                  </a:cubicBezTo>
                  <a:cubicBezTo>
                    <a:pt x="171" y="125"/>
                    <a:pt x="171" y="125"/>
                    <a:pt x="172" y="124"/>
                  </a:cubicBezTo>
                  <a:cubicBezTo>
                    <a:pt x="173" y="123"/>
                    <a:pt x="174" y="122"/>
                    <a:pt x="174" y="121"/>
                  </a:cubicBezTo>
                  <a:cubicBezTo>
                    <a:pt x="175" y="120"/>
                    <a:pt x="175" y="118"/>
                    <a:pt x="175" y="117"/>
                  </a:cubicBezTo>
                  <a:cubicBezTo>
                    <a:pt x="174" y="116"/>
                    <a:pt x="174" y="115"/>
                    <a:pt x="173" y="114"/>
                  </a:cubicBezTo>
                  <a:cubicBezTo>
                    <a:pt x="172" y="113"/>
                    <a:pt x="171" y="110"/>
                    <a:pt x="172" y="108"/>
                  </a:cubicBezTo>
                  <a:cubicBezTo>
                    <a:pt x="172" y="108"/>
                    <a:pt x="173" y="107"/>
                    <a:pt x="173" y="106"/>
                  </a:cubicBezTo>
                  <a:cubicBezTo>
                    <a:pt x="174" y="106"/>
                    <a:pt x="175" y="105"/>
                    <a:pt x="175" y="105"/>
                  </a:cubicBezTo>
                  <a:cubicBezTo>
                    <a:pt x="176" y="104"/>
                    <a:pt x="180" y="104"/>
                    <a:pt x="181" y="105"/>
                  </a:cubicBezTo>
                  <a:cubicBezTo>
                    <a:pt x="181" y="105"/>
                    <a:pt x="183" y="107"/>
                    <a:pt x="183" y="107"/>
                  </a:cubicBezTo>
                  <a:cubicBezTo>
                    <a:pt x="184" y="109"/>
                    <a:pt x="184" y="110"/>
                    <a:pt x="185" y="111"/>
                  </a:cubicBezTo>
                  <a:cubicBezTo>
                    <a:pt x="185" y="112"/>
                    <a:pt x="185" y="114"/>
                    <a:pt x="185" y="115"/>
                  </a:cubicBezTo>
                  <a:cubicBezTo>
                    <a:pt x="186" y="117"/>
                    <a:pt x="187" y="117"/>
                    <a:pt x="189" y="117"/>
                  </a:cubicBezTo>
                  <a:cubicBezTo>
                    <a:pt x="190" y="118"/>
                    <a:pt x="192" y="119"/>
                    <a:pt x="194" y="119"/>
                  </a:cubicBezTo>
                  <a:cubicBezTo>
                    <a:pt x="195" y="118"/>
                    <a:pt x="195" y="118"/>
                    <a:pt x="196" y="118"/>
                  </a:cubicBezTo>
                  <a:cubicBezTo>
                    <a:pt x="197" y="118"/>
                    <a:pt x="198" y="118"/>
                    <a:pt x="198" y="118"/>
                  </a:cubicBezTo>
                  <a:cubicBezTo>
                    <a:pt x="199" y="117"/>
                    <a:pt x="199" y="116"/>
                    <a:pt x="200" y="116"/>
                  </a:cubicBezTo>
                  <a:cubicBezTo>
                    <a:pt x="201" y="115"/>
                    <a:pt x="202" y="115"/>
                    <a:pt x="203" y="115"/>
                  </a:cubicBezTo>
                  <a:cubicBezTo>
                    <a:pt x="205" y="115"/>
                    <a:pt x="207" y="115"/>
                    <a:pt x="209" y="115"/>
                  </a:cubicBezTo>
                  <a:cubicBezTo>
                    <a:pt x="210" y="115"/>
                    <a:pt x="212" y="114"/>
                    <a:pt x="213" y="115"/>
                  </a:cubicBezTo>
                  <a:cubicBezTo>
                    <a:pt x="214" y="115"/>
                    <a:pt x="214" y="118"/>
                    <a:pt x="214" y="118"/>
                  </a:cubicBezTo>
                  <a:cubicBezTo>
                    <a:pt x="215" y="119"/>
                    <a:pt x="215" y="120"/>
                    <a:pt x="216" y="121"/>
                  </a:cubicBezTo>
                  <a:cubicBezTo>
                    <a:pt x="218" y="122"/>
                    <a:pt x="220" y="123"/>
                    <a:pt x="223" y="123"/>
                  </a:cubicBezTo>
                  <a:cubicBezTo>
                    <a:pt x="223" y="121"/>
                    <a:pt x="222" y="120"/>
                    <a:pt x="221" y="118"/>
                  </a:cubicBezTo>
                  <a:cubicBezTo>
                    <a:pt x="221" y="117"/>
                    <a:pt x="220" y="117"/>
                    <a:pt x="220" y="116"/>
                  </a:cubicBezTo>
                  <a:cubicBezTo>
                    <a:pt x="221" y="115"/>
                    <a:pt x="221" y="115"/>
                    <a:pt x="222" y="114"/>
                  </a:cubicBezTo>
                  <a:cubicBezTo>
                    <a:pt x="222" y="113"/>
                    <a:pt x="224" y="110"/>
                    <a:pt x="222" y="109"/>
                  </a:cubicBezTo>
                  <a:cubicBezTo>
                    <a:pt x="221" y="108"/>
                    <a:pt x="219" y="109"/>
                    <a:pt x="217" y="109"/>
                  </a:cubicBezTo>
                  <a:cubicBezTo>
                    <a:pt x="217" y="107"/>
                    <a:pt x="217" y="105"/>
                    <a:pt x="217" y="104"/>
                  </a:cubicBezTo>
                  <a:cubicBezTo>
                    <a:pt x="217" y="102"/>
                    <a:pt x="217" y="101"/>
                    <a:pt x="218" y="99"/>
                  </a:cubicBezTo>
                  <a:cubicBezTo>
                    <a:pt x="218" y="98"/>
                    <a:pt x="219" y="97"/>
                    <a:pt x="220" y="97"/>
                  </a:cubicBezTo>
                  <a:cubicBezTo>
                    <a:pt x="222" y="96"/>
                    <a:pt x="223" y="96"/>
                    <a:pt x="224" y="95"/>
                  </a:cubicBezTo>
                  <a:cubicBezTo>
                    <a:pt x="225" y="95"/>
                    <a:pt x="225" y="94"/>
                    <a:pt x="226" y="94"/>
                  </a:cubicBezTo>
                  <a:cubicBezTo>
                    <a:pt x="229" y="94"/>
                    <a:pt x="229" y="97"/>
                    <a:pt x="231" y="98"/>
                  </a:cubicBezTo>
                  <a:cubicBezTo>
                    <a:pt x="232" y="99"/>
                    <a:pt x="234" y="99"/>
                    <a:pt x="236" y="98"/>
                  </a:cubicBezTo>
                  <a:cubicBezTo>
                    <a:pt x="237" y="98"/>
                    <a:pt x="239" y="97"/>
                    <a:pt x="240" y="97"/>
                  </a:cubicBezTo>
                  <a:cubicBezTo>
                    <a:pt x="240" y="96"/>
                    <a:pt x="241" y="93"/>
                    <a:pt x="241" y="93"/>
                  </a:cubicBezTo>
                  <a:cubicBezTo>
                    <a:pt x="240" y="92"/>
                    <a:pt x="239" y="92"/>
                    <a:pt x="239" y="92"/>
                  </a:cubicBezTo>
                  <a:cubicBezTo>
                    <a:pt x="238" y="92"/>
                    <a:pt x="238" y="91"/>
                    <a:pt x="238" y="91"/>
                  </a:cubicBezTo>
                  <a:cubicBezTo>
                    <a:pt x="237" y="90"/>
                    <a:pt x="236" y="90"/>
                    <a:pt x="236" y="89"/>
                  </a:cubicBezTo>
                  <a:cubicBezTo>
                    <a:pt x="235" y="85"/>
                    <a:pt x="237" y="84"/>
                    <a:pt x="239" y="82"/>
                  </a:cubicBezTo>
                  <a:cubicBezTo>
                    <a:pt x="240" y="80"/>
                    <a:pt x="240" y="78"/>
                    <a:pt x="241" y="77"/>
                  </a:cubicBezTo>
                  <a:cubicBezTo>
                    <a:pt x="242" y="74"/>
                    <a:pt x="241" y="73"/>
                    <a:pt x="240" y="7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0" name="Line 12">
              <a:extLst>
                <a:ext uri="{FF2B5EF4-FFF2-40B4-BE49-F238E27FC236}">
                  <a16:creationId xmlns:a16="http://schemas.microsoft.com/office/drawing/2014/main" id="{4B1B4686-B166-4E9A-BCEA-7BBE6996C3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1" name="Line 13">
              <a:extLst>
                <a:ext uri="{FF2B5EF4-FFF2-40B4-BE49-F238E27FC236}">
                  <a16:creationId xmlns:a16="http://schemas.microsoft.com/office/drawing/2014/main" id="{801262CB-E61F-436E-9307-DB6ECCD92D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2" name="Freeform 14">
              <a:extLst>
                <a:ext uri="{FF2B5EF4-FFF2-40B4-BE49-F238E27FC236}">
                  <a16:creationId xmlns:a16="http://schemas.microsoft.com/office/drawing/2014/main" id="{8EF0C628-F251-4EA6-8A3B-FB8597D73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725" y="4695825"/>
              <a:ext cx="779463" cy="398463"/>
            </a:xfrm>
            <a:custGeom>
              <a:avLst/>
              <a:gdLst/>
              <a:ahLst/>
              <a:cxnLst>
                <a:cxn ang="0">
                  <a:pos x="412" y="70"/>
                </a:cxn>
                <a:cxn ang="0">
                  <a:pos x="405" y="46"/>
                </a:cxn>
                <a:cxn ang="0">
                  <a:pos x="411" y="26"/>
                </a:cxn>
                <a:cxn ang="0">
                  <a:pos x="395" y="20"/>
                </a:cxn>
                <a:cxn ang="0">
                  <a:pos x="370" y="21"/>
                </a:cxn>
                <a:cxn ang="0">
                  <a:pos x="347" y="12"/>
                </a:cxn>
                <a:cxn ang="0">
                  <a:pos x="321" y="1"/>
                </a:cxn>
                <a:cxn ang="0">
                  <a:pos x="305" y="8"/>
                </a:cxn>
                <a:cxn ang="0">
                  <a:pos x="294" y="24"/>
                </a:cxn>
                <a:cxn ang="0">
                  <a:pos x="282" y="33"/>
                </a:cxn>
                <a:cxn ang="0">
                  <a:pos x="266" y="35"/>
                </a:cxn>
                <a:cxn ang="0">
                  <a:pos x="254" y="26"/>
                </a:cxn>
                <a:cxn ang="0">
                  <a:pos x="245" y="21"/>
                </a:cxn>
                <a:cxn ang="0">
                  <a:pos x="241" y="37"/>
                </a:cxn>
                <a:cxn ang="0">
                  <a:pos x="224" y="43"/>
                </a:cxn>
                <a:cxn ang="0">
                  <a:pos x="222" y="53"/>
                </a:cxn>
                <a:cxn ang="0">
                  <a:pos x="191" y="65"/>
                </a:cxn>
                <a:cxn ang="0">
                  <a:pos x="187" y="83"/>
                </a:cxn>
                <a:cxn ang="0">
                  <a:pos x="196" y="93"/>
                </a:cxn>
                <a:cxn ang="0">
                  <a:pos x="193" y="108"/>
                </a:cxn>
                <a:cxn ang="0">
                  <a:pos x="192" y="124"/>
                </a:cxn>
                <a:cxn ang="0">
                  <a:pos x="179" y="112"/>
                </a:cxn>
                <a:cxn ang="0">
                  <a:pos x="151" y="111"/>
                </a:cxn>
                <a:cxn ang="0">
                  <a:pos x="129" y="118"/>
                </a:cxn>
                <a:cxn ang="0">
                  <a:pos x="108" y="132"/>
                </a:cxn>
                <a:cxn ang="0">
                  <a:pos x="79" y="128"/>
                </a:cxn>
                <a:cxn ang="0">
                  <a:pos x="56" y="138"/>
                </a:cxn>
                <a:cxn ang="0">
                  <a:pos x="38" y="130"/>
                </a:cxn>
                <a:cxn ang="0">
                  <a:pos x="14" y="124"/>
                </a:cxn>
                <a:cxn ang="0">
                  <a:pos x="12" y="141"/>
                </a:cxn>
                <a:cxn ang="0">
                  <a:pos x="5" y="154"/>
                </a:cxn>
                <a:cxn ang="0">
                  <a:pos x="16" y="164"/>
                </a:cxn>
                <a:cxn ang="0">
                  <a:pos x="30" y="173"/>
                </a:cxn>
                <a:cxn ang="0">
                  <a:pos x="51" y="166"/>
                </a:cxn>
                <a:cxn ang="0">
                  <a:pos x="70" y="178"/>
                </a:cxn>
                <a:cxn ang="0">
                  <a:pos x="82" y="185"/>
                </a:cxn>
                <a:cxn ang="0">
                  <a:pos x="95" y="168"/>
                </a:cxn>
                <a:cxn ang="0">
                  <a:pos x="127" y="167"/>
                </a:cxn>
                <a:cxn ang="0">
                  <a:pos x="147" y="165"/>
                </a:cxn>
                <a:cxn ang="0">
                  <a:pos x="160" y="186"/>
                </a:cxn>
                <a:cxn ang="0">
                  <a:pos x="197" y="198"/>
                </a:cxn>
                <a:cxn ang="0">
                  <a:pos x="236" y="203"/>
                </a:cxn>
                <a:cxn ang="0">
                  <a:pos x="254" y="208"/>
                </a:cxn>
                <a:cxn ang="0">
                  <a:pos x="276" y="213"/>
                </a:cxn>
                <a:cxn ang="0">
                  <a:pos x="289" y="200"/>
                </a:cxn>
                <a:cxn ang="0">
                  <a:pos x="312" y="193"/>
                </a:cxn>
                <a:cxn ang="0">
                  <a:pos x="330" y="187"/>
                </a:cxn>
                <a:cxn ang="0">
                  <a:pos x="352" y="187"/>
                </a:cxn>
                <a:cxn ang="0">
                  <a:pos x="368" y="166"/>
                </a:cxn>
                <a:cxn ang="0">
                  <a:pos x="380" y="154"/>
                </a:cxn>
                <a:cxn ang="0">
                  <a:pos x="381" y="141"/>
                </a:cxn>
                <a:cxn ang="0">
                  <a:pos x="388" y="124"/>
                </a:cxn>
                <a:cxn ang="0">
                  <a:pos x="383" y="112"/>
                </a:cxn>
                <a:cxn ang="0">
                  <a:pos x="395" y="108"/>
                </a:cxn>
                <a:cxn ang="0">
                  <a:pos x="410" y="96"/>
                </a:cxn>
              </a:cxnLst>
              <a:rect l="0" t="0" r="r" b="b"/>
              <a:pathLst>
                <a:path w="417" h="213">
                  <a:moveTo>
                    <a:pt x="416" y="79"/>
                  </a:moveTo>
                  <a:cubicBezTo>
                    <a:pt x="415" y="77"/>
                    <a:pt x="415" y="76"/>
                    <a:pt x="415" y="75"/>
                  </a:cubicBezTo>
                  <a:cubicBezTo>
                    <a:pt x="415" y="75"/>
                    <a:pt x="414" y="75"/>
                    <a:pt x="414" y="74"/>
                  </a:cubicBezTo>
                  <a:cubicBezTo>
                    <a:pt x="414" y="74"/>
                    <a:pt x="414" y="74"/>
                    <a:pt x="414" y="73"/>
                  </a:cubicBezTo>
                  <a:cubicBezTo>
                    <a:pt x="414" y="73"/>
                    <a:pt x="414" y="72"/>
                    <a:pt x="413" y="71"/>
                  </a:cubicBezTo>
                  <a:cubicBezTo>
                    <a:pt x="413" y="71"/>
                    <a:pt x="412" y="71"/>
                    <a:pt x="412" y="70"/>
                  </a:cubicBezTo>
                  <a:cubicBezTo>
                    <a:pt x="411" y="69"/>
                    <a:pt x="410" y="67"/>
                    <a:pt x="410" y="66"/>
                  </a:cubicBezTo>
                  <a:cubicBezTo>
                    <a:pt x="409" y="63"/>
                    <a:pt x="410" y="60"/>
                    <a:pt x="409" y="57"/>
                  </a:cubicBezTo>
                  <a:cubicBezTo>
                    <a:pt x="409" y="56"/>
                    <a:pt x="409" y="55"/>
                    <a:pt x="408" y="54"/>
                  </a:cubicBezTo>
                  <a:cubicBezTo>
                    <a:pt x="408" y="54"/>
                    <a:pt x="407" y="53"/>
                    <a:pt x="406" y="53"/>
                  </a:cubicBezTo>
                  <a:cubicBezTo>
                    <a:pt x="406" y="52"/>
                    <a:pt x="405" y="50"/>
                    <a:pt x="405" y="49"/>
                  </a:cubicBezTo>
                  <a:cubicBezTo>
                    <a:pt x="404" y="48"/>
                    <a:pt x="405" y="47"/>
                    <a:pt x="405" y="46"/>
                  </a:cubicBezTo>
                  <a:cubicBezTo>
                    <a:pt x="406" y="44"/>
                    <a:pt x="407" y="42"/>
                    <a:pt x="408" y="41"/>
                  </a:cubicBezTo>
                  <a:cubicBezTo>
                    <a:pt x="409" y="40"/>
                    <a:pt x="410" y="39"/>
                    <a:pt x="410" y="38"/>
                  </a:cubicBezTo>
                  <a:cubicBezTo>
                    <a:pt x="411" y="37"/>
                    <a:pt x="412" y="35"/>
                    <a:pt x="412" y="33"/>
                  </a:cubicBezTo>
                  <a:cubicBezTo>
                    <a:pt x="412" y="32"/>
                    <a:pt x="412" y="30"/>
                    <a:pt x="412" y="29"/>
                  </a:cubicBezTo>
                  <a:cubicBezTo>
                    <a:pt x="412" y="28"/>
                    <a:pt x="411" y="27"/>
                    <a:pt x="411" y="26"/>
                  </a:cubicBezTo>
                  <a:cubicBezTo>
                    <a:pt x="411" y="26"/>
                    <a:pt x="411" y="26"/>
                    <a:pt x="411" y="26"/>
                  </a:cubicBezTo>
                  <a:cubicBezTo>
                    <a:pt x="411" y="26"/>
                    <a:pt x="411" y="26"/>
                    <a:pt x="410" y="26"/>
                  </a:cubicBezTo>
                  <a:cubicBezTo>
                    <a:pt x="410" y="26"/>
                    <a:pt x="410" y="25"/>
                    <a:pt x="409" y="25"/>
                  </a:cubicBezTo>
                  <a:cubicBezTo>
                    <a:pt x="409" y="25"/>
                    <a:pt x="409" y="24"/>
                    <a:pt x="408" y="24"/>
                  </a:cubicBezTo>
                  <a:cubicBezTo>
                    <a:pt x="407" y="23"/>
                    <a:pt x="405" y="23"/>
                    <a:pt x="404" y="23"/>
                  </a:cubicBezTo>
                  <a:cubicBezTo>
                    <a:pt x="402" y="23"/>
                    <a:pt x="396" y="25"/>
                    <a:pt x="395" y="22"/>
                  </a:cubicBezTo>
                  <a:cubicBezTo>
                    <a:pt x="395" y="22"/>
                    <a:pt x="395" y="21"/>
                    <a:pt x="395" y="20"/>
                  </a:cubicBezTo>
                  <a:cubicBezTo>
                    <a:pt x="394" y="19"/>
                    <a:pt x="394" y="19"/>
                    <a:pt x="393" y="18"/>
                  </a:cubicBezTo>
                  <a:cubicBezTo>
                    <a:pt x="392" y="17"/>
                    <a:pt x="390" y="18"/>
                    <a:pt x="389" y="16"/>
                  </a:cubicBezTo>
                  <a:cubicBezTo>
                    <a:pt x="388" y="15"/>
                    <a:pt x="387" y="14"/>
                    <a:pt x="385" y="15"/>
                  </a:cubicBezTo>
                  <a:cubicBezTo>
                    <a:pt x="383" y="15"/>
                    <a:pt x="384" y="17"/>
                    <a:pt x="383" y="19"/>
                  </a:cubicBezTo>
                  <a:cubicBezTo>
                    <a:pt x="382" y="20"/>
                    <a:pt x="380" y="21"/>
                    <a:pt x="379" y="21"/>
                  </a:cubicBezTo>
                  <a:cubicBezTo>
                    <a:pt x="376" y="22"/>
                    <a:pt x="373" y="21"/>
                    <a:pt x="370" y="21"/>
                  </a:cubicBezTo>
                  <a:cubicBezTo>
                    <a:pt x="368" y="21"/>
                    <a:pt x="367" y="21"/>
                    <a:pt x="365" y="20"/>
                  </a:cubicBezTo>
                  <a:cubicBezTo>
                    <a:pt x="362" y="19"/>
                    <a:pt x="359" y="18"/>
                    <a:pt x="357" y="17"/>
                  </a:cubicBezTo>
                  <a:cubicBezTo>
                    <a:pt x="355" y="16"/>
                    <a:pt x="356" y="14"/>
                    <a:pt x="355" y="13"/>
                  </a:cubicBezTo>
                  <a:cubicBezTo>
                    <a:pt x="354" y="11"/>
                    <a:pt x="353" y="10"/>
                    <a:pt x="351" y="11"/>
                  </a:cubicBezTo>
                  <a:cubicBezTo>
                    <a:pt x="350" y="11"/>
                    <a:pt x="350" y="11"/>
                    <a:pt x="349" y="12"/>
                  </a:cubicBezTo>
                  <a:cubicBezTo>
                    <a:pt x="348" y="12"/>
                    <a:pt x="347" y="12"/>
                    <a:pt x="347" y="12"/>
                  </a:cubicBezTo>
                  <a:cubicBezTo>
                    <a:pt x="345" y="12"/>
                    <a:pt x="343" y="12"/>
                    <a:pt x="342" y="12"/>
                  </a:cubicBezTo>
                  <a:cubicBezTo>
                    <a:pt x="341" y="11"/>
                    <a:pt x="341" y="10"/>
                    <a:pt x="340" y="9"/>
                  </a:cubicBezTo>
                  <a:cubicBezTo>
                    <a:pt x="338" y="7"/>
                    <a:pt x="334" y="6"/>
                    <a:pt x="332" y="5"/>
                  </a:cubicBezTo>
                  <a:cubicBezTo>
                    <a:pt x="330" y="4"/>
                    <a:pt x="329" y="4"/>
                    <a:pt x="327" y="3"/>
                  </a:cubicBezTo>
                  <a:cubicBezTo>
                    <a:pt x="327" y="3"/>
                    <a:pt x="326" y="2"/>
                    <a:pt x="326" y="2"/>
                  </a:cubicBezTo>
                  <a:cubicBezTo>
                    <a:pt x="326" y="0"/>
                    <a:pt x="322" y="0"/>
                    <a:pt x="321" y="1"/>
                  </a:cubicBezTo>
                  <a:cubicBezTo>
                    <a:pt x="321" y="2"/>
                    <a:pt x="322" y="4"/>
                    <a:pt x="320" y="4"/>
                  </a:cubicBezTo>
                  <a:cubicBezTo>
                    <a:pt x="318" y="5"/>
                    <a:pt x="316" y="5"/>
                    <a:pt x="314" y="3"/>
                  </a:cubicBezTo>
                  <a:cubicBezTo>
                    <a:pt x="313" y="2"/>
                    <a:pt x="314" y="0"/>
                    <a:pt x="312" y="0"/>
                  </a:cubicBezTo>
                  <a:cubicBezTo>
                    <a:pt x="311" y="0"/>
                    <a:pt x="310" y="0"/>
                    <a:pt x="309" y="0"/>
                  </a:cubicBezTo>
                  <a:cubicBezTo>
                    <a:pt x="308" y="0"/>
                    <a:pt x="308" y="0"/>
                    <a:pt x="308" y="1"/>
                  </a:cubicBezTo>
                  <a:cubicBezTo>
                    <a:pt x="307" y="3"/>
                    <a:pt x="305" y="5"/>
                    <a:pt x="305" y="8"/>
                  </a:cubicBezTo>
                  <a:cubicBezTo>
                    <a:pt x="305" y="9"/>
                    <a:pt x="304" y="11"/>
                    <a:pt x="305" y="13"/>
                  </a:cubicBezTo>
                  <a:cubicBezTo>
                    <a:pt x="305" y="15"/>
                    <a:pt x="306" y="16"/>
                    <a:pt x="306" y="17"/>
                  </a:cubicBezTo>
                  <a:cubicBezTo>
                    <a:pt x="305" y="19"/>
                    <a:pt x="303" y="19"/>
                    <a:pt x="302" y="18"/>
                  </a:cubicBezTo>
                  <a:cubicBezTo>
                    <a:pt x="300" y="17"/>
                    <a:pt x="298" y="17"/>
                    <a:pt x="297" y="18"/>
                  </a:cubicBezTo>
                  <a:cubicBezTo>
                    <a:pt x="297" y="18"/>
                    <a:pt x="297" y="20"/>
                    <a:pt x="296" y="20"/>
                  </a:cubicBezTo>
                  <a:cubicBezTo>
                    <a:pt x="296" y="22"/>
                    <a:pt x="294" y="22"/>
                    <a:pt x="294" y="24"/>
                  </a:cubicBezTo>
                  <a:cubicBezTo>
                    <a:pt x="293" y="27"/>
                    <a:pt x="293" y="30"/>
                    <a:pt x="291" y="32"/>
                  </a:cubicBezTo>
                  <a:cubicBezTo>
                    <a:pt x="290" y="33"/>
                    <a:pt x="289" y="34"/>
                    <a:pt x="288" y="34"/>
                  </a:cubicBezTo>
                  <a:cubicBezTo>
                    <a:pt x="287" y="34"/>
                    <a:pt x="286" y="34"/>
                    <a:pt x="286" y="34"/>
                  </a:cubicBezTo>
                  <a:cubicBezTo>
                    <a:pt x="285" y="34"/>
                    <a:pt x="284" y="35"/>
                    <a:pt x="284" y="34"/>
                  </a:cubicBezTo>
                  <a:cubicBezTo>
                    <a:pt x="283" y="34"/>
                    <a:pt x="283" y="34"/>
                    <a:pt x="283" y="34"/>
                  </a:cubicBezTo>
                  <a:cubicBezTo>
                    <a:pt x="283" y="33"/>
                    <a:pt x="282" y="33"/>
                    <a:pt x="282" y="33"/>
                  </a:cubicBezTo>
                  <a:cubicBezTo>
                    <a:pt x="281" y="32"/>
                    <a:pt x="281" y="32"/>
                    <a:pt x="281" y="31"/>
                  </a:cubicBezTo>
                  <a:cubicBezTo>
                    <a:pt x="280" y="30"/>
                    <a:pt x="279" y="29"/>
                    <a:pt x="278" y="29"/>
                  </a:cubicBezTo>
                  <a:cubicBezTo>
                    <a:pt x="275" y="29"/>
                    <a:pt x="275" y="33"/>
                    <a:pt x="274" y="34"/>
                  </a:cubicBezTo>
                  <a:cubicBezTo>
                    <a:pt x="274" y="34"/>
                    <a:pt x="273" y="34"/>
                    <a:pt x="272" y="34"/>
                  </a:cubicBezTo>
                  <a:cubicBezTo>
                    <a:pt x="271" y="34"/>
                    <a:pt x="270" y="35"/>
                    <a:pt x="269" y="35"/>
                  </a:cubicBezTo>
                  <a:cubicBezTo>
                    <a:pt x="268" y="35"/>
                    <a:pt x="267" y="35"/>
                    <a:pt x="266" y="35"/>
                  </a:cubicBezTo>
                  <a:cubicBezTo>
                    <a:pt x="265" y="35"/>
                    <a:pt x="264" y="35"/>
                    <a:pt x="263" y="35"/>
                  </a:cubicBezTo>
                  <a:cubicBezTo>
                    <a:pt x="263" y="35"/>
                    <a:pt x="263" y="35"/>
                    <a:pt x="262" y="35"/>
                  </a:cubicBezTo>
                  <a:cubicBezTo>
                    <a:pt x="261" y="34"/>
                    <a:pt x="260" y="35"/>
                    <a:pt x="259" y="34"/>
                  </a:cubicBezTo>
                  <a:cubicBezTo>
                    <a:pt x="259" y="34"/>
                    <a:pt x="257" y="33"/>
                    <a:pt x="257" y="32"/>
                  </a:cubicBezTo>
                  <a:cubicBezTo>
                    <a:pt x="256" y="31"/>
                    <a:pt x="256" y="30"/>
                    <a:pt x="256" y="29"/>
                  </a:cubicBezTo>
                  <a:cubicBezTo>
                    <a:pt x="256" y="28"/>
                    <a:pt x="256" y="26"/>
                    <a:pt x="254" y="26"/>
                  </a:cubicBezTo>
                  <a:cubicBezTo>
                    <a:pt x="254" y="25"/>
                    <a:pt x="253" y="24"/>
                    <a:pt x="252" y="23"/>
                  </a:cubicBezTo>
                  <a:cubicBezTo>
                    <a:pt x="252" y="23"/>
                    <a:pt x="251" y="22"/>
                    <a:pt x="250" y="21"/>
                  </a:cubicBezTo>
                  <a:cubicBezTo>
                    <a:pt x="249" y="20"/>
                    <a:pt x="247" y="20"/>
                    <a:pt x="246" y="19"/>
                  </a:cubicBezTo>
                  <a:cubicBezTo>
                    <a:pt x="245" y="19"/>
                    <a:pt x="245" y="18"/>
                    <a:pt x="244" y="18"/>
                  </a:cubicBezTo>
                  <a:cubicBezTo>
                    <a:pt x="244" y="19"/>
                    <a:pt x="244" y="19"/>
                    <a:pt x="244" y="19"/>
                  </a:cubicBezTo>
                  <a:cubicBezTo>
                    <a:pt x="244" y="20"/>
                    <a:pt x="245" y="21"/>
                    <a:pt x="245" y="21"/>
                  </a:cubicBezTo>
                  <a:cubicBezTo>
                    <a:pt x="245" y="21"/>
                    <a:pt x="244" y="21"/>
                    <a:pt x="244" y="22"/>
                  </a:cubicBezTo>
                  <a:cubicBezTo>
                    <a:pt x="244" y="22"/>
                    <a:pt x="244" y="23"/>
                    <a:pt x="244" y="24"/>
                  </a:cubicBezTo>
                  <a:cubicBezTo>
                    <a:pt x="244" y="25"/>
                    <a:pt x="243" y="25"/>
                    <a:pt x="243" y="26"/>
                  </a:cubicBezTo>
                  <a:cubicBezTo>
                    <a:pt x="243" y="27"/>
                    <a:pt x="243" y="29"/>
                    <a:pt x="243" y="30"/>
                  </a:cubicBezTo>
                  <a:cubicBezTo>
                    <a:pt x="243" y="32"/>
                    <a:pt x="242" y="33"/>
                    <a:pt x="242" y="34"/>
                  </a:cubicBezTo>
                  <a:cubicBezTo>
                    <a:pt x="242" y="35"/>
                    <a:pt x="242" y="36"/>
                    <a:pt x="241" y="37"/>
                  </a:cubicBezTo>
                  <a:cubicBezTo>
                    <a:pt x="241" y="38"/>
                    <a:pt x="240" y="40"/>
                    <a:pt x="239" y="41"/>
                  </a:cubicBezTo>
                  <a:cubicBezTo>
                    <a:pt x="238" y="42"/>
                    <a:pt x="232" y="41"/>
                    <a:pt x="231" y="40"/>
                  </a:cubicBezTo>
                  <a:cubicBezTo>
                    <a:pt x="230" y="39"/>
                    <a:pt x="230" y="38"/>
                    <a:pt x="229" y="38"/>
                  </a:cubicBezTo>
                  <a:cubicBezTo>
                    <a:pt x="228" y="38"/>
                    <a:pt x="227" y="38"/>
                    <a:pt x="226" y="38"/>
                  </a:cubicBezTo>
                  <a:cubicBezTo>
                    <a:pt x="226" y="38"/>
                    <a:pt x="225" y="40"/>
                    <a:pt x="225" y="41"/>
                  </a:cubicBezTo>
                  <a:cubicBezTo>
                    <a:pt x="224" y="41"/>
                    <a:pt x="224" y="42"/>
                    <a:pt x="224" y="43"/>
                  </a:cubicBezTo>
                  <a:cubicBezTo>
                    <a:pt x="223" y="44"/>
                    <a:pt x="224" y="45"/>
                    <a:pt x="224" y="46"/>
                  </a:cubicBezTo>
                  <a:cubicBezTo>
                    <a:pt x="223" y="46"/>
                    <a:pt x="223" y="47"/>
                    <a:pt x="223" y="48"/>
                  </a:cubicBezTo>
                  <a:cubicBezTo>
                    <a:pt x="223" y="48"/>
                    <a:pt x="223" y="48"/>
                    <a:pt x="223" y="47"/>
                  </a:cubicBezTo>
                  <a:cubicBezTo>
                    <a:pt x="223" y="48"/>
                    <a:pt x="223" y="49"/>
                    <a:pt x="223" y="50"/>
                  </a:cubicBezTo>
                  <a:cubicBezTo>
                    <a:pt x="222" y="50"/>
                    <a:pt x="222" y="51"/>
                    <a:pt x="222" y="52"/>
                  </a:cubicBezTo>
                  <a:cubicBezTo>
                    <a:pt x="222" y="52"/>
                    <a:pt x="222" y="53"/>
                    <a:pt x="222" y="53"/>
                  </a:cubicBezTo>
                  <a:cubicBezTo>
                    <a:pt x="222" y="54"/>
                    <a:pt x="222" y="54"/>
                    <a:pt x="221" y="55"/>
                  </a:cubicBezTo>
                  <a:cubicBezTo>
                    <a:pt x="221" y="56"/>
                    <a:pt x="220" y="56"/>
                    <a:pt x="219" y="57"/>
                  </a:cubicBezTo>
                  <a:cubicBezTo>
                    <a:pt x="216" y="59"/>
                    <a:pt x="212" y="59"/>
                    <a:pt x="208" y="59"/>
                  </a:cubicBezTo>
                  <a:cubicBezTo>
                    <a:pt x="206" y="59"/>
                    <a:pt x="204" y="60"/>
                    <a:pt x="202" y="61"/>
                  </a:cubicBezTo>
                  <a:cubicBezTo>
                    <a:pt x="200" y="62"/>
                    <a:pt x="198" y="63"/>
                    <a:pt x="196" y="63"/>
                  </a:cubicBezTo>
                  <a:cubicBezTo>
                    <a:pt x="194" y="63"/>
                    <a:pt x="192" y="64"/>
                    <a:pt x="191" y="65"/>
                  </a:cubicBezTo>
                  <a:cubicBezTo>
                    <a:pt x="190" y="66"/>
                    <a:pt x="189" y="67"/>
                    <a:pt x="189" y="67"/>
                  </a:cubicBezTo>
                  <a:cubicBezTo>
                    <a:pt x="188" y="68"/>
                    <a:pt x="187" y="68"/>
                    <a:pt x="186" y="68"/>
                  </a:cubicBezTo>
                  <a:cubicBezTo>
                    <a:pt x="185" y="69"/>
                    <a:pt x="186" y="70"/>
                    <a:pt x="186" y="71"/>
                  </a:cubicBezTo>
                  <a:cubicBezTo>
                    <a:pt x="186" y="72"/>
                    <a:pt x="186" y="73"/>
                    <a:pt x="186" y="74"/>
                  </a:cubicBezTo>
                  <a:cubicBezTo>
                    <a:pt x="186" y="74"/>
                    <a:pt x="186" y="74"/>
                    <a:pt x="187" y="75"/>
                  </a:cubicBezTo>
                  <a:cubicBezTo>
                    <a:pt x="187" y="77"/>
                    <a:pt x="187" y="80"/>
                    <a:pt x="187" y="83"/>
                  </a:cubicBezTo>
                  <a:cubicBezTo>
                    <a:pt x="187" y="84"/>
                    <a:pt x="188" y="85"/>
                    <a:pt x="188" y="85"/>
                  </a:cubicBezTo>
                  <a:cubicBezTo>
                    <a:pt x="189" y="86"/>
                    <a:pt x="189" y="86"/>
                    <a:pt x="189" y="86"/>
                  </a:cubicBezTo>
                  <a:cubicBezTo>
                    <a:pt x="190" y="87"/>
                    <a:pt x="190" y="88"/>
                    <a:pt x="190" y="88"/>
                  </a:cubicBezTo>
                  <a:cubicBezTo>
                    <a:pt x="190" y="88"/>
                    <a:pt x="191" y="88"/>
                    <a:pt x="192" y="89"/>
                  </a:cubicBezTo>
                  <a:cubicBezTo>
                    <a:pt x="192" y="89"/>
                    <a:pt x="193" y="90"/>
                    <a:pt x="193" y="90"/>
                  </a:cubicBezTo>
                  <a:cubicBezTo>
                    <a:pt x="194" y="91"/>
                    <a:pt x="195" y="92"/>
                    <a:pt x="196" y="93"/>
                  </a:cubicBezTo>
                  <a:cubicBezTo>
                    <a:pt x="197" y="94"/>
                    <a:pt x="196" y="96"/>
                    <a:pt x="196" y="98"/>
                  </a:cubicBezTo>
                  <a:cubicBezTo>
                    <a:pt x="195" y="99"/>
                    <a:pt x="195" y="100"/>
                    <a:pt x="194" y="100"/>
                  </a:cubicBezTo>
                  <a:cubicBezTo>
                    <a:pt x="193" y="101"/>
                    <a:pt x="192" y="101"/>
                    <a:pt x="192" y="102"/>
                  </a:cubicBezTo>
                  <a:cubicBezTo>
                    <a:pt x="192" y="103"/>
                    <a:pt x="191" y="104"/>
                    <a:pt x="191" y="105"/>
                  </a:cubicBezTo>
                  <a:cubicBezTo>
                    <a:pt x="191" y="105"/>
                    <a:pt x="192" y="105"/>
                    <a:pt x="192" y="106"/>
                  </a:cubicBezTo>
                  <a:cubicBezTo>
                    <a:pt x="192" y="107"/>
                    <a:pt x="192" y="107"/>
                    <a:pt x="193" y="108"/>
                  </a:cubicBezTo>
                  <a:cubicBezTo>
                    <a:pt x="195" y="110"/>
                    <a:pt x="197" y="110"/>
                    <a:pt x="199" y="111"/>
                  </a:cubicBezTo>
                  <a:cubicBezTo>
                    <a:pt x="202" y="112"/>
                    <a:pt x="200" y="115"/>
                    <a:pt x="199" y="116"/>
                  </a:cubicBezTo>
                  <a:cubicBezTo>
                    <a:pt x="199" y="117"/>
                    <a:pt x="199" y="118"/>
                    <a:pt x="199" y="119"/>
                  </a:cubicBezTo>
                  <a:cubicBezTo>
                    <a:pt x="199" y="120"/>
                    <a:pt x="199" y="121"/>
                    <a:pt x="198" y="122"/>
                  </a:cubicBezTo>
                  <a:cubicBezTo>
                    <a:pt x="197" y="123"/>
                    <a:pt x="197" y="123"/>
                    <a:pt x="196" y="124"/>
                  </a:cubicBezTo>
                  <a:cubicBezTo>
                    <a:pt x="195" y="124"/>
                    <a:pt x="193" y="124"/>
                    <a:pt x="192" y="124"/>
                  </a:cubicBezTo>
                  <a:cubicBezTo>
                    <a:pt x="191" y="124"/>
                    <a:pt x="191" y="123"/>
                    <a:pt x="190" y="123"/>
                  </a:cubicBezTo>
                  <a:cubicBezTo>
                    <a:pt x="189" y="123"/>
                    <a:pt x="187" y="124"/>
                    <a:pt x="186" y="122"/>
                  </a:cubicBezTo>
                  <a:cubicBezTo>
                    <a:pt x="186" y="122"/>
                    <a:pt x="186" y="121"/>
                    <a:pt x="186" y="121"/>
                  </a:cubicBezTo>
                  <a:cubicBezTo>
                    <a:pt x="186" y="120"/>
                    <a:pt x="185" y="118"/>
                    <a:pt x="184" y="117"/>
                  </a:cubicBezTo>
                  <a:cubicBezTo>
                    <a:pt x="183" y="116"/>
                    <a:pt x="182" y="114"/>
                    <a:pt x="181" y="113"/>
                  </a:cubicBezTo>
                  <a:cubicBezTo>
                    <a:pt x="180" y="113"/>
                    <a:pt x="181" y="113"/>
                    <a:pt x="179" y="112"/>
                  </a:cubicBezTo>
                  <a:cubicBezTo>
                    <a:pt x="177" y="112"/>
                    <a:pt x="175" y="114"/>
                    <a:pt x="172" y="114"/>
                  </a:cubicBezTo>
                  <a:cubicBezTo>
                    <a:pt x="171" y="114"/>
                    <a:pt x="168" y="115"/>
                    <a:pt x="167" y="114"/>
                  </a:cubicBezTo>
                  <a:cubicBezTo>
                    <a:pt x="166" y="113"/>
                    <a:pt x="166" y="112"/>
                    <a:pt x="165" y="111"/>
                  </a:cubicBezTo>
                  <a:cubicBezTo>
                    <a:pt x="164" y="111"/>
                    <a:pt x="161" y="110"/>
                    <a:pt x="160" y="110"/>
                  </a:cubicBezTo>
                  <a:cubicBezTo>
                    <a:pt x="158" y="110"/>
                    <a:pt x="156" y="110"/>
                    <a:pt x="154" y="110"/>
                  </a:cubicBezTo>
                  <a:cubicBezTo>
                    <a:pt x="153" y="110"/>
                    <a:pt x="151" y="110"/>
                    <a:pt x="151" y="111"/>
                  </a:cubicBezTo>
                  <a:cubicBezTo>
                    <a:pt x="150" y="114"/>
                    <a:pt x="156" y="116"/>
                    <a:pt x="153" y="118"/>
                  </a:cubicBezTo>
                  <a:cubicBezTo>
                    <a:pt x="152" y="118"/>
                    <a:pt x="152" y="118"/>
                    <a:pt x="151" y="118"/>
                  </a:cubicBezTo>
                  <a:cubicBezTo>
                    <a:pt x="150" y="118"/>
                    <a:pt x="149" y="118"/>
                    <a:pt x="149" y="119"/>
                  </a:cubicBezTo>
                  <a:cubicBezTo>
                    <a:pt x="148" y="119"/>
                    <a:pt x="148" y="119"/>
                    <a:pt x="147" y="119"/>
                  </a:cubicBezTo>
                  <a:cubicBezTo>
                    <a:pt x="144" y="119"/>
                    <a:pt x="142" y="119"/>
                    <a:pt x="140" y="119"/>
                  </a:cubicBezTo>
                  <a:cubicBezTo>
                    <a:pt x="136" y="118"/>
                    <a:pt x="132" y="118"/>
                    <a:pt x="129" y="118"/>
                  </a:cubicBezTo>
                  <a:cubicBezTo>
                    <a:pt x="127" y="118"/>
                    <a:pt x="126" y="118"/>
                    <a:pt x="126" y="119"/>
                  </a:cubicBezTo>
                  <a:cubicBezTo>
                    <a:pt x="125" y="121"/>
                    <a:pt x="126" y="122"/>
                    <a:pt x="126" y="123"/>
                  </a:cubicBezTo>
                  <a:cubicBezTo>
                    <a:pt x="125" y="125"/>
                    <a:pt x="123" y="124"/>
                    <a:pt x="122" y="124"/>
                  </a:cubicBezTo>
                  <a:cubicBezTo>
                    <a:pt x="119" y="124"/>
                    <a:pt x="115" y="123"/>
                    <a:pt x="113" y="125"/>
                  </a:cubicBezTo>
                  <a:cubicBezTo>
                    <a:pt x="112" y="126"/>
                    <a:pt x="112" y="127"/>
                    <a:pt x="111" y="128"/>
                  </a:cubicBezTo>
                  <a:cubicBezTo>
                    <a:pt x="110" y="129"/>
                    <a:pt x="109" y="131"/>
                    <a:pt x="108" y="132"/>
                  </a:cubicBezTo>
                  <a:cubicBezTo>
                    <a:pt x="106" y="132"/>
                    <a:pt x="105" y="130"/>
                    <a:pt x="103" y="131"/>
                  </a:cubicBezTo>
                  <a:cubicBezTo>
                    <a:pt x="102" y="131"/>
                    <a:pt x="101" y="132"/>
                    <a:pt x="99" y="133"/>
                  </a:cubicBezTo>
                  <a:cubicBezTo>
                    <a:pt x="97" y="133"/>
                    <a:pt x="94" y="133"/>
                    <a:pt x="91" y="133"/>
                  </a:cubicBezTo>
                  <a:cubicBezTo>
                    <a:pt x="92" y="133"/>
                    <a:pt x="88" y="133"/>
                    <a:pt x="87" y="132"/>
                  </a:cubicBezTo>
                  <a:cubicBezTo>
                    <a:pt x="87" y="130"/>
                    <a:pt x="81" y="128"/>
                    <a:pt x="79" y="12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7" y="128"/>
                    <a:pt x="77" y="126"/>
                    <a:pt x="76" y="125"/>
                  </a:cubicBezTo>
                  <a:cubicBezTo>
                    <a:pt x="74" y="122"/>
                    <a:pt x="71" y="123"/>
                    <a:pt x="68" y="123"/>
                  </a:cubicBezTo>
                  <a:cubicBezTo>
                    <a:pt x="64" y="124"/>
                    <a:pt x="60" y="122"/>
                    <a:pt x="56" y="123"/>
                  </a:cubicBezTo>
                  <a:cubicBezTo>
                    <a:pt x="53" y="124"/>
                    <a:pt x="53" y="125"/>
                    <a:pt x="53" y="128"/>
                  </a:cubicBezTo>
                  <a:cubicBezTo>
                    <a:pt x="54" y="131"/>
                    <a:pt x="58" y="133"/>
                    <a:pt x="57" y="137"/>
                  </a:cubicBezTo>
                  <a:cubicBezTo>
                    <a:pt x="57" y="137"/>
                    <a:pt x="57" y="138"/>
                    <a:pt x="56" y="138"/>
                  </a:cubicBezTo>
                  <a:cubicBezTo>
                    <a:pt x="56" y="139"/>
                    <a:pt x="55" y="141"/>
                    <a:pt x="54" y="141"/>
                  </a:cubicBezTo>
                  <a:cubicBezTo>
                    <a:pt x="50" y="143"/>
                    <a:pt x="49" y="141"/>
                    <a:pt x="46" y="139"/>
                  </a:cubicBezTo>
                  <a:cubicBezTo>
                    <a:pt x="44" y="138"/>
                    <a:pt x="41" y="137"/>
                    <a:pt x="40" y="135"/>
                  </a:cubicBezTo>
                  <a:cubicBezTo>
                    <a:pt x="39" y="134"/>
                    <a:pt x="39" y="135"/>
                    <a:pt x="39" y="134"/>
                  </a:cubicBezTo>
                  <a:cubicBezTo>
                    <a:pt x="39" y="133"/>
                    <a:pt x="39" y="132"/>
                    <a:pt x="39" y="131"/>
                  </a:cubicBezTo>
                  <a:cubicBezTo>
                    <a:pt x="38" y="131"/>
                    <a:pt x="38" y="131"/>
                    <a:pt x="38" y="130"/>
                  </a:cubicBezTo>
                  <a:cubicBezTo>
                    <a:pt x="37" y="129"/>
                    <a:pt x="35" y="130"/>
                    <a:pt x="34" y="130"/>
                  </a:cubicBezTo>
                  <a:cubicBezTo>
                    <a:pt x="32" y="129"/>
                    <a:pt x="32" y="129"/>
                    <a:pt x="31" y="128"/>
                  </a:cubicBezTo>
                  <a:cubicBezTo>
                    <a:pt x="30" y="126"/>
                    <a:pt x="30" y="124"/>
                    <a:pt x="28" y="122"/>
                  </a:cubicBezTo>
                  <a:cubicBezTo>
                    <a:pt x="27" y="121"/>
                    <a:pt x="25" y="122"/>
                    <a:pt x="24" y="122"/>
                  </a:cubicBezTo>
                  <a:cubicBezTo>
                    <a:pt x="21" y="122"/>
                    <a:pt x="19" y="122"/>
                    <a:pt x="16" y="122"/>
                  </a:cubicBezTo>
                  <a:cubicBezTo>
                    <a:pt x="16" y="123"/>
                    <a:pt x="15" y="123"/>
                    <a:pt x="14" y="124"/>
                  </a:cubicBezTo>
                  <a:cubicBezTo>
                    <a:pt x="14" y="126"/>
                    <a:pt x="13" y="127"/>
                    <a:pt x="13" y="128"/>
                  </a:cubicBezTo>
                  <a:cubicBezTo>
                    <a:pt x="13" y="130"/>
                    <a:pt x="13" y="132"/>
                    <a:pt x="13" y="134"/>
                  </a:cubicBezTo>
                  <a:cubicBezTo>
                    <a:pt x="13" y="135"/>
                    <a:pt x="13" y="136"/>
                    <a:pt x="14" y="137"/>
                  </a:cubicBezTo>
                  <a:cubicBezTo>
                    <a:pt x="14" y="137"/>
                    <a:pt x="15" y="138"/>
                    <a:pt x="14" y="139"/>
                  </a:cubicBezTo>
                  <a:cubicBezTo>
                    <a:pt x="14" y="140"/>
                    <a:pt x="12" y="140"/>
                    <a:pt x="10" y="141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2"/>
                    <a:pt x="12" y="143"/>
                    <a:pt x="13" y="143"/>
                  </a:cubicBezTo>
                  <a:cubicBezTo>
                    <a:pt x="13" y="144"/>
                    <a:pt x="13" y="144"/>
                    <a:pt x="13" y="145"/>
                  </a:cubicBezTo>
                  <a:cubicBezTo>
                    <a:pt x="14" y="146"/>
                    <a:pt x="13" y="148"/>
                    <a:pt x="13" y="150"/>
                  </a:cubicBezTo>
                  <a:cubicBezTo>
                    <a:pt x="12" y="151"/>
                    <a:pt x="12" y="153"/>
                    <a:pt x="10" y="154"/>
                  </a:cubicBezTo>
                  <a:cubicBezTo>
                    <a:pt x="10" y="155"/>
                    <a:pt x="9" y="155"/>
                    <a:pt x="8" y="155"/>
                  </a:cubicBezTo>
                  <a:cubicBezTo>
                    <a:pt x="7" y="155"/>
                    <a:pt x="6" y="155"/>
                    <a:pt x="5" y="154"/>
                  </a:cubicBezTo>
                  <a:cubicBezTo>
                    <a:pt x="5" y="155"/>
                    <a:pt x="4" y="155"/>
                    <a:pt x="4" y="155"/>
                  </a:cubicBezTo>
                  <a:cubicBezTo>
                    <a:pt x="2" y="157"/>
                    <a:pt x="0" y="157"/>
                    <a:pt x="1" y="161"/>
                  </a:cubicBezTo>
                  <a:cubicBezTo>
                    <a:pt x="1" y="164"/>
                    <a:pt x="3" y="163"/>
                    <a:pt x="6" y="164"/>
                  </a:cubicBezTo>
                  <a:cubicBezTo>
                    <a:pt x="7" y="164"/>
                    <a:pt x="8" y="164"/>
                    <a:pt x="9" y="164"/>
                  </a:cubicBezTo>
                  <a:cubicBezTo>
                    <a:pt x="10" y="164"/>
                    <a:pt x="11" y="164"/>
                    <a:pt x="12" y="164"/>
                  </a:cubicBezTo>
                  <a:cubicBezTo>
                    <a:pt x="13" y="164"/>
                    <a:pt x="15" y="164"/>
                    <a:pt x="16" y="164"/>
                  </a:cubicBezTo>
                  <a:cubicBezTo>
                    <a:pt x="18" y="164"/>
                    <a:pt x="18" y="164"/>
                    <a:pt x="19" y="163"/>
                  </a:cubicBezTo>
                  <a:cubicBezTo>
                    <a:pt x="20" y="163"/>
                    <a:pt x="21" y="163"/>
                    <a:pt x="21" y="163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4" y="165"/>
                    <a:pt x="26" y="165"/>
                    <a:pt x="26" y="168"/>
                  </a:cubicBezTo>
                  <a:cubicBezTo>
                    <a:pt x="26" y="170"/>
                    <a:pt x="26" y="171"/>
                    <a:pt x="28" y="172"/>
                  </a:cubicBezTo>
                  <a:cubicBezTo>
                    <a:pt x="28" y="173"/>
                    <a:pt x="29" y="173"/>
                    <a:pt x="30" y="173"/>
                  </a:cubicBezTo>
                  <a:cubicBezTo>
                    <a:pt x="30" y="174"/>
                    <a:pt x="31" y="175"/>
                    <a:pt x="32" y="175"/>
                  </a:cubicBezTo>
                  <a:cubicBezTo>
                    <a:pt x="35" y="176"/>
                    <a:pt x="37" y="177"/>
                    <a:pt x="40" y="177"/>
                  </a:cubicBezTo>
                  <a:cubicBezTo>
                    <a:pt x="43" y="177"/>
                    <a:pt x="43" y="176"/>
                    <a:pt x="44" y="174"/>
                  </a:cubicBezTo>
                  <a:cubicBezTo>
                    <a:pt x="45" y="173"/>
                    <a:pt x="44" y="171"/>
                    <a:pt x="46" y="170"/>
                  </a:cubicBezTo>
                  <a:cubicBezTo>
                    <a:pt x="47" y="169"/>
                    <a:pt x="48" y="169"/>
                    <a:pt x="49" y="169"/>
                  </a:cubicBezTo>
                  <a:cubicBezTo>
                    <a:pt x="50" y="168"/>
                    <a:pt x="50" y="167"/>
                    <a:pt x="51" y="166"/>
                  </a:cubicBezTo>
                  <a:cubicBezTo>
                    <a:pt x="52" y="166"/>
                    <a:pt x="55" y="168"/>
                    <a:pt x="56" y="169"/>
                  </a:cubicBezTo>
                  <a:cubicBezTo>
                    <a:pt x="58" y="171"/>
                    <a:pt x="58" y="173"/>
                    <a:pt x="58" y="175"/>
                  </a:cubicBezTo>
                  <a:cubicBezTo>
                    <a:pt x="59" y="176"/>
                    <a:pt x="59" y="176"/>
                    <a:pt x="59" y="177"/>
                  </a:cubicBezTo>
                  <a:cubicBezTo>
                    <a:pt x="61" y="177"/>
                    <a:pt x="62" y="177"/>
                    <a:pt x="63" y="177"/>
                  </a:cubicBezTo>
                  <a:cubicBezTo>
                    <a:pt x="64" y="177"/>
                    <a:pt x="65" y="177"/>
                    <a:pt x="66" y="177"/>
                  </a:cubicBezTo>
                  <a:cubicBezTo>
                    <a:pt x="67" y="177"/>
                    <a:pt x="69" y="178"/>
                    <a:pt x="70" y="178"/>
                  </a:cubicBezTo>
                  <a:cubicBezTo>
                    <a:pt x="71" y="178"/>
                    <a:pt x="72" y="178"/>
                    <a:pt x="72" y="179"/>
                  </a:cubicBezTo>
                  <a:cubicBezTo>
                    <a:pt x="73" y="180"/>
                    <a:pt x="72" y="181"/>
                    <a:pt x="73" y="182"/>
                  </a:cubicBezTo>
                  <a:cubicBezTo>
                    <a:pt x="73" y="183"/>
                    <a:pt x="75" y="183"/>
                    <a:pt x="76" y="183"/>
                  </a:cubicBezTo>
                  <a:cubicBezTo>
                    <a:pt x="76" y="183"/>
                    <a:pt x="78" y="183"/>
                    <a:pt x="78" y="183"/>
                  </a:cubicBezTo>
                  <a:cubicBezTo>
                    <a:pt x="79" y="184"/>
                    <a:pt x="79" y="184"/>
                    <a:pt x="80" y="184"/>
                  </a:cubicBezTo>
                  <a:cubicBezTo>
                    <a:pt x="80" y="185"/>
                    <a:pt x="81" y="185"/>
                    <a:pt x="82" y="185"/>
                  </a:cubicBezTo>
                  <a:cubicBezTo>
                    <a:pt x="83" y="185"/>
                    <a:pt x="85" y="185"/>
                    <a:pt x="87" y="185"/>
                  </a:cubicBezTo>
                  <a:cubicBezTo>
                    <a:pt x="89" y="184"/>
                    <a:pt x="89" y="182"/>
                    <a:pt x="89" y="180"/>
                  </a:cubicBezTo>
                  <a:cubicBezTo>
                    <a:pt x="90" y="179"/>
                    <a:pt x="91" y="178"/>
                    <a:pt x="92" y="176"/>
                  </a:cubicBezTo>
                  <a:cubicBezTo>
                    <a:pt x="92" y="175"/>
                    <a:pt x="92" y="174"/>
                    <a:pt x="92" y="173"/>
                  </a:cubicBezTo>
                  <a:cubicBezTo>
                    <a:pt x="92" y="171"/>
                    <a:pt x="92" y="171"/>
                    <a:pt x="93" y="170"/>
                  </a:cubicBezTo>
                  <a:cubicBezTo>
                    <a:pt x="93" y="169"/>
                    <a:pt x="93" y="169"/>
                    <a:pt x="95" y="168"/>
                  </a:cubicBezTo>
                  <a:cubicBezTo>
                    <a:pt x="96" y="168"/>
                    <a:pt x="97" y="167"/>
                    <a:pt x="99" y="167"/>
                  </a:cubicBezTo>
                  <a:cubicBezTo>
                    <a:pt x="100" y="167"/>
                    <a:pt x="101" y="167"/>
                    <a:pt x="102" y="167"/>
                  </a:cubicBezTo>
                  <a:cubicBezTo>
                    <a:pt x="107" y="167"/>
                    <a:pt x="112" y="168"/>
                    <a:pt x="117" y="168"/>
                  </a:cubicBezTo>
                  <a:cubicBezTo>
                    <a:pt x="118" y="168"/>
                    <a:pt x="119" y="168"/>
                    <a:pt x="120" y="168"/>
                  </a:cubicBezTo>
                  <a:cubicBezTo>
                    <a:pt x="121" y="167"/>
                    <a:pt x="122" y="166"/>
                    <a:pt x="123" y="166"/>
                  </a:cubicBezTo>
                  <a:cubicBezTo>
                    <a:pt x="125" y="165"/>
                    <a:pt x="126" y="166"/>
                    <a:pt x="127" y="167"/>
                  </a:cubicBezTo>
                  <a:cubicBezTo>
                    <a:pt x="129" y="169"/>
                    <a:pt x="132" y="166"/>
                    <a:pt x="134" y="165"/>
                  </a:cubicBezTo>
                  <a:cubicBezTo>
                    <a:pt x="136" y="163"/>
                    <a:pt x="139" y="162"/>
                    <a:pt x="142" y="161"/>
                  </a:cubicBezTo>
                  <a:cubicBezTo>
                    <a:pt x="143" y="160"/>
                    <a:pt x="145" y="159"/>
                    <a:pt x="147" y="159"/>
                  </a:cubicBezTo>
                  <a:cubicBezTo>
                    <a:pt x="149" y="159"/>
                    <a:pt x="152" y="159"/>
                    <a:pt x="152" y="162"/>
                  </a:cubicBezTo>
                  <a:cubicBezTo>
                    <a:pt x="152" y="163"/>
                    <a:pt x="150" y="164"/>
                    <a:pt x="149" y="165"/>
                  </a:cubicBezTo>
                  <a:cubicBezTo>
                    <a:pt x="149" y="165"/>
                    <a:pt x="147" y="165"/>
                    <a:pt x="147" y="165"/>
                  </a:cubicBezTo>
                  <a:cubicBezTo>
                    <a:pt x="146" y="166"/>
                    <a:pt x="146" y="167"/>
                    <a:pt x="146" y="168"/>
                  </a:cubicBezTo>
                  <a:cubicBezTo>
                    <a:pt x="146" y="169"/>
                    <a:pt x="145" y="169"/>
                    <a:pt x="147" y="171"/>
                  </a:cubicBezTo>
                  <a:cubicBezTo>
                    <a:pt x="147" y="171"/>
                    <a:pt x="148" y="172"/>
                    <a:pt x="149" y="173"/>
                  </a:cubicBezTo>
                  <a:cubicBezTo>
                    <a:pt x="150" y="174"/>
                    <a:pt x="151" y="175"/>
                    <a:pt x="152" y="176"/>
                  </a:cubicBezTo>
                  <a:cubicBezTo>
                    <a:pt x="154" y="177"/>
                    <a:pt x="154" y="179"/>
                    <a:pt x="155" y="181"/>
                  </a:cubicBezTo>
                  <a:cubicBezTo>
                    <a:pt x="156" y="183"/>
                    <a:pt x="158" y="185"/>
                    <a:pt x="160" y="186"/>
                  </a:cubicBezTo>
                  <a:cubicBezTo>
                    <a:pt x="163" y="189"/>
                    <a:pt x="168" y="192"/>
                    <a:pt x="172" y="194"/>
                  </a:cubicBezTo>
                  <a:cubicBezTo>
                    <a:pt x="173" y="194"/>
                    <a:pt x="174" y="194"/>
                    <a:pt x="175" y="194"/>
                  </a:cubicBezTo>
                  <a:cubicBezTo>
                    <a:pt x="178" y="194"/>
                    <a:pt x="180" y="194"/>
                    <a:pt x="183" y="195"/>
                  </a:cubicBezTo>
                  <a:cubicBezTo>
                    <a:pt x="185" y="195"/>
                    <a:pt x="187" y="195"/>
                    <a:pt x="189" y="196"/>
                  </a:cubicBezTo>
                  <a:cubicBezTo>
                    <a:pt x="190" y="196"/>
                    <a:pt x="192" y="196"/>
                    <a:pt x="193" y="196"/>
                  </a:cubicBezTo>
                  <a:cubicBezTo>
                    <a:pt x="195" y="197"/>
                    <a:pt x="196" y="198"/>
                    <a:pt x="197" y="198"/>
                  </a:cubicBezTo>
                  <a:cubicBezTo>
                    <a:pt x="201" y="200"/>
                    <a:pt x="205" y="200"/>
                    <a:pt x="209" y="201"/>
                  </a:cubicBezTo>
                  <a:cubicBezTo>
                    <a:pt x="212" y="201"/>
                    <a:pt x="214" y="201"/>
                    <a:pt x="217" y="201"/>
                  </a:cubicBezTo>
                  <a:cubicBezTo>
                    <a:pt x="220" y="201"/>
                    <a:pt x="224" y="201"/>
                    <a:pt x="227" y="201"/>
                  </a:cubicBezTo>
                  <a:cubicBezTo>
                    <a:pt x="229" y="201"/>
                    <a:pt x="230" y="202"/>
                    <a:pt x="232" y="202"/>
                  </a:cubicBezTo>
                  <a:cubicBezTo>
                    <a:pt x="233" y="202"/>
                    <a:pt x="234" y="202"/>
                    <a:pt x="235" y="203"/>
                  </a:cubicBezTo>
                  <a:cubicBezTo>
                    <a:pt x="235" y="203"/>
                    <a:pt x="236" y="202"/>
                    <a:pt x="236" y="203"/>
                  </a:cubicBezTo>
                  <a:cubicBezTo>
                    <a:pt x="238" y="203"/>
                    <a:pt x="239" y="204"/>
                    <a:pt x="240" y="204"/>
                  </a:cubicBezTo>
                  <a:cubicBezTo>
                    <a:pt x="245" y="206"/>
                    <a:pt x="250" y="205"/>
                    <a:pt x="255" y="206"/>
                  </a:cubicBezTo>
                  <a:cubicBezTo>
                    <a:pt x="255" y="206"/>
                    <a:pt x="255" y="206"/>
                    <a:pt x="255" y="206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5" y="207"/>
                    <a:pt x="255" y="208"/>
                    <a:pt x="254" y="208"/>
                  </a:cubicBezTo>
                  <a:cubicBezTo>
                    <a:pt x="255" y="208"/>
                    <a:pt x="256" y="208"/>
                    <a:pt x="257" y="208"/>
                  </a:cubicBezTo>
                  <a:cubicBezTo>
                    <a:pt x="259" y="209"/>
                    <a:pt x="262" y="209"/>
                    <a:pt x="264" y="209"/>
                  </a:cubicBezTo>
                  <a:cubicBezTo>
                    <a:pt x="264" y="210"/>
                    <a:pt x="266" y="209"/>
                    <a:pt x="267" y="210"/>
                  </a:cubicBezTo>
                  <a:cubicBezTo>
                    <a:pt x="267" y="210"/>
                    <a:pt x="267" y="210"/>
                    <a:pt x="267" y="210"/>
                  </a:cubicBezTo>
                  <a:cubicBezTo>
                    <a:pt x="268" y="211"/>
                    <a:pt x="269" y="211"/>
                    <a:pt x="270" y="211"/>
                  </a:cubicBezTo>
                  <a:cubicBezTo>
                    <a:pt x="272" y="212"/>
                    <a:pt x="274" y="213"/>
                    <a:pt x="276" y="213"/>
                  </a:cubicBezTo>
                  <a:cubicBezTo>
                    <a:pt x="279" y="212"/>
                    <a:pt x="278" y="209"/>
                    <a:pt x="279" y="207"/>
                  </a:cubicBezTo>
                  <a:cubicBezTo>
                    <a:pt x="280" y="207"/>
                    <a:pt x="280" y="206"/>
                    <a:pt x="281" y="205"/>
                  </a:cubicBezTo>
                  <a:cubicBezTo>
                    <a:pt x="281" y="205"/>
                    <a:pt x="282" y="204"/>
                    <a:pt x="283" y="204"/>
                  </a:cubicBezTo>
                  <a:cubicBezTo>
                    <a:pt x="283" y="203"/>
                    <a:pt x="284" y="204"/>
                    <a:pt x="285" y="204"/>
                  </a:cubicBezTo>
                  <a:cubicBezTo>
                    <a:pt x="286" y="204"/>
                    <a:pt x="287" y="203"/>
                    <a:pt x="288" y="202"/>
                  </a:cubicBezTo>
                  <a:cubicBezTo>
                    <a:pt x="288" y="201"/>
                    <a:pt x="288" y="201"/>
                    <a:pt x="289" y="200"/>
                  </a:cubicBezTo>
                  <a:cubicBezTo>
                    <a:pt x="289" y="200"/>
                    <a:pt x="290" y="200"/>
                    <a:pt x="290" y="199"/>
                  </a:cubicBezTo>
                  <a:cubicBezTo>
                    <a:pt x="290" y="199"/>
                    <a:pt x="291" y="198"/>
                    <a:pt x="291" y="197"/>
                  </a:cubicBezTo>
                  <a:cubicBezTo>
                    <a:pt x="292" y="195"/>
                    <a:pt x="295" y="195"/>
                    <a:pt x="297" y="195"/>
                  </a:cubicBezTo>
                  <a:cubicBezTo>
                    <a:pt x="300" y="194"/>
                    <a:pt x="302" y="194"/>
                    <a:pt x="304" y="193"/>
                  </a:cubicBezTo>
                  <a:cubicBezTo>
                    <a:pt x="306" y="192"/>
                    <a:pt x="307" y="191"/>
                    <a:pt x="309" y="192"/>
                  </a:cubicBezTo>
                  <a:cubicBezTo>
                    <a:pt x="310" y="192"/>
                    <a:pt x="311" y="193"/>
                    <a:pt x="312" y="193"/>
                  </a:cubicBezTo>
                  <a:cubicBezTo>
                    <a:pt x="314" y="193"/>
                    <a:pt x="316" y="193"/>
                    <a:pt x="318" y="193"/>
                  </a:cubicBezTo>
                  <a:cubicBezTo>
                    <a:pt x="318" y="194"/>
                    <a:pt x="318" y="194"/>
                    <a:pt x="319" y="194"/>
                  </a:cubicBezTo>
                  <a:cubicBezTo>
                    <a:pt x="320" y="194"/>
                    <a:pt x="322" y="193"/>
                    <a:pt x="323" y="194"/>
                  </a:cubicBezTo>
                  <a:cubicBezTo>
                    <a:pt x="325" y="194"/>
                    <a:pt x="325" y="195"/>
                    <a:pt x="326" y="195"/>
                  </a:cubicBezTo>
                  <a:cubicBezTo>
                    <a:pt x="326" y="192"/>
                    <a:pt x="328" y="190"/>
                    <a:pt x="329" y="188"/>
                  </a:cubicBezTo>
                  <a:cubicBezTo>
                    <a:pt x="329" y="187"/>
                    <a:pt x="329" y="187"/>
                    <a:pt x="330" y="187"/>
                  </a:cubicBezTo>
                  <a:cubicBezTo>
                    <a:pt x="330" y="187"/>
                    <a:pt x="331" y="187"/>
                    <a:pt x="331" y="187"/>
                  </a:cubicBezTo>
                  <a:cubicBezTo>
                    <a:pt x="332" y="186"/>
                    <a:pt x="331" y="187"/>
                    <a:pt x="332" y="186"/>
                  </a:cubicBezTo>
                  <a:cubicBezTo>
                    <a:pt x="333" y="185"/>
                    <a:pt x="335" y="182"/>
                    <a:pt x="336" y="183"/>
                  </a:cubicBezTo>
                  <a:cubicBezTo>
                    <a:pt x="338" y="184"/>
                    <a:pt x="336" y="187"/>
                    <a:pt x="338" y="189"/>
                  </a:cubicBezTo>
                  <a:cubicBezTo>
                    <a:pt x="340" y="190"/>
                    <a:pt x="343" y="189"/>
                    <a:pt x="345" y="190"/>
                  </a:cubicBezTo>
                  <a:cubicBezTo>
                    <a:pt x="348" y="190"/>
                    <a:pt x="351" y="190"/>
                    <a:pt x="352" y="187"/>
                  </a:cubicBezTo>
                  <a:cubicBezTo>
                    <a:pt x="353" y="185"/>
                    <a:pt x="353" y="183"/>
                    <a:pt x="353" y="181"/>
                  </a:cubicBezTo>
                  <a:cubicBezTo>
                    <a:pt x="353" y="178"/>
                    <a:pt x="354" y="176"/>
                    <a:pt x="356" y="175"/>
                  </a:cubicBezTo>
                  <a:cubicBezTo>
                    <a:pt x="357" y="174"/>
                    <a:pt x="359" y="175"/>
                    <a:pt x="360" y="173"/>
                  </a:cubicBezTo>
                  <a:cubicBezTo>
                    <a:pt x="361" y="173"/>
                    <a:pt x="361" y="172"/>
                    <a:pt x="362" y="172"/>
                  </a:cubicBezTo>
                  <a:cubicBezTo>
                    <a:pt x="363" y="171"/>
                    <a:pt x="363" y="171"/>
                    <a:pt x="364" y="170"/>
                  </a:cubicBezTo>
                  <a:cubicBezTo>
                    <a:pt x="365" y="167"/>
                    <a:pt x="366" y="167"/>
                    <a:pt x="368" y="166"/>
                  </a:cubicBezTo>
                  <a:cubicBezTo>
                    <a:pt x="370" y="165"/>
                    <a:pt x="370" y="164"/>
                    <a:pt x="372" y="164"/>
                  </a:cubicBezTo>
                  <a:cubicBezTo>
                    <a:pt x="374" y="164"/>
                    <a:pt x="375" y="163"/>
                    <a:pt x="376" y="163"/>
                  </a:cubicBezTo>
                  <a:cubicBezTo>
                    <a:pt x="378" y="163"/>
                    <a:pt x="379" y="163"/>
                    <a:pt x="379" y="161"/>
                  </a:cubicBezTo>
                  <a:cubicBezTo>
                    <a:pt x="379" y="160"/>
                    <a:pt x="379" y="160"/>
                    <a:pt x="379" y="159"/>
                  </a:cubicBezTo>
                  <a:cubicBezTo>
                    <a:pt x="379" y="158"/>
                    <a:pt x="380" y="157"/>
                    <a:pt x="380" y="156"/>
                  </a:cubicBezTo>
                  <a:cubicBezTo>
                    <a:pt x="380" y="156"/>
                    <a:pt x="380" y="155"/>
                    <a:pt x="380" y="154"/>
                  </a:cubicBezTo>
                  <a:cubicBezTo>
                    <a:pt x="380" y="152"/>
                    <a:pt x="380" y="152"/>
                    <a:pt x="379" y="152"/>
                  </a:cubicBezTo>
                  <a:cubicBezTo>
                    <a:pt x="377" y="151"/>
                    <a:pt x="377" y="151"/>
                    <a:pt x="376" y="149"/>
                  </a:cubicBezTo>
                  <a:cubicBezTo>
                    <a:pt x="376" y="149"/>
                    <a:pt x="376" y="148"/>
                    <a:pt x="376" y="147"/>
                  </a:cubicBezTo>
                  <a:cubicBezTo>
                    <a:pt x="376" y="147"/>
                    <a:pt x="375" y="146"/>
                    <a:pt x="376" y="145"/>
                  </a:cubicBezTo>
                  <a:cubicBezTo>
                    <a:pt x="376" y="144"/>
                    <a:pt x="378" y="142"/>
                    <a:pt x="379" y="142"/>
                  </a:cubicBezTo>
                  <a:cubicBezTo>
                    <a:pt x="379" y="142"/>
                    <a:pt x="381" y="141"/>
                    <a:pt x="381" y="141"/>
                  </a:cubicBezTo>
                  <a:cubicBezTo>
                    <a:pt x="382" y="138"/>
                    <a:pt x="378" y="139"/>
                    <a:pt x="378" y="138"/>
                  </a:cubicBezTo>
                  <a:cubicBezTo>
                    <a:pt x="376" y="136"/>
                    <a:pt x="377" y="131"/>
                    <a:pt x="379" y="130"/>
                  </a:cubicBezTo>
                  <a:cubicBezTo>
                    <a:pt x="379" y="130"/>
                    <a:pt x="380" y="129"/>
                    <a:pt x="381" y="129"/>
                  </a:cubicBezTo>
                  <a:cubicBezTo>
                    <a:pt x="382" y="129"/>
                    <a:pt x="383" y="130"/>
                    <a:pt x="384" y="130"/>
                  </a:cubicBezTo>
                  <a:cubicBezTo>
                    <a:pt x="385" y="129"/>
                    <a:pt x="385" y="129"/>
                    <a:pt x="386" y="128"/>
                  </a:cubicBezTo>
                  <a:cubicBezTo>
                    <a:pt x="386" y="127"/>
                    <a:pt x="387" y="125"/>
                    <a:pt x="388" y="124"/>
                  </a:cubicBezTo>
                  <a:cubicBezTo>
                    <a:pt x="389" y="123"/>
                    <a:pt x="390" y="122"/>
                    <a:pt x="390" y="121"/>
                  </a:cubicBezTo>
                  <a:cubicBezTo>
                    <a:pt x="390" y="121"/>
                    <a:pt x="390" y="119"/>
                    <a:pt x="390" y="118"/>
                  </a:cubicBezTo>
                  <a:cubicBezTo>
                    <a:pt x="390" y="117"/>
                    <a:pt x="390" y="117"/>
                    <a:pt x="389" y="116"/>
                  </a:cubicBezTo>
                  <a:cubicBezTo>
                    <a:pt x="389" y="115"/>
                    <a:pt x="389" y="115"/>
                    <a:pt x="389" y="114"/>
                  </a:cubicBezTo>
                  <a:cubicBezTo>
                    <a:pt x="388" y="114"/>
                    <a:pt x="388" y="113"/>
                    <a:pt x="388" y="113"/>
                  </a:cubicBezTo>
                  <a:cubicBezTo>
                    <a:pt x="386" y="112"/>
                    <a:pt x="384" y="113"/>
                    <a:pt x="383" y="112"/>
                  </a:cubicBezTo>
                  <a:cubicBezTo>
                    <a:pt x="381" y="111"/>
                    <a:pt x="380" y="110"/>
                    <a:pt x="379" y="109"/>
                  </a:cubicBezTo>
                  <a:cubicBezTo>
                    <a:pt x="379" y="109"/>
                    <a:pt x="378" y="108"/>
                    <a:pt x="379" y="107"/>
                  </a:cubicBezTo>
                  <a:cubicBezTo>
                    <a:pt x="379" y="106"/>
                    <a:pt x="382" y="107"/>
                    <a:pt x="383" y="107"/>
                  </a:cubicBezTo>
                  <a:cubicBezTo>
                    <a:pt x="386" y="107"/>
                    <a:pt x="385" y="105"/>
                    <a:pt x="387" y="103"/>
                  </a:cubicBezTo>
                  <a:cubicBezTo>
                    <a:pt x="388" y="102"/>
                    <a:pt x="392" y="103"/>
                    <a:pt x="393" y="105"/>
                  </a:cubicBezTo>
                  <a:cubicBezTo>
                    <a:pt x="394" y="106"/>
                    <a:pt x="394" y="108"/>
                    <a:pt x="395" y="108"/>
                  </a:cubicBezTo>
                  <a:cubicBezTo>
                    <a:pt x="396" y="109"/>
                    <a:pt x="397" y="108"/>
                    <a:pt x="398" y="108"/>
                  </a:cubicBezTo>
                  <a:cubicBezTo>
                    <a:pt x="400" y="108"/>
                    <a:pt x="401" y="106"/>
                    <a:pt x="404" y="106"/>
                  </a:cubicBezTo>
                  <a:cubicBezTo>
                    <a:pt x="405" y="106"/>
                    <a:pt x="405" y="106"/>
                    <a:pt x="406" y="105"/>
                  </a:cubicBezTo>
                  <a:cubicBezTo>
                    <a:pt x="407" y="105"/>
                    <a:pt x="408" y="105"/>
                    <a:pt x="409" y="104"/>
                  </a:cubicBezTo>
                  <a:cubicBezTo>
                    <a:pt x="410" y="103"/>
                    <a:pt x="413" y="102"/>
                    <a:pt x="414" y="100"/>
                  </a:cubicBezTo>
                  <a:cubicBezTo>
                    <a:pt x="415" y="97"/>
                    <a:pt x="412" y="98"/>
                    <a:pt x="410" y="96"/>
                  </a:cubicBezTo>
                  <a:cubicBezTo>
                    <a:pt x="408" y="94"/>
                    <a:pt x="411" y="91"/>
                    <a:pt x="413" y="88"/>
                  </a:cubicBezTo>
                  <a:cubicBezTo>
                    <a:pt x="414" y="87"/>
                    <a:pt x="415" y="86"/>
                    <a:pt x="416" y="85"/>
                  </a:cubicBezTo>
                  <a:cubicBezTo>
                    <a:pt x="416" y="85"/>
                    <a:pt x="416" y="85"/>
                    <a:pt x="416" y="84"/>
                  </a:cubicBezTo>
                  <a:cubicBezTo>
                    <a:pt x="416" y="84"/>
                    <a:pt x="417" y="83"/>
                    <a:pt x="417" y="83"/>
                  </a:cubicBezTo>
                  <a:cubicBezTo>
                    <a:pt x="417" y="82"/>
                    <a:pt x="417" y="80"/>
                    <a:pt x="416" y="79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3" name="Freeform 15">
              <a:extLst>
                <a:ext uri="{FF2B5EF4-FFF2-40B4-BE49-F238E27FC236}">
                  <a16:creationId xmlns:a16="http://schemas.microsoft.com/office/drawing/2014/main" id="{F2AA16FB-B8E7-46AC-9658-1B4DD8956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5313" y="4954588"/>
              <a:ext cx="25400" cy="30163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9" y="1"/>
                </a:cxn>
                <a:cxn ang="0">
                  <a:pos x="9" y="0"/>
                </a:cxn>
                <a:cxn ang="0">
                  <a:pos x="6" y="1"/>
                </a:cxn>
                <a:cxn ang="0">
                  <a:pos x="5" y="3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1" y="8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3" y="15"/>
                </a:cxn>
                <a:cxn ang="0">
                  <a:pos x="7" y="16"/>
                </a:cxn>
                <a:cxn ang="0">
                  <a:pos x="9" y="15"/>
                </a:cxn>
                <a:cxn ang="0">
                  <a:pos x="12" y="11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1" y="2"/>
                </a:cxn>
              </a:cxnLst>
              <a:rect l="0" t="0" r="r" b="b"/>
              <a:pathLst>
                <a:path w="13" h="16">
                  <a:moveTo>
                    <a:pt x="11" y="2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9" y="0"/>
                    <a:pt x="6" y="1"/>
                    <a:pt x="6" y="1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5"/>
                    <a:pt x="3" y="5"/>
                    <a:pt x="2" y="6"/>
                  </a:cubicBezTo>
                  <a:cubicBezTo>
                    <a:pt x="2" y="7"/>
                    <a:pt x="1" y="7"/>
                    <a:pt x="1" y="8"/>
                  </a:cubicBezTo>
                  <a:cubicBezTo>
                    <a:pt x="1" y="9"/>
                    <a:pt x="0" y="9"/>
                    <a:pt x="0" y="10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6"/>
                    <a:pt x="9" y="15"/>
                  </a:cubicBezTo>
                  <a:cubicBezTo>
                    <a:pt x="11" y="14"/>
                    <a:pt x="11" y="12"/>
                    <a:pt x="12" y="11"/>
                  </a:cubicBezTo>
                  <a:cubicBezTo>
                    <a:pt x="12" y="9"/>
                    <a:pt x="13" y="7"/>
                    <a:pt x="12" y="6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1" y="4"/>
                    <a:pt x="11" y="3"/>
                    <a:pt x="11" y="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4" name="Freeform 16">
              <a:extLst>
                <a:ext uri="{FF2B5EF4-FFF2-40B4-BE49-F238E27FC236}">
                  <a16:creationId xmlns:a16="http://schemas.microsoft.com/office/drawing/2014/main" id="{60A7F9F2-FDF0-4A5A-99E0-E8CDEE0050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9413" y="4360863"/>
              <a:ext cx="1379538" cy="1341438"/>
            </a:xfrm>
            <a:custGeom>
              <a:avLst/>
              <a:gdLst/>
              <a:ahLst/>
              <a:cxnLst>
                <a:cxn ang="0">
                  <a:pos x="737" y="191"/>
                </a:cxn>
                <a:cxn ang="0">
                  <a:pos x="702" y="174"/>
                </a:cxn>
                <a:cxn ang="0">
                  <a:pos x="633" y="143"/>
                </a:cxn>
                <a:cxn ang="0">
                  <a:pos x="577" y="126"/>
                </a:cxn>
                <a:cxn ang="0">
                  <a:pos x="539" y="101"/>
                </a:cxn>
                <a:cxn ang="0">
                  <a:pos x="509" y="70"/>
                </a:cxn>
                <a:cxn ang="0">
                  <a:pos x="472" y="38"/>
                </a:cxn>
                <a:cxn ang="0">
                  <a:pos x="432" y="4"/>
                </a:cxn>
                <a:cxn ang="0">
                  <a:pos x="374" y="39"/>
                </a:cxn>
                <a:cxn ang="0">
                  <a:pos x="323" y="113"/>
                </a:cxn>
                <a:cxn ang="0">
                  <a:pos x="290" y="145"/>
                </a:cxn>
                <a:cxn ang="0">
                  <a:pos x="210" y="138"/>
                </a:cxn>
                <a:cxn ang="0">
                  <a:pos x="190" y="179"/>
                </a:cxn>
                <a:cxn ang="0">
                  <a:pos x="171" y="211"/>
                </a:cxn>
                <a:cxn ang="0">
                  <a:pos x="129" y="219"/>
                </a:cxn>
                <a:cxn ang="0">
                  <a:pos x="81" y="208"/>
                </a:cxn>
                <a:cxn ang="0">
                  <a:pos x="38" y="213"/>
                </a:cxn>
                <a:cxn ang="0">
                  <a:pos x="10" y="238"/>
                </a:cxn>
                <a:cxn ang="0">
                  <a:pos x="32" y="250"/>
                </a:cxn>
                <a:cxn ang="0">
                  <a:pos x="17" y="266"/>
                </a:cxn>
                <a:cxn ang="0">
                  <a:pos x="52" y="283"/>
                </a:cxn>
                <a:cxn ang="0">
                  <a:pos x="90" y="299"/>
                </a:cxn>
                <a:cxn ang="0">
                  <a:pos x="133" y="320"/>
                </a:cxn>
                <a:cxn ang="0">
                  <a:pos x="153" y="355"/>
                </a:cxn>
                <a:cxn ang="0">
                  <a:pos x="172" y="389"/>
                </a:cxn>
                <a:cxn ang="0">
                  <a:pos x="214" y="405"/>
                </a:cxn>
                <a:cxn ang="0">
                  <a:pos x="211" y="434"/>
                </a:cxn>
                <a:cxn ang="0">
                  <a:pos x="198" y="438"/>
                </a:cxn>
                <a:cxn ang="0">
                  <a:pos x="233" y="507"/>
                </a:cxn>
                <a:cxn ang="0">
                  <a:pos x="203" y="491"/>
                </a:cxn>
                <a:cxn ang="0">
                  <a:pos x="189" y="565"/>
                </a:cxn>
                <a:cxn ang="0">
                  <a:pos x="166" y="637"/>
                </a:cxn>
                <a:cxn ang="0">
                  <a:pos x="197" y="661"/>
                </a:cxn>
                <a:cxn ang="0">
                  <a:pos x="265" y="684"/>
                </a:cxn>
                <a:cxn ang="0">
                  <a:pos x="324" y="681"/>
                </a:cxn>
                <a:cxn ang="0">
                  <a:pos x="346" y="687"/>
                </a:cxn>
                <a:cxn ang="0">
                  <a:pos x="372" y="700"/>
                </a:cxn>
                <a:cxn ang="0">
                  <a:pos x="382" y="707"/>
                </a:cxn>
                <a:cxn ang="0">
                  <a:pos x="431" y="685"/>
                </a:cxn>
                <a:cxn ang="0">
                  <a:pos x="464" y="634"/>
                </a:cxn>
                <a:cxn ang="0">
                  <a:pos x="511" y="626"/>
                </a:cxn>
                <a:cxn ang="0">
                  <a:pos x="536" y="632"/>
                </a:cxn>
                <a:cxn ang="0">
                  <a:pos x="566" y="642"/>
                </a:cxn>
                <a:cxn ang="0">
                  <a:pos x="621" y="658"/>
                </a:cxn>
                <a:cxn ang="0">
                  <a:pos x="650" y="627"/>
                </a:cxn>
                <a:cxn ang="0">
                  <a:pos x="687" y="597"/>
                </a:cxn>
                <a:cxn ang="0">
                  <a:pos x="660" y="562"/>
                </a:cxn>
                <a:cxn ang="0">
                  <a:pos x="652" y="515"/>
                </a:cxn>
                <a:cxn ang="0">
                  <a:pos x="667" y="480"/>
                </a:cxn>
                <a:cxn ang="0">
                  <a:pos x="663" y="436"/>
                </a:cxn>
                <a:cxn ang="0">
                  <a:pos x="658" y="409"/>
                </a:cxn>
                <a:cxn ang="0">
                  <a:pos x="614" y="391"/>
                </a:cxn>
                <a:cxn ang="0">
                  <a:pos x="658" y="330"/>
                </a:cxn>
                <a:cxn ang="0">
                  <a:pos x="703" y="303"/>
                </a:cxn>
                <a:cxn ang="0">
                  <a:pos x="704" y="300"/>
                </a:cxn>
                <a:cxn ang="0">
                  <a:pos x="716" y="221"/>
                </a:cxn>
              </a:cxnLst>
              <a:rect l="0" t="0" r="r" b="b"/>
              <a:pathLst>
                <a:path w="738" h="718">
                  <a:moveTo>
                    <a:pt x="437" y="718"/>
                  </a:moveTo>
                  <a:cubicBezTo>
                    <a:pt x="439" y="716"/>
                    <a:pt x="441" y="714"/>
                    <a:pt x="442" y="710"/>
                  </a:cubicBezTo>
                  <a:cubicBezTo>
                    <a:pt x="442" y="710"/>
                    <a:pt x="442" y="710"/>
                    <a:pt x="442" y="710"/>
                  </a:cubicBezTo>
                  <a:cubicBezTo>
                    <a:pt x="440" y="711"/>
                    <a:pt x="438" y="715"/>
                    <a:pt x="437" y="718"/>
                  </a:cubicBezTo>
                  <a:moveTo>
                    <a:pt x="350" y="705"/>
                  </a:moveTo>
                  <a:cubicBezTo>
                    <a:pt x="350" y="705"/>
                    <a:pt x="349" y="705"/>
                    <a:pt x="349" y="705"/>
                  </a:cubicBezTo>
                  <a:cubicBezTo>
                    <a:pt x="349" y="705"/>
                    <a:pt x="350" y="705"/>
                    <a:pt x="350" y="705"/>
                  </a:cubicBezTo>
                  <a:moveTo>
                    <a:pt x="737" y="191"/>
                  </a:moveTo>
                  <a:cubicBezTo>
                    <a:pt x="738" y="189"/>
                    <a:pt x="738" y="186"/>
                    <a:pt x="737" y="184"/>
                  </a:cubicBezTo>
                  <a:cubicBezTo>
                    <a:pt x="735" y="181"/>
                    <a:pt x="733" y="182"/>
                    <a:pt x="731" y="181"/>
                  </a:cubicBezTo>
                  <a:cubicBezTo>
                    <a:pt x="730" y="181"/>
                    <a:pt x="729" y="180"/>
                    <a:pt x="728" y="179"/>
                  </a:cubicBezTo>
                  <a:cubicBezTo>
                    <a:pt x="729" y="179"/>
                    <a:pt x="725" y="177"/>
                    <a:pt x="726" y="177"/>
                  </a:cubicBezTo>
                  <a:cubicBezTo>
                    <a:pt x="723" y="176"/>
                    <a:pt x="720" y="176"/>
                    <a:pt x="717" y="176"/>
                  </a:cubicBezTo>
                  <a:cubicBezTo>
                    <a:pt x="714" y="176"/>
                    <a:pt x="708" y="177"/>
                    <a:pt x="705" y="176"/>
                  </a:cubicBezTo>
                  <a:cubicBezTo>
                    <a:pt x="704" y="176"/>
                    <a:pt x="705" y="175"/>
                    <a:pt x="704" y="175"/>
                  </a:cubicBezTo>
                  <a:cubicBezTo>
                    <a:pt x="703" y="174"/>
                    <a:pt x="702" y="174"/>
                    <a:pt x="702" y="174"/>
                  </a:cubicBezTo>
                  <a:cubicBezTo>
                    <a:pt x="699" y="171"/>
                    <a:pt x="699" y="168"/>
                    <a:pt x="697" y="166"/>
                  </a:cubicBezTo>
                  <a:cubicBezTo>
                    <a:pt x="691" y="162"/>
                    <a:pt x="685" y="162"/>
                    <a:pt x="678" y="162"/>
                  </a:cubicBezTo>
                  <a:cubicBezTo>
                    <a:pt x="674" y="162"/>
                    <a:pt x="671" y="162"/>
                    <a:pt x="668" y="163"/>
                  </a:cubicBezTo>
                  <a:cubicBezTo>
                    <a:pt x="664" y="164"/>
                    <a:pt x="662" y="167"/>
                    <a:pt x="658" y="167"/>
                  </a:cubicBezTo>
                  <a:cubicBezTo>
                    <a:pt x="654" y="166"/>
                    <a:pt x="654" y="164"/>
                    <a:pt x="652" y="161"/>
                  </a:cubicBezTo>
                  <a:cubicBezTo>
                    <a:pt x="652" y="159"/>
                    <a:pt x="652" y="159"/>
                    <a:pt x="651" y="157"/>
                  </a:cubicBezTo>
                  <a:cubicBezTo>
                    <a:pt x="651" y="156"/>
                    <a:pt x="649" y="155"/>
                    <a:pt x="648" y="154"/>
                  </a:cubicBezTo>
                  <a:cubicBezTo>
                    <a:pt x="643" y="148"/>
                    <a:pt x="639" y="146"/>
                    <a:pt x="633" y="143"/>
                  </a:cubicBezTo>
                  <a:cubicBezTo>
                    <a:pt x="629" y="141"/>
                    <a:pt x="628" y="139"/>
                    <a:pt x="624" y="142"/>
                  </a:cubicBezTo>
                  <a:cubicBezTo>
                    <a:pt x="618" y="145"/>
                    <a:pt x="617" y="142"/>
                    <a:pt x="612" y="139"/>
                  </a:cubicBezTo>
                  <a:cubicBezTo>
                    <a:pt x="609" y="137"/>
                    <a:pt x="606" y="136"/>
                    <a:pt x="601" y="136"/>
                  </a:cubicBezTo>
                  <a:cubicBezTo>
                    <a:pt x="600" y="136"/>
                    <a:pt x="598" y="136"/>
                    <a:pt x="597" y="137"/>
                  </a:cubicBezTo>
                  <a:cubicBezTo>
                    <a:pt x="595" y="137"/>
                    <a:pt x="594" y="139"/>
                    <a:pt x="593" y="140"/>
                  </a:cubicBezTo>
                  <a:cubicBezTo>
                    <a:pt x="589" y="142"/>
                    <a:pt x="584" y="134"/>
                    <a:pt x="583" y="132"/>
                  </a:cubicBezTo>
                  <a:cubicBezTo>
                    <a:pt x="583" y="131"/>
                    <a:pt x="583" y="129"/>
                    <a:pt x="582" y="128"/>
                  </a:cubicBezTo>
                  <a:cubicBezTo>
                    <a:pt x="581" y="126"/>
                    <a:pt x="579" y="127"/>
                    <a:pt x="577" y="126"/>
                  </a:cubicBezTo>
                  <a:cubicBezTo>
                    <a:pt x="569" y="123"/>
                    <a:pt x="564" y="116"/>
                    <a:pt x="555" y="116"/>
                  </a:cubicBezTo>
                  <a:cubicBezTo>
                    <a:pt x="554" y="111"/>
                    <a:pt x="553" y="107"/>
                    <a:pt x="553" y="102"/>
                  </a:cubicBezTo>
                  <a:cubicBezTo>
                    <a:pt x="553" y="101"/>
                    <a:pt x="552" y="99"/>
                    <a:pt x="553" y="97"/>
                  </a:cubicBezTo>
                  <a:cubicBezTo>
                    <a:pt x="554" y="94"/>
                    <a:pt x="557" y="92"/>
                    <a:pt x="554" y="89"/>
                  </a:cubicBezTo>
                  <a:cubicBezTo>
                    <a:pt x="552" y="88"/>
                    <a:pt x="551" y="87"/>
                    <a:pt x="549" y="87"/>
                  </a:cubicBezTo>
                  <a:cubicBezTo>
                    <a:pt x="547" y="88"/>
                    <a:pt x="545" y="90"/>
                    <a:pt x="544" y="91"/>
                  </a:cubicBezTo>
                  <a:cubicBezTo>
                    <a:pt x="544" y="93"/>
                    <a:pt x="545" y="96"/>
                    <a:pt x="544" y="98"/>
                  </a:cubicBezTo>
                  <a:cubicBezTo>
                    <a:pt x="543" y="99"/>
                    <a:pt x="540" y="100"/>
                    <a:pt x="539" y="101"/>
                  </a:cubicBezTo>
                  <a:cubicBezTo>
                    <a:pt x="536" y="103"/>
                    <a:pt x="532" y="106"/>
                    <a:pt x="529" y="105"/>
                  </a:cubicBezTo>
                  <a:cubicBezTo>
                    <a:pt x="526" y="104"/>
                    <a:pt x="527" y="104"/>
                    <a:pt x="525" y="102"/>
                  </a:cubicBezTo>
                  <a:cubicBezTo>
                    <a:pt x="522" y="100"/>
                    <a:pt x="522" y="101"/>
                    <a:pt x="521" y="97"/>
                  </a:cubicBezTo>
                  <a:cubicBezTo>
                    <a:pt x="520" y="95"/>
                    <a:pt x="520" y="88"/>
                    <a:pt x="518" y="86"/>
                  </a:cubicBezTo>
                  <a:cubicBezTo>
                    <a:pt x="516" y="85"/>
                    <a:pt x="514" y="87"/>
                    <a:pt x="513" y="85"/>
                  </a:cubicBezTo>
                  <a:cubicBezTo>
                    <a:pt x="512" y="85"/>
                    <a:pt x="512" y="80"/>
                    <a:pt x="513" y="80"/>
                  </a:cubicBezTo>
                  <a:cubicBezTo>
                    <a:pt x="514" y="77"/>
                    <a:pt x="517" y="80"/>
                    <a:pt x="517" y="76"/>
                  </a:cubicBezTo>
                  <a:cubicBezTo>
                    <a:pt x="518" y="72"/>
                    <a:pt x="512" y="71"/>
                    <a:pt x="509" y="70"/>
                  </a:cubicBezTo>
                  <a:cubicBezTo>
                    <a:pt x="508" y="69"/>
                    <a:pt x="506" y="68"/>
                    <a:pt x="505" y="67"/>
                  </a:cubicBezTo>
                  <a:cubicBezTo>
                    <a:pt x="502" y="67"/>
                    <a:pt x="500" y="69"/>
                    <a:pt x="498" y="69"/>
                  </a:cubicBezTo>
                  <a:cubicBezTo>
                    <a:pt x="494" y="69"/>
                    <a:pt x="491" y="67"/>
                    <a:pt x="491" y="64"/>
                  </a:cubicBezTo>
                  <a:cubicBezTo>
                    <a:pt x="490" y="62"/>
                    <a:pt x="491" y="60"/>
                    <a:pt x="490" y="59"/>
                  </a:cubicBezTo>
                  <a:cubicBezTo>
                    <a:pt x="488" y="55"/>
                    <a:pt x="483" y="57"/>
                    <a:pt x="480" y="56"/>
                  </a:cubicBezTo>
                  <a:cubicBezTo>
                    <a:pt x="476" y="56"/>
                    <a:pt x="469" y="50"/>
                    <a:pt x="469" y="46"/>
                  </a:cubicBezTo>
                  <a:cubicBezTo>
                    <a:pt x="470" y="44"/>
                    <a:pt x="473" y="43"/>
                    <a:pt x="473" y="41"/>
                  </a:cubicBezTo>
                  <a:cubicBezTo>
                    <a:pt x="473" y="40"/>
                    <a:pt x="472" y="39"/>
                    <a:pt x="472" y="38"/>
                  </a:cubicBezTo>
                  <a:cubicBezTo>
                    <a:pt x="470" y="34"/>
                    <a:pt x="466" y="30"/>
                    <a:pt x="461" y="31"/>
                  </a:cubicBezTo>
                  <a:cubicBezTo>
                    <a:pt x="457" y="31"/>
                    <a:pt x="453" y="35"/>
                    <a:pt x="449" y="35"/>
                  </a:cubicBezTo>
                  <a:cubicBezTo>
                    <a:pt x="444" y="36"/>
                    <a:pt x="442" y="32"/>
                    <a:pt x="438" y="29"/>
                  </a:cubicBezTo>
                  <a:cubicBezTo>
                    <a:pt x="435" y="26"/>
                    <a:pt x="434" y="24"/>
                    <a:pt x="433" y="20"/>
                  </a:cubicBezTo>
                  <a:cubicBezTo>
                    <a:pt x="433" y="17"/>
                    <a:pt x="433" y="13"/>
                    <a:pt x="433" y="10"/>
                  </a:cubicBezTo>
                  <a:cubicBezTo>
                    <a:pt x="434" y="8"/>
                    <a:pt x="434" y="8"/>
                    <a:pt x="434" y="8"/>
                  </a:cubicBezTo>
                  <a:cubicBezTo>
                    <a:pt x="434" y="7"/>
                    <a:pt x="434" y="8"/>
                    <a:pt x="433" y="7"/>
                  </a:cubicBezTo>
                  <a:cubicBezTo>
                    <a:pt x="433" y="7"/>
                    <a:pt x="432" y="4"/>
                    <a:pt x="432" y="4"/>
                  </a:cubicBezTo>
                  <a:cubicBezTo>
                    <a:pt x="431" y="3"/>
                    <a:pt x="429" y="2"/>
                    <a:pt x="427" y="1"/>
                  </a:cubicBezTo>
                  <a:cubicBezTo>
                    <a:pt x="422" y="0"/>
                    <a:pt x="418" y="1"/>
                    <a:pt x="416" y="5"/>
                  </a:cubicBezTo>
                  <a:cubicBezTo>
                    <a:pt x="415" y="6"/>
                    <a:pt x="415" y="7"/>
                    <a:pt x="415" y="8"/>
                  </a:cubicBezTo>
                  <a:cubicBezTo>
                    <a:pt x="414" y="8"/>
                    <a:pt x="412" y="9"/>
                    <a:pt x="411" y="10"/>
                  </a:cubicBezTo>
                  <a:cubicBezTo>
                    <a:pt x="410" y="11"/>
                    <a:pt x="410" y="14"/>
                    <a:pt x="408" y="15"/>
                  </a:cubicBezTo>
                  <a:cubicBezTo>
                    <a:pt x="406" y="18"/>
                    <a:pt x="403" y="20"/>
                    <a:pt x="401" y="23"/>
                  </a:cubicBezTo>
                  <a:cubicBezTo>
                    <a:pt x="396" y="31"/>
                    <a:pt x="387" y="29"/>
                    <a:pt x="380" y="33"/>
                  </a:cubicBezTo>
                  <a:cubicBezTo>
                    <a:pt x="378" y="35"/>
                    <a:pt x="375" y="37"/>
                    <a:pt x="374" y="39"/>
                  </a:cubicBezTo>
                  <a:cubicBezTo>
                    <a:pt x="372" y="41"/>
                    <a:pt x="373" y="43"/>
                    <a:pt x="373" y="45"/>
                  </a:cubicBezTo>
                  <a:cubicBezTo>
                    <a:pt x="372" y="51"/>
                    <a:pt x="370" y="55"/>
                    <a:pt x="368" y="61"/>
                  </a:cubicBezTo>
                  <a:cubicBezTo>
                    <a:pt x="367" y="65"/>
                    <a:pt x="369" y="70"/>
                    <a:pt x="368" y="74"/>
                  </a:cubicBezTo>
                  <a:cubicBezTo>
                    <a:pt x="367" y="79"/>
                    <a:pt x="365" y="86"/>
                    <a:pt x="361" y="90"/>
                  </a:cubicBezTo>
                  <a:cubicBezTo>
                    <a:pt x="358" y="94"/>
                    <a:pt x="352" y="95"/>
                    <a:pt x="348" y="97"/>
                  </a:cubicBezTo>
                  <a:cubicBezTo>
                    <a:pt x="345" y="99"/>
                    <a:pt x="341" y="102"/>
                    <a:pt x="338" y="105"/>
                  </a:cubicBezTo>
                  <a:cubicBezTo>
                    <a:pt x="335" y="106"/>
                    <a:pt x="334" y="107"/>
                    <a:pt x="331" y="108"/>
                  </a:cubicBezTo>
                  <a:cubicBezTo>
                    <a:pt x="328" y="109"/>
                    <a:pt x="326" y="112"/>
                    <a:pt x="323" y="113"/>
                  </a:cubicBezTo>
                  <a:cubicBezTo>
                    <a:pt x="321" y="115"/>
                    <a:pt x="317" y="114"/>
                    <a:pt x="314" y="115"/>
                  </a:cubicBezTo>
                  <a:cubicBezTo>
                    <a:pt x="311" y="116"/>
                    <a:pt x="310" y="118"/>
                    <a:pt x="307" y="119"/>
                  </a:cubicBezTo>
                  <a:cubicBezTo>
                    <a:pt x="304" y="122"/>
                    <a:pt x="298" y="120"/>
                    <a:pt x="295" y="122"/>
                  </a:cubicBezTo>
                  <a:cubicBezTo>
                    <a:pt x="293" y="123"/>
                    <a:pt x="293" y="125"/>
                    <a:pt x="292" y="126"/>
                  </a:cubicBezTo>
                  <a:cubicBezTo>
                    <a:pt x="290" y="128"/>
                    <a:pt x="287" y="128"/>
                    <a:pt x="284" y="128"/>
                  </a:cubicBezTo>
                  <a:cubicBezTo>
                    <a:pt x="282" y="128"/>
                    <a:pt x="280" y="127"/>
                    <a:pt x="279" y="129"/>
                  </a:cubicBezTo>
                  <a:cubicBezTo>
                    <a:pt x="278" y="131"/>
                    <a:pt x="280" y="134"/>
                    <a:pt x="280" y="136"/>
                  </a:cubicBezTo>
                  <a:cubicBezTo>
                    <a:pt x="282" y="141"/>
                    <a:pt x="285" y="144"/>
                    <a:pt x="290" y="145"/>
                  </a:cubicBezTo>
                  <a:cubicBezTo>
                    <a:pt x="292" y="151"/>
                    <a:pt x="286" y="152"/>
                    <a:pt x="282" y="154"/>
                  </a:cubicBezTo>
                  <a:cubicBezTo>
                    <a:pt x="278" y="156"/>
                    <a:pt x="275" y="158"/>
                    <a:pt x="271" y="157"/>
                  </a:cubicBezTo>
                  <a:cubicBezTo>
                    <a:pt x="269" y="156"/>
                    <a:pt x="268" y="155"/>
                    <a:pt x="266" y="155"/>
                  </a:cubicBezTo>
                  <a:cubicBezTo>
                    <a:pt x="263" y="155"/>
                    <a:pt x="262" y="156"/>
                    <a:pt x="259" y="157"/>
                  </a:cubicBezTo>
                  <a:cubicBezTo>
                    <a:pt x="255" y="159"/>
                    <a:pt x="249" y="159"/>
                    <a:pt x="245" y="157"/>
                  </a:cubicBezTo>
                  <a:cubicBezTo>
                    <a:pt x="237" y="152"/>
                    <a:pt x="224" y="155"/>
                    <a:pt x="219" y="148"/>
                  </a:cubicBezTo>
                  <a:cubicBezTo>
                    <a:pt x="218" y="147"/>
                    <a:pt x="217" y="145"/>
                    <a:pt x="216" y="143"/>
                  </a:cubicBezTo>
                  <a:cubicBezTo>
                    <a:pt x="214" y="142"/>
                    <a:pt x="211" y="141"/>
                    <a:pt x="210" y="138"/>
                  </a:cubicBezTo>
                  <a:cubicBezTo>
                    <a:pt x="210" y="136"/>
                    <a:pt x="210" y="133"/>
                    <a:pt x="210" y="131"/>
                  </a:cubicBezTo>
                  <a:cubicBezTo>
                    <a:pt x="210" y="129"/>
                    <a:pt x="209" y="127"/>
                    <a:pt x="209" y="124"/>
                  </a:cubicBezTo>
                  <a:cubicBezTo>
                    <a:pt x="205" y="122"/>
                    <a:pt x="192" y="122"/>
                    <a:pt x="188" y="126"/>
                  </a:cubicBezTo>
                  <a:cubicBezTo>
                    <a:pt x="185" y="128"/>
                    <a:pt x="182" y="130"/>
                    <a:pt x="179" y="132"/>
                  </a:cubicBezTo>
                  <a:cubicBezTo>
                    <a:pt x="177" y="136"/>
                    <a:pt x="177" y="142"/>
                    <a:pt x="179" y="146"/>
                  </a:cubicBezTo>
                  <a:cubicBezTo>
                    <a:pt x="181" y="150"/>
                    <a:pt x="180" y="154"/>
                    <a:pt x="182" y="158"/>
                  </a:cubicBezTo>
                  <a:cubicBezTo>
                    <a:pt x="183" y="160"/>
                    <a:pt x="184" y="161"/>
                    <a:pt x="185" y="163"/>
                  </a:cubicBezTo>
                  <a:cubicBezTo>
                    <a:pt x="188" y="168"/>
                    <a:pt x="190" y="174"/>
                    <a:pt x="190" y="179"/>
                  </a:cubicBezTo>
                  <a:cubicBezTo>
                    <a:pt x="191" y="186"/>
                    <a:pt x="192" y="194"/>
                    <a:pt x="193" y="202"/>
                  </a:cubicBezTo>
                  <a:cubicBezTo>
                    <a:pt x="193" y="205"/>
                    <a:pt x="193" y="207"/>
                    <a:pt x="192" y="208"/>
                  </a:cubicBezTo>
                  <a:cubicBezTo>
                    <a:pt x="192" y="207"/>
                    <a:pt x="188" y="210"/>
                    <a:pt x="189" y="210"/>
                  </a:cubicBezTo>
                  <a:cubicBezTo>
                    <a:pt x="188" y="210"/>
                    <a:pt x="187" y="211"/>
                    <a:pt x="186" y="211"/>
                  </a:cubicBezTo>
                  <a:cubicBezTo>
                    <a:pt x="184" y="211"/>
                    <a:pt x="183" y="211"/>
                    <a:pt x="182" y="211"/>
                  </a:cubicBezTo>
                  <a:cubicBezTo>
                    <a:pt x="182" y="211"/>
                    <a:pt x="179" y="213"/>
                    <a:pt x="180" y="213"/>
                  </a:cubicBezTo>
                  <a:cubicBezTo>
                    <a:pt x="177" y="213"/>
                    <a:pt x="179" y="212"/>
                    <a:pt x="176" y="211"/>
                  </a:cubicBezTo>
                  <a:cubicBezTo>
                    <a:pt x="175" y="211"/>
                    <a:pt x="171" y="211"/>
                    <a:pt x="171" y="211"/>
                  </a:cubicBezTo>
                  <a:cubicBezTo>
                    <a:pt x="169" y="211"/>
                    <a:pt x="169" y="213"/>
                    <a:pt x="168" y="213"/>
                  </a:cubicBezTo>
                  <a:cubicBezTo>
                    <a:pt x="167" y="214"/>
                    <a:pt x="166" y="213"/>
                    <a:pt x="165" y="214"/>
                  </a:cubicBezTo>
                  <a:cubicBezTo>
                    <a:pt x="164" y="214"/>
                    <a:pt x="164" y="215"/>
                    <a:pt x="164" y="215"/>
                  </a:cubicBezTo>
                  <a:cubicBezTo>
                    <a:pt x="162" y="216"/>
                    <a:pt x="161" y="216"/>
                    <a:pt x="160" y="216"/>
                  </a:cubicBezTo>
                  <a:cubicBezTo>
                    <a:pt x="158" y="216"/>
                    <a:pt x="155" y="216"/>
                    <a:pt x="153" y="216"/>
                  </a:cubicBezTo>
                  <a:cubicBezTo>
                    <a:pt x="149" y="215"/>
                    <a:pt x="144" y="210"/>
                    <a:pt x="141" y="214"/>
                  </a:cubicBezTo>
                  <a:cubicBezTo>
                    <a:pt x="138" y="217"/>
                    <a:pt x="140" y="218"/>
                    <a:pt x="137" y="219"/>
                  </a:cubicBezTo>
                  <a:cubicBezTo>
                    <a:pt x="135" y="220"/>
                    <a:pt x="131" y="219"/>
                    <a:pt x="129" y="219"/>
                  </a:cubicBezTo>
                  <a:cubicBezTo>
                    <a:pt x="122" y="219"/>
                    <a:pt x="120" y="217"/>
                    <a:pt x="118" y="210"/>
                  </a:cubicBezTo>
                  <a:cubicBezTo>
                    <a:pt x="117" y="205"/>
                    <a:pt x="115" y="203"/>
                    <a:pt x="110" y="201"/>
                  </a:cubicBezTo>
                  <a:cubicBezTo>
                    <a:pt x="107" y="199"/>
                    <a:pt x="101" y="201"/>
                    <a:pt x="100" y="198"/>
                  </a:cubicBezTo>
                  <a:cubicBezTo>
                    <a:pt x="98" y="200"/>
                    <a:pt x="98" y="202"/>
                    <a:pt x="95" y="203"/>
                  </a:cubicBezTo>
                  <a:cubicBezTo>
                    <a:pt x="94" y="203"/>
                    <a:pt x="92" y="202"/>
                    <a:pt x="91" y="203"/>
                  </a:cubicBezTo>
                  <a:cubicBezTo>
                    <a:pt x="89" y="203"/>
                    <a:pt x="88" y="205"/>
                    <a:pt x="86" y="206"/>
                  </a:cubicBezTo>
                  <a:cubicBezTo>
                    <a:pt x="85" y="206"/>
                    <a:pt x="84" y="206"/>
                    <a:pt x="83" y="206"/>
                  </a:cubicBezTo>
                  <a:cubicBezTo>
                    <a:pt x="82" y="206"/>
                    <a:pt x="82" y="207"/>
                    <a:pt x="81" y="208"/>
                  </a:cubicBezTo>
                  <a:cubicBezTo>
                    <a:pt x="80" y="209"/>
                    <a:pt x="80" y="210"/>
                    <a:pt x="78" y="210"/>
                  </a:cubicBezTo>
                  <a:cubicBezTo>
                    <a:pt x="76" y="212"/>
                    <a:pt x="74" y="211"/>
                    <a:pt x="71" y="210"/>
                  </a:cubicBezTo>
                  <a:cubicBezTo>
                    <a:pt x="69" y="210"/>
                    <a:pt x="64" y="209"/>
                    <a:pt x="62" y="210"/>
                  </a:cubicBezTo>
                  <a:cubicBezTo>
                    <a:pt x="59" y="211"/>
                    <a:pt x="60" y="215"/>
                    <a:pt x="56" y="213"/>
                  </a:cubicBezTo>
                  <a:cubicBezTo>
                    <a:pt x="53" y="212"/>
                    <a:pt x="54" y="209"/>
                    <a:pt x="50" y="208"/>
                  </a:cubicBezTo>
                  <a:cubicBezTo>
                    <a:pt x="46" y="208"/>
                    <a:pt x="44" y="209"/>
                    <a:pt x="41" y="211"/>
                  </a:cubicBezTo>
                  <a:cubicBezTo>
                    <a:pt x="41" y="211"/>
                    <a:pt x="40" y="211"/>
                    <a:pt x="39" y="211"/>
                  </a:cubicBezTo>
                  <a:cubicBezTo>
                    <a:pt x="39" y="211"/>
                    <a:pt x="38" y="212"/>
                    <a:pt x="38" y="213"/>
                  </a:cubicBezTo>
                  <a:cubicBezTo>
                    <a:pt x="36" y="213"/>
                    <a:pt x="35" y="213"/>
                    <a:pt x="33" y="213"/>
                  </a:cubicBezTo>
                  <a:cubicBezTo>
                    <a:pt x="31" y="213"/>
                    <a:pt x="27" y="213"/>
                    <a:pt x="26" y="214"/>
                  </a:cubicBezTo>
                  <a:cubicBezTo>
                    <a:pt x="23" y="215"/>
                    <a:pt x="21" y="218"/>
                    <a:pt x="20" y="220"/>
                  </a:cubicBezTo>
                  <a:cubicBezTo>
                    <a:pt x="20" y="221"/>
                    <a:pt x="19" y="221"/>
                    <a:pt x="18" y="222"/>
                  </a:cubicBezTo>
                  <a:cubicBezTo>
                    <a:pt x="18" y="222"/>
                    <a:pt x="17" y="222"/>
                    <a:pt x="17" y="222"/>
                  </a:cubicBezTo>
                  <a:cubicBezTo>
                    <a:pt x="16" y="223"/>
                    <a:pt x="14" y="224"/>
                    <a:pt x="13" y="224"/>
                  </a:cubicBezTo>
                  <a:cubicBezTo>
                    <a:pt x="11" y="225"/>
                    <a:pt x="9" y="232"/>
                    <a:pt x="8" y="234"/>
                  </a:cubicBezTo>
                  <a:cubicBezTo>
                    <a:pt x="8" y="237"/>
                    <a:pt x="8" y="237"/>
                    <a:pt x="10" y="238"/>
                  </a:cubicBezTo>
                  <a:cubicBezTo>
                    <a:pt x="10" y="238"/>
                    <a:pt x="11" y="237"/>
                    <a:pt x="12" y="237"/>
                  </a:cubicBezTo>
                  <a:cubicBezTo>
                    <a:pt x="14" y="238"/>
                    <a:pt x="14" y="240"/>
                    <a:pt x="16" y="240"/>
                  </a:cubicBezTo>
                  <a:cubicBezTo>
                    <a:pt x="17" y="240"/>
                    <a:pt x="18" y="240"/>
                    <a:pt x="19" y="240"/>
                  </a:cubicBezTo>
                  <a:cubicBezTo>
                    <a:pt x="21" y="241"/>
                    <a:pt x="23" y="241"/>
                    <a:pt x="24" y="242"/>
                  </a:cubicBezTo>
                  <a:cubicBezTo>
                    <a:pt x="28" y="243"/>
                    <a:pt x="27" y="241"/>
                    <a:pt x="31" y="240"/>
                  </a:cubicBezTo>
                  <a:cubicBezTo>
                    <a:pt x="34" y="239"/>
                    <a:pt x="38" y="242"/>
                    <a:pt x="36" y="246"/>
                  </a:cubicBezTo>
                  <a:cubicBezTo>
                    <a:pt x="32" y="247"/>
                    <a:pt x="28" y="244"/>
                    <a:pt x="23" y="245"/>
                  </a:cubicBezTo>
                  <a:cubicBezTo>
                    <a:pt x="21" y="249"/>
                    <a:pt x="30" y="249"/>
                    <a:pt x="32" y="250"/>
                  </a:cubicBezTo>
                  <a:cubicBezTo>
                    <a:pt x="34" y="251"/>
                    <a:pt x="35" y="252"/>
                    <a:pt x="35" y="254"/>
                  </a:cubicBezTo>
                  <a:cubicBezTo>
                    <a:pt x="34" y="256"/>
                    <a:pt x="33" y="255"/>
                    <a:pt x="31" y="255"/>
                  </a:cubicBezTo>
                  <a:cubicBezTo>
                    <a:pt x="28" y="256"/>
                    <a:pt x="26" y="255"/>
                    <a:pt x="23" y="255"/>
                  </a:cubicBezTo>
                  <a:cubicBezTo>
                    <a:pt x="19" y="256"/>
                    <a:pt x="16" y="254"/>
                    <a:pt x="11" y="254"/>
                  </a:cubicBezTo>
                  <a:cubicBezTo>
                    <a:pt x="9" y="254"/>
                    <a:pt x="4" y="253"/>
                    <a:pt x="2" y="254"/>
                  </a:cubicBezTo>
                  <a:cubicBezTo>
                    <a:pt x="1" y="254"/>
                    <a:pt x="0" y="254"/>
                    <a:pt x="0" y="257"/>
                  </a:cubicBezTo>
                  <a:cubicBezTo>
                    <a:pt x="1" y="260"/>
                    <a:pt x="7" y="260"/>
                    <a:pt x="10" y="262"/>
                  </a:cubicBezTo>
                  <a:cubicBezTo>
                    <a:pt x="12" y="264"/>
                    <a:pt x="14" y="266"/>
                    <a:pt x="17" y="266"/>
                  </a:cubicBezTo>
                  <a:cubicBezTo>
                    <a:pt x="22" y="268"/>
                    <a:pt x="27" y="271"/>
                    <a:pt x="33" y="272"/>
                  </a:cubicBezTo>
                  <a:cubicBezTo>
                    <a:pt x="33" y="273"/>
                    <a:pt x="33" y="276"/>
                    <a:pt x="33" y="277"/>
                  </a:cubicBezTo>
                  <a:cubicBezTo>
                    <a:pt x="32" y="279"/>
                    <a:pt x="31" y="279"/>
                    <a:pt x="30" y="281"/>
                  </a:cubicBezTo>
                  <a:cubicBezTo>
                    <a:pt x="28" y="286"/>
                    <a:pt x="33" y="287"/>
                    <a:pt x="36" y="288"/>
                  </a:cubicBezTo>
                  <a:cubicBezTo>
                    <a:pt x="37" y="288"/>
                    <a:pt x="39" y="288"/>
                    <a:pt x="40" y="288"/>
                  </a:cubicBezTo>
                  <a:cubicBezTo>
                    <a:pt x="43" y="287"/>
                    <a:pt x="41" y="285"/>
                    <a:pt x="43" y="283"/>
                  </a:cubicBezTo>
                  <a:cubicBezTo>
                    <a:pt x="45" y="281"/>
                    <a:pt x="47" y="283"/>
                    <a:pt x="49" y="285"/>
                  </a:cubicBezTo>
                  <a:cubicBezTo>
                    <a:pt x="49" y="284"/>
                    <a:pt x="51" y="283"/>
                    <a:pt x="52" y="283"/>
                  </a:cubicBezTo>
                  <a:cubicBezTo>
                    <a:pt x="52" y="280"/>
                    <a:pt x="57" y="279"/>
                    <a:pt x="58" y="281"/>
                  </a:cubicBezTo>
                  <a:cubicBezTo>
                    <a:pt x="60" y="282"/>
                    <a:pt x="58" y="284"/>
                    <a:pt x="60" y="286"/>
                  </a:cubicBezTo>
                  <a:cubicBezTo>
                    <a:pt x="62" y="286"/>
                    <a:pt x="63" y="286"/>
                    <a:pt x="65" y="286"/>
                  </a:cubicBezTo>
                  <a:cubicBezTo>
                    <a:pt x="67" y="287"/>
                    <a:pt x="68" y="288"/>
                    <a:pt x="71" y="289"/>
                  </a:cubicBezTo>
                  <a:cubicBezTo>
                    <a:pt x="73" y="289"/>
                    <a:pt x="75" y="289"/>
                    <a:pt x="77" y="289"/>
                  </a:cubicBezTo>
                  <a:cubicBezTo>
                    <a:pt x="83" y="288"/>
                    <a:pt x="81" y="290"/>
                    <a:pt x="84" y="294"/>
                  </a:cubicBezTo>
                  <a:cubicBezTo>
                    <a:pt x="85" y="297"/>
                    <a:pt x="84" y="295"/>
                    <a:pt x="87" y="296"/>
                  </a:cubicBezTo>
                  <a:cubicBezTo>
                    <a:pt x="89" y="297"/>
                    <a:pt x="88" y="297"/>
                    <a:pt x="90" y="299"/>
                  </a:cubicBezTo>
                  <a:cubicBezTo>
                    <a:pt x="93" y="301"/>
                    <a:pt x="93" y="301"/>
                    <a:pt x="96" y="302"/>
                  </a:cubicBezTo>
                  <a:cubicBezTo>
                    <a:pt x="100" y="302"/>
                    <a:pt x="98" y="302"/>
                    <a:pt x="101" y="305"/>
                  </a:cubicBezTo>
                  <a:cubicBezTo>
                    <a:pt x="104" y="308"/>
                    <a:pt x="108" y="306"/>
                    <a:pt x="112" y="305"/>
                  </a:cubicBezTo>
                  <a:cubicBezTo>
                    <a:pt x="114" y="303"/>
                    <a:pt x="118" y="303"/>
                    <a:pt x="120" y="304"/>
                  </a:cubicBezTo>
                  <a:cubicBezTo>
                    <a:pt x="123" y="309"/>
                    <a:pt x="113" y="305"/>
                    <a:pt x="114" y="310"/>
                  </a:cubicBezTo>
                  <a:cubicBezTo>
                    <a:pt x="114" y="313"/>
                    <a:pt x="126" y="312"/>
                    <a:pt x="129" y="312"/>
                  </a:cubicBezTo>
                  <a:cubicBezTo>
                    <a:pt x="132" y="312"/>
                    <a:pt x="136" y="311"/>
                    <a:pt x="136" y="315"/>
                  </a:cubicBezTo>
                  <a:cubicBezTo>
                    <a:pt x="136" y="317"/>
                    <a:pt x="134" y="319"/>
                    <a:pt x="133" y="320"/>
                  </a:cubicBezTo>
                  <a:cubicBezTo>
                    <a:pt x="132" y="321"/>
                    <a:pt x="131" y="325"/>
                    <a:pt x="132" y="326"/>
                  </a:cubicBezTo>
                  <a:cubicBezTo>
                    <a:pt x="132" y="331"/>
                    <a:pt x="139" y="327"/>
                    <a:pt x="142" y="328"/>
                  </a:cubicBezTo>
                  <a:cubicBezTo>
                    <a:pt x="145" y="329"/>
                    <a:pt x="147" y="333"/>
                    <a:pt x="148" y="335"/>
                  </a:cubicBezTo>
                  <a:cubicBezTo>
                    <a:pt x="148" y="337"/>
                    <a:pt x="147" y="340"/>
                    <a:pt x="147" y="341"/>
                  </a:cubicBezTo>
                  <a:cubicBezTo>
                    <a:pt x="148" y="343"/>
                    <a:pt x="151" y="343"/>
                    <a:pt x="153" y="344"/>
                  </a:cubicBezTo>
                  <a:cubicBezTo>
                    <a:pt x="155" y="346"/>
                    <a:pt x="155" y="346"/>
                    <a:pt x="156" y="349"/>
                  </a:cubicBezTo>
                  <a:cubicBezTo>
                    <a:pt x="157" y="350"/>
                    <a:pt x="158" y="354"/>
                    <a:pt x="157" y="355"/>
                  </a:cubicBezTo>
                  <a:cubicBezTo>
                    <a:pt x="156" y="355"/>
                    <a:pt x="154" y="356"/>
                    <a:pt x="153" y="355"/>
                  </a:cubicBezTo>
                  <a:cubicBezTo>
                    <a:pt x="152" y="355"/>
                    <a:pt x="150" y="351"/>
                    <a:pt x="149" y="350"/>
                  </a:cubicBezTo>
                  <a:cubicBezTo>
                    <a:pt x="148" y="349"/>
                    <a:pt x="148" y="347"/>
                    <a:pt x="145" y="347"/>
                  </a:cubicBezTo>
                  <a:cubicBezTo>
                    <a:pt x="142" y="347"/>
                    <a:pt x="141" y="351"/>
                    <a:pt x="142" y="353"/>
                  </a:cubicBezTo>
                  <a:cubicBezTo>
                    <a:pt x="143" y="355"/>
                    <a:pt x="146" y="356"/>
                    <a:pt x="147" y="358"/>
                  </a:cubicBezTo>
                  <a:cubicBezTo>
                    <a:pt x="149" y="360"/>
                    <a:pt x="150" y="362"/>
                    <a:pt x="152" y="364"/>
                  </a:cubicBezTo>
                  <a:cubicBezTo>
                    <a:pt x="156" y="368"/>
                    <a:pt x="161" y="373"/>
                    <a:pt x="161" y="379"/>
                  </a:cubicBezTo>
                  <a:cubicBezTo>
                    <a:pt x="165" y="379"/>
                    <a:pt x="165" y="385"/>
                    <a:pt x="167" y="387"/>
                  </a:cubicBezTo>
                  <a:cubicBezTo>
                    <a:pt x="169" y="388"/>
                    <a:pt x="171" y="388"/>
                    <a:pt x="172" y="389"/>
                  </a:cubicBezTo>
                  <a:cubicBezTo>
                    <a:pt x="174" y="390"/>
                    <a:pt x="174" y="393"/>
                    <a:pt x="175" y="395"/>
                  </a:cubicBezTo>
                  <a:cubicBezTo>
                    <a:pt x="176" y="396"/>
                    <a:pt x="179" y="400"/>
                    <a:pt x="180" y="400"/>
                  </a:cubicBezTo>
                  <a:cubicBezTo>
                    <a:pt x="182" y="401"/>
                    <a:pt x="184" y="401"/>
                    <a:pt x="187" y="401"/>
                  </a:cubicBezTo>
                  <a:cubicBezTo>
                    <a:pt x="191" y="401"/>
                    <a:pt x="192" y="403"/>
                    <a:pt x="196" y="403"/>
                  </a:cubicBezTo>
                  <a:cubicBezTo>
                    <a:pt x="199" y="403"/>
                    <a:pt x="199" y="403"/>
                    <a:pt x="201" y="404"/>
                  </a:cubicBezTo>
                  <a:cubicBezTo>
                    <a:pt x="202" y="405"/>
                    <a:pt x="203" y="407"/>
                    <a:pt x="205" y="408"/>
                  </a:cubicBezTo>
                  <a:cubicBezTo>
                    <a:pt x="207" y="408"/>
                    <a:pt x="207" y="407"/>
                    <a:pt x="208" y="406"/>
                  </a:cubicBezTo>
                  <a:cubicBezTo>
                    <a:pt x="210" y="406"/>
                    <a:pt x="212" y="405"/>
                    <a:pt x="214" y="405"/>
                  </a:cubicBezTo>
                  <a:cubicBezTo>
                    <a:pt x="218" y="405"/>
                    <a:pt x="222" y="405"/>
                    <a:pt x="226" y="405"/>
                  </a:cubicBezTo>
                  <a:cubicBezTo>
                    <a:pt x="228" y="405"/>
                    <a:pt x="231" y="404"/>
                    <a:pt x="231" y="406"/>
                  </a:cubicBezTo>
                  <a:cubicBezTo>
                    <a:pt x="232" y="409"/>
                    <a:pt x="226" y="409"/>
                    <a:pt x="224" y="409"/>
                  </a:cubicBezTo>
                  <a:cubicBezTo>
                    <a:pt x="221" y="409"/>
                    <a:pt x="218" y="409"/>
                    <a:pt x="215" y="409"/>
                  </a:cubicBezTo>
                  <a:cubicBezTo>
                    <a:pt x="211" y="409"/>
                    <a:pt x="208" y="407"/>
                    <a:pt x="208" y="412"/>
                  </a:cubicBezTo>
                  <a:cubicBezTo>
                    <a:pt x="208" y="414"/>
                    <a:pt x="208" y="417"/>
                    <a:pt x="209" y="419"/>
                  </a:cubicBezTo>
                  <a:cubicBezTo>
                    <a:pt x="210" y="420"/>
                    <a:pt x="211" y="421"/>
                    <a:pt x="212" y="422"/>
                  </a:cubicBezTo>
                  <a:cubicBezTo>
                    <a:pt x="214" y="426"/>
                    <a:pt x="212" y="431"/>
                    <a:pt x="211" y="434"/>
                  </a:cubicBezTo>
                  <a:cubicBezTo>
                    <a:pt x="211" y="436"/>
                    <a:pt x="211" y="443"/>
                    <a:pt x="208" y="443"/>
                  </a:cubicBezTo>
                  <a:cubicBezTo>
                    <a:pt x="208" y="442"/>
                    <a:pt x="204" y="438"/>
                    <a:pt x="204" y="438"/>
                  </a:cubicBezTo>
                  <a:cubicBezTo>
                    <a:pt x="203" y="437"/>
                    <a:pt x="202" y="436"/>
                    <a:pt x="202" y="434"/>
                  </a:cubicBezTo>
                  <a:cubicBezTo>
                    <a:pt x="199" y="430"/>
                    <a:pt x="198" y="432"/>
                    <a:pt x="194" y="430"/>
                  </a:cubicBezTo>
                  <a:cubicBezTo>
                    <a:pt x="189" y="428"/>
                    <a:pt x="193" y="424"/>
                    <a:pt x="189" y="422"/>
                  </a:cubicBezTo>
                  <a:cubicBezTo>
                    <a:pt x="186" y="424"/>
                    <a:pt x="190" y="429"/>
                    <a:pt x="192" y="431"/>
                  </a:cubicBezTo>
                  <a:cubicBezTo>
                    <a:pt x="193" y="433"/>
                    <a:pt x="193" y="434"/>
                    <a:pt x="194" y="435"/>
                  </a:cubicBezTo>
                  <a:cubicBezTo>
                    <a:pt x="196" y="437"/>
                    <a:pt x="196" y="437"/>
                    <a:pt x="198" y="438"/>
                  </a:cubicBezTo>
                  <a:cubicBezTo>
                    <a:pt x="202" y="441"/>
                    <a:pt x="201" y="446"/>
                    <a:pt x="203" y="450"/>
                  </a:cubicBezTo>
                  <a:cubicBezTo>
                    <a:pt x="205" y="454"/>
                    <a:pt x="206" y="458"/>
                    <a:pt x="210" y="460"/>
                  </a:cubicBezTo>
                  <a:cubicBezTo>
                    <a:pt x="212" y="461"/>
                    <a:pt x="214" y="463"/>
                    <a:pt x="216" y="464"/>
                  </a:cubicBezTo>
                  <a:cubicBezTo>
                    <a:pt x="217" y="465"/>
                    <a:pt x="220" y="467"/>
                    <a:pt x="221" y="468"/>
                  </a:cubicBezTo>
                  <a:cubicBezTo>
                    <a:pt x="223" y="470"/>
                    <a:pt x="222" y="473"/>
                    <a:pt x="223" y="475"/>
                  </a:cubicBezTo>
                  <a:cubicBezTo>
                    <a:pt x="225" y="480"/>
                    <a:pt x="227" y="485"/>
                    <a:pt x="229" y="490"/>
                  </a:cubicBezTo>
                  <a:cubicBezTo>
                    <a:pt x="231" y="494"/>
                    <a:pt x="230" y="499"/>
                    <a:pt x="231" y="503"/>
                  </a:cubicBezTo>
                  <a:cubicBezTo>
                    <a:pt x="232" y="505"/>
                    <a:pt x="233" y="506"/>
                    <a:pt x="233" y="507"/>
                  </a:cubicBezTo>
                  <a:cubicBezTo>
                    <a:pt x="234" y="509"/>
                    <a:pt x="234" y="511"/>
                    <a:pt x="234" y="514"/>
                  </a:cubicBezTo>
                  <a:cubicBezTo>
                    <a:pt x="234" y="510"/>
                    <a:pt x="232" y="505"/>
                    <a:pt x="229" y="502"/>
                  </a:cubicBezTo>
                  <a:cubicBezTo>
                    <a:pt x="227" y="498"/>
                    <a:pt x="225" y="494"/>
                    <a:pt x="223" y="491"/>
                  </a:cubicBezTo>
                  <a:cubicBezTo>
                    <a:pt x="221" y="487"/>
                    <a:pt x="221" y="482"/>
                    <a:pt x="219" y="479"/>
                  </a:cubicBezTo>
                  <a:cubicBezTo>
                    <a:pt x="216" y="476"/>
                    <a:pt x="213" y="472"/>
                    <a:pt x="210" y="470"/>
                  </a:cubicBezTo>
                  <a:cubicBezTo>
                    <a:pt x="210" y="470"/>
                    <a:pt x="206" y="467"/>
                    <a:pt x="206" y="467"/>
                  </a:cubicBezTo>
                  <a:cubicBezTo>
                    <a:pt x="204" y="467"/>
                    <a:pt x="203" y="472"/>
                    <a:pt x="203" y="474"/>
                  </a:cubicBezTo>
                  <a:cubicBezTo>
                    <a:pt x="202" y="479"/>
                    <a:pt x="203" y="485"/>
                    <a:pt x="203" y="491"/>
                  </a:cubicBezTo>
                  <a:cubicBezTo>
                    <a:pt x="203" y="494"/>
                    <a:pt x="203" y="497"/>
                    <a:pt x="203" y="500"/>
                  </a:cubicBezTo>
                  <a:cubicBezTo>
                    <a:pt x="202" y="502"/>
                    <a:pt x="201" y="503"/>
                    <a:pt x="200" y="505"/>
                  </a:cubicBezTo>
                  <a:cubicBezTo>
                    <a:pt x="199" y="508"/>
                    <a:pt x="200" y="512"/>
                    <a:pt x="199" y="516"/>
                  </a:cubicBezTo>
                  <a:cubicBezTo>
                    <a:pt x="198" y="519"/>
                    <a:pt x="197" y="521"/>
                    <a:pt x="196" y="524"/>
                  </a:cubicBezTo>
                  <a:cubicBezTo>
                    <a:pt x="196" y="528"/>
                    <a:pt x="195" y="532"/>
                    <a:pt x="194" y="535"/>
                  </a:cubicBezTo>
                  <a:cubicBezTo>
                    <a:pt x="194" y="538"/>
                    <a:pt x="194" y="541"/>
                    <a:pt x="194" y="543"/>
                  </a:cubicBezTo>
                  <a:cubicBezTo>
                    <a:pt x="193" y="546"/>
                    <a:pt x="192" y="548"/>
                    <a:pt x="191" y="551"/>
                  </a:cubicBezTo>
                  <a:cubicBezTo>
                    <a:pt x="191" y="556"/>
                    <a:pt x="190" y="560"/>
                    <a:pt x="189" y="565"/>
                  </a:cubicBezTo>
                  <a:cubicBezTo>
                    <a:pt x="189" y="567"/>
                    <a:pt x="188" y="570"/>
                    <a:pt x="188" y="573"/>
                  </a:cubicBezTo>
                  <a:cubicBezTo>
                    <a:pt x="187" y="577"/>
                    <a:pt x="186" y="576"/>
                    <a:pt x="184" y="579"/>
                  </a:cubicBezTo>
                  <a:cubicBezTo>
                    <a:pt x="181" y="583"/>
                    <a:pt x="182" y="589"/>
                    <a:pt x="182" y="594"/>
                  </a:cubicBezTo>
                  <a:cubicBezTo>
                    <a:pt x="182" y="600"/>
                    <a:pt x="182" y="606"/>
                    <a:pt x="181" y="610"/>
                  </a:cubicBezTo>
                  <a:cubicBezTo>
                    <a:pt x="179" y="617"/>
                    <a:pt x="176" y="619"/>
                    <a:pt x="170" y="623"/>
                  </a:cubicBezTo>
                  <a:cubicBezTo>
                    <a:pt x="168" y="624"/>
                    <a:pt x="166" y="626"/>
                    <a:pt x="165" y="627"/>
                  </a:cubicBezTo>
                  <a:cubicBezTo>
                    <a:pt x="164" y="629"/>
                    <a:pt x="164" y="633"/>
                    <a:pt x="164" y="635"/>
                  </a:cubicBezTo>
                  <a:cubicBezTo>
                    <a:pt x="165" y="636"/>
                    <a:pt x="166" y="637"/>
                    <a:pt x="166" y="637"/>
                  </a:cubicBezTo>
                  <a:cubicBezTo>
                    <a:pt x="168" y="637"/>
                    <a:pt x="169" y="638"/>
                    <a:pt x="169" y="638"/>
                  </a:cubicBezTo>
                  <a:cubicBezTo>
                    <a:pt x="170" y="639"/>
                    <a:pt x="171" y="639"/>
                    <a:pt x="172" y="640"/>
                  </a:cubicBezTo>
                  <a:cubicBezTo>
                    <a:pt x="173" y="640"/>
                    <a:pt x="174" y="640"/>
                    <a:pt x="175" y="640"/>
                  </a:cubicBezTo>
                  <a:cubicBezTo>
                    <a:pt x="176" y="641"/>
                    <a:pt x="178" y="640"/>
                    <a:pt x="179" y="642"/>
                  </a:cubicBezTo>
                  <a:cubicBezTo>
                    <a:pt x="182" y="646"/>
                    <a:pt x="176" y="649"/>
                    <a:pt x="177" y="653"/>
                  </a:cubicBezTo>
                  <a:cubicBezTo>
                    <a:pt x="178" y="657"/>
                    <a:pt x="180" y="658"/>
                    <a:pt x="182" y="656"/>
                  </a:cubicBezTo>
                  <a:cubicBezTo>
                    <a:pt x="184" y="655"/>
                    <a:pt x="185" y="652"/>
                    <a:pt x="188" y="653"/>
                  </a:cubicBezTo>
                  <a:cubicBezTo>
                    <a:pt x="188" y="657"/>
                    <a:pt x="194" y="659"/>
                    <a:pt x="197" y="661"/>
                  </a:cubicBezTo>
                  <a:cubicBezTo>
                    <a:pt x="199" y="663"/>
                    <a:pt x="201" y="664"/>
                    <a:pt x="203" y="665"/>
                  </a:cubicBezTo>
                  <a:cubicBezTo>
                    <a:pt x="210" y="668"/>
                    <a:pt x="217" y="665"/>
                    <a:pt x="219" y="674"/>
                  </a:cubicBezTo>
                  <a:cubicBezTo>
                    <a:pt x="225" y="675"/>
                    <a:pt x="230" y="677"/>
                    <a:pt x="235" y="677"/>
                  </a:cubicBezTo>
                  <a:cubicBezTo>
                    <a:pt x="238" y="678"/>
                    <a:pt x="242" y="676"/>
                    <a:pt x="244" y="677"/>
                  </a:cubicBezTo>
                  <a:cubicBezTo>
                    <a:pt x="245" y="677"/>
                    <a:pt x="247" y="679"/>
                    <a:pt x="247" y="680"/>
                  </a:cubicBezTo>
                  <a:cubicBezTo>
                    <a:pt x="249" y="681"/>
                    <a:pt x="251" y="682"/>
                    <a:pt x="253" y="683"/>
                  </a:cubicBezTo>
                  <a:cubicBezTo>
                    <a:pt x="254" y="684"/>
                    <a:pt x="256" y="685"/>
                    <a:pt x="258" y="685"/>
                  </a:cubicBezTo>
                  <a:cubicBezTo>
                    <a:pt x="260" y="685"/>
                    <a:pt x="262" y="684"/>
                    <a:pt x="265" y="684"/>
                  </a:cubicBezTo>
                  <a:cubicBezTo>
                    <a:pt x="273" y="684"/>
                    <a:pt x="282" y="685"/>
                    <a:pt x="290" y="684"/>
                  </a:cubicBezTo>
                  <a:cubicBezTo>
                    <a:pt x="292" y="684"/>
                    <a:pt x="293" y="685"/>
                    <a:pt x="294" y="683"/>
                  </a:cubicBezTo>
                  <a:cubicBezTo>
                    <a:pt x="295" y="682"/>
                    <a:pt x="294" y="681"/>
                    <a:pt x="295" y="680"/>
                  </a:cubicBezTo>
                  <a:cubicBezTo>
                    <a:pt x="295" y="678"/>
                    <a:pt x="296" y="678"/>
                    <a:pt x="296" y="677"/>
                  </a:cubicBezTo>
                  <a:cubicBezTo>
                    <a:pt x="297" y="676"/>
                    <a:pt x="297" y="674"/>
                    <a:pt x="297" y="672"/>
                  </a:cubicBezTo>
                  <a:cubicBezTo>
                    <a:pt x="300" y="673"/>
                    <a:pt x="302" y="675"/>
                    <a:pt x="305" y="675"/>
                  </a:cubicBezTo>
                  <a:cubicBezTo>
                    <a:pt x="309" y="676"/>
                    <a:pt x="313" y="679"/>
                    <a:pt x="318" y="680"/>
                  </a:cubicBezTo>
                  <a:cubicBezTo>
                    <a:pt x="320" y="680"/>
                    <a:pt x="322" y="680"/>
                    <a:pt x="324" y="681"/>
                  </a:cubicBezTo>
                  <a:cubicBezTo>
                    <a:pt x="327" y="682"/>
                    <a:pt x="328" y="683"/>
                    <a:pt x="330" y="684"/>
                  </a:cubicBezTo>
                  <a:cubicBezTo>
                    <a:pt x="333" y="685"/>
                    <a:pt x="336" y="687"/>
                    <a:pt x="337" y="690"/>
                  </a:cubicBezTo>
                  <a:cubicBezTo>
                    <a:pt x="337" y="690"/>
                    <a:pt x="337" y="690"/>
                    <a:pt x="337" y="690"/>
                  </a:cubicBezTo>
                  <a:cubicBezTo>
                    <a:pt x="338" y="690"/>
                    <a:pt x="338" y="689"/>
                    <a:pt x="338" y="689"/>
                  </a:cubicBezTo>
                  <a:cubicBezTo>
                    <a:pt x="339" y="689"/>
                    <a:pt x="339" y="688"/>
                    <a:pt x="339" y="688"/>
                  </a:cubicBezTo>
                  <a:cubicBezTo>
                    <a:pt x="340" y="686"/>
                    <a:pt x="340" y="685"/>
                    <a:pt x="342" y="684"/>
                  </a:cubicBezTo>
                  <a:cubicBezTo>
                    <a:pt x="342" y="684"/>
                    <a:pt x="343" y="685"/>
                    <a:pt x="344" y="685"/>
                  </a:cubicBezTo>
                  <a:cubicBezTo>
                    <a:pt x="345" y="686"/>
                    <a:pt x="346" y="686"/>
                    <a:pt x="346" y="687"/>
                  </a:cubicBezTo>
                  <a:cubicBezTo>
                    <a:pt x="348" y="688"/>
                    <a:pt x="349" y="687"/>
                    <a:pt x="349" y="687"/>
                  </a:cubicBezTo>
                  <a:cubicBezTo>
                    <a:pt x="350" y="688"/>
                    <a:pt x="351" y="688"/>
                    <a:pt x="352" y="688"/>
                  </a:cubicBezTo>
                  <a:cubicBezTo>
                    <a:pt x="353" y="689"/>
                    <a:pt x="355" y="689"/>
                    <a:pt x="356" y="689"/>
                  </a:cubicBezTo>
                  <a:cubicBezTo>
                    <a:pt x="358" y="690"/>
                    <a:pt x="360" y="692"/>
                    <a:pt x="362" y="693"/>
                  </a:cubicBezTo>
                  <a:cubicBezTo>
                    <a:pt x="363" y="693"/>
                    <a:pt x="363" y="693"/>
                    <a:pt x="364" y="693"/>
                  </a:cubicBezTo>
                  <a:cubicBezTo>
                    <a:pt x="365" y="693"/>
                    <a:pt x="366" y="694"/>
                    <a:pt x="367" y="694"/>
                  </a:cubicBezTo>
                  <a:cubicBezTo>
                    <a:pt x="368" y="695"/>
                    <a:pt x="370" y="695"/>
                    <a:pt x="371" y="697"/>
                  </a:cubicBezTo>
                  <a:cubicBezTo>
                    <a:pt x="372" y="698"/>
                    <a:pt x="372" y="699"/>
                    <a:pt x="372" y="700"/>
                  </a:cubicBezTo>
                  <a:cubicBezTo>
                    <a:pt x="372" y="701"/>
                    <a:pt x="372" y="702"/>
                    <a:pt x="373" y="703"/>
                  </a:cubicBezTo>
                  <a:cubicBezTo>
                    <a:pt x="373" y="705"/>
                    <a:pt x="374" y="707"/>
                    <a:pt x="373" y="709"/>
                  </a:cubicBezTo>
                  <a:cubicBezTo>
                    <a:pt x="373" y="710"/>
                    <a:pt x="373" y="710"/>
                    <a:pt x="372" y="710"/>
                  </a:cubicBezTo>
                  <a:cubicBezTo>
                    <a:pt x="372" y="710"/>
                    <a:pt x="372" y="710"/>
                    <a:pt x="372" y="710"/>
                  </a:cubicBezTo>
                  <a:cubicBezTo>
                    <a:pt x="374" y="711"/>
                    <a:pt x="374" y="712"/>
                    <a:pt x="376" y="711"/>
                  </a:cubicBezTo>
                  <a:cubicBezTo>
                    <a:pt x="378" y="711"/>
                    <a:pt x="378" y="710"/>
                    <a:pt x="380" y="709"/>
                  </a:cubicBezTo>
                  <a:cubicBezTo>
                    <a:pt x="380" y="709"/>
                    <a:pt x="381" y="709"/>
                    <a:pt x="381" y="709"/>
                  </a:cubicBezTo>
                  <a:cubicBezTo>
                    <a:pt x="382" y="708"/>
                    <a:pt x="382" y="708"/>
                    <a:pt x="382" y="707"/>
                  </a:cubicBezTo>
                  <a:cubicBezTo>
                    <a:pt x="383" y="707"/>
                    <a:pt x="384" y="706"/>
                    <a:pt x="385" y="706"/>
                  </a:cubicBezTo>
                  <a:cubicBezTo>
                    <a:pt x="390" y="705"/>
                    <a:pt x="397" y="708"/>
                    <a:pt x="402" y="709"/>
                  </a:cubicBezTo>
                  <a:cubicBezTo>
                    <a:pt x="407" y="710"/>
                    <a:pt x="408" y="707"/>
                    <a:pt x="412" y="705"/>
                  </a:cubicBezTo>
                  <a:cubicBezTo>
                    <a:pt x="416" y="704"/>
                    <a:pt x="418" y="703"/>
                    <a:pt x="422" y="703"/>
                  </a:cubicBezTo>
                  <a:cubicBezTo>
                    <a:pt x="427" y="703"/>
                    <a:pt x="432" y="703"/>
                    <a:pt x="437" y="704"/>
                  </a:cubicBezTo>
                  <a:cubicBezTo>
                    <a:pt x="439" y="704"/>
                    <a:pt x="440" y="705"/>
                    <a:pt x="442" y="706"/>
                  </a:cubicBezTo>
                  <a:cubicBezTo>
                    <a:pt x="441" y="703"/>
                    <a:pt x="439" y="702"/>
                    <a:pt x="436" y="699"/>
                  </a:cubicBezTo>
                  <a:cubicBezTo>
                    <a:pt x="431" y="695"/>
                    <a:pt x="431" y="690"/>
                    <a:pt x="431" y="685"/>
                  </a:cubicBezTo>
                  <a:cubicBezTo>
                    <a:pt x="431" y="682"/>
                    <a:pt x="431" y="679"/>
                    <a:pt x="432" y="677"/>
                  </a:cubicBezTo>
                  <a:cubicBezTo>
                    <a:pt x="432" y="675"/>
                    <a:pt x="432" y="675"/>
                    <a:pt x="433" y="674"/>
                  </a:cubicBezTo>
                  <a:cubicBezTo>
                    <a:pt x="434" y="672"/>
                    <a:pt x="434" y="672"/>
                    <a:pt x="435" y="671"/>
                  </a:cubicBezTo>
                  <a:cubicBezTo>
                    <a:pt x="438" y="667"/>
                    <a:pt x="438" y="664"/>
                    <a:pt x="440" y="659"/>
                  </a:cubicBezTo>
                  <a:cubicBezTo>
                    <a:pt x="442" y="655"/>
                    <a:pt x="445" y="654"/>
                    <a:pt x="448" y="651"/>
                  </a:cubicBezTo>
                  <a:cubicBezTo>
                    <a:pt x="450" y="649"/>
                    <a:pt x="451" y="648"/>
                    <a:pt x="452" y="646"/>
                  </a:cubicBezTo>
                  <a:cubicBezTo>
                    <a:pt x="453" y="644"/>
                    <a:pt x="453" y="641"/>
                    <a:pt x="455" y="639"/>
                  </a:cubicBezTo>
                  <a:cubicBezTo>
                    <a:pt x="458" y="636"/>
                    <a:pt x="460" y="635"/>
                    <a:pt x="464" y="634"/>
                  </a:cubicBezTo>
                  <a:cubicBezTo>
                    <a:pt x="469" y="634"/>
                    <a:pt x="471" y="630"/>
                    <a:pt x="474" y="627"/>
                  </a:cubicBezTo>
                  <a:cubicBezTo>
                    <a:pt x="478" y="623"/>
                    <a:pt x="481" y="621"/>
                    <a:pt x="487" y="621"/>
                  </a:cubicBezTo>
                  <a:cubicBezTo>
                    <a:pt x="489" y="621"/>
                    <a:pt x="489" y="622"/>
                    <a:pt x="491" y="622"/>
                  </a:cubicBezTo>
                  <a:cubicBezTo>
                    <a:pt x="492" y="623"/>
                    <a:pt x="493" y="624"/>
                    <a:pt x="494" y="624"/>
                  </a:cubicBezTo>
                  <a:cubicBezTo>
                    <a:pt x="495" y="624"/>
                    <a:pt x="496" y="624"/>
                    <a:pt x="497" y="624"/>
                  </a:cubicBezTo>
                  <a:cubicBezTo>
                    <a:pt x="500" y="624"/>
                    <a:pt x="503" y="624"/>
                    <a:pt x="505" y="624"/>
                  </a:cubicBezTo>
                  <a:cubicBezTo>
                    <a:pt x="506" y="625"/>
                    <a:pt x="506" y="626"/>
                    <a:pt x="507" y="626"/>
                  </a:cubicBezTo>
                  <a:cubicBezTo>
                    <a:pt x="508" y="626"/>
                    <a:pt x="510" y="626"/>
                    <a:pt x="511" y="626"/>
                  </a:cubicBezTo>
                  <a:cubicBezTo>
                    <a:pt x="513" y="626"/>
                    <a:pt x="515" y="626"/>
                    <a:pt x="517" y="626"/>
                  </a:cubicBezTo>
                  <a:cubicBezTo>
                    <a:pt x="518" y="626"/>
                    <a:pt x="519" y="626"/>
                    <a:pt x="520" y="626"/>
                  </a:cubicBezTo>
                  <a:cubicBezTo>
                    <a:pt x="521" y="626"/>
                    <a:pt x="522" y="625"/>
                    <a:pt x="523" y="625"/>
                  </a:cubicBezTo>
                  <a:cubicBezTo>
                    <a:pt x="524" y="625"/>
                    <a:pt x="524" y="624"/>
                    <a:pt x="526" y="624"/>
                  </a:cubicBezTo>
                  <a:cubicBezTo>
                    <a:pt x="526" y="626"/>
                    <a:pt x="525" y="631"/>
                    <a:pt x="526" y="633"/>
                  </a:cubicBezTo>
                  <a:cubicBezTo>
                    <a:pt x="527" y="635"/>
                    <a:pt x="529" y="634"/>
                    <a:pt x="532" y="634"/>
                  </a:cubicBezTo>
                  <a:cubicBezTo>
                    <a:pt x="532" y="634"/>
                    <a:pt x="534" y="635"/>
                    <a:pt x="534" y="634"/>
                  </a:cubicBezTo>
                  <a:cubicBezTo>
                    <a:pt x="536" y="634"/>
                    <a:pt x="535" y="634"/>
                    <a:pt x="536" y="632"/>
                  </a:cubicBezTo>
                  <a:cubicBezTo>
                    <a:pt x="537" y="631"/>
                    <a:pt x="537" y="630"/>
                    <a:pt x="538" y="629"/>
                  </a:cubicBezTo>
                  <a:cubicBezTo>
                    <a:pt x="539" y="628"/>
                    <a:pt x="541" y="630"/>
                    <a:pt x="541" y="627"/>
                  </a:cubicBezTo>
                  <a:cubicBezTo>
                    <a:pt x="546" y="630"/>
                    <a:pt x="542" y="632"/>
                    <a:pt x="543" y="635"/>
                  </a:cubicBezTo>
                  <a:cubicBezTo>
                    <a:pt x="545" y="635"/>
                    <a:pt x="545" y="637"/>
                    <a:pt x="547" y="637"/>
                  </a:cubicBezTo>
                  <a:cubicBezTo>
                    <a:pt x="549" y="638"/>
                    <a:pt x="549" y="636"/>
                    <a:pt x="551" y="635"/>
                  </a:cubicBezTo>
                  <a:cubicBezTo>
                    <a:pt x="552" y="635"/>
                    <a:pt x="557" y="635"/>
                    <a:pt x="558" y="635"/>
                  </a:cubicBezTo>
                  <a:cubicBezTo>
                    <a:pt x="560" y="636"/>
                    <a:pt x="560" y="636"/>
                    <a:pt x="560" y="639"/>
                  </a:cubicBezTo>
                  <a:cubicBezTo>
                    <a:pt x="562" y="640"/>
                    <a:pt x="565" y="640"/>
                    <a:pt x="566" y="642"/>
                  </a:cubicBezTo>
                  <a:cubicBezTo>
                    <a:pt x="567" y="644"/>
                    <a:pt x="566" y="647"/>
                    <a:pt x="568" y="648"/>
                  </a:cubicBezTo>
                  <a:cubicBezTo>
                    <a:pt x="569" y="650"/>
                    <a:pt x="572" y="651"/>
                    <a:pt x="574" y="652"/>
                  </a:cubicBezTo>
                  <a:cubicBezTo>
                    <a:pt x="576" y="653"/>
                    <a:pt x="577" y="653"/>
                    <a:pt x="580" y="653"/>
                  </a:cubicBezTo>
                  <a:cubicBezTo>
                    <a:pt x="582" y="653"/>
                    <a:pt x="584" y="654"/>
                    <a:pt x="585" y="654"/>
                  </a:cubicBezTo>
                  <a:cubicBezTo>
                    <a:pt x="588" y="654"/>
                    <a:pt x="592" y="653"/>
                    <a:pt x="594" y="654"/>
                  </a:cubicBezTo>
                  <a:cubicBezTo>
                    <a:pt x="596" y="656"/>
                    <a:pt x="596" y="657"/>
                    <a:pt x="599" y="658"/>
                  </a:cubicBezTo>
                  <a:cubicBezTo>
                    <a:pt x="602" y="659"/>
                    <a:pt x="605" y="658"/>
                    <a:pt x="608" y="658"/>
                  </a:cubicBezTo>
                  <a:cubicBezTo>
                    <a:pt x="612" y="658"/>
                    <a:pt x="616" y="658"/>
                    <a:pt x="621" y="658"/>
                  </a:cubicBezTo>
                  <a:cubicBezTo>
                    <a:pt x="628" y="658"/>
                    <a:pt x="634" y="656"/>
                    <a:pt x="639" y="650"/>
                  </a:cubicBezTo>
                  <a:cubicBezTo>
                    <a:pt x="640" y="651"/>
                    <a:pt x="641" y="651"/>
                    <a:pt x="641" y="650"/>
                  </a:cubicBezTo>
                  <a:cubicBezTo>
                    <a:pt x="642" y="649"/>
                    <a:pt x="641" y="646"/>
                    <a:pt x="641" y="645"/>
                  </a:cubicBezTo>
                  <a:cubicBezTo>
                    <a:pt x="640" y="643"/>
                    <a:pt x="636" y="641"/>
                    <a:pt x="638" y="638"/>
                  </a:cubicBezTo>
                  <a:cubicBezTo>
                    <a:pt x="639" y="638"/>
                    <a:pt x="643" y="637"/>
                    <a:pt x="644" y="637"/>
                  </a:cubicBezTo>
                  <a:cubicBezTo>
                    <a:pt x="645" y="637"/>
                    <a:pt x="646" y="637"/>
                    <a:pt x="647" y="637"/>
                  </a:cubicBezTo>
                  <a:cubicBezTo>
                    <a:pt x="648" y="636"/>
                    <a:pt x="648" y="635"/>
                    <a:pt x="650" y="635"/>
                  </a:cubicBezTo>
                  <a:cubicBezTo>
                    <a:pt x="650" y="633"/>
                    <a:pt x="649" y="630"/>
                    <a:pt x="650" y="627"/>
                  </a:cubicBezTo>
                  <a:cubicBezTo>
                    <a:pt x="651" y="624"/>
                    <a:pt x="654" y="624"/>
                    <a:pt x="657" y="622"/>
                  </a:cubicBezTo>
                  <a:cubicBezTo>
                    <a:pt x="658" y="620"/>
                    <a:pt x="659" y="618"/>
                    <a:pt x="659" y="616"/>
                  </a:cubicBezTo>
                  <a:cubicBezTo>
                    <a:pt x="661" y="612"/>
                    <a:pt x="659" y="613"/>
                    <a:pt x="664" y="612"/>
                  </a:cubicBezTo>
                  <a:cubicBezTo>
                    <a:pt x="667" y="612"/>
                    <a:pt x="670" y="611"/>
                    <a:pt x="673" y="610"/>
                  </a:cubicBezTo>
                  <a:cubicBezTo>
                    <a:pt x="676" y="610"/>
                    <a:pt x="678" y="610"/>
                    <a:pt x="681" y="608"/>
                  </a:cubicBezTo>
                  <a:cubicBezTo>
                    <a:pt x="683" y="606"/>
                    <a:pt x="684" y="605"/>
                    <a:pt x="685" y="602"/>
                  </a:cubicBezTo>
                  <a:cubicBezTo>
                    <a:pt x="685" y="602"/>
                    <a:pt x="686" y="602"/>
                    <a:pt x="687" y="601"/>
                  </a:cubicBezTo>
                  <a:cubicBezTo>
                    <a:pt x="687" y="600"/>
                    <a:pt x="687" y="598"/>
                    <a:pt x="687" y="597"/>
                  </a:cubicBezTo>
                  <a:cubicBezTo>
                    <a:pt x="687" y="595"/>
                    <a:pt x="687" y="592"/>
                    <a:pt x="688" y="589"/>
                  </a:cubicBezTo>
                  <a:cubicBezTo>
                    <a:pt x="690" y="589"/>
                    <a:pt x="691" y="585"/>
                    <a:pt x="693" y="583"/>
                  </a:cubicBezTo>
                  <a:cubicBezTo>
                    <a:pt x="694" y="582"/>
                    <a:pt x="697" y="581"/>
                    <a:pt x="698" y="578"/>
                  </a:cubicBezTo>
                  <a:cubicBezTo>
                    <a:pt x="699" y="577"/>
                    <a:pt x="699" y="568"/>
                    <a:pt x="697" y="567"/>
                  </a:cubicBezTo>
                  <a:cubicBezTo>
                    <a:pt x="695" y="566"/>
                    <a:pt x="690" y="568"/>
                    <a:pt x="688" y="569"/>
                  </a:cubicBezTo>
                  <a:cubicBezTo>
                    <a:pt x="685" y="570"/>
                    <a:pt x="679" y="573"/>
                    <a:pt x="675" y="571"/>
                  </a:cubicBezTo>
                  <a:cubicBezTo>
                    <a:pt x="673" y="570"/>
                    <a:pt x="673" y="567"/>
                    <a:pt x="671" y="566"/>
                  </a:cubicBezTo>
                  <a:cubicBezTo>
                    <a:pt x="668" y="563"/>
                    <a:pt x="663" y="564"/>
                    <a:pt x="660" y="562"/>
                  </a:cubicBezTo>
                  <a:cubicBezTo>
                    <a:pt x="658" y="561"/>
                    <a:pt x="651" y="554"/>
                    <a:pt x="652" y="552"/>
                  </a:cubicBezTo>
                  <a:cubicBezTo>
                    <a:pt x="653" y="550"/>
                    <a:pt x="655" y="553"/>
                    <a:pt x="656" y="550"/>
                  </a:cubicBezTo>
                  <a:cubicBezTo>
                    <a:pt x="657" y="548"/>
                    <a:pt x="653" y="545"/>
                    <a:pt x="652" y="543"/>
                  </a:cubicBezTo>
                  <a:cubicBezTo>
                    <a:pt x="649" y="538"/>
                    <a:pt x="653" y="536"/>
                    <a:pt x="658" y="534"/>
                  </a:cubicBezTo>
                  <a:cubicBezTo>
                    <a:pt x="663" y="532"/>
                    <a:pt x="663" y="527"/>
                    <a:pt x="662" y="522"/>
                  </a:cubicBezTo>
                  <a:cubicBezTo>
                    <a:pt x="659" y="522"/>
                    <a:pt x="659" y="519"/>
                    <a:pt x="658" y="517"/>
                  </a:cubicBezTo>
                  <a:cubicBezTo>
                    <a:pt x="658" y="517"/>
                    <a:pt x="655" y="516"/>
                    <a:pt x="655" y="516"/>
                  </a:cubicBezTo>
                  <a:cubicBezTo>
                    <a:pt x="654" y="515"/>
                    <a:pt x="652" y="515"/>
                    <a:pt x="652" y="515"/>
                  </a:cubicBezTo>
                  <a:cubicBezTo>
                    <a:pt x="647" y="511"/>
                    <a:pt x="648" y="504"/>
                    <a:pt x="641" y="502"/>
                  </a:cubicBezTo>
                  <a:cubicBezTo>
                    <a:pt x="640" y="499"/>
                    <a:pt x="642" y="500"/>
                    <a:pt x="644" y="499"/>
                  </a:cubicBezTo>
                  <a:cubicBezTo>
                    <a:pt x="645" y="499"/>
                    <a:pt x="647" y="500"/>
                    <a:pt x="649" y="499"/>
                  </a:cubicBezTo>
                  <a:cubicBezTo>
                    <a:pt x="651" y="498"/>
                    <a:pt x="649" y="499"/>
                    <a:pt x="651" y="497"/>
                  </a:cubicBezTo>
                  <a:cubicBezTo>
                    <a:pt x="654" y="495"/>
                    <a:pt x="657" y="494"/>
                    <a:pt x="660" y="491"/>
                  </a:cubicBezTo>
                  <a:cubicBezTo>
                    <a:pt x="660" y="491"/>
                    <a:pt x="661" y="490"/>
                    <a:pt x="662" y="490"/>
                  </a:cubicBezTo>
                  <a:cubicBezTo>
                    <a:pt x="663" y="489"/>
                    <a:pt x="665" y="489"/>
                    <a:pt x="666" y="488"/>
                  </a:cubicBezTo>
                  <a:cubicBezTo>
                    <a:pt x="668" y="486"/>
                    <a:pt x="666" y="482"/>
                    <a:pt x="667" y="480"/>
                  </a:cubicBezTo>
                  <a:cubicBezTo>
                    <a:pt x="668" y="477"/>
                    <a:pt x="671" y="476"/>
                    <a:pt x="669" y="473"/>
                  </a:cubicBezTo>
                  <a:cubicBezTo>
                    <a:pt x="668" y="471"/>
                    <a:pt x="666" y="471"/>
                    <a:pt x="665" y="470"/>
                  </a:cubicBezTo>
                  <a:cubicBezTo>
                    <a:pt x="663" y="468"/>
                    <a:pt x="662" y="465"/>
                    <a:pt x="662" y="463"/>
                  </a:cubicBezTo>
                  <a:cubicBezTo>
                    <a:pt x="661" y="461"/>
                    <a:pt x="661" y="459"/>
                    <a:pt x="661" y="457"/>
                  </a:cubicBezTo>
                  <a:cubicBezTo>
                    <a:pt x="660" y="455"/>
                    <a:pt x="657" y="454"/>
                    <a:pt x="656" y="453"/>
                  </a:cubicBezTo>
                  <a:cubicBezTo>
                    <a:pt x="653" y="450"/>
                    <a:pt x="657" y="450"/>
                    <a:pt x="655" y="446"/>
                  </a:cubicBezTo>
                  <a:cubicBezTo>
                    <a:pt x="654" y="444"/>
                    <a:pt x="657" y="443"/>
                    <a:pt x="659" y="438"/>
                  </a:cubicBezTo>
                  <a:cubicBezTo>
                    <a:pt x="661" y="437"/>
                    <a:pt x="662" y="436"/>
                    <a:pt x="663" y="436"/>
                  </a:cubicBezTo>
                  <a:cubicBezTo>
                    <a:pt x="663" y="435"/>
                    <a:pt x="665" y="434"/>
                    <a:pt x="665" y="433"/>
                  </a:cubicBezTo>
                  <a:cubicBezTo>
                    <a:pt x="665" y="432"/>
                    <a:pt x="665" y="430"/>
                    <a:pt x="665" y="430"/>
                  </a:cubicBezTo>
                  <a:cubicBezTo>
                    <a:pt x="665" y="428"/>
                    <a:pt x="664" y="428"/>
                    <a:pt x="664" y="427"/>
                  </a:cubicBezTo>
                  <a:cubicBezTo>
                    <a:pt x="663" y="426"/>
                    <a:pt x="663" y="426"/>
                    <a:pt x="662" y="424"/>
                  </a:cubicBezTo>
                  <a:cubicBezTo>
                    <a:pt x="662" y="424"/>
                    <a:pt x="661" y="423"/>
                    <a:pt x="661" y="422"/>
                  </a:cubicBezTo>
                  <a:cubicBezTo>
                    <a:pt x="660" y="421"/>
                    <a:pt x="659" y="420"/>
                    <a:pt x="659" y="419"/>
                  </a:cubicBezTo>
                  <a:cubicBezTo>
                    <a:pt x="658" y="417"/>
                    <a:pt x="658" y="415"/>
                    <a:pt x="658" y="413"/>
                  </a:cubicBezTo>
                  <a:cubicBezTo>
                    <a:pt x="658" y="412"/>
                    <a:pt x="658" y="410"/>
                    <a:pt x="658" y="409"/>
                  </a:cubicBezTo>
                  <a:cubicBezTo>
                    <a:pt x="658" y="409"/>
                    <a:pt x="657" y="408"/>
                    <a:pt x="657" y="408"/>
                  </a:cubicBezTo>
                  <a:cubicBezTo>
                    <a:pt x="656" y="406"/>
                    <a:pt x="657" y="404"/>
                    <a:pt x="656" y="402"/>
                  </a:cubicBezTo>
                  <a:cubicBezTo>
                    <a:pt x="655" y="402"/>
                    <a:pt x="654" y="401"/>
                    <a:pt x="653" y="401"/>
                  </a:cubicBezTo>
                  <a:cubicBezTo>
                    <a:pt x="652" y="401"/>
                    <a:pt x="650" y="400"/>
                    <a:pt x="650" y="400"/>
                  </a:cubicBezTo>
                  <a:cubicBezTo>
                    <a:pt x="647" y="398"/>
                    <a:pt x="643" y="395"/>
                    <a:pt x="639" y="395"/>
                  </a:cubicBezTo>
                  <a:cubicBezTo>
                    <a:pt x="634" y="395"/>
                    <a:pt x="630" y="398"/>
                    <a:pt x="625" y="400"/>
                  </a:cubicBezTo>
                  <a:cubicBezTo>
                    <a:pt x="623" y="401"/>
                    <a:pt x="620" y="402"/>
                    <a:pt x="617" y="401"/>
                  </a:cubicBezTo>
                  <a:cubicBezTo>
                    <a:pt x="615" y="400"/>
                    <a:pt x="612" y="394"/>
                    <a:pt x="614" y="391"/>
                  </a:cubicBezTo>
                  <a:cubicBezTo>
                    <a:pt x="615" y="389"/>
                    <a:pt x="617" y="390"/>
                    <a:pt x="618" y="388"/>
                  </a:cubicBezTo>
                  <a:cubicBezTo>
                    <a:pt x="619" y="387"/>
                    <a:pt x="618" y="383"/>
                    <a:pt x="618" y="381"/>
                  </a:cubicBezTo>
                  <a:cubicBezTo>
                    <a:pt x="618" y="378"/>
                    <a:pt x="618" y="376"/>
                    <a:pt x="620" y="373"/>
                  </a:cubicBezTo>
                  <a:cubicBezTo>
                    <a:pt x="623" y="371"/>
                    <a:pt x="625" y="369"/>
                    <a:pt x="627" y="366"/>
                  </a:cubicBezTo>
                  <a:cubicBezTo>
                    <a:pt x="629" y="365"/>
                    <a:pt x="629" y="363"/>
                    <a:pt x="631" y="361"/>
                  </a:cubicBezTo>
                  <a:cubicBezTo>
                    <a:pt x="632" y="359"/>
                    <a:pt x="634" y="358"/>
                    <a:pt x="635" y="357"/>
                  </a:cubicBezTo>
                  <a:cubicBezTo>
                    <a:pt x="642" y="352"/>
                    <a:pt x="646" y="345"/>
                    <a:pt x="651" y="339"/>
                  </a:cubicBezTo>
                  <a:cubicBezTo>
                    <a:pt x="654" y="336"/>
                    <a:pt x="656" y="334"/>
                    <a:pt x="658" y="330"/>
                  </a:cubicBezTo>
                  <a:cubicBezTo>
                    <a:pt x="658" y="330"/>
                    <a:pt x="659" y="328"/>
                    <a:pt x="659" y="327"/>
                  </a:cubicBezTo>
                  <a:cubicBezTo>
                    <a:pt x="661" y="326"/>
                    <a:pt x="662" y="327"/>
                    <a:pt x="664" y="325"/>
                  </a:cubicBezTo>
                  <a:cubicBezTo>
                    <a:pt x="670" y="320"/>
                    <a:pt x="652" y="311"/>
                    <a:pt x="663" y="310"/>
                  </a:cubicBezTo>
                  <a:cubicBezTo>
                    <a:pt x="666" y="310"/>
                    <a:pt x="668" y="311"/>
                    <a:pt x="670" y="312"/>
                  </a:cubicBezTo>
                  <a:cubicBezTo>
                    <a:pt x="676" y="313"/>
                    <a:pt x="681" y="310"/>
                    <a:pt x="687" y="310"/>
                  </a:cubicBezTo>
                  <a:cubicBezTo>
                    <a:pt x="689" y="310"/>
                    <a:pt x="690" y="310"/>
                    <a:pt x="692" y="309"/>
                  </a:cubicBezTo>
                  <a:cubicBezTo>
                    <a:pt x="695" y="308"/>
                    <a:pt x="699" y="306"/>
                    <a:pt x="702" y="304"/>
                  </a:cubicBezTo>
                  <a:cubicBezTo>
                    <a:pt x="702" y="304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0"/>
                  </a:cubicBezTo>
                  <a:cubicBezTo>
                    <a:pt x="704" y="300"/>
                    <a:pt x="704" y="300"/>
                    <a:pt x="704" y="300"/>
                  </a:cubicBezTo>
                  <a:cubicBezTo>
                    <a:pt x="704" y="300"/>
                    <a:pt x="704" y="299"/>
                    <a:pt x="704" y="298"/>
                  </a:cubicBezTo>
                  <a:cubicBezTo>
                    <a:pt x="703" y="297"/>
                    <a:pt x="702" y="295"/>
                    <a:pt x="702" y="293"/>
                  </a:cubicBezTo>
                  <a:cubicBezTo>
                    <a:pt x="702" y="285"/>
                    <a:pt x="702" y="278"/>
                    <a:pt x="702" y="270"/>
                  </a:cubicBezTo>
                  <a:cubicBezTo>
                    <a:pt x="702" y="264"/>
                    <a:pt x="701" y="259"/>
                    <a:pt x="705" y="254"/>
                  </a:cubicBezTo>
                  <a:cubicBezTo>
                    <a:pt x="710" y="249"/>
                    <a:pt x="708" y="244"/>
                    <a:pt x="710" y="238"/>
                  </a:cubicBezTo>
                  <a:cubicBezTo>
                    <a:pt x="711" y="233"/>
                    <a:pt x="710" y="228"/>
                    <a:pt x="713" y="224"/>
                  </a:cubicBezTo>
                  <a:cubicBezTo>
                    <a:pt x="714" y="222"/>
                    <a:pt x="715" y="222"/>
                    <a:pt x="716" y="221"/>
                  </a:cubicBezTo>
                  <a:cubicBezTo>
                    <a:pt x="719" y="219"/>
                    <a:pt x="719" y="218"/>
                    <a:pt x="720" y="216"/>
                  </a:cubicBezTo>
                  <a:cubicBezTo>
                    <a:pt x="722" y="210"/>
                    <a:pt x="724" y="207"/>
                    <a:pt x="729" y="203"/>
                  </a:cubicBezTo>
                  <a:cubicBezTo>
                    <a:pt x="733" y="200"/>
                    <a:pt x="736" y="196"/>
                    <a:pt x="737" y="19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5" name="Freeform 17">
              <a:extLst>
                <a:ext uri="{FF2B5EF4-FFF2-40B4-BE49-F238E27FC236}">
                  <a16:creationId xmlns:a16="http://schemas.microsoft.com/office/drawing/2014/main" id="{EDD46698-B95C-4358-96F1-7FA50B0BD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0375" y="5575300"/>
              <a:ext cx="120650" cy="241300"/>
            </a:xfrm>
            <a:custGeom>
              <a:avLst/>
              <a:gdLst/>
              <a:ahLst/>
              <a:cxnLst>
                <a:cxn ang="0">
                  <a:pos x="61" y="5"/>
                </a:cxn>
                <a:cxn ang="0">
                  <a:pos x="60" y="2"/>
                </a:cxn>
                <a:cxn ang="0">
                  <a:pos x="53" y="3"/>
                </a:cxn>
                <a:cxn ang="0">
                  <a:pos x="51" y="18"/>
                </a:cxn>
                <a:cxn ang="0">
                  <a:pos x="51" y="23"/>
                </a:cxn>
                <a:cxn ang="0">
                  <a:pos x="49" y="27"/>
                </a:cxn>
                <a:cxn ang="0">
                  <a:pos x="41" y="25"/>
                </a:cxn>
                <a:cxn ang="0">
                  <a:pos x="35" y="30"/>
                </a:cxn>
                <a:cxn ang="0">
                  <a:pos x="29" y="32"/>
                </a:cxn>
                <a:cxn ang="0">
                  <a:pos x="22" y="34"/>
                </a:cxn>
                <a:cxn ang="0">
                  <a:pos x="15" y="39"/>
                </a:cxn>
                <a:cxn ang="0">
                  <a:pos x="13" y="47"/>
                </a:cxn>
                <a:cxn ang="0">
                  <a:pos x="12" y="51"/>
                </a:cxn>
                <a:cxn ang="0">
                  <a:pos x="17" y="58"/>
                </a:cxn>
                <a:cxn ang="0">
                  <a:pos x="10" y="62"/>
                </a:cxn>
                <a:cxn ang="0">
                  <a:pos x="5" y="64"/>
                </a:cxn>
                <a:cxn ang="0">
                  <a:pos x="0" y="74"/>
                </a:cxn>
                <a:cxn ang="0">
                  <a:pos x="4" y="77"/>
                </a:cxn>
                <a:cxn ang="0">
                  <a:pos x="8" y="80"/>
                </a:cxn>
                <a:cxn ang="0">
                  <a:pos x="13" y="82"/>
                </a:cxn>
                <a:cxn ang="0">
                  <a:pos x="17" y="83"/>
                </a:cxn>
                <a:cxn ang="0">
                  <a:pos x="16" y="95"/>
                </a:cxn>
                <a:cxn ang="0">
                  <a:pos x="14" y="100"/>
                </a:cxn>
                <a:cxn ang="0">
                  <a:pos x="18" y="101"/>
                </a:cxn>
                <a:cxn ang="0">
                  <a:pos x="21" y="102"/>
                </a:cxn>
                <a:cxn ang="0">
                  <a:pos x="22" y="106"/>
                </a:cxn>
                <a:cxn ang="0">
                  <a:pos x="19" y="108"/>
                </a:cxn>
                <a:cxn ang="0">
                  <a:pos x="21" y="115"/>
                </a:cxn>
                <a:cxn ang="0">
                  <a:pos x="29" y="122"/>
                </a:cxn>
                <a:cxn ang="0">
                  <a:pos x="33" y="126"/>
                </a:cxn>
                <a:cxn ang="0">
                  <a:pos x="39" y="129"/>
                </a:cxn>
                <a:cxn ang="0">
                  <a:pos x="41" y="121"/>
                </a:cxn>
                <a:cxn ang="0">
                  <a:pos x="44" y="116"/>
                </a:cxn>
                <a:cxn ang="0">
                  <a:pos x="45" y="113"/>
                </a:cxn>
                <a:cxn ang="0">
                  <a:pos x="49" y="109"/>
                </a:cxn>
                <a:cxn ang="0">
                  <a:pos x="52" y="99"/>
                </a:cxn>
                <a:cxn ang="0">
                  <a:pos x="53" y="87"/>
                </a:cxn>
                <a:cxn ang="0">
                  <a:pos x="54" y="82"/>
                </a:cxn>
                <a:cxn ang="0">
                  <a:pos x="59" y="76"/>
                </a:cxn>
                <a:cxn ang="0">
                  <a:pos x="60" y="74"/>
                </a:cxn>
                <a:cxn ang="0">
                  <a:pos x="63" y="52"/>
                </a:cxn>
                <a:cxn ang="0">
                  <a:pos x="63" y="40"/>
                </a:cxn>
                <a:cxn ang="0">
                  <a:pos x="60" y="32"/>
                </a:cxn>
                <a:cxn ang="0">
                  <a:pos x="59" y="23"/>
                </a:cxn>
                <a:cxn ang="0">
                  <a:pos x="60" y="22"/>
                </a:cxn>
                <a:cxn ang="0">
                  <a:pos x="63" y="18"/>
                </a:cxn>
                <a:cxn ang="0">
                  <a:pos x="63" y="13"/>
                </a:cxn>
                <a:cxn ang="0">
                  <a:pos x="61" y="20"/>
                </a:cxn>
              </a:cxnLst>
              <a:rect l="0" t="0" r="r" b="b"/>
              <a:pathLst>
                <a:path w="64" h="129">
                  <a:moveTo>
                    <a:pt x="61" y="20"/>
                  </a:moveTo>
                  <a:cubicBezTo>
                    <a:pt x="61" y="15"/>
                    <a:pt x="61" y="10"/>
                    <a:pt x="61" y="5"/>
                  </a:cubicBezTo>
                  <a:cubicBezTo>
                    <a:pt x="61" y="4"/>
                    <a:pt x="62" y="3"/>
                    <a:pt x="61" y="2"/>
                  </a:cubicBezTo>
                  <a:cubicBezTo>
                    <a:pt x="61" y="2"/>
                    <a:pt x="60" y="2"/>
                    <a:pt x="60" y="2"/>
                  </a:cubicBezTo>
                  <a:cubicBezTo>
                    <a:pt x="60" y="2"/>
                    <a:pt x="59" y="1"/>
                    <a:pt x="59" y="1"/>
                  </a:cubicBezTo>
                  <a:cubicBezTo>
                    <a:pt x="57" y="0"/>
                    <a:pt x="54" y="1"/>
                    <a:pt x="53" y="3"/>
                  </a:cubicBezTo>
                  <a:cubicBezTo>
                    <a:pt x="51" y="6"/>
                    <a:pt x="52" y="10"/>
                    <a:pt x="51" y="13"/>
                  </a:cubicBezTo>
                  <a:cubicBezTo>
                    <a:pt x="51" y="15"/>
                    <a:pt x="51" y="16"/>
                    <a:pt x="51" y="18"/>
                  </a:cubicBezTo>
                  <a:cubicBezTo>
                    <a:pt x="51" y="19"/>
                    <a:pt x="51" y="20"/>
                    <a:pt x="51" y="20"/>
                  </a:cubicBezTo>
                  <a:cubicBezTo>
                    <a:pt x="51" y="21"/>
                    <a:pt x="51" y="22"/>
                    <a:pt x="51" y="23"/>
                  </a:cubicBezTo>
                  <a:cubicBezTo>
                    <a:pt x="52" y="25"/>
                    <a:pt x="52" y="26"/>
                    <a:pt x="51" y="27"/>
                  </a:cubicBezTo>
                  <a:cubicBezTo>
                    <a:pt x="50" y="28"/>
                    <a:pt x="50" y="28"/>
                    <a:pt x="49" y="27"/>
                  </a:cubicBezTo>
                  <a:cubicBezTo>
                    <a:pt x="47" y="26"/>
                    <a:pt x="47" y="25"/>
                    <a:pt x="46" y="25"/>
                  </a:cubicBezTo>
                  <a:cubicBezTo>
                    <a:pt x="45" y="24"/>
                    <a:pt x="42" y="24"/>
                    <a:pt x="41" y="25"/>
                  </a:cubicBezTo>
                  <a:cubicBezTo>
                    <a:pt x="40" y="25"/>
                    <a:pt x="39" y="27"/>
                    <a:pt x="38" y="28"/>
                  </a:cubicBezTo>
                  <a:cubicBezTo>
                    <a:pt x="37" y="29"/>
                    <a:pt x="36" y="30"/>
                    <a:pt x="35" y="30"/>
                  </a:cubicBezTo>
                  <a:cubicBezTo>
                    <a:pt x="34" y="31"/>
                    <a:pt x="32" y="30"/>
                    <a:pt x="31" y="30"/>
                  </a:cubicBezTo>
                  <a:cubicBezTo>
                    <a:pt x="30" y="31"/>
                    <a:pt x="30" y="31"/>
                    <a:pt x="29" y="32"/>
                  </a:cubicBezTo>
                  <a:cubicBezTo>
                    <a:pt x="28" y="32"/>
                    <a:pt x="27" y="33"/>
                    <a:pt x="26" y="33"/>
                  </a:cubicBezTo>
                  <a:cubicBezTo>
                    <a:pt x="24" y="34"/>
                    <a:pt x="23" y="33"/>
                    <a:pt x="22" y="34"/>
                  </a:cubicBezTo>
                  <a:cubicBezTo>
                    <a:pt x="20" y="35"/>
                    <a:pt x="20" y="36"/>
                    <a:pt x="19" y="37"/>
                  </a:cubicBezTo>
                  <a:cubicBezTo>
                    <a:pt x="18" y="38"/>
                    <a:pt x="17" y="39"/>
                    <a:pt x="15" y="39"/>
                  </a:cubicBezTo>
                  <a:cubicBezTo>
                    <a:pt x="12" y="41"/>
                    <a:pt x="16" y="41"/>
                    <a:pt x="16" y="43"/>
                  </a:cubicBezTo>
                  <a:cubicBezTo>
                    <a:pt x="13" y="43"/>
                    <a:pt x="13" y="45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2" y="49"/>
                    <a:pt x="12" y="51"/>
                  </a:cubicBezTo>
                  <a:cubicBezTo>
                    <a:pt x="12" y="52"/>
                    <a:pt x="13" y="54"/>
                    <a:pt x="14" y="54"/>
                  </a:cubicBezTo>
                  <a:cubicBezTo>
                    <a:pt x="15" y="55"/>
                    <a:pt x="17" y="57"/>
                    <a:pt x="17" y="58"/>
                  </a:cubicBezTo>
                  <a:cubicBezTo>
                    <a:pt x="15" y="59"/>
                    <a:pt x="13" y="58"/>
                    <a:pt x="11" y="58"/>
                  </a:cubicBezTo>
                  <a:cubicBezTo>
                    <a:pt x="10" y="59"/>
                    <a:pt x="10" y="61"/>
                    <a:pt x="10" y="62"/>
                  </a:cubicBezTo>
                  <a:cubicBezTo>
                    <a:pt x="10" y="64"/>
                    <a:pt x="10" y="64"/>
                    <a:pt x="8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5"/>
                    <a:pt x="4" y="67"/>
                    <a:pt x="3" y="68"/>
                  </a:cubicBezTo>
                  <a:cubicBezTo>
                    <a:pt x="3" y="69"/>
                    <a:pt x="0" y="73"/>
                    <a:pt x="0" y="74"/>
                  </a:cubicBezTo>
                  <a:cubicBezTo>
                    <a:pt x="1" y="75"/>
                    <a:pt x="2" y="74"/>
                    <a:pt x="3" y="75"/>
                  </a:cubicBezTo>
                  <a:cubicBezTo>
                    <a:pt x="3" y="76"/>
                    <a:pt x="3" y="76"/>
                    <a:pt x="4" y="77"/>
                  </a:cubicBezTo>
                  <a:cubicBezTo>
                    <a:pt x="4" y="77"/>
                    <a:pt x="5" y="76"/>
                    <a:pt x="6" y="77"/>
                  </a:cubicBezTo>
                  <a:cubicBezTo>
                    <a:pt x="7" y="77"/>
                    <a:pt x="7" y="79"/>
                    <a:pt x="8" y="80"/>
                  </a:cubicBezTo>
                  <a:cubicBezTo>
                    <a:pt x="9" y="80"/>
                    <a:pt x="10" y="81"/>
                    <a:pt x="10" y="81"/>
                  </a:cubicBezTo>
                  <a:cubicBezTo>
                    <a:pt x="11" y="81"/>
                    <a:pt x="12" y="82"/>
                    <a:pt x="13" y="82"/>
                  </a:cubicBezTo>
                  <a:cubicBezTo>
                    <a:pt x="13" y="82"/>
                    <a:pt x="13" y="82"/>
                    <a:pt x="13" y="83"/>
                  </a:cubicBezTo>
                  <a:cubicBezTo>
                    <a:pt x="14" y="83"/>
                    <a:pt x="16" y="83"/>
                    <a:pt x="17" y="83"/>
                  </a:cubicBezTo>
                  <a:cubicBezTo>
                    <a:pt x="18" y="84"/>
                    <a:pt x="17" y="87"/>
                    <a:pt x="17" y="88"/>
                  </a:cubicBezTo>
                  <a:cubicBezTo>
                    <a:pt x="17" y="90"/>
                    <a:pt x="18" y="93"/>
                    <a:pt x="16" y="95"/>
                  </a:cubicBezTo>
                  <a:cubicBezTo>
                    <a:pt x="15" y="95"/>
                    <a:pt x="15" y="95"/>
                    <a:pt x="14" y="97"/>
                  </a:cubicBezTo>
                  <a:cubicBezTo>
                    <a:pt x="14" y="98"/>
                    <a:pt x="14" y="99"/>
                    <a:pt x="14" y="100"/>
                  </a:cubicBezTo>
                  <a:cubicBezTo>
                    <a:pt x="14" y="100"/>
                    <a:pt x="15" y="101"/>
                    <a:pt x="15" y="101"/>
                  </a:cubicBezTo>
                  <a:cubicBezTo>
                    <a:pt x="16" y="101"/>
                    <a:pt x="17" y="101"/>
                    <a:pt x="18" y="101"/>
                  </a:cubicBezTo>
                  <a:cubicBezTo>
                    <a:pt x="18" y="101"/>
                    <a:pt x="18" y="102"/>
                    <a:pt x="19" y="102"/>
                  </a:cubicBezTo>
                  <a:cubicBezTo>
                    <a:pt x="20" y="102"/>
                    <a:pt x="21" y="102"/>
                    <a:pt x="21" y="102"/>
                  </a:cubicBezTo>
                  <a:cubicBezTo>
                    <a:pt x="22" y="102"/>
                    <a:pt x="23" y="102"/>
                    <a:pt x="24" y="102"/>
                  </a:cubicBezTo>
                  <a:cubicBezTo>
                    <a:pt x="25" y="104"/>
                    <a:pt x="23" y="105"/>
                    <a:pt x="22" y="106"/>
                  </a:cubicBezTo>
                  <a:cubicBezTo>
                    <a:pt x="22" y="107"/>
                    <a:pt x="21" y="107"/>
                    <a:pt x="21" y="107"/>
                  </a:cubicBezTo>
                  <a:cubicBezTo>
                    <a:pt x="20" y="107"/>
                    <a:pt x="20" y="107"/>
                    <a:pt x="19" y="108"/>
                  </a:cubicBezTo>
                  <a:cubicBezTo>
                    <a:pt x="19" y="108"/>
                    <a:pt x="19" y="109"/>
                    <a:pt x="19" y="110"/>
                  </a:cubicBezTo>
                  <a:cubicBezTo>
                    <a:pt x="18" y="113"/>
                    <a:pt x="19" y="113"/>
                    <a:pt x="21" y="115"/>
                  </a:cubicBezTo>
                  <a:cubicBezTo>
                    <a:pt x="22" y="116"/>
                    <a:pt x="22" y="118"/>
                    <a:pt x="24" y="120"/>
                  </a:cubicBezTo>
                  <a:cubicBezTo>
                    <a:pt x="25" y="121"/>
                    <a:pt x="27" y="122"/>
                    <a:pt x="29" y="122"/>
                  </a:cubicBezTo>
                  <a:cubicBezTo>
                    <a:pt x="30" y="122"/>
                    <a:pt x="34" y="121"/>
                    <a:pt x="34" y="123"/>
                  </a:cubicBezTo>
                  <a:cubicBezTo>
                    <a:pt x="34" y="124"/>
                    <a:pt x="33" y="125"/>
                    <a:pt x="33" y="126"/>
                  </a:cubicBezTo>
                  <a:cubicBezTo>
                    <a:pt x="33" y="127"/>
                    <a:pt x="35" y="128"/>
                    <a:pt x="36" y="128"/>
                  </a:cubicBezTo>
                  <a:cubicBezTo>
                    <a:pt x="37" y="129"/>
                    <a:pt x="38" y="129"/>
                    <a:pt x="39" y="129"/>
                  </a:cubicBezTo>
                  <a:cubicBezTo>
                    <a:pt x="40" y="129"/>
                    <a:pt x="41" y="129"/>
                    <a:pt x="41" y="127"/>
                  </a:cubicBezTo>
                  <a:cubicBezTo>
                    <a:pt x="41" y="125"/>
                    <a:pt x="40" y="122"/>
                    <a:pt x="41" y="121"/>
                  </a:cubicBezTo>
                  <a:cubicBezTo>
                    <a:pt x="42" y="120"/>
                    <a:pt x="42" y="120"/>
                    <a:pt x="43" y="119"/>
                  </a:cubicBezTo>
                  <a:cubicBezTo>
                    <a:pt x="43" y="118"/>
                    <a:pt x="43" y="117"/>
                    <a:pt x="44" y="116"/>
                  </a:cubicBezTo>
                  <a:cubicBezTo>
                    <a:pt x="44" y="115"/>
                    <a:pt x="44" y="114"/>
                    <a:pt x="45" y="114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2"/>
                    <a:pt x="46" y="112"/>
                    <a:pt x="47" y="112"/>
                  </a:cubicBezTo>
                  <a:cubicBezTo>
                    <a:pt x="49" y="111"/>
                    <a:pt x="48" y="110"/>
                    <a:pt x="49" y="109"/>
                  </a:cubicBezTo>
                  <a:cubicBezTo>
                    <a:pt x="49" y="107"/>
                    <a:pt x="50" y="106"/>
                    <a:pt x="51" y="104"/>
                  </a:cubicBezTo>
                  <a:cubicBezTo>
                    <a:pt x="51" y="102"/>
                    <a:pt x="52" y="101"/>
                    <a:pt x="52" y="99"/>
                  </a:cubicBezTo>
                  <a:cubicBezTo>
                    <a:pt x="52" y="98"/>
                    <a:pt x="52" y="97"/>
                    <a:pt x="52" y="96"/>
                  </a:cubicBezTo>
                  <a:cubicBezTo>
                    <a:pt x="52" y="93"/>
                    <a:pt x="53" y="90"/>
                    <a:pt x="53" y="87"/>
                  </a:cubicBezTo>
                  <a:cubicBezTo>
                    <a:pt x="53" y="86"/>
                    <a:pt x="52" y="85"/>
                    <a:pt x="53" y="84"/>
                  </a:cubicBezTo>
                  <a:cubicBezTo>
                    <a:pt x="53" y="83"/>
                    <a:pt x="54" y="83"/>
                    <a:pt x="54" y="82"/>
                  </a:cubicBezTo>
                  <a:cubicBezTo>
                    <a:pt x="54" y="82"/>
                    <a:pt x="54" y="81"/>
                    <a:pt x="54" y="81"/>
                  </a:cubicBezTo>
                  <a:cubicBezTo>
                    <a:pt x="54" y="78"/>
                    <a:pt x="58" y="78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3"/>
                    <a:pt x="61" y="72"/>
                    <a:pt x="61" y="71"/>
                  </a:cubicBezTo>
                  <a:cubicBezTo>
                    <a:pt x="61" y="64"/>
                    <a:pt x="63" y="58"/>
                    <a:pt x="63" y="52"/>
                  </a:cubicBezTo>
                  <a:cubicBezTo>
                    <a:pt x="63" y="49"/>
                    <a:pt x="63" y="47"/>
                    <a:pt x="63" y="44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39"/>
                    <a:pt x="64" y="37"/>
                    <a:pt x="63" y="36"/>
                  </a:cubicBezTo>
                  <a:cubicBezTo>
                    <a:pt x="62" y="34"/>
                    <a:pt x="60" y="34"/>
                    <a:pt x="60" y="32"/>
                  </a:cubicBezTo>
                  <a:cubicBezTo>
                    <a:pt x="59" y="30"/>
                    <a:pt x="59" y="29"/>
                    <a:pt x="59" y="27"/>
                  </a:cubicBezTo>
                  <a:cubicBezTo>
                    <a:pt x="59" y="26"/>
                    <a:pt x="59" y="24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1"/>
                    <a:pt x="61" y="20"/>
                    <a:pt x="61" y="20"/>
                  </a:cubicBezTo>
                  <a:cubicBezTo>
                    <a:pt x="62" y="19"/>
                    <a:pt x="63" y="19"/>
                    <a:pt x="63" y="18"/>
                  </a:cubicBezTo>
                  <a:cubicBezTo>
                    <a:pt x="63" y="17"/>
                    <a:pt x="63" y="16"/>
                    <a:pt x="63" y="15"/>
                  </a:cubicBezTo>
                  <a:cubicBezTo>
                    <a:pt x="63" y="14"/>
                    <a:pt x="62" y="14"/>
                    <a:pt x="63" y="13"/>
                  </a:cubicBezTo>
                  <a:cubicBezTo>
                    <a:pt x="61" y="12"/>
                    <a:pt x="61" y="11"/>
                    <a:pt x="61" y="9"/>
                  </a:cubicBezTo>
                  <a:lnTo>
                    <a:pt x="61" y="2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6" name="Freeform 18">
              <a:extLst>
                <a:ext uri="{FF2B5EF4-FFF2-40B4-BE49-F238E27FC236}">
                  <a16:creationId xmlns:a16="http://schemas.microsoft.com/office/drawing/2014/main" id="{5129208C-F488-4CC6-8375-060BCFEC5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6388" y="4992688"/>
              <a:ext cx="1143000" cy="1347788"/>
            </a:xfrm>
            <a:custGeom>
              <a:avLst/>
              <a:gdLst/>
              <a:ahLst/>
              <a:cxnLst>
                <a:cxn ang="0">
                  <a:pos x="600" y="532"/>
                </a:cxn>
                <a:cxn ang="0">
                  <a:pos x="571" y="505"/>
                </a:cxn>
                <a:cxn ang="0">
                  <a:pos x="530" y="474"/>
                </a:cxn>
                <a:cxn ang="0">
                  <a:pos x="479" y="433"/>
                </a:cxn>
                <a:cxn ang="0">
                  <a:pos x="489" y="411"/>
                </a:cxn>
                <a:cxn ang="0">
                  <a:pos x="432" y="405"/>
                </a:cxn>
                <a:cxn ang="0">
                  <a:pos x="398" y="374"/>
                </a:cxn>
                <a:cxn ang="0">
                  <a:pos x="378" y="341"/>
                </a:cxn>
                <a:cxn ang="0">
                  <a:pos x="358" y="280"/>
                </a:cxn>
                <a:cxn ang="0">
                  <a:pos x="319" y="243"/>
                </a:cxn>
                <a:cxn ang="0">
                  <a:pos x="296" y="196"/>
                </a:cxn>
                <a:cxn ang="0">
                  <a:pos x="314" y="171"/>
                </a:cxn>
                <a:cxn ang="0">
                  <a:pos x="320" y="143"/>
                </a:cxn>
                <a:cxn ang="0">
                  <a:pos x="329" y="129"/>
                </a:cxn>
                <a:cxn ang="0">
                  <a:pos x="354" y="109"/>
                </a:cxn>
                <a:cxn ang="0">
                  <a:pos x="375" y="120"/>
                </a:cxn>
                <a:cxn ang="0">
                  <a:pos x="373" y="95"/>
                </a:cxn>
                <a:cxn ang="0">
                  <a:pos x="361" y="68"/>
                </a:cxn>
                <a:cxn ang="0">
                  <a:pos x="347" y="37"/>
                </a:cxn>
                <a:cxn ang="0">
                  <a:pos x="303" y="6"/>
                </a:cxn>
                <a:cxn ang="0">
                  <a:pos x="247" y="11"/>
                </a:cxn>
                <a:cxn ang="0">
                  <a:pos x="220" y="18"/>
                </a:cxn>
                <a:cxn ang="0">
                  <a:pos x="198" y="39"/>
                </a:cxn>
                <a:cxn ang="0">
                  <a:pos x="186" y="63"/>
                </a:cxn>
                <a:cxn ang="0">
                  <a:pos x="153" y="50"/>
                </a:cxn>
                <a:cxn ang="0">
                  <a:pos x="131" y="86"/>
                </a:cxn>
                <a:cxn ang="0">
                  <a:pos x="120" y="86"/>
                </a:cxn>
                <a:cxn ang="0">
                  <a:pos x="99" y="60"/>
                </a:cxn>
                <a:cxn ang="0">
                  <a:pos x="74" y="89"/>
                </a:cxn>
                <a:cxn ang="0">
                  <a:pos x="23" y="98"/>
                </a:cxn>
                <a:cxn ang="0">
                  <a:pos x="11" y="159"/>
                </a:cxn>
                <a:cxn ang="0">
                  <a:pos x="20" y="224"/>
                </a:cxn>
                <a:cxn ang="0">
                  <a:pos x="55" y="262"/>
                </a:cxn>
                <a:cxn ang="0">
                  <a:pos x="85" y="238"/>
                </a:cxn>
                <a:cxn ang="0">
                  <a:pos x="140" y="218"/>
                </a:cxn>
                <a:cxn ang="0">
                  <a:pos x="168" y="236"/>
                </a:cxn>
                <a:cxn ang="0">
                  <a:pos x="190" y="257"/>
                </a:cxn>
                <a:cxn ang="0">
                  <a:pos x="199" y="303"/>
                </a:cxn>
                <a:cxn ang="0">
                  <a:pos x="213" y="336"/>
                </a:cxn>
                <a:cxn ang="0">
                  <a:pos x="237" y="363"/>
                </a:cxn>
                <a:cxn ang="0">
                  <a:pos x="264" y="398"/>
                </a:cxn>
                <a:cxn ang="0">
                  <a:pos x="292" y="428"/>
                </a:cxn>
                <a:cxn ang="0">
                  <a:pos x="319" y="461"/>
                </a:cxn>
                <a:cxn ang="0">
                  <a:pos x="365" y="477"/>
                </a:cxn>
                <a:cxn ang="0">
                  <a:pos x="391" y="505"/>
                </a:cxn>
                <a:cxn ang="0">
                  <a:pos x="408" y="513"/>
                </a:cxn>
                <a:cxn ang="0">
                  <a:pos x="427" y="547"/>
                </a:cxn>
                <a:cxn ang="0">
                  <a:pos x="462" y="570"/>
                </a:cxn>
                <a:cxn ang="0">
                  <a:pos x="475" y="628"/>
                </a:cxn>
                <a:cxn ang="0">
                  <a:pos x="458" y="691"/>
                </a:cxn>
                <a:cxn ang="0">
                  <a:pos x="445" y="719"/>
                </a:cxn>
                <a:cxn ang="0">
                  <a:pos x="478" y="708"/>
                </a:cxn>
                <a:cxn ang="0">
                  <a:pos x="510" y="649"/>
                </a:cxn>
                <a:cxn ang="0">
                  <a:pos x="533" y="631"/>
                </a:cxn>
                <a:cxn ang="0">
                  <a:pos x="511" y="590"/>
                </a:cxn>
                <a:cxn ang="0">
                  <a:pos x="518" y="543"/>
                </a:cxn>
                <a:cxn ang="0">
                  <a:pos x="548" y="534"/>
                </a:cxn>
                <a:cxn ang="0">
                  <a:pos x="581" y="549"/>
                </a:cxn>
                <a:cxn ang="0">
                  <a:pos x="612" y="557"/>
                </a:cxn>
              </a:cxnLst>
              <a:rect l="0" t="0" r="r" b="b"/>
              <a:pathLst>
                <a:path w="612" h="721">
                  <a:moveTo>
                    <a:pt x="532" y="476"/>
                  </a:moveTo>
                  <a:cubicBezTo>
                    <a:pt x="533" y="475"/>
                    <a:pt x="533" y="475"/>
                    <a:pt x="533" y="475"/>
                  </a:cubicBezTo>
                  <a:cubicBezTo>
                    <a:pt x="533" y="475"/>
                    <a:pt x="532" y="475"/>
                    <a:pt x="532" y="476"/>
                  </a:cubicBezTo>
                  <a:moveTo>
                    <a:pt x="612" y="551"/>
                  </a:moveTo>
                  <a:cubicBezTo>
                    <a:pt x="612" y="550"/>
                    <a:pt x="611" y="550"/>
                    <a:pt x="611" y="550"/>
                  </a:cubicBezTo>
                  <a:cubicBezTo>
                    <a:pt x="611" y="549"/>
                    <a:pt x="611" y="548"/>
                    <a:pt x="611" y="548"/>
                  </a:cubicBezTo>
                  <a:cubicBezTo>
                    <a:pt x="610" y="547"/>
                    <a:pt x="610" y="547"/>
                    <a:pt x="609" y="546"/>
                  </a:cubicBezTo>
                  <a:cubicBezTo>
                    <a:pt x="609" y="545"/>
                    <a:pt x="609" y="544"/>
                    <a:pt x="609" y="543"/>
                  </a:cubicBezTo>
                  <a:cubicBezTo>
                    <a:pt x="608" y="542"/>
                    <a:pt x="608" y="542"/>
                    <a:pt x="607" y="541"/>
                  </a:cubicBezTo>
                  <a:cubicBezTo>
                    <a:pt x="606" y="540"/>
                    <a:pt x="606" y="538"/>
                    <a:pt x="605" y="537"/>
                  </a:cubicBezTo>
                  <a:cubicBezTo>
                    <a:pt x="604" y="536"/>
                    <a:pt x="603" y="535"/>
                    <a:pt x="602" y="534"/>
                  </a:cubicBezTo>
                  <a:cubicBezTo>
                    <a:pt x="601" y="533"/>
                    <a:pt x="601" y="533"/>
                    <a:pt x="600" y="532"/>
                  </a:cubicBezTo>
                  <a:cubicBezTo>
                    <a:pt x="600" y="532"/>
                    <a:pt x="599" y="531"/>
                    <a:pt x="599" y="531"/>
                  </a:cubicBezTo>
                  <a:cubicBezTo>
                    <a:pt x="598" y="530"/>
                    <a:pt x="598" y="529"/>
                    <a:pt x="597" y="528"/>
                  </a:cubicBezTo>
                  <a:cubicBezTo>
                    <a:pt x="596" y="527"/>
                    <a:pt x="596" y="527"/>
                    <a:pt x="595" y="526"/>
                  </a:cubicBezTo>
                  <a:cubicBezTo>
                    <a:pt x="594" y="525"/>
                    <a:pt x="594" y="524"/>
                    <a:pt x="593" y="523"/>
                  </a:cubicBezTo>
                  <a:cubicBezTo>
                    <a:pt x="592" y="522"/>
                    <a:pt x="591" y="522"/>
                    <a:pt x="591" y="522"/>
                  </a:cubicBezTo>
                  <a:cubicBezTo>
                    <a:pt x="589" y="520"/>
                    <a:pt x="588" y="518"/>
                    <a:pt x="587" y="517"/>
                  </a:cubicBezTo>
                  <a:cubicBezTo>
                    <a:pt x="587" y="516"/>
                    <a:pt x="585" y="515"/>
                    <a:pt x="584" y="514"/>
                  </a:cubicBezTo>
                  <a:cubicBezTo>
                    <a:pt x="582" y="512"/>
                    <a:pt x="580" y="510"/>
                    <a:pt x="578" y="509"/>
                  </a:cubicBezTo>
                  <a:cubicBezTo>
                    <a:pt x="577" y="509"/>
                    <a:pt x="576" y="508"/>
                    <a:pt x="575" y="507"/>
                  </a:cubicBezTo>
                  <a:cubicBezTo>
                    <a:pt x="575" y="507"/>
                    <a:pt x="575" y="507"/>
                    <a:pt x="575" y="507"/>
                  </a:cubicBezTo>
                  <a:cubicBezTo>
                    <a:pt x="575" y="507"/>
                    <a:pt x="574" y="507"/>
                    <a:pt x="574" y="507"/>
                  </a:cubicBezTo>
                  <a:cubicBezTo>
                    <a:pt x="573" y="506"/>
                    <a:pt x="572" y="505"/>
                    <a:pt x="571" y="505"/>
                  </a:cubicBezTo>
                  <a:cubicBezTo>
                    <a:pt x="570" y="504"/>
                    <a:pt x="569" y="504"/>
                    <a:pt x="568" y="503"/>
                  </a:cubicBezTo>
                  <a:cubicBezTo>
                    <a:pt x="566" y="502"/>
                    <a:pt x="565" y="501"/>
                    <a:pt x="563" y="500"/>
                  </a:cubicBezTo>
                  <a:cubicBezTo>
                    <a:pt x="562" y="499"/>
                    <a:pt x="560" y="499"/>
                    <a:pt x="559" y="498"/>
                  </a:cubicBezTo>
                  <a:cubicBezTo>
                    <a:pt x="558" y="497"/>
                    <a:pt x="557" y="497"/>
                    <a:pt x="556" y="496"/>
                  </a:cubicBezTo>
                  <a:cubicBezTo>
                    <a:pt x="555" y="495"/>
                    <a:pt x="554" y="494"/>
                    <a:pt x="552" y="494"/>
                  </a:cubicBezTo>
                  <a:cubicBezTo>
                    <a:pt x="552" y="493"/>
                    <a:pt x="551" y="493"/>
                    <a:pt x="550" y="492"/>
                  </a:cubicBezTo>
                  <a:cubicBezTo>
                    <a:pt x="549" y="491"/>
                    <a:pt x="548" y="490"/>
                    <a:pt x="547" y="489"/>
                  </a:cubicBezTo>
                  <a:cubicBezTo>
                    <a:pt x="546" y="488"/>
                    <a:pt x="545" y="487"/>
                    <a:pt x="544" y="486"/>
                  </a:cubicBezTo>
                  <a:cubicBezTo>
                    <a:pt x="544" y="485"/>
                    <a:pt x="543" y="484"/>
                    <a:pt x="543" y="483"/>
                  </a:cubicBezTo>
                  <a:cubicBezTo>
                    <a:pt x="542" y="481"/>
                    <a:pt x="540" y="481"/>
                    <a:pt x="538" y="479"/>
                  </a:cubicBezTo>
                  <a:cubicBezTo>
                    <a:pt x="537" y="479"/>
                    <a:pt x="532" y="477"/>
                    <a:pt x="532" y="476"/>
                  </a:cubicBezTo>
                  <a:cubicBezTo>
                    <a:pt x="532" y="476"/>
                    <a:pt x="530" y="475"/>
                    <a:pt x="530" y="474"/>
                  </a:cubicBezTo>
                  <a:cubicBezTo>
                    <a:pt x="528" y="473"/>
                    <a:pt x="526" y="471"/>
                    <a:pt x="523" y="471"/>
                  </a:cubicBezTo>
                  <a:cubicBezTo>
                    <a:pt x="521" y="470"/>
                    <a:pt x="519" y="470"/>
                    <a:pt x="517" y="469"/>
                  </a:cubicBezTo>
                  <a:cubicBezTo>
                    <a:pt x="512" y="469"/>
                    <a:pt x="509" y="466"/>
                    <a:pt x="506" y="463"/>
                  </a:cubicBezTo>
                  <a:cubicBezTo>
                    <a:pt x="504" y="462"/>
                    <a:pt x="503" y="460"/>
                    <a:pt x="501" y="460"/>
                  </a:cubicBezTo>
                  <a:cubicBezTo>
                    <a:pt x="499" y="459"/>
                    <a:pt x="497" y="459"/>
                    <a:pt x="495" y="459"/>
                  </a:cubicBezTo>
                  <a:cubicBezTo>
                    <a:pt x="493" y="458"/>
                    <a:pt x="491" y="457"/>
                    <a:pt x="490" y="457"/>
                  </a:cubicBezTo>
                  <a:cubicBezTo>
                    <a:pt x="489" y="455"/>
                    <a:pt x="488" y="454"/>
                    <a:pt x="487" y="452"/>
                  </a:cubicBezTo>
                  <a:cubicBezTo>
                    <a:pt x="486" y="450"/>
                    <a:pt x="485" y="449"/>
                    <a:pt x="483" y="448"/>
                  </a:cubicBezTo>
                  <a:cubicBezTo>
                    <a:pt x="482" y="447"/>
                    <a:pt x="481" y="447"/>
                    <a:pt x="480" y="446"/>
                  </a:cubicBezTo>
                  <a:cubicBezTo>
                    <a:pt x="478" y="445"/>
                    <a:pt x="477" y="444"/>
                    <a:pt x="477" y="443"/>
                  </a:cubicBezTo>
                  <a:cubicBezTo>
                    <a:pt x="476" y="442"/>
                    <a:pt x="477" y="440"/>
                    <a:pt x="477" y="439"/>
                  </a:cubicBezTo>
                  <a:cubicBezTo>
                    <a:pt x="477" y="437"/>
                    <a:pt x="478" y="435"/>
                    <a:pt x="479" y="433"/>
                  </a:cubicBezTo>
                  <a:cubicBezTo>
                    <a:pt x="480" y="432"/>
                    <a:pt x="481" y="431"/>
                    <a:pt x="482" y="430"/>
                  </a:cubicBezTo>
                  <a:cubicBezTo>
                    <a:pt x="482" y="429"/>
                    <a:pt x="483" y="428"/>
                    <a:pt x="484" y="427"/>
                  </a:cubicBezTo>
                  <a:cubicBezTo>
                    <a:pt x="485" y="427"/>
                    <a:pt x="486" y="426"/>
                    <a:pt x="486" y="426"/>
                  </a:cubicBezTo>
                  <a:cubicBezTo>
                    <a:pt x="487" y="426"/>
                    <a:pt x="487" y="426"/>
                    <a:pt x="488" y="426"/>
                  </a:cubicBezTo>
                  <a:cubicBezTo>
                    <a:pt x="488" y="426"/>
                    <a:pt x="488" y="425"/>
                    <a:pt x="489" y="425"/>
                  </a:cubicBezTo>
                  <a:cubicBezTo>
                    <a:pt x="489" y="424"/>
                    <a:pt x="490" y="425"/>
                    <a:pt x="490" y="424"/>
                  </a:cubicBezTo>
                  <a:cubicBezTo>
                    <a:pt x="491" y="424"/>
                    <a:pt x="491" y="424"/>
                    <a:pt x="491" y="423"/>
                  </a:cubicBezTo>
                  <a:cubicBezTo>
                    <a:pt x="492" y="422"/>
                    <a:pt x="493" y="422"/>
                    <a:pt x="494" y="421"/>
                  </a:cubicBezTo>
                  <a:cubicBezTo>
                    <a:pt x="495" y="420"/>
                    <a:pt x="495" y="418"/>
                    <a:pt x="495" y="417"/>
                  </a:cubicBezTo>
                  <a:cubicBezTo>
                    <a:pt x="495" y="417"/>
                    <a:pt x="494" y="416"/>
                    <a:pt x="494" y="416"/>
                  </a:cubicBezTo>
                  <a:cubicBezTo>
                    <a:pt x="494" y="415"/>
                    <a:pt x="493" y="415"/>
                    <a:pt x="493" y="414"/>
                  </a:cubicBezTo>
                  <a:cubicBezTo>
                    <a:pt x="492" y="412"/>
                    <a:pt x="490" y="412"/>
                    <a:pt x="489" y="411"/>
                  </a:cubicBezTo>
                  <a:cubicBezTo>
                    <a:pt x="487" y="409"/>
                    <a:pt x="486" y="408"/>
                    <a:pt x="483" y="408"/>
                  </a:cubicBezTo>
                  <a:cubicBezTo>
                    <a:pt x="482" y="408"/>
                    <a:pt x="481" y="409"/>
                    <a:pt x="479" y="409"/>
                  </a:cubicBezTo>
                  <a:cubicBezTo>
                    <a:pt x="477" y="410"/>
                    <a:pt x="474" y="410"/>
                    <a:pt x="473" y="409"/>
                  </a:cubicBezTo>
                  <a:cubicBezTo>
                    <a:pt x="471" y="408"/>
                    <a:pt x="470" y="408"/>
                    <a:pt x="467" y="409"/>
                  </a:cubicBezTo>
                  <a:cubicBezTo>
                    <a:pt x="466" y="409"/>
                    <a:pt x="464" y="409"/>
                    <a:pt x="463" y="409"/>
                  </a:cubicBezTo>
                  <a:cubicBezTo>
                    <a:pt x="462" y="409"/>
                    <a:pt x="461" y="410"/>
                    <a:pt x="460" y="410"/>
                  </a:cubicBezTo>
                  <a:cubicBezTo>
                    <a:pt x="459" y="410"/>
                    <a:pt x="458" y="410"/>
                    <a:pt x="458" y="410"/>
                  </a:cubicBezTo>
                  <a:cubicBezTo>
                    <a:pt x="456" y="410"/>
                    <a:pt x="454" y="411"/>
                    <a:pt x="452" y="411"/>
                  </a:cubicBezTo>
                  <a:cubicBezTo>
                    <a:pt x="451" y="411"/>
                    <a:pt x="449" y="411"/>
                    <a:pt x="448" y="411"/>
                  </a:cubicBezTo>
                  <a:cubicBezTo>
                    <a:pt x="444" y="411"/>
                    <a:pt x="439" y="411"/>
                    <a:pt x="436" y="408"/>
                  </a:cubicBezTo>
                  <a:cubicBezTo>
                    <a:pt x="435" y="407"/>
                    <a:pt x="435" y="406"/>
                    <a:pt x="434" y="406"/>
                  </a:cubicBezTo>
                  <a:cubicBezTo>
                    <a:pt x="433" y="405"/>
                    <a:pt x="433" y="405"/>
                    <a:pt x="432" y="405"/>
                  </a:cubicBezTo>
                  <a:cubicBezTo>
                    <a:pt x="431" y="403"/>
                    <a:pt x="430" y="403"/>
                    <a:pt x="428" y="402"/>
                  </a:cubicBezTo>
                  <a:cubicBezTo>
                    <a:pt x="427" y="401"/>
                    <a:pt x="426" y="401"/>
                    <a:pt x="425" y="400"/>
                  </a:cubicBezTo>
                  <a:cubicBezTo>
                    <a:pt x="424" y="399"/>
                    <a:pt x="424" y="398"/>
                    <a:pt x="423" y="398"/>
                  </a:cubicBezTo>
                  <a:cubicBezTo>
                    <a:pt x="422" y="397"/>
                    <a:pt x="420" y="398"/>
                    <a:pt x="419" y="398"/>
                  </a:cubicBezTo>
                  <a:cubicBezTo>
                    <a:pt x="418" y="397"/>
                    <a:pt x="418" y="396"/>
                    <a:pt x="416" y="396"/>
                  </a:cubicBezTo>
                  <a:cubicBezTo>
                    <a:pt x="416" y="395"/>
                    <a:pt x="415" y="393"/>
                    <a:pt x="414" y="391"/>
                  </a:cubicBezTo>
                  <a:cubicBezTo>
                    <a:pt x="414" y="390"/>
                    <a:pt x="414" y="388"/>
                    <a:pt x="413" y="387"/>
                  </a:cubicBezTo>
                  <a:cubicBezTo>
                    <a:pt x="413" y="386"/>
                    <a:pt x="412" y="386"/>
                    <a:pt x="411" y="385"/>
                  </a:cubicBezTo>
                  <a:cubicBezTo>
                    <a:pt x="410" y="385"/>
                    <a:pt x="411" y="385"/>
                    <a:pt x="410" y="384"/>
                  </a:cubicBezTo>
                  <a:cubicBezTo>
                    <a:pt x="408" y="383"/>
                    <a:pt x="407" y="382"/>
                    <a:pt x="405" y="381"/>
                  </a:cubicBezTo>
                  <a:cubicBezTo>
                    <a:pt x="403" y="379"/>
                    <a:pt x="401" y="378"/>
                    <a:pt x="399" y="375"/>
                  </a:cubicBezTo>
                  <a:cubicBezTo>
                    <a:pt x="399" y="375"/>
                    <a:pt x="398" y="374"/>
                    <a:pt x="398" y="374"/>
                  </a:cubicBezTo>
                  <a:cubicBezTo>
                    <a:pt x="397" y="372"/>
                    <a:pt x="397" y="371"/>
                    <a:pt x="395" y="370"/>
                  </a:cubicBezTo>
                  <a:cubicBezTo>
                    <a:pt x="395" y="370"/>
                    <a:pt x="391" y="367"/>
                    <a:pt x="391" y="366"/>
                  </a:cubicBezTo>
                  <a:cubicBezTo>
                    <a:pt x="391" y="366"/>
                    <a:pt x="391" y="366"/>
                    <a:pt x="391" y="366"/>
                  </a:cubicBezTo>
                  <a:cubicBezTo>
                    <a:pt x="391" y="366"/>
                    <a:pt x="390" y="366"/>
                    <a:pt x="390" y="366"/>
                  </a:cubicBezTo>
                  <a:cubicBezTo>
                    <a:pt x="390" y="366"/>
                    <a:pt x="390" y="365"/>
                    <a:pt x="390" y="365"/>
                  </a:cubicBezTo>
                  <a:cubicBezTo>
                    <a:pt x="389" y="365"/>
                    <a:pt x="389" y="364"/>
                    <a:pt x="389" y="364"/>
                  </a:cubicBezTo>
                  <a:cubicBezTo>
                    <a:pt x="388" y="363"/>
                    <a:pt x="388" y="363"/>
                    <a:pt x="387" y="363"/>
                  </a:cubicBezTo>
                  <a:cubicBezTo>
                    <a:pt x="387" y="362"/>
                    <a:pt x="387" y="361"/>
                    <a:pt x="386" y="361"/>
                  </a:cubicBezTo>
                  <a:cubicBezTo>
                    <a:pt x="386" y="360"/>
                    <a:pt x="385" y="359"/>
                    <a:pt x="385" y="358"/>
                  </a:cubicBezTo>
                  <a:cubicBezTo>
                    <a:pt x="384" y="357"/>
                    <a:pt x="383" y="356"/>
                    <a:pt x="383" y="355"/>
                  </a:cubicBezTo>
                  <a:cubicBezTo>
                    <a:pt x="382" y="354"/>
                    <a:pt x="382" y="352"/>
                    <a:pt x="381" y="352"/>
                  </a:cubicBezTo>
                  <a:cubicBezTo>
                    <a:pt x="381" y="348"/>
                    <a:pt x="379" y="345"/>
                    <a:pt x="378" y="341"/>
                  </a:cubicBezTo>
                  <a:cubicBezTo>
                    <a:pt x="377" y="338"/>
                    <a:pt x="376" y="335"/>
                    <a:pt x="376" y="332"/>
                  </a:cubicBezTo>
                  <a:cubicBezTo>
                    <a:pt x="375" y="329"/>
                    <a:pt x="375" y="325"/>
                    <a:pt x="374" y="323"/>
                  </a:cubicBezTo>
                  <a:cubicBezTo>
                    <a:pt x="373" y="321"/>
                    <a:pt x="373" y="320"/>
                    <a:pt x="372" y="319"/>
                  </a:cubicBezTo>
                  <a:cubicBezTo>
                    <a:pt x="372" y="318"/>
                    <a:pt x="372" y="317"/>
                    <a:pt x="372" y="316"/>
                  </a:cubicBezTo>
                  <a:cubicBezTo>
                    <a:pt x="372" y="316"/>
                    <a:pt x="371" y="315"/>
                    <a:pt x="371" y="315"/>
                  </a:cubicBezTo>
                  <a:cubicBezTo>
                    <a:pt x="370" y="311"/>
                    <a:pt x="370" y="307"/>
                    <a:pt x="369" y="303"/>
                  </a:cubicBezTo>
                  <a:cubicBezTo>
                    <a:pt x="368" y="301"/>
                    <a:pt x="366" y="299"/>
                    <a:pt x="365" y="297"/>
                  </a:cubicBezTo>
                  <a:cubicBezTo>
                    <a:pt x="364" y="296"/>
                    <a:pt x="364" y="295"/>
                    <a:pt x="364" y="294"/>
                  </a:cubicBezTo>
                  <a:cubicBezTo>
                    <a:pt x="364" y="293"/>
                    <a:pt x="363" y="291"/>
                    <a:pt x="362" y="290"/>
                  </a:cubicBezTo>
                  <a:cubicBezTo>
                    <a:pt x="361" y="288"/>
                    <a:pt x="360" y="287"/>
                    <a:pt x="360" y="285"/>
                  </a:cubicBezTo>
                  <a:cubicBezTo>
                    <a:pt x="360" y="285"/>
                    <a:pt x="359" y="284"/>
                    <a:pt x="359" y="283"/>
                  </a:cubicBezTo>
                  <a:cubicBezTo>
                    <a:pt x="358" y="282"/>
                    <a:pt x="358" y="282"/>
                    <a:pt x="358" y="280"/>
                  </a:cubicBezTo>
                  <a:cubicBezTo>
                    <a:pt x="358" y="279"/>
                    <a:pt x="358" y="279"/>
                    <a:pt x="357" y="279"/>
                  </a:cubicBezTo>
                  <a:cubicBezTo>
                    <a:pt x="355" y="278"/>
                    <a:pt x="354" y="280"/>
                    <a:pt x="352" y="277"/>
                  </a:cubicBezTo>
                  <a:cubicBezTo>
                    <a:pt x="350" y="275"/>
                    <a:pt x="351" y="271"/>
                    <a:pt x="349" y="269"/>
                  </a:cubicBezTo>
                  <a:cubicBezTo>
                    <a:pt x="347" y="268"/>
                    <a:pt x="346" y="267"/>
                    <a:pt x="345" y="266"/>
                  </a:cubicBezTo>
                  <a:cubicBezTo>
                    <a:pt x="344" y="265"/>
                    <a:pt x="343" y="265"/>
                    <a:pt x="342" y="265"/>
                  </a:cubicBezTo>
                  <a:cubicBezTo>
                    <a:pt x="342" y="264"/>
                    <a:pt x="342" y="264"/>
                    <a:pt x="341" y="264"/>
                  </a:cubicBezTo>
                  <a:cubicBezTo>
                    <a:pt x="341" y="264"/>
                    <a:pt x="340" y="263"/>
                    <a:pt x="340" y="263"/>
                  </a:cubicBezTo>
                  <a:cubicBezTo>
                    <a:pt x="338" y="262"/>
                    <a:pt x="337" y="260"/>
                    <a:pt x="336" y="259"/>
                  </a:cubicBezTo>
                  <a:cubicBezTo>
                    <a:pt x="335" y="257"/>
                    <a:pt x="333" y="256"/>
                    <a:pt x="331" y="254"/>
                  </a:cubicBezTo>
                  <a:cubicBezTo>
                    <a:pt x="330" y="253"/>
                    <a:pt x="328" y="251"/>
                    <a:pt x="327" y="250"/>
                  </a:cubicBezTo>
                  <a:cubicBezTo>
                    <a:pt x="326" y="248"/>
                    <a:pt x="324" y="248"/>
                    <a:pt x="323" y="247"/>
                  </a:cubicBezTo>
                  <a:cubicBezTo>
                    <a:pt x="321" y="246"/>
                    <a:pt x="320" y="244"/>
                    <a:pt x="319" y="243"/>
                  </a:cubicBezTo>
                  <a:cubicBezTo>
                    <a:pt x="318" y="242"/>
                    <a:pt x="317" y="241"/>
                    <a:pt x="316" y="241"/>
                  </a:cubicBezTo>
                  <a:cubicBezTo>
                    <a:pt x="315" y="241"/>
                    <a:pt x="315" y="241"/>
                    <a:pt x="314" y="241"/>
                  </a:cubicBezTo>
                  <a:cubicBezTo>
                    <a:pt x="314" y="240"/>
                    <a:pt x="314" y="240"/>
                    <a:pt x="313" y="240"/>
                  </a:cubicBezTo>
                  <a:cubicBezTo>
                    <a:pt x="313" y="239"/>
                    <a:pt x="312" y="239"/>
                    <a:pt x="311" y="238"/>
                  </a:cubicBezTo>
                  <a:cubicBezTo>
                    <a:pt x="309" y="237"/>
                    <a:pt x="308" y="236"/>
                    <a:pt x="307" y="234"/>
                  </a:cubicBezTo>
                  <a:cubicBezTo>
                    <a:pt x="305" y="231"/>
                    <a:pt x="304" y="228"/>
                    <a:pt x="302" y="225"/>
                  </a:cubicBezTo>
                  <a:cubicBezTo>
                    <a:pt x="302" y="224"/>
                    <a:pt x="302" y="224"/>
                    <a:pt x="302" y="224"/>
                  </a:cubicBezTo>
                  <a:cubicBezTo>
                    <a:pt x="302" y="223"/>
                    <a:pt x="301" y="223"/>
                    <a:pt x="301" y="223"/>
                  </a:cubicBezTo>
                  <a:cubicBezTo>
                    <a:pt x="300" y="221"/>
                    <a:pt x="299" y="219"/>
                    <a:pt x="299" y="218"/>
                  </a:cubicBezTo>
                  <a:cubicBezTo>
                    <a:pt x="299" y="214"/>
                    <a:pt x="300" y="210"/>
                    <a:pt x="299" y="206"/>
                  </a:cubicBezTo>
                  <a:cubicBezTo>
                    <a:pt x="298" y="203"/>
                    <a:pt x="296" y="201"/>
                    <a:pt x="296" y="198"/>
                  </a:cubicBezTo>
                  <a:cubicBezTo>
                    <a:pt x="296" y="198"/>
                    <a:pt x="296" y="197"/>
                    <a:pt x="296" y="196"/>
                  </a:cubicBezTo>
                  <a:cubicBezTo>
                    <a:pt x="296" y="196"/>
                    <a:pt x="297" y="196"/>
                    <a:pt x="297" y="195"/>
                  </a:cubicBezTo>
                  <a:cubicBezTo>
                    <a:pt x="297" y="194"/>
                    <a:pt x="297" y="192"/>
                    <a:pt x="297" y="191"/>
                  </a:cubicBezTo>
                  <a:cubicBezTo>
                    <a:pt x="297" y="190"/>
                    <a:pt x="296" y="190"/>
                    <a:pt x="296" y="189"/>
                  </a:cubicBezTo>
                  <a:cubicBezTo>
                    <a:pt x="296" y="189"/>
                    <a:pt x="296" y="188"/>
                    <a:pt x="296" y="187"/>
                  </a:cubicBezTo>
                  <a:cubicBezTo>
                    <a:pt x="296" y="186"/>
                    <a:pt x="296" y="186"/>
                    <a:pt x="297" y="185"/>
                  </a:cubicBezTo>
                  <a:cubicBezTo>
                    <a:pt x="297" y="184"/>
                    <a:pt x="297" y="183"/>
                    <a:pt x="298" y="182"/>
                  </a:cubicBezTo>
                  <a:cubicBezTo>
                    <a:pt x="298" y="181"/>
                    <a:pt x="298" y="181"/>
                    <a:pt x="299" y="181"/>
                  </a:cubicBezTo>
                  <a:cubicBezTo>
                    <a:pt x="299" y="181"/>
                    <a:pt x="299" y="181"/>
                    <a:pt x="300" y="181"/>
                  </a:cubicBezTo>
                  <a:cubicBezTo>
                    <a:pt x="300" y="180"/>
                    <a:pt x="301" y="180"/>
                    <a:pt x="302" y="180"/>
                  </a:cubicBezTo>
                  <a:cubicBezTo>
                    <a:pt x="305" y="179"/>
                    <a:pt x="305" y="176"/>
                    <a:pt x="306" y="173"/>
                  </a:cubicBezTo>
                  <a:cubicBezTo>
                    <a:pt x="307" y="172"/>
                    <a:pt x="307" y="172"/>
                    <a:pt x="308" y="171"/>
                  </a:cubicBezTo>
                  <a:cubicBezTo>
                    <a:pt x="310" y="171"/>
                    <a:pt x="312" y="171"/>
                    <a:pt x="314" y="171"/>
                  </a:cubicBezTo>
                  <a:cubicBezTo>
                    <a:pt x="316" y="171"/>
                    <a:pt x="318" y="170"/>
                    <a:pt x="321" y="171"/>
                  </a:cubicBezTo>
                  <a:cubicBezTo>
                    <a:pt x="321" y="171"/>
                    <a:pt x="322" y="171"/>
                    <a:pt x="323" y="170"/>
                  </a:cubicBezTo>
                  <a:cubicBezTo>
                    <a:pt x="324" y="170"/>
                    <a:pt x="324" y="169"/>
                    <a:pt x="324" y="168"/>
                  </a:cubicBezTo>
                  <a:cubicBezTo>
                    <a:pt x="324" y="166"/>
                    <a:pt x="322" y="165"/>
                    <a:pt x="320" y="164"/>
                  </a:cubicBezTo>
                  <a:cubicBezTo>
                    <a:pt x="318" y="163"/>
                    <a:pt x="317" y="163"/>
                    <a:pt x="316" y="161"/>
                  </a:cubicBezTo>
                  <a:cubicBezTo>
                    <a:pt x="316" y="159"/>
                    <a:pt x="315" y="158"/>
                    <a:pt x="315" y="156"/>
                  </a:cubicBezTo>
                  <a:cubicBezTo>
                    <a:pt x="315" y="154"/>
                    <a:pt x="315" y="155"/>
                    <a:pt x="317" y="154"/>
                  </a:cubicBezTo>
                  <a:cubicBezTo>
                    <a:pt x="318" y="154"/>
                    <a:pt x="319" y="153"/>
                    <a:pt x="319" y="152"/>
                  </a:cubicBezTo>
                  <a:cubicBezTo>
                    <a:pt x="321" y="151"/>
                    <a:pt x="322" y="149"/>
                    <a:pt x="323" y="148"/>
                  </a:cubicBezTo>
                  <a:cubicBezTo>
                    <a:pt x="324" y="147"/>
                    <a:pt x="326" y="147"/>
                    <a:pt x="327" y="146"/>
                  </a:cubicBezTo>
                  <a:cubicBezTo>
                    <a:pt x="328" y="145"/>
                    <a:pt x="328" y="145"/>
                    <a:pt x="328" y="144"/>
                  </a:cubicBezTo>
                  <a:cubicBezTo>
                    <a:pt x="325" y="143"/>
                    <a:pt x="323" y="144"/>
                    <a:pt x="320" y="143"/>
                  </a:cubicBezTo>
                  <a:cubicBezTo>
                    <a:pt x="317" y="141"/>
                    <a:pt x="312" y="142"/>
                    <a:pt x="308" y="142"/>
                  </a:cubicBezTo>
                  <a:cubicBezTo>
                    <a:pt x="308" y="140"/>
                    <a:pt x="310" y="138"/>
                    <a:pt x="310" y="137"/>
                  </a:cubicBezTo>
                  <a:cubicBezTo>
                    <a:pt x="311" y="136"/>
                    <a:pt x="311" y="136"/>
                    <a:pt x="311" y="135"/>
                  </a:cubicBezTo>
                  <a:cubicBezTo>
                    <a:pt x="312" y="135"/>
                    <a:pt x="312" y="135"/>
                    <a:pt x="313" y="134"/>
                  </a:cubicBezTo>
                  <a:cubicBezTo>
                    <a:pt x="315" y="133"/>
                    <a:pt x="314" y="132"/>
                    <a:pt x="314" y="130"/>
                  </a:cubicBezTo>
                  <a:cubicBezTo>
                    <a:pt x="315" y="128"/>
                    <a:pt x="316" y="128"/>
                    <a:pt x="317" y="130"/>
                  </a:cubicBezTo>
                  <a:cubicBezTo>
                    <a:pt x="318" y="131"/>
                    <a:pt x="316" y="133"/>
                    <a:pt x="318" y="134"/>
                  </a:cubicBezTo>
                  <a:cubicBezTo>
                    <a:pt x="319" y="134"/>
                    <a:pt x="320" y="134"/>
                    <a:pt x="321" y="134"/>
                  </a:cubicBezTo>
                  <a:cubicBezTo>
                    <a:pt x="321" y="134"/>
                    <a:pt x="321" y="134"/>
                    <a:pt x="322" y="134"/>
                  </a:cubicBezTo>
                  <a:cubicBezTo>
                    <a:pt x="322" y="134"/>
                    <a:pt x="322" y="134"/>
                    <a:pt x="322" y="133"/>
                  </a:cubicBezTo>
                  <a:cubicBezTo>
                    <a:pt x="324" y="133"/>
                    <a:pt x="325" y="132"/>
                    <a:pt x="326" y="131"/>
                  </a:cubicBezTo>
                  <a:cubicBezTo>
                    <a:pt x="327" y="130"/>
                    <a:pt x="329" y="130"/>
                    <a:pt x="329" y="129"/>
                  </a:cubicBezTo>
                  <a:cubicBezTo>
                    <a:pt x="330" y="128"/>
                    <a:pt x="330" y="128"/>
                    <a:pt x="331" y="127"/>
                  </a:cubicBezTo>
                  <a:cubicBezTo>
                    <a:pt x="331" y="127"/>
                    <a:pt x="332" y="127"/>
                    <a:pt x="333" y="127"/>
                  </a:cubicBezTo>
                  <a:cubicBezTo>
                    <a:pt x="334" y="126"/>
                    <a:pt x="336" y="127"/>
                    <a:pt x="338" y="126"/>
                  </a:cubicBezTo>
                  <a:cubicBezTo>
                    <a:pt x="339" y="126"/>
                    <a:pt x="340" y="124"/>
                    <a:pt x="341" y="124"/>
                  </a:cubicBezTo>
                  <a:cubicBezTo>
                    <a:pt x="342" y="123"/>
                    <a:pt x="343" y="123"/>
                    <a:pt x="345" y="123"/>
                  </a:cubicBezTo>
                  <a:cubicBezTo>
                    <a:pt x="346" y="122"/>
                    <a:pt x="347" y="121"/>
                    <a:pt x="347" y="120"/>
                  </a:cubicBezTo>
                  <a:cubicBezTo>
                    <a:pt x="348" y="119"/>
                    <a:pt x="348" y="118"/>
                    <a:pt x="349" y="118"/>
                  </a:cubicBezTo>
                  <a:cubicBezTo>
                    <a:pt x="350" y="118"/>
                    <a:pt x="351" y="118"/>
                    <a:pt x="351" y="118"/>
                  </a:cubicBezTo>
                  <a:cubicBezTo>
                    <a:pt x="352" y="118"/>
                    <a:pt x="355" y="118"/>
                    <a:pt x="355" y="117"/>
                  </a:cubicBezTo>
                  <a:cubicBezTo>
                    <a:pt x="357" y="115"/>
                    <a:pt x="354" y="114"/>
                    <a:pt x="354" y="112"/>
                  </a:cubicBezTo>
                  <a:cubicBezTo>
                    <a:pt x="353" y="112"/>
                    <a:pt x="353" y="112"/>
                    <a:pt x="353" y="112"/>
                  </a:cubicBezTo>
                  <a:cubicBezTo>
                    <a:pt x="352" y="110"/>
                    <a:pt x="353" y="111"/>
                    <a:pt x="354" y="109"/>
                  </a:cubicBezTo>
                  <a:cubicBezTo>
                    <a:pt x="354" y="108"/>
                    <a:pt x="354" y="107"/>
                    <a:pt x="355" y="106"/>
                  </a:cubicBezTo>
                  <a:cubicBezTo>
                    <a:pt x="355" y="105"/>
                    <a:pt x="356" y="104"/>
                    <a:pt x="358" y="104"/>
                  </a:cubicBezTo>
                  <a:cubicBezTo>
                    <a:pt x="359" y="105"/>
                    <a:pt x="359" y="106"/>
                    <a:pt x="359" y="107"/>
                  </a:cubicBezTo>
                  <a:cubicBezTo>
                    <a:pt x="360" y="108"/>
                    <a:pt x="361" y="108"/>
                    <a:pt x="362" y="109"/>
                  </a:cubicBezTo>
                  <a:cubicBezTo>
                    <a:pt x="363" y="109"/>
                    <a:pt x="364" y="109"/>
                    <a:pt x="365" y="109"/>
                  </a:cubicBezTo>
                  <a:cubicBezTo>
                    <a:pt x="366" y="108"/>
                    <a:pt x="366" y="108"/>
                    <a:pt x="367" y="108"/>
                  </a:cubicBezTo>
                  <a:cubicBezTo>
                    <a:pt x="368" y="107"/>
                    <a:pt x="370" y="104"/>
                    <a:pt x="371" y="105"/>
                  </a:cubicBezTo>
                  <a:cubicBezTo>
                    <a:pt x="372" y="105"/>
                    <a:pt x="372" y="107"/>
                    <a:pt x="372" y="108"/>
                  </a:cubicBezTo>
                  <a:cubicBezTo>
                    <a:pt x="373" y="108"/>
                    <a:pt x="373" y="110"/>
                    <a:pt x="373" y="110"/>
                  </a:cubicBezTo>
                  <a:cubicBezTo>
                    <a:pt x="375" y="111"/>
                    <a:pt x="378" y="111"/>
                    <a:pt x="377" y="114"/>
                  </a:cubicBezTo>
                  <a:cubicBezTo>
                    <a:pt x="376" y="115"/>
                    <a:pt x="375" y="115"/>
                    <a:pt x="375" y="116"/>
                  </a:cubicBezTo>
                  <a:cubicBezTo>
                    <a:pt x="374" y="117"/>
                    <a:pt x="374" y="119"/>
                    <a:pt x="375" y="120"/>
                  </a:cubicBezTo>
                  <a:cubicBezTo>
                    <a:pt x="375" y="120"/>
                    <a:pt x="380" y="120"/>
                    <a:pt x="381" y="120"/>
                  </a:cubicBezTo>
                  <a:cubicBezTo>
                    <a:pt x="383" y="119"/>
                    <a:pt x="384" y="118"/>
                    <a:pt x="385" y="117"/>
                  </a:cubicBezTo>
                  <a:cubicBezTo>
                    <a:pt x="386" y="116"/>
                    <a:pt x="386" y="116"/>
                    <a:pt x="387" y="115"/>
                  </a:cubicBezTo>
                  <a:cubicBezTo>
                    <a:pt x="387" y="115"/>
                    <a:pt x="387" y="115"/>
                    <a:pt x="388" y="114"/>
                  </a:cubicBezTo>
                  <a:cubicBezTo>
                    <a:pt x="389" y="112"/>
                    <a:pt x="389" y="111"/>
                    <a:pt x="389" y="108"/>
                  </a:cubicBezTo>
                  <a:cubicBezTo>
                    <a:pt x="389" y="107"/>
                    <a:pt x="389" y="107"/>
                    <a:pt x="389" y="105"/>
                  </a:cubicBezTo>
                  <a:cubicBezTo>
                    <a:pt x="388" y="105"/>
                    <a:pt x="389" y="105"/>
                    <a:pt x="388" y="104"/>
                  </a:cubicBezTo>
                  <a:cubicBezTo>
                    <a:pt x="388" y="103"/>
                    <a:pt x="386" y="103"/>
                    <a:pt x="385" y="102"/>
                  </a:cubicBezTo>
                  <a:cubicBezTo>
                    <a:pt x="384" y="101"/>
                    <a:pt x="384" y="100"/>
                    <a:pt x="383" y="100"/>
                  </a:cubicBezTo>
                  <a:cubicBezTo>
                    <a:pt x="382" y="100"/>
                    <a:pt x="381" y="100"/>
                    <a:pt x="380" y="100"/>
                  </a:cubicBezTo>
                  <a:cubicBezTo>
                    <a:pt x="379" y="100"/>
                    <a:pt x="377" y="100"/>
                    <a:pt x="376" y="99"/>
                  </a:cubicBezTo>
                  <a:cubicBezTo>
                    <a:pt x="374" y="98"/>
                    <a:pt x="374" y="97"/>
                    <a:pt x="373" y="95"/>
                  </a:cubicBezTo>
                  <a:cubicBezTo>
                    <a:pt x="372" y="94"/>
                    <a:pt x="371" y="92"/>
                    <a:pt x="370" y="91"/>
                  </a:cubicBezTo>
                  <a:cubicBezTo>
                    <a:pt x="370" y="91"/>
                    <a:pt x="370" y="91"/>
                    <a:pt x="370" y="90"/>
                  </a:cubicBezTo>
                  <a:cubicBezTo>
                    <a:pt x="370" y="89"/>
                    <a:pt x="371" y="89"/>
                    <a:pt x="371" y="89"/>
                  </a:cubicBezTo>
                  <a:cubicBezTo>
                    <a:pt x="372" y="88"/>
                    <a:pt x="372" y="89"/>
                    <a:pt x="372" y="87"/>
                  </a:cubicBezTo>
                  <a:cubicBezTo>
                    <a:pt x="372" y="87"/>
                    <a:pt x="372" y="86"/>
                    <a:pt x="372" y="86"/>
                  </a:cubicBezTo>
                  <a:cubicBezTo>
                    <a:pt x="369" y="85"/>
                    <a:pt x="364" y="86"/>
                    <a:pt x="367" y="82"/>
                  </a:cubicBezTo>
                  <a:cubicBezTo>
                    <a:pt x="368" y="81"/>
                    <a:pt x="368" y="80"/>
                    <a:pt x="370" y="79"/>
                  </a:cubicBezTo>
                  <a:cubicBezTo>
                    <a:pt x="371" y="78"/>
                    <a:pt x="372" y="76"/>
                    <a:pt x="374" y="75"/>
                  </a:cubicBezTo>
                  <a:cubicBezTo>
                    <a:pt x="375" y="75"/>
                    <a:pt x="378" y="75"/>
                    <a:pt x="377" y="73"/>
                  </a:cubicBezTo>
                  <a:cubicBezTo>
                    <a:pt x="376" y="72"/>
                    <a:pt x="373" y="71"/>
                    <a:pt x="372" y="70"/>
                  </a:cubicBezTo>
                  <a:cubicBezTo>
                    <a:pt x="370" y="70"/>
                    <a:pt x="369" y="69"/>
                    <a:pt x="368" y="69"/>
                  </a:cubicBezTo>
                  <a:cubicBezTo>
                    <a:pt x="365" y="69"/>
                    <a:pt x="363" y="68"/>
                    <a:pt x="361" y="68"/>
                  </a:cubicBezTo>
                  <a:cubicBezTo>
                    <a:pt x="361" y="67"/>
                    <a:pt x="361" y="66"/>
                    <a:pt x="362" y="65"/>
                  </a:cubicBezTo>
                  <a:cubicBezTo>
                    <a:pt x="362" y="64"/>
                    <a:pt x="363" y="64"/>
                    <a:pt x="364" y="63"/>
                  </a:cubicBezTo>
                  <a:cubicBezTo>
                    <a:pt x="366" y="62"/>
                    <a:pt x="366" y="62"/>
                    <a:pt x="366" y="61"/>
                  </a:cubicBezTo>
                  <a:cubicBezTo>
                    <a:pt x="366" y="59"/>
                    <a:pt x="366" y="58"/>
                    <a:pt x="367" y="57"/>
                  </a:cubicBezTo>
                  <a:cubicBezTo>
                    <a:pt x="369" y="55"/>
                    <a:pt x="371" y="54"/>
                    <a:pt x="374" y="54"/>
                  </a:cubicBezTo>
                  <a:cubicBezTo>
                    <a:pt x="376" y="54"/>
                    <a:pt x="378" y="54"/>
                    <a:pt x="380" y="53"/>
                  </a:cubicBezTo>
                  <a:cubicBezTo>
                    <a:pt x="382" y="42"/>
                    <a:pt x="382" y="42"/>
                    <a:pt x="382" y="42"/>
                  </a:cubicBezTo>
                  <a:cubicBezTo>
                    <a:pt x="382" y="42"/>
                    <a:pt x="382" y="42"/>
                    <a:pt x="381" y="42"/>
                  </a:cubicBezTo>
                  <a:cubicBezTo>
                    <a:pt x="378" y="42"/>
                    <a:pt x="374" y="42"/>
                    <a:pt x="371" y="42"/>
                  </a:cubicBezTo>
                  <a:cubicBezTo>
                    <a:pt x="368" y="42"/>
                    <a:pt x="366" y="42"/>
                    <a:pt x="363" y="42"/>
                  </a:cubicBezTo>
                  <a:cubicBezTo>
                    <a:pt x="359" y="41"/>
                    <a:pt x="355" y="41"/>
                    <a:pt x="351" y="39"/>
                  </a:cubicBezTo>
                  <a:cubicBezTo>
                    <a:pt x="350" y="39"/>
                    <a:pt x="349" y="38"/>
                    <a:pt x="347" y="37"/>
                  </a:cubicBezTo>
                  <a:cubicBezTo>
                    <a:pt x="346" y="37"/>
                    <a:pt x="344" y="37"/>
                    <a:pt x="343" y="37"/>
                  </a:cubicBezTo>
                  <a:cubicBezTo>
                    <a:pt x="341" y="36"/>
                    <a:pt x="339" y="36"/>
                    <a:pt x="337" y="36"/>
                  </a:cubicBezTo>
                  <a:cubicBezTo>
                    <a:pt x="334" y="35"/>
                    <a:pt x="332" y="35"/>
                    <a:pt x="329" y="35"/>
                  </a:cubicBezTo>
                  <a:cubicBezTo>
                    <a:pt x="328" y="35"/>
                    <a:pt x="327" y="35"/>
                    <a:pt x="326" y="35"/>
                  </a:cubicBezTo>
                  <a:cubicBezTo>
                    <a:pt x="322" y="33"/>
                    <a:pt x="317" y="30"/>
                    <a:pt x="314" y="27"/>
                  </a:cubicBezTo>
                  <a:cubicBezTo>
                    <a:pt x="312" y="26"/>
                    <a:pt x="310" y="24"/>
                    <a:pt x="309" y="22"/>
                  </a:cubicBezTo>
                  <a:cubicBezTo>
                    <a:pt x="308" y="20"/>
                    <a:pt x="308" y="18"/>
                    <a:pt x="306" y="17"/>
                  </a:cubicBezTo>
                  <a:cubicBezTo>
                    <a:pt x="305" y="16"/>
                    <a:pt x="304" y="15"/>
                    <a:pt x="303" y="14"/>
                  </a:cubicBezTo>
                  <a:cubicBezTo>
                    <a:pt x="302" y="13"/>
                    <a:pt x="301" y="12"/>
                    <a:pt x="301" y="12"/>
                  </a:cubicBezTo>
                  <a:cubicBezTo>
                    <a:pt x="299" y="10"/>
                    <a:pt x="300" y="10"/>
                    <a:pt x="300" y="9"/>
                  </a:cubicBezTo>
                  <a:cubicBezTo>
                    <a:pt x="300" y="8"/>
                    <a:pt x="300" y="7"/>
                    <a:pt x="301" y="6"/>
                  </a:cubicBezTo>
                  <a:cubicBezTo>
                    <a:pt x="301" y="6"/>
                    <a:pt x="303" y="6"/>
                    <a:pt x="303" y="6"/>
                  </a:cubicBezTo>
                  <a:cubicBezTo>
                    <a:pt x="304" y="5"/>
                    <a:pt x="306" y="4"/>
                    <a:pt x="306" y="3"/>
                  </a:cubicBezTo>
                  <a:cubicBezTo>
                    <a:pt x="306" y="0"/>
                    <a:pt x="303" y="0"/>
                    <a:pt x="301" y="0"/>
                  </a:cubicBezTo>
                  <a:cubicBezTo>
                    <a:pt x="299" y="0"/>
                    <a:pt x="297" y="1"/>
                    <a:pt x="296" y="2"/>
                  </a:cubicBezTo>
                  <a:cubicBezTo>
                    <a:pt x="293" y="3"/>
                    <a:pt x="290" y="4"/>
                    <a:pt x="288" y="6"/>
                  </a:cubicBezTo>
                  <a:cubicBezTo>
                    <a:pt x="286" y="7"/>
                    <a:pt x="283" y="10"/>
                    <a:pt x="281" y="8"/>
                  </a:cubicBezTo>
                  <a:cubicBezTo>
                    <a:pt x="280" y="7"/>
                    <a:pt x="279" y="6"/>
                    <a:pt x="277" y="7"/>
                  </a:cubicBezTo>
                  <a:cubicBezTo>
                    <a:pt x="276" y="7"/>
                    <a:pt x="275" y="8"/>
                    <a:pt x="274" y="9"/>
                  </a:cubicBezTo>
                  <a:cubicBezTo>
                    <a:pt x="273" y="9"/>
                    <a:pt x="272" y="9"/>
                    <a:pt x="271" y="9"/>
                  </a:cubicBezTo>
                  <a:cubicBezTo>
                    <a:pt x="266" y="9"/>
                    <a:pt x="261" y="8"/>
                    <a:pt x="256" y="8"/>
                  </a:cubicBezTo>
                  <a:cubicBezTo>
                    <a:pt x="255" y="8"/>
                    <a:pt x="254" y="8"/>
                    <a:pt x="253" y="8"/>
                  </a:cubicBezTo>
                  <a:cubicBezTo>
                    <a:pt x="251" y="8"/>
                    <a:pt x="250" y="9"/>
                    <a:pt x="249" y="9"/>
                  </a:cubicBezTo>
                  <a:cubicBezTo>
                    <a:pt x="247" y="10"/>
                    <a:pt x="247" y="10"/>
                    <a:pt x="247" y="11"/>
                  </a:cubicBezTo>
                  <a:cubicBezTo>
                    <a:pt x="246" y="12"/>
                    <a:pt x="246" y="12"/>
                    <a:pt x="246" y="14"/>
                  </a:cubicBezTo>
                  <a:cubicBezTo>
                    <a:pt x="246" y="15"/>
                    <a:pt x="246" y="16"/>
                    <a:pt x="246" y="17"/>
                  </a:cubicBezTo>
                  <a:cubicBezTo>
                    <a:pt x="245" y="19"/>
                    <a:pt x="244" y="20"/>
                    <a:pt x="243" y="21"/>
                  </a:cubicBezTo>
                  <a:cubicBezTo>
                    <a:pt x="243" y="23"/>
                    <a:pt x="243" y="25"/>
                    <a:pt x="241" y="26"/>
                  </a:cubicBezTo>
                  <a:cubicBezTo>
                    <a:pt x="239" y="26"/>
                    <a:pt x="237" y="26"/>
                    <a:pt x="236" y="26"/>
                  </a:cubicBezTo>
                  <a:cubicBezTo>
                    <a:pt x="235" y="26"/>
                    <a:pt x="234" y="26"/>
                    <a:pt x="234" y="25"/>
                  </a:cubicBezTo>
                  <a:cubicBezTo>
                    <a:pt x="233" y="25"/>
                    <a:pt x="233" y="25"/>
                    <a:pt x="232" y="24"/>
                  </a:cubicBezTo>
                  <a:cubicBezTo>
                    <a:pt x="232" y="24"/>
                    <a:pt x="230" y="24"/>
                    <a:pt x="230" y="24"/>
                  </a:cubicBezTo>
                  <a:cubicBezTo>
                    <a:pt x="229" y="24"/>
                    <a:pt x="227" y="24"/>
                    <a:pt x="227" y="23"/>
                  </a:cubicBezTo>
                  <a:cubicBezTo>
                    <a:pt x="226" y="22"/>
                    <a:pt x="227" y="21"/>
                    <a:pt x="226" y="20"/>
                  </a:cubicBezTo>
                  <a:cubicBezTo>
                    <a:pt x="226" y="19"/>
                    <a:pt x="225" y="19"/>
                    <a:pt x="224" y="19"/>
                  </a:cubicBezTo>
                  <a:cubicBezTo>
                    <a:pt x="223" y="19"/>
                    <a:pt x="221" y="18"/>
                    <a:pt x="220" y="18"/>
                  </a:cubicBezTo>
                  <a:cubicBezTo>
                    <a:pt x="219" y="18"/>
                    <a:pt x="218" y="18"/>
                    <a:pt x="217" y="18"/>
                  </a:cubicBezTo>
                  <a:cubicBezTo>
                    <a:pt x="216" y="18"/>
                    <a:pt x="215" y="18"/>
                    <a:pt x="213" y="18"/>
                  </a:cubicBezTo>
                  <a:cubicBezTo>
                    <a:pt x="213" y="19"/>
                    <a:pt x="213" y="20"/>
                    <a:pt x="213" y="22"/>
                  </a:cubicBezTo>
                  <a:cubicBezTo>
                    <a:pt x="212" y="23"/>
                    <a:pt x="212" y="25"/>
                    <a:pt x="211" y="27"/>
                  </a:cubicBezTo>
                  <a:cubicBezTo>
                    <a:pt x="209" y="29"/>
                    <a:pt x="207" y="30"/>
                    <a:pt x="208" y="34"/>
                  </a:cubicBezTo>
                  <a:cubicBezTo>
                    <a:pt x="208" y="35"/>
                    <a:pt x="209" y="35"/>
                    <a:pt x="210" y="36"/>
                  </a:cubicBezTo>
                  <a:cubicBezTo>
                    <a:pt x="210" y="36"/>
                    <a:pt x="210" y="37"/>
                    <a:pt x="211" y="37"/>
                  </a:cubicBezTo>
                  <a:cubicBezTo>
                    <a:pt x="211" y="37"/>
                    <a:pt x="212" y="37"/>
                    <a:pt x="213" y="38"/>
                  </a:cubicBezTo>
                  <a:cubicBezTo>
                    <a:pt x="213" y="38"/>
                    <a:pt x="212" y="41"/>
                    <a:pt x="212" y="42"/>
                  </a:cubicBezTo>
                  <a:cubicBezTo>
                    <a:pt x="211" y="42"/>
                    <a:pt x="209" y="43"/>
                    <a:pt x="208" y="43"/>
                  </a:cubicBezTo>
                  <a:cubicBezTo>
                    <a:pt x="206" y="44"/>
                    <a:pt x="204" y="44"/>
                    <a:pt x="203" y="43"/>
                  </a:cubicBezTo>
                  <a:cubicBezTo>
                    <a:pt x="201" y="42"/>
                    <a:pt x="201" y="39"/>
                    <a:pt x="198" y="39"/>
                  </a:cubicBezTo>
                  <a:cubicBezTo>
                    <a:pt x="197" y="39"/>
                    <a:pt x="197" y="40"/>
                    <a:pt x="196" y="40"/>
                  </a:cubicBezTo>
                  <a:cubicBezTo>
                    <a:pt x="195" y="41"/>
                    <a:pt x="194" y="41"/>
                    <a:pt x="192" y="42"/>
                  </a:cubicBezTo>
                  <a:cubicBezTo>
                    <a:pt x="191" y="42"/>
                    <a:pt x="190" y="43"/>
                    <a:pt x="190" y="44"/>
                  </a:cubicBezTo>
                  <a:cubicBezTo>
                    <a:pt x="189" y="46"/>
                    <a:pt x="189" y="47"/>
                    <a:pt x="189" y="49"/>
                  </a:cubicBezTo>
                  <a:cubicBezTo>
                    <a:pt x="189" y="50"/>
                    <a:pt x="189" y="52"/>
                    <a:pt x="189" y="54"/>
                  </a:cubicBezTo>
                  <a:cubicBezTo>
                    <a:pt x="191" y="54"/>
                    <a:pt x="193" y="53"/>
                    <a:pt x="194" y="54"/>
                  </a:cubicBezTo>
                  <a:cubicBezTo>
                    <a:pt x="196" y="55"/>
                    <a:pt x="194" y="58"/>
                    <a:pt x="194" y="59"/>
                  </a:cubicBezTo>
                  <a:cubicBezTo>
                    <a:pt x="193" y="60"/>
                    <a:pt x="193" y="60"/>
                    <a:pt x="192" y="61"/>
                  </a:cubicBezTo>
                  <a:cubicBezTo>
                    <a:pt x="192" y="62"/>
                    <a:pt x="193" y="62"/>
                    <a:pt x="193" y="63"/>
                  </a:cubicBezTo>
                  <a:cubicBezTo>
                    <a:pt x="194" y="65"/>
                    <a:pt x="195" y="66"/>
                    <a:pt x="195" y="68"/>
                  </a:cubicBezTo>
                  <a:cubicBezTo>
                    <a:pt x="192" y="68"/>
                    <a:pt x="190" y="67"/>
                    <a:pt x="188" y="66"/>
                  </a:cubicBezTo>
                  <a:cubicBezTo>
                    <a:pt x="187" y="65"/>
                    <a:pt x="187" y="64"/>
                    <a:pt x="186" y="63"/>
                  </a:cubicBezTo>
                  <a:cubicBezTo>
                    <a:pt x="186" y="63"/>
                    <a:pt x="186" y="60"/>
                    <a:pt x="185" y="60"/>
                  </a:cubicBezTo>
                  <a:cubicBezTo>
                    <a:pt x="184" y="59"/>
                    <a:pt x="182" y="60"/>
                    <a:pt x="181" y="60"/>
                  </a:cubicBezTo>
                  <a:cubicBezTo>
                    <a:pt x="179" y="60"/>
                    <a:pt x="177" y="60"/>
                    <a:pt x="175" y="60"/>
                  </a:cubicBezTo>
                  <a:cubicBezTo>
                    <a:pt x="174" y="60"/>
                    <a:pt x="173" y="60"/>
                    <a:pt x="172" y="61"/>
                  </a:cubicBezTo>
                  <a:cubicBezTo>
                    <a:pt x="171" y="61"/>
                    <a:pt x="171" y="62"/>
                    <a:pt x="170" y="63"/>
                  </a:cubicBezTo>
                  <a:cubicBezTo>
                    <a:pt x="170" y="63"/>
                    <a:pt x="169" y="63"/>
                    <a:pt x="168" y="63"/>
                  </a:cubicBezTo>
                  <a:cubicBezTo>
                    <a:pt x="167" y="63"/>
                    <a:pt x="167" y="63"/>
                    <a:pt x="166" y="64"/>
                  </a:cubicBezTo>
                  <a:cubicBezTo>
                    <a:pt x="164" y="64"/>
                    <a:pt x="162" y="63"/>
                    <a:pt x="161" y="62"/>
                  </a:cubicBezTo>
                  <a:cubicBezTo>
                    <a:pt x="159" y="62"/>
                    <a:pt x="158" y="62"/>
                    <a:pt x="157" y="60"/>
                  </a:cubicBezTo>
                  <a:cubicBezTo>
                    <a:pt x="157" y="59"/>
                    <a:pt x="157" y="57"/>
                    <a:pt x="157" y="56"/>
                  </a:cubicBezTo>
                  <a:cubicBezTo>
                    <a:pt x="156" y="55"/>
                    <a:pt x="156" y="54"/>
                    <a:pt x="155" y="52"/>
                  </a:cubicBezTo>
                  <a:cubicBezTo>
                    <a:pt x="155" y="52"/>
                    <a:pt x="153" y="50"/>
                    <a:pt x="153" y="50"/>
                  </a:cubicBezTo>
                  <a:cubicBezTo>
                    <a:pt x="152" y="49"/>
                    <a:pt x="148" y="49"/>
                    <a:pt x="147" y="50"/>
                  </a:cubicBezTo>
                  <a:cubicBezTo>
                    <a:pt x="147" y="50"/>
                    <a:pt x="146" y="51"/>
                    <a:pt x="145" y="51"/>
                  </a:cubicBezTo>
                  <a:cubicBezTo>
                    <a:pt x="145" y="52"/>
                    <a:pt x="144" y="53"/>
                    <a:pt x="144" y="53"/>
                  </a:cubicBezTo>
                  <a:cubicBezTo>
                    <a:pt x="143" y="55"/>
                    <a:pt x="144" y="58"/>
                    <a:pt x="145" y="59"/>
                  </a:cubicBezTo>
                  <a:cubicBezTo>
                    <a:pt x="146" y="60"/>
                    <a:pt x="146" y="61"/>
                    <a:pt x="147" y="62"/>
                  </a:cubicBezTo>
                  <a:cubicBezTo>
                    <a:pt x="147" y="63"/>
                    <a:pt x="147" y="65"/>
                    <a:pt x="146" y="66"/>
                  </a:cubicBezTo>
                  <a:cubicBezTo>
                    <a:pt x="146" y="67"/>
                    <a:pt x="145" y="68"/>
                    <a:pt x="144" y="69"/>
                  </a:cubicBezTo>
                  <a:cubicBezTo>
                    <a:pt x="143" y="70"/>
                    <a:pt x="143" y="70"/>
                    <a:pt x="143" y="71"/>
                  </a:cubicBezTo>
                  <a:cubicBezTo>
                    <a:pt x="141" y="72"/>
                    <a:pt x="140" y="73"/>
                    <a:pt x="138" y="74"/>
                  </a:cubicBezTo>
                  <a:cubicBezTo>
                    <a:pt x="136" y="75"/>
                    <a:pt x="136" y="77"/>
                    <a:pt x="135" y="79"/>
                  </a:cubicBezTo>
                  <a:cubicBezTo>
                    <a:pt x="135" y="81"/>
                    <a:pt x="133" y="82"/>
                    <a:pt x="132" y="84"/>
                  </a:cubicBezTo>
                  <a:cubicBezTo>
                    <a:pt x="132" y="85"/>
                    <a:pt x="132" y="85"/>
                    <a:pt x="131" y="86"/>
                  </a:cubicBezTo>
                  <a:cubicBezTo>
                    <a:pt x="131" y="87"/>
                    <a:pt x="130" y="88"/>
                    <a:pt x="129" y="88"/>
                  </a:cubicBezTo>
                  <a:cubicBezTo>
                    <a:pt x="129" y="89"/>
                    <a:pt x="129" y="92"/>
                    <a:pt x="129" y="92"/>
                  </a:cubicBezTo>
                  <a:cubicBezTo>
                    <a:pt x="130" y="93"/>
                    <a:pt x="132" y="93"/>
                    <a:pt x="132" y="93"/>
                  </a:cubicBezTo>
                  <a:cubicBezTo>
                    <a:pt x="133" y="94"/>
                    <a:pt x="134" y="94"/>
                    <a:pt x="134" y="95"/>
                  </a:cubicBezTo>
                  <a:cubicBezTo>
                    <a:pt x="136" y="96"/>
                    <a:pt x="135" y="97"/>
                    <a:pt x="135" y="98"/>
                  </a:cubicBezTo>
                  <a:cubicBezTo>
                    <a:pt x="134" y="101"/>
                    <a:pt x="133" y="102"/>
                    <a:pt x="130" y="101"/>
                  </a:cubicBezTo>
                  <a:cubicBezTo>
                    <a:pt x="129" y="101"/>
                    <a:pt x="126" y="101"/>
                    <a:pt x="125" y="99"/>
                  </a:cubicBezTo>
                  <a:cubicBezTo>
                    <a:pt x="124" y="97"/>
                    <a:pt x="125" y="94"/>
                    <a:pt x="124" y="92"/>
                  </a:cubicBezTo>
                  <a:cubicBezTo>
                    <a:pt x="123" y="90"/>
                    <a:pt x="121" y="90"/>
                    <a:pt x="119" y="90"/>
                  </a:cubicBezTo>
                  <a:cubicBezTo>
                    <a:pt x="119" y="89"/>
                    <a:pt x="119" y="88"/>
                    <a:pt x="119" y="88"/>
                  </a:cubicBezTo>
                  <a:cubicBezTo>
                    <a:pt x="119" y="88"/>
                    <a:pt x="120" y="87"/>
                    <a:pt x="120" y="87"/>
                  </a:cubicBezTo>
                  <a:cubicBezTo>
                    <a:pt x="120" y="87"/>
                    <a:pt x="120" y="86"/>
                    <a:pt x="120" y="86"/>
                  </a:cubicBezTo>
                  <a:cubicBezTo>
                    <a:pt x="120" y="85"/>
                    <a:pt x="122" y="84"/>
                    <a:pt x="122" y="83"/>
                  </a:cubicBezTo>
                  <a:cubicBezTo>
                    <a:pt x="121" y="82"/>
                    <a:pt x="121" y="82"/>
                    <a:pt x="120" y="82"/>
                  </a:cubicBezTo>
                  <a:cubicBezTo>
                    <a:pt x="119" y="81"/>
                    <a:pt x="118" y="80"/>
                    <a:pt x="116" y="80"/>
                  </a:cubicBezTo>
                  <a:cubicBezTo>
                    <a:pt x="116" y="80"/>
                    <a:pt x="115" y="80"/>
                    <a:pt x="114" y="80"/>
                  </a:cubicBezTo>
                  <a:cubicBezTo>
                    <a:pt x="114" y="80"/>
                    <a:pt x="114" y="79"/>
                    <a:pt x="113" y="79"/>
                  </a:cubicBezTo>
                  <a:cubicBezTo>
                    <a:pt x="112" y="79"/>
                    <a:pt x="111" y="79"/>
                    <a:pt x="110" y="78"/>
                  </a:cubicBezTo>
                  <a:cubicBezTo>
                    <a:pt x="108" y="78"/>
                    <a:pt x="107" y="77"/>
                    <a:pt x="106" y="75"/>
                  </a:cubicBezTo>
                  <a:cubicBezTo>
                    <a:pt x="105" y="73"/>
                    <a:pt x="104" y="71"/>
                    <a:pt x="103" y="70"/>
                  </a:cubicBezTo>
                  <a:cubicBezTo>
                    <a:pt x="102" y="69"/>
                    <a:pt x="101" y="68"/>
                    <a:pt x="100" y="67"/>
                  </a:cubicBezTo>
                  <a:cubicBezTo>
                    <a:pt x="100" y="66"/>
                    <a:pt x="99" y="66"/>
                    <a:pt x="99" y="65"/>
                  </a:cubicBezTo>
                  <a:cubicBezTo>
                    <a:pt x="99" y="65"/>
                    <a:pt x="99" y="63"/>
                    <a:pt x="99" y="63"/>
                  </a:cubicBezTo>
                  <a:cubicBezTo>
                    <a:pt x="99" y="62"/>
                    <a:pt x="99" y="61"/>
                    <a:pt x="99" y="60"/>
                  </a:cubicBezTo>
                  <a:cubicBezTo>
                    <a:pt x="99" y="58"/>
                    <a:pt x="97" y="56"/>
                    <a:pt x="95" y="55"/>
                  </a:cubicBezTo>
                  <a:cubicBezTo>
                    <a:pt x="92" y="54"/>
                    <a:pt x="92" y="57"/>
                    <a:pt x="91" y="59"/>
                  </a:cubicBezTo>
                  <a:cubicBezTo>
                    <a:pt x="91" y="61"/>
                    <a:pt x="90" y="63"/>
                    <a:pt x="89" y="64"/>
                  </a:cubicBezTo>
                  <a:cubicBezTo>
                    <a:pt x="87" y="65"/>
                    <a:pt x="85" y="65"/>
                    <a:pt x="83" y="67"/>
                  </a:cubicBezTo>
                  <a:cubicBezTo>
                    <a:pt x="81" y="68"/>
                    <a:pt x="81" y="70"/>
                    <a:pt x="82" y="72"/>
                  </a:cubicBezTo>
                  <a:cubicBezTo>
                    <a:pt x="83" y="73"/>
                    <a:pt x="84" y="72"/>
                    <a:pt x="85" y="74"/>
                  </a:cubicBezTo>
                  <a:cubicBezTo>
                    <a:pt x="85" y="75"/>
                    <a:pt x="85" y="76"/>
                    <a:pt x="85" y="77"/>
                  </a:cubicBezTo>
                  <a:cubicBezTo>
                    <a:pt x="85" y="78"/>
                    <a:pt x="85" y="78"/>
                    <a:pt x="83" y="79"/>
                  </a:cubicBezTo>
                  <a:cubicBezTo>
                    <a:pt x="83" y="79"/>
                    <a:pt x="82" y="80"/>
                    <a:pt x="82" y="80"/>
                  </a:cubicBezTo>
                  <a:cubicBezTo>
                    <a:pt x="82" y="80"/>
                    <a:pt x="81" y="80"/>
                    <a:pt x="80" y="80"/>
                  </a:cubicBezTo>
                  <a:cubicBezTo>
                    <a:pt x="78" y="81"/>
                    <a:pt x="78" y="84"/>
                    <a:pt x="77" y="85"/>
                  </a:cubicBezTo>
                  <a:cubicBezTo>
                    <a:pt x="77" y="87"/>
                    <a:pt x="75" y="88"/>
                    <a:pt x="74" y="89"/>
                  </a:cubicBezTo>
                  <a:cubicBezTo>
                    <a:pt x="72" y="90"/>
                    <a:pt x="72" y="91"/>
                    <a:pt x="71" y="92"/>
                  </a:cubicBezTo>
                  <a:cubicBezTo>
                    <a:pt x="67" y="94"/>
                    <a:pt x="63" y="91"/>
                    <a:pt x="60" y="90"/>
                  </a:cubicBezTo>
                  <a:cubicBezTo>
                    <a:pt x="58" y="89"/>
                    <a:pt x="57" y="88"/>
                    <a:pt x="56" y="88"/>
                  </a:cubicBezTo>
                  <a:cubicBezTo>
                    <a:pt x="54" y="89"/>
                    <a:pt x="54" y="90"/>
                    <a:pt x="53" y="92"/>
                  </a:cubicBezTo>
                  <a:cubicBezTo>
                    <a:pt x="52" y="93"/>
                    <a:pt x="51" y="94"/>
                    <a:pt x="49" y="94"/>
                  </a:cubicBezTo>
                  <a:cubicBezTo>
                    <a:pt x="46" y="95"/>
                    <a:pt x="43" y="95"/>
                    <a:pt x="40" y="96"/>
                  </a:cubicBezTo>
                  <a:cubicBezTo>
                    <a:pt x="39" y="96"/>
                    <a:pt x="39" y="97"/>
                    <a:pt x="38" y="98"/>
                  </a:cubicBezTo>
                  <a:cubicBezTo>
                    <a:pt x="37" y="98"/>
                    <a:pt x="35" y="98"/>
                    <a:pt x="35" y="98"/>
                  </a:cubicBezTo>
                  <a:cubicBezTo>
                    <a:pt x="34" y="99"/>
                    <a:pt x="33" y="99"/>
                    <a:pt x="32" y="99"/>
                  </a:cubicBezTo>
                  <a:cubicBezTo>
                    <a:pt x="31" y="99"/>
                    <a:pt x="30" y="98"/>
                    <a:pt x="29" y="98"/>
                  </a:cubicBezTo>
                  <a:cubicBezTo>
                    <a:pt x="27" y="98"/>
                    <a:pt x="25" y="99"/>
                    <a:pt x="23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8"/>
                    <a:pt x="21" y="99"/>
                    <a:pt x="19" y="100"/>
                  </a:cubicBezTo>
                  <a:cubicBezTo>
                    <a:pt x="17" y="105"/>
                    <a:pt x="14" y="106"/>
                    <a:pt x="15" y="108"/>
                  </a:cubicBezTo>
                  <a:cubicBezTo>
                    <a:pt x="17" y="112"/>
                    <a:pt x="13" y="112"/>
                    <a:pt x="16" y="115"/>
                  </a:cubicBezTo>
                  <a:cubicBezTo>
                    <a:pt x="17" y="116"/>
                    <a:pt x="20" y="117"/>
                    <a:pt x="21" y="119"/>
                  </a:cubicBezTo>
                  <a:cubicBezTo>
                    <a:pt x="21" y="121"/>
                    <a:pt x="21" y="123"/>
                    <a:pt x="22" y="125"/>
                  </a:cubicBezTo>
                  <a:cubicBezTo>
                    <a:pt x="22" y="127"/>
                    <a:pt x="23" y="130"/>
                    <a:pt x="25" y="132"/>
                  </a:cubicBezTo>
                  <a:cubicBezTo>
                    <a:pt x="26" y="133"/>
                    <a:pt x="28" y="133"/>
                    <a:pt x="29" y="135"/>
                  </a:cubicBezTo>
                  <a:cubicBezTo>
                    <a:pt x="31" y="138"/>
                    <a:pt x="28" y="139"/>
                    <a:pt x="27" y="142"/>
                  </a:cubicBezTo>
                  <a:cubicBezTo>
                    <a:pt x="26" y="144"/>
                    <a:pt x="28" y="148"/>
                    <a:pt x="26" y="150"/>
                  </a:cubicBezTo>
                  <a:cubicBezTo>
                    <a:pt x="25" y="151"/>
                    <a:pt x="23" y="151"/>
                    <a:pt x="22" y="152"/>
                  </a:cubicBezTo>
                  <a:cubicBezTo>
                    <a:pt x="21" y="152"/>
                    <a:pt x="20" y="153"/>
                    <a:pt x="20" y="153"/>
                  </a:cubicBezTo>
                  <a:cubicBezTo>
                    <a:pt x="17" y="156"/>
                    <a:pt x="14" y="157"/>
                    <a:pt x="11" y="159"/>
                  </a:cubicBezTo>
                  <a:cubicBezTo>
                    <a:pt x="9" y="161"/>
                    <a:pt x="11" y="160"/>
                    <a:pt x="9" y="161"/>
                  </a:cubicBezTo>
                  <a:cubicBezTo>
                    <a:pt x="7" y="162"/>
                    <a:pt x="5" y="161"/>
                    <a:pt x="4" y="161"/>
                  </a:cubicBezTo>
                  <a:cubicBezTo>
                    <a:pt x="2" y="162"/>
                    <a:pt x="0" y="161"/>
                    <a:pt x="1" y="164"/>
                  </a:cubicBezTo>
                  <a:cubicBezTo>
                    <a:pt x="8" y="166"/>
                    <a:pt x="7" y="173"/>
                    <a:pt x="12" y="177"/>
                  </a:cubicBezTo>
                  <a:cubicBezTo>
                    <a:pt x="12" y="177"/>
                    <a:pt x="14" y="177"/>
                    <a:pt x="15" y="178"/>
                  </a:cubicBezTo>
                  <a:cubicBezTo>
                    <a:pt x="15" y="178"/>
                    <a:pt x="18" y="179"/>
                    <a:pt x="18" y="179"/>
                  </a:cubicBezTo>
                  <a:cubicBezTo>
                    <a:pt x="19" y="181"/>
                    <a:pt x="19" y="184"/>
                    <a:pt x="22" y="184"/>
                  </a:cubicBezTo>
                  <a:cubicBezTo>
                    <a:pt x="23" y="189"/>
                    <a:pt x="23" y="194"/>
                    <a:pt x="18" y="196"/>
                  </a:cubicBezTo>
                  <a:cubicBezTo>
                    <a:pt x="13" y="198"/>
                    <a:pt x="9" y="200"/>
                    <a:pt x="12" y="205"/>
                  </a:cubicBezTo>
                  <a:cubicBezTo>
                    <a:pt x="13" y="207"/>
                    <a:pt x="17" y="210"/>
                    <a:pt x="16" y="212"/>
                  </a:cubicBezTo>
                  <a:cubicBezTo>
                    <a:pt x="15" y="215"/>
                    <a:pt x="13" y="212"/>
                    <a:pt x="12" y="214"/>
                  </a:cubicBezTo>
                  <a:cubicBezTo>
                    <a:pt x="11" y="216"/>
                    <a:pt x="18" y="223"/>
                    <a:pt x="20" y="224"/>
                  </a:cubicBezTo>
                  <a:cubicBezTo>
                    <a:pt x="23" y="226"/>
                    <a:pt x="28" y="225"/>
                    <a:pt x="31" y="228"/>
                  </a:cubicBezTo>
                  <a:cubicBezTo>
                    <a:pt x="33" y="229"/>
                    <a:pt x="33" y="232"/>
                    <a:pt x="35" y="233"/>
                  </a:cubicBezTo>
                  <a:cubicBezTo>
                    <a:pt x="39" y="235"/>
                    <a:pt x="45" y="232"/>
                    <a:pt x="48" y="231"/>
                  </a:cubicBezTo>
                  <a:cubicBezTo>
                    <a:pt x="50" y="230"/>
                    <a:pt x="55" y="228"/>
                    <a:pt x="57" y="229"/>
                  </a:cubicBezTo>
                  <a:cubicBezTo>
                    <a:pt x="59" y="230"/>
                    <a:pt x="59" y="239"/>
                    <a:pt x="58" y="240"/>
                  </a:cubicBezTo>
                  <a:cubicBezTo>
                    <a:pt x="57" y="243"/>
                    <a:pt x="54" y="244"/>
                    <a:pt x="53" y="245"/>
                  </a:cubicBezTo>
                  <a:cubicBezTo>
                    <a:pt x="51" y="247"/>
                    <a:pt x="50" y="251"/>
                    <a:pt x="48" y="251"/>
                  </a:cubicBezTo>
                  <a:cubicBezTo>
                    <a:pt x="47" y="254"/>
                    <a:pt x="47" y="257"/>
                    <a:pt x="47" y="259"/>
                  </a:cubicBezTo>
                  <a:cubicBezTo>
                    <a:pt x="47" y="260"/>
                    <a:pt x="47" y="262"/>
                    <a:pt x="47" y="263"/>
                  </a:cubicBezTo>
                  <a:cubicBezTo>
                    <a:pt x="47" y="263"/>
                    <a:pt x="47" y="263"/>
                    <a:pt x="46" y="263"/>
                  </a:cubicBezTo>
                  <a:cubicBezTo>
                    <a:pt x="48" y="263"/>
                    <a:pt x="50" y="263"/>
                    <a:pt x="52" y="263"/>
                  </a:cubicBezTo>
                  <a:cubicBezTo>
                    <a:pt x="54" y="263"/>
                    <a:pt x="54" y="262"/>
                    <a:pt x="55" y="262"/>
                  </a:cubicBezTo>
                  <a:cubicBezTo>
                    <a:pt x="56" y="261"/>
                    <a:pt x="56" y="261"/>
                    <a:pt x="57" y="260"/>
                  </a:cubicBezTo>
                  <a:cubicBezTo>
                    <a:pt x="58" y="259"/>
                    <a:pt x="57" y="259"/>
                    <a:pt x="59" y="259"/>
                  </a:cubicBezTo>
                  <a:cubicBezTo>
                    <a:pt x="62" y="258"/>
                    <a:pt x="65" y="259"/>
                    <a:pt x="68" y="259"/>
                  </a:cubicBezTo>
                  <a:cubicBezTo>
                    <a:pt x="69" y="258"/>
                    <a:pt x="71" y="258"/>
                    <a:pt x="72" y="257"/>
                  </a:cubicBezTo>
                  <a:cubicBezTo>
                    <a:pt x="74" y="257"/>
                    <a:pt x="74" y="256"/>
                    <a:pt x="75" y="255"/>
                  </a:cubicBezTo>
                  <a:cubicBezTo>
                    <a:pt x="76" y="254"/>
                    <a:pt x="78" y="254"/>
                    <a:pt x="79" y="253"/>
                  </a:cubicBezTo>
                  <a:cubicBezTo>
                    <a:pt x="79" y="253"/>
                    <a:pt x="79" y="252"/>
                    <a:pt x="80" y="252"/>
                  </a:cubicBezTo>
                  <a:cubicBezTo>
                    <a:pt x="80" y="251"/>
                    <a:pt x="81" y="251"/>
                    <a:pt x="81" y="251"/>
                  </a:cubicBezTo>
                  <a:cubicBezTo>
                    <a:pt x="82" y="250"/>
                    <a:pt x="83" y="248"/>
                    <a:pt x="84" y="246"/>
                  </a:cubicBezTo>
                  <a:cubicBezTo>
                    <a:pt x="84" y="245"/>
                    <a:pt x="84" y="244"/>
                    <a:pt x="84" y="243"/>
                  </a:cubicBezTo>
                  <a:cubicBezTo>
                    <a:pt x="84" y="243"/>
                    <a:pt x="85" y="242"/>
                    <a:pt x="85" y="242"/>
                  </a:cubicBezTo>
                  <a:cubicBezTo>
                    <a:pt x="85" y="240"/>
                    <a:pt x="85" y="239"/>
                    <a:pt x="85" y="238"/>
                  </a:cubicBezTo>
                  <a:cubicBezTo>
                    <a:pt x="86" y="237"/>
                    <a:pt x="86" y="237"/>
                    <a:pt x="87" y="236"/>
                  </a:cubicBezTo>
                  <a:cubicBezTo>
                    <a:pt x="88" y="235"/>
                    <a:pt x="89" y="233"/>
                    <a:pt x="91" y="232"/>
                  </a:cubicBezTo>
                  <a:cubicBezTo>
                    <a:pt x="92" y="231"/>
                    <a:pt x="94" y="231"/>
                    <a:pt x="95" y="230"/>
                  </a:cubicBezTo>
                  <a:cubicBezTo>
                    <a:pt x="97" y="229"/>
                    <a:pt x="97" y="226"/>
                    <a:pt x="97" y="225"/>
                  </a:cubicBezTo>
                  <a:cubicBezTo>
                    <a:pt x="98" y="223"/>
                    <a:pt x="97" y="222"/>
                    <a:pt x="99" y="221"/>
                  </a:cubicBezTo>
                  <a:cubicBezTo>
                    <a:pt x="100" y="219"/>
                    <a:pt x="103" y="218"/>
                    <a:pt x="105" y="217"/>
                  </a:cubicBezTo>
                  <a:cubicBezTo>
                    <a:pt x="106" y="216"/>
                    <a:pt x="108" y="214"/>
                    <a:pt x="109" y="213"/>
                  </a:cubicBezTo>
                  <a:cubicBezTo>
                    <a:pt x="110" y="212"/>
                    <a:pt x="111" y="212"/>
                    <a:pt x="112" y="212"/>
                  </a:cubicBezTo>
                  <a:cubicBezTo>
                    <a:pt x="113" y="212"/>
                    <a:pt x="113" y="212"/>
                    <a:pt x="114" y="211"/>
                  </a:cubicBezTo>
                  <a:cubicBezTo>
                    <a:pt x="116" y="210"/>
                    <a:pt x="117" y="210"/>
                    <a:pt x="119" y="209"/>
                  </a:cubicBezTo>
                  <a:cubicBezTo>
                    <a:pt x="119" y="206"/>
                    <a:pt x="126" y="209"/>
                    <a:pt x="128" y="210"/>
                  </a:cubicBezTo>
                  <a:cubicBezTo>
                    <a:pt x="132" y="213"/>
                    <a:pt x="136" y="215"/>
                    <a:pt x="140" y="218"/>
                  </a:cubicBezTo>
                  <a:cubicBezTo>
                    <a:pt x="141" y="218"/>
                    <a:pt x="143" y="218"/>
                    <a:pt x="142" y="220"/>
                  </a:cubicBezTo>
                  <a:cubicBezTo>
                    <a:pt x="143" y="220"/>
                    <a:pt x="143" y="221"/>
                    <a:pt x="143" y="221"/>
                  </a:cubicBezTo>
                  <a:cubicBezTo>
                    <a:pt x="145" y="221"/>
                    <a:pt x="146" y="221"/>
                    <a:pt x="148" y="222"/>
                  </a:cubicBezTo>
                  <a:cubicBezTo>
                    <a:pt x="148" y="222"/>
                    <a:pt x="149" y="222"/>
                    <a:pt x="149" y="223"/>
                  </a:cubicBezTo>
                  <a:cubicBezTo>
                    <a:pt x="150" y="223"/>
                    <a:pt x="151" y="222"/>
                    <a:pt x="152" y="223"/>
                  </a:cubicBezTo>
                  <a:cubicBezTo>
                    <a:pt x="152" y="223"/>
                    <a:pt x="153" y="224"/>
                    <a:pt x="154" y="224"/>
                  </a:cubicBezTo>
                  <a:cubicBezTo>
                    <a:pt x="154" y="225"/>
                    <a:pt x="154" y="225"/>
                    <a:pt x="156" y="225"/>
                  </a:cubicBezTo>
                  <a:cubicBezTo>
                    <a:pt x="157" y="226"/>
                    <a:pt x="158" y="226"/>
                    <a:pt x="159" y="227"/>
                  </a:cubicBezTo>
                  <a:cubicBezTo>
                    <a:pt x="160" y="228"/>
                    <a:pt x="160" y="228"/>
                    <a:pt x="161" y="229"/>
                  </a:cubicBezTo>
                  <a:cubicBezTo>
                    <a:pt x="161" y="229"/>
                    <a:pt x="161" y="229"/>
                    <a:pt x="162" y="229"/>
                  </a:cubicBezTo>
                  <a:cubicBezTo>
                    <a:pt x="162" y="229"/>
                    <a:pt x="163" y="230"/>
                    <a:pt x="163" y="230"/>
                  </a:cubicBezTo>
                  <a:cubicBezTo>
                    <a:pt x="165" y="231"/>
                    <a:pt x="166" y="234"/>
                    <a:pt x="168" y="236"/>
                  </a:cubicBezTo>
                  <a:cubicBezTo>
                    <a:pt x="168" y="236"/>
                    <a:pt x="168" y="236"/>
                    <a:pt x="168" y="236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0" y="238"/>
                    <a:pt x="171" y="238"/>
                    <a:pt x="171" y="238"/>
                  </a:cubicBezTo>
                  <a:cubicBezTo>
                    <a:pt x="172" y="239"/>
                    <a:pt x="172" y="239"/>
                    <a:pt x="173" y="240"/>
                  </a:cubicBezTo>
                  <a:cubicBezTo>
                    <a:pt x="174" y="240"/>
                    <a:pt x="175" y="240"/>
                    <a:pt x="176" y="240"/>
                  </a:cubicBezTo>
                  <a:cubicBezTo>
                    <a:pt x="177" y="240"/>
                    <a:pt x="178" y="240"/>
                    <a:pt x="179" y="240"/>
                  </a:cubicBezTo>
                  <a:cubicBezTo>
                    <a:pt x="180" y="240"/>
                    <a:pt x="181" y="240"/>
                    <a:pt x="181" y="240"/>
                  </a:cubicBezTo>
                  <a:cubicBezTo>
                    <a:pt x="183" y="241"/>
                    <a:pt x="184" y="242"/>
                    <a:pt x="185" y="243"/>
                  </a:cubicBezTo>
                  <a:cubicBezTo>
                    <a:pt x="186" y="243"/>
                    <a:pt x="187" y="244"/>
                    <a:pt x="188" y="245"/>
                  </a:cubicBezTo>
                  <a:cubicBezTo>
                    <a:pt x="188" y="245"/>
                    <a:pt x="188" y="247"/>
                    <a:pt x="188" y="248"/>
                  </a:cubicBezTo>
                  <a:cubicBezTo>
                    <a:pt x="188" y="250"/>
                    <a:pt x="188" y="251"/>
                    <a:pt x="189" y="253"/>
                  </a:cubicBezTo>
                  <a:cubicBezTo>
                    <a:pt x="189" y="254"/>
                    <a:pt x="189" y="256"/>
                    <a:pt x="190" y="257"/>
                  </a:cubicBezTo>
                  <a:cubicBezTo>
                    <a:pt x="190" y="258"/>
                    <a:pt x="191" y="258"/>
                    <a:pt x="191" y="259"/>
                  </a:cubicBezTo>
                  <a:cubicBezTo>
                    <a:pt x="191" y="260"/>
                    <a:pt x="191" y="262"/>
                    <a:pt x="191" y="263"/>
                  </a:cubicBezTo>
                  <a:cubicBezTo>
                    <a:pt x="191" y="263"/>
                    <a:pt x="191" y="264"/>
                    <a:pt x="191" y="265"/>
                  </a:cubicBezTo>
                  <a:cubicBezTo>
                    <a:pt x="191" y="265"/>
                    <a:pt x="190" y="266"/>
                    <a:pt x="190" y="266"/>
                  </a:cubicBezTo>
                  <a:cubicBezTo>
                    <a:pt x="190" y="268"/>
                    <a:pt x="190" y="270"/>
                    <a:pt x="190" y="272"/>
                  </a:cubicBezTo>
                  <a:cubicBezTo>
                    <a:pt x="190" y="274"/>
                    <a:pt x="190" y="277"/>
                    <a:pt x="191" y="278"/>
                  </a:cubicBezTo>
                  <a:cubicBezTo>
                    <a:pt x="192" y="280"/>
                    <a:pt x="193" y="281"/>
                    <a:pt x="193" y="282"/>
                  </a:cubicBezTo>
                  <a:cubicBezTo>
                    <a:pt x="194" y="283"/>
                    <a:pt x="194" y="284"/>
                    <a:pt x="194" y="285"/>
                  </a:cubicBezTo>
                  <a:cubicBezTo>
                    <a:pt x="195" y="287"/>
                    <a:pt x="195" y="289"/>
                    <a:pt x="197" y="290"/>
                  </a:cubicBezTo>
                  <a:cubicBezTo>
                    <a:pt x="197" y="292"/>
                    <a:pt x="199" y="293"/>
                    <a:pt x="199" y="294"/>
                  </a:cubicBezTo>
                  <a:cubicBezTo>
                    <a:pt x="200" y="295"/>
                    <a:pt x="200" y="296"/>
                    <a:pt x="200" y="298"/>
                  </a:cubicBezTo>
                  <a:cubicBezTo>
                    <a:pt x="200" y="299"/>
                    <a:pt x="199" y="301"/>
                    <a:pt x="199" y="303"/>
                  </a:cubicBezTo>
                  <a:cubicBezTo>
                    <a:pt x="199" y="304"/>
                    <a:pt x="199" y="304"/>
                    <a:pt x="199" y="305"/>
                  </a:cubicBezTo>
                  <a:cubicBezTo>
                    <a:pt x="199" y="308"/>
                    <a:pt x="199" y="312"/>
                    <a:pt x="199" y="314"/>
                  </a:cubicBezTo>
                  <a:cubicBezTo>
                    <a:pt x="198" y="315"/>
                    <a:pt x="198" y="316"/>
                    <a:pt x="197" y="316"/>
                  </a:cubicBezTo>
                  <a:cubicBezTo>
                    <a:pt x="196" y="317"/>
                    <a:pt x="196" y="317"/>
                    <a:pt x="196" y="319"/>
                  </a:cubicBezTo>
                  <a:cubicBezTo>
                    <a:pt x="196" y="320"/>
                    <a:pt x="197" y="322"/>
                    <a:pt x="197" y="323"/>
                  </a:cubicBezTo>
                  <a:cubicBezTo>
                    <a:pt x="198" y="326"/>
                    <a:pt x="199" y="324"/>
                    <a:pt x="200" y="323"/>
                  </a:cubicBezTo>
                  <a:cubicBezTo>
                    <a:pt x="201" y="322"/>
                    <a:pt x="203" y="322"/>
                    <a:pt x="205" y="323"/>
                  </a:cubicBezTo>
                  <a:cubicBezTo>
                    <a:pt x="207" y="323"/>
                    <a:pt x="209" y="322"/>
                    <a:pt x="209" y="324"/>
                  </a:cubicBezTo>
                  <a:cubicBezTo>
                    <a:pt x="210" y="325"/>
                    <a:pt x="209" y="325"/>
                    <a:pt x="210" y="326"/>
                  </a:cubicBezTo>
                  <a:cubicBezTo>
                    <a:pt x="210" y="327"/>
                    <a:pt x="211" y="327"/>
                    <a:pt x="211" y="327"/>
                  </a:cubicBezTo>
                  <a:cubicBezTo>
                    <a:pt x="212" y="328"/>
                    <a:pt x="211" y="330"/>
                    <a:pt x="211" y="331"/>
                  </a:cubicBezTo>
                  <a:cubicBezTo>
                    <a:pt x="211" y="333"/>
                    <a:pt x="211" y="335"/>
                    <a:pt x="213" y="336"/>
                  </a:cubicBezTo>
                  <a:cubicBezTo>
                    <a:pt x="215" y="337"/>
                    <a:pt x="220" y="336"/>
                    <a:pt x="221" y="338"/>
                  </a:cubicBezTo>
                  <a:cubicBezTo>
                    <a:pt x="221" y="338"/>
                    <a:pt x="222" y="340"/>
                    <a:pt x="222" y="341"/>
                  </a:cubicBezTo>
                  <a:cubicBezTo>
                    <a:pt x="222" y="342"/>
                    <a:pt x="221" y="343"/>
                    <a:pt x="221" y="344"/>
                  </a:cubicBezTo>
                  <a:cubicBezTo>
                    <a:pt x="222" y="346"/>
                    <a:pt x="223" y="345"/>
                    <a:pt x="224" y="346"/>
                  </a:cubicBezTo>
                  <a:cubicBezTo>
                    <a:pt x="226" y="346"/>
                    <a:pt x="227" y="346"/>
                    <a:pt x="228" y="347"/>
                  </a:cubicBezTo>
                  <a:cubicBezTo>
                    <a:pt x="228" y="348"/>
                    <a:pt x="229" y="349"/>
                    <a:pt x="229" y="350"/>
                  </a:cubicBezTo>
                  <a:cubicBezTo>
                    <a:pt x="230" y="351"/>
                    <a:pt x="229" y="353"/>
                    <a:pt x="230" y="354"/>
                  </a:cubicBezTo>
                  <a:cubicBezTo>
                    <a:pt x="230" y="354"/>
                    <a:pt x="231" y="354"/>
                    <a:pt x="231" y="355"/>
                  </a:cubicBezTo>
                  <a:cubicBezTo>
                    <a:pt x="231" y="355"/>
                    <a:pt x="231" y="356"/>
                    <a:pt x="232" y="356"/>
                  </a:cubicBezTo>
                  <a:cubicBezTo>
                    <a:pt x="232" y="357"/>
                    <a:pt x="233" y="357"/>
                    <a:pt x="233" y="358"/>
                  </a:cubicBezTo>
                  <a:cubicBezTo>
                    <a:pt x="233" y="360"/>
                    <a:pt x="233" y="360"/>
                    <a:pt x="234" y="361"/>
                  </a:cubicBezTo>
                  <a:cubicBezTo>
                    <a:pt x="235" y="362"/>
                    <a:pt x="236" y="363"/>
                    <a:pt x="237" y="363"/>
                  </a:cubicBezTo>
                  <a:cubicBezTo>
                    <a:pt x="239" y="364"/>
                    <a:pt x="240" y="367"/>
                    <a:pt x="243" y="367"/>
                  </a:cubicBezTo>
                  <a:cubicBezTo>
                    <a:pt x="244" y="367"/>
                    <a:pt x="246" y="367"/>
                    <a:pt x="247" y="368"/>
                  </a:cubicBezTo>
                  <a:cubicBezTo>
                    <a:pt x="247" y="369"/>
                    <a:pt x="247" y="370"/>
                    <a:pt x="248" y="371"/>
                  </a:cubicBezTo>
                  <a:cubicBezTo>
                    <a:pt x="249" y="371"/>
                    <a:pt x="250" y="372"/>
                    <a:pt x="251" y="372"/>
                  </a:cubicBezTo>
                  <a:cubicBezTo>
                    <a:pt x="251" y="373"/>
                    <a:pt x="251" y="373"/>
                    <a:pt x="252" y="373"/>
                  </a:cubicBezTo>
                  <a:cubicBezTo>
                    <a:pt x="252" y="373"/>
                    <a:pt x="252" y="373"/>
                    <a:pt x="252" y="373"/>
                  </a:cubicBezTo>
                  <a:cubicBezTo>
                    <a:pt x="252" y="374"/>
                    <a:pt x="252" y="374"/>
                    <a:pt x="253" y="375"/>
                  </a:cubicBezTo>
                  <a:cubicBezTo>
                    <a:pt x="253" y="375"/>
                    <a:pt x="253" y="375"/>
                    <a:pt x="253" y="376"/>
                  </a:cubicBezTo>
                  <a:cubicBezTo>
                    <a:pt x="254" y="378"/>
                    <a:pt x="255" y="381"/>
                    <a:pt x="255" y="384"/>
                  </a:cubicBezTo>
                  <a:cubicBezTo>
                    <a:pt x="255" y="386"/>
                    <a:pt x="256" y="386"/>
                    <a:pt x="257" y="387"/>
                  </a:cubicBezTo>
                  <a:cubicBezTo>
                    <a:pt x="258" y="389"/>
                    <a:pt x="260" y="392"/>
                    <a:pt x="260" y="394"/>
                  </a:cubicBezTo>
                  <a:cubicBezTo>
                    <a:pt x="262" y="395"/>
                    <a:pt x="263" y="397"/>
                    <a:pt x="264" y="398"/>
                  </a:cubicBezTo>
                  <a:cubicBezTo>
                    <a:pt x="265" y="398"/>
                    <a:pt x="267" y="398"/>
                    <a:pt x="268" y="399"/>
                  </a:cubicBezTo>
                  <a:cubicBezTo>
                    <a:pt x="269" y="400"/>
                    <a:pt x="270" y="401"/>
                    <a:pt x="271" y="402"/>
                  </a:cubicBezTo>
                  <a:cubicBezTo>
                    <a:pt x="272" y="403"/>
                    <a:pt x="274" y="404"/>
                    <a:pt x="276" y="405"/>
                  </a:cubicBezTo>
                  <a:cubicBezTo>
                    <a:pt x="276" y="406"/>
                    <a:pt x="277" y="407"/>
                    <a:pt x="277" y="408"/>
                  </a:cubicBezTo>
                  <a:cubicBezTo>
                    <a:pt x="278" y="408"/>
                    <a:pt x="279" y="409"/>
                    <a:pt x="280" y="410"/>
                  </a:cubicBezTo>
                  <a:cubicBezTo>
                    <a:pt x="281" y="413"/>
                    <a:pt x="280" y="416"/>
                    <a:pt x="281" y="419"/>
                  </a:cubicBezTo>
                  <a:cubicBezTo>
                    <a:pt x="282" y="419"/>
                    <a:pt x="282" y="419"/>
                    <a:pt x="283" y="420"/>
                  </a:cubicBezTo>
                  <a:cubicBezTo>
                    <a:pt x="283" y="420"/>
                    <a:pt x="284" y="420"/>
                    <a:pt x="284" y="420"/>
                  </a:cubicBezTo>
                  <a:cubicBezTo>
                    <a:pt x="285" y="421"/>
                    <a:pt x="286" y="422"/>
                    <a:pt x="287" y="423"/>
                  </a:cubicBezTo>
                  <a:cubicBezTo>
                    <a:pt x="287" y="424"/>
                    <a:pt x="287" y="424"/>
                    <a:pt x="288" y="424"/>
                  </a:cubicBezTo>
                  <a:cubicBezTo>
                    <a:pt x="288" y="425"/>
                    <a:pt x="289" y="426"/>
                    <a:pt x="289" y="426"/>
                  </a:cubicBezTo>
                  <a:cubicBezTo>
                    <a:pt x="290" y="427"/>
                    <a:pt x="291" y="427"/>
                    <a:pt x="292" y="428"/>
                  </a:cubicBezTo>
                  <a:cubicBezTo>
                    <a:pt x="293" y="430"/>
                    <a:pt x="294" y="432"/>
                    <a:pt x="295" y="433"/>
                  </a:cubicBezTo>
                  <a:cubicBezTo>
                    <a:pt x="296" y="434"/>
                    <a:pt x="297" y="434"/>
                    <a:pt x="297" y="435"/>
                  </a:cubicBezTo>
                  <a:cubicBezTo>
                    <a:pt x="297" y="436"/>
                    <a:pt x="297" y="437"/>
                    <a:pt x="297" y="438"/>
                  </a:cubicBezTo>
                  <a:cubicBezTo>
                    <a:pt x="298" y="440"/>
                    <a:pt x="298" y="439"/>
                    <a:pt x="301" y="440"/>
                  </a:cubicBezTo>
                  <a:cubicBezTo>
                    <a:pt x="302" y="440"/>
                    <a:pt x="303" y="441"/>
                    <a:pt x="304" y="442"/>
                  </a:cubicBezTo>
                  <a:cubicBezTo>
                    <a:pt x="304" y="442"/>
                    <a:pt x="305" y="445"/>
                    <a:pt x="306" y="443"/>
                  </a:cubicBezTo>
                  <a:cubicBezTo>
                    <a:pt x="306" y="443"/>
                    <a:pt x="306" y="444"/>
                    <a:pt x="306" y="444"/>
                  </a:cubicBezTo>
                  <a:cubicBezTo>
                    <a:pt x="308" y="444"/>
                    <a:pt x="310" y="444"/>
                    <a:pt x="311" y="444"/>
                  </a:cubicBezTo>
                  <a:cubicBezTo>
                    <a:pt x="313" y="445"/>
                    <a:pt x="312" y="447"/>
                    <a:pt x="313" y="448"/>
                  </a:cubicBezTo>
                  <a:cubicBezTo>
                    <a:pt x="313" y="449"/>
                    <a:pt x="314" y="450"/>
                    <a:pt x="315" y="450"/>
                  </a:cubicBezTo>
                  <a:cubicBezTo>
                    <a:pt x="316" y="451"/>
                    <a:pt x="317" y="451"/>
                    <a:pt x="318" y="452"/>
                  </a:cubicBezTo>
                  <a:cubicBezTo>
                    <a:pt x="319" y="454"/>
                    <a:pt x="317" y="460"/>
                    <a:pt x="319" y="461"/>
                  </a:cubicBezTo>
                  <a:cubicBezTo>
                    <a:pt x="322" y="457"/>
                    <a:pt x="327" y="457"/>
                    <a:pt x="332" y="457"/>
                  </a:cubicBezTo>
                  <a:cubicBezTo>
                    <a:pt x="333" y="457"/>
                    <a:pt x="334" y="456"/>
                    <a:pt x="336" y="456"/>
                  </a:cubicBezTo>
                  <a:cubicBezTo>
                    <a:pt x="337" y="456"/>
                    <a:pt x="338" y="456"/>
                    <a:pt x="339" y="456"/>
                  </a:cubicBezTo>
                  <a:cubicBezTo>
                    <a:pt x="341" y="456"/>
                    <a:pt x="343" y="458"/>
                    <a:pt x="345" y="460"/>
                  </a:cubicBezTo>
                  <a:cubicBezTo>
                    <a:pt x="347" y="462"/>
                    <a:pt x="348" y="463"/>
                    <a:pt x="350" y="462"/>
                  </a:cubicBezTo>
                  <a:cubicBezTo>
                    <a:pt x="351" y="462"/>
                    <a:pt x="352" y="462"/>
                    <a:pt x="353" y="462"/>
                  </a:cubicBezTo>
                  <a:cubicBezTo>
                    <a:pt x="353" y="461"/>
                    <a:pt x="354" y="460"/>
                    <a:pt x="354" y="460"/>
                  </a:cubicBezTo>
                  <a:cubicBezTo>
                    <a:pt x="355" y="460"/>
                    <a:pt x="357" y="460"/>
                    <a:pt x="358" y="460"/>
                  </a:cubicBezTo>
                  <a:cubicBezTo>
                    <a:pt x="359" y="461"/>
                    <a:pt x="359" y="463"/>
                    <a:pt x="360" y="464"/>
                  </a:cubicBezTo>
                  <a:cubicBezTo>
                    <a:pt x="360" y="465"/>
                    <a:pt x="361" y="466"/>
                    <a:pt x="361" y="467"/>
                  </a:cubicBezTo>
                  <a:cubicBezTo>
                    <a:pt x="362" y="469"/>
                    <a:pt x="363" y="470"/>
                    <a:pt x="363" y="473"/>
                  </a:cubicBezTo>
                  <a:cubicBezTo>
                    <a:pt x="364" y="474"/>
                    <a:pt x="364" y="475"/>
                    <a:pt x="365" y="477"/>
                  </a:cubicBezTo>
                  <a:cubicBezTo>
                    <a:pt x="365" y="477"/>
                    <a:pt x="366" y="478"/>
                    <a:pt x="366" y="479"/>
                  </a:cubicBezTo>
                  <a:cubicBezTo>
                    <a:pt x="366" y="480"/>
                    <a:pt x="365" y="481"/>
                    <a:pt x="365" y="482"/>
                  </a:cubicBezTo>
                  <a:cubicBezTo>
                    <a:pt x="365" y="483"/>
                    <a:pt x="365" y="484"/>
                    <a:pt x="365" y="484"/>
                  </a:cubicBezTo>
                  <a:cubicBezTo>
                    <a:pt x="367" y="485"/>
                    <a:pt x="368" y="485"/>
                    <a:pt x="370" y="486"/>
                  </a:cubicBezTo>
                  <a:cubicBezTo>
                    <a:pt x="370" y="486"/>
                    <a:pt x="371" y="486"/>
                    <a:pt x="371" y="487"/>
                  </a:cubicBezTo>
                  <a:cubicBezTo>
                    <a:pt x="373" y="489"/>
                    <a:pt x="372" y="491"/>
                    <a:pt x="373" y="493"/>
                  </a:cubicBezTo>
                  <a:cubicBezTo>
                    <a:pt x="374" y="494"/>
                    <a:pt x="375" y="495"/>
                    <a:pt x="377" y="494"/>
                  </a:cubicBezTo>
                  <a:cubicBezTo>
                    <a:pt x="378" y="494"/>
                    <a:pt x="378" y="493"/>
                    <a:pt x="379" y="492"/>
                  </a:cubicBezTo>
                  <a:cubicBezTo>
                    <a:pt x="380" y="491"/>
                    <a:pt x="382" y="492"/>
                    <a:pt x="384" y="492"/>
                  </a:cubicBezTo>
                  <a:cubicBezTo>
                    <a:pt x="385" y="493"/>
                    <a:pt x="386" y="492"/>
                    <a:pt x="387" y="492"/>
                  </a:cubicBezTo>
                  <a:cubicBezTo>
                    <a:pt x="393" y="490"/>
                    <a:pt x="394" y="495"/>
                    <a:pt x="394" y="499"/>
                  </a:cubicBezTo>
                  <a:cubicBezTo>
                    <a:pt x="394" y="502"/>
                    <a:pt x="394" y="504"/>
                    <a:pt x="391" y="505"/>
                  </a:cubicBezTo>
                  <a:cubicBezTo>
                    <a:pt x="391" y="505"/>
                    <a:pt x="391" y="505"/>
                    <a:pt x="390" y="505"/>
                  </a:cubicBezTo>
                  <a:cubicBezTo>
                    <a:pt x="389" y="505"/>
                    <a:pt x="389" y="506"/>
                    <a:pt x="388" y="507"/>
                  </a:cubicBezTo>
                  <a:cubicBezTo>
                    <a:pt x="388" y="507"/>
                    <a:pt x="386" y="508"/>
                    <a:pt x="386" y="509"/>
                  </a:cubicBezTo>
                  <a:cubicBezTo>
                    <a:pt x="386" y="509"/>
                    <a:pt x="387" y="509"/>
                    <a:pt x="388" y="509"/>
                  </a:cubicBezTo>
                  <a:cubicBezTo>
                    <a:pt x="388" y="510"/>
                    <a:pt x="388" y="510"/>
                    <a:pt x="388" y="510"/>
                  </a:cubicBezTo>
                  <a:cubicBezTo>
                    <a:pt x="389" y="510"/>
                    <a:pt x="389" y="512"/>
                    <a:pt x="389" y="512"/>
                  </a:cubicBezTo>
                  <a:cubicBezTo>
                    <a:pt x="390" y="513"/>
                    <a:pt x="392" y="513"/>
                    <a:pt x="393" y="514"/>
                  </a:cubicBezTo>
                  <a:cubicBezTo>
                    <a:pt x="394" y="514"/>
                    <a:pt x="396" y="515"/>
                    <a:pt x="398" y="515"/>
                  </a:cubicBezTo>
                  <a:cubicBezTo>
                    <a:pt x="399" y="515"/>
                    <a:pt x="400" y="512"/>
                    <a:pt x="401" y="512"/>
                  </a:cubicBezTo>
                  <a:cubicBezTo>
                    <a:pt x="402" y="511"/>
                    <a:pt x="402" y="511"/>
                    <a:pt x="403" y="511"/>
                  </a:cubicBezTo>
                  <a:cubicBezTo>
                    <a:pt x="404" y="511"/>
                    <a:pt x="406" y="511"/>
                    <a:pt x="407" y="512"/>
                  </a:cubicBezTo>
                  <a:cubicBezTo>
                    <a:pt x="408" y="512"/>
                    <a:pt x="408" y="512"/>
                    <a:pt x="408" y="513"/>
                  </a:cubicBezTo>
                  <a:cubicBezTo>
                    <a:pt x="409" y="513"/>
                    <a:pt x="409" y="513"/>
                    <a:pt x="409" y="513"/>
                  </a:cubicBezTo>
                  <a:cubicBezTo>
                    <a:pt x="410" y="513"/>
                    <a:pt x="411" y="514"/>
                    <a:pt x="412" y="514"/>
                  </a:cubicBezTo>
                  <a:cubicBezTo>
                    <a:pt x="414" y="514"/>
                    <a:pt x="415" y="514"/>
                    <a:pt x="417" y="516"/>
                  </a:cubicBezTo>
                  <a:cubicBezTo>
                    <a:pt x="418" y="517"/>
                    <a:pt x="418" y="518"/>
                    <a:pt x="418" y="520"/>
                  </a:cubicBezTo>
                  <a:cubicBezTo>
                    <a:pt x="418" y="521"/>
                    <a:pt x="418" y="522"/>
                    <a:pt x="419" y="522"/>
                  </a:cubicBezTo>
                  <a:cubicBezTo>
                    <a:pt x="419" y="523"/>
                    <a:pt x="419" y="524"/>
                    <a:pt x="420" y="525"/>
                  </a:cubicBezTo>
                  <a:cubicBezTo>
                    <a:pt x="420" y="525"/>
                    <a:pt x="421" y="525"/>
                    <a:pt x="422" y="526"/>
                  </a:cubicBezTo>
                  <a:cubicBezTo>
                    <a:pt x="423" y="526"/>
                    <a:pt x="422" y="528"/>
                    <a:pt x="422" y="529"/>
                  </a:cubicBezTo>
                  <a:cubicBezTo>
                    <a:pt x="422" y="531"/>
                    <a:pt x="422" y="532"/>
                    <a:pt x="422" y="534"/>
                  </a:cubicBezTo>
                  <a:cubicBezTo>
                    <a:pt x="421" y="537"/>
                    <a:pt x="419" y="538"/>
                    <a:pt x="416" y="538"/>
                  </a:cubicBezTo>
                  <a:cubicBezTo>
                    <a:pt x="416" y="540"/>
                    <a:pt x="418" y="541"/>
                    <a:pt x="419" y="542"/>
                  </a:cubicBezTo>
                  <a:cubicBezTo>
                    <a:pt x="422" y="543"/>
                    <a:pt x="425" y="545"/>
                    <a:pt x="427" y="547"/>
                  </a:cubicBezTo>
                  <a:cubicBezTo>
                    <a:pt x="428" y="547"/>
                    <a:pt x="429" y="547"/>
                    <a:pt x="430" y="548"/>
                  </a:cubicBezTo>
                  <a:cubicBezTo>
                    <a:pt x="431" y="548"/>
                    <a:pt x="432" y="549"/>
                    <a:pt x="432" y="550"/>
                  </a:cubicBezTo>
                  <a:cubicBezTo>
                    <a:pt x="433" y="550"/>
                    <a:pt x="434" y="551"/>
                    <a:pt x="435" y="551"/>
                  </a:cubicBezTo>
                  <a:cubicBezTo>
                    <a:pt x="436" y="552"/>
                    <a:pt x="436" y="554"/>
                    <a:pt x="437" y="555"/>
                  </a:cubicBezTo>
                  <a:cubicBezTo>
                    <a:pt x="438" y="556"/>
                    <a:pt x="439" y="557"/>
                    <a:pt x="441" y="557"/>
                  </a:cubicBezTo>
                  <a:cubicBezTo>
                    <a:pt x="441" y="557"/>
                    <a:pt x="444" y="557"/>
                    <a:pt x="444" y="556"/>
                  </a:cubicBezTo>
                  <a:cubicBezTo>
                    <a:pt x="445" y="556"/>
                    <a:pt x="445" y="556"/>
                    <a:pt x="445" y="555"/>
                  </a:cubicBezTo>
                  <a:cubicBezTo>
                    <a:pt x="446" y="555"/>
                    <a:pt x="446" y="554"/>
                    <a:pt x="447" y="553"/>
                  </a:cubicBezTo>
                  <a:cubicBezTo>
                    <a:pt x="447" y="553"/>
                    <a:pt x="447" y="552"/>
                    <a:pt x="447" y="551"/>
                  </a:cubicBezTo>
                  <a:cubicBezTo>
                    <a:pt x="447" y="550"/>
                    <a:pt x="448" y="548"/>
                    <a:pt x="449" y="548"/>
                  </a:cubicBezTo>
                  <a:cubicBezTo>
                    <a:pt x="453" y="553"/>
                    <a:pt x="457" y="558"/>
                    <a:pt x="460" y="564"/>
                  </a:cubicBezTo>
                  <a:cubicBezTo>
                    <a:pt x="461" y="566"/>
                    <a:pt x="462" y="568"/>
                    <a:pt x="462" y="570"/>
                  </a:cubicBezTo>
                  <a:cubicBezTo>
                    <a:pt x="462" y="573"/>
                    <a:pt x="463" y="577"/>
                    <a:pt x="464" y="580"/>
                  </a:cubicBezTo>
                  <a:cubicBezTo>
                    <a:pt x="464" y="583"/>
                    <a:pt x="464" y="587"/>
                    <a:pt x="466" y="589"/>
                  </a:cubicBezTo>
                  <a:cubicBezTo>
                    <a:pt x="467" y="590"/>
                    <a:pt x="468" y="591"/>
                    <a:pt x="469" y="593"/>
                  </a:cubicBezTo>
                  <a:cubicBezTo>
                    <a:pt x="469" y="594"/>
                    <a:pt x="469" y="595"/>
                    <a:pt x="469" y="596"/>
                  </a:cubicBezTo>
                  <a:cubicBezTo>
                    <a:pt x="470" y="597"/>
                    <a:pt x="470" y="599"/>
                    <a:pt x="471" y="600"/>
                  </a:cubicBezTo>
                  <a:cubicBezTo>
                    <a:pt x="471" y="602"/>
                    <a:pt x="471" y="603"/>
                    <a:pt x="472" y="605"/>
                  </a:cubicBezTo>
                  <a:cubicBezTo>
                    <a:pt x="472" y="606"/>
                    <a:pt x="473" y="607"/>
                    <a:pt x="473" y="608"/>
                  </a:cubicBezTo>
                  <a:cubicBezTo>
                    <a:pt x="473" y="611"/>
                    <a:pt x="473" y="614"/>
                    <a:pt x="474" y="616"/>
                  </a:cubicBezTo>
                  <a:cubicBezTo>
                    <a:pt x="474" y="617"/>
                    <a:pt x="474" y="617"/>
                    <a:pt x="474" y="617"/>
                  </a:cubicBezTo>
                  <a:cubicBezTo>
                    <a:pt x="474" y="618"/>
                    <a:pt x="474" y="619"/>
                    <a:pt x="474" y="619"/>
                  </a:cubicBezTo>
                  <a:cubicBezTo>
                    <a:pt x="474" y="620"/>
                    <a:pt x="474" y="621"/>
                    <a:pt x="474" y="622"/>
                  </a:cubicBezTo>
                  <a:cubicBezTo>
                    <a:pt x="475" y="624"/>
                    <a:pt x="475" y="625"/>
                    <a:pt x="475" y="628"/>
                  </a:cubicBezTo>
                  <a:cubicBezTo>
                    <a:pt x="475" y="630"/>
                    <a:pt x="475" y="634"/>
                    <a:pt x="475" y="637"/>
                  </a:cubicBezTo>
                  <a:cubicBezTo>
                    <a:pt x="476" y="641"/>
                    <a:pt x="481" y="643"/>
                    <a:pt x="482" y="647"/>
                  </a:cubicBezTo>
                  <a:cubicBezTo>
                    <a:pt x="482" y="648"/>
                    <a:pt x="482" y="650"/>
                    <a:pt x="481" y="652"/>
                  </a:cubicBezTo>
                  <a:cubicBezTo>
                    <a:pt x="481" y="653"/>
                    <a:pt x="481" y="655"/>
                    <a:pt x="480" y="657"/>
                  </a:cubicBezTo>
                  <a:cubicBezTo>
                    <a:pt x="479" y="658"/>
                    <a:pt x="479" y="659"/>
                    <a:pt x="477" y="659"/>
                  </a:cubicBezTo>
                  <a:cubicBezTo>
                    <a:pt x="474" y="659"/>
                    <a:pt x="472" y="659"/>
                    <a:pt x="470" y="660"/>
                  </a:cubicBezTo>
                  <a:cubicBezTo>
                    <a:pt x="468" y="660"/>
                    <a:pt x="466" y="661"/>
                    <a:pt x="464" y="662"/>
                  </a:cubicBezTo>
                  <a:cubicBezTo>
                    <a:pt x="462" y="662"/>
                    <a:pt x="461" y="663"/>
                    <a:pt x="460" y="663"/>
                  </a:cubicBezTo>
                  <a:cubicBezTo>
                    <a:pt x="459" y="668"/>
                    <a:pt x="464" y="670"/>
                    <a:pt x="464" y="675"/>
                  </a:cubicBezTo>
                  <a:cubicBezTo>
                    <a:pt x="465" y="677"/>
                    <a:pt x="463" y="678"/>
                    <a:pt x="463" y="680"/>
                  </a:cubicBezTo>
                  <a:cubicBezTo>
                    <a:pt x="461" y="682"/>
                    <a:pt x="461" y="685"/>
                    <a:pt x="460" y="688"/>
                  </a:cubicBezTo>
                  <a:cubicBezTo>
                    <a:pt x="459" y="689"/>
                    <a:pt x="459" y="690"/>
                    <a:pt x="458" y="691"/>
                  </a:cubicBezTo>
                  <a:cubicBezTo>
                    <a:pt x="456" y="692"/>
                    <a:pt x="455" y="692"/>
                    <a:pt x="454" y="693"/>
                  </a:cubicBezTo>
                  <a:cubicBezTo>
                    <a:pt x="454" y="693"/>
                    <a:pt x="453" y="693"/>
                    <a:pt x="453" y="694"/>
                  </a:cubicBezTo>
                  <a:cubicBezTo>
                    <a:pt x="452" y="694"/>
                    <a:pt x="452" y="694"/>
                    <a:pt x="452" y="694"/>
                  </a:cubicBezTo>
                  <a:cubicBezTo>
                    <a:pt x="451" y="694"/>
                    <a:pt x="451" y="695"/>
                    <a:pt x="451" y="695"/>
                  </a:cubicBezTo>
                  <a:cubicBezTo>
                    <a:pt x="450" y="696"/>
                    <a:pt x="449" y="697"/>
                    <a:pt x="447" y="698"/>
                  </a:cubicBezTo>
                  <a:cubicBezTo>
                    <a:pt x="446" y="699"/>
                    <a:pt x="446" y="699"/>
                    <a:pt x="445" y="700"/>
                  </a:cubicBezTo>
                  <a:cubicBezTo>
                    <a:pt x="445" y="701"/>
                    <a:pt x="445" y="702"/>
                    <a:pt x="445" y="703"/>
                  </a:cubicBezTo>
                  <a:cubicBezTo>
                    <a:pt x="445" y="704"/>
                    <a:pt x="446" y="707"/>
                    <a:pt x="445" y="708"/>
                  </a:cubicBezTo>
                  <a:cubicBezTo>
                    <a:pt x="444" y="709"/>
                    <a:pt x="443" y="709"/>
                    <a:pt x="443" y="710"/>
                  </a:cubicBezTo>
                  <a:cubicBezTo>
                    <a:pt x="442" y="711"/>
                    <a:pt x="441" y="713"/>
                    <a:pt x="441" y="714"/>
                  </a:cubicBezTo>
                  <a:cubicBezTo>
                    <a:pt x="442" y="716"/>
                    <a:pt x="443" y="717"/>
                    <a:pt x="444" y="718"/>
                  </a:cubicBezTo>
                  <a:cubicBezTo>
                    <a:pt x="445" y="718"/>
                    <a:pt x="444" y="718"/>
                    <a:pt x="445" y="719"/>
                  </a:cubicBezTo>
                  <a:cubicBezTo>
                    <a:pt x="446" y="719"/>
                    <a:pt x="447" y="720"/>
                    <a:pt x="447" y="720"/>
                  </a:cubicBezTo>
                  <a:cubicBezTo>
                    <a:pt x="448" y="720"/>
                    <a:pt x="448" y="721"/>
                    <a:pt x="449" y="721"/>
                  </a:cubicBezTo>
                  <a:cubicBezTo>
                    <a:pt x="451" y="721"/>
                    <a:pt x="453" y="721"/>
                    <a:pt x="455" y="721"/>
                  </a:cubicBezTo>
                  <a:cubicBezTo>
                    <a:pt x="458" y="721"/>
                    <a:pt x="460" y="720"/>
                    <a:pt x="463" y="720"/>
                  </a:cubicBezTo>
                  <a:cubicBezTo>
                    <a:pt x="464" y="720"/>
                    <a:pt x="465" y="720"/>
                    <a:pt x="466" y="720"/>
                  </a:cubicBezTo>
                  <a:cubicBezTo>
                    <a:pt x="468" y="720"/>
                    <a:pt x="469" y="719"/>
                    <a:pt x="470" y="719"/>
                  </a:cubicBezTo>
                  <a:cubicBezTo>
                    <a:pt x="471" y="719"/>
                    <a:pt x="471" y="719"/>
                    <a:pt x="472" y="719"/>
                  </a:cubicBezTo>
                  <a:cubicBezTo>
                    <a:pt x="473" y="718"/>
                    <a:pt x="474" y="717"/>
                    <a:pt x="474" y="717"/>
                  </a:cubicBezTo>
                  <a:cubicBezTo>
                    <a:pt x="475" y="716"/>
                    <a:pt x="475" y="715"/>
                    <a:pt x="475" y="714"/>
                  </a:cubicBezTo>
                  <a:cubicBezTo>
                    <a:pt x="476" y="714"/>
                    <a:pt x="476" y="713"/>
                    <a:pt x="477" y="712"/>
                  </a:cubicBezTo>
                  <a:cubicBezTo>
                    <a:pt x="477" y="712"/>
                    <a:pt x="477" y="711"/>
                    <a:pt x="477" y="710"/>
                  </a:cubicBezTo>
                  <a:cubicBezTo>
                    <a:pt x="478" y="709"/>
                    <a:pt x="478" y="709"/>
                    <a:pt x="478" y="708"/>
                  </a:cubicBezTo>
                  <a:cubicBezTo>
                    <a:pt x="479" y="705"/>
                    <a:pt x="478" y="704"/>
                    <a:pt x="480" y="702"/>
                  </a:cubicBezTo>
                  <a:cubicBezTo>
                    <a:pt x="481" y="700"/>
                    <a:pt x="483" y="698"/>
                    <a:pt x="485" y="697"/>
                  </a:cubicBezTo>
                  <a:cubicBezTo>
                    <a:pt x="485" y="695"/>
                    <a:pt x="489" y="692"/>
                    <a:pt x="491" y="691"/>
                  </a:cubicBezTo>
                  <a:cubicBezTo>
                    <a:pt x="493" y="690"/>
                    <a:pt x="495" y="688"/>
                    <a:pt x="498" y="686"/>
                  </a:cubicBezTo>
                  <a:cubicBezTo>
                    <a:pt x="502" y="683"/>
                    <a:pt x="500" y="678"/>
                    <a:pt x="500" y="674"/>
                  </a:cubicBezTo>
                  <a:cubicBezTo>
                    <a:pt x="501" y="671"/>
                    <a:pt x="500" y="668"/>
                    <a:pt x="500" y="665"/>
                  </a:cubicBezTo>
                  <a:cubicBezTo>
                    <a:pt x="500" y="663"/>
                    <a:pt x="500" y="661"/>
                    <a:pt x="500" y="660"/>
                  </a:cubicBezTo>
                  <a:cubicBezTo>
                    <a:pt x="500" y="659"/>
                    <a:pt x="500" y="657"/>
                    <a:pt x="501" y="656"/>
                  </a:cubicBezTo>
                  <a:cubicBezTo>
                    <a:pt x="501" y="656"/>
                    <a:pt x="502" y="655"/>
                    <a:pt x="503" y="655"/>
                  </a:cubicBezTo>
                  <a:cubicBezTo>
                    <a:pt x="503" y="654"/>
                    <a:pt x="504" y="653"/>
                    <a:pt x="505" y="652"/>
                  </a:cubicBezTo>
                  <a:cubicBezTo>
                    <a:pt x="505" y="651"/>
                    <a:pt x="505" y="651"/>
                    <a:pt x="506" y="651"/>
                  </a:cubicBezTo>
                  <a:cubicBezTo>
                    <a:pt x="507" y="650"/>
                    <a:pt x="508" y="649"/>
                    <a:pt x="510" y="649"/>
                  </a:cubicBezTo>
                  <a:cubicBezTo>
                    <a:pt x="512" y="648"/>
                    <a:pt x="515" y="648"/>
                    <a:pt x="517" y="647"/>
                  </a:cubicBezTo>
                  <a:cubicBezTo>
                    <a:pt x="517" y="647"/>
                    <a:pt x="517" y="646"/>
                    <a:pt x="517" y="646"/>
                  </a:cubicBezTo>
                  <a:cubicBezTo>
                    <a:pt x="517" y="646"/>
                    <a:pt x="519" y="646"/>
                    <a:pt x="518" y="646"/>
                  </a:cubicBezTo>
                  <a:cubicBezTo>
                    <a:pt x="520" y="646"/>
                    <a:pt x="520" y="646"/>
                    <a:pt x="521" y="646"/>
                  </a:cubicBezTo>
                  <a:cubicBezTo>
                    <a:pt x="523" y="646"/>
                    <a:pt x="525" y="646"/>
                    <a:pt x="526" y="645"/>
                  </a:cubicBezTo>
                  <a:cubicBezTo>
                    <a:pt x="527" y="645"/>
                    <a:pt x="528" y="644"/>
                    <a:pt x="529" y="644"/>
                  </a:cubicBezTo>
                  <a:cubicBezTo>
                    <a:pt x="530" y="644"/>
                    <a:pt x="530" y="644"/>
                    <a:pt x="531" y="643"/>
                  </a:cubicBezTo>
                  <a:cubicBezTo>
                    <a:pt x="531" y="643"/>
                    <a:pt x="532" y="643"/>
                    <a:pt x="532" y="642"/>
                  </a:cubicBezTo>
                  <a:cubicBezTo>
                    <a:pt x="532" y="641"/>
                    <a:pt x="532" y="640"/>
                    <a:pt x="532" y="639"/>
                  </a:cubicBezTo>
                  <a:cubicBezTo>
                    <a:pt x="532" y="638"/>
                    <a:pt x="531" y="636"/>
                    <a:pt x="531" y="635"/>
                  </a:cubicBezTo>
                  <a:cubicBezTo>
                    <a:pt x="531" y="634"/>
                    <a:pt x="531" y="633"/>
                    <a:pt x="532" y="632"/>
                  </a:cubicBezTo>
                  <a:cubicBezTo>
                    <a:pt x="532" y="632"/>
                    <a:pt x="533" y="631"/>
                    <a:pt x="533" y="631"/>
                  </a:cubicBezTo>
                  <a:cubicBezTo>
                    <a:pt x="534" y="629"/>
                    <a:pt x="534" y="626"/>
                    <a:pt x="534" y="624"/>
                  </a:cubicBezTo>
                  <a:cubicBezTo>
                    <a:pt x="534" y="622"/>
                    <a:pt x="534" y="620"/>
                    <a:pt x="534" y="617"/>
                  </a:cubicBezTo>
                  <a:cubicBezTo>
                    <a:pt x="534" y="616"/>
                    <a:pt x="534" y="614"/>
                    <a:pt x="534" y="613"/>
                  </a:cubicBezTo>
                  <a:cubicBezTo>
                    <a:pt x="534" y="611"/>
                    <a:pt x="533" y="609"/>
                    <a:pt x="533" y="607"/>
                  </a:cubicBezTo>
                  <a:cubicBezTo>
                    <a:pt x="532" y="605"/>
                    <a:pt x="531" y="604"/>
                    <a:pt x="529" y="604"/>
                  </a:cubicBezTo>
                  <a:cubicBezTo>
                    <a:pt x="529" y="603"/>
                    <a:pt x="528" y="601"/>
                    <a:pt x="527" y="600"/>
                  </a:cubicBezTo>
                  <a:cubicBezTo>
                    <a:pt x="526" y="598"/>
                    <a:pt x="526" y="597"/>
                    <a:pt x="524" y="597"/>
                  </a:cubicBezTo>
                  <a:cubicBezTo>
                    <a:pt x="523" y="597"/>
                    <a:pt x="522" y="597"/>
                    <a:pt x="521" y="597"/>
                  </a:cubicBezTo>
                  <a:cubicBezTo>
                    <a:pt x="520" y="596"/>
                    <a:pt x="520" y="596"/>
                    <a:pt x="520" y="595"/>
                  </a:cubicBezTo>
                  <a:cubicBezTo>
                    <a:pt x="519" y="594"/>
                    <a:pt x="518" y="594"/>
                    <a:pt x="517" y="593"/>
                  </a:cubicBezTo>
                  <a:cubicBezTo>
                    <a:pt x="516" y="592"/>
                    <a:pt x="516" y="591"/>
                    <a:pt x="515" y="590"/>
                  </a:cubicBezTo>
                  <a:cubicBezTo>
                    <a:pt x="514" y="590"/>
                    <a:pt x="512" y="591"/>
                    <a:pt x="511" y="590"/>
                  </a:cubicBezTo>
                  <a:cubicBezTo>
                    <a:pt x="510" y="590"/>
                    <a:pt x="509" y="590"/>
                    <a:pt x="508" y="590"/>
                  </a:cubicBezTo>
                  <a:cubicBezTo>
                    <a:pt x="506" y="590"/>
                    <a:pt x="506" y="589"/>
                    <a:pt x="504" y="589"/>
                  </a:cubicBezTo>
                  <a:cubicBezTo>
                    <a:pt x="503" y="585"/>
                    <a:pt x="503" y="581"/>
                    <a:pt x="503" y="577"/>
                  </a:cubicBezTo>
                  <a:cubicBezTo>
                    <a:pt x="503" y="575"/>
                    <a:pt x="503" y="574"/>
                    <a:pt x="503" y="572"/>
                  </a:cubicBezTo>
                  <a:cubicBezTo>
                    <a:pt x="504" y="571"/>
                    <a:pt x="504" y="568"/>
                    <a:pt x="505" y="567"/>
                  </a:cubicBezTo>
                  <a:cubicBezTo>
                    <a:pt x="506" y="566"/>
                    <a:pt x="507" y="566"/>
                    <a:pt x="508" y="565"/>
                  </a:cubicBezTo>
                  <a:cubicBezTo>
                    <a:pt x="509" y="564"/>
                    <a:pt x="509" y="562"/>
                    <a:pt x="509" y="561"/>
                  </a:cubicBezTo>
                  <a:cubicBezTo>
                    <a:pt x="509" y="558"/>
                    <a:pt x="510" y="555"/>
                    <a:pt x="511" y="553"/>
                  </a:cubicBezTo>
                  <a:cubicBezTo>
                    <a:pt x="512" y="552"/>
                    <a:pt x="513" y="551"/>
                    <a:pt x="514" y="550"/>
                  </a:cubicBezTo>
                  <a:cubicBezTo>
                    <a:pt x="515" y="550"/>
                    <a:pt x="515" y="550"/>
                    <a:pt x="515" y="549"/>
                  </a:cubicBezTo>
                  <a:cubicBezTo>
                    <a:pt x="516" y="549"/>
                    <a:pt x="516" y="548"/>
                    <a:pt x="516" y="548"/>
                  </a:cubicBezTo>
                  <a:cubicBezTo>
                    <a:pt x="517" y="546"/>
                    <a:pt x="518" y="544"/>
                    <a:pt x="518" y="543"/>
                  </a:cubicBezTo>
                  <a:cubicBezTo>
                    <a:pt x="519" y="541"/>
                    <a:pt x="519" y="540"/>
                    <a:pt x="520" y="538"/>
                  </a:cubicBezTo>
                  <a:cubicBezTo>
                    <a:pt x="521" y="537"/>
                    <a:pt x="521" y="536"/>
                    <a:pt x="522" y="535"/>
                  </a:cubicBezTo>
                  <a:cubicBezTo>
                    <a:pt x="523" y="534"/>
                    <a:pt x="523" y="534"/>
                    <a:pt x="523" y="533"/>
                  </a:cubicBezTo>
                  <a:cubicBezTo>
                    <a:pt x="524" y="532"/>
                    <a:pt x="524" y="532"/>
                    <a:pt x="525" y="531"/>
                  </a:cubicBezTo>
                  <a:cubicBezTo>
                    <a:pt x="526" y="530"/>
                    <a:pt x="526" y="529"/>
                    <a:pt x="527" y="528"/>
                  </a:cubicBezTo>
                  <a:cubicBezTo>
                    <a:pt x="528" y="527"/>
                    <a:pt x="530" y="526"/>
                    <a:pt x="531" y="525"/>
                  </a:cubicBezTo>
                  <a:cubicBezTo>
                    <a:pt x="533" y="524"/>
                    <a:pt x="535" y="521"/>
                    <a:pt x="537" y="522"/>
                  </a:cubicBezTo>
                  <a:cubicBezTo>
                    <a:pt x="538" y="523"/>
                    <a:pt x="539" y="524"/>
                    <a:pt x="539" y="525"/>
                  </a:cubicBezTo>
                  <a:cubicBezTo>
                    <a:pt x="540" y="525"/>
                    <a:pt x="540" y="526"/>
                    <a:pt x="541" y="527"/>
                  </a:cubicBezTo>
                  <a:cubicBezTo>
                    <a:pt x="542" y="528"/>
                    <a:pt x="542" y="528"/>
                    <a:pt x="543" y="530"/>
                  </a:cubicBezTo>
                  <a:cubicBezTo>
                    <a:pt x="543" y="531"/>
                    <a:pt x="545" y="533"/>
                    <a:pt x="546" y="534"/>
                  </a:cubicBezTo>
                  <a:cubicBezTo>
                    <a:pt x="547" y="534"/>
                    <a:pt x="547" y="534"/>
                    <a:pt x="548" y="534"/>
                  </a:cubicBezTo>
                  <a:cubicBezTo>
                    <a:pt x="548" y="535"/>
                    <a:pt x="548" y="536"/>
                    <a:pt x="549" y="536"/>
                  </a:cubicBezTo>
                  <a:cubicBezTo>
                    <a:pt x="551" y="537"/>
                    <a:pt x="552" y="538"/>
                    <a:pt x="554" y="539"/>
                  </a:cubicBezTo>
                  <a:cubicBezTo>
                    <a:pt x="555" y="540"/>
                    <a:pt x="557" y="540"/>
                    <a:pt x="558" y="540"/>
                  </a:cubicBezTo>
                  <a:cubicBezTo>
                    <a:pt x="559" y="541"/>
                    <a:pt x="559" y="541"/>
                    <a:pt x="561" y="542"/>
                  </a:cubicBezTo>
                  <a:cubicBezTo>
                    <a:pt x="561" y="542"/>
                    <a:pt x="562" y="542"/>
                    <a:pt x="562" y="542"/>
                  </a:cubicBezTo>
                  <a:cubicBezTo>
                    <a:pt x="563" y="543"/>
                    <a:pt x="564" y="542"/>
                    <a:pt x="565" y="542"/>
                  </a:cubicBezTo>
                  <a:cubicBezTo>
                    <a:pt x="567" y="542"/>
                    <a:pt x="568" y="542"/>
                    <a:pt x="570" y="542"/>
                  </a:cubicBezTo>
                  <a:cubicBezTo>
                    <a:pt x="571" y="542"/>
                    <a:pt x="571" y="542"/>
                    <a:pt x="572" y="542"/>
                  </a:cubicBezTo>
                  <a:cubicBezTo>
                    <a:pt x="572" y="542"/>
                    <a:pt x="572" y="541"/>
                    <a:pt x="573" y="541"/>
                  </a:cubicBezTo>
                  <a:cubicBezTo>
                    <a:pt x="574" y="541"/>
                    <a:pt x="575" y="543"/>
                    <a:pt x="575" y="544"/>
                  </a:cubicBezTo>
                  <a:cubicBezTo>
                    <a:pt x="576" y="545"/>
                    <a:pt x="576" y="546"/>
                    <a:pt x="578" y="547"/>
                  </a:cubicBezTo>
                  <a:cubicBezTo>
                    <a:pt x="579" y="547"/>
                    <a:pt x="580" y="548"/>
                    <a:pt x="581" y="549"/>
                  </a:cubicBezTo>
                  <a:cubicBezTo>
                    <a:pt x="581" y="551"/>
                    <a:pt x="582" y="553"/>
                    <a:pt x="582" y="555"/>
                  </a:cubicBezTo>
                  <a:cubicBezTo>
                    <a:pt x="582" y="559"/>
                    <a:pt x="583" y="562"/>
                    <a:pt x="583" y="566"/>
                  </a:cubicBezTo>
                  <a:cubicBezTo>
                    <a:pt x="583" y="568"/>
                    <a:pt x="582" y="572"/>
                    <a:pt x="584" y="574"/>
                  </a:cubicBezTo>
                  <a:cubicBezTo>
                    <a:pt x="585" y="575"/>
                    <a:pt x="588" y="576"/>
                    <a:pt x="589" y="577"/>
                  </a:cubicBezTo>
                  <a:cubicBezTo>
                    <a:pt x="591" y="578"/>
                    <a:pt x="593" y="579"/>
                    <a:pt x="595" y="580"/>
                  </a:cubicBezTo>
                  <a:cubicBezTo>
                    <a:pt x="597" y="580"/>
                    <a:pt x="598" y="581"/>
                    <a:pt x="600" y="582"/>
                  </a:cubicBezTo>
                  <a:cubicBezTo>
                    <a:pt x="601" y="582"/>
                    <a:pt x="604" y="582"/>
                    <a:pt x="605" y="582"/>
                  </a:cubicBezTo>
                  <a:cubicBezTo>
                    <a:pt x="606" y="581"/>
                    <a:pt x="605" y="579"/>
                    <a:pt x="605" y="578"/>
                  </a:cubicBezTo>
                  <a:cubicBezTo>
                    <a:pt x="605" y="577"/>
                    <a:pt x="606" y="576"/>
                    <a:pt x="606" y="574"/>
                  </a:cubicBezTo>
                  <a:cubicBezTo>
                    <a:pt x="606" y="572"/>
                    <a:pt x="606" y="570"/>
                    <a:pt x="606" y="568"/>
                  </a:cubicBezTo>
                  <a:cubicBezTo>
                    <a:pt x="607" y="565"/>
                    <a:pt x="608" y="562"/>
                    <a:pt x="610" y="560"/>
                  </a:cubicBezTo>
                  <a:cubicBezTo>
                    <a:pt x="611" y="559"/>
                    <a:pt x="612" y="559"/>
                    <a:pt x="612" y="557"/>
                  </a:cubicBezTo>
                  <a:cubicBezTo>
                    <a:pt x="612" y="556"/>
                    <a:pt x="612" y="555"/>
                    <a:pt x="612" y="555"/>
                  </a:cubicBezTo>
                  <a:cubicBezTo>
                    <a:pt x="612" y="554"/>
                    <a:pt x="612" y="552"/>
                    <a:pt x="612" y="55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7" name="Freeform 19">
              <a:extLst>
                <a:ext uri="{FF2B5EF4-FFF2-40B4-BE49-F238E27FC236}">
                  <a16:creationId xmlns:a16="http://schemas.microsoft.com/office/drawing/2014/main" id="{45082043-7B91-493F-B794-D2CFD0A6E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6280150"/>
              <a:ext cx="320675" cy="239713"/>
            </a:xfrm>
            <a:custGeom>
              <a:avLst/>
              <a:gdLst/>
              <a:ahLst/>
              <a:cxnLst>
                <a:cxn ang="0">
                  <a:pos x="135" y="7"/>
                </a:cxn>
                <a:cxn ang="0">
                  <a:pos x="121" y="12"/>
                </a:cxn>
                <a:cxn ang="0">
                  <a:pos x="110" y="16"/>
                </a:cxn>
                <a:cxn ang="0">
                  <a:pos x="103" y="19"/>
                </a:cxn>
                <a:cxn ang="0">
                  <a:pos x="86" y="19"/>
                </a:cxn>
                <a:cxn ang="0">
                  <a:pos x="77" y="17"/>
                </a:cxn>
                <a:cxn ang="0">
                  <a:pos x="67" y="19"/>
                </a:cxn>
                <a:cxn ang="0">
                  <a:pos x="58" y="14"/>
                </a:cxn>
                <a:cxn ang="0">
                  <a:pos x="53" y="6"/>
                </a:cxn>
                <a:cxn ang="0">
                  <a:pos x="37" y="1"/>
                </a:cxn>
                <a:cxn ang="0">
                  <a:pos x="32" y="14"/>
                </a:cxn>
                <a:cxn ang="0">
                  <a:pos x="22" y="9"/>
                </a:cxn>
                <a:cxn ang="0">
                  <a:pos x="15" y="3"/>
                </a:cxn>
                <a:cxn ang="0">
                  <a:pos x="6" y="14"/>
                </a:cxn>
                <a:cxn ang="0">
                  <a:pos x="7" y="28"/>
                </a:cxn>
                <a:cxn ang="0">
                  <a:pos x="1" y="34"/>
                </a:cxn>
                <a:cxn ang="0">
                  <a:pos x="6" y="47"/>
                </a:cxn>
                <a:cxn ang="0">
                  <a:pos x="13" y="51"/>
                </a:cxn>
                <a:cxn ang="0">
                  <a:pos x="35" y="57"/>
                </a:cxn>
                <a:cxn ang="0">
                  <a:pos x="52" y="69"/>
                </a:cxn>
                <a:cxn ang="0">
                  <a:pos x="69" y="88"/>
                </a:cxn>
                <a:cxn ang="0">
                  <a:pos x="77" y="88"/>
                </a:cxn>
                <a:cxn ang="0">
                  <a:pos x="83" y="90"/>
                </a:cxn>
                <a:cxn ang="0">
                  <a:pos x="92" y="94"/>
                </a:cxn>
                <a:cxn ang="0">
                  <a:pos x="103" y="109"/>
                </a:cxn>
                <a:cxn ang="0">
                  <a:pos x="109" y="125"/>
                </a:cxn>
                <a:cxn ang="0">
                  <a:pos x="122" y="126"/>
                </a:cxn>
                <a:cxn ang="0">
                  <a:pos x="144" y="121"/>
                </a:cxn>
                <a:cxn ang="0">
                  <a:pos x="142" y="106"/>
                </a:cxn>
                <a:cxn ang="0">
                  <a:pos x="150" y="98"/>
                </a:cxn>
                <a:cxn ang="0">
                  <a:pos x="147" y="87"/>
                </a:cxn>
                <a:cxn ang="0">
                  <a:pos x="148" y="79"/>
                </a:cxn>
                <a:cxn ang="0">
                  <a:pos x="141" y="61"/>
                </a:cxn>
                <a:cxn ang="0">
                  <a:pos x="156" y="52"/>
                </a:cxn>
                <a:cxn ang="0">
                  <a:pos x="163" y="45"/>
                </a:cxn>
                <a:cxn ang="0">
                  <a:pos x="154" y="42"/>
                </a:cxn>
                <a:cxn ang="0">
                  <a:pos x="159" y="31"/>
                </a:cxn>
                <a:cxn ang="0">
                  <a:pos x="164" y="19"/>
                </a:cxn>
                <a:cxn ang="0">
                  <a:pos x="167" y="10"/>
                </a:cxn>
                <a:cxn ang="0">
                  <a:pos x="168" y="1"/>
                </a:cxn>
                <a:cxn ang="0">
                  <a:pos x="144" y="12"/>
                </a:cxn>
              </a:cxnLst>
              <a:rect l="0" t="0" r="r" b="b"/>
              <a:pathLst>
                <a:path w="171" h="128">
                  <a:moveTo>
                    <a:pt x="144" y="12"/>
                  </a:moveTo>
                  <a:cubicBezTo>
                    <a:pt x="141" y="11"/>
                    <a:pt x="138" y="8"/>
                    <a:pt x="135" y="7"/>
                  </a:cubicBezTo>
                  <a:cubicBezTo>
                    <a:pt x="133" y="7"/>
                    <a:pt x="132" y="8"/>
                    <a:pt x="130" y="8"/>
                  </a:cubicBezTo>
                  <a:cubicBezTo>
                    <a:pt x="126" y="8"/>
                    <a:pt x="123" y="10"/>
                    <a:pt x="121" y="12"/>
                  </a:cubicBezTo>
                  <a:cubicBezTo>
                    <a:pt x="120" y="13"/>
                    <a:pt x="118" y="14"/>
                    <a:pt x="117" y="15"/>
                  </a:cubicBezTo>
                  <a:cubicBezTo>
                    <a:pt x="115" y="16"/>
                    <a:pt x="113" y="15"/>
                    <a:pt x="110" y="16"/>
                  </a:cubicBezTo>
                  <a:cubicBezTo>
                    <a:pt x="109" y="17"/>
                    <a:pt x="108" y="17"/>
                    <a:pt x="106" y="17"/>
                  </a:cubicBezTo>
                  <a:cubicBezTo>
                    <a:pt x="105" y="18"/>
                    <a:pt x="105" y="19"/>
                    <a:pt x="103" y="19"/>
                  </a:cubicBezTo>
                  <a:cubicBezTo>
                    <a:pt x="100" y="21"/>
                    <a:pt x="95" y="19"/>
                    <a:pt x="91" y="19"/>
                  </a:cubicBezTo>
                  <a:cubicBezTo>
                    <a:pt x="90" y="19"/>
                    <a:pt x="87" y="20"/>
                    <a:pt x="86" y="19"/>
                  </a:cubicBezTo>
                  <a:cubicBezTo>
                    <a:pt x="85" y="19"/>
                    <a:pt x="86" y="18"/>
                    <a:pt x="85" y="18"/>
                  </a:cubicBezTo>
                  <a:cubicBezTo>
                    <a:pt x="82" y="17"/>
                    <a:pt x="80" y="17"/>
                    <a:pt x="77" y="17"/>
                  </a:cubicBezTo>
                  <a:cubicBezTo>
                    <a:pt x="74" y="17"/>
                    <a:pt x="71" y="17"/>
                    <a:pt x="68" y="18"/>
                  </a:cubicBezTo>
                  <a:cubicBezTo>
                    <a:pt x="67" y="19"/>
                    <a:pt x="68" y="19"/>
                    <a:pt x="67" y="19"/>
                  </a:cubicBezTo>
                  <a:cubicBezTo>
                    <a:pt x="65" y="20"/>
                    <a:pt x="64" y="19"/>
                    <a:pt x="63" y="18"/>
                  </a:cubicBezTo>
                  <a:cubicBezTo>
                    <a:pt x="61" y="17"/>
                    <a:pt x="59" y="15"/>
                    <a:pt x="58" y="14"/>
                  </a:cubicBezTo>
                  <a:cubicBezTo>
                    <a:pt x="57" y="13"/>
                    <a:pt x="57" y="11"/>
                    <a:pt x="56" y="10"/>
                  </a:cubicBezTo>
                  <a:cubicBezTo>
                    <a:pt x="55" y="9"/>
                    <a:pt x="54" y="8"/>
                    <a:pt x="53" y="6"/>
                  </a:cubicBezTo>
                  <a:cubicBezTo>
                    <a:pt x="51" y="3"/>
                    <a:pt x="49" y="1"/>
                    <a:pt x="44" y="0"/>
                  </a:cubicBezTo>
                  <a:cubicBezTo>
                    <a:pt x="42" y="0"/>
                    <a:pt x="39" y="0"/>
                    <a:pt x="37" y="1"/>
                  </a:cubicBezTo>
                  <a:cubicBezTo>
                    <a:pt x="36" y="2"/>
                    <a:pt x="37" y="6"/>
                    <a:pt x="36" y="7"/>
                  </a:cubicBezTo>
                  <a:cubicBezTo>
                    <a:pt x="36" y="11"/>
                    <a:pt x="34" y="12"/>
                    <a:pt x="32" y="14"/>
                  </a:cubicBezTo>
                  <a:cubicBezTo>
                    <a:pt x="31" y="14"/>
                    <a:pt x="28" y="16"/>
                    <a:pt x="27" y="16"/>
                  </a:cubicBezTo>
                  <a:cubicBezTo>
                    <a:pt x="26" y="16"/>
                    <a:pt x="23" y="10"/>
                    <a:pt x="22" y="9"/>
                  </a:cubicBezTo>
                  <a:cubicBezTo>
                    <a:pt x="21" y="7"/>
                    <a:pt x="20" y="3"/>
                    <a:pt x="19" y="2"/>
                  </a:cubicBezTo>
                  <a:cubicBezTo>
                    <a:pt x="18" y="1"/>
                    <a:pt x="16" y="2"/>
                    <a:pt x="15" y="3"/>
                  </a:cubicBezTo>
                  <a:cubicBezTo>
                    <a:pt x="14" y="5"/>
                    <a:pt x="15" y="6"/>
                    <a:pt x="13" y="8"/>
                  </a:cubicBezTo>
                  <a:cubicBezTo>
                    <a:pt x="10" y="10"/>
                    <a:pt x="7" y="11"/>
                    <a:pt x="6" y="14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21"/>
                    <a:pt x="8" y="25"/>
                    <a:pt x="7" y="28"/>
                  </a:cubicBezTo>
                  <a:cubicBezTo>
                    <a:pt x="7" y="30"/>
                    <a:pt x="5" y="30"/>
                    <a:pt x="4" y="31"/>
                  </a:cubicBezTo>
                  <a:cubicBezTo>
                    <a:pt x="3" y="31"/>
                    <a:pt x="2" y="33"/>
                    <a:pt x="1" y="34"/>
                  </a:cubicBezTo>
                  <a:cubicBezTo>
                    <a:pt x="0" y="37"/>
                    <a:pt x="2" y="41"/>
                    <a:pt x="3" y="43"/>
                  </a:cubicBezTo>
                  <a:cubicBezTo>
                    <a:pt x="4" y="46"/>
                    <a:pt x="4" y="46"/>
                    <a:pt x="6" y="47"/>
                  </a:cubicBezTo>
                  <a:cubicBezTo>
                    <a:pt x="8" y="47"/>
                    <a:pt x="9" y="47"/>
                    <a:pt x="11" y="48"/>
                  </a:cubicBezTo>
                  <a:cubicBezTo>
                    <a:pt x="11" y="49"/>
                    <a:pt x="12" y="50"/>
                    <a:pt x="13" y="51"/>
                  </a:cubicBezTo>
                  <a:cubicBezTo>
                    <a:pt x="16" y="54"/>
                    <a:pt x="19" y="52"/>
                    <a:pt x="23" y="52"/>
                  </a:cubicBezTo>
                  <a:cubicBezTo>
                    <a:pt x="28" y="52"/>
                    <a:pt x="32" y="52"/>
                    <a:pt x="35" y="57"/>
                  </a:cubicBezTo>
                  <a:cubicBezTo>
                    <a:pt x="37" y="60"/>
                    <a:pt x="40" y="60"/>
                    <a:pt x="43" y="62"/>
                  </a:cubicBezTo>
                  <a:cubicBezTo>
                    <a:pt x="46" y="63"/>
                    <a:pt x="50" y="66"/>
                    <a:pt x="52" y="69"/>
                  </a:cubicBezTo>
                  <a:cubicBezTo>
                    <a:pt x="54" y="74"/>
                    <a:pt x="58" y="81"/>
                    <a:pt x="62" y="84"/>
                  </a:cubicBezTo>
                  <a:cubicBezTo>
                    <a:pt x="64" y="85"/>
                    <a:pt x="67" y="86"/>
                    <a:pt x="69" y="88"/>
                  </a:cubicBezTo>
                  <a:cubicBezTo>
                    <a:pt x="71" y="88"/>
                    <a:pt x="72" y="89"/>
                    <a:pt x="74" y="89"/>
                  </a:cubicBezTo>
                  <a:cubicBezTo>
                    <a:pt x="75" y="89"/>
                    <a:pt x="75" y="88"/>
                    <a:pt x="77" y="88"/>
                  </a:cubicBezTo>
                  <a:cubicBezTo>
                    <a:pt x="78" y="88"/>
                    <a:pt x="79" y="89"/>
                    <a:pt x="80" y="90"/>
                  </a:cubicBezTo>
                  <a:cubicBezTo>
                    <a:pt x="81" y="90"/>
                    <a:pt x="82" y="90"/>
                    <a:pt x="83" y="90"/>
                  </a:cubicBezTo>
                  <a:cubicBezTo>
                    <a:pt x="85" y="90"/>
                    <a:pt x="86" y="90"/>
                    <a:pt x="88" y="90"/>
                  </a:cubicBezTo>
                  <a:cubicBezTo>
                    <a:pt x="91" y="90"/>
                    <a:pt x="91" y="92"/>
                    <a:pt x="92" y="94"/>
                  </a:cubicBezTo>
                  <a:cubicBezTo>
                    <a:pt x="94" y="97"/>
                    <a:pt x="97" y="98"/>
                    <a:pt x="100" y="101"/>
                  </a:cubicBezTo>
                  <a:cubicBezTo>
                    <a:pt x="103" y="103"/>
                    <a:pt x="103" y="106"/>
                    <a:pt x="103" y="109"/>
                  </a:cubicBezTo>
                  <a:cubicBezTo>
                    <a:pt x="103" y="113"/>
                    <a:pt x="103" y="117"/>
                    <a:pt x="105" y="121"/>
                  </a:cubicBezTo>
                  <a:cubicBezTo>
                    <a:pt x="106" y="124"/>
                    <a:pt x="106" y="125"/>
                    <a:pt x="109" y="125"/>
                  </a:cubicBezTo>
                  <a:cubicBezTo>
                    <a:pt x="111" y="125"/>
                    <a:pt x="114" y="124"/>
                    <a:pt x="116" y="124"/>
                  </a:cubicBezTo>
                  <a:cubicBezTo>
                    <a:pt x="118" y="124"/>
                    <a:pt x="120" y="125"/>
                    <a:pt x="122" y="126"/>
                  </a:cubicBezTo>
                  <a:cubicBezTo>
                    <a:pt x="127" y="128"/>
                    <a:pt x="132" y="127"/>
                    <a:pt x="136" y="128"/>
                  </a:cubicBezTo>
                  <a:cubicBezTo>
                    <a:pt x="140" y="128"/>
                    <a:pt x="146" y="125"/>
                    <a:pt x="144" y="121"/>
                  </a:cubicBezTo>
                  <a:cubicBezTo>
                    <a:pt x="143" y="117"/>
                    <a:pt x="138" y="114"/>
                    <a:pt x="140" y="110"/>
                  </a:cubicBezTo>
                  <a:cubicBezTo>
                    <a:pt x="140" y="108"/>
                    <a:pt x="141" y="107"/>
                    <a:pt x="142" y="106"/>
                  </a:cubicBezTo>
                  <a:cubicBezTo>
                    <a:pt x="144" y="103"/>
                    <a:pt x="146" y="103"/>
                    <a:pt x="148" y="101"/>
                  </a:cubicBezTo>
                  <a:cubicBezTo>
                    <a:pt x="149" y="100"/>
                    <a:pt x="149" y="99"/>
                    <a:pt x="150" y="98"/>
                  </a:cubicBezTo>
                  <a:cubicBezTo>
                    <a:pt x="152" y="97"/>
                    <a:pt x="153" y="97"/>
                    <a:pt x="153" y="94"/>
                  </a:cubicBezTo>
                  <a:cubicBezTo>
                    <a:pt x="153" y="89"/>
                    <a:pt x="149" y="91"/>
                    <a:pt x="147" y="87"/>
                  </a:cubicBezTo>
                  <a:cubicBezTo>
                    <a:pt x="146" y="86"/>
                    <a:pt x="146" y="84"/>
                    <a:pt x="146" y="83"/>
                  </a:cubicBezTo>
                  <a:cubicBezTo>
                    <a:pt x="146" y="81"/>
                    <a:pt x="147" y="81"/>
                    <a:pt x="148" y="79"/>
                  </a:cubicBezTo>
                  <a:cubicBezTo>
                    <a:pt x="149" y="76"/>
                    <a:pt x="143" y="72"/>
                    <a:pt x="142" y="70"/>
                  </a:cubicBezTo>
                  <a:cubicBezTo>
                    <a:pt x="139" y="66"/>
                    <a:pt x="140" y="65"/>
                    <a:pt x="141" y="61"/>
                  </a:cubicBezTo>
                  <a:cubicBezTo>
                    <a:pt x="142" y="57"/>
                    <a:pt x="147" y="52"/>
                    <a:pt x="151" y="52"/>
                  </a:cubicBezTo>
                  <a:cubicBezTo>
                    <a:pt x="153" y="52"/>
                    <a:pt x="154" y="52"/>
                    <a:pt x="156" y="52"/>
                  </a:cubicBezTo>
                  <a:cubicBezTo>
                    <a:pt x="157" y="53"/>
                    <a:pt x="158" y="55"/>
                    <a:pt x="160" y="54"/>
                  </a:cubicBezTo>
                  <a:cubicBezTo>
                    <a:pt x="165" y="53"/>
                    <a:pt x="167" y="48"/>
                    <a:pt x="163" y="45"/>
                  </a:cubicBezTo>
                  <a:cubicBezTo>
                    <a:pt x="162" y="44"/>
                    <a:pt x="160" y="43"/>
                    <a:pt x="158" y="43"/>
                  </a:cubicBezTo>
                  <a:cubicBezTo>
                    <a:pt x="157" y="42"/>
                    <a:pt x="155" y="43"/>
                    <a:pt x="154" y="42"/>
                  </a:cubicBezTo>
                  <a:cubicBezTo>
                    <a:pt x="152" y="41"/>
                    <a:pt x="152" y="37"/>
                    <a:pt x="152" y="35"/>
                  </a:cubicBezTo>
                  <a:cubicBezTo>
                    <a:pt x="153" y="31"/>
                    <a:pt x="156" y="31"/>
                    <a:pt x="159" y="31"/>
                  </a:cubicBezTo>
                  <a:cubicBezTo>
                    <a:pt x="165" y="29"/>
                    <a:pt x="162" y="27"/>
                    <a:pt x="163" y="22"/>
                  </a:cubicBezTo>
                  <a:cubicBezTo>
                    <a:pt x="163" y="21"/>
                    <a:pt x="164" y="20"/>
                    <a:pt x="164" y="19"/>
                  </a:cubicBezTo>
                  <a:cubicBezTo>
                    <a:pt x="164" y="17"/>
                    <a:pt x="163" y="15"/>
                    <a:pt x="164" y="14"/>
                  </a:cubicBezTo>
                  <a:cubicBezTo>
                    <a:pt x="164" y="12"/>
                    <a:pt x="166" y="11"/>
                    <a:pt x="167" y="10"/>
                  </a:cubicBezTo>
                  <a:cubicBezTo>
                    <a:pt x="169" y="9"/>
                    <a:pt x="170" y="6"/>
                    <a:pt x="171" y="5"/>
                  </a:cubicBezTo>
                  <a:cubicBezTo>
                    <a:pt x="171" y="3"/>
                    <a:pt x="170" y="1"/>
                    <a:pt x="168" y="1"/>
                  </a:cubicBezTo>
                  <a:cubicBezTo>
                    <a:pt x="166" y="1"/>
                    <a:pt x="165" y="4"/>
                    <a:pt x="164" y="5"/>
                  </a:cubicBezTo>
                  <a:lnTo>
                    <a:pt x="144" y="1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8" name="Freeform 20">
              <a:extLst>
                <a:ext uri="{FF2B5EF4-FFF2-40B4-BE49-F238E27FC236}">
                  <a16:creationId xmlns:a16="http://schemas.microsoft.com/office/drawing/2014/main" id="{1C238F5B-0739-4F04-A317-D210EEDC5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0688" y="5835650"/>
              <a:ext cx="161925" cy="334963"/>
            </a:xfrm>
            <a:custGeom>
              <a:avLst/>
              <a:gdLst/>
              <a:ahLst/>
              <a:cxnLst>
                <a:cxn ang="0">
                  <a:pos x="69" y="8"/>
                </a:cxn>
                <a:cxn ang="0">
                  <a:pos x="74" y="14"/>
                </a:cxn>
                <a:cxn ang="0">
                  <a:pos x="77" y="21"/>
                </a:cxn>
                <a:cxn ang="0">
                  <a:pos x="77" y="28"/>
                </a:cxn>
                <a:cxn ang="0">
                  <a:pos x="85" y="34"/>
                </a:cxn>
                <a:cxn ang="0">
                  <a:pos x="87" y="46"/>
                </a:cxn>
                <a:cxn ang="0">
                  <a:pos x="86" y="56"/>
                </a:cxn>
                <a:cxn ang="0">
                  <a:pos x="85" y="65"/>
                </a:cxn>
                <a:cxn ang="0">
                  <a:pos x="83" y="72"/>
                </a:cxn>
                <a:cxn ang="0">
                  <a:pos x="77" y="76"/>
                </a:cxn>
                <a:cxn ang="0">
                  <a:pos x="75" y="80"/>
                </a:cxn>
                <a:cxn ang="0">
                  <a:pos x="79" y="90"/>
                </a:cxn>
                <a:cxn ang="0">
                  <a:pos x="76" y="114"/>
                </a:cxn>
                <a:cxn ang="0">
                  <a:pos x="75" y="126"/>
                </a:cxn>
                <a:cxn ang="0">
                  <a:pos x="74" y="132"/>
                </a:cxn>
                <a:cxn ang="0">
                  <a:pos x="73" y="138"/>
                </a:cxn>
                <a:cxn ang="0">
                  <a:pos x="72" y="145"/>
                </a:cxn>
                <a:cxn ang="0">
                  <a:pos x="70" y="152"/>
                </a:cxn>
                <a:cxn ang="0">
                  <a:pos x="69" y="153"/>
                </a:cxn>
                <a:cxn ang="0">
                  <a:pos x="68" y="162"/>
                </a:cxn>
                <a:cxn ang="0">
                  <a:pos x="64" y="162"/>
                </a:cxn>
                <a:cxn ang="0">
                  <a:pos x="57" y="156"/>
                </a:cxn>
                <a:cxn ang="0">
                  <a:pos x="53" y="155"/>
                </a:cxn>
                <a:cxn ang="0">
                  <a:pos x="40" y="150"/>
                </a:cxn>
                <a:cxn ang="0">
                  <a:pos x="41" y="157"/>
                </a:cxn>
                <a:cxn ang="0">
                  <a:pos x="34" y="175"/>
                </a:cxn>
                <a:cxn ang="0">
                  <a:pos x="21" y="178"/>
                </a:cxn>
                <a:cxn ang="0">
                  <a:pos x="17" y="179"/>
                </a:cxn>
                <a:cxn ang="0">
                  <a:pos x="14" y="165"/>
                </a:cxn>
                <a:cxn ang="0">
                  <a:pos x="8" y="155"/>
                </a:cxn>
                <a:cxn ang="0">
                  <a:pos x="6" y="151"/>
                </a:cxn>
                <a:cxn ang="0">
                  <a:pos x="9" y="138"/>
                </a:cxn>
                <a:cxn ang="0">
                  <a:pos x="14" y="131"/>
                </a:cxn>
                <a:cxn ang="0">
                  <a:pos x="12" y="120"/>
                </a:cxn>
                <a:cxn ang="0">
                  <a:pos x="17" y="116"/>
                </a:cxn>
                <a:cxn ang="0">
                  <a:pos x="19" y="110"/>
                </a:cxn>
                <a:cxn ang="0">
                  <a:pos x="18" y="104"/>
                </a:cxn>
                <a:cxn ang="0">
                  <a:pos x="13" y="102"/>
                </a:cxn>
                <a:cxn ang="0">
                  <a:pos x="10" y="105"/>
                </a:cxn>
                <a:cxn ang="0">
                  <a:pos x="11" y="98"/>
                </a:cxn>
                <a:cxn ang="0">
                  <a:pos x="13" y="88"/>
                </a:cxn>
                <a:cxn ang="0">
                  <a:pos x="17" y="85"/>
                </a:cxn>
                <a:cxn ang="0">
                  <a:pos x="17" y="68"/>
                </a:cxn>
                <a:cxn ang="0">
                  <a:pos x="12" y="58"/>
                </a:cxn>
                <a:cxn ang="0">
                  <a:pos x="11" y="52"/>
                </a:cxn>
                <a:cxn ang="0">
                  <a:pos x="8" y="48"/>
                </a:cxn>
                <a:cxn ang="0">
                  <a:pos x="3" y="43"/>
                </a:cxn>
                <a:cxn ang="0">
                  <a:pos x="6" y="32"/>
                </a:cxn>
                <a:cxn ang="0">
                  <a:pos x="7" y="24"/>
                </a:cxn>
                <a:cxn ang="0">
                  <a:pos x="9" y="16"/>
                </a:cxn>
                <a:cxn ang="0">
                  <a:pos x="13" y="12"/>
                </a:cxn>
                <a:cxn ang="0">
                  <a:pos x="10" y="19"/>
                </a:cxn>
                <a:cxn ang="0">
                  <a:pos x="17" y="22"/>
                </a:cxn>
                <a:cxn ang="0">
                  <a:pos x="27" y="23"/>
                </a:cxn>
                <a:cxn ang="0">
                  <a:pos x="32" y="25"/>
                </a:cxn>
                <a:cxn ang="0">
                  <a:pos x="38" y="22"/>
                </a:cxn>
                <a:cxn ang="0">
                  <a:pos x="47" y="14"/>
                </a:cxn>
                <a:cxn ang="0">
                  <a:pos x="52" y="10"/>
                </a:cxn>
                <a:cxn ang="0">
                  <a:pos x="56" y="2"/>
                </a:cxn>
              </a:cxnLst>
              <a:rect l="0" t="0" r="r" b="b"/>
              <a:pathLst>
                <a:path w="87" h="179">
                  <a:moveTo>
                    <a:pt x="67" y="5"/>
                  </a:moveTo>
                  <a:cubicBezTo>
                    <a:pt x="67" y="6"/>
                    <a:pt x="68" y="8"/>
                    <a:pt x="69" y="8"/>
                  </a:cubicBezTo>
                  <a:cubicBezTo>
                    <a:pt x="71" y="9"/>
                    <a:pt x="73" y="9"/>
                    <a:pt x="73" y="11"/>
                  </a:cubicBezTo>
                  <a:cubicBezTo>
                    <a:pt x="74" y="12"/>
                    <a:pt x="73" y="13"/>
                    <a:pt x="74" y="14"/>
                  </a:cubicBezTo>
                  <a:cubicBezTo>
                    <a:pt x="74" y="15"/>
                    <a:pt x="75" y="14"/>
                    <a:pt x="76" y="15"/>
                  </a:cubicBezTo>
                  <a:cubicBezTo>
                    <a:pt x="77" y="16"/>
                    <a:pt x="77" y="19"/>
                    <a:pt x="77" y="21"/>
                  </a:cubicBezTo>
                  <a:cubicBezTo>
                    <a:pt x="77" y="22"/>
                    <a:pt x="77" y="23"/>
                    <a:pt x="76" y="25"/>
                  </a:cubicBezTo>
                  <a:cubicBezTo>
                    <a:pt x="76" y="26"/>
                    <a:pt x="76" y="27"/>
                    <a:pt x="77" y="28"/>
                  </a:cubicBezTo>
                  <a:cubicBezTo>
                    <a:pt x="79" y="30"/>
                    <a:pt x="81" y="29"/>
                    <a:pt x="83" y="30"/>
                  </a:cubicBezTo>
                  <a:cubicBezTo>
                    <a:pt x="85" y="31"/>
                    <a:pt x="85" y="32"/>
                    <a:pt x="85" y="34"/>
                  </a:cubicBezTo>
                  <a:cubicBezTo>
                    <a:pt x="85" y="37"/>
                    <a:pt x="87" y="40"/>
                    <a:pt x="87" y="43"/>
                  </a:cubicBezTo>
                  <a:cubicBezTo>
                    <a:pt x="87" y="44"/>
                    <a:pt x="87" y="45"/>
                    <a:pt x="87" y="46"/>
                  </a:cubicBezTo>
                  <a:cubicBezTo>
                    <a:pt x="87" y="48"/>
                    <a:pt x="86" y="49"/>
                    <a:pt x="86" y="50"/>
                  </a:cubicBezTo>
                  <a:cubicBezTo>
                    <a:pt x="86" y="52"/>
                    <a:pt x="86" y="54"/>
                    <a:pt x="86" y="56"/>
                  </a:cubicBezTo>
                  <a:cubicBezTo>
                    <a:pt x="86" y="58"/>
                    <a:pt x="86" y="60"/>
                    <a:pt x="86" y="62"/>
                  </a:cubicBezTo>
                  <a:cubicBezTo>
                    <a:pt x="85" y="63"/>
                    <a:pt x="85" y="64"/>
                    <a:pt x="85" y="65"/>
                  </a:cubicBezTo>
                  <a:cubicBezTo>
                    <a:pt x="85" y="66"/>
                    <a:pt x="85" y="67"/>
                    <a:pt x="85" y="68"/>
                  </a:cubicBezTo>
                  <a:cubicBezTo>
                    <a:pt x="84" y="69"/>
                    <a:pt x="83" y="71"/>
                    <a:pt x="83" y="72"/>
                  </a:cubicBezTo>
                  <a:cubicBezTo>
                    <a:pt x="82" y="73"/>
                    <a:pt x="81" y="74"/>
                    <a:pt x="81" y="74"/>
                  </a:cubicBezTo>
                  <a:cubicBezTo>
                    <a:pt x="79" y="75"/>
                    <a:pt x="77" y="74"/>
                    <a:pt x="77" y="76"/>
                  </a:cubicBezTo>
                  <a:cubicBezTo>
                    <a:pt x="76" y="76"/>
                    <a:pt x="77" y="77"/>
                    <a:pt x="76" y="78"/>
                  </a:cubicBezTo>
                  <a:cubicBezTo>
                    <a:pt x="76" y="79"/>
                    <a:pt x="76" y="79"/>
                    <a:pt x="75" y="80"/>
                  </a:cubicBezTo>
                  <a:cubicBezTo>
                    <a:pt x="75" y="81"/>
                    <a:pt x="75" y="84"/>
                    <a:pt x="76" y="86"/>
                  </a:cubicBezTo>
                  <a:cubicBezTo>
                    <a:pt x="77" y="87"/>
                    <a:pt x="78" y="88"/>
                    <a:pt x="79" y="90"/>
                  </a:cubicBezTo>
                  <a:cubicBezTo>
                    <a:pt x="79" y="91"/>
                    <a:pt x="80" y="92"/>
                    <a:pt x="80" y="94"/>
                  </a:cubicBezTo>
                  <a:cubicBezTo>
                    <a:pt x="79" y="101"/>
                    <a:pt x="77" y="107"/>
                    <a:pt x="76" y="114"/>
                  </a:cubicBezTo>
                  <a:cubicBezTo>
                    <a:pt x="76" y="117"/>
                    <a:pt x="76" y="119"/>
                    <a:pt x="76" y="122"/>
                  </a:cubicBezTo>
                  <a:cubicBezTo>
                    <a:pt x="76" y="123"/>
                    <a:pt x="76" y="125"/>
                    <a:pt x="75" y="126"/>
                  </a:cubicBezTo>
                  <a:cubicBezTo>
                    <a:pt x="75" y="128"/>
                    <a:pt x="75" y="129"/>
                    <a:pt x="75" y="130"/>
                  </a:cubicBezTo>
                  <a:cubicBezTo>
                    <a:pt x="75" y="131"/>
                    <a:pt x="74" y="131"/>
                    <a:pt x="74" y="132"/>
                  </a:cubicBezTo>
                  <a:cubicBezTo>
                    <a:pt x="74" y="133"/>
                    <a:pt x="74" y="134"/>
                    <a:pt x="73" y="135"/>
                  </a:cubicBezTo>
                  <a:cubicBezTo>
                    <a:pt x="73" y="136"/>
                    <a:pt x="73" y="137"/>
                    <a:pt x="73" y="138"/>
                  </a:cubicBezTo>
                  <a:cubicBezTo>
                    <a:pt x="72" y="140"/>
                    <a:pt x="73" y="142"/>
                    <a:pt x="72" y="143"/>
                  </a:cubicBezTo>
                  <a:cubicBezTo>
                    <a:pt x="72" y="144"/>
                    <a:pt x="72" y="145"/>
                    <a:pt x="72" y="145"/>
                  </a:cubicBezTo>
                  <a:cubicBezTo>
                    <a:pt x="71" y="147"/>
                    <a:pt x="71" y="148"/>
                    <a:pt x="71" y="150"/>
                  </a:cubicBezTo>
                  <a:cubicBezTo>
                    <a:pt x="71" y="151"/>
                    <a:pt x="70" y="151"/>
                    <a:pt x="70" y="152"/>
                  </a:cubicBezTo>
                  <a:cubicBezTo>
                    <a:pt x="70" y="152"/>
                    <a:pt x="69" y="152"/>
                    <a:pt x="69" y="153"/>
                  </a:cubicBezTo>
                  <a:cubicBezTo>
                    <a:pt x="69" y="153"/>
                    <a:pt x="69" y="153"/>
                    <a:pt x="69" y="153"/>
                  </a:cubicBezTo>
                  <a:cubicBezTo>
                    <a:pt x="68" y="155"/>
                    <a:pt x="68" y="156"/>
                    <a:pt x="68" y="158"/>
                  </a:cubicBezTo>
                  <a:cubicBezTo>
                    <a:pt x="68" y="158"/>
                    <a:pt x="68" y="161"/>
                    <a:pt x="68" y="162"/>
                  </a:cubicBezTo>
                  <a:cubicBezTo>
                    <a:pt x="67" y="162"/>
                    <a:pt x="67" y="161"/>
                    <a:pt x="66" y="161"/>
                  </a:cubicBezTo>
                  <a:cubicBezTo>
                    <a:pt x="65" y="161"/>
                    <a:pt x="65" y="162"/>
                    <a:pt x="64" y="162"/>
                  </a:cubicBezTo>
                  <a:cubicBezTo>
                    <a:pt x="63" y="163"/>
                    <a:pt x="61" y="163"/>
                    <a:pt x="60" y="161"/>
                  </a:cubicBezTo>
                  <a:cubicBezTo>
                    <a:pt x="59" y="159"/>
                    <a:pt x="59" y="158"/>
                    <a:pt x="57" y="156"/>
                  </a:cubicBezTo>
                  <a:cubicBezTo>
                    <a:pt x="57" y="155"/>
                    <a:pt x="57" y="155"/>
                    <a:pt x="55" y="155"/>
                  </a:cubicBezTo>
                  <a:cubicBezTo>
                    <a:pt x="55" y="154"/>
                    <a:pt x="54" y="155"/>
                    <a:pt x="53" y="155"/>
                  </a:cubicBezTo>
                  <a:cubicBezTo>
                    <a:pt x="49" y="154"/>
                    <a:pt x="47" y="152"/>
                    <a:pt x="44" y="150"/>
                  </a:cubicBezTo>
                  <a:cubicBezTo>
                    <a:pt x="44" y="150"/>
                    <a:pt x="41" y="149"/>
                    <a:pt x="40" y="150"/>
                  </a:cubicBezTo>
                  <a:cubicBezTo>
                    <a:pt x="39" y="152"/>
                    <a:pt x="42" y="153"/>
                    <a:pt x="42" y="154"/>
                  </a:cubicBezTo>
                  <a:cubicBezTo>
                    <a:pt x="43" y="155"/>
                    <a:pt x="42" y="156"/>
                    <a:pt x="41" y="157"/>
                  </a:cubicBezTo>
                  <a:cubicBezTo>
                    <a:pt x="39" y="160"/>
                    <a:pt x="41" y="162"/>
                    <a:pt x="41" y="166"/>
                  </a:cubicBezTo>
                  <a:cubicBezTo>
                    <a:pt x="41" y="170"/>
                    <a:pt x="38" y="173"/>
                    <a:pt x="34" y="175"/>
                  </a:cubicBezTo>
                  <a:cubicBezTo>
                    <a:pt x="31" y="176"/>
                    <a:pt x="28" y="176"/>
                    <a:pt x="25" y="177"/>
                  </a:cubicBezTo>
                  <a:cubicBezTo>
                    <a:pt x="24" y="177"/>
                    <a:pt x="23" y="178"/>
                    <a:pt x="21" y="178"/>
                  </a:cubicBezTo>
                  <a:cubicBezTo>
                    <a:pt x="21" y="178"/>
                    <a:pt x="20" y="177"/>
                    <a:pt x="19" y="178"/>
                  </a:cubicBezTo>
                  <a:cubicBezTo>
                    <a:pt x="18" y="178"/>
                    <a:pt x="18" y="179"/>
                    <a:pt x="17" y="179"/>
                  </a:cubicBezTo>
                  <a:cubicBezTo>
                    <a:pt x="16" y="176"/>
                    <a:pt x="16" y="173"/>
                    <a:pt x="15" y="170"/>
                  </a:cubicBezTo>
                  <a:cubicBezTo>
                    <a:pt x="15" y="168"/>
                    <a:pt x="15" y="167"/>
                    <a:pt x="14" y="165"/>
                  </a:cubicBezTo>
                  <a:cubicBezTo>
                    <a:pt x="13" y="163"/>
                    <a:pt x="11" y="161"/>
                    <a:pt x="10" y="158"/>
                  </a:cubicBezTo>
                  <a:cubicBezTo>
                    <a:pt x="10" y="157"/>
                    <a:pt x="9" y="157"/>
                    <a:pt x="8" y="155"/>
                  </a:cubicBezTo>
                  <a:cubicBezTo>
                    <a:pt x="7" y="154"/>
                    <a:pt x="6" y="154"/>
                    <a:pt x="5" y="153"/>
                  </a:cubicBezTo>
                  <a:cubicBezTo>
                    <a:pt x="4" y="152"/>
                    <a:pt x="5" y="152"/>
                    <a:pt x="6" y="151"/>
                  </a:cubicBezTo>
                  <a:cubicBezTo>
                    <a:pt x="8" y="149"/>
                    <a:pt x="9" y="144"/>
                    <a:pt x="9" y="141"/>
                  </a:cubicBezTo>
                  <a:cubicBezTo>
                    <a:pt x="9" y="140"/>
                    <a:pt x="8" y="139"/>
                    <a:pt x="9" y="138"/>
                  </a:cubicBezTo>
                  <a:cubicBezTo>
                    <a:pt x="9" y="137"/>
                    <a:pt x="9" y="137"/>
                    <a:pt x="10" y="137"/>
                  </a:cubicBezTo>
                  <a:cubicBezTo>
                    <a:pt x="12" y="135"/>
                    <a:pt x="13" y="133"/>
                    <a:pt x="14" y="131"/>
                  </a:cubicBezTo>
                  <a:cubicBezTo>
                    <a:pt x="14" y="129"/>
                    <a:pt x="15" y="126"/>
                    <a:pt x="14" y="124"/>
                  </a:cubicBezTo>
                  <a:cubicBezTo>
                    <a:pt x="14" y="123"/>
                    <a:pt x="13" y="122"/>
                    <a:pt x="12" y="120"/>
                  </a:cubicBezTo>
                  <a:cubicBezTo>
                    <a:pt x="12" y="117"/>
                    <a:pt x="15" y="116"/>
                    <a:pt x="15" y="113"/>
                  </a:cubicBezTo>
                  <a:cubicBezTo>
                    <a:pt x="15" y="114"/>
                    <a:pt x="16" y="116"/>
                    <a:pt x="17" y="116"/>
                  </a:cubicBezTo>
                  <a:cubicBezTo>
                    <a:pt x="17" y="115"/>
                    <a:pt x="17" y="115"/>
                    <a:pt x="18" y="114"/>
                  </a:cubicBezTo>
                  <a:cubicBezTo>
                    <a:pt x="19" y="112"/>
                    <a:pt x="19" y="111"/>
                    <a:pt x="19" y="110"/>
                  </a:cubicBezTo>
                  <a:cubicBezTo>
                    <a:pt x="20" y="108"/>
                    <a:pt x="24" y="106"/>
                    <a:pt x="22" y="104"/>
                  </a:cubicBezTo>
                  <a:cubicBezTo>
                    <a:pt x="21" y="104"/>
                    <a:pt x="19" y="104"/>
                    <a:pt x="18" y="104"/>
                  </a:cubicBezTo>
                  <a:cubicBezTo>
                    <a:pt x="16" y="104"/>
                    <a:pt x="17" y="103"/>
                    <a:pt x="16" y="102"/>
                  </a:cubicBezTo>
                  <a:cubicBezTo>
                    <a:pt x="15" y="100"/>
                    <a:pt x="15" y="101"/>
                    <a:pt x="13" y="102"/>
                  </a:cubicBezTo>
                  <a:cubicBezTo>
                    <a:pt x="13" y="102"/>
                    <a:pt x="12" y="102"/>
                    <a:pt x="12" y="103"/>
                  </a:cubicBezTo>
                  <a:cubicBezTo>
                    <a:pt x="11" y="103"/>
                    <a:pt x="11" y="104"/>
                    <a:pt x="10" y="105"/>
                  </a:cubicBezTo>
                  <a:cubicBezTo>
                    <a:pt x="9" y="105"/>
                    <a:pt x="9" y="104"/>
                    <a:pt x="9" y="103"/>
                  </a:cubicBezTo>
                  <a:cubicBezTo>
                    <a:pt x="10" y="101"/>
                    <a:pt x="11" y="100"/>
                    <a:pt x="11" y="98"/>
                  </a:cubicBezTo>
                  <a:cubicBezTo>
                    <a:pt x="11" y="97"/>
                    <a:pt x="11" y="94"/>
                    <a:pt x="12" y="93"/>
                  </a:cubicBezTo>
                  <a:cubicBezTo>
                    <a:pt x="13" y="91"/>
                    <a:pt x="13" y="90"/>
                    <a:pt x="13" y="88"/>
                  </a:cubicBezTo>
                  <a:cubicBezTo>
                    <a:pt x="15" y="87"/>
                    <a:pt x="20" y="89"/>
                    <a:pt x="21" y="87"/>
                  </a:cubicBezTo>
                  <a:cubicBezTo>
                    <a:pt x="22" y="85"/>
                    <a:pt x="18" y="85"/>
                    <a:pt x="17" y="85"/>
                  </a:cubicBezTo>
                  <a:cubicBezTo>
                    <a:pt x="16" y="82"/>
                    <a:pt x="17" y="78"/>
                    <a:pt x="17" y="74"/>
                  </a:cubicBezTo>
                  <a:cubicBezTo>
                    <a:pt x="17" y="73"/>
                    <a:pt x="17" y="69"/>
                    <a:pt x="17" y="68"/>
                  </a:cubicBezTo>
                  <a:cubicBezTo>
                    <a:pt x="16" y="67"/>
                    <a:pt x="14" y="66"/>
                    <a:pt x="13" y="66"/>
                  </a:cubicBezTo>
                  <a:cubicBezTo>
                    <a:pt x="12" y="63"/>
                    <a:pt x="13" y="61"/>
                    <a:pt x="12" y="58"/>
                  </a:cubicBezTo>
                  <a:cubicBezTo>
                    <a:pt x="12" y="56"/>
                    <a:pt x="12" y="55"/>
                    <a:pt x="11" y="53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1"/>
                    <a:pt x="9" y="51"/>
                    <a:pt x="9" y="50"/>
                  </a:cubicBezTo>
                  <a:cubicBezTo>
                    <a:pt x="8" y="49"/>
                    <a:pt x="8" y="48"/>
                    <a:pt x="8" y="48"/>
                  </a:cubicBezTo>
                  <a:cubicBezTo>
                    <a:pt x="7" y="46"/>
                    <a:pt x="7" y="47"/>
                    <a:pt x="5" y="47"/>
                  </a:cubicBezTo>
                  <a:cubicBezTo>
                    <a:pt x="3" y="46"/>
                    <a:pt x="0" y="45"/>
                    <a:pt x="3" y="43"/>
                  </a:cubicBezTo>
                  <a:cubicBezTo>
                    <a:pt x="4" y="41"/>
                    <a:pt x="5" y="41"/>
                    <a:pt x="5" y="39"/>
                  </a:cubicBezTo>
                  <a:cubicBezTo>
                    <a:pt x="5" y="36"/>
                    <a:pt x="5" y="34"/>
                    <a:pt x="6" y="32"/>
                  </a:cubicBezTo>
                  <a:cubicBezTo>
                    <a:pt x="6" y="30"/>
                    <a:pt x="5" y="28"/>
                    <a:pt x="6" y="27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8" y="23"/>
                    <a:pt x="8" y="21"/>
                    <a:pt x="8" y="20"/>
                  </a:cubicBezTo>
                  <a:cubicBezTo>
                    <a:pt x="9" y="19"/>
                    <a:pt x="9" y="17"/>
                    <a:pt x="9" y="16"/>
                  </a:cubicBezTo>
                  <a:cubicBezTo>
                    <a:pt x="9" y="14"/>
                    <a:pt x="9" y="13"/>
                    <a:pt x="11" y="12"/>
                  </a:cubicBezTo>
                  <a:cubicBezTo>
                    <a:pt x="11" y="12"/>
                    <a:pt x="12" y="11"/>
                    <a:pt x="13" y="12"/>
                  </a:cubicBezTo>
                  <a:cubicBezTo>
                    <a:pt x="13" y="13"/>
                    <a:pt x="11" y="15"/>
                    <a:pt x="11" y="15"/>
                  </a:cubicBezTo>
                  <a:cubicBezTo>
                    <a:pt x="9" y="17"/>
                    <a:pt x="10" y="17"/>
                    <a:pt x="10" y="19"/>
                  </a:cubicBezTo>
                  <a:cubicBezTo>
                    <a:pt x="10" y="21"/>
                    <a:pt x="10" y="20"/>
                    <a:pt x="11" y="21"/>
                  </a:cubicBezTo>
                  <a:cubicBezTo>
                    <a:pt x="13" y="22"/>
                    <a:pt x="15" y="22"/>
                    <a:pt x="17" y="22"/>
                  </a:cubicBezTo>
                  <a:cubicBezTo>
                    <a:pt x="19" y="22"/>
                    <a:pt x="21" y="21"/>
                    <a:pt x="24" y="21"/>
                  </a:cubicBezTo>
                  <a:cubicBezTo>
                    <a:pt x="25" y="22"/>
                    <a:pt x="26" y="23"/>
                    <a:pt x="27" y="23"/>
                  </a:cubicBezTo>
                  <a:cubicBezTo>
                    <a:pt x="27" y="23"/>
                    <a:pt x="28" y="23"/>
                    <a:pt x="29" y="23"/>
                  </a:cubicBezTo>
                  <a:cubicBezTo>
                    <a:pt x="29" y="24"/>
                    <a:pt x="31" y="25"/>
                    <a:pt x="32" y="25"/>
                  </a:cubicBezTo>
                  <a:cubicBezTo>
                    <a:pt x="32" y="25"/>
                    <a:pt x="33" y="24"/>
                    <a:pt x="34" y="23"/>
                  </a:cubicBezTo>
                  <a:cubicBezTo>
                    <a:pt x="35" y="22"/>
                    <a:pt x="36" y="22"/>
                    <a:pt x="38" y="22"/>
                  </a:cubicBezTo>
                  <a:cubicBezTo>
                    <a:pt x="41" y="21"/>
                    <a:pt x="40" y="18"/>
                    <a:pt x="42" y="16"/>
                  </a:cubicBezTo>
                  <a:cubicBezTo>
                    <a:pt x="44" y="14"/>
                    <a:pt x="45" y="14"/>
                    <a:pt x="47" y="14"/>
                  </a:cubicBezTo>
                  <a:cubicBezTo>
                    <a:pt x="48" y="13"/>
                    <a:pt x="49" y="12"/>
                    <a:pt x="50" y="11"/>
                  </a:cubicBezTo>
                  <a:cubicBezTo>
                    <a:pt x="51" y="11"/>
                    <a:pt x="52" y="10"/>
                    <a:pt x="52" y="10"/>
                  </a:cubicBezTo>
                  <a:cubicBezTo>
                    <a:pt x="53" y="9"/>
                    <a:pt x="53" y="8"/>
                    <a:pt x="53" y="7"/>
                  </a:cubicBezTo>
                  <a:cubicBezTo>
                    <a:pt x="53" y="4"/>
                    <a:pt x="54" y="3"/>
                    <a:pt x="56" y="2"/>
                  </a:cubicBezTo>
                  <a:cubicBezTo>
                    <a:pt x="59" y="0"/>
                    <a:pt x="65" y="1"/>
                    <a:pt x="67" y="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9" name="Freeform 21">
              <a:extLst>
                <a:ext uri="{FF2B5EF4-FFF2-40B4-BE49-F238E27FC236}">
                  <a16:creationId xmlns:a16="http://schemas.microsoft.com/office/drawing/2014/main" id="{A18E5B38-E99C-441B-A733-79827A8348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9500" y="3751263"/>
              <a:ext cx="1041400" cy="944563"/>
            </a:xfrm>
            <a:custGeom>
              <a:avLst/>
              <a:gdLst/>
              <a:ahLst/>
              <a:cxnLst>
                <a:cxn ang="0">
                  <a:pos x="549" y="385"/>
                </a:cxn>
                <a:cxn ang="0">
                  <a:pos x="543" y="329"/>
                </a:cxn>
                <a:cxn ang="0">
                  <a:pos x="531" y="290"/>
                </a:cxn>
                <a:cxn ang="0">
                  <a:pos x="533" y="257"/>
                </a:cxn>
                <a:cxn ang="0">
                  <a:pos x="522" y="235"/>
                </a:cxn>
                <a:cxn ang="0">
                  <a:pos x="532" y="203"/>
                </a:cxn>
                <a:cxn ang="0">
                  <a:pos x="552" y="184"/>
                </a:cxn>
                <a:cxn ang="0">
                  <a:pos x="546" y="161"/>
                </a:cxn>
                <a:cxn ang="0">
                  <a:pos x="524" y="97"/>
                </a:cxn>
                <a:cxn ang="0">
                  <a:pos x="518" y="61"/>
                </a:cxn>
                <a:cxn ang="0">
                  <a:pos x="473" y="42"/>
                </a:cxn>
                <a:cxn ang="0">
                  <a:pos x="315" y="39"/>
                </a:cxn>
                <a:cxn ang="0">
                  <a:pos x="293" y="41"/>
                </a:cxn>
                <a:cxn ang="0">
                  <a:pos x="243" y="1"/>
                </a:cxn>
                <a:cxn ang="0">
                  <a:pos x="187" y="10"/>
                </a:cxn>
                <a:cxn ang="0">
                  <a:pos x="156" y="17"/>
                </a:cxn>
                <a:cxn ang="0">
                  <a:pos x="114" y="50"/>
                </a:cxn>
                <a:cxn ang="0">
                  <a:pos x="77" y="63"/>
                </a:cxn>
                <a:cxn ang="0">
                  <a:pos x="36" y="71"/>
                </a:cxn>
                <a:cxn ang="0">
                  <a:pos x="14" y="81"/>
                </a:cxn>
                <a:cxn ang="0">
                  <a:pos x="16" y="93"/>
                </a:cxn>
                <a:cxn ang="0">
                  <a:pos x="33" y="138"/>
                </a:cxn>
                <a:cxn ang="0">
                  <a:pos x="16" y="170"/>
                </a:cxn>
                <a:cxn ang="0">
                  <a:pos x="31" y="187"/>
                </a:cxn>
                <a:cxn ang="0">
                  <a:pos x="37" y="212"/>
                </a:cxn>
                <a:cxn ang="0">
                  <a:pos x="43" y="231"/>
                </a:cxn>
                <a:cxn ang="0">
                  <a:pos x="38" y="260"/>
                </a:cxn>
                <a:cxn ang="0">
                  <a:pos x="44" y="276"/>
                </a:cxn>
                <a:cxn ang="0">
                  <a:pos x="47" y="292"/>
                </a:cxn>
                <a:cxn ang="0">
                  <a:pos x="60" y="310"/>
                </a:cxn>
                <a:cxn ang="0">
                  <a:pos x="61" y="338"/>
                </a:cxn>
                <a:cxn ang="0">
                  <a:pos x="88" y="356"/>
                </a:cxn>
                <a:cxn ang="0">
                  <a:pos x="118" y="367"/>
                </a:cxn>
                <a:cxn ang="0">
                  <a:pos x="138" y="375"/>
                </a:cxn>
                <a:cxn ang="0">
                  <a:pos x="140" y="398"/>
                </a:cxn>
                <a:cxn ang="0">
                  <a:pos x="157" y="412"/>
                </a:cxn>
                <a:cxn ang="0">
                  <a:pos x="167" y="393"/>
                </a:cxn>
                <a:cxn ang="0">
                  <a:pos x="191" y="400"/>
                </a:cxn>
                <a:cxn ang="0">
                  <a:pos x="208" y="414"/>
                </a:cxn>
                <a:cxn ang="0">
                  <a:pos x="231" y="426"/>
                </a:cxn>
                <a:cxn ang="0">
                  <a:pos x="269" y="455"/>
                </a:cxn>
                <a:cxn ang="0">
                  <a:pos x="286" y="475"/>
                </a:cxn>
                <a:cxn ang="0">
                  <a:pos x="308" y="466"/>
                </a:cxn>
                <a:cxn ang="0">
                  <a:pos x="321" y="487"/>
                </a:cxn>
                <a:cxn ang="0">
                  <a:pos x="338" y="483"/>
                </a:cxn>
                <a:cxn ang="0">
                  <a:pos x="376" y="480"/>
                </a:cxn>
                <a:cxn ang="0">
                  <a:pos x="393" y="473"/>
                </a:cxn>
                <a:cxn ang="0">
                  <a:pos x="427" y="479"/>
                </a:cxn>
                <a:cxn ang="0">
                  <a:pos x="445" y="490"/>
                </a:cxn>
                <a:cxn ang="0">
                  <a:pos x="477" y="503"/>
                </a:cxn>
                <a:cxn ang="0">
                  <a:pos x="477" y="486"/>
                </a:cxn>
                <a:cxn ang="0">
                  <a:pos x="474" y="462"/>
                </a:cxn>
                <a:cxn ang="0">
                  <a:pos x="500" y="424"/>
                </a:cxn>
                <a:cxn ang="0">
                  <a:pos x="551" y="390"/>
                </a:cxn>
                <a:cxn ang="0">
                  <a:pos x="545" y="359"/>
                </a:cxn>
              </a:cxnLst>
              <a:rect l="0" t="0" r="r" b="b"/>
              <a:pathLst>
                <a:path w="557" h="505">
                  <a:moveTo>
                    <a:pt x="552" y="381"/>
                  </a:moveTo>
                  <a:cubicBezTo>
                    <a:pt x="552" y="381"/>
                    <a:pt x="552" y="382"/>
                    <a:pt x="552" y="382"/>
                  </a:cubicBezTo>
                  <a:cubicBezTo>
                    <a:pt x="552" y="382"/>
                    <a:pt x="552" y="381"/>
                    <a:pt x="552" y="381"/>
                  </a:cubicBezTo>
                  <a:moveTo>
                    <a:pt x="549" y="385"/>
                  </a:moveTo>
                  <a:cubicBezTo>
                    <a:pt x="550" y="385"/>
                    <a:pt x="550" y="385"/>
                    <a:pt x="550" y="385"/>
                  </a:cubicBezTo>
                  <a:cubicBezTo>
                    <a:pt x="550" y="385"/>
                    <a:pt x="550" y="385"/>
                    <a:pt x="550" y="385"/>
                  </a:cubicBezTo>
                  <a:lnTo>
                    <a:pt x="549" y="385"/>
                  </a:lnTo>
                  <a:close/>
                  <a:moveTo>
                    <a:pt x="557" y="352"/>
                  </a:moveTo>
                  <a:cubicBezTo>
                    <a:pt x="556" y="350"/>
                    <a:pt x="556" y="351"/>
                    <a:pt x="555" y="350"/>
                  </a:cubicBezTo>
                  <a:cubicBezTo>
                    <a:pt x="554" y="348"/>
                    <a:pt x="554" y="346"/>
                    <a:pt x="554" y="344"/>
                  </a:cubicBezTo>
                  <a:cubicBezTo>
                    <a:pt x="552" y="342"/>
                    <a:pt x="550" y="339"/>
                    <a:pt x="548" y="336"/>
                  </a:cubicBezTo>
                  <a:cubicBezTo>
                    <a:pt x="548" y="335"/>
                    <a:pt x="547" y="332"/>
                    <a:pt x="546" y="331"/>
                  </a:cubicBezTo>
                  <a:cubicBezTo>
                    <a:pt x="546" y="331"/>
                    <a:pt x="545" y="331"/>
                    <a:pt x="544" y="331"/>
                  </a:cubicBezTo>
                  <a:cubicBezTo>
                    <a:pt x="543" y="331"/>
                    <a:pt x="543" y="330"/>
                    <a:pt x="543" y="329"/>
                  </a:cubicBezTo>
                  <a:cubicBezTo>
                    <a:pt x="543" y="329"/>
                    <a:pt x="543" y="328"/>
                    <a:pt x="543" y="328"/>
                  </a:cubicBezTo>
                  <a:cubicBezTo>
                    <a:pt x="542" y="327"/>
                    <a:pt x="542" y="327"/>
                    <a:pt x="542" y="326"/>
                  </a:cubicBezTo>
                  <a:cubicBezTo>
                    <a:pt x="541" y="324"/>
                    <a:pt x="540" y="323"/>
                    <a:pt x="540" y="321"/>
                  </a:cubicBezTo>
                  <a:cubicBezTo>
                    <a:pt x="538" y="317"/>
                    <a:pt x="536" y="314"/>
                    <a:pt x="535" y="310"/>
                  </a:cubicBezTo>
                  <a:cubicBezTo>
                    <a:pt x="534" y="307"/>
                    <a:pt x="533" y="304"/>
                    <a:pt x="533" y="301"/>
                  </a:cubicBezTo>
                  <a:cubicBezTo>
                    <a:pt x="533" y="299"/>
                    <a:pt x="533" y="298"/>
                    <a:pt x="533" y="296"/>
                  </a:cubicBezTo>
                  <a:cubicBezTo>
                    <a:pt x="532" y="294"/>
                    <a:pt x="532" y="291"/>
                    <a:pt x="531" y="290"/>
                  </a:cubicBezTo>
                  <a:cubicBezTo>
                    <a:pt x="530" y="288"/>
                    <a:pt x="529" y="290"/>
                    <a:pt x="527" y="289"/>
                  </a:cubicBezTo>
                  <a:cubicBezTo>
                    <a:pt x="524" y="288"/>
                    <a:pt x="525" y="285"/>
                    <a:pt x="525" y="282"/>
                  </a:cubicBezTo>
                  <a:cubicBezTo>
                    <a:pt x="525" y="280"/>
                    <a:pt x="525" y="278"/>
                    <a:pt x="525" y="276"/>
                  </a:cubicBezTo>
                  <a:cubicBezTo>
                    <a:pt x="526" y="274"/>
                    <a:pt x="527" y="274"/>
                    <a:pt x="528" y="272"/>
                  </a:cubicBezTo>
                  <a:cubicBezTo>
                    <a:pt x="528" y="271"/>
                    <a:pt x="528" y="269"/>
                    <a:pt x="528" y="268"/>
                  </a:cubicBezTo>
                  <a:cubicBezTo>
                    <a:pt x="529" y="266"/>
                    <a:pt x="529" y="266"/>
                    <a:pt x="530" y="264"/>
                  </a:cubicBezTo>
                  <a:cubicBezTo>
                    <a:pt x="531" y="262"/>
                    <a:pt x="532" y="260"/>
                    <a:pt x="533" y="257"/>
                  </a:cubicBezTo>
                  <a:cubicBezTo>
                    <a:pt x="533" y="255"/>
                    <a:pt x="532" y="254"/>
                    <a:pt x="534" y="253"/>
                  </a:cubicBezTo>
                  <a:cubicBezTo>
                    <a:pt x="534" y="252"/>
                    <a:pt x="535" y="253"/>
                    <a:pt x="535" y="252"/>
                  </a:cubicBezTo>
                  <a:cubicBezTo>
                    <a:pt x="535" y="251"/>
                    <a:pt x="535" y="249"/>
                    <a:pt x="535" y="249"/>
                  </a:cubicBezTo>
                  <a:cubicBezTo>
                    <a:pt x="535" y="247"/>
                    <a:pt x="534" y="247"/>
                    <a:pt x="533" y="245"/>
                  </a:cubicBezTo>
                  <a:cubicBezTo>
                    <a:pt x="532" y="244"/>
                    <a:pt x="531" y="243"/>
                    <a:pt x="530" y="242"/>
                  </a:cubicBezTo>
                  <a:cubicBezTo>
                    <a:pt x="528" y="240"/>
                    <a:pt x="528" y="240"/>
                    <a:pt x="526" y="240"/>
                  </a:cubicBezTo>
                  <a:cubicBezTo>
                    <a:pt x="524" y="239"/>
                    <a:pt x="523" y="237"/>
                    <a:pt x="522" y="235"/>
                  </a:cubicBezTo>
                  <a:cubicBezTo>
                    <a:pt x="520" y="232"/>
                    <a:pt x="520" y="231"/>
                    <a:pt x="516" y="232"/>
                  </a:cubicBezTo>
                  <a:cubicBezTo>
                    <a:pt x="512" y="232"/>
                    <a:pt x="513" y="227"/>
                    <a:pt x="514" y="224"/>
                  </a:cubicBezTo>
                  <a:cubicBezTo>
                    <a:pt x="515" y="223"/>
                    <a:pt x="515" y="221"/>
                    <a:pt x="515" y="219"/>
                  </a:cubicBezTo>
                  <a:cubicBezTo>
                    <a:pt x="516" y="218"/>
                    <a:pt x="518" y="217"/>
                    <a:pt x="520" y="216"/>
                  </a:cubicBezTo>
                  <a:cubicBezTo>
                    <a:pt x="523" y="214"/>
                    <a:pt x="526" y="213"/>
                    <a:pt x="528" y="210"/>
                  </a:cubicBezTo>
                  <a:cubicBezTo>
                    <a:pt x="530" y="209"/>
                    <a:pt x="529" y="210"/>
                    <a:pt x="530" y="208"/>
                  </a:cubicBezTo>
                  <a:cubicBezTo>
                    <a:pt x="531" y="206"/>
                    <a:pt x="531" y="205"/>
                    <a:pt x="532" y="203"/>
                  </a:cubicBezTo>
                  <a:cubicBezTo>
                    <a:pt x="532" y="203"/>
                    <a:pt x="532" y="201"/>
                    <a:pt x="533" y="201"/>
                  </a:cubicBezTo>
                  <a:cubicBezTo>
                    <a:pt x="533" y="200"/>
                    <a:pt x="534" y="200"/>
                    <a:pt x="535" y="199"/>
                  </a:cubicBezTo>
                  <a:cubicBezTo>
                    <a:pt x="536" y="198"/>
                    <a:pt x="537" y="197"/>
                    <a:pt x="539" y="196"/>
                  </a:cubicBezTo>
                  <a:cubicBezTo>
                    <a:pt x="542" y="195"/>
                    <a:pt x="544" y="196"/>
                    <a:pt x="547" y="196"/>
                  </a:cubicBezTo>
                  <a:cubicBezTo>
                    <a:pt x="550" y="195"/>
                    <a:pt x="549" y="195"/>
                    <a:pt x="550" y="193"/>
                  </a:cubicBezTo>
                  <a:cubicBezTo>
                    <a:pt x="551" y="192"/>
                    <a:pt x="552" y="190"/>
                    <a:pt x="552" y="188"/>
                  </a:cubicBezTo>
                  <a:cubicBezTo>
                    <a:pt x="552" y="187"/>
                    <a:pt x="552" y="185"/>
                    <a:pt x="552" y="184"/>
                  </a:cubicBezTo>
                  <a:cubicBezTo>
                    <a:pt x="553" y="183"/>
                    <a:pt x="554" y="182"/>
                    <a:pt x="554" y="181"/>
                  </a:cubicBezTo>
                  <a:cubicBezTo>
                    <a:pt x="555" y="179"/>
                    <a:pt x="555" y="178"/>
                    <a:pt x="555" y="176"/>
                  </a:cubicBezTo>
                  <a:cubicBezTo>
                    <a:pt x="555" y="174"/>
                    <a:pt x="555" y="172"/>
                    <a:pt x="555" y="170"/>
                  </a:cubicBezTo>
                  <a:cubicBezTo>
                    <a:pt x="555" y="168"/>
                    <a:pt x="556" y="164"/>
                    <a:pt x="552" y="165"/>
                  </a:cubicBezTo>
                  <a:cubicBezTo>
                    <a:pt x="551" y="165"/>
                    <a:pt x="551" y="167"/>
                    <a:pt x="550" y="166"/>
                  </a:cubicBezTo>
                  <a:cubicBezTo>
                    <a:pt x="549" y="166"/>
                    <a:pt x="549" y="165"/>
                    <a:pt x="548" y="165"/>
                  </a:cubicBezTo>
                  <a:cubicBezTo>
                    <a:pt x="547" y="163"/>
                    <a:pt x="547" y="163"/>
                    <a:pt x="546" y="161"/>
                  </a:cubicBezTo>
                  <a:cubicBezTo>
                    <a:pt x="546" y="159"/>
                    <a:pt x="547" y="156"/>
                    <a:pt x="547" y="154"/>
                  </a:cubicBezTo>
                  <a:cubicBezTo>
                    <a:pt x="546" y="153"/>
                    <a:pt x="545" y="153"/>
                    <a:pt x="545" y="151"/>
                  </a:cubicBezTo>
                  <a:cubicBezTo>
                    <a:pt x="543" y="149"/>
                    <a:pt x="542" y="145"/>
                    <a:pt x="540" y="142"/>
                  </a:cubicBezTo>
                  <a:cubicBezTo>
                    <a:pt x="538" y="136"/>
                    <a:pt x="537" y="131"/>
                    <a:pt x="534" y="125"/>
                  </a:cubicBezTo>
                  <a:cubicBezTo>
                    <a:pt x="532" y="120"/>
                    <a:pt x="529" y="116"/>
                    <a:pt x="527" y="111"/>
                  </a:cubicBezTo>
                  <a:cubicBezTo>
                    <a:pt x="526" y="108"/>
                    <a:pt x="523" y="106"/>
                    <a:pt x="523" y="102"/>
                  </a:cubicBezTo>
                  <a:cubicBezTo>
                    <a:pt x="523" y="99"/>
                    <a:pt x="523" y="99"/>
                    <a:pt x="524" y="97"/>
                  </a:cubicBezTo>
                  <a:cubicBezTo>
                    <a:pt x="525" y="95"/>
                    <a:pt x="526" y="94"/>
                    <a:pt x="526" y="92"/>
                  </a:cubicBezTo>
                  <a:cubicBezTo>
                    <a:pt x="525" y="88"/>
                    <a:pt x="521" y="85"/>
                    <a:pt x="521" y="81"/>
                  </a:cubicBezTo>
                  <a:cubicBezTo>
                    <a:pt x="520" y="80"/>
                    <a:pt x="521" y="78"/>
                    <a:pt x="521" y="77"/>
                  </a:cubicBezTo>
                  <a:cubicBezTo>
                    <a:pt x="521" y="77"/>
                    <a:pt x="520" y="76"/>
                    <a:pt x="521" y="75"/>
                  </a:cubicBezTo>
                  <a:cubicBezTo>
                    <a:pt x="521" y="74"/>
                    <a:pt x="522" y="75"/>
                    <a:pt x="522" y="74"/>
                  </a:cubicBezTo>
                  <a:cubicBezTo>
                    <a:pt x="523" y="72"/>
                    <a:pt x="523" y="67"/>
                    <a:pt x="522" y="65"/>
                  </a:cubicBezTo>
                  <a:cubicBezTo>
                    <a:pt x="521" y="63"/>
                    <a:pt x="519" y="62"/>
                    <a:pt x="518" y="61"/>
                  </a:cubicBezTo>
                  <a:cubicBezTo>
                    <a:pt x="518" y="60"/>
                    <a:pt x="516" y="59"/>
                    <a:pt x="516" y="57"/>
                  </a:cubicBezTo>
                  <a:cubicBezTo>
                    <a:pt x="516" y="56"/>
                    <a:pt x="516" y="55"/>
                    <a:pt x="516" y="54"/>
                  </a:cubicBezTo>
                  <a:cubicBezTo>
                    <a:pt x="515" y="54"/>
                    <a:pt x="513" y="52"/>
                    <a:pt x="512" y="51"/>
                  </a:cubicBezTo>
                  <a:cubicBezTo>
                    <a:pt x="508" y="49"/>
                    <a:pt x="504" y="50"/>
                    <a:pt x="500" y="49"/>
                  </a:cubicBezTo>
                  <a:cubicBezTo>
                    <a:pt x="495" y="48"/>
                    <a:pt x="491" y="45"/>
                    <a:pt x="486" y="43"/>
                  </a:cubicBezTo>
                  <a:cubicBezTo>
                    <a:pt x="484" y="43"/>
                    <a:pt x="482" y="42"/>
                    <a:pt x="480" y="42"/>
                  </a:cubicBezTo>
                  <a:cubicBezTo>
                    <a:pt x="478" y="42"/>
                    <a:pt x="475" y="42"/>
                    <a:pt x="473" y="42"/>
                  </a:cubicBezTo>
                  <a:cubicBezTo>
                    <a:pt x="466" y="42"/>
                    <a:pt x="460" y="42"/>
                    <a:pt x="453" y="42"/>
                  </a:cubicBezTo>
                  <a:cubicBezTo>
                    <a:pt x="445" y="42"/>
                    <a:pt x="436" y="41"/>
                    <a:pt x="428" y="41"/>
                  </a:cubicBezTo>
                  <a:cubicBezTo>
                    <a:pt x="416" y="41"/>
                    <a:pt x="404" y="42"/>
                    <a:pt x="392" y="41"/>
                  </a:cubicBezTo>
                  <a:cubicBezTo>
                    <a:pt x="375" y="41"/>
                    <a:pt x="359" y="40"/>
                    <a:pt x="343" y="39"/>
                  </a:cubicBezTo>
                  <a:cubicBezTo>
                    <a:pt x="336" y="38"/>
                    <a:pt x="329" y="37"/>
                    <a:pt x="322" y="36"/>
                  </a:cubicBezTo>
                  <a:cubicBezTo>
                    <a:pt x="321" y="35"/>
                    <a:pt x="320" y="35"/>
                    <a:pt x="319" y="35"/>
                  </a:cubicBezTo>
                  <a:cubicBezTo>
                    <a:pt x="319" y="37"/>
                    <a:pt x="317" y="38"/>
                    <a:pt x="315" y="39"/>
                  </a:cubicBezTo>
                  <a:cubicBezTo>
                    <a:pt x="314" y="41"/>
                    <a:pt x="310" y="41"/>
                    <a:pt x="309" y="43"/>
                  </a:cubicBezTo>
                  <a:cubicBezTo>
                    <a:pt x="308" y="45"/>
                    <a:pt x="309" y="46"/>
                    <a:pt x="307" y="48"/>
                  </a:cubicBezTo>
                  <a:cubicBezTo>
                    <a:pt x="306" y="49"/>
                    <a:pt x="303" y="48"/>
                    <a:pt x="301" y="48"/>
                  </a:cubicBezTo>
                  <a:cubicBezTo>
                    <a:pt x="298" y="49"/>
                    <a:pt x="295" y="51"/>
                    <a:pt x="292" y="50"/>
                  </a:cubicBezTo>
                  <a:cubicBezTo>
                    <a:pt x="292" y="49"/>
                    <a:pt x="292" y="48"/>
                    <a:pt x="292" y="47"/>
                  </a:cubicBezTo>
                  <a:cubicBezTo>
                    <a:pt x="293" y="45"/>
                    <a:pt x="296" y="43"/>
                    <a:pt x="296" y="42"/>
                  </a:cubicBezTo>
                  <a:cubicBezTo>
                    <a:pt x="296" y="40"/>
                    <a:pt x="295" y="39"/>
                    <a:pt x="293" y="41"/>
                  </a:cubicBezTo>
                  <a:cubicBezTo>
                    <a:pt x="292" y="41"/>
                    <a:pt x="292" y="44"/>
                    <a:pt x="291" y="44"/>
                  </a:cubicBezTo>
                  <a:cubicBezTo>
                    <a:pt x="290" y="45"/>
                    <a:pt x="289" y="43"/>
                    <a:pt x="287" y="43"/>
                  </a:cubicBezTo>
                  <a:cubicBezTo>
                    <a:pt x="286" y="43"/>
                    <a:pt x="283" y="44"/>
                    <a:pt x="282" y="44"/>
                  </a:cubicBezTo>
                  <a:cubicBezTo>
                    <a:pt x="280" y="44"/>
                    <a:pt x="269" y="46"/>
                    <a:pt x="253" y="35"/>
                  </a:cubicBezTo>
                  <a:cubicBezTo>
                    <a:pt x="252" y="27"/>
                    <a:pt x="252" y="27"/>
                    <a:pt x="252" y="27"/>
                  </a:cubicBezTo>
                  <a:cubicBezTo>
                    <a:pt x="253" y="20"/>
                    <a:pt x="246" y="10"/>
                    <a:pt x="245" y="7"/>
                  </a:cubicBezTo>
                  <a:cubicBezTo>
                    <a:pt x="245" y="5"/>
                    <a:pt x="243" y="3"/>
                    <a:pt x="243" y="1"/>
                  </a:cubicBezTo>
                  <a:cubicBezTo>
                    <a:pt x="237" y="0"/>
                    <a:pt x="230" y="1"/>
                    <a:pt x="225" y="1"/>
                  </a:cubicBezTo>
                  <a:cubicBezTo>
                    <a:pt x="220" y="1"/>
                    <a:pt x="214" y="1"/>
                    <a:pt x="210" y="1"/>
                  </a:cubicBezTo>
                  <a:cubicBezTo>
                    <a:pt x="208" y="1"/>
                    <a:pt x="206" y="1"/>
                    <a:pt x="205" y="2"/>
                  </a:cubicBezTo>
                  <a:cubicBezTo>
                    <a:pt x="202" y="2"/>
                    <a:pt x="201" y="4"/>
                    <a:pt x="199" y="5"/>
                  </a:cubicBezTo>
                  <a:cubicBezTo>
                    <a:pt x="196" y="8"/>
                    <a:pt x="193" y="9"/>
                    <a:pt x="192" y="13"/>
                  </a:cubicBezTo>
                  <a:cubicBezTo>
                    <a:pt x="191" y="13"/>
                    <a:pt x="190" y="13"/>
                    <a:pt x="189" y="13"/>
                  </a:cubicBezTo>
                  <a:cubicBezTo>
                    <a:pt x="188" y="12"/>
                    <a:pt x="187" y="10"/>
                    <a:pt x="187" y="10"/>
                  </a:cubicBezTo>
                  <a:cubicBezTo>
                    <a:pt x="184" y="8"/>
                    <a:pt x="181" y="11"/>
                    <a:pt x="178" y="12"/>
                  </a:cubicBezTo>
                  <a:cubicBezTo>
                    <a:pt x="178" y="12"/>
                    <a:pt x="176" y="12"/>
                    <a:pt x="176" y="12"/>
                  </a:cubicBezTo>
                  <a:cubicBezTo>
                    <a:pt x="174" y="13"/>
                    <a:pt x="174" y="16"/>
                    <a:pt x="172" y="16"/>
                  </a:cubicBezTo>
                  <a:cubicBezTo>
                    <a:pt x="171" y="17"/>
                    <a:pt x="168" y="18"/>
                    <a:pt x="166" y="17"/>
                  </a:cubicBezTo>
                  <a:cubicBezTo>
                    <a:pt x="164" y="17"/>
                    <a:pt x="164" y="16"/>
                    <a:pt x="163" y="15"/>
                  </a:cubicBezTo>
                  <a:cubicBezTo>
                    <a:pt x="162" y="14"/>
                    <a:pt x="157" y="14"/>
                    <a:pt x="156" y="15"/>
                  </a:cubicBezTo>
                  <a:cubicBezTo>
                    <a:pt x="155" y="15"/>
                    <a:pt x="156" y="17"/>
                    <a:pt x="156" y="17"/>
                  </a:cubicBezTo>
                  <a:cubicBezTo>
                    <a:pt x="156" y="18"/>
                    <a:pt x="155" y="18"/>
                    <a:pt x="155" y="19"/>
                  </a:cubicBezTo>
                  <a:cubicBezTo>
                    <a:pt x="152" y="21"/>
                    <a:pt x="148" y="21"/>
                    <a:pt x="145" y="24"/>
                  </a:cubicBezTo>
                  <a:cubicBezTo>
                    <a:pt x="144" y="24"/>
                    <a:pt x="143" y="26"/>
                    <a:pt x="143" y="27"/>
                  </a:cubicBezTo>
                  <a:cubicBezTo>
                    <a:pt x="141" y="28"/>
                    <a:pt x="139" y="30"/>
                    <a:pt x="137" y="32"/>
                  </a:cubicBezTo>
                  <a:cubicBezTo>
                    <a:pt x="135" y="34"/>
                    <a:pt x="135" y="37"/>
                    <a:pt x="133" y="40"/>
                  </a:cubicBezTo>
                  <a:cubicBezTo>
                    <a:pt x="131" y="43"/>
                    <a:pt x="129" y="47"/>
                    <a:pt x="125" y="47"/>
                  </a:cubicBezTo>
                  <a:cubicBezTo>
                    <a:pt x="121" y="47"/>
                    <a:pt x="117" y="47"/>
                    <a:pt x="114" y="50"/>
                  </a:cubicBezTo>
                  <a:cubicBezTo>
                    <a:pt x="113" y="50"/>
                    <a:pt x="113" y="51"/>
                    <a:pt x="112" y="51"/>
                  </a:cubicBezTo>
                  <a:cubicBezTo>
                    <a:pt x="109" y="53"/>
                    <a:pt x="105" y="53"/>
                    <a:pt x="102" y="54"/>
                  </a:cubicBezTo>
                  <a:cubicBezTo>
                    <a:pt x="101" y="54"/>
                    <a:pt x="101" y="54"/>
                    <a:pt x="100" y="55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8"/>
                    <a:pt x="98" y="57"/>
                    <a:pt x="97" y="58"/>
                  </a:cubicBezTo>
                  <a:cubicBezTo>
                    <a:pt x="95" y="58"/>
                    <a:pt x="95" y="59"/>
                    <a:pt x="93" y="59"/>
                  </a:cubicBezTo>
                  <a:cubicBezTo>
                    <a:pt x="88" y="62"/>
                    <a:pt x="83" y="63"/>
                    <a:pt x="77" y="63"/>
                  </a:cubicBezTo>
                  <a:cubicBezTo>
                    <a:pt x="72" y="63"/>
                    <a:pt x="69" y="63"/>
                    <a:pt x="65" y="65"/>
                  </a:cubicBezTo>
                  <a:cubicBezTo>
                    <a:pt x="61" y="67"/>
                    <a:pt x="57" y="69"/>
                    <a:pt x="54" y="71"/>
                  </a:cubicBezTo>
                  <a:cubicBezTo>
                    <a:pt x="50" y="73"/>
                    <a:pt x="46" y="74"/>
                    <a:pt x="43" y="76"/>
                  </a:cubicBezTo>
                  <a:cubicBezTo>
                    <a:pt x="46" y="75"/>
                    <a:pt x="46" y="70"/>
                    <a:pt x="48" y="69"/>
                  </a:cubicBezTo>
                  <a:cubicBezTo>
                    <a:pt x="45" y="68"/>
                    <a:pt x="43" y="68"/>
                    <a:pt x="40" y="70"/>
                  </a:cubicBezTo>
                  <a:cubicBezTo>
                    <a:pt x="39" y="70"/>
                    <a:pt x="38" y="71"/>
                    <a:pt x="38" y="71"/>
                  </a:cubicBezTo>
                  <a:cubicBezTo>
                    <a:pt x="37" y="72"/>
                    <a:pt x="36" y="71"/>
                    <a:pt x="36" y="71"/>
                  </a:cubicBezTo>
                  <a:cubicBezTo>
                    <a:pt x="34" y="72"/>
                    <a:pt x="31" y="72"/>
                    <a:pt x="29" y="73"/>
                  </a:cubicBezTo>
                  <a:cubicBezTo>
                    <a:pt x="29" y="73"/>
                    <a:pt x="28" y="74"/>
                    <a:pt x="27" y="74"/>
                  </a:cubicBezTo>
                  <a:cubicBezTo>
                    <a:pt x="25" y="75"/>
                    <a:pt x="21" y="76"/>
                    <a:pt x="18" y="77"/>
                  </a:cubicBezTo>
                  <a:cubicBezTo>
                    <a:pt x="18" y="77"/>
                    <a:pt x="18" y="78"/>
                    <a:pt x="19" y="78"/>
                  </a:cubicBezTo>
                  <a:cubicBezTo>
                    <a:pt x="19" y="79"/>
                    <a:pt x="20" y="79"/>
                    <a:pt x="20" y="80"/>
                  </a:cubicBezTo>
                  <a:cubicBezTo>
                    <a:pt x="19" y="80"/>
                    <a:pt x="18" y="80"/>
                    <a:pt x="17" y="80"/>
                  </a:cubicBezTo>
                  <a:cubicBezTo>
                    <a:pt x="16" y="80"/>
                    <a:pt x="15" y="80"/>
                    <a:pt x="14" y="81"/>
                  </a:cubicBezTo>
                  <a:cubicBezTo>
                    <a:pt x="12" y="81"/>
                    <a:pt x="11" y="82"/>
                    <a:pt x="9" y="82"/>
                  </a:cubicBezTo>
                  <a:cubicBezTo>
                    <a:pt x="6" y="82"/>
                    <a:pt x="3" y="81"/>
                    <a:pt x="0" y="83"/>
                  </a:cubicBezTo>
                  <a:cubicBezTo>
                    <a:pt x="0" y="84"/>
                    <a:pt x="1" y="85"/>
                    <a:pt x="1" y="85"/>
                  </a:cubicBezTo>
                  <a:cubicBezTo>
                    <a:pt x="1" y="86"/>
                    <a:pt x="1" y="87"/>
                    <a:pt x="1" y="87"/>
                  </a:cubicBezTo>
                  <a:cubicBezTo>
                    <a:pt x="2" y="88"/>
                    <a:pt x="5" y="89"/>
                    <a:pt x="7" y="90"/>
                  </a:cubicBezTo>
                  <a:cubicBezTo>
                    <a:pt x="8" y="91"/>
                    <a:pt x="9" y="92"/>
                    <a:pt x="10" y="93"/>
                  </a:cubicBezTo>
                  <a:cubicBezTo>
                    <a:pt x="11" y="93"/>
                    <a:pt x="14" y="94"/>
                    <a:pt x="16" y="93"/>
                  </a:cubicBezTo>
                  <a:cubicBezTo>
                    <a:pt x="18" y="93"/>
                    <a:pt x="20" y="90"/>
                    <a:pt x="21" y="89"/>
                  </a:cubicBezTo>
                  <a:cubicBezTo>
                    <a:pt x="22" y="88"/>
                    <a:pt x="23" y="93"/>
                    <a:pt x="23" y="94"/>
                  </a:cubicBezTo>
                  <a:cubicBezTo>
                    <a:pt x="23" y="96"/>
                    <a:pt x="22" y="99"/>
                    <a:pt x="23" y="101"/>
                  </a:cubicBezTo>
                  <a:cubicBezTo>
                    <a:pt x="23" y="103"/>
                    <a:pt x="24" y="106"/>
                    <a:pt x="24" y="108"/>
                  </a:cubicBezTo>
                  <a:cubicBezTo>
                    <a:pt x="26" y="113"/>
                    <a:pt x="27" y="117"/>
                    <a:pt x="29" y="122"/>
                  </a:cubicBezTo>
                  <a:cubicBezTo>
                    <a:pt x="30" y="124"/>
                    <a:pt x="32" y="127"/>
                    <a:pt x="33" y="130"/>
                  </a:cubicBezTo>
                  <a:cubicBezTo>
                    <a:pt x="34" y="132"/>
                    <a:pt x="33" y="136"/>
                    <a:pt x="33" y="138"/>
                  </a:cubicBezTo>
                  <a:cubicBezTo>
                    <a:pt x="33" y="141"/>
                    <a:pt x="33" y="143"/>
                    <a:pt x="32" y="145"/>
                  </a:cubicBezTo>
                  <a:cubicBezTo>
                    <a:pt x="31" y="148"/>
                    <a:pt x="30" y="149"/>
                    <a:pt x="28" y="151"/>
                  </a:cubicBezTo>
                  <a:cubicBezTo>
                    <a:pt x="27" y="152"/>
                    <a:pt x="26" y="155"/>
                    <a:pt x="25" y="156"/>
                  </a:cubicBezTo>
                  <a:cubicBezTo>
                    <a:pt x="25" y="156"/>
                    <a:pt x="24" y="156"/>
                    <a:pt x="23" y="157"/>
                  </a:cubicBezTo>
                  <a:cubicBezTo>
                    <a:pt x="23" y="158"/>
                    <a:pt x="22" y="159"/>
                    <a:pt x="22" y="160"/>
                  </a:cubicBezTo>
                  <a:cubicBezTo>
                    <a:pt x="21" y="162"/>
                    <a:pt x="20" y="163"/>
                    <a:pt x="19" y="164"/>
                  </a:cubicBezTo>
                  <a:cubicBezTo>
                    <a:pt x="18" y="166"/>
                    <a:pt x="17" y="168"/>
                    <a:pt x="16" y="170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5" y="172"/>
                    <a:pt x="15" y="172"/>
                  </a:cubicBezTo>
                  <a:cubicBezTo>
                    <a:pt x="15" y="174"/>
                    <a:pt x="17" y="174"/>
                    <a:pt x="17" y="175"/>
                  </a:cubicBezTo>
                  <a:cubicBezTo>
                    <a:pt x="19" y="176"/>
                    <a:pt x="20" y="177"/>
                    <a:pt x="21" y="178"/>
                  </a:cubicBezTo>
                  <a:cubicBezTo>
                    <a:pt x="22" y="180"/>
                    <a:pt x="23" y="181"/>
                    <a:pt x="25" y="182"/>
                  </a:cubicBezTo>
                  <a:cubicBezTo>
                    <a:pt x="26" y="183"/>
                    <a:pt x="27" y="183"/>
                    <a:pt x="28" y="184"/>
                  </a:cubicBezTo>
                  <a:cubicBezTo>
                    <a:pt x="29" y="185"/>
                    <a:pt x="30" y="185"/>
                    <a:pt x="31" y="187"/>
                  </a:cubicBezTo>
                  <a:cubicBezTo>
                    <a:pt x="33" y="188"/>
                    <a:pt x="33" y="190"/>
                    <a:pt x="34" y="192"/>
                  </a:cubicBezTo>
                  <a:cubicBezTo>
                    <a:pt x="34" y="192"/>
                    <a:pt x="34" y="193"/>
                    <a:pt x="34" y="193"/>
                  </a:cubicBezTo>
                  <a:cubicBezTo>
                    <a:pt x="36" y="196"/>
                    <a:pt x="40" y="196"/>
                    <a:pt x="41" y="199"/>
                  </a:cubicBezTo>
                  <a:cubicBezTo>
                    <a:pt x="41" y="200"/>
                    <a:pt x="40" y="202"/>
                    <a:pt x="40" y="203"/>
                  </a:cubicBezTo>
                  <a:cubicBezTo>
                    <a:pt x="40" y="204"/>
                    <a:pt x="40" y="205"/>
                    <a:pt x="39" y="206"/>
                  </a:cubicBezTo>
                  <a:cubicBezTo>
                    <a:pt x="39" y="208"/>
                    <a:pt x="38" y="208"/>
                    <a:pt x="37" y="210"/>
                  </a:cubicBezTo>
                  <a:cubicBezTo>
                    <a:pt x="36" y="211"/>
                    <a:pt x="36" y="210"/>
                    <a:pt x="37" y="212"/>
                  </a:cubicBezTo>
                  <a:cubicBezTo>
                    <a:pt x="37" y="214"/>
                    <a:pt x="37" y="215"/>
                    <a:pt x="37" y="217"/>
                  </a:cubicBezTo>
                  <a:cubicBezTo>
                    <a:pt x="37" y="218"/>
                    <a:pt x="38" y="221"/>
                    <a:pt x="38" y="222"/>
                  </a:cubicBezTo>
                  <a:cubicBezTo>
                    <a:pt x="39" y="223"/>
                    <a:pt x="39" y="223"/>
                    <a:pt x="39" y="223"/>
                  </a:cubicBezTo>
                  <a:cubicBezTo>
                    <a:pt x="40" y="223"/>
                    <a:pt x="40" y="224"/>
                    <a:pt x="40" y="224"/>
                  </a:cubicBezTo>
                  <a:cubicBezTo>
                    <a:pt x="40" y="224"/>
                    <a:pt x="41" y="224"/>
                    <a:pt x="42" y="225"/>
                  </a:cubicBezTo>
                  <a:cubicBezTo>
                    <a:pt x="42" y="225"/>
                    <a:pt x="42" y="227"/>
                    <a:pt x="42" y="227"/>
                  </a:cubicBezTo>
                  <a:cubicBezTo>
                    <a:pt x="42" y="229"/>
                    <a:pt x="43" y="230"/>
                    <a:pt x="43" y="231"/>
                  </a:cubicBezTo>
                  <a:cubicBezTo>
                    <a:pt x="43" y="232"/>
                    <a:pt x="42" y="232"/>
                    <a:pt x="43" y="233"/>
                  </a:cubicBezTo>
                  <a:cubicBezTo>
                    <a:pt x="43" y="234"/>
                    <a:pt x="46" y="235"/>
                    <a:pt x="46" y="236"/>
                  </a:cubicBezTo>
                  <a:cubicBezTo>
                    <a:pt x="49" y="238"/>
                    <a:pt x="47" y="241"/>
                    <a:pt x="47" y="244"/>
                  </a:cubicBezTo>
                  <a:cubicBezTo>
                    <a:pt x="46" y="247"/>
                    <a:pt x="46" y="249"/>
                    <a:pt x="46" y="252"/>
                  </a:cubicBezTo>
                  <a:cubicBezTo>
                    <a:pt x="46" y="252"/>
                    <a:pt x="46" y="252"/>
                    <a:pt x="46" y="253"/>
                  </a:cubicBezTo>
                  <a:cubicBezTo>
                    <a:pt x="45" y="255"/>
                    <a:pt x="43" y="255"/>
                    <a:pt x="41" y="255"/>
                  </a:cubicBezTo>
                  <a:cubicBezTo>
                    <a:pt x="37" y="256"/>
                    <a:pt x="38" y="257"/>
                    <a:pt x="38" y="260"/>
                  </a:cubicBezTo>
                  <a:cubicBezTo>
                    <a:pt x="38" y="261"/>
                    <a:pt x="38" y="264"/>
                    <a:pt x="38" y="265"/>
                  </a:cubicBezTo>
                  <a:cubicBezTo>
                    <a:pt x="39" y="266"/>
                    <a:pt x="40" y="265"/>
                    <a:pt x="41" y="265"/>
                  </a:cubicBezTo>
                  <a:cubicBezTo>
                    <a:pt x="40" y="265"/>
                    <a:pt x="39" y="266"/>
                    <a:pt x="38" y="267"/>
                  </a:cubicBezTo>
                  <a:cubicBezTo>
                    <a:pt x="39" y="269"/>
                    <a:pt x="41" y="271"/>
                    <a:pt x="42" y="273"/>
                  </a:cubicBezTo>
                  <a:cubicBezTo>
                    <a:pt x="42" y="273"/>
                    <a:pt x="42" y="274"/>
                    <a:pt x="42" y="274"/>
                  </a:cubicBezTo>
                  <a:cubicBezTo>
                    <a:pt x="42" y="275"/>
                    <a:pt x="43" y="275"/>
                    <a:pt x="43" y="275"/>
                  </a:cubicBezTo>
                  <a:cubicBezTo>
                    <a:pt x="43" y="275"/>
                    <a:pt x="44" y="277"/>
                    <a:pt x="44" y="276"/>
                  </a:cubicBezTo>
                  <a:cubicBezTo>
                    <a:pt x="44" y="278"/>
                    <a:pt x="45" y="280"/>
                    <a:pt x="45" y="282"/>
                  </a:cubicBezTo>
                  <a:cubicBezTo>
                    <a:pt x="45" y="283"/>
                    <a:pt x="44" y="283"/>
                    <a:pt x="44" y="284"/>
                  </a:cubicBezTo>
                  <a:cubicBezTo>
                    <a:pt x="44" y="284"/>
                    <a:pt x="43" y="284"/>
                    <a:pt x="43" y="284"/>
                  </a:cubicBezTo>
                  <a:cubicBezTo>
                    <a:pt x="43" y="285"/>
                    <a:pt x="42" y="285"/>
                    <a:pt x="41" y="285"/>
                  </a:cubicBezTo>
                  <a:cubicBezTo>
                    <a:pt x="40" y="286"/>
                    <a:pt x="41" y="287"/>
                    <a:pt x="42" y="288"/>
                  </a:cubicBezTo>
                  <a:cubicBezTo>
                    <a:pt x="42" y="288"/>
                    <a:pt x="42" y="288"/>
                    <a:pt x="43" y="289"/>
                  </a:cubicBezTo>
                  <a:cubicBezTo>
                    <a:pt x="45" y="290"/>
                    <a:pt x="46" y="291"/>
                    <a:pt x="47" y="292"/>
                  </a:cubicBezTo>
                  <a:cubicBezTo>
                    <a:pt x="48" y="293"/>
                    <a:pt x="50" y="293"/>
                    <a:pt x="51" y="294"/>
                  </a:cubicBezTo>
                  <a:cubicBezTo>
                    <a:pt x="52" y="295"/>
                    <a:pt x="52" y="295"/>
                    <a:pt x="53" y="296"/>
                  </a:cubicBezTo>
                  <a:cubicBezTo>
                    <a:pt x="54" y="298"/>
                    <a:pt x="54" y="299"/>
                    <a:pt x="54" y="301"/>
                  </a:cubicBezTo>
                  <a:cubicBezTo>
                    <a:pt x="55" y="302"/>
                    <a:pt x="55" y="303"/>
                    <a:pt x="55" y="303"/>
                  </a:cubicBezTo>
                  <a:cubicBezTo>
                    <a:pt x="55" y="304"/>
                    <a:pt x="56" y="304"/>
                    <a:pt x="56" y="304"/>
                  </a:cubicBezTo>
                  <a:cubicBezTo>
                    <a:pt x="57" y="305"/>
                    <a:pt x="58" y="306"/>
                    <a:pt x="58" y="307"/>
                  </a:cubicBezTo>
                  <a:cubicBezTo>
                    <a:pt x="59" y="308"/>
                    <a:pt x="59" y="309"/>
                    <a:pt x="60" y="310"/>
                  </a:cubicBezTo>
                  <a:cubicBezTo>
                    <a:pt x="60" y="312"/>
                    <a:pt x="60" y="311"/>
                    <a:pt x="60" y="313"/>
                  </a:cubicBezTo>
                  <a:cubicBezTo>
                    <a:pt x="59" y="315"/>
                    <a:pt x="59" y="317"/>
                    <a:pt x="58" y="319"/>
                  </a:cubicBezTo>
                  <a:cubicBezTo>
                    <a:pt x="57" y="321"/>
                    <a:pt x="57" y="322"/>
                    <a:pt x="57" y="324"/>
                  </a:cubicBezTo>
                  <a:cubicBezTo>
                    <a:pt x="56" y="326"/>
                    <a:pt x="57" y="328"/>
                    <a:pt x="56" y="330"/>
                  </a:cubicBezTo>
                  <a:cubicBezTo>
                    <a:pt x="56" y="332"/>
                    <a:pt x="54" y="333"/>
                    <a:pt x="54" y="336"/>
                  </a:cubicBezTo>
                  <a:cubicBezTo>
                    <a:pt x="54" y="337"/>
                    <a:pt x="54" y="337"/>
                    <a:pt x="54" y="338"/>
                  </a:cubicBezTo>
                  <a:cubicBezTo>
                    <a:pt x="56" y="338"/>
                    <a:pt x="59" y="338"/>
                    <a:pt x="61" y="338"/>
                  </a:cubicBezTo>
                  <a:cubicBezTo>
                    <a:pt x="65" y="338"/>
                    <a:pt x="68" y="338"/>
                    <a:pt x="72" y="338"/>
                  </a:cubicBezTo>
                  <a:cubicBezTo>
                    <a:pt x="75" y="338"/>
                    <a:pt x="75" y="338"/>
                    <a:pt x="76" y="340"/>
                  </a:cubicBezTo>
                  <a:cubicBezTo>
                    <a:pt x="76" y="340"/>
                    <a:pt x="77" y="340"/>
                    <a:pt x="77" y="341"/>
                  </a:cubicBezTo>
                  <a:cubicBezTo>
                    <a:pt x="78" y="341"/>
                    <a:pt x="78" y="341"/>
                    <a:pt x="78" y="342"/>
                  </a:cubicBezTo>
                  <a:cubicBezTo>
                    <a:pt x="78" y="342"/>
                    <a:pt x="79" y="343"/>
                    <a:pt x="79" y="343"/>
                  </a:cubicBezTo>
                  <a:cubicBezTo>
                    <a:pt x="81" y="346"/>
                    <a:pt x="82" y="348"/>
                    <a:pt x="84" y="350"/>
                  </a:cubicBezTo>
                  <a:cubicBezTo>
                    <a:pt x="85" y="352"/>
                    <a:pt x="86" y="355"/>
                    <a:pt x="88" y="356"/>
                  </a:cubicBezTo>
                  <a:cubicBezTo>
                    <a:pt x="89" y="356"/>
                    <a:pt x="90" y="356"/>
                    <a:pt x="91" y="356"/>
                  </a:cubicBezTo>
                  <a:cubicBezTo>
                    <a:pt x="93" y="356"/>
                    <a:pt x="95" y="358"/>
                    <a:pt x="97" y="358"/>
                  </a:cubicBezTo>
                  <a:cubicBezTo>
                    <a:pt x="99" y="359"/>
                    <a:pt x="102" y="361"/>
                    <a:pt x="104" y="362"/>
                  </a:cubicBezTo>
                  <a:cubicBezTo>
                    <a:pt x="106" y="362"/>
                    <a:pt x="107" y="363"/>
                    <a:pt x="108" y="363"/>
                  </a:cubicBezTo>
                  <a:cubicBezTo>
                    <a:pt x="110" y="364"/>
                    <a:pt x="111" y="364"/>
                    <a:pt x="113" y="365"/>
                  </a:cubicBezTo>
                  <a:cubicBezTo>
                    <a:pt x="114" y="365"/>
                    <a:pt x="114" y="366"/>
                    <a:pt x="115" y="366"/>
                  </a:cubicBezTo>
                  <a:cubicBezTo>
                    <a:pt x="116" y="367"/>
                    <a:pt x="117" y="366"/>
                    <a:pt x="118" y="367"/>
                  </a:cubicBezTo>
                  <a:cubicBezTo>
                    <a:pt x="118" y="367"/>
                    <a:pt x="119" y="368"/>
                    <a:pt x="120" y="369"/>
                  </a:cubicBezTo>
                  <a:cubicBezTo>
                    <a:pt x="120" y="369"/>
                    <a:pt x="122" y="369"/>
                    <a:pt x="122" y="369"/>
                  </a:cubicBezTo>
                  <a:cubicBezTo>
                    <a:pt x="124" y="370"/>
                    <a:pt x="125" y="370"/>
                    <a:pt x="127" y="370"/>
                  </a:cubicBezTo>
                  <a:cubicBezTo>
                    <a:pt x="129" y="370"/>
                    <a:pt x="131" y="369"/>
                    <a:pt x="133" y="370"/>
                  </a:cubicBezTo>
                  <a:cubicBezTo>
                    <a:pt x="135" y="370"/>
                    <a:pt x="135" y="370"/>
                    <a:pt x="136" y="371"/>
                  </a:cubicBezTo>
                  <a:cubicBezTo>
                    <a:pt x="138" y="372"/>
                    <a:pt x="137" y="370"/>
                    <a:pt x="138" y="372"/>
                  </a:cubicBezTo>
                  <a:cubicBezTo>
                    <a:pt x="138" y="372"/>
                    <a:pt x="138" y="374"/>
                    <a:pt x="138" y="375"/>
                  </a:cubicBezTo>
                  <a:cubicBezTo>
                    <a:pt x="137" y="376"/>
                    <a:pt x="136" y="377"/>
                    <a:pt x="136" y="378"/>
                  </a:cubicBezTo>
                  <a:cubicBezTo>
                    <a:pt x="135" y="379"/>
                    <a:pt x="134" y="380"/>
                    <a:pt x="133" y="381"/>
                  </a:cubicBezTo>
                  <a:cubicBezTo>
                    <a:pt x="132" y="382"/>
                    <a:pt x="130" y="383"/>
                    <a:pt x="129" y="385"/>
                  </a:cubicBezTo>
                  <a:cubicBezTo>
                    <a:pt x="128" y="386"/>
                    <a:pt x="128" y="388"/>
                    <a:pt x="128" y="389"/>
                  </a:cubicBezTo>
                  <a:cubicBezTo>
                    <a:pt x="129" y="392"/>
                    <a:pt x="131" y="392"/>
                    <a:pt x="133" y="393"/>
                  </a:cubicBezTo>
                  <a:cubicBezTo>
                    <a:pt x="135" y="394"/>
                    <a:pt x="136" y="395"/>
                    <a:pt x="137" y="396"/>
                  </a:cubicBezTo>
                  <a:cubicBezTo>
                    <a:pt x="138" y="397"/>
                    <a:pt x="139" y="397"/>
                    <a:pt x="140" y="398"/>
                  </a:cubicBezTo>
                  <a:cubicBezTo>
                    <a:pt x="140" y="398"/>
                    <a:pt x="141" y="400"/>
                    <a:pt x="141" y="400"/>
                  </a:cubicBezTo>
                  <a:cubicBezTo>
                    <a:pt x="142" y="401"/>
                    <a:pt x="142" y="401"/>
                    <a:pt x="143" y="402"/>
                  </a:cubicBezTo>
                  <a:cubicBezTo>
                    <a:pt x="144" y="404"/>
                    <a:pt x="145" y="405"/>
                    <a:pt x="145" y="407"/>
                  </a:cubicBezTo>
                  <a:cubicBezTo>
                    <a:pt x="145" y="409"/>
                    <a:pt x="146" y="410"/>
                    <a:pt x="147" y="412"/>
                  </a:cubicBezTo>
                  <a:cubicBezTo>
                    <a:pt x="148" y="413"/>
                    <a:pt x="148" y="414"/>
                    <a:pt x="149" y="415"/>
                  </a:cubicBezTo>
                  <a:cubicBezTo>
                    <a:pt x="152" y="417"/>
                    <a:pt x="154" y="415"/>
                    <a:pt x="156" y="413"/>
                  </a:cubicBezTo>
                  <a:cubicBezTo>
                    <a:pt x="156" y="412"/>
                    <a:pt x="157" y="412"/>
                    <a:pt x="157" y="412"/>
                  </a:cubicBezTo>
                  <a:cubicBezTo>
                    <a:pt x="158" y="410"/>
                    <a:pt x="158" y="411"/>
                    <a:pt x="160" y="410"/>
                  </a:cubicBezTo>
                  <a:cubicBezTo>
                    <a:pt x="162" y="408"/>
                    <a:pt x="161" y="407"/>
                    <a:pt x="163" y="406"/>
                  </a:cubicBezTo>
                  <a:cubicBezTo>
                    <a:pt x="164" y="405"/>
                    <a:pt x="165" y="405"/>
                    <a:pt x="166" y="405"/>
                  </a:cubicBezTo>
                  <a:cubicBezTo>
                    <a:pt x="167" y="404"/>
                    <a:pt x="169" y="403"/>
                    <a:pt x="171" y="403"/>
                  </a:cubicBezTo>
                  <a:cubicBezTo>
                    <a:pt x="173" y="402"/>
                    <a:pt x="174" y="402"/>
                    <a:pt x="174" y="400"/>
                  </a:cubicBezTo>
                  <a:cubicBezTo>
                    <a:pt x="173" y="397"/>
                    <a:pt x="171" y="397"/>
                    <a:pt x="169" y="395"/>
                  </a:cubicBezTo>
                  <a:cubicBezTo>
                    <a:pt x="168" y="394"/>
                    <a:pt x="168" y="394"/>
                    <a:pt x="167" y="393"/>
                  </a:cubicBezTo>
                  <a:cubicBezTo>
                    <a:pt x="166" y="391"/>
                    <a:pt x="165" y="390"/>
                    <a:pt x="165" y="388"/>
                  </a:cubicBezTo>
                  <a:cubicBezTo>
                    <a:pt x="169" y="388"/>
                    <a:pt x="174" y="388"/>
                    <a:pt x="177" y="390"/>
                  </a:cubicBezTo>
                  <a:cubicBezTo>
                    <a:pt x="177" y="390"/>
                    <a:pt x="178" y="391"/>
                    <a:pt x="177" y="392"/>
                  </a:cubicBezTo>
                  <a:cubicBezTo>
                    <a:pt x="179" y="393"/>
                    <a:pt x="179" y="392"/>
                    <a:pt x="180" y="393"/>
                  </a:cubicBezTo>
                  <a:cubicBezTo>
                    <a:pt x="181" y="394"/>
                    <a:pt x="183" y="395"/>
                    <a:pt x="184" y="395"/>
                  </a:cubicBezTo>
                  <a:cubicBezTo>
                    <a:pt x="184" y="397"/>
                    <a:pt x="185" y="397"/>
                    <a:pt x="187" y="398"/>
                  </a:cubicBezTo>
                  <a:cubicBezTo>
                    <a:pt x="189" y="398"/>
                    <a:pt x="190" y="400"/>
                    <a:pt x="191" y="400"/>
                  </a:cubicBezTo>
                  <a:cubicBezTo>
                    <a:pt x="192" y="401"/>
                    <a:pt x="192" y="400"/>
                    <a:pt x="193" y="401"/>
                  </a:cubicBezTo>
                  <a:cubicBezTo>
                    <a:pt x="194" y="401"/>
                    <a:pt x="193" y="402"/>
                    <a:pt x="194" y="402"/>
                  </a:cubicBezTo>
                  <a:cubicBezTo>
                    <a:pt x="196" y="403"/>
                    <a:pt x="200" y="402"/>
                    <a:pt x="201" y="402"/>
                  </a:cubicBezTo>
                  <a:cubicBezTo>
                    <a:pt x="204" y="402"/>
                    <a:pt x="208" y="399"/>
                    <a:pt x="210" y="402"/>
                  </a:cubicBezTo>
                  <a:cubicBezTo>
                    <a:pt x="210" y="403"/>
                    <a:pt x="210" y="406"/>
                    <a:pt x="210" y="407"/>
                  </a:cubicBezTo>
                  <a:cubicBezTo>
                    <a:pt x="209" y="409"/>
                    <a:pt x="207" y="409"/>
                    <a:pt x="206" y="411"/>
                  </a:cubicBezTo>
                  <a:cubicBezTo>
                    <a:pt x="206" y="412"/>
                    <a:pt x="207" y="413"/>
                    <a:pt x="208" y="414"/>
                  </a:cubicBezTo>
                  <a:cubicBezTo>
                    <a:pt x="209" y="415"/>
                    <a:pt x="210" y="417"/>
                    <a:pt x="212" y="417"/>
                  </a:cubicBezTo>
                  <a:cubicBezTo>
                    <a:pt x="213" y="418"/>
                    <a:pt x="214" y="420"/>
                    <a:pt x="215" y="421"/>
                  </a:cubicBezTo>
                  <a:cubicBezTo>
                    <a:pt x="217" y="422"/>
                    <a:pt x="219" y="421"/>
                    <a:pt x="220" y="421"/>
                  </a:cubicBezTo>
                  <a:cubicBezTo>
                    <a:pt x="221" y="422"/>
                    <a:pt x="221" y="422"/>
                    <a:pt x="222" y="423"/>
                  </a:cubicBezTo>
                  <a:cubicBezTo>
                    <a:pt x="222" y="423"/>
                    <a:pt x="222" y="423"/>
                    <a:pt x="223" y="423"/>
                  </a:cubicBezTo>
                  <a:cubicBezTo>
                    <a:pt x="225" y="424"/>
                    <a:pt x="226" y="423"/>
                    <a:pt x="227" y="424"/>
                  </a:cubicBezTo>
                  <a:cubicBezTo>
                    <a:pt x="229" y="424"/>
                    <a:pt x="229" y="425"/>
                    <a:pt x="231" y="426"/>
                  </a:cubicBezTo>
                  <a:cubicBezTo>
                    <a:pt x="233" y="426"/>
                    <a:pt x="235" y="426"/>
                    <a:pt x="237" y="427"/>
                  </a:cubicBezTo>
                  <a:cubicBezTo>
                    <a:pt x="239" y="427"/>
                    <a:pt x="240" y="428"/>
                    <a:pt x="243" y="428"/>
                  </a:cubicBezTo>
                  <a:cubicBezTo>
                    <a:pt x="243" y="429"/>
                    <a:pt x="243" y="429"/>
                    <a:pt x="243" y="429"/>
                  </a:cubicBezTo>
                  <a:cubicBezTo>
                    <a:pt x="245" y="429"/>
                    <a:pt x="247" y="430"/>
                    <a:pt x="249" y="431"/>
                  </a:cubicBezTo>
                  <a:cubicBezTo>
                    <a:pt x="253" y="433"/>
                    <a:pt x="256" y="433"/>
                    <a:pt x="260" y="434"/>
                  </a:cubicBezTo>
                  <a:cubicBezTo>
                    <a:pt x="257" y="440"/>
                    <a:pt x="259" y="446"/>
                    <a:pt x="264" y="449"/>
                  </a:cubicBezTo>
                  <a:cubicBezTo>
                    <a:pt x="267" y="451"/>
                    <a:pt x="269" y="452"/>
                    <a:pt x="269" y="455"/>
                  </a:cubicBezTo>
                  <a:cubicBezTo>
                    <a:pt x="269" y="457"/>
                    <a:pt x="269" y="459"/>
                    <a:pt x="269" y="460"/>
                  </a:cubicBezTo>
                  <a:cubicBezTo>
                    <a:pt x="268" y="462"/>
                    <a:pt x="267" y="463"/>
                    <a:pt x="268" y="465"/>
                  </a:cubicBezTo>
                  <a:cubicBezTo>
                    <a:pt x="268" y="465"/>
                    <a:pt x="269" y="465"/>
                    <a:pt x="270" y="465"/>
                  </a:cubicBezTo>
                  <a:cubicBezTo>
                    <a:pt x="271" y="465"/>
                    <a:pt x="271" y="465"/>
                    <a:pt x="271" y="466"/>
                  </a:cubicBezTo>
                  <a:cubicBezTo>
                    <a:pt x="272" y="467"/>
                    <a:pt x="272" y="469"/>
                    <a:pt x="272" y="470"/>
                  </a:cubicBezTo>
                  <a:cubicBezTo>
                    <a:pt x="273" y="473"/>
                    <a:pt x="272" y="475"/>
                    <a:pt x="276" y="475"/>
                  </a:cubicBezTo>
                  <a:cubicBezTo>
                    <a:pt x="279" y="476"/>
                    <a:pt x="283" y="476"/>
                    <a:pt x="286" y="475"/>
                  </a:cubicBezTo>
                  <a:cubicBezTo>
                    <a:pt x="290" y="475"/>
                    <a:pt x="289" y="473"/>
                    <a:pt x="289" y="469"/>
                  </a:cubicBezTo>
                  <a:cubicBezTo>
                    <a:pt x="290" y="466"/>
                    <a:pt x="291" y="465"/>
                    <a:pt x="294" y="464"/>
                  </a:cubicBezTo>
                  <a:cubicBezTo>
                    <a:pt x="296" y="464"/>
                    <a:pt x="296" y="463"/>
                    <a:pt x="298" y="463"/>
                  </a:cubicBezTo>
                  <a:cubicBezTo>
                    <a:pt x="298" y="463"/>
                    <a:pt x="299" y="463"/>
                    <a:pt x="299" y="462"/>
                  </a:cubicBezTo>
                  <a:cubicBezTo>
                    <a:pt x="301" y="462"/>
                    <a:pt x="301" y="461"/>
                    <a:pt x="302" y="460"/>
                  </a:cubicBezTo>
                  <a:cubicBezTo>
                    <a:pt x="304" y="458"/>
                    <a:pt x="307" y="460"/>
                    <a:pt x="307" y="463"/>
                  </a:cubicBezTo>
                  <a:cubicBezTo>
                    <a:pt x="307" y="464"/>
                    <a:pt x="307" y="465"/>
                    <a:pt x="308" y="466"/>
                  </a:cubicBezTo>
                  <a:cubicBezTo>
                    <a:pt x="309" y="467"/>
                    <a:pt x="311" y="466"/>
                    <a:pt x="311" y="468"/>
                  </a:cubicBezTo>
                  <a:cubicBezTo>
                    <a:pt x="312" y="468"/>
                    <a:pt x="315" y="470"/>
                    <a:pt x="315" y="471"/>
                  </a:cubicBezTo>
                  <a:cubicBezTo>
                    <a:pt x="316" y="472"/>
                    <a:pt x="316" y="473"/>
                    <a:pt x="316" y="473"/>
                  </a:cubicBezTo>
                  <a:cubicBezTo>
                    <a:pt x="317" y="474"/>
                    <a:pt x="318" y="475"/>
                    <a:pt x="318" y="476"/>
                  </a:cubicBezTo>
                  <a:cubicBezTo>
                    <a:pt x="319" y="477"/>
                    <a:pt x="319" y="477"/>
                    <a:pt x="319" y="479"/>
                  </a:cubicBezTo>
                  <a:cubicBezTo>
                    <a:pt x="319" y="481"/>
                    <a:pt x="319" y="483"/>
                    <a:pt x="319" y="485"/>
                  </a:cubicBezTo>
                  <a:cubicBezTo>
                    <a:pt x="319" y="487"/>
                    <a:pt x="319" y="486"/>
                    <a:pt x="321" y="487"/>
                  </a:cubicBezTo>
                  <a:cubicBezTo>
                    <a:pt x="321" y="488"/>
                    <a:pt x="322" y="488"/>
                    <a:pt x="323" y="488"/>
                  </a:cubicBezTo>
                  <a:cubicBezTo>
                    <a:pt x="323" y="489"/>
                    <a:pt x="324" y="490"/>
                    <a:pt x="325" y="490"/>
                  </a:cubicBezTo>
                  <a:cubicBezTo>
                    <a:pt x="326" y="491"/>
                    <a:pt x="326" y="491"/>
                    <a:pt x="327" y="491"/>
                  </a:cubicBezTo>
                  <a:cubicBezTo>
                    <a:pt x="328" y="491"/>
                    <a:pt x="329" y="492"/>
                    <a:pt x="329" y="493"/>
                  </a:cubicBezTo>
                  <a:cubicBezTo>
                    <a:pt x="331" y="493"/>
                    <a:pt x="333" y="493"/>
                    <a:pt x="334" y="493"/>
                  </a:cubicBezTo>
                  <a:cubicBezTo>
                    <a:pt x="334" y="491"/>
                    <a:pt x="334" y="490"/>
                    <a:pt x="334" y="488"/>
                  </a:cubicBezTo>
                  <a:cubicBezTo>
                    <a:pt x="334" y="485"/>
                    <a:pt x="335" y="484"/>
                    <a:pt x="338" y="483"/>
                  </a:cubicBezTo>
                  <a:cubicBezTo>
                    <a:pt x="341" y="480"/>
                    <a:pt x="345" y="482"/>
                    <a:pt x="349" y="481"/>
                  </a:cubicBezTo>
                  <a:cubicBezTo>
                    <a:pt x="350" y="479"/>
                    <a:pt x="349" y="478"/>
                    <a:pt x="349" y="476"/>
                  </a:cubicBezTo>
                  <a:cubicBezTo>
                    <a:pt x="351" y="476"/>
                    <a:pt x="354" y="476"/>
                    <a:pt x="356" y="476"/>
                  </a:cubicBezTo>
                  <a:cubicBezTo>
                    <a:pt x="359" y="476"/>
                    <a:pt x="361" y="473"/>
                    <a:pt x="365" y="473"/>
                  </a:cubicBezTo>
                  <a:cubicBezTo>
                    <a:pt x="366" y="474"/>
                    <a:pt x="366" y="475"/>
                    <a:pt x="368" y="475"/>
                  </a:cubicBezTo>
                  <a:cubicBezTo>
                    <a:pt x="369" y="476"/>
                    <a:pt x="370" y="475"/>
                    <a:pt x="371" y="475"/>
                  </a:cubicBezTo>
                  <a:cubicBezTo>
                    <a:pt x="373" y="476"/>
                    <a:pt x="374" y="479"/>
                    <a:pt x="376" y="480"/>
                  </a:cubicBezTo>
                  <a:cubicBezTo>
                    <a:pt x="376" y="480"/>
                    <a:pt x="378" y="480"/>
                    <a:pt x="378" y="480"/>
                  </a:cubicBezTo>
                  <a:cubicBezTo>
                    <a:pt x="379" y="481"/>
                    <a:pt x="380" y="481"/>
                    <a:pt x="381" y="481"/>
                  </a:cubicBezTo>
                  <a:cubicBezTo>
                    <a:pt x="381" y="482"/>
                    <a:pt x="381" y="483"/>
                    <a:pt x="382" y="483"/>
                  </a:cubicBezTo>
                  <a:cubicBezTo>
                    <a:pt x="382" y="483"/>
                    <a:pt x="385" y="483"/>
                    <a:pt x="385" y="483"/>
                  </a:cubicBezTo>
                  <a:cubicBezTo>
                    <a:pt x="386" y="483"/>
                    <a:pt x="389" y="481"/>
                    <a:pt x="389" y="480"/>
                  </a:cubicBezTo>
                  <a:cubicBezTo>
                    <a:pt x="390" y="478"/>
                    <a:pt x="389" y="477"/>
                    <a:pt x="390" y="475"/>
                  </a:cubicBezTo>
                  <a:cubicBezTo>
                    <a:pt x="391" y="474"/>
                    <a:pt x="392" y="473"/>
                    <a:pt x="393" y="473"/>
                  </a:cubicBezTo>
                  <a:cubicBezTo>
                    <a:pt x="395" y="473"/>
                    <a:pt x="398" y="475"/>
                    <a:pt x="399" y="471"/>
                  </a:cubicBezTo>
                  <a:cubicBezTo>
                    <a:pt x="399" y="471"/>
                    <a:pt x="400" y="470"/>
                    <a:pt x="401" y="470"/>
                  </a:cubicBezTo>
                  <a:cubicBezTo>
                    <a:pt x="402" y="470"/>
                    <a:pt x="402" y="471"/>
                    <a:pt x="403" y="471"/>
                  </a:cubicBezTo>
                  <a:cubicBezTo>
                    <a:pt x="405" y="471"/>
                    <a:pt x="408" y="471"/>
                    <a:pt x="410" y="471"/>
                  </a:cubicBezTo>
                  <a:cubicBezTo>
                    <a:pt x="413" y="472"/>
                    <a:pt x="417" y="473"/>
                    <a:pt x="420" y="474"/>
                  </a:cubicBezTo>
                  <a:cubicBezTo>
                    <a:pt x="422" y="475"/>
                    <a:pt x="423" y="476"/>
                    <a:pt x="425" y="477"/>
                  </a:cubicBezTo>
                  <a:cubicBezTo>
                    <a:pt x="426" y="478"/>
                    <a:pt x="425" y="478"/>
                    <a:pt x="427" y="479"/>
                  </a:cubicBezTo>
                  <a:cubicBezTo>
                    <a:pt x="428" y="479"/>
                    <a:pt x="429" y="478"/>
                    <a:pt x="430" y="478"/>
                  </a:cubicBezTo>
                  <a:cubicBezTo>
                    <a:pt x="431" y="479"/>
                    <a:pt x="432" y="480"/>
                    <a:pt x="433" y="481"/>
                  </a:cubicBezTo>
                  <a:cubicBezTo>
                    <a:pt x="433" y="482"/>
                    <a:pt x="433" y="482"/>
                    <a:pt x="434" y="483"/>
                  </a:cubicBezTo>
                  <a:cubicBezTo>
                    <a:pt x="434" y="483"/>
                    <a:pt x="435" y="485"/>
                    <a:pt x="435" y="485"/>
                  </a:cubicBezTo>
                  <a:cubicBezTo>
                    <a:pt x="436" y="485"/>
                    <a:pt x="436" y="485"/>
                    <a:pt x="437" y="485"/>
                  </a:cubicBezTo>
                  <a:cubicBezTo>
                    <a:pt x="439" y="486"/>
                    <a:pt x="441" y="487"/>
                    <a:pt x="442" y="488"/>
                  </a:cubicBezTo>
                  <a:cubicBezTo>
                    <a:pt x="444" y="489"/>
                    <a:pt x="444" y="489"/>
                    <a:pt x="445" y="490"/>
                  </a:cubicBezTo>
                  <a:cubicBezTo>
                    <a:pt x="446" y="492"/>
                    <a:pt x="447" y="492"/>
                    <a:pt x="448" y="493"/>
                  </a:cubicBezTo>
                  <a:cubicBezTo>
                    <a:pt x="452" y="494"/>
                    <a:pt x="455" y="494"/>
                    <a:pt x="459" y="496"/>
                  </a:cubicBezTo>
                  <a:cubicBezTo>
                    <a:pt x="460" y="496"/>
                    <a:pt x="462" y="497"/>
                    <a:pt x="464" y="498"/>
                  </a:cubicBezTo>
                  <a:cubicBezTo>
                    <a:pt x="464" y="498"/>
                    <a:pt x="465" y="499"/>
                    <a:pt x="466" y="499"/>
                  </a:cubicBezTo>
                  <a:cubicBezTo>
                    <a:pt x="466" y="500"/>
                    <a:pt x="467" y="500"/>
                    <a:pt x="468" y="500"/>
                  </a:cubicBezTo>
                  <a:cubicBezTo>
                    <a:pt x="470" y="501"/>
                    <a:pt x="471" y="503"/>
                    <a:pt x="474" y="503"/>
                  </a:cubicBezTo>
                  <a:cubicBezTo>
                    <a:pt x="475" y="503"/>
                    <a:pt x="476" y="503"/>
                    <a:pt x="477" y="503"/>
                  </a:cubicBezTo>
                  <a:cubicBezTo>
                    <a:pt x="478" y="503"/>
                    <a:pt x="478" y="504"/>
                    <a:pt x="479" y="505"/>
                  </a:cubicBezTo>
                  <a:cubicBezTo>
                    <a:pt x="481" y="505"/>
                    <a:pt x="485" y="505"/>
                    <a:pt x="487" y="505"/>
                  </a:cubicBezTo>
                  <a:cubicBezTo>
                    <a:pt x="488" y="502"/>
                    <a:pt x="485" y="500"/>
                    <a:pt x="485" y="497"/>
                  </a:cubicBezTo>
                  <a:cubicBezTo>
                    <a:pt x="484" y="497"/>
                    <a:pt x="484" y="497"/>
                    <a:pt x="483" y="496"/>
                  </a:cubicBezTo>
                  <a:cubicBezTo>
                    <a:pt x="483" y="496"/>
                    <a:pt x="483" y="495"/>
                    <a:pt x="482" y="495"/>
                  </a:cubicBezTo>
                  <a:cubicBezTo>
                    <a:pt x="482" y="495"/>
                    <a:pt x="481" y="495"/>
                    <a:pt x="480" y="495"/>
                  </a:cubicBezTo>
                  <a:cubicBezTo>
                    <a:pt x="476" y="494"/>
                    <a:pt x="477" y="489"/>
                    <a:pt x="477" y="486"/>
                  </a:cubicBezTo>
                  <a:cubicBezTo>
                    <a:pt x="477" y="484"/>
                    <a:pt x="478" y="481"/>
                    <a:pt x="477" y="479"/>
                  </a:cubicBezTo>
                  <a:cubicBezTo>
                    <a:pt x="476" y="479"/>
                    <a:pt x="476" y="478"/>
                    <a:pt x="475" y="478"/>
                  </a:cubicBezTo>
                  <a:cubicBezTo>
                    <a:pt x="475" y="477"/>
                    <a:pt x="475" y="475"/>
                    <a:pt x="475" y="474"/>
                  </a:cubicBezTo>
                  <a:cubicBezTo>
                    <a:pt x="475" y="472"/>
                    <a:pt x="474" y="471"/>
                    <a:pt x="473" y="468"/>
                  </a:cubicBezTo>
                  <a:cubicBezTo>
                    <a:pt x="473" y="467"/>
                    <a:pt x="473" y="467"/>
                    <a:pt x="473" y="466"/>
                  </a:cubicBezTo>
                  <a:cubicBezTo>
                    <a:pt x="473" y="465"/>
                    <a:pt x="473" y="464"/>
                    <a:pt x="473" y="464"/>
                  </a:cubicBezTo>
                  <a:cubicBezTo>
                    <a:pt x="473" y="462"/>
                    <a:pt x="473" y="464"/>
                    <a:pt x="474" y="462"/>
                  </a:cubicBezTo>
                  <a:cubicBezTo>
                    <a:pt x="476" y="461"/>
                    <a:pt x="477" y="459"/>
                    <a:pt x="478" y="458"/>
                  </a:cubicBezTo>
                  <a:cubicBezTo>
                    <a:pt x="480" y="457"/>
                    <a:pt x="481" y="457"/>
                    <a:pt x="482" y="455"/>
                  </a:cubicBezTo>
                  <a:cubicBezTo>
                    <a:pt x="483" y="455"/>
                    <a:pt x="484" y="454"/>
                    <a:pt x="484" y="453"/>
                  </a:cubicBezTo>
                  <a:cubicBezTo>
                    <a:pt x="485" y="451"/>
                    <a:pt x="487" y="448"/>
                    <a:pt x="488" y="445"/>
                  </a:cubicBezTo>
                  <a:cubicBezTo>
                    <a:pt x="491" y="440"/>
                    <a:pt x="494" y="436"/>
                    <a:pt x="497" y="431"/>
                  </a:cubicBezTo>
                  <a:cubicBezTo>
                    <a:pt x="498" y="429"/>
                    <a:pt x="499" y="427"/>
                    <a:pt x="500" y="426"/>
                  </a:cubicBezTo>
                  <a:cubicBezTo>
                    <a:pt x="500" y="426"/>
                    <a:pt x="500" y="425"/>
                    <a:pt x="500" y="424"/>
                  </a:cubicBezTo>
                  <a:cubicBezTo>
                    <a:pt x="500" y="424"/>
                    <a:pt x="500" y="423"/>
                    <a:pt x="501" y="423"/>
                  </a:cubicBezTo>
                  <a:cubicBezTo>
                    <a:pt x="501" y="421"/>
                    <a:pt x="501" y="419"/>
                    <a:pt x="502" y="419"/>
                  </a:cubicBezTo>
                  <a:cubicBezTo>
                    <a:pt x="503" y="417"/>
                    <a:pt x="505" y="417"/>
                    <a:pt x="506" y="416"/>
                  </a:cubicBezTo>
                  <a:cubicBezTo>
                    <a:pt x="508" y="412"/>
                    <a:pt x="512" y="410"/>
                    <a:pt x="514" y="406"/>
                  </a:cubicBezTo>
                  <a:cubicBezTo>
                    <a:pt x="517" y="403"/>
                    <a:pt x="521" y="398"/>
                    <a:pt x="525" y="396"/>
                  </a:cubicBezTo>
                  <a:cubicBezTo>
                    <a:pt x="530" y="392"/>
                    <a:pt x="536" y="390"/>
                    <a:pt x="542" y="390"/>
                  </a:cubicBezTo>
                  <a:cubicBezTo>
                    <a:pt x="544" y="390"/>
                    <a:pt x="550" y="391"/>
                    <a:pt x="551" y="390"/>
                  </a:cubicBezTo>
                  <a:cubicBezTo>
                    <a:pt x="553" y="389"/>
                    <a:pt x="552" y="385"/>
                    <a:pt x="552" y="382"/>
                  </a:cubicBezTo>
                  <a:cubicBezTo>
                    <a:pt x="552" y="383"/>
                    <a:pt x="552" y="383"/>
                    <a:pt x="551" y="384"/>
                  </a:cubicBezTo>
                  <a:cubicBezTo>
                    <a:pt x="551" y="383"/>
                    <a:pt x="552" y="382"/>
                    <a:pt x="552" y="382"/>
                  </a:cubicBezTo>
                  <a:cubicBezTo>
                    <a:pt x="552" y="377"/>
                    <a:pt x="552" y="372"/>
                    <a:pt x="552" y="367"/>
                  </a:cubicBezTo>
                  <a:cubicBezTo>
                    <a:pt x="552" y="365"/>
                    <a:pt x="552" y="364"/>
                    <a:pt x="551" y="362"/>
                  </a:cubicBezTo>
                  <a:cubicBezTo>
                    <a:pt x="550" y="361"/>
                    <a:pt x="548" y="360"/>
                    <a:pt x="548" y="360"/>
                  </a:cubicBezTo>
                  <a:cubicBezTo>
                    <a:pt x="547" y="360"/>
                    <a:pt x="545" y="359"/>
                    <a:pt x="545" y="359"/>
                  </a:cubicBezTo>
                  <a:cubicBezTo>
                    <a:pt x="541" y="354"/>
                    <a:pt x="556" y="355"/>
                    <a:pt x="556" y="355"/>
                  </a:cubicBezTo>
                  <a:cubicBezTo>
                    <a:pt x="557" y="354"/>
                    <a:pt x="557" y="353"/>
                    <a:pt x="557" y="35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0" name="Freeform 22">
              <a:extLst>
                <a:ext uri="{FF2B5EF4-FFF2-40B4-BE49-F238E27FC236}">
                  <a16:creationId xmlns:a16="http://schemas.microsoft.com/office/drawing/2014/main" id="{068A53AC-DA51-4212-81F8-07B700D337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94238" y="4368800"/>
              <a:ext cx="700088" cy="392113"/>
            </a:xfrm>
            <a:custGeom>
              <a:avLst/>
              <a:gdLst/>
              <a:ahLst/>
              <a:cxnLst>
                <a:cxn ang="0">
                  <a:pos x="261" y="202"/>
                </a:cxn>
                <a:cxn ang="0">
                  <a:pos x="275" y="194"/>
                </a:cxn>
                <a:cxn ang="0">
                  <a:pos x="288" y="192"/>
                </a:cxn>
                <a:cxn ang="0">
                  <a:pos x="306" y="190"/>
                </a:cxn>
                <a:cxn ang="0">
                  <a:pos x="322" y="178"/>
                </a:cxn>
                <a:cxn ang="0">
                  <a:pos x="334" y="162"/>
                </a:cxn>
                <a:cxn ang="0">
                  <a:pos x="344" y="152"/>
                </a:cxn>
                <a:cxn ang="0">
                  <a:pos x="354" y="140"/>
                </a:cxn>
                <a:cxn ang="0">
                  <a:pos x="368" y="137"/>
                </a:cxn>
                <a:cxn ang="0">
                  <a:pos x="373" y="135"/>
                </a:cxn>
                <a:cxn ang="0">
                  <a:pos x="354" y="101"/>
                </a:cxn>
                <a:cxn ang="0">
                  <a:pos x="332" y="94"/>
                </a:cxn>
                <a:cxn ang="0">
                  <a:pos x="317" y="87"/>
                </a:cxn>
                <a:cxn ang="0">
                  <a:pos x="306" y="72"/>
                </a:cxn>
                <a:cxn ang="0">
                  <a:pos x="289" y="65"/>
                </a:cxn>
                <a:cxn ang="0">
                  <a:pos x="272" y="63"/>
                </a:cxn>
                <a:cxn ang="0">
                  <a:pos x="268" y="76"/>
                </a:cxn>
                <a:cxn ang="0">
                  <a:pos x="252" y="82"/>
                </a:cxn>
                <a:cxn ang="0">
                  <a:pos x="242" y="66"/>
                </a:cxn>
                <a:cxn ang="0">
                  <a:pos x="241" y="48"/>
                </a:cxn>
                <a:cxn ang="0">
                  <a:pos x="232" y="40"/>
                </a:cxn>
                <a:cxn ang="0">
                  <a:pos x="218" y="35"/>
                </a:cxn>
                <a:cxn ang="0">
                  <a:pos x="193" y="26"/>
                </a:cxn>
                <a:cxn ang="0">
                  <a:pos x="181" y="10"/>
                </a:cxn>
                <a:cxn ang="0">
                  <a:pos x="157" y="13"/>
                </a:cxn>
                <a:cxn ang="0">
                  <a:pos x="145" y="19"/>
                </a:cxn>
                <a:cxn ang="0">
                  <a:pos x="137" y="4"/>
                </a:cxn>
                <a:cxn ang="0">
                  <a:pos x="126" y="9"/>
                </a:cxn>
                <a:cxn ang="0">
                  <a:pos x="115" y="20"/>
                </a:cxn>
                <a:cxn ang="0">
                  <a:pos x="102" y="26"/>
                </a:cxn>
                <a:cxn ang="0">
                  <a:pos x="86" y="30"/>
                </a:cxn>
                <a:cxn ang="0">
                  <a:pos x="78" y="41"/>
                </a:cxn>
                <a:cxn ang="0">
                  <a:pos x="71" y="41"/>
                </a:cxn>
                <a:cxn ang="0">
                  <a:pos x="61" y="48"/>
                </a:cxn>
                <a:cxn ang="0">
                  <a:pos x="51" y="56"/>
                </a:cxn>
                <a:cxn ang="0">
                  <a:pos x="39" y="55"/>
                </a:cxn>
                <a:cxn ang="0">
                  <a:pos x="28" y="59"/>
                </a:cxn>
                <a:cxn ang="0">
                  <a:pos x="15" y="73"/>
                </a:cxn>
                <a:cxn ang="0">
                  <a:pos x="11" y="75"/>
                </a:cxn>
                <a:cxn ang="0">
                  <a:pos x="2" y="68"/>
                </a:cxn>
                <a:cxn ang="0">
                  <a:pos x="11" y="88"/>
                </a:cxn>
                <a:cxn ang="0">
                  <a:pos x="23" y="102"/>
                </a:cxn>
                <a:cxn ang="0">
                  <a:pos x="18" y="117"/>
                </a:cxn>
                <a:cxn ang="0">
                  <a:pos x="29" y="137"/>
                </a:cxn>
                <a:cxn ang="0">
                  <a:pos x="40" y="148"/>
                </a:cxn>
                <a:cxn ang="0">
                  <a:pos x="54" y="164"/>
                </a:cxn>
                <a:cxn ang="0">
                  <a:pos x="66" y="171"/>
                </a:cxn>
                <a:cxn ang="0">
                  <a:pos x="83" y="186"/>
                </a:cxn>
                <a:cxn ang="0">
                  <a:pos x="91" y="194"/>
                </a:cxn>
                <a:cxn ang="0">
                  <a:pos x="102" y="207"/>
                </a:cxn>
                <a:cxn ang="0">
                  <a:pos x="114" y="210"/>
                </a:cxn>
                <a:cxn ang="0">
                  <a:pos x="127" y="208"/>
                </a:cxn>
                <a:cxn ang="0">
                  <a:pos x="136" y="207"/>
                </a:cxn>
                <a:cxn ang="0">
                  <a:pos x="151" y="192"/>
                </a:cxn>
                <a:cxn ang="0">
                  <a:pos x="157" y="175"/>
                </a:cxn>
                <a:cxn ang="0">
                  <a:pos x="172" y="178"/>
                </a:cxn>
                <a:cxn ang="0">
                  <a:pos x="194" y="187"/>
                </a:cxn>
                <a:cxn ang="0">
                  <a:pos x="215" y="196"/>
                </a:cxn>
                <a:cxn ang="0">
                  <a:pos x="238" y="193"/>
                </a:cxn>
                <a:cxn ang="0">
                  <a:pos x="254" y="200"/>
                </a:cxn>
                <a:cxn ang="0">
                  <a:pos x="261" y="202"/>
                </a:cxn>
              </a:cxnLst>
              <a:rect l="0" t="0" r="r" b="b"/>
              <a:pathLst>
                <a:path w="375" h="210">
                  <a:moveTo>
                    <a:pt x="159" y="8"/>
                  </a:move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7"/>
                    <a:pt x="159" y="7"/>
                  </a:cubicBezTo>
                  <a:cubicBezTo>
                    <a:pt x="159" y="7"/>
                    <a:pt x="159" y="8"/>
                    <a:pt x="159" y="8"/>
                  </a:cubicBezTo>
                  <a:moveTo>
                    <a:pt x="261" y="202"/>
                  </a:moveTo>
                  <a:cubicBezTo>
                    <a:pt x="262" y="202"/>
                    <a:pt x="263" y="203"/>
                    <a:pt x="264" y="202"/>
                  </a:cubicBezTo>
                  <a:cubicBezTo>
                    <a:pt x="267" y="202"/>
                    <a:pt x="268" y="201"/>
                    <a:pt x="270" y="200"/>
                  </a:cubicBezTo>
                  <a:cubicBezTo>
                    <a:pt x="271" y="199"/>
                    <a:pt x="271" y="198"/>
                    <a:pt x="272" y="197"/>
                  </a:cubicBezTo>
                  <a:cubicBezTo>
                    <a:pt x="272" y="196"/>
                    <a:pt x="273" y="196"/>
                    <a:pt x="273" y="196"/>
                  </a:cubicBezTo>
                  <a:cubicBezTo>
                    <a:pt x="274" y="195"/>
                    <a:pt x="274" y="194"/>
                    <a:pt x="275" y="194"/>
                  </a:cubicBezTo>
                  <a:cubicBezTo>
                    <a:pt x="276" y="193"/>
                    <a:pt x="277" y="192"/>
                    <a:pt x="278" y="191"/>
                  </a:cubicBezTo>
                  <a:cubicBezTo>
                    <a:pt x="279" y="191"/>
                    <a:pt x="279" y="189"/>
                    <a:pt x="280" y="188"/>
                  </a:cubicBezTo>
                  <a:cubicBezTo>
                    <a:pt x="282" y="188"/>
                    <a:pt x="282" y="189"/>
                    <a:pt x="282" y="190"/>
                  </a:cubicBezTo>
                  <a:cubicBezTo>
                    <a:pt x="283" y="190"/>
                    <a:pt x="284" y="190"/>
                    <a:pt x="285" y="191"/>
                  </a:cubicBezTo>
                  <a:cubicBezTo>
                    <a:pt x="286" y="191"/>
                    <a:pt x="287" y="192"/>
                    <a:pt x="288" y="192"/>
                  </a:cubicBezTo>
                  <a:cubicBezTo>
                    <a:pt x="292" y="194"/>
                    <a:pt x="296" y="193"/>
                    <a:pt x="300" y="192"/>
                  </a:cubicBezTo>
                  <a:cubicBezTo>
                    <a:pt x="301" y="192"/>
                    <a:pt x="302" y="193"/>
                    <a:pt x="303" y="192"/>
                  </a:cubicBezTo>
                  <a:cubicBezTo>
                    <a:pt x="303" y="192"/>
                    <a:pt x="303" y="192"/>
                    <a:pt x="303" y="191"/>
                  </a:cubicBezTo>
                  <a:cubicBezTo>
                    <a:pt x="303" y="191"/>
                    <a:pt x="304" y="191"/>
                    <a:pt x="304" y="191"/>
                  </a:cubicBezTo>
                  <a:cubicBezTo>
                    <a:pt x="305" y="190"/>
                    <a:pt x="305" y="190"/>
                    <a:pt x="306" y="190"/>
                  </a:cubicBezTo>
                  <a:cubicBezTo>
                    <a:pt x="308" y="189"/>
                    <a:pt x="310" y="188"/>
                    <a:pt x="311" y="187"/>
                  </a:cubicBezTo>
                  <a:cubicBezTo>
                    <a:pt x="312" y="186"/>
                    <a:pt x="314" y="185"/>
                    <a:pt x="315" y="184"/>
                  </a:cubicBezTo>
                  <a:cubicBezTo>
                    <a:pt x="316" y="184"/>
                    <a:pt x="317" y="183"/>
                    <a:pt x="318" y="182"/>
                  </a:cubicBezTo>
                  <a:cubicBezTo>
                    <a:pt x="319" y="181"/>
                    <a:pt x="319" y="181"/>
                    <a:pt x="319" y="180"/>
                  </a:cubicBezTo>
                  <a:cubicBezTo>
                    <a:pt x="320" y="179"/>
                    <a:pt x="320" y="179"/>
                    <a:pt x="322" y="178"/>
                  </a:cubicBezTo>
                  <a:cubicBezTo>
                    <a:pt x="323" y="178"/>
                    <a:pt x="323" y="178"/>
                    <a:pt x="324" y="178"/>
                  </a:cubicBezTo>
                  <a:cubicBezTo>
                    <a:pt x="325" y="177"/>
                    <a:pt x="326" y="178"/>
                    <a:pt x="326" y="178"/>
                  </a:cubicBezTo>
                  <a:cubicBezTo>
                    <a:pt x="327" y="177"/>
                    <a:pt x="327" y="176"/>
                    <a:pt x="327" y="175"/>
                  </a:cubicBezTo>
                  <a:cubicBezTo>
                    <a:pt x="329" y="173"/>
                    <a:pt x="331" y="171"/>
                    <a:pt x="331" y="168"/>
                  </a:cubicBezTo>
                  <a:cubicBezTo>
                    <a:pt x="331" y="165"/>
                    <a:pt x="333" y="164"/>
                    <a:pt x="334" y="162"/>
                  </a:cubicBezTo>
                  <a:cubicBezTo>
                    <a:pt x="334" y="161"/>
                    <a:pt x="334" y="159"/>
                    <a:pt x="334" y="159"/>
                  </a:cubicBezTo>
                  <a:cubicBezTo>
                    <a:pt x="335" y="158"/>
                    <a:pt x="335" y="157"/>
                    <a:pt x="336" y="156"/>
                  </a:cubicBezTo>
                  <a:cubicBezTo>
                    <a:pt x="336" y="155"/>
                    <a:pt x="336" y="153"/>
                    <a:pt x="337" y="153"/>
                  </a:cubicBezTo>
                  <a:cubicBezTo>
                    <a:pt x="338" y="153"/>
                    <a:pt x="340" y="153"/>
                    <a:pt x="341" y="153"/>
                  </a:cubicBezTo>
                  <a:cubicBezTo>
                    <a:pt x="342" y="153"/>
                    <a:pt x="343" y="152"/>
                    <a:pt x="344" y="152"/>
                  </a:cubicBezTo>
                  <a:cubicBezTo>
                    <a:pt x="344" y="151"/>
                    <a:pt x="345" y="150"/>
                    <a:pt x="345" y="150"/>
                  </a:cubicBezTo>
                  <a:cubicBezTo>
                    <a:pt x="345" y="149"/>
                    <a:pt x="345" y="149"/>
                    <a:pt x="346" y="149"/>
                  </a:cubicBezTo>
                  <a:cubicBezTo>
                    <a:pt x="347" y="147"/>
                    <a:pt x="347" y="145"/>
                    <a:pt x="350" y="143"/>
                  </a:cubicBezTo>
                  <a:cubicBezTo>
                    <a:pt x="351" y="143"/>
                    <a:pt x="352" y="143"/>
                    <a:pt x="352" y="142"/>
                  </a:cubicBezTo>
                  <a:cubicBezTo>
                    <a:pt x="353" y="141"/>
                    <a:pt x="353" y="141"/>
                    <a:pt x="354" y="140"/>
                  </a:cubicBezTo>
                  <a:cubicBezTo>
                    <a:pt x="355" y="140"/>
                    <a:pt x="356" y="139"/>
                    <a:pt x="357" y="138"/>
                  </a:cubicBezTo>
                  <a:cubicBezTo>
                    <a:pt x="358" y="137"/>
                    <a:pt x="357" y="136"/>
                    <a:pt x="359" y="136"/>
                  </a:cubicBezTo>
                  <a:cubicBezTo>
                    <a:pt x="360" y="136"/>
                    <a:pt x="361" y="137"/>
                    <a:pt x="363" y="138"/>
                  </a:cubicBezTo>
                  <a:cubicBezTo>
                    <a:pt x="364" y="138"/>
                    <a:pt x="365" y="138"/>
                    <a:pt x="366" y="137"/>
                  </a:cubicBezTo>
                  <a:cubicBezTo>
                    <a:pt x="368" y="137"/>
                    <a:pt x="367" y="137"/>
                    <a:pt x="368" y="137"/>
                  </a:cubicBezTo>
                  <a:cubicBezTo>
                    <a:pt x="369" y="136"/>
                    <a:pt x="369" y="136"/>
                    <a:pt x="370" y="136"/>
                  </a:cubicBezTo>
                  <a:cubicBezTo>
                    <a:pt x="371" y="135"/>
                    <a:pt x="373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4" y="135"/>
                    <a:pt x="373" y="135"/>
                    <a:pt x="373" y="135"/>
                  </a:cubicBezTo>
                  <a:cubicBezTo>
                    <a:pt x="372" y="133"/>
                    <a:pt x="373" y="132"/>
                    <a:pt x="374" y="130"/>
                  </a:cubicBezTo>
                  <a:cubicBezTo>
                    <a:pt x="374" y="129"/>
                    <a:pt x="374" y="127"/>
                    <a:pt x="374" y="125"/>
                  </a:cubicBezTo>
                  <a:cubicBezTo>
                    <a:pt x="374" y="122"/>
                    <a:pt x="372" y="121"/>
                    <a:pt x="369" y="119"/>
                  </a:cubicBezTo>
                  <a:cubicBezTo>
                    <a:pt x="364" y="116"/>
                    <a:pt x="362" y="110"/>
                    <a:pt x="365" y="104"/>
                  </a:cubicBezTo>
                  <a:cubicBezTo>
                    <a:pt x="361" y="103"/>
                    <a:pt x="358" y="103"/>
                    <a:pt x="354" y="101"/>
                  </a:cubicBezTo>
                  <a:cubicBezTo>
                    <a:pt x="352" y="100"/>
                    <a:pt x="350" y="99"/>
                    <a:pt x="348" y="99"/>
                  </a:cubicBezTo>
                  <a:cubicBezTo>
                    <a:pt x="348" y="99"/>
                    <a:pt x="348" y="99"/>
                    <a:pt x="348" y="98"/>
                  </a:cubicBezTo>
                  <a:cubicBezTo>
                    <a:pt x="345" y="98"/>
                    <a:pt x="344" y="97"/>
                    <a:pt x="342" y="97"/>
                  </a:cubicBezTo>
                  <a:cubicBezTo>
                    <a:pt x="340" y="96"/>
                    <a:pt x="338" y="96"/>
                    <a:pt x="336" y="96"/>
                  </a:cubicBezTo>
                  <a:cubicBezTo>
                    <a:pt x="334" y="95"/>
                    <a:pt x="334" y="94"/>
                    <a:pt x="332" y="94"/>
                  </a:cubicBezTo>
                  <a:cubicBezTo>
                    <a:pt x="331" y="93"/>
                    <a:pt x="330" y="94"/>
                    <a:pt x="328" y="93"/>
                  </a:cubicBezTo>
                  <a:cubicBezTo>
                    <a:pt x="327" y="93"/>
                    <a:pt x="327" y="93"/>
                    <a:pt x="327" y="93"/>
                  </a:cubicBezTo>
                  <a:cubicBezTo>
                    <a:pt x="326" y="92"/>
                    <a:pt x="326" y="92"/>
                    <a:pt x="325" y="91"/>
                  </a:cubicBezTo>
                  <a:cubicBezTo>
                    <a:pt x="324" y="91"/>
                    <a:pt x="322" y="92"/>
                    <a:pt x="320" y="91"/>
                  </a:cubicBezTo>
                  <a:cubicBezTo>
                    <a:pt x="319" y="90"/>
                    <a:pt x="318" y="88"/>
                    <a:pt x="317" y="87"/>
                  </a:cubicBezTo>
                  <a:cubicBezTo>
                    <a:pt x="315" y="87"/>
                    <a:pt x="314" y="85"/>
                    <a:pt x="313" y="84"/>
                  </a:cubicBezTo>
                  <a:cubicBezTo>
                    <a:pt x="312" y="83"/>
                    <a:pt x="311" y="82"/>
                    <a:pt x="311" y="81"/>
                  </a:cubicBezTo>
                  <a:cubicBezTo>
                    <a:pt x="312" y="79"/>
                    <a:pt x="314" y="79"/>
                    <a:pt x="315" y="77"/>
                  </a:cubicBezTo>
                  <a:cubicBezTo>
                    <a:pt x="315" y="76"/>
                    <a:pt x="315" y="73"/>
                    <a:pt x="315" y="72"/>
                  </a:cubicBezTo>
                  <a:cubicBezTo>
                    <a:pt x="313" y="69"/>
                    <a:pt x="309" y="72"/>
                    <a:pt x="306" y="72"/>
                  </a:cubicBezTo>
                  <a:cubicBezTo>
                    <a:pt x="305" y="72"/>
                    <a:pt x="301" y="73"/>
                    <a:pt x="299" y="72"/>
                  </a:cubicBezTo>
                  <a:cubicBezTo>
                    <a:pt x="298" y="72"/>
                    <a:pt x="299" y="71"/>
                    <a:pt x="298" y="71"/>
                  </a:cubicBezTo>
                  <a:cubicBezTo>
                    <a:pt x="297" y="70"/>
                    <a:pt x="297" y="71"/>
                    <a:pt x="296" y="70"/>
                  </a:cubicBezTo>
                  <a:cubicBezTo>
                    <a:pt x="295" y="70"/>
                    <a:pt x="294" y="68"/>
                    <a:pt x="292" y="68"/>
                  </a:cubicBezTo>
                  <a:cubicBezTo>
                    <a:pt x="290" y="67"/>
                    <a:pt x="289" y="67"/>
                    <a:pt x="289" y="65"/>
                  </a:cubicBezTo>
                  <a:cubicBezTo>
                    <a:pt x="288" y="65"/>
                    <a:pt x="286" y="64"/>
                    <a:pt x="285" y="63"/>
                  </a:cubicBezTo>
                  <a:cubicBezTo>
                    <a:pt x="284" y="62"/>
                    <a:pt x="284" y="63"/>
                    <a:pt x="282" y="62"/>
                  </a:cubicBezTo>
                  <a:cubicBezTo>
                    <a:pt x="283" y="61"/>
                    <a:pt x="282" y="60"/>
                    <a:pt x="282" y="60"/>
                  </a:cubicBezTo>
                  <a:cubicBezTo>
                    <a:pt x="279" y="58"/>
                    <a:pt x="274" y="58"/>
                    <a:pt x="270" y="58"/>
                  </a:cubicBezTo>
                  <a:cubicBezTo>
                    <a:pt x="270" y="60"/>
                    <a:pt x="271" y="61"/>
                    <a:pt x="272" y="63"/>
                  </a:cubicBezTo>
                  <a:cubicBezTo>
                    <a:pt x="273" y="64"/>
                    <a:pt x="273" y="64"/>
                    <a:pt x="274" y="65"/>
                  </a:cubicBezTo>
                  <a:cubicBezTo>
                    <a:pt x="276" y="67"/>
                    <a:pt x="278" y="67"/>
                    <a:pt x="279" y="70"/>
                  </a:cubicBezTo>
                  <a:cubicBezTo>
                    <a:pt x="279" y="72"/>
                    <a:pt x="278" y="72"/>
                    <a:pt x="276" y="73"/>
                  </a:cubicBezTo>
                  <a:cubicBezTo>
                    <a:pt x="274" y="73"/>
                    <a:pt x="272" y="74"/>
                    <a:pt x="271" y="75"/>
                  </a:cubicBezTo>
                  <a:cubicBezTo>
                    <a:pt x="270" y="75"/>
                    <a:pt x="269" y="75"/>
                    <a:pt x="268" y="76"/>
                  </a:cubicBezTo>
                  <a:cubicBezTo>
                    <a:pt x="266" y="77"/>
                    <a:pt x="267" y="78"/>
                    <a:pt x="265" y="80"/>
                  </a:cubicBezTo>
                  <a:cubicBezTo>
                    <a:pt x="263" y="81"/>
                    <a:pt x="263" y="80"/>
                    <a:pt x="262" y="82"/>
                  </a:cubicBezTo>
                  <a:cubicBezTo>
                    <a:pt x="262" y="82"/>
                    <a:pt x="261" y="82"/>
                    <a:pt x="261" y="83"/>
                  </a:cubicBezTo>
                  <a:cubicBezTo>
                    <a:pt x="259" y="85"/>
                    <a:pt x="257" y="87"/>
                    <a:pt x="254" y="85"/>
                  </a:cubicBezTo>
                  <a:cubicBezTo>
                    <a:pt x="253" y="84"/>
                    <a:pt x="253" y="83"/>
                    <a:pt x="252" y="82"/>
                  </a:cubicBezTo>
                  <a:cubicBezTo>
                    <a:pt x="251" y="80"/>
                    <a:pt x="250" y="79"/>
                    <a:pt x="250" y="77"/>
                  </a:cubicBezTo>
                  <a:cubicBezTo>
                    <a:pt x="250" y="75"/>
                    <a:pt x="249" y="74"/>
                    <a:pt x="248" y="72"/>
                  </a:cubicBezTo>
                  <a:cubicBezTo>
                    <a:pt x="247" y="71"/>
                    <a:pt x="247" y="71"/>
                    <a:pt x="246" y="70"/>
                  </a:cubicBezTo>
                  <a:cubicBezTo>
                    <a:pt x="246" y="70"/>
                    <a:pt x="245" y="68"/>
                    <a:pt x="245" y="68"/>
                  </a:cubicBezTo>
                  <a:cubicBezTo>
                    <a:pt x="244" y="67"/>
                    <a:pt x="243" y="67"/>
                    <a:pt x="242" y="66"/>
                  </a:cubicBezTo>
                  <a:cubicBezTo>
                    <a:pt x="241" y="65"/>
                    <a:pt x="240" y="64"/>
                    <a:pt x="238" y="63"/>
                  </a:cubicBezTo>
                  <a:cubicBezTo>
                    <a:pt x="236" y="62"/>
                    <a:pt x="234" y="62"/>
                    <a:pt x="233" y="59"/>
                  </a:cubicBezTo>
                  <a:cubicBezTo>
                    <a:pt x="233" y="58"/>
                    <a:pt x="233" y="56"/>
                    <a:pt x="234" y="55"/>
                  </a:cubicBezTo>
                  <a:cubicBezTo>
                    <a:pt x="235" y="53"/>
                    <a:pt x="237" y="52"/>
                    <a:pt x="238" y="51"/>
                  </a:cubicBezTo>
                  <a:cubicBezTo>
                    <a:pt x="239" y="50"/>
                    <a:pt x="240" y="49"/>
                    <a:pt x="241" y="48"/>
                  </a:cubicBezTo>
                  <a:cubicBezTo>
                    <a:pt x="241" y="47"/>
                    <a:pt x="242" y="46"/>
                    <a:pt x="243" y="45"/>
                  </a:cubicBezTo>
                  <a:cubicBezTo>
                    <a:pt x="243" y="44"/>
                    <a:pt x="243" y="42"/>
                    <a:pt x="243" y="42"/>
                  </a:cubicBezTo>
                  <a:cubicBezTo>
                    <a:pt x="242" y="40"/>
                    <a:pt x="243" y="42"/>
                    <a:pt x="241" y="41"/>
                  </a:cubicBezTo>
                  <a:cubicBezTo>
                    <a:pt x="240" y="40"/>
                    <a:pt x="240" y="40"/>
                    <a:pt x="238" y="40"/>
                  </a:cubicBezTo>
                  <a:cubicBezTo>
                    <a:pt x="236" y="39"/>
                    <a:pt x="234" y="40"/>
                    <a:pt x="232" y="40"/>
                  </a:cubicBezTo>
                  <a:cubicBezTo>
                    <a:pt x="230" y="40"/>
                    <a:pt x="229" y="40"/>
                    <a:pt x="227" y="39"/>
                  </a:cubicBezTo>
                  <a:cubicBezTo>
                    <a:pt x="227" y="39"/>
                    <a:pt x="225" y="39"/>
                    <a:pt x="225" y="39"/>
                  </a:cubicBezTo>
                  <a:cubicBezTo>
                    <a:pt x="224" y="38"/>
                    <a:pt x="223" y="37"/>
                    <a:pt x="223" y="37"/>
                  </a:cubicBezTo>
                  <a:cubicBezTo>
                    <a:pt x="222" y="36"/>
                    <a:pt x="221" y="37"/>
                    <a:pt x="220" y="36"/>
                  </a:cubicBezTo>
                  <a:cubicBezTo>
                    <a:pt x="219" y="36"/>
                    <a:pt x="219" y="35"/>
                    <a:pt x="218" y="35"/>
                  </a:cubicBezTo>
                  <a:cubicBezTo>
                    <a:pt x="216" y="34"/>
                    <a:pt x="215" y="34"/>
                    <a:pt x="213" y="33"/>
                  </a:cubicBezTo>
                  <a:cubicBezTo>
                    <a:pt x="212" y="33"/>
                    <a:pt x="211" y="32"/>
                    <a:pt x="209" y="32"/>
                  </a:cubicBezTo>
                  <a:cubicBezTo>
                    <a:pt x="207" y="31"/>
                    <a:pt x="204" y="29"/>
                    <a:pt x="202" y="28"/>
                  </a:cubicBezTo>
                  <a:cubicBezTo>
                    <a:pt x="200" y="28"/>
                    <a:pt x="198" y="26"/>
                    <a:pt x="196" y="26"/>
                  </a:cubicBezTo>
                  <a:cubicBezTo>
                    <a:pt x="195" y="26"/>
                    <a:pt x="194" y="26"/>
                    <a:pt x="193" y="26"/>
                  </a:cubicBezTo>
                  <a:cubicBezTo>
                    <a:pt x="191" y="25"/>
                    <a:pt x="190" y="22"/>
                    <a:pt x="189" y="20"/>
                  </a:cubicBezTo>
                  <a:cubicBezTo>
                    <a:pt x="187" y="18"/>
                    <a:pt x="186" y="16"/>
                    <a:pt x="184" y="13"/>
                  </a:cubicBezTo>
                  <a:cubicBezTo>
                    <a:pt x="184" y="13"/>
                    <a:pt x="183" y="12"/>
                    <a:pt x="183" y="12"/>
                  </a:cubicBezTo>
                  <a:cubicBezTo>
                    <a:pt x="183" y="11"/>
                    <a:pt x="183" y="11"/>
                    <a:pt x="182" y="11"/>
                  </a:cubicBezTo>
                  <a:cubicBezTo>
                    <a:pt x="182" y="10"/>
                    <a:pt x="181" y="10"/>
                    <a:pt x="181" y="10"/>
                  </a:cubicBezTo>
                  <a:cubicBezTo>
                    <a:pt x="180" y="8"/>
                    <a:pt x="180" y="8"/>
                    <a:pt x="177" y="8"/>
                  </a:cubicBezTo>
                  <a:cubicBezTo>
                    <a:pt x="173" y="8"/>
                    <a:pt x="170" y="8"/>
                    <a:pt x="166" y="8"/>
                  </a:cubicBezTo>
                  <a:cubicBezTo>
                    <a:pt x="164" y="8"/>
                    <a:pt x="161" y="8"/>
                    <a:pt x="159" y="8"/>
                  </a:cubicBezTo>
                  <a:cubicBezTo>
                    <a:pt x="160" y="8"/>
                    <a:pt x="160" y="8"/>
                    <a:pt x="160" y="9"/>
                  </a:cubicBezTo>
                  <a:cubicBezTo>
                    <a:pt x="161" y="11"/>
                    <a:pt x="158" y="12"/>
                    <a:pt x="157" y="13"/>
                  </a:cubicBezTo>
                  <a:cubicBezTo>
                    <a:pt x="157" y="14"/>
                    <a:pt x="157" y="17"/>
                    <a:pt x="158" y="18"/>
                  </a:cubicBezTo>
                  <a:cubicBezTo>
                    <a:pt x="156" y="16"/>
                    <a:pt x="154" y="19"/>
                    <a:pt x="153" y="20"/>
                  </a:cubicBezTo>
                  <a:cubicBezTo>
                    <a:pt x="152" y="21"/>
                    <a:pt x="151" y="22"/>
                    <a:pt x="150" y="22"/>
                  </a:cubicBezTo>
                  <a:cubicBezTo>
                    <a:pt x="149" y="22"/>
                    <a:pt x="146" y="22"/>
                    <a:pt x="146" y="22"/>
                  </a:cubicBezTo>
                  <a:cubicBezTo>
                    <a:pt x="145" y="21"/>
                    <a:pt x="145" y="20"/>
                    <a:pt x="145" y="19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4" y="17"/>
                    <a:pt x="142" y="16"/>
                    <a:pt x="141" y="16"/>
                  </a:cubicBezTo>
                  <a:cubicBezTo>
                    <a:pt x="139" y="15"/>
                    <a:pt x="139" y="15"/>
                    <a:pt x="140" y="13"/>
                  </a:cubicBezTo>
                  <a:cubicBezTo>
                    <a:pt x="141" y="12"/>
                    <a:pt x="141" y="11"/>
                    <a:pt x="142" y="10"/>
                  </a:cubicBezTo>
                  <a:cubicBezTo>
                    <a:pt x="142" y="8"/>
                    <a:pt x="139" y="4"/>
                    <a:pt x="137" y="4"/>
                  </a:cubicBezTo>
                  <a:cubicBezTo>
                    <a:pt x="136" y="3"/>
                    <a:pt x="135" y="2"/>
                    <a:pt x="134" y="1"/>
                  </a:cubicBezTo>
                  <a:cubicBezTo>
                    <a:pt x="133" y="0"/>
                    <a:pt x="133" y="0"/>
                    <a:pt x="131" y="1"/>
                  </a:cubicBezTo>
                  <a:cubicBezTo>
                    <a:pt x="130" y="1"/>
                    <a:pt x="129" y="3"/>
                    <a:pt x="128" y="4"/>
                  </a:cubicBezTo>
                  <a:cubicBezTo>
                    <a:pt x="126" y="5"/>
                    <a:pt x="123" y="6"/>
                    <a:pt x="121" y="6"/>
                  </a:cubicBezTo>
                  <a:cubicBezTo>
                    <a:pt x="122" y="7"/>
                    <a:pt x="124" y="8"/>
                    <a:pt x="126" y="9"/>
                  </a:cubicBezTo>
                  <a:cubicBezTo>
                    <a:pt x="126" y="10"/>
                    <a:pt x="130" y="12"/>
                    <a:pt x="129" y="13"/>
                  </a:cubicBezTo>
                  <a:cubicBezTo>
                    <a:pt x="129" y="14"/>
                    <a:pt x="128" y="14"/>
                    <a:pt x="127" y="15"/>
                  </a:cubicBezTo>
                  <a:cubicBezTo>
                    <a:pt x="125" y="16"/>
                    <a:pt x="123" y="17"/>
                    <a:pt x="121" y="17"/>
                  </a:cubicBezTo>
                  <a:cubicBezTo>
                    <a:pt x="120" y="18"/>
                    <a:pt x="118" y="19"/>
                    <a:pt x="117" y="20"/>
                  </a:cubicBezTo>
                  <a:cubicBezTo>
                    <a:pt x="116" y="20"/>
                    <a:pt x="116" y="21"/>
                    <a:pt x="115" y="20"/>
                  </a:cubicBezTo>
                  <a:cubicBezTo>
                    <a:pt x="114" y="19"/>
                    <a:pt x="113" y="21"/>
                    <a:pt x="112" y="21"/>
                  </a:cubicBezTo>
                  <a:cubicBezTo>
                    <a:pt x="111" y="22"/>
                    <a:pt x="110" y="21"/>
                    <a:pt x="109" y="21"/>
                  </a:cubicBezTo>
                  <a:cubicBezTo>
                    <a:pt x="108" y="21"/>
                    <a:pt x="105" y="22"/>
                    <a:pt x="105" y="23"/>
                  </a:cubicBezTo>
                  <a:cubicBezTo>
                    <a:pt x="105" y="23"/>
                    <a:pt x="105" y="24"/>
                    <a:pt x="105" y="24"/>
                  </a:cubicBezTo>
                  <a:cubicBezTo>
                    <a:pt x="104" y="25"/>
                    <a:pt x="103" y="26"/>
                    <a:pt x="102" y="26"/>
                  </a:cubicBezTo>
                  <a:cubicBezTo>
                    <a:pt x="101" y="27"/>
                    <a:pt x="101" y="28"/>
                    <a:pt x="100" y="28"/>
                  </a:cubicBezTo>
                  <a:cubicBezTo>
                    <a:pt x="99" y="28"/>
                    <a:pt x="98" y="28"/>
                    <a:pt x="97" y="28"/>
                  </a:cubicBezTo>
                  <a:cubicBezTo>
                    <a:pt x="96" y="28"/>
                    <a:pt x="94" y="29"/>
                    <a:pt x="93" y="29"/>
                  </a:cubicBezTo>
                  <a:cubicBezTo>
                    <a:pt x="91" y="29"/>
                    <a:pt x="90" y="30"/>
                    <a:pt x="88" y="30"/>
                  </a:cubicBezTo>
                  <a:cubicBezTo>
                    <a:pt x="87" y="30"/>
                    <a:pt x="87" y="30"/>
                    <a:pt x="86" y="30"/>
                  </a:cubicBezTo>
                  <a:cubicBezTo>
                    <a:pt x="85" y="30"/>
                    <a:pt x="84" y="31"/>
                    <a:pt x="83" y="32"/>
                  </a:cubicBezTo>
                  <a:cubicBezTo>
                    <a:pt x="83" y="32"/>
                    <a:pt x="82" y="32"/>
                    <a:pt x="82" y="33"/>
                  </a:cubicBezTo>
                  <a:cubicBezTo>
                    <a:pt x="81" y="34"/>
                    <a:pt x="81" y="36"/>
                    <a:pt x="81" y="37"/>
                  </a:cubicBezTo>
                  <a:cubicBezTo>
                    <a:pt x="81" y="38"/>
                    <a:pt x="82" y="40"/>
                    <a:pt x="81" y="40"/>
                  </a:cubicBezTo>
                  <a:cubicBezTo>
                    <a:pt x="80" y="41"/>
                    <a:pt x="79" y="41"/>
                    <a:pt x="78" y="41"/>
                  </a:cubicBezTo>
                  <a:cubicBezTo>
                    <a:pt x="78" y="41"/>
                    <a:pt x="76" y="41"/>
                    <a:pt x="75" y="41"/>
                  </a:cubicBezTo>
                  <a:cubicBezTo>
                    <a:pt x="75" y="40"/>
                    <a:pt x="75" y="38"/>
                    <a:pt x="74" y="38"/>
                  </a:cubicBezTo>
                  <a:cubicBezTo>
                    <a:pt x="74" y="37"/>
                    <a:pt x="72" y="36"/>
                    <a:pt x="71" y="38"/>
                  </a:cubicBezTo>
                  <a:cubicBezTo>
                    <a:pt x="71" y="38"/>
                    <a:pt x="71" y="39"/>
                    <a:pt x="71" y="40"/>
                  </a:cubicBezTo>
                  <a:cubicBezTo>
                    <a:pt x="71" y="40"/>
                    <a:pt x="71" y="40"/>
                    <a:pt x="71" y="41"/>
                  </a:cubicBezTo>
                  <a:cubicBezTo>
                    <a:pt x="70" y="42"/>
                    <a:pt x="70" y="43"/>
                    <a:pt x="70" y="44"/>
                  </a:cubicBezTo>
                  <a:cubicBezTo>
                    <a:pt x="68" y="44"/>
                    <a:pt x="66" y="41"/>
                    <a:pt x="65" y="43"/>
                  </a:cubicBezTo>
                  <a:cubicBezTo>
                    <a:pt x="64" y="43"/>
                    <a:pt x="64" y="44"/>
                    <a:pt x="64" y="45"/>
                  </a:cubicBezTo>
                  <a:cubicBezTo>
                    <a:pt x="64" y="46"/>
                    <a:pt x="63" y="46"/>
                    <a:pt x="63" y="47"/>
                  </a:cubicBezTo>
                  <a:cubicBezTo>
                    <a:pt x="63" y="47"/>
                    <a:pt x="62" y="48"/>
                    <a:pt x="61" y="48"/>
                  </a:cubicBezTo>
                  <a:cubicBezTo>
                    <a:pt x="61" y="48"/>
                    <a:pt x="61" y="49"/>
                    <a:pt x="61" y="49"/>
                  </a:cubicBezTo>
                  <a:cubicBezTo>
                    <a:pt x="61" y="49"/>
                    <a:pt x="60" y="49"/>
                    <a:pt x="60" y="49"/>
                  </a:cubicBezTo>
                  <a:cubicBezTo>
                    <a:pt x="57" y="49"/>
                    <a:pt x="57" y="49"/>
                    <a:pt x="55" y="51"/>
                  </a:cubicBezTo>
                  <a:cubicBezTo>
                    <a:pt x="55" y="52"/>
                    <a:pt x="54" y="53"/>
                    <a:pt x="53" y="54"/>
                  </a:cubicBezTo>
                  <a:cubicBezTo>
                    <a:pt x="52" y="55"/>
                    <a:pt x="51" y="55"/>
                    <a:pt x="51" y="56"/>
                  </a:cubicBezTo>
                  <a:cubicBezTo>
                    <a:pt x="50" y="57"/>
                    <a:pt x="50" y="58"/>
                    <a:pt x="49" y="57"/>
                  </a:cubicBezTo>
                  <a:cubicBezTo>
                    <a:pt x="49" y="57"/>
                    <a:pt x="48" y="56"/>
                    <a:pt x="48" y="56"/>
                  </a:cubicBezTo>
                  <a:cubicBezTo>
                    <a:pt x="46" y="55"/>
                    <a:pt x="45" y="56"/>
                    <a:pt x="44" y="56"/>
                  </a:cubicBezTo>
                  <a:cubicBezTo>
                    <a:pt x="43" y="56"/>
                    <a:pt x="43" y="55"/>
                    <a:pt x="42" y="55"/>
                  </a:cubicBezTo>
                  <a:cubicBezTo>
                    <a:pt x="42" y="55"/>
                    <a:pt x="40" y="55"/>
                    <a:pt x="39" y="55"/>
                  </a:cubicBezTo>
                  <a:cubicBezTo>
                    <a:pt x="39" y="55"/>
                    <a:pt x="39" y="57"/>
                    <a:pt x="38" y="57"/>
                  </a:cubicBezTo>
                  <a:cubicBezTo>
                    <a:pt x="37" y="59"/>
                    <a:pt x="36" y="59"/>
                    <a:pt x="34" y="59"/>
                  </a:cubicBezTo>
                  <a:cubicBezTo>
                    <a:pt x="33" y="59"/>
                    <a:pt x="33" y="60"/>
                    <a:pt x="32" y="59"/>
                  </a:cubicBezTo>
                  <a:cubicBezTo>
                    <a:pt x="31" y="59"/>
                    <a:pt x="31" y="58"/>
                    <a:pt x="30" y="58"/>
                  </a:cubicBezTo>
                  <a:cubicBezTo>
                    <a:pt x="29" y="57"/>
                    <a:pt x="29" y="59"/>
                    <a:pt x="28" y="59"/>
                  </a:cubicBezTo>
                  <a:cubicBezTo>
                    <a:pt x="27" y="60"/>
                    <a:pt x="26" y="60"/>
                    <a:pt x="26" y="61"/>
                  </a:cubicBezTo>
                  <a:cubicBezTo>
                    <a:pt x="24" y="61"/>
                    <a:pt x="23" y="63"/>
                    <a:pt x="22" y="64"/>
                  </a:cubicBezTo>
                  <a:cubicBezTo>
                    <a:pt x="20" y="65"/>
                    <a:pt x="18" y="66"/>
                    <a:pt x="17" y="68"/>
                  </a:cubicBezTo>
                  <a:cubicBezTo>
                    <a:pt x="16" y="69"/>
                    <a:pt x="15" y="70"/>
                    <a:pt x="15" y="70"/>
                  </a:cubicBezTo>
                  <a:cubicBezTo>
                    <a:pt x="15" y="71"/>
                    <a:pt x="15" y="72"/>
                    <a:pt x="15" y="73"/>
                  </a:cubicBezTo>
                  <a:cubicBezTo>
                    <a:pt x="15" y="74"/>
                    <a:pt x="14" y="74"/>
                    <a:pt x="13" y="76"/>
                  </a:cubicBezTo>
                  <a:cubicBezTo>
                    <a:pt x="13" y="77"/>
                    <a:pt x="13" y="78"/>
                    <a:pt x="12" y="79"/>
                  </a:cubicBezTo>
                  <a:cubicBezTo>
                    <a:pt x="12" y="78"/>
                    <a:pt x="12" y="78"/>
                    <a:pt x="12" y="77"/>
                  </a:cubicBezTo>
                  <a:cubicBezTo>
                    <a:pt x="11" y="76"/>
                    <a:pt x="11" y="77"/>
                    <a:pt x="11" y="76"/>
                  </a:cubicBezTo>
                  <a:cubicBezTo>
                    <a:pt x="11" y="76"/>
                    <a:pt x="11" y="75"/>
                    <a:pt x="11" y="75"/>
                  </a:cubicBezTo>
                  <a:cubicBezTo>
                    <a:pt x="10" y="74"/>
                    <a:pt x="9" y="74"/>
                    <a:pt x="9" y="73"/>
                  </a:cubicBezTo>
                  <a:cubicBezTo>
                    <a:pt x="8" y="72"/>
                    <a:pt x="8" y="71"/>
                    <a:pt x="8" y="70"/>
                  </a:cubicBezTo>
                  <a:cubicBezTo>
                    <a:pt x="8" y="68"/>
                    <a:pt x="7" y="64"/>
                    <a:pt x="5" y="65"/>
                  </a:cubicBezTo>
                  <a:cubicBezTo>
                    <a:pt x="3" y="66"/>
                    <a:pt x="3" y="66"/>
                    <a:pt x="2" y="67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9"/>
                    <a:pt x="2" y="69"/>
                    <a:pt x="1" y="69"/>
                  </a:cubicBezTo>
                  <a:cubicBezTo>
                    <a:pt x="0" y="73"/>
                    <a:pt x="6" y="73"/>
                    <a:pt x="6" y="76"/>
                  </a:cubicBezTo>
                  <a:cubicBezTo>
                    <a:pt x="7" y="78"/>
                    <a:pt x="7" y="80"/>
                    <a:pt x="7" y="81"/>
                  </a:cubicBezTo>
                  <a:cubicBezTo>
                    <a:pt x="7" y="83"/>
                    <a:pt x="7" y="84"/>
                    <a:pt x="8" y="86"/>
                  </a:cubicBezTo>
                  <a:cubicBezTo>
                    <a:pt x="8" y="88"/>
                    <a:pt x="9" y="87"/>
                    <a:pt x="11" y="88"/>
                  </a:cubicBezTo>
                  <a:cubicBezTo>
                    <a:pt x="13" y="89"/>
                    <a:pt x="12" y="91"/>
                    <a:pt x="14" y="92"/>
                  </a:cubicBezTo>
                  <a:cubicBezTo>
                    <a:pt x="14" y="93"/>
                    <a:pt x="16" y="93"/>
                    <a:pt x="17" y="94"/>
                  </a:cubicBezTo>
                  <a:cubicBezTo>
                    <a:pt x="18" y="95"/>
                    <a:pt x="18" y="96"/>
                    <a:pt x="20" y="96"/>
                  </a:cubicBezTo>
                  <a:cubicBezTo>
                    <a:pt x="21" y="97"/>
                    <a:pt x="23" y="97"/>
                    <a:pt x="24" y="99"/>
                  </a:cubicBezTo>
                  <a:cubicBezTo>
                    <a:pt x="24" y="100"/>
                    <a:pt x="23" y="101"/>
                    <a:pt x="23" y="102"/>
                  </a:cubicBezTo>
                  <a:cubicBezTo>
                    <a:pt x="23" y="103"/>
                    <a:pt x="23" y="104"/>
                    <a:pt x="23" y="105"/>
                  </a:cubicBezTo>
                  <a:cubicBezTo>
                    <a:pt x="23" y="106"/>
                    <a:pt x="22" y="107"/>
                    <a:pt x="21" y="108"/>
                  </a:cubicBezTo>
                  <a:cubicBezTo>
                    <a:pt x="21" y="108"/>
                    <a:pt x="20" y="109"/>
                    <a:pt x="20" y="110"/>
                  </a:cubicBezTo>
                  <a:cubicBezTo>
                    <a:pt x="19" y="111"/>
                    <a:pt x="18" y="112"/>
                    <a:pt x="18" y="113"/>
                  </a:cubicBezTo>
                  <a:cubicBezTo>
                    <a:pt x="17" y="114"/>
                    <a:pt x="17" y="116"/>
                    <a:pt x="18" y="117"/>
                  </a:cubicBezTo>
                  <a:cubicBezTo>
                    <a:pt x="20" y="118"/>
                    <a:pt x="21" y="119"/>
                    <a:pt x="22" y="120"/>
                  </a:cubicBezTo>
                  <a:cubicBezTo>
                    <a:pt x="23" y="121"/>
                    <a:pt x="24" y="123"/>
                    <a:pt x="24" y="124"/>
                  </a:cubicBezTo>
                  <a:cubicBezTo>
                    <a:pt x="25" y="126"/>
                    <a:pt x="26" y="128"/>
                    <a:pt x="27" y="130"/>
                  </a:cubicBezTo>
                  <a:cubicBezTo>
                    <a:pt x="27" y="131"/>
                    <a:pt x="27" y="131"/>
                    <a:pt x="28" y="132"/>
                  </a:cubicBezTo>
                  <a:cubicBezTo>
                    <a:pt x="28" y="133"/>
                    <a:pt x="28" y="136"/>
                    <a:pt x="29" y="137"/>
                  </a:cubicBezTo>
                  <a:cubicBezTo>
                    <a:pt x="29" y="139"/>
                    <a:pt x="29" y="139"/>
                    <a:pt x="30" y="140"/>
                  </a:cubicBezTo>
                  <a:cubicBezTo>
                    <a:pt x="31" y="141"/>
                    <a:pt x="32" y="142"/>
                    <a:pt x="33" y="144"/>
                  </a:cubicBezTo>
                  <a:cubicBezTo>
                    <a:pt x="33" y="145"/>
                    <a:pt x="33" y="145"/>
                    <a:pt x="34" y="145"/>
                  </a:cubicBezTo>
                  <a:cubicBezTo>
                    <a:pt x="34" y="146"/>
                    <a:pt x="36" y="146"/>
                    <a:pt x="37" y="147"/>
                  </a:cubicBezTo>
                  <a:cubicBezTo>
                    <a:pt x="38" y="147"/>
                    <a:pt x="38" y="148"/>
                    <a:pt x="40" y="148"/>
                  </a:cubicBezTo>
                  <a:cubicBezTo>
                    <a:pt x="40" y="148"/>
                    <a:pt x="42" y="147"/>
                    <a:pt x="42" y="147"/>
                  </a:cubicBezTo>
                  <a:cubicBezTo>
                    <a:pt x="43" y="148"/>
                    <a:pt x="43" y="148"/>
                    <a:pt x="44" y="148"/>
                  </a:cubicBezTo>
                  <a:cubicBezTo>
                    <a:pt x="45" y="150"/>
                    <a:pt x="47" y="151"/>
                    <a:pt x="48" y="152"/>
                  </a:cubicBezTo>
                  <a:cubicBezTo>
                    <a:pt x="49" y="153"/>
                    <a:pt x="50" y="155"/>
                    <a:pt x="51" y="156"/>
                  </a:cubicBezTo>
                  <a:cubicBezTo>
                    <a:pt x="53" y="159"/>
                    <a:pt x="54" y="161"/>
                    <a:pt x="54" y="164"/>
                  </a:cubicBezTo>
                  <a:cubicBezTo>
                    <a:pt x="54" y="164"/>
                    <a:pt x="54" y="164"/>
                    <a:pt x="54" y="165"/>
                  </a:cubicBezTo>
                  <a:cubicBezTo>
                    <a:pt x="55" y="166"/>
                    <a:pt x="58" y="166"/>
                    <a:pt x="59" y="167"/>
                  </a:cubicBezTo>
                  <a:cubicBezTo>
                    <a:pt x="60" y="167"/>
                    <a:pt x="62" y="168"/>
                    <a:pt x="63" y="169"/>
                  </a:cubicBezTo>
                  <a:cubicBezTo>
                    <a:pt x="63" y="169"/>
                    <a:pt x="63" y="169"/>
                    <a:pt x="63" y="170"/>
                  </a:cubicBezTo>
                  <a:cubicBezTo>
                    <a:pt x="64" y="170"/>
                    <a:pt x="65" y="171"/>
                    <a:pt x="66" y="171"/>
                  </a:cubicBezTo>
                  <a:cubicBezTo>
                    <a:pt x="66" y="172"/>
                    <a:pt x="67" y="173"/>
                    <a:pt x="67" y="174"/>
                  </a:cubicBezTo>
                  <a:cubicBezTo>
                    <a:pt x="68" y="175"/>
                    <a:pt x="69" y="176"/>
                    <a:pt x="69" y="177"/>
                  </a:cubicBezTo>
                  <a:cubicBezTo>
                    <a:pt x="71" y="183"/>
                    <a:pt x="77" y="176"/>
                    <a:pt x="79" y="181"/>
                  </a:cubicBezTo>
                  <a:cubicBezTo>
                    <a:pt x="79" y="182"/>
                    <a:pt x="79" y="183"/>
                    <a:pt x="80" y="184"/>
                  </a:cubicBezTo>
                  <a:cubicBezTo>
                    <a:pt x="81" y="184"/>
                    <a:pt x="82" y="185"/>
                    <a:pt x="83" y="186"/>
                  </a:cubicBezTo>
                  <a:cubicBezTo>
                    <a:pt x="84" y="187"/>
                    <a:pt x="85" y="188"/>
                    <a:pt x="86" y="188"/>
                  </a:cubicBezTo>
                  <a:cubicBezTo>
                    <a:pt x="86" y="189"/>
                    <a:pt x="87" y="189"/>
                    <a:pt x="88" y="190"/>
                  </a:cubicBezTo>
                  <a:cubicBezTo>
                    <a:pt x="88" y="190"/>
                    <a:pt x="89" y="192"/>
                    <a:pt x="89" y="193"/>
                  </a:cubicBezTo>
                  <a:cubicBezTo>
                    <a:pt x="89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1" y="194"/>
                  </a:cubicBezTo>
                  <a:cubicBezTo>
                    <a:pt x="92" y="195"/>
                    <a:pt x="94" y="195"/>
                    <a:pt x="95" y="196"/>
                  </a:cubicBezTo>
                  <a:cubicBezTo>
                    <a:pt x="96" y="197"/>
                    <a:pt x="97" y="198"/>
                    <a:pt x="97" y="198"/>
                  </a:cubicBezTo>
                  <a:cubicBezTo>
                    <a:pt x="98" y="199"/>
                    <a:pt x="99" y="200"/>
                    <a:pt x="99" y="201"/>
                  </a:cubicBezTo>
                  <a:cubicBezTo>
                    <a:pt x="101" y="201"/>
                    <a:pt x="101" y="203"/>
                    <a:pt x="101" y="204"/>
                  </a:cubicBezTo>
                  <a:cubicBezTo>
                    <a:pt x="101" y="205"/>
                    <a:pt x="101" y="206"/>
                    <a:pt x="102" y="207"/>
                  </a:cubicBezTo>
                  <a:cubicBezTo>
                    <a:pt x="102" y="208"/>
                    <a:pt x="104" y="209"/>
                    <a:pt x="104" y="209"/>
                  </a:cubicBezTo>
                  <a:cubicBezTo>
                    <a:pt x="105" y="210"/>
                    <a:pt x="106" y="209"/>
                    <a:pt x="107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9" y="210"/>
                    <a:pt x="110" y="210"/>
                    <a:pt x="111" y="210"/>
                  </a:cubicBezTo>
                  <a:cubicBezTo>
                    <a:pt x="112" y="210"/>
                    <a:pt x="113" y="210"/>
                    <a:pt x="114" y="210"/>
                  </a:cubicBezTo>
                  <a:cubicBezTo>
                    <a:pt x="115" y="210"/>
                    <a:pt x="116" y="209"/>
                    <a:pt x="117" y="209"/>
                  </a:cubicBezTo>
                  <a:cubicBezTo>
                    <a:pt x="118" y="209"/>
                    <a:pt x="119" y="209"/>
                    <a:pt x="119" y="209"/>
                  </a:cubicBezTo>
                  <a:cubicBezTo>
                    <a:pt x="120" y="208"/>
                    <a:pt x="120" y="204"/>
                    <a:pt x="123" y="204"/>
                  </a:cubicBezTo>
                  <a:cubicBezTo>
                    <a:pt x="124" y="204"/>
                    <a:pt x="125" y="205"/>
                    <a:pt x="126" y="206"/>
                  </a:cubicBezTo>
                  <a:cubicBezTo>
                    <a:pt x="126" y="207"/>
                    <a:pt x="126" y="207"/>
                    <a:pt x="127" y="208"/>
                  </a:cubicBezTo>
                  <a:cubicBezTo>
                    <a:pt x="127" y="208"/>
                    <a:pt x="128" y="208"/>
                    <a:pt x="128" y="209"/>
                  </a:cubicBezTo>
                  <a:cubicBezTo>
                    <a:pt x="128" y="209"/>
                    <a:pt x="128" y="209"/>
                    <a:pt x="129" y="209"/>
                  </a:cubicBezTo>
                  <a:cubicBezTo>
                    <a:pt x="129" y="210"/>
                    <a:pt x="130" y="209"/>
                    <a:pt x="131" y="209"/>
                  </a:cubicBezTo>
                  <a:cubicBezTo>
                    <a:pt x="131" y="209"/>
                    <a:pt x="132" y="209"/>
                    <a:pt x="133" y="209"/>
                  </a:cubicBezTo>
                  <a:cubicBezTo>
                    <a:pt x="134" y="209"/>
                    <a:pt x="135" y="208"/>
                    <a:pt x="136" y="207"/>
                  </a:cubicBezTo>
                  <a:cubicBezTo>
                    <a:pt x="138" y="205"/>
                    <a:pt x="138" y="202"/>
                    <a:pt x="139" y="199"/>
                  </a:cubicBezTo>
                  <a:cubicBezTo>
                    <a:pt x="139" y="197"/>
                    <a:pt x="141" y="197"/>
                    <a:pt x="141" y="195"/>
                  </a:cubicBezTo>
                  <a:cubicBezTo>
                    <a:pt x="142" y="195"/>
                    <a:pt x="142" y="193"/>
                    <a:pt x="142" y="193"/>
                  </a:cubicBezTo>
                  <a:cubicBezTo>
                    <a:pt x="143" y="192"/>
                    <a:pt x="145" y="192"/>
                    <a:pt x="147" y="193"/>
                  </a:cubicBezTo>
                  <a:cubicBezTo>
                    <a:pt x="148" y="194"/>
                    <a:pt x="150" y="194"/>
                    <a:pt x="151" y="192"/>
                  </a:cubicBezTo>
                  <a:cubicBezTo>
                    <a:pt x="151" y="191"/>
                    <a:pt x="150" y="190"/>
                    <a:pt x="150" y="188"/>
                  </a:cubicBezTo>
                  <a:cubicBezTo>
                    <a:pt x="149" y="186"/>
                    <a:pt x="150" y="184"/>
                    <a:pt x="150" y="183"/>
                  </a:cubicBezTo>
                  <a:cubicBezTo>
                    <a:pt x="150" y="180"/>
                    <a:pt x="152" y="178"/>
                    <a:pt x="153" y="176"/>
                  </a:cubicBezTo>
                  <a:cubicBezTo>
                    <a:pt x="153" y="175"/>
                    <a:pt x="153" y="175"/>
                    <a:pt x="154" y="175"/>
                  </a:cubicBezTo>
                  <a:cubicBezTo>
                    <a:pt x="155" y="175"/>
                    <a:pt x="156" y="175"/>
                    <a:pt x="157" y="175"/>
                  </a:cubicBezTo>
                  <a:cubicBezTo>
                    <a:pt x="159" y="175"/>
                    <a:pt x="158" y="177"/>
                    <a:pt x="159" y="178"/>
                  </a:cubicBezTo>
                  <a:cubicBezTo>
                    <a:pt x="161" y="180"/>
                    <a:pt x="163" y="180"/>
                    <a:pt x="165" y="179"/>
                  </a:cubicBezTo>
                  <a:cubicBezTo>
                    <a:pt x="167" y="179"/>
                    <a:pt x="166" y="177"/>
                    <a:pt x="166" y="176"/>
                  </a:cubicBezTo>
                  <a:cubicBezTo>
                    <a:pt x="167" y="175"/>
                    <a:pt x="171" y="175"/>
                    <a:pt x="171" y="177"/>
                  </a:cubicBezTo>
                  <a:cubicBezTo>
                    <a:pt x="171" y="177"/>
                    <a:pt x="172" y="178"/>
                    <a:pt x="172" y="178"/>
                  </a:cubicBezTo>
                  <a:cubicBezTo>
                    <a:pt x="174" y="179"/>
                    <a:pt x="175" y="179"/>
                    <a:pt x="177" y="180"/>
                  </a:cubicBezTo>
                  <a:cubicBezTo>
                    <a:pt x="179" y="181"/>
                    <a:pt x="183" y="182"/>
                    <a:pt x="185" y="184"/>
                  </a:cubicBezTo>
                  <a:cubicBezTo>
                    <a:pt x="186" y="185"/>
                    <a:pt x="186" y="186"/>
                    <a:pt x="187" y="187"/>
                  </a:cubicBezTo>
                  <a:cubicBezTo>
                    <a:pt x="188" y="187"/>
                    <a:pt x="190" y="187"/>
                    <a:pt x="192" y="187"/>
                  </a:cubicBezTo>
                  <a:cubicBezTo>
                    <a:pt x="192" y="187"/>
                    <a:pt x="193" y="187"/>
                    <a:pt x="194" y="187"/>
                  </a:cubicBezTo>
                  <a:cubicBezTo>
                    <a:pt x="195" y="186"/>
                    <a:pt x="195" y="186"/>
                    <a:pt x="196" y="186"/>
                  </a:cubicBezTo>
                  <a:cubicBezTo>
                    <a:pt x="198" y="185"/>
                    <a:pt x="199" y="186"/>
                    <a:pt x="200" y="188"/>
                  </a:cubicBezTo>
                  <a:cubicBezTo>
                    <a:pt x="201" y="189"/>
                    <a:pt x="200" y="191"/>
                    <a:pt x="202" y="192"/>
                  </a:cubicBezTo>
                  <a:cubicBezTo>
                    <a:pt x="204" y="193"/>
                    <a:pt x="207" y="194"/>
                    <a:pt x="210" y="195"/>
                  </a:cubicBezTo>
                  <a:cubicBezTo>
                    <a:pt x="212" y="196"/>
                    <a:pt x="213" y="196"/>
                    <a:pt x="215" y="196"/>
                  </a:cubicBezTo>
                  <a:cubicBezTo>
                    <a:pt x="218" y="196"/>
                    <a:pt x="221" y="197"/>
                    <a:pt x="224" y="196"/>
                  </a:cubicBezTo>
                  <a:cubicBezTo>
                    <a:pt x="225" y="196"/>
                    <a:pt x="227" y="195"/>
                    <a:pt x="228" y="194"/>
                  </a:cubicBezTo>
                  <a:cubicBezTo>
                    <a:pt x="229" y="192"/>
                    <a:pt x="228" y="190"/>
                    <a:pt x="230" y="190"/>
                  </a:cubicBezTo>
                  <a:cubicBezTo>
                    <a:pt x="232" y="189"/>
                    <a:pt x="233" y="190"/>
                    <a:pt x="234" y="191"/>
                  </a:cubicBezTo>
                  <a:cubicBezTo>
                    <a:pt x="235" y="193"/>
                    <a:pt x="237" y="192"/>
                    <a:pt x="238" y="193"/>
                  </a:cubicBezTo>
                  <a:cubicBezTo>
                    <a:pt x="239" y="194"/>
                    <a:pt x="239" y="194"/>
                    <a:pt x="240" y="195"/>
                  </a:cubicBezTo>
                  <a:cubicBezTo>
                    <a:pt x="240" y="196"/>
                    <a:pt x="240" y="197"/>
                    <a:pt x="240" y="197"/>
                  </a:cubicBezTo>
                  <a:cubicBezTo>
                    <a:pt x="241" y="200"/>
                    <a:pt x="247" y="198"/>
                    <a:pt x="249" y="198"/>
                  </a:cubicBezTo>
                  <a:cubicBezTo>
                    <a:pt x="250" y="198"/>
                    <a:pt x="252" y="198"/>
                    <a:pt x="253" y="199"/>
                  </a:cubicBezTo>
                  <a:cubicBezTo>
                    <a:pt x="254" y="199"/>
                    <a:pt x="254" y="200"/>
                    <a:pt x="254" y="200"/>
                  </a:cubicBezTo>
                  <a:cubicBezTo>
                    <a:pt x="255" y="200"/>
                    <a:pt x="255" y="201"/>
                    <a:pt x="255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2"/>
                    <a:pt x="256" y="202"/>
                    <a:pt x="257" y="203"/>
                  </a:cubicBezTo>
                  <a:cubicBezTo>
                    <a:pt x="258" y="203"/>
                    <a:pt x="259" y="202"/>
                    <a:pt x="261" y="20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1" name="Freeform 23">
              <a:extLst>
                <a:ext uri="{FF2B5EF4-FFF2-40B4-BE49-F238E27FC236}">
                  <a16:creationId xmlns:a16="http://schemas.microsoft.com/office/drawing/2014/main" id="{B8E366CA-50D2-40A5-8061-70DDEBC2E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9375" y="4606925"/>
              <a:ext cx="604838" cy="287338"/>
            </a:xfrm>
            <a:custGeom>
              <a:avLst/>
              <a:gdLst/>
              <a:ahLst/>
              <a:cxnLst>
                <a:cxn ang="0">
                  <a:pos x="23" y="143"/>
                </a:cxn>
                <a:cxn ang="0">
                  <a:pos x="37" y="152"/>
                </a:cxn>
                <a:cxn ang="0">
                  <a:pos x="76" y="151"/>
                </a:cxn>
                <a:cxn ang="0">
                  <a:pos x="90" y="147"/>
                </a:cxn>
                <a:cxn ang="0">
                  <a:pos x="93" y="130"/>
                </a:cxn>
                <a:cxn ang="0">
                  <a:pos x="118" y="125"/>
                </a:cxn>
                <a:cxn ang="0">
                  <a:pos x="133" y="115"/>
                </a:cxn>
                <a:cxn ang="0">
                  <a:pos x="144" y="116"/>
                </a:cxn>
                <a:cxn ang="0">
                  <a:pos x="161" y="116"/>
                </a:cxn>
                <a:cxn ang="0">
                  <a:pos x="173" y="111"/>
                </a:cxn>
                <a:cxn ang="0">
                  <a:pos x="182" y="94"/>
                </a:cxn>
                <a:cxn ang="0">
                  <a:pos x="207" y="89"/>
                </a:cxn>
                <a:cxn ang="0">
                  <a:pos x="221" y="91"/>
                </a:cxn>
                <a:cxn ang="0">
                  <a:pos x="236" y="88"/>
                </a:cxn>
                <a:cxn ang="0">
                  <a:pos x="248" y="102"/>
                </a:cxn>
                <a:cxn ang="0">
                  <a:pos x="262" y="102"/>
                </a:cxn>
                <a:cxn ang="0">
                  <a:pos x="275" y="90"/>
                </a:cxn>
                <a:cxn ang="0">
                  <a:pos x="281" y="76"/>
                </a:cxn>
                <a:cxn ang="0">
                  <a:pos x="289" y="57"/>
                </a:cxn>
                <a:cxn ang="0">
                  <a:pos x="301" y="52"/>
                </a:cxn>
                <a:cxn ang="0">
                  <a:pos x="323" y="43"/>
                </a:cxn>
                <a:cxn ang="0">
                  <a:pos x="320" y="40"/>
                </a:cxn>
                <a:cxn ang="0">
                  <a:pos x="298" y="30"/>
                </a:cxn>
                <a:cxn ang="0">
                  <a:pos x="289" y="23"/>
                </a:cxn>
                <a:cxn ang="0">
                  <a:pos x="276" y="16"/>
                </a:cxn>
                <a:cxn ang="0">
                  <a:pos x="255" y="13"/>
                </a:cxn>
                <a:cxn ang="0">
                  <a:pos x="241" y="25"/>
                </a:cxn>
                <a:cxn ang="0">
                  <a:pos x="232" y="22"/>
                </a:cxn>
                <a:cxn ang="0">
                  <a:pos x="212" y="18"/>
                </a:cxn>
                <a:cxn ang="0">
                  <a:pos x="190" y="30"/>
                </a:cxn>
                <a:cxn ang="0">
                  <a:pos x="181" y="32"/>
                </a:cxn>
                <a:cxn ang="0">
                  <a:pos x="175" y="21"/>
                </a:cxn>
                <a:cxn ang="0">
                  <a:pos x="167" y="10"/>
                </a:cxn>
                <a:cxn ang="0">
                  <a:pos x="155" y="4"/>
                </a:cxn>
                <a:cxn ang="0">
                  <a:pos x="142" y="17"/>
                </a:cxn>
                <a:cxn ang="0">
                  <a:pos x="126" y="7"/>
                </a:cxn>
                <a:cxn ang="0">
                  <a:pos x="117" y="9"/>
                </a:cxn>
                <a:cxn ang="0">
                  <a:pos x="105" y="12"/>
                </a:cxn>
                <a:cxn ang="0">
                  <a:pos x="96" y="22"/>
                </a:cxn>
                <a:cxn ang="0">
                  <a:pos x="87" y="28"/>
                </a:cxn>
                <a:cxn ang="0">
                  <a:pos x="78" y="47"/>
                </a:cxn>
                <a:cxn ang="0">
                  <a:pos x="70" y="52"/>
                </a:cxn>
                <a:cxn ang="0">
                  <a:pos x="57" y="62"/>
                </a:cxn>
                <a:cxn ang="0">
                  <a:pos x="51" y="64"/>
                </a:cxn>
                <a:cxn ang="0">
                  <a:pos x="31" y="60"/>
                </a:cxn>
                <a:cxn ang="0">
                  <a:pos x="23" y="69"/>
                </a:cxn>
                <a:cxn ang="0">
                  <a:pos x="8" y="75"/>
                </a:cxn>
                <a:cxn ang="0">
                  <a:pos x="4" y="88"/>
                </a:cxn>
                <a:cxn ang="0">
                  <a:pos x="4" y="101"/>
                </a:cxn>
                <a:cxn ang="0">
                  <a:pos x="9" y="118"/>
                </a:cxn>
                <a:cxn ang="0">
                  <a:pos x="12" y="126"/>
                </a:cxn>
                <a:cxn ang="0">
                  <a:pos x="9" y="135"/>
                </a:cxn>
              </a:cxnLst>
              <a:rect l="0" t="0" r="r" b="b"/>
              <a:pathLst>
                <a:path w="324" h="153">
                  <a:moveTo>
                    <a:pt x="9" y="135"/>
                  </a:moveTo>
                  <a:cubicBezTo>
                    <a:pt x="10" y="135"/>
                    <a:pt x="11" y="135"/>
                    <a:pt x="12" y="136"/>
                  </a:cubicBezTo>
                  <a:cubicBezTo>
                    <a:pt x="14" y="136"/>
                    <a:pt x="16" y="137"/>
                    <a:pt x="17" y="138"/>
                  </a:cubicBezTo>
                  <a:cubicBezTo>
                    <a:pt x="19" y="139"/>
                    <a:pt x="20" y="142"/>
                    <a:pt x="23" y="143"/>
                  </a:cubicBezTo>
                  <a:cubicBezTo>
                    <a:pt x="24" y="143"/>
                    <a:pt x="25" y="143"/>
                    <a:pt x="26" y="143"/>
                  </a:cubicBezTo>
                  <a:cubicBezTo>
                    <a:pt x="28" y="144"/>
                    <a:pt x="29" y="146"/>
                    <a:pt x="30" y="147"/>
                  </a:cubicBezTo>
                  <a:cubicBezTo>
                    <a:pt x="30" y="149"/>
                    <a:pt x="31" y="151"/>
                    <a:pt x="32" y="152"/>
                  </a:cubicBezTo>
                  <a:cubicBezTo>
                    <a:pt x="33" y="153"/>
                    <a:pt x="35" y="152"/>
                    <a:pt x="37" y="152"/>
                  </a:cubicBezTo>
                  <a:cubicBezTo>
                    <a:pt x="44" y="152"/>
                    <a:pt x="51" y="152"/>
                    <a:pt x="59" y="152"/>
                  </a:cubicBezTo>
                  <a:cubicBezTo>
                    <a:pt x="63" y="152"/>
                    <a:pt x="69" y="153"/>
                    <a:pt x="73" y="152"/>
                  </a:cubicBezTo>
                  <a:cubicBezTo>
                    <a:pt x="73" y="152"/>
                    <a:pt x="75" y="151"/>
                    <a:pt x="75" y="151"/>
                  </a:cubicBezTo>
                  <a:cubicBezTo>
                    <a:pt x="75" y="152"/>
                    <a:pt x="76" y="151"/>
                    <a:pt x="76" y="151"/>
                  </a:cubicBezTo>
                  <a:cubicBezTo>
                    <a:pt x="76" y="151"/>
                    <a:pt x="76" y="150"/>
                    <a:pt x="76" y="150"/>
                  </a:cubicBezTo>
                  <a:cubicBezTo>
                    <a:pt x="78" y="149"/>
                    <a:pt x="79" y="149"/>
                    <a:pt x="80" y="149"/>
                  </a:cubicBezTo>
                  <a:cubicBezTo>
                    <a:pt x="82" y="148"/>
                    <a:pt x="83" y="148"/>
                    <a:pt x="85" y="148"/>
                  </a:cubicBezTo>
                  <a:cubicBezTo>
                    <a:pt x="86" y="148"/>
                    <a:pt x="89" y="148"/>
                    <a:pt x="90" y="147"/>
                  </a:cubicBezTo>
                  <a:cubicBezTo>
                    <a:pt x="92" y="147"/>
                    <a:pt x="93" y="145"/>
                    <a:pt x="93" y="144"/>
                  </a:cubicBezTo>
                  <a:cubicBezTo>
                    <a:pt x="92" y="141"/>
                    <a:pt x="89" y="142"/>
                    <a:pt x="89" y="139"/>
                  </a:cubicBezTo>
                  <a:cubicBezTo>
                    <a:pt x="90" y="138"/>
                    <a:pt x="91" y="137"/>
                    <a:pt x="92" y="136"/>
                  </a:cubicBezTo>
                  <a:cubicBezTo>
                    <a:pt x="92" y="134"/>
                    <a:pt x="92" y="132"/>
                    <a:pt x="93" y="130"/>
                  </a:cubicBezTo>
                  <a:cubicBezTo>
                    <a:pt x="93" y="130"/>
                    <a:pt x="95" y="128"/>
                    <a:pt x="96" y="128"/>
                  </a:cubicBezTo>
                  <a:cubicBezTo>
                    <a:pt x="97" y="127"/>
                    <a:pt x="100" y="128"/>
                    <a:pt x="101" y="128"/>
                  </a:cubicBezTo>
                  <a:cubicBezTo>
                    <a:pt x="105" y="127"/>
                    <a:pt x="109" y="126"/>
                    <a:pt x="113" y="126"/>
                  </a:cubicBezTo>
                  <a:cubicBezTo>
                    <a:pt x="114" y="125"/>
                    <a:pt x="116" y="126"/>
                    <a:pt x="118" y="125"/>
                  </a:cubicBezTo>
                  <a:cubicBezTo>
                    <a:pt x="119" y="125"/>
                    <a:pt x="121" y="125"/>
                    <a:pt x="122" y="124"/>
                  </a:cubicBezTo>
                  <a:cubicBezTo>
                    <a:pt x="123" y="124"/>
                    <a:pt x="126" y="125"/>
                    <a:pt x="127" y="124"/>
                  </a:cubicBezTo>
                  <a:cubicBezTo>
                    <a:pt x="128" y="124"/>
                    <a:pt x="130" y="122"/>
                    <a:pt x="130" y="121"/>
                  </a:cubicBezTo>
                  <a:cubicBezTo>
                    <a:pt x="131" y="119"/>
                    <a:pt x="132" y="116"/>
                    <a:pt x="133" y="115"/>
                  </a:cubicBezTo>
                  <a:cubicBezTo>
                    <a:pt x="134" y="114"/>
                    <a:pt x="136" y="114"/>
                    <a:pt x="137" y="114"/>
                  </a:cubicBezTo>
                  <a:cubicBezTo>
                    <a:pt x="138" y="114"/>
                    <a:pt x="141" y="114"/>
                    <a:pt x="141" y="115"/>
                  </a:cubicBezTo>
                  <a:cubicBezTo>
                    <a:pt x="142" y="115"/>
                    <a:pt x="141" y="116"/>
                    <a:pt x="142" y="116"/>
                  </a:cubicBezTo>
                  <a:cubicBezTo>
                    <a:pt x="142" y="117"/>
                    <a:pt x="143" y="116"/>
                    <a:pt x="144" y="116"/>
                  </a:cubicBezTo>
                  <a:cubicBezTo>
                    <a:pt x="146" y="116"/>
                    <a:pt x="149" y="116"/>
                    <a:pt x="150" y="117"/>
                  </a:cubicBezTo>
                  <a:cubicBezTo>
                    <a:pt x="152" y="118"/>
                    <a:pt x="152" y="121"/>
                    <a:pt x="153" y="122"/>
                  </a:cubicBezTo>
                  <a:cubicBezTo>
                    <a:pt x="155" y="121"/>
                    <a:pt x="155" y="119"/>
                    <a:pt x="157" y="117"/>
                  </a:cubicBezTo>
                  <a:cubicBezTo>
                    <a:pt x="158" y="117"/>
                    <a:pt x="159" y="117"/>
                    <a:pt x="161" y="116"/>
                  </a:cubicBezTo>
                  <a:cubicBezTo>
                    <a:pt x="161" y="115"/>
                    <a:pt x="162" y="115"/>
                    <a:pt x="163" y="114"/>
                  </a:cubicBezTo>
                  <a:cubicBezTo>
                    <a:pt x="163" y="114"/>
                    <a:pt x="164" y="114"/>
                    <a:pt x="165" y="114"/>
                  </a:cubicBezTo>
                  <a:cubicBezTo>
                    <a:pt x="167" y="114"/>
                    <a:pt x="168" y="112"/>
                    <a:pt x="170" y="111"/>
                  </a:cubicBezTo>
                  <a:cubicBezTo>
                    <a:pt x="171" y="111"/>
                    <a:pt x="172" y="111"/>
                    <a:pt x="173" y="111"/>
                  </a:cubicBezTo>
                  <a:cubicBezTo>
                    <a:pt x="174" y="111"/>
                    <a:pt x="175" y="110"/>
                    <a:pt x="175" y="109"/>
                  </a:cubicBezTo>
                  <a:cubicBezTo>
                    <a:pt x="177" y="108"/>
                    <a:pt x="178" y="106"/>
                    <a:pt x="179" y="104"/>
                  </a:cubicBezTo>
                  <a:cubicBezTo>
                    <a:pt x="180" y="102"/>
                    <a:pt x="180" y="101"/>
                    <a:pt x="180" y="99"/>
                  </a:cubicBezTo>
                  <a:cubicBezTo>
                    <a:pt x="181" y="97"/>
                    <a:pt x="182" y="96"/>
                    <a:pt x="182" y="94"/>
                  </a:cubicBezTo>
                  <a:cubicBezTo>
                    <a:pt x="183" y="92"/>
                    <a:pt x="182" y="90"/>
                    <a:pt x="183" y="89"/>
                  </a:cubicBezTo>
                  <a:cubicBezTo>
                    <a:pt x="184" y="86"/>
                    <a:pt x="190" y="88"/>
                    <a:pt x="192" y="88"/>
                  </a:cubicBezTo>
                  <a:cubicBezTo>
                    <a:pt x="196" y="88"/>
                    <a:pt x="199" y="88"/>
                    <a:pt x="203" y="88"/>
                  </a:cubicBezTo>
                  <a:cubicBezTo>
                    <a:pt x="205" y="88"/>
                    <a:pt x="206" y="88"/>
                    <a:pt x="207" y="89"/>
                  </a:cubicBezTo>
                  <a:cubicBezTo>
                    <a:pt x="208" y="89"/>
                    <a:pt x="208" y="90"/>
                    <a:pt x="209" y="91"/>
                  </a:cubicBezTo>
                  <a:cubicBezTo>
                    <a:pt x="209" y="91"/>
                    <a:pt x="210" y="91"/>
                    <a:pt x="211" y="91"/>
                  </a:cubicBezTo>
                  <a:cubicBezTo>
                    <a:pt x="213" y="91"/>
                    <a:pt x="215" y="91"/>
                    <a:pt x="216" y="91"/>
                  </a:cubicBezTo>
                  <a:cubicBezTo>
                    <a:pt x="218" y="91"/>
                    <a:pt x="219" y="92"/>
                    <a:pt x="221" y="91"/>
                  </a:cubicBezTo>
                  <a:cubicBezTo>
                    <a:pt x="222" y="91"/>
                    <a:pt x="223" y="89"/>
                    <a:pt x="225" y="89"/>
                  </a:cubicBezTo>
                  <a:cubicBezTo>
                    <a:pt x="226" y="89"/>
                    <a:pt x="227" y="89"/>
                    <a:pt x="228" y="88"/>
                  </a:cubicBezTo>
                  <a:cubicBezTo>
                    <a:pt x="229" y="88"/>
                    <a:pt x="230" y="88"/>
                    <a:pt x="232" y="88"/>
                  </a:cubicBezTo>
                  <a:cubicBezTo>
                    <a:pt x="233" y="88"/>
                    <a:pt x="235" y="87"/>
                    <a:pt x="236" y="88"/>
                  </a:cubicBezTo>
                  <a:cubicBezTo>
                    <a:pt x="237" y="88"/>
                    <a:pt x="237" y="89"/>
                    <a:pt x="237" y="89"/>
                  </a:cubicBezTo>
                  <a:cubicBezTo>
                    <a:pt x="238" y="89"/>
                    <a:pt x="239" y="89"/>
                    <a:pt x="240" y="90"/>
                  </a:cubicBezTo>
                  <a:cubicBezTo>
                    <a:pt x="243" y="92"/>
                    <a:pt x="243" y="96"/>
                    <a:pt x="244" y="99"/>
                  </a:cubicBezTo>
                  <a:cubicBezTo>
                    <a:pt x="245" y="100"/>
                    <a:pt x="247" y="101"/>
                    <a:pt x="248" y="102"/>
                  </a:cubicBezTo>
                  <a:cubicBezTo>
                    <a:pt x="250" y="103"/>
                    <a:pt x="250" y="103"/>
                    <a:pt x="252" y="104"/>
                  </a:cubicBezTo>
                  <a:cubicBezTo>
                    <a:pt x="252" y="105"/>
                    <a:pt x="253" y="106"/>
                    <a:pt x="254" y="107"/>
                  </a:cubicBezTo>
                  <a:cubicBezTo>
                    <a:pt x="256" y="107"/>
                    <a:pt x="257" y="105"/>
                    <a:pt x="258" y="103"/>
                  </a:cubicBezTo>
                  <a:cubicBezTo>
                    <a:pt x="260" y="102"/>
                    <a:pt x="260" y="102"/>
                    <a:pt x="262" y="102"/>
                  </a:cubicBezTo>
                  <a:cubicBezTo>
                    <a:pt x="264" y="102"/>
                    <a:pt x="266" y="103"/>
                    <a:pt x="268" y="102"/>
                  </a:cubicBezTo>
                  <a:cubicBezTo>
                    <a:pt x="269" y="101"/>
                    <a:pt x="270" y="99"/>
                    <a:pt x="270" y="98"/>
                  </a:cubicBezTo>
                  <a:cubicBezTo>
                    <a:pt x="271" y="97"/>
                    <a:pt x="271" y="95"/>
                    <a:pt x="272" y="94"/>
                  </a:cubicBezTo>
                  <a:cubicBezTo>
                    <a:pt x="273" y="92"/>
                    <a:pt x="274" y="91"/>
                    <a:pt x="275" y="90"/>
                  </a:cubicBezTo>
                  <a:cubicBezTo>
                    <a:pt x="276" y="89"/>
                    <a:pt x="276" y="90"/>
                    <a:pt x="276" y="88"/>
                  </a:cubicBezTo>
                  <a:cubicBezTo>
                    <a:pt x="276" y="86"/>
                    <a:pt x="277" y="86"/>
                    <a:pt x="277" y="84"/>
                  </a:cubicBezTo>
                  <a:cubicBezTo>
                    <a:pt x="278" y="83"/>
                    <a:pt x="278" y="82"/>
                    <a:pt x="279" y="80"/>
                  </a:cubicBezTo>
                  <a:cubicBezTo>
                    <a:pt x="279" y="79"/>
                    <a:pt x="280" y="77"/>
                    <a:pt x="281" y="76"/>
                  </a:cubicBezTo>
                  <a:cubicBezTo>
                    <a:pt x="281" y="75"/>
                    <a:pt x="283" y="73"/>
                    <a:pt x="283" y="72"/>
                  </a:cubicBezTo>
                  <a:cubicBezTo>
                    <a:pt x="283" y="70"/>
                    <a:pt x="283" y="69"/>
                    <a:pt x="284" y="67"/>
                  </a:cubicBezTo>
                  <a:cubicBezTo>
                    <a:pt x="284" y="65"/>
                    <a:pt x="285" y="64"/>
                    <a:pt x="286" y="62"/>
                  </a:cubicBezTo>
                  <a:cubicBezTo>
                    <a:pt x="287" y="61"/>
                    <a:pt x="289" y="59"/>
                    <a:pt x="289" y="57"/>
                  </a:cubicBezTo>
                  <a:cubicBezTo>
                    <a:pt x="290" y="56"/>
                    <a:pt x="289" y="56"/>
                    <a:pt x="290" y="55"/>
                  </a:cubicBezTo>
                  <a:cubicBezTo>
                    <a:pt x="290" y="55"/>
                    <a:pt x="291" y="54"/>
                    <a:pt x="292" y="54"/>
                  </a:cubicBezTo>
                  <a:cubicBezTo>
                    <a:pt x="293" y="53"/>
                    <a:pt x="296" y="54"/>
                    <a:pt x="297" y="53"/>
                  </a:cubicBezTo>
                  <a:cubicBezTo>
                    <a:pt x="299" y="53"/>
                    <a:pt x="300" y="52"/>
                    <a:pt x="301" y="52"/>
                  </a:cubicBezTo>
                  <a:cubicBezTo>
                    <a:pt x="303" y="52"/>
                    <a:pt x="305" y="53"/>
                    <a:pt x="307" y="53"/>
                  </a:cubicBezTo>
                  <a:cubicBezTo>
                    <a:pt x="309" y="53"/>
                    <a:pt x="311" y="53"/>
                    <a:pt x="312" y="53"/>
                  </a:cubicBezTo>
                  <a:cubicBezTo>
                    <a:pt x="316" y="52"/>
                    <a:pt x="319" y="51"/>
                    <a:pt x="322" y="47"/>
                  </a:cubicBezTo>
                  <a:cubicBezTo>
                    <a:pt x="322" y="46"/>
                    <a:pt x="323" y="45"/>
                    <a:pt x="323" y="43"/>
                  </a:cubicBezTo>
                  <a:cubicBezTo>
                    <a:pt x="324" y="43"/>
                    <a:pt x="324" y="43"/>
                    <a:pt x="324" y="42"/>
                  </a:cubicBezTo>
                  <a:cubicBezTo>
                    <a:pt x="324" y="42"/>
                    <a:pt x="324" y="42"/>
                    <a:pt x="324" y="42"/>
                  </a:cubicBezTo>
                  <a:cubicBezTo>
                    <a:pt x="323" y="42"/>
                    <a:pt x="322" y="42"/>
                    <a:pt x="322" y="41"/>
                  </a:cubicBezTo>
                  <a:cubicBezTo>
                    <a:pt x="321" y="41"/>
                    <a:pt x="320" y="40"/>
                    <a:pt x="320" y="40"/>
                  </a:cubicBezTo>
                  <a:cubicBezTo>
                    <a:pt x="318" y="39"/>
                    <a:pt x="316" y="38"/>
                    <a:pt x="315" y="38"/>
                  </a:cubicBezTo>
                  <a:cubicBezTo>
                    <a:pt x="311" y="36"/>
                    <a:pt x="308" y="36"/>
                    <a:pt x="304" y="35"/>
                  </a:cubicBezTo>
                  <a:cubicBezTo>
                    <a:pt x="303" y="34"/>
                    <a:pt x="302" y="34"/>
                    <a:pt x="301" y="32"/>
                  </a:cubicBezTo>
                  <a:cubicBezTo>
                    <a:pt x="300" y="31"/>
                    <a:pt x="300" y="31"/>
                    <a:pt x="298" y="30"/>
                  </a:cubicBezTo>
                  <a:cubicBezTo>
                    <a:pt x="297" y="29"/>
                    <a:pt x="295" y="28"/>
                    <a:pt x="293" y="27"/>
                  </a:cubicBezTo>
                  <a:cubicBezTo>
                    <a:pt x="292" y="27"/>
                    <a:pt x="292" y="27"/>
                    <a:pt x="291" y="27"/>
                  </a:cubicBezTo>
                  <a:cubicBezTo>
                    <a:pt x="291" y="27"/>
                    <a:pt x="290" y="25"/>
                    <a:pt x="290" y="25"/>
                  </a:cubicBezTo>
                  <a:cubicBezTo>
                    <a:pt x="289" y="24"/>
                    <a:pt x="289" y="24"/>
                    <a:pt x="289" y="23"/>
                  </a:cubicBezTo>
                  <a:cubicBezTo>
                    <a:pt x="288" y="22"/>
                    <a:pt x="287" y="21"/>
                    <a:pt x="286" y="20"/>
                  </a:cubicBezTo>
                  <a:cubicBezTo>
                    <a:pt x="285" y="20"/>
                    <a:pt x="284" y="21"/>
                    <a:pt x="283" y="21"/>
                  </a:cubicBezTo>
                  <a:cubicBezTo>
                    <a:pt x="281" y="20"/>
                    <a:pt x="282" y="20"/>
                    <a:pt x="281" y="19"/>
                  </a:cubicBezTo>
                  <a:cubicBezTo>
                    <a:pt x="279" y="18"/>
                    <a:pt x="278" y="17"/>
                    <a:pt x="276" y="16"/>
                  </a:cubicBezTo>
                  <a:cubicBezTo>
                    <a:pt x="273" y="15"/>
                    <a:pt x="269" y="14"/>
                    <a:pt x="266" y="13"/>
                  </a:cubicBezTo>
                  <a:cubicBezTo>
                    <a:pt x="264" y="13"/>
                    <a:pt x="261" y="13"/>
                    <a:pt x="259" y="13"/>
                  </a:cubicBezTo>
                  <a:cubicBezTo>
                    <a:pt x="258" y="13"/>
                    <a:pt x="258" y="12"/>
                    <a:pt x="257" y="12"/>
                  </a:cubicBezTo>
                  <a:cubicBezTo>
                    <a:pt x="256" y="12"/>
                    <a:pt x="255" y="13"/>
                    <a:pt x="255" y="13"/>
                  </a:cubicBezTo>
                  <a:cubicBezTo>
                    <a:pt x="254" y="17"/>
                    <a:pt x="251" y="15"/>
                    <a:pt x="249" y="15"/>
                  </a:cubicBezTo>
                  <a:cubicBezTo>
                    <a:pt x="248" y="15"/>
                    <a:pt x="247" y="16"/>
                    <a:pt x="246" y="17"/>
                  </a:cubicBezTo>
                  <a:cubicBezTo>
                    <a:pt x="245" y="19"/>
                    <a:pt x="246" y="20"/>
                    <a:pt x="245" y="22"/>
                  </a:cubicBezTo>
                  <a:cubicBezTo>
                    <a:pt x="245" y="23"/>
                    <a:pt x="242" y="25"/>
                    <a:pt x="241" y="25"/>
                  </a:cubicBezTo>
                  <a:cubicBezTo>
                    <a:pt x="241" y="25"/>
                    <a:pt x="238" y="25"/>
                    <a:pt x="238" y="25"/>
                  </a:cubicBezTo>
                  <a:cubicBezTo>
                    <a:pt x="237" y="25"/>
                    <a:pt x="237" y="24"/>
                    <a:pt x="237" y="23"/>
                  </a:cubicBezTo>
                  <a:cubicBezTo>
                    <a:pt x="236" y="23"/>
                    <a:pt x="235" y="23"/>
                    <a:pt x="234" y="22"/>
                  </a:cubicBezTo>
                  <a:cubicBezTo>
                    <a:pt x="234" y="22"/>
                    <a:pt x="232" y="22"/>
                    <a:pt x="232" y="22"/>
                  </a:cubicBezTo>
                  <a:cubicBezTo>
                    <a:pt x="230" y="21"/>
                    <a:pt x="229" y="18"/>
                    <a:pt x="227" y="17"/>
                  </a:cubicBezTo>
                  <a:cubicBezTo>
                    <a:pt x="226" y="17"/>
                    <a:pt x="225" y="18"/>
                    <a:pt x="224" y="17"/>
                  </a:cubicBezTo>
                  <a:cubicBezTo>
                    <a:pt x="222" y="17"/>
                    <a:pt x="222" y="16"/>
                    <a:pt x="221" y="15"/>
                  </a:cubicBezTo>
                  <a:cubicBezTo>
                    <a:pt x="217" y="15"/>
                    <a:pt x="215" y="18"/>
                    <a:pt x="212" y="18"/>
                  </a:cubicBezTo>
                  <a:cubicBezTo>
                    <a:pt x="210" y="18"/>
                    <a:pt x="207" y="18"/>
                    <a:pt x="205" y="18"/>
                  </a:cubicBezTo>
                  <a:cubicBezTo>
                    <a:pt x="205" y="20"/>
                    <a:pt x="206" y="21"/>
                    <a:pt x="205" y="23"/>
                  </a:cubicBezTo>
                  <a:cubicBezTo>
                    <a:pt x="201" y="24"/>
                    <a:pt x="197" y="22"/>
                    <a:pt x="194" y="25"/>
                  </a:cubicBezTo>
                  <a:cubicBezTo>
                    <a:pt x="191" y="26"/>
                    <a:pt x="190" y="27"/>
                    <a:pt x="190" y="30"/>
                  </a:cubicBezTo>
                  <a:cubicBezTo>
                    <a:pt x="190" y="32"/>
                    <a:pt x="190" y="33"/>
                    <a:pt x="190" y="35"/>
                  </a:cubicBezTo>
                  <a:cubicBezTo>
                    <a:pt x="189" y="35"/>
                    <a:pt x="187" y="35"/>
                    <a:pt x="185" y="35"/>
                  </a:cubicBezTo>
                  <a:cubicBezTo>
                    <a:pt x="185" y="34"/>
                    <a:pt x="184" y="33"/>
                    <a:pt x="183" y="33"/>
                  </a:cubicBezTo>
                  <a:cubicBezTo>
                    <a:pt x="182" y="33"/>
                    <a:pt x="182" y="33"/>
                    <a:pt x="181" y="32"/>
                  </a:cubicBezTo>
                  <a:cubicBezTo>
                    <a:pt x="180" y="32"/>
                    <a:pt x="179" y="31"/>
                    <a:pt x="179" y="30"/>
                  </a:cubicBezTo>
                  <a:cubicBezTo>
                    <a:pt x="178" y="30"/>
                    <a:pt x="177" y="30"/>
                    <a:pt x="177" y="29"/>
                  </a:cubicBezTo>
                  <a:cubicBezTo>
                    <a:pt x="175" y="28"/>
                    <a:pt x="175" y="29"/>
                    <a:pt x="175" y="27"/>
                  </a:cubicBezTo>
                  <a:cubicBezTo>
                    <a:pt x="175" y="25"/>
                    <a:pt x="175" y="23"/>
                    <a:pt x="175" y="21"/>
                  </a:cubicBezTo>
                  <a:cubicBezTo>
                    <a:pt x="175" y="19"/>
                    <a:pt x="175" y="19"/>
                    <a:pt x="174" y="18"/>
                  </a:cubicBezTo>
                  <a:cubicBezTo>
                    <a:pt x="174" y="17"/>
                    <a:pt x="173" y="16"/>
                    <a:pt x="172" y="15"/>
                  </a:cubicBezTo>
                  <a:cubicBezTo>
                    <a:pt x="172" y="15"/>
                    <a:pt x="172" y="14"/>
                    <a:pt x="171" y="13"/>
                  </a:cubicBezTo>
                  <a:cubicBezTo>
                    <a:pt x="171" y="12"/>
                    <a:pt x="168" y="10"/>
                    <a:pt x="167" y="10"/>
                  </a:cubicBezTo>
                  <a:cubicBezTo>
                    <a:pt x="167" y="8"/>
                    <a:pt x="165" y="9"/>
                    <a:pt x="164" y="8"/>
                  </a:cubicBezTo>
                  <a:cubicBezTo>
                    <a:pt x="163" y="7"/>
                    <a:pt x="163" y="6"/>
                    <a:pt x="163" y="5"/>
                  </a:cubicBezTo>
                  <a:cubicBezTo>
                    <a:pt x="163" y="2"/>
                    <a:pt x="160" y="0"/>
                    <a:pt x="158" y="2"/>
                  </a:cubicBezTo>
                  <a:cubicBezTo>
                    <a:pt x="157" y="3"/>
                    <a:pt x="157" y="4"/>
                    <a:pt x="155" y="4"/>
                  </a:cubicBezTo>
                  <a:cubicBezTo>
                    <a:pt x="155" y="5"/>
                    <a:pt x="154" y="5"/>
                    <a:pt x="154" y="5"/>
                  </a:cubicBezTo>
                  <a:cubicBezTo>
                    <a:pt x="152" y="5"/>
                    <a:pt x="152" y="6"/>
                    <a:pt x="150" y="6"/>
                  </a:cubicBezTo>
                  <a:cubicBezTo>
                    <a:pt x="147" y="7"/>
                    <a:pt x="146" y="8"/>
                    <a:pt x="145" y="11"/>
                  </a:cubicBezTo>
                  <a:cubicBezTo>
                    <a:pt x="145" y="15"/>
                    <a:pt x="146" y="17"/>
                    <a:pt x="142" y="17"/>
                  </a:cubicBezTo>
                  <a:cubicBezTo>
                    <a:pt x="139" y="18"/>
                    <a:pt x="135" y="18"/>
                    <a:pt x="132" y="17"/>
                  </a:cubicBezTo>
                  <a:cubicBezTo>
                    <a:pt x="128" y="17"/>
                    <a:pt x="129" y="15"/>
                    <a:pt x="128" y="12"/>
                  </a:cubicBezTo>
                  <a:cubicBezTo>
                    <a:pt x="128" y="11"/>
                    <a:pt x="128" y="9"/>
                    <a:pt x="127" y="8"/>
                  </a:cubicBezTo>
                  <a:cubicBezTo>
                    <a:pt x="127" y="7"/>
                    <a:pt x="127" y="7"/>
                    <a:pt x="126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2" y="7"/>
                    <a:pt x="121" y="8"/>
                  </a:cubicBezTo>
                  <a:cubicBezTo>
                    <a:pt x="120" y="8"/>
                    <a:pt x="120" y="8"/>
                    <a:pt x="119" y="9"/>
                  </a:cubicBezTo>
                  <a:cubicBezTo>
                    <a:pt x="118" y="9"/>
                    <a:pt x="119" y="9"/>
                    <a:pt x="117" y="9"/>
                  </a:cubicBezTo>
                  <a:cubicBezTo>
                    <a:pt x="116" y="10"/>
                    <a:pt x="115" y="10"/>
                    <a:pt x="114" y="10"/>
                  </a:cubicBezTo>
                  <a:cubicBezTo>
                    <a:pt x="112" y="9"/>
                    <a:pt x="111" y="8"/>
                    <a:pt x="110" y="8"/>
                  </a:cubicBezTo>
                  <a:cubicBezTo>
                    <a:pt x="108" y="8"/>
                    <a:pt x="109" y="9"/>
                    <a:pt x="108" y="10"/>
                  </a:cubicBezTo>
                  <a:cubicBezTo>
                    <a:pt x="107" y="11"/>
                    <a:pt x="106" y="12"/>
                    <a:pt x="105" y="12"/>
                  </a:cubicBezTo>
                  <a:cubicBezTo>
                    <a:pt x="104" y="13"/>
                    <a:pt x="104" y="13"/>
                    <a:pt x="103" y="14"/>
                  </a:cubicBezTo>
                  <a:cubicBezTo>
                    <a:pt x="103" y="15"/>
                    <a:pt x="102" y="15"/>
                    <a:pt x="101" y="15"/>
                  </a:cubicBezTo>
                  <a:cubicBezTo>
                    <a:pt x="98" y="17"/>
                    <a:pt x="98" y="19"/>
                    <a:pt x="97" y="21"/>
                  </a:cubicBezTo>
                  <a:cubicBezTo>
                    <a:pt x="96" y="21"/>
                    <a:pt x="96" y="21"/>
                    <a:pt x="96" y="22"/>
                  </a:cubicBezTo>
                  <a:cubicBezTo>
                    <a:pt x="96" y="22"/>
                    <a:pt x="95" y="23"/>
                    <a:pt x="95" y="24"/>
                  </a:cubicBezTo>
                  <a:cubicBezTo>
                    <a:pt x="94" y="24"/>
                    <a:pt x="93" y="25"/>
                    <a:pt x="92" y="25"/>
                  </a:cubicBezTo>
                  <a:cubicBezTo>
                    <a:pt x="91" y="25"/>
                    <a:pt x="89" y="25"/>
                    <a:pt x="88" y="25"/>
                  </a:cubicBezTo>
                  <a:cubicBezTo>
                    <a:pt x="87" y="25"/>
                    <a:pt x="87" y="27"/>
                    <a:pt x="87" y="28"/>
                  </a:cubicBezTo>
                  <a:cubicBezTo>
                    <a:pt x="86" y="29"/>
                    <a:pt x="86" y="30"/>
                    <a:pt x="85" y="31"/>
                  </a:cubicBezTo>
                  <a:cubicBezTo>
                    <a:pt x="85" y="31"/>
                    <a:pt x="85" y="33"/>
                    <a:pt x="85" y="34"/>
                  </a:cubicBezTo>
                  <a:cubicBezTo>
                    <a:pt x="84" y="36"/>
                    <a:pt x="82" y="37"/>
                    <a:pt x="82" y="40"/>
                  </a:cubicBezTo>
                  <a:cubicBezTo>
                    <a:pt x="82" y="43"/>
                    <a:pt x="80" y="45"/>
                    <a:pt x="78" y="47"/>
                  </a:cubicBezTo>
                  <a:cubicBezTo>
                    <a:pt x="78" y="48"/>
                    <a:pt x="78" y="49"/>
                    <a:pt x="77" y="50"/>
                  </a:cubicBezTo>
                  <a:cubicBezTo>
                    <a:pt x="77" y="50"/>
                    <a:pt x="76" y="49"/>
                    <a:pt x="75" y="50"/>
                  </a:cubicBezTo>
                  <a:cubicBezTo>
                    <a:pt x="74" y="50"/>
                    <a:pt x="74" y="50"/>
                    <a:pt x="73" y="50"/>
                  </a:cubicBezTo>
                  <a:cubicBezTo>
                    <a:pt x="71" y="51"/>
                    <a:pt x="71" y="51"/>
                    <a:pt x="70" y="52"/>
                  </a:cubicBezTo>
                  <a:cubicBezTo>
                    <a:pt x="70" y="53"/>
                    <a:pt x="70" y="53"/>
                    <a:pt x="69" y="54"/>
                  </a:cubicBezTo>
                  <a:cubicBezTo>
                    <a:pt x="68" y="55"/>
                    <a:pt x="67" y="56"/>
                    <a:pt x="66" y="56"/>
                  </a:cubicBezTo>
                  <a:cubicBezTo>
                    <a:pt x="65" y="57"/>
                    <a:pt x="63" y="58"/>
                    <a:pt x="62" y="59"/>
                  </a:cubicBezTo>
                  <a:cubicBezTo>
                    <a:pt x="61" y="60"/>
                    <a:pt x="59" y="61"/>
                    <a:pt x="57" y="62"/>
                  </a:cubicBezTo>
                  <a:cubicBezTo>
                    <a:pt x="56" y="62"/>
                    <a:pt x="56" y="62"/>
                    <a:pt x="55" y="63"/>
                  </a:cubicBezTo>
                  <a:cubicBezTo>
                    <a:pt x="55" y="63"/>
                    <a:pt x="54" y="63"/>
                    <a:pt x="54" y="63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3" y="65"/>
                    <a:pt x="52" y="64"/>
                    <a:pt x="51" y="64"/>
                  </a:cubicBezTo>
                  <a:cubicBezTo>
                    <a:pt x="47" y="65"/>
                    <a:pt x="43" y="66"/>
                    <a:pt x="39" y="64"/>
                  </a:cubicBezTo>
                  <a:cubicBezTo>
                    <a:pt x="38" y="64"/>
                    <a:pt x="37" y="63"/>
                    <a:pt x="36" y="63"/>
                  </a:cubicBezTo>
                  <a:cubicBezTo>
                    <a:pt x="35" y="62"/>
                    <a:pt x="34" y="62"/>
                    <a:pt x="33" y="62"/>
                  </a:cubicBezTo>
                  <a:cubicBezTo>
                    <a:pt x="33" y="61"/>
                    <a:pt x="33" y="60"/>
                    <a:pt x="31" y="60"/>
                  </a:cubicBezTo>
                  <a:cubicBezTo>
                    <a:pt x="30" y="61"/>
                    <a:pt x="30" y="63"/>
                    <a:pt x="29" y="63"/>
                  </a:cubicBezTo>
                  <a:cubicBezTo>
                    <a:pt x="28" y="64"/>
                    <a:pt x="27" y="65"/>
                    <a:pt x="26" y="66"/>
                  </a:cubicBezTo>
                  <a:cubicBezTo>
                    <a:pt x="25" y="66"/>
                    <a:pt x="25" y="67"/>
                    <a:pt x="24" y="68"/>
                  </a:cubicBezTo>
                  <a:cubicBezTo>
                    <a:pt x="24" y="68"/>
                    <a:pt x="23" y="68"/>
                    <a:pt x="23" y="69"/>
                  </a:cubicBezTo>
                  <a:cubicBezTo>
                    <a:pt x="22" y="70"/>
                    <a:pt x="22" y="71"/>
                    <a:pt x="21" y="72"/>
                  </a:cubicBezTo>
                  <a:cubicBezTo>
                    <a:pt x="19" y="73"/>
                    <a:pt x="18" y="74"/>
                    <a:pt x="15" y="74"/>
                  </a:cubicBezTo>
                  <a:cubicBezTo>
                    <a:pt x="14" y="75"/>
                    <a:pt x="13" y="74"/>
                    <a:pt x="12" y="74"/>
                  </a:cubicBezTo>
                  <a:cubicBezTo>
                    <a:pt x="10" y="74"/>
                    <a:pt x="9" y="75"/>
                    <a:pt x="8" y="75"/>
                  </a:cubicBezTo>
                  <a:cubicBezTo>
                    <a:pt x="8" y="75"/>
                    <a:pt x="8" y="75"/>
                    <a:pt x="8" y="76"/>
                  </a:cubicBezTo>
                  <a:cubicBezTo>
                    <a:pt x="8" y="77"/>
                    <a:pt x="8" y="79"/>
                    <a:pt x="8" y="80"/>
                  </a:cubicBezTo>
                  <a:cubicBezTo>
                    <a:pt x="8" y="82"/>
                    <a:pt x="7" y="84"/>
                    <a:pt x="6" y="85"/>
                  </a:cubicBezTo>
                  <a:cubicBezTo>
                    <a:pt x="6" y="86"/>
                    <a:pt x="5" y="87"/>
                    <a:pt x="4" y="88"/>
                  </a:cubicBezTo>
                  <a:cubicBezTo>
                    <a:pt x="3" y="89"/>
                    <a:pt x="2" y="91"/>
                    <a:pt x="1" y="93"/>
                  </a:cubicBezTo>
                  <a:cubicBezTo>
                    <a:pt x="1" y="94"/>
                    <a:pt x="0" y="95"/>
                    <a:pt x="1" y="96"/>
                  </a:cubicBezTo>
                  <a:cubicBezTo>
                    <a:pt x="1" y="97"/>
                    <a:pt x="2" y="99"/>
                    <a:pt x="2" y="100"/>
                  </a:cubicBezTo>
                  <a:cubicBezTo>
                    <a:pt x="3" y="100"/>
                    <a:pt x="4" y="101"/>
                    <a:pt x="4" y="101"/>
                  </a:cubicBezTo>
                  <a:cubicBezTo>
                    <a:pt x="5" y="102"/>
                    <a:pt x="5" y="103"/>
                    <a:pt x="5" y="104"/>
                  </a:cubicBezTo>
                  <a:cubicBezTo>
                    <a:pt x="6" y="107"/>
                    <a:pt x="5" y="110"/>
                    <a:pt x="6" y="113"/>
                  </a:cubicBezTo>
                  <a:cubicBezTo>
                    <a:pt x="6" y="114"/>
                    <a:pt x="7" y="116"/>
                    <a:pt x="8" y="117"/>
                  </a:cubicBezTo>
                  <a:cubicBezTo>
                    <a:pt x="8" y="118"/>
                    <a:pt x="9" y="118"/>
                    <a:pt x="9" y="118"/>
                  </a:cubicBezTo>
                  <a:cubicBezTo>
                    <a:pt x="10" y="119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3"/>
                    <a:pt x="11" y="124"/>
                    <a:pt x="12" y="126"/>
                  </a:cubicBezTo>
                  <a:cubicBezTo>
                    <a:pt x="13" y="127"/>
                    <a:pt x="13" y="129"/>
                    <a:pt x="13" y="130"/>
                  </a:cubicBezTo>
                  <a:cubicBezTo>
                    <a:pt x="13" y="130"/>
                    <a:pt x="12" y="131"/>
                    <a:pt x="12" y="131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1" y="133"/>
                    <a:pt x="10" y="134"/>
                    <a:pt x="9" y="13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2" name="Freeform 24">
              <a:extLst>
                <a:ext uri="{FF2B5EF4-FFF2-40B4-BE49-F238E27FC236}">
                  <a16:creationId xmlns:a16="http://schemas.microsoft.com/office/drawing/2014/main" id="{CA903599-504C-4062-B6ED-79B73FDC2D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0000" y="4768850"/>
              <a:ext cx="660400" cy="425450"/>
            </a:xfrm>
            <a:custGeom>
              <a:avLst/>
              <a:gdLst/>
              <a:ahLst/>
              <a:cxnLst>
                <a:cxn ang="0">
                  <a:pos x="3" y="150"/>
                </a:cxn>
                <a:cxn ang="0">
                  <a:pos x="12" y="165"/>
                </a:cxn>
                <a:cxn ang="0">
                  <a:pos x="27" y="181"/>
                </a:cxn>
                <a:cxn ang="0">
                  <a:pos x="42" y="192"/>
                </a:cxn>
                <a:cxn ang="0">
                  <a:pos x="44" y="198"/>
                </a:cxn>
                <a:cxn ang="0">
                  <a:pos x="58" y="213"/>
                </a:cxn>
                <a:cxn ang="0">
                  <a:pos x="71" y="221"/>
                </a:cxn>
                <a:cxn ang="0">
                  <a:pos x="88" y="225"/>
                </a:cxn>
                <a:cxn ang="0">
                  <a:pos x="104" y="226"/>
                </a:cxn>
                <a:cxn ang="0">
                  <a:pos x="123" y="219"/>
                </a:cxn>
                <a:cxn ang="0">
                  <a:pos x="132" y="214"/>
                </a:cxn>
                <a:cxn ang="0">
                  <a:pos x="150" y="211"/>
                </a:cxn>
                <a:cxn ang="0">
                  <a:pos x="165" y="200"/>
                </a:cxn>
                <a:cxn ang="0">
                  <a:pos x="172" y="196"/>
                </a:cxn>
                <a:cxn ang="0">
                  <a:pos x="197" y="196"/>
                </a:cxn>
                <a:cxn ang="0">
                  <a:pos x="234" y="193"/>
                </a:cxn>
                <a:cxn ang="0">
                  <a:pos x="251" y="191"/>
                </a:cxn>
                <a:cxn ang="0">
                  <a:pos x="255" y="185"/>
                </a:cxn>
                <a:cxn ang="0">
                  <a:pos x="259" y="180"/>
                </a:cxn>
                <a:cxn ang="0">
                  <a:pos x="262" y="174"/>
                </a:cxn>
                <a:cxn ang="0">
                  <a:pos x="267" y="162"/>
                </a:cxn>
                <a:cxn ang="0">
                  <a:pos x="275" y="154"/>
                </a:cxn>
                <a:cxn ang="0">
                  <a:pos x="281" y="148"/>
                </a:cxn>
                <a:cxn ang="0">
                  <a:pos x="285" y="133"/>
                </a:cxn>
                <a:cxn ang="0">
                  <a:pos x="292" y="121"/>
                </a:cxn>
                <a:cxn ang="0">
                  <a:pos x="302" y="101"/>
                </a:cxn>
                <a:cxn ang="0">
                  <a:pos x="307" y="91"/>
                </a:cxn>
                <a:cxn ang="0">
                  <a:pos x="311" y="85"/>
                </a:cxn>
                <a:cxn ang="0">
                  <a:pos x="315" y="78"/>
                </a:cxn>
                <a:cxn ang="0">
                  <a:pos x="327" y="70"/>
                </a:cxn>
                <a:cxn ang="0">
                  <a:pos x="341" y="64"/>
                </a:cxn>
                <a:cxn ang="0">
                  <a:pos x="353" y="52"/>
                </a:cxn>
                <a:cxn ang="0">
                  <a:pos x="348" y="38"/>
                </a:cxn>
                <a:cxn ang="0">
                  <a:pos x="337" y="30"/>
                </a:cxn>
                <a:cxn ang="0">
                  <a:pos x="312" y="12"/>
                </a:cxn>
                <a:cxn ang="0">
                  <a:pos x="296" y="21"/>
                </a:cxn>
                <a:cxn ang="0">
                  <a:pos x="282" y="4"/>
                </a:cxn>
                <a:cxn ang="0">
                  <a:pos x="270" y="2"/>
                </a:cxn>
                <a:cxn ang="0">
                  <a:pos x="253" y="5"/>
                </a:cxn>
                <a:cxn ang="0">
                  <a:pos x="234" y="2"/>
                </a:cxn>
                <a:cxn ang="0">
                  <a:pos x="221" y="18"/>
                </a:cxn>
                <a:cxn ang="0">
                  <a:pos x="207" y="28"/>
                </a:cxn>
                <a:cxn ang="0">
                  <a:pos x="195" y="36"/>
                </a:cxn>
                <a:cxn ang="0">
                  <a:pos x="183" y="29"/>
                </a:cxn>
                <a:cxn ang="0">
                  <a:pos x="169" y="38"/>
                </a:cxn>
                <a:cxn ang="0">
                  <a:pos x="143" y="42"/>
                </a:cxn>
                <a:cxn ang="0">
                  <a:pos x="131" y="53"/>
                </a:cxn>
                <a:cxn ang="0">
                  <a:pos x="122" y="63"/>
                </a:cxn>
                <a:cxn ang="0">
                  <a:pos x="115" y="66"/>
                </a:cxn>
                <a:cxn ang="0">
                  <a:pos x="72" y="61"/>
                </a:cxn>
                <a:cxn ang="0">
                  <a:pos x="54" y="50"/>
                </a:cxn>
                <a:cxn ang="0">
                  <a:pos x="52" y="61"/>
                </a:cxn>
                <a:cxn ang="0">
                  <a:pos x="36" y="69"/>
                </a:cxn>
                <a:cxn ang="0">
                  <a:pos x="21" y="68"/>
                </a:cxn>
                <a:cxn ang="0">
                  <a:pos x="26" y="74"/>
                </a:cxn>
                <a:cxn ang="0">
                  <a:pos x="28" y="82"/>
                </a:cxn>
                <a:cxn ang="0">
                  <a:pos x="19" y="90"/>
                </a:cxn>
                <a:cxn ang="0">
                  <a:pos x="17" y="103"/>
                </a:cxn>
                <a:cxn ang="0">
                  <a:pos x="17" y="113"/>
                </a:cxn>
                <a:cxn ang="0">
                  <a:pos x="17" y="122"/>
                </a:cxn>
                <a:cxn ang="0">
                  <a:pos x="2" y="131"/>
                </a:cxn>
                <a:cxn ang="0">
                  <a:pos x="53" y="47"/>
                </a:cxn>
              </a:cxnLst>
              <a:rect l="0" t="0" r="r" b="b"/>
              <a:pathLst>
                <a:path w="353" h="228">
                  <a:moveTo>
                    <a:pt x="2" y="136"/>
                  </a:moveTo>
                  <a:cubicBezTo>
                    <a:pt x="4" y="138"/>
                    <a:pt x="5" y="139"/>
                    <a:pt x="5" y="141"/>
                  </a:cubicBezTo>
                  <a:cubicBezTo>
                    <a:pt x="5" y="143"/>
                    <a:pt x="4" y="144"/>
                    <a:pt x="4" y="146"/>
                  </a:cubicBezTo>
                  <a:cubicBezTo>
                    <a:pt x="3" y="147"/>
                    <a:pt x="3" y="148"/>
                    <a:pt x="3" y="150"/>
                  </a:cubicBezTo>
                  <a:cubicBezTo>
                    <a:pt x="3" y="152"/>
                    <a:pt x="3" y="152"/>
                    <a:pt x="5" y="153"/>
                  </a:cubicBezTo>
                  <a:cubicBezTo>
                    <a:pt x="6" y="154"/>
                    <a:pt x="7" y="154"/>
                    <a:pt x="8" y="155"/>
                  </a:cubicBezTo>
                  <a:cubicBezTo>
                    <a:pt x="9" y="159"/>
                    <a:pt x="6" y="162"/>
                    <a:pt x="10" y="165"/>
                  </a:cubicBezTo>
                  <a:cubicBezTo>
                    <a:pt x="10" y="165"/>
                    <a:pt x="11" y="165"/>
                    <a:pt x="12" y="165"/>
                  </a:cubicBezTo>
                  <a:cubicBezTo>
                    <a:pt x="12" y="165"/>
                    <a:pt x="13" y="167"/>
                    <a:pt x="13" y="167"/>
                  </a:cubicBezTo>
                  <a:cubicBezTo>
                    <a:pt x="14" y="168"/>
                    <a:pt x="15" y="169"/>
                    <a:pt x="17" y="170"/>
                  </a:cubicBezTo>
                  <a:cubicBezTo>
                    <a:pt x="20" y="172"/>
                    <a:pt x="23" y="174"/>
                    <a:pt x="25" y="177"/>
                  </a:cubicBezTo>
                  <a:cubicBezTo>
                    <a:pt x="26" y="178"/>
                    <a:pt x="26" y="180"/>
                    <a:pt x="27" y="181"/>
                  </a:cubicBezTo>
                  <a:cubicBezTo>
                    <a:pt x="28" y="182"/>
                    <a:pt x="30" y="183"/>
                    <a:pt x="32" y="183"/>
                  </a:cubicBezTo>
                  <a:cubicBezTo>
                    <a:pt x="31" y="186"/>
                    <a:pt x="31" y="187"/>
                    <a:pt x="34" y="189"/>
                  </a:cubicBezTo>
                  <a:cubicBezTo>
                    <a:pt x="35" y="190"/>
                    <a:pt x="37" y="190"/>
                    <a:pt x="38" y="191"/>
                  </a:cubicBezTo>
                  <a:cubicBezTo>
                    <a:pt x="39" y="191"/>
                    <a:pt x="40" y="193"/>
                    <a:pt x="42" y="192"/>
                  </a:cubicBezTo>
                  <a:cubicBezTo>
                    <a:pt x="41" y="192"/>
                    <a:pt x="41" y="193"/>
                    <a:pt x="41" y="193"/>
                  </a:cubicBezTo>
                  <a:cubicBezTo>
                    <a:pt x="42" y="194"/>
                    <a:pt x="43" y="195"/>
                    <a:pt x="43" y="196"/>
                  </a:cubicBezTo>
                  <a:cubicBezTo>
                    <a:pt x="44" y="196"/>
                    <a:pt x="44" y="196"/>
                    <a:pt x="43" y="197"/>
                  </a:cubicBezTo>
                  <a:cubicBezTo>
                    <a:pt x="44" y="197"/>
                    <a:pt x="44" y="197"/>
                    <a:pt x="44" y="198"/>
                  </a:cubicBezTo>
                  <a:cubicBezTo>
                    <a:pt x="45" y="198"/>
                    <a:pt x="45" y="199"/>
                    <a:pt x="46" y="199"/>
                  </a:cubicBezTo>
                  <a:cubicBezTo>
                    <a:pt x="47" y="201"/>
                    <a:pt x="48" y="201"/>
                    <a:pt x="49" y="203"/>
                  </a:cubicBezTo>
                  <a:cubicBezTo>
                    <a:pt x="50" y="205"/>
                    <a:pt x="50" y="208"/>
                    <a:pt x="51" y="210"/>
                  </a:cubicBezTo>
                  <a:cubicBezTo>
                    <a:pt x="53" y="212"/>
                    <a:pt x="56" y="212"/>
                    <a:pt x="58" y="213"/>
                  </a:cubicBezTo>
                  <a:cubicBezTo>
                    <a:pt x="60" y="214"/>
                    <a:pt x="60" y="215"/>
                    <a:pt x="63" y="215"/>
                  </a:cubicBezTo>
                  <a:cubicBezTo>
                    <a:pt x="64" y="215"/>
                    <a:pt x="64" y="215"/>
                    <a:pt x="65" y="215"/>
                  </a:cubicBezTo>
                  <a:cubicBezTo>
                    <a:pt x="66" y="216"/>
                    <a:pt x="66" y="216"/>
                    <a:pt x="66" y="217"/>
                  </a:cubicBezTo>
                  <a:cubicBezTo>
                    <a:pt x="68" y="218"/>
                    <a:pt x="70" y="219"/>
                    <a:pt x="71" y="221"/>
                  </a:cubicBezTo>
                  <a:cubicBezTo>
                    <a:pt x="72" y="222"/>
                    <a:pt x="72" y="222"/>
                    <a:pt x="73" y="223"/>
                  </a:cubicBezTo>
                  <a:cubicBezTo>
                    <a:pt x="75" y="223"/>
                    <a:pt x="77" y="223"/>
                    <a:pt x="78" y="223"/>
                  </a:cubicBezTo>
                  <a:cubicBezTo>
                    <a:pt x="80" y="223"/>
                    <a:pt x="82" y="224"/>
                    <a:pt x="84" y="224"/>
                  </a:cubicBezTo>
                  <a:cubicBezTo>
                    <a:pt x="85" y="225"/>
                    <a:pt x="87" y="224"/>
                    <a:pt x="88" y="225"/>
                  </a:cubicBezTo>
                  <a:cubicBezTo>
                    <a:pt x="89" y="225"/>
                    <a:pt x="89" y="225"/>
                    <a:pt x="90" y="226"/>
                  </a:cubicBezTo>
                  <a:cubicBezTo>
                    <a:pt x="91" y="226"/>
                    <a:pt x="92" y="226"/>
                    <a:pt x="92" y="226"/>
                  </a:cubicBezTo>
                  <a:cubicBezTo>
                    <a:pt x="94" y="226"/>
                    <a:pt x="95" y="226"/>
                    <a:pt x="97" y="226"/>
                  </a:cubicBezTo>
                  <a:cubicBezTo>
                    <a:pt x="99" y="226"/>
                    <a:pt x="101" y="226"/>
                    <a:pt x="104" y="226"/>
                  </a:cubicBezTo>
                  <a:cubicBezTo>
                    <a:pt x="107" y="225"/>
                    <a:pt x="113" y="228"/>
                    <a:pt x="116" y="226"/>
                  </a:cubicBezTo>
                  <a:cubicBezTo>
                    <a:pt x="116" y="225"/>
                    <a:pt x="116" y="223"/>
                    <a:pt x="117" y="222"/>
                  </a:cubicBezTo>
                  <a:cubicBezTo>
                    <a:pt x="117" y="221"/>
                    <a:pt x="118" y="221"/>
                    <a:pt x="119" y="220"/>
                  </a:cubicBezTo>
                  <a:cubicBezTo>
                    <a:pt x="120" y="220"/>
                    <a:pt x="122" y="219"/>
                    <a:pt x="123" y="219"/>
                  </a:cubicBezTo>
                  <a:cubicBezTo>
                    <a:pt x="123" y="219"/>
                    <a:pt x="125" y="218"/>
                    <a:pt x="125" y="218"/>
                  </a:cubicBezTo>
                  <a:cubicBezTo>
                    <a:pt x="126" y="217"/>
                    <a:pt x="127" y="213"/>
                    <a:pt x="129" y="214"/>
                  </a:cubicBezTo>
                  <a:cubicBezTo>
                    <a:pt x="129" y="215"/>
                    <a:pt x="130" y="215"/>
                    <a:pt x="130" y="215"/>
                  </a:cubicBezTo>
                  <a:cubicBezTo>
                    <a:pt x="131" y="215"/>
                    <a:pt x="131" y="214"/>
                    <a:pt x="132" y="214"/>
                  </a:cubicBezTo>
                  <a:cubicBezTo>
                    <a:pt x="133" y="213"/>
                    <a:pt x="136" y="214"/>
                    <a:pt x="138" y="213"/>
                  </a:cubicBezTo>
                  <a:cubicBezTo>
                    <a:pt x="139" y="210"/>
                    <a:pt x="141" y="206"/>
                    <a:pt x="144" y="204"/>
                  </a:cubicBezTo>
                  <a:cubicBezTo>
                    <a:pt x="144" y="205"/>
                    <a:pt x="145" y="206"/>
                    <a:pt x="146" y="206"/>
                  </a:cubicBezTo>
                  <a:cubicBezTo>
                    <a:pt x="147" y="208"/>
                    <a:pt x="148" y="210"/>
                    <a:pt x="150" y="211"/>
                  </a:cubicBezTo>
                  <a:cubicBezTo>
                    <a:pt x="152" y="212"/>
                    <a:pt x="154" y="211"/>
                    <a:pt x="155" y="209"/>
                  </a:cubicBezTo>
                  <a:cubicBezTo>
                    <a:pt x="155" y="208"/>
                    <a:pt x="155" y="208"/>
                    <a:pt x="155" y="206"/>
                  </a:cubicBezTo>
                  <a:cubicBezTo>
                    <a:pt x="156" y="205"/>
                    <a:pt x="157" y="204"/>
                    <a:pt x="158" y="203"/>
                  </a:cubicBezTo>
                  <a:cubicBezTo>
                    <a:pt x="160" y="202"/>
                    <a:pt x="163" y="202"/>
                    <a:pt x="165" y="200"/>
                  </a:cubicBezTo>
                  <a:cubicBezTo>
                    <a:pt x="165" y="200"/>
                    <a:pt x="165" y="199"/>
                    <a:pt x="165" y="199"/>
                  </a:cubicBezTo>
                  <a:cubicBezTo>
                    <a:pt x="166" y="199"/>
                    <a:pt x="166" y="199"/>
                    <a:pt x="166" y="198"/>
                  </a:cubicBezTo>
                  <a:cubicBezTo>
                    <a:pt x="167" y="198"/>
                    <a:pt x="167" y="197"/>
                    <a:pt x="168" y="197"/>
                  </a:cubicBezTo>
                  <a:cubicBezTo>
                    <a:pt x="169" y="196"/>
                    <a:pt x="170" y="196"/>
                    <a:pt x="172" y="196"/>
                  </a:cubicBezTo>
                  <a:cubicBezTo>
                    <a:pt x="173" y="196"/>
                    <a:pt x="175" y="195"/>
                    <a:pt x="176" y="195"/>
                  </a:cubicBezTo>
                  <a:cubicBezTo>
                    <a:pt x="177" y="196"/>
                    <a:pt x="177" y="197"/>
                    <a:pt x="178" y="197"/>
                  </a:cubicBezTo>
                  <a:cubicBezTo>
                    <a:pt x="182" y="198"/>
                    <a:pt x="185" y="198"/>
                    <a:pt x="188" y="198"/>
                  </a:cubicBezTo>
                  <a:cubicBezTo>
                    <a:pt x="191" y="197"/>
                    <a:pt x="193" y="196"/>
                    <a:pt x="197" y="196"/>
                  </a:cubicBezTo>
                  <a:cubicBezTo>
                    <a:pt x="200" y="196"/>
                    <a:pt x="203" y="198"/>
                    <a:pt x="206" y="198"/>
                  </a:cubicBezTo>
                  <a:cubicBezTo>
                    <a:pt x="208" y="198"/>
                    <a:pt x="209" y="198"/>
                    <a:pt x="210" y="198"/>
                  </a:cubicBezTo>
                  <a:cubicBezTo>
                    <a:pt x="212" y="198"/>
                    <a:pt x="212" y="197"/>
                    <a:pt x="213" y="197"/>
                  </a:cubicBezTo>
                  <a:cubicBezTo>
                    <a:pt x="220" y="196"/>
                    <a:pt x="230" y="202"/>
                    <a:pt x="234" y="193"/>
                  </a:cubicBezTo>
                  <a:cubicBezTo>
                    <a:pt x="235" y="192"/>
                    <a:pt x="236" y="189"/>
                    <a:pt x="239" y="189"/>
                  </a:cubicBezTo>
                  <a:cubicBezTo>
                    <a:pt x="240" y="189"/>
                    <a:pt x="241" y="189"/>
                    <a:pt x="242" y="190"/>
                  </a:cubicBezTo>
                  <a:cubicBezTo>
                    <a:pt x="244" y="191"/>
                    <a:pt x="245" y="191"/>
                    <a:pt x="246" y="191"/>
                  </a:cubicBezTo>
                  <a:cubicBezTo>
                    <a:pt x="248" y="191"/>
                    <a:pt x="250" y="191"/>
                    <a:pt x="251" y="191"/>
                  </a:cubicBezTo>
                  <a:cubicBezTo>
                    <a:pt x="253" y="190"/>
                    <a:pt x="253" y="189"/>
                    <a:pt x="254" y="188"/>
                  </a:cubicBezTo>
                  <a:cubicBezTo>
                    <a:pt x="253" y="188"/>
                    <a:pt x="254" y="187"/>
                    <a:pt x="254" y="187"/>
                  </a:cubicBezTo>
                  <a:cubicBezTo>
                    <a:pt x="254" y="187"/>
                    <a:pt x="254" y="186"/>
                    <a:pt x="255" y="186"/>
                  </a:cubicBezTo>
                  <a:cubicBezTo>
                    <a:pt x="254" y="186"/>
                    <a:pt x="255" y="186"/>
                    <a:pt x="255" y="185"/>
                  </a:cubicBezTo>
                  <a:cubicBezTo>
                    <a:pt x="255" y="185"/>
                    <a:pt x="255" y="186"/>
                    <a:pt x="255" y="186"/>
                  </a:cubicBezTo>
                  <a:cubicBezTo>
                    <a:pt x="255" y="186"/>
                    <a:pt x="256" y="183"/>
                    <a:pt x="256" y="184"/>
                  </a:cubicBezTo>
                  <a:cubicBezTo>
                    <a:pt x="256" y="184"/>
                    <a:pt x="257" y="184"/>
                    <a:pt x="257" y="183"/>
                  </a:cubicBezTo>
                  <a:cubicBezTo>
                    <a:pt x="258" y="182"/>
                    <a:pt x="258" y="181"/>
                    <a:pt x="259" y="180"/>
                  </a:cubicBezTo>
                  <a:cubicBezTo>
                    <a:pt x="259" y="180"/>
                    <a:pt x="260" y="179"/>
                    <a:pt x="260" y="179"/>
                  </a:cubicBezTo>
                  <a:cubicBezTo>
                    <a:pt x="261" y="178"/>
                    <a:pt x="261" y="177"/>
                    <a:pt x="261" y="177"/>
                  </a:cubicBezTo>
                  <a:cubicBezTo>
                    <a:pt x="261" y="176"/>
                    <a:pt x="262" y="176"/>
                    <a:pt x="262" y="176"/>
                  </a:cubicBezTo>
                  <a:cubicBezTo>
                    <a:pt x="263" y="175"/>
                    <a:pt x="262" y="174"/>
                    <a:pt x="262" y="174"/>
                  </a:cubicBezTo>
                  <a:cubicBezTo>
                    <a:pt x="262" y="173"/>
                    <a:pt x="263" y="171"/>
                    <a:pt x="263" y="170"/>
                  </a:cubicBezTo>
                  <a:cubicBezTo>
                    <a:pt x="264" y="168"/>
                    <a:pt x="265" y="167"/>
                    <a:pt x="266" y="166"/>
                  </a:cubicBezTo>
                  <a:cubicBezTo>
                    <a:pt x="266" y="165"/>
                    <a:pt x="267" y="165"/>
                    <a:pt x="267" y="164"/>
                  </a:cubicBezTo>
                  <a:cubicBezTo>
                    <a:pt x="267" y="164"/>
                    <a:pt x="267" y="163"/>
                    <a:pt x="267" y="162"/>
                  </a:cubicBezTo>
                  <a:cubicBezTo>
                    <a:pt x="268" y="161"/>
                    <a:pt x="269" y="161"/>
                    <a:pt x="270" y="160"/>
                  </a:cubicBezTo>
                  <a:cubicBezTo>
                    <a:pt x="271" y="159"/>
                    <a:pt x="270" y="158"/>
                    <a:pt x="272" y="158"/>
                  </a:cubicBezTo>
                  <a:cubicBezTo>
                    <a:pt x="272" y="157"/>
                    <a:pt x="272" y="157"/>
                    <a:pt x="272" y="157"/>
                  </a:cubicBezTo>
                  <a:cubicBezTo>
                    <a:pt x="274" y="157"/>
                    <a:pt x="274" y="154"/>
                    <a:pt x="275" y="154"/>
                  </a:cubicBezTo>
                  <a:cubicBezTo>
                    <a:pt x="275" y="153"/>
                    <a:pt x="275" y="153"/>
                    <a:pt x="276" y="153"/>
                  </a:cubicBezTo>
                  <a:cubicBezTo>
                    <a:pt x="276" y="153"/>
                    <a:pt x="276" y="153"/>
                    <a:pt x="277" y="153"/>
                  </a:cubicBezTo>
                  <a:cubicBezTo>
                    <a:pt x="278" y="152"/>
                    <a:pt x="278" y="152"/>
                    <a:pt x="278" y="151"/>
                  </a:cubicBezTo>
                  <a:cubicBezTo>
                    <a:pt x="279" y="151"/>
                    <a:pt x="280" y="150"/>
                    <a:pt x="281" y="148"/>
                  </a:cubicBezTo>
                  <a:cubicBezTo>
                    <a:pt x="282" y="147"/>
                    <a:pt x="282" y="145"/>
                    <a:pt x="282" y="143"/>
                  </a:cubicBezTo>
                  <a:cubicBezTo>
                    <a:pt x="282" y="142"/>
                    <a:pt x="283" y="140"/>
                    <a:pt x="283" y="138"/>
                  </a:cubicBezTo>
                  <a:cubicBezTo>
                    <a:pt x="283" y="137"/>
                    <a:pt x="283" y="135"/>
                    <a:pt x="283" y="134"/>
                  </a:cubicBezTo>
                  <a:cubicBezTo>
                    <a:pt x="284" y="134"/>
                    <a:pt x="284" y="134"/>
                    <a:pt x="285" y="133"/>
                  </a:cubicBezTo>
                  <a:cubicBezTo>
                    <a:pt x="285" y="132"/>
                    <a:pt x="285" y="131"/>
                    <a:pt x="286" y="130"/>
                  </a:cubicBezTo>
                  <a:cubicBezTo>
                    <a:pt x="287" y="129"/>
                    <a:pt x="287" y="128"/>
                    <a:pt x="288" y="127"/>
                  </a:cubicBezTo>
                  <a:cubicBezTo>
                    <a:pt x="288" y="126"/>
                    <a:pt x="288" y="124"/>
                    <a:pt x="289" y="123"/>
                  </a:cubicBezTo>
                  <a:cubicBezTo>
                    <a:pt x="289" y="122"/>
                    <a:pt x="291" y="121"/>
                    <a:pt x="292" y="121"/>
                  </a:cubicBezTo>
                  <a:cubicBezTo>
                    <a:pt x="294" y="119"/>
                    <a:pt x="296" y="116"/>
                    <a:pt x="296" y="114"/>
                  </a:cubicBezTo>
                  <a:cubicBezTo>
                    <a:pt x="297" y="112"/>
                    <a:pt x="296" y="111"/>
                    <a:pt x="297" y="109"/>
                  </a:cubicBezTo>
                  <a:cubicBezTo>
                    <a:pt x="297" y="108"/>
                    <a:pt x="297" y="107"/>
                    <a:pt x="298" y="106"/>
                  </a:cubicBezTo>
                  <a:cubicBezTo>
                    <a:pt x="299" y="104"/>
                    <a:pt x="300" y="102"/>
                    <a:pt x="302" y="101"/>
                  </a:cubicBezTo>
                  <a:cubicBezTo>
                    <a:pt x="303" y="101"/>
                    <a:pt x="305" y="101"/>
                    <a:pt x="306" y="100"/>
                  </a:cubicBezTo>
                  <a:cubicBezTo>
                    <a:pt x="306" y="99"/>
                    <a:pt x="306" y="98"/>
                    <a:pt x="306" y="96"/>
                  </a:cubicBezTo>
                  <a:cubicBezTo>
                    <a:pt x="307" y="95"/>
                    <a:pt x="307" y="94"/>
                    <a:pt x="307" y="92"/>
                  </a:cubicBezTo>
                  <a:cubicBezTo>
                    <a:pt x="307" y="92"/>
                    <a:pt x="307" y="91"/>
                    <a:pt x="307" y="91"/>
                  </a:cubicBezTo>
                  <a:cubicBezTo>
                    <a:pt x="308" y="90"/>
                    <a:pt x="308" y="89"/>
                    <a:pt x="309" y="88"/>
                  </a:cubicBezTo>
                  <a:cubicBezTo>
                    <a:pt x="309" y="88"/>
                    <a:pt x="310" y="87"/>
                    <a:pt x="310" y="87"/>
                  </a:cubicBezTo>
                  <a:cubicBezTo>
                    <a:pt x="310" y="86"/>
                    <a:pt x="310" y="86"/>
                    <a:pt x="310" y="86"/>
                  </a:cubicBezTo>
                  <a:cubicBezTo>
                    <a:pt x="310" y="86"/>
                    <a:pt x="311" y="85"/>
                    <a:pt x="311" y="85"/>
                  </a:cubicBezTo>
                  <a:cubicBezTo>
                    <a:pt x="311" y="85"/>
                    <a:pt x="312" y="84"/>
                    <a:pt x="312" y="84"/>
                  </a:cubicBezTo>
                  <a:cubicBezTo>
                    <a:pt x="313" y="83"/>
                    <a:pt x="312" y="82"/>
                    <a:pt x="312" y="81"/>
                  </a:cubicBezTo>
                  <a:cubicBezTo>
                    <a:pt x="313" y="80"/>
                    <a:pt x="313" y="80"/>
                    <a:pt x="314" y="80"/>
                  </a:cubicBezTo>
                  <a:cubicBezTo>
                    <a:pt x="314" y="79"/>
                    <a:pt x="314" y="78"/>
                    <a:pt x="315" y="78"/>
                  </a:cubicBezTo>
                  <a:cubicBezTo>
                    <a:pt x="316" y="77"/>
                    <a:pt x="316" y="76"/>
                    <a:pt x="317" y="75"/>
                  </a:cubicBezTo>
                  <a:cubicBezTo>
                    <a:pt x="318" y="73"/>
                    <a:pt x="318" y="73"/>
                    <a:pt x="320" y="73"/>
                  </a:cubicBezTo>
                  <a:cubicBezTo>
                    <a:pt x="321" y="73"/>
                    <a:pt x="323" y="73"/>
                    <a:pt x="324" y="73"/>
                  </a:cubicBezTo>
                  <a:cubicBezTo>
                    <a:pt x="326" y="72"/>
                    <a:pt x="326" y="71"/>
                    <a:pt x="327" y="70"/>
                  </a:cubicBezTo>
                  <a:cubicBezTo>
                    <a:pt x="328" y="68"/>
                    <a:pt x="329" y="68"/>
                    <a:pt x="330" y="68"/>
                  </a:cubicBezTo>
                  <a:cubicBezTo>
                    <a:pt x="332" y="68"/>
                    <a:pt x="332" y="67"/>
                    <a:pt x="333" y="67"/>
                  </a:cubicBezTo>
                  <a:cubicBezTo>
                    <a:pt x="335" y="67"/>
                    <a:pt x="338" y="68"/>
                    <a:pt x="340" y="67"/>
                  </a:cubicBezTo>
                  <a:cubicBezTo>
                    <a:pt x="341" y="66"/>
                    <a:pt x="341" y="65"/>
                    <a:pt x="341" y="64"/>
                  </a:cubicBezTo>
                  <a:cubicBezTo>
                    <a:pt x="343" y="62"/>
                    <a:pt x="346" y="60"/>
                    <a:pt x="348" y="60"/>
                  </a:cubicBezTo>
                  <a:cubicBezTo>
                    <a:pt x="348" y="59"/>
                    <a:pt x="349" y="58"/>
                    <a:pt x="349" y="58"/>
                  </a:cubicBezTo>
                  <a:cubicBezTo>
                    <a:pt x="350" y="57"/>
                    <a:pt x="349" y="56"/>
                    <a:pt x="350" y="55"/>
                  </a:cubicBezTo>
                  <a:cubicBezTo>
                    <a:pt x="350" y="53"/>
                    <a:pt x="351" y="52"/>
                    <a:pt x="353" y="52"/>
                  </a:cubicBezTo>
                  <a:cubicBezTo>
                    <a:pt x="353" y="50"/>
                    <a:pt x="353" y="47"/>
                    <a:pt x="353" y="45"/>
                  </a:cubicBezTo>
                  <a:cubicBezTo>
                    <a:pt x="353" y="44"/>
                    <a:pt x="353" y="42"/>
                    <a:pt x="353" y="41"/>
                  </a:cubicBezTo>
                  <a:cubicBezTo>
                    <a:pt x="352" y="40"/>
                    <a:pt x="351" y="40"/>
                    <a:pt x="351" y="39"/>
                  </a:cubicBezTo>
                  <a:cubicBezTo>
                    <a:pt x="350" y="39"/>
                    <a:pt x="349" y="39"/>
                    <a:pt x="348" y="38"/>
                  </a:cubicBezTo>
                  <a:cubicBezTo>
                    <a:pt x="347" y="38"/>
                    <a:pt x="346" y="38"/>
                    <a:pt x="345" y="38"/>
                  </a:cubicBezTo>
                  <a:cubicBezTo>
                    <a:pt x="342" y="38"/>
                    <a:pt x="339" y="36"/>
                    <a:pt x="338" y="38"/>
                  </a:cubicBezTo>
                  <a:cubicBezTo>
                    <a:pt x="336" y="38"/>
                    <a:pt x="337" y="35"/>
                    <a:pt x="337" y="33"/>
                  </a:cubicBezTo>
                  <a:cubicBezTo>
                    <a:pt x="337" y="32"/>
                    <a:pt x="337" y="31"/>
                    <a:pt x="337" y="30"/>
                  </a:cubicBezTo>
                  <a:cubicBezTo>
                    <a:pt x="336" y="29"/>
                    <a:pt x="336" y="29"/>
                    <a:pt x="334" y="29"/>
                  </a:cubicBezTo>
                  <a:cubicBezTo>
                    <a:pt x="314" y="7"/>
                    <a:pt x="314" y="7"/>
                    <a:pt x="314" y="7"/>
                  </a:cubicBezTo>
                  <a:cubicBezTo>
                    <a:pt x="314" y="7"/>
                    <a:pt x="314" y="7"/>
                    <a:pt x="314" y="8"/>
                  </a:cubicBezTo>
                  <a:cubicBezTo>
                    <a:pt x="313" y="9"/>
                    <a:pt x="313" y="11"/>
                    <a:pt x="312" y="12"/>
                  </a:cubicBezTo>
                  <a:cubicBezTo>
                    <a:pt x="312" y="13"/>
                    <a:pt x="311" y="15"/>
                    <a:pt x="310" y="16"/>
                  </a:cubicBezTo>
                  <a:cubicBezTo>
                    <a:pt x="308" y="17"/>
                    <a:pt x="306" y="16"/>
                    <a:pt x="304" y="16"/>
                  </a:cubicBezTo>
                  <a:cubicBezTo>
                    <a:pt x="302" y="16"/>
                    <a:pt x="302" y="16"/>
                    <a:pt x="300" y="17"/>
                  </a:cubicBezTo>
                  <a:cubicBezTo>
                    <a:pt x="299" y="19"/>
                    <a:pt x="298" y="21"/>
                    <a:pt x="296" y="21"/>
                  </a:cubicBezTo>
                  <a:cubicBezTo>
                    <a:pt x="295" y="20"/>
                    <a:pt x="294" y="19"/>
                    <a:pt x="294" y="18"/>
                  </a:cubicBezTo>
                  <a:cubicBezTo>
                    <a:pt x="292" y="17"/>
                    <a:pt x="292" y="17"/>
                    <a:pt x="290" y="16"/>
                  </a:cubicBezTo>
                  <a:cubicBezTo>
                    <a:pt x="289" y="15"/>
                    <a:pt x="287" y="14"/>
                    <a:pt x="286" y="13"/>
                  </a:cubicBezTo>
                  <a:cubicBezTo>
                    <a:pt x="285" y="10"/>
                    <a:pt x="285" y="6"/>
                    <a:pt x="282" y="4"/>
                  </a:cubicBezTo>
                  <a:cubicBezTo>
                    <a:pt x="281" y="3"/>
                    <a:pt x="280" y="3"/>
                    <a:pt x="279" y="3"/>
                  </a:cubicBezTo>
                  <a:cubicBezTo>
                    <a:pt x="279" y="3"/>
                    <a:pt x="279" y="2"/>
                    <a:pt x="278" y="2"/>
                  </a:cubicBezTo>
                  <a:cubicBezTo>
                    <a:pt x="277" y="1"/>
                    <a:pt x="275" y="2"/>
                    <a:pt x="274" y="2"/>
                  </a:cubicBezTo>
                  <a:cubicBezTo>
                    <a:pt x="272" y="2"/>
                    <a:pt x="271" y="2"/>
                    <a:pt x="270" y="2"/>
                  </a:cubicBezTo>
                  <a:cubicBezTo>
                    <a:pt x="269" y="3"/>
                    <a:pt x="268" y="3"/>
                    <a:pt x="267" y="3"/>
                  </a:cubicBezTo>
                  <a:cubicBezTo>
                    <a:pt x="265" y="3"/>
                    <a:pt x="264" y="5"/>
                    <a:pt x="263" y="5"/>
                  </a:cubicBezTo>
                  <a:cubicBezTo>
                    <a:pt x="261" y="6"/>
                    <a:pt x="260" y="5"/>
                    <a:pt x="258" y="5"/>
                  </a:cubicBezTo>
                  <a:cubicBezTo>
                    <a:pt x="257" y="5"/>
                    <a:pt x="255" y="5"/>
                    <a:pt x="253" y="5"/>
                  </a:cubicBezTo>
                  <a:cubicBezTo>
                    <a:pt x="252" y="5"/>
                    <a:pt x="251" y="5"/>
                    <a:pt x="251" y="5"/>
                  </a:cubicBezTo>
                  <a:cubicBezTo>
                    <a:pt x="250" y="4"/>
                    <a:pt x="250" y="3"/>
                    <a:pt x="249" y="3"/>
                  </a:cubicBezTo>
                  <a:cubicBezTo>
                    <a:pt x="248" y="2"/>
                    <a:pt x="247" y="2"/>
                    <a:pt x="245" y="2"/>
                  </a:cubicBezTo>
                  <a:cubicBezTo>
                    <a:pt x="241" y="2"/>
                    <a:pt x="238" y="2"/>
                    <a:pt x="234" y="2"/>
                  </a:cubicBezTo>
                  <a:cubicBezTo>
                    <a:pt x="232" y="2"/>
                    <a:pt x="226" y="0"/>
                    <a:pt x="225" y="3"/>
                  </a:cubicBezTo>
                  <a:cubicBezTo>
                    <a:pt x="224" y="4"/>
                    <a:pt x="225" y="6"/>
                    <a:pt x="224" y="8"/>
                  </a:cubicBezTo>
                  <a:cubicBezTo>
                    <a:pt x="224" y="10"/>
                    <a:pt x="223" y="11"/>
                    <a:pt x="222" y="13"/>
                  </a:cubicBezTo>
                  <a:cubicBezTo>
                    <a:pt x="222" y="15"/>
                    <a:pt x="222" y="16"/>
                    <a:pt x="221" y="18"/>
                  </a:cubicBezTo>
                  <a:cubicBezTo>
                    <a:pt x="220" y="20"/>
                    <a:pt x="219" y="22"/>
                    <a:pt x="217" y="23"/>
                  </a:cubicBezTo>
                  <a:cubicBezTo>
                    <a:pt x="217" y="24"/>
                    <a:pt x="216" y="25"/>
                    <a:pt x="215" y="25"/>
                  </a:cubicBezTo>
                  <a:cubicBezTo>
                    <a:pt x="214" y="25"/>
                    <a:pt x="213" y="25"/>
                    <a:pt x="212" y="25"/>
                  </a:cubicBezTo>
                  <a:cubicBezTo>
                    <a:pt x="210" y="26"/>
                    <a:pt x="209" y="28"/>
                    <a:pt x="207" y="28"/>
                  </a:cubicBezTo>
                  <a:cubicBezTo>
                    <a:pt x="206" y="28"/>
                    <a:pt x="205" y="28"/>
                    <a:pt x="205" y="28"/>
                  </a:cubicBezTo>
                  <a:cubicBezTo>
                    <a:pt x="204" y="29"/>
                    <a:pt x="203" y="29"/>
                    <a:pt x="203" y="30"/>
                  </a:cubicBezTo>
                  <a:cubicBezTo>
                    <a:pt x="201" y="31"/>
                    <a:pt x="200" y="31"/>
                    <a:pt x="199" y="31"/>
                  </a:cubicBezTo>
                  <a:cubicBezTo>
                    <a:pt x="197" y="33"/>
                    <a:pt x="197" y="35"/>
                    <a:pt x="195" y="36"/>
                  </a:cubicBezTo>
                  <a:cubicBezTo>
                    <a:pt x="194" y="35"/>
                    <a:pt x="194" y="32"/>
                    <a:pt x="192" y="31"/>
                  </a:cubicBezTo>
                  <a:cubicBezTo>
                    <a:pt x="191" y="30"/>
                    <a:pt x="188" y="30"/>
                    <a:pt x="186" y="30"/>
                  </a:cubicBezTo>
                  <a:cubicBezTo>
                    <a:pt x="185" y="30"/>
                    <a:pt x="184" y="31"/>
                    <a:pt x="184" y="30"/>
                  </a:cubicBezTo>
                  <a:cubicBezTo>
                    <a:pt x="183" y="30"/>
                    <a:pt x="184" y="29"/>
                    <a:pt x="183" y="29"/>
                  </a:cubicBezTo>
                  <a:cubicBezTo>
                    <a:pt x="183" y="28"/>
                    <a:pt x="180" y="28"/>
                    <a:pt x="179" y="28"/>
                  </a:cubicBezTo>
                  <a:cubicBezTo>
                    <a:pt x="178" y="28"/>
                    <a:pt x="176" y="28"/>
                    <a:pt x="175" y="29"/>
                  </a:cubicBezTo>
                  <a:cubicBezTo>
                    <a:pt x="174" y="30"/>
                    <a:pt x="173" y="33"/>
                    <a:pt x="172" y="35"/>
                  </a:cubicBezTo>
                  <a:cubicBezTo>
                    <a:pt x="172" y="36"/>
                    <a:pt x="170" y="38"/>
                    <a:pt x="169" y="38"/>
                  </a:cubicBezTo>
                  <a:cubicBezTo>
                    <a:pt x="168" y="39"/>
                    <a:pt x="165" y="38"/>
                    <a:pt x="164" y="38"/>
                  </a:cubicBezTo>
                  <a:cubicBezTo>
                    <a:pt x="163" y="39"/>
                    <a:pt x="161" y="39"/>
                    <a:pt x="160" y="39"/>
                  </a:cubicBezTo>
                  <a:cubicBezTo>
                    <a:pt x="158" y="40"/>
                    <a:pt x="156" y="39"/>
                    <a:pt x="155" y="40"/>
                  </a:cubicBezTo>
                  <a:cubicBezTo>
                    <a:pt x="151" y="40"/>
                    <a:pt x="147" y="41"/>
                    <a:pt x="143" y="42"/>
                  </a:cubicBezTo>
                  <a:cubicBezTo>
                    <a:pt x="142" y="42"/>
                    <a:pt x="139" y="41"/>
                    <a:pt x="138" y="42"/>
                  </a:cubicBezTo>
                  <a:cubicBezTo>
                    <a:pt x="137" y="42"/>
                    <a:pt x="135" y="44"/>
                    <a:pt x="135" y="44"/>
                  </a:cubicBezTo>
                  <a:cubicBezTo>
                    <a:pt x="134" y="46"/>
                    <a:pt x="134" y="48"/>
                    <a:pt x="134" y="50"/>
                  </a:cubicBezTo>
                  <a:cubicBezTo>
                    <a:pt x="133" y="51"/>
                    <a:pt x="132" y="52"/>
                    <a:pt x="131" y="53"/>
                  </a:cubicBezTo>
                  <a:cubicBezTo>
                    <a:pt x="131" y="56"/>
                    <a:pt x="134" y="55"/>
                    <a:pt x="135" y="58"/>
                  </a:cubicBezTo>
                  <a:cubicBezTo>
                    <a:pt x="135" y="59"/>
                    <a:pt x="134" y="61"/>
                    <a:pt x="132" y="61"/>
                  </a:cubicBezTo>
                  <a:cubicBezTo>
                    <a:pt x="131" y="62"/>
                    <a:pt x="128" y="62"/>
                    <a:pt x="127" y="62"/>
                  </a:cubicBezTo>
                  <a:cubicBezTo>
                    <a:pt x="125" y="62"/>
                    <a:pt x="124" y="62"/>
                    <a:pt x="122" y="63"/>
                  </a:cubicBezTo>
                  <a:cubicBezTo>
                    <a:pt x="121" y="63"/>
                    <a:pt x="120" y="63"/>
                    <a:pt x="118" y="64"/>
                  </a:cubicBezTo>
                  <a:cubicBezTo>
                    <a:pt x="118" y="64"/>
                    <a:pt x="118" y="65"/>
                    <a:pt x="118" y="65"/>
                  </a:cubicBezTo>
                  <a:cubicBezTo>
                    <a:pt x="118" y="65"/>
                    <a:pt x="117" y="66"/>
                    <a:pt x="117" y="65"/>
                  </a:cubicBezTo>
                  <a:cubicBezTo>
                    <a:pt x="117" y="65"/>
                    <a:pt x="115" y="66"/>
                    <a:pt x="115" y="66"/>
                  </a:cubicBezTo>
                  <a:cubicBezTo>
                    <a:pt x="111" y="67"/>
                    <a:pt x="105" y="66"/>
                    <a:pt x="101" y="66"/>
                  </a:cubicBezTo>
                  <a:cubicBezTo>
                    <a:pt x="93" y="66"/>
                    <a:pt x="86" y="66"/>
                    <a:pt x="79" y="66"/>
                  </a:cubicBezTo>
                  <a:cubicBezTo>
                    <a:pt x="77" y="66"/>
                    <a:pt x="75" y="67"/>
                    <a:pt x="74" y="66"/>
                  </a:cubicBezTo>
                  <a:cubicBezTo>
                    <a:pt x="73" y="65"/>
                    <a:pt x="72" y="63"/>
                    <a:pt x="72" y="61"/>
                  </a:cubicBezTo>
                  <a:cubicBezTo>
                    <a:pt x="71" y="60"/>
                    <a:pt x="70" y="58"/>
                    <a:pt x="68" y="57"/>
                  </a:cubicBezTo>
                  <a:cubicBezTo>
                    <a:pt x="67" y="57"/>
                    <a:pt x="66" y="57"/>
                    <a:pt x="65" y="57"/>
                  </a:cubicBezTo>
                  <a:cubicBezTo>
                    <a:pt x="62" y="56"/>
                    <a:pt x="61" y="53"/>
                    <a:pt x="59" y="52"/>
                  </a:cubicBezTo>
                  <a:cubicBezTo>
                    <a:pt x="58" y="51"/>
                    <a:pt x="56" y="50"/>
                    <a:pt x="54" y="50"/>
                  </a:cubicBezTo>
                  <a:cubicBezTo>
                    <a:pt x="53" y="49"/>
                    <a:pt x="52" y="49"/>
                    <a:pt x="51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49" y="52"/>
                    <a:pt x="46" y="55"/>
                    <a:pt x="48" y="57"/>
                  </a:cubicBezTo>
                  <a:cubicBezTo>
                    <a:pt x="50" y="59"/>
                    <a:pt x="53" y="58"/>
                    <a:pt x="52" y="61"/>
                  </a:cubicBezTo>
                  <a:cubicBezTo>
                    <a:pt x="51" y="63"/>
                    <a:pt x="48" y="64"/>
                    <a:pt x="47" y="65"/>
                  </a:cubicBezTo>
                  <a:cubicBezTo>
                    <a:pt x="46" y="66"/>
                    <a:pt x="45" y="66"/>
                    <a:pt x="44" y="66"/>
                  </a:cubicBezTo>
                  <a:cubicBezTo>
                    <a:pt x="43" y="67"/>
                    <a:pt x="43" y="67"/>
                    <a:pt x="42" y="67"/>
                  </a:cubicBezTo>
                  <a:cubicBezTo>
                    <a:pt x="39" y="67"/>
                    <a:pt x="38" y="69"/>
                    <a:pt x="36" y="69"/>
                  </a:cubicBezTo>
                  <a:cubicBezTo>
                    <a:pt x="35" y="69"/>
                    <a:pt x="34" y="70"/>
                    <a:pt x="33" y="69"/>
                  </a:cubicBezTo>
                  <a:cubicBezTo>
                    <a:pt x="32" y="69"/>
                    <a:pt x="32" y="67"/>
                    <a:pt x="31" y="66"/>
                  </a:cubicBezTo>
                  <a:cubicBezTo>
                    <a:pt x="30" y="64"/>
                    <a:pt x="26" y="63"/>
                    <a:pt x="25" y="64"/>
                  </a:cubicBezTo>
                  <a:cubicBezTo>
                    <a:pt x="23" y="66"/>
                    <a:pt x="24" y="68"/>
                    <a:pt x="21" y="68"/>
                  </a:cubicBezTo>
                  <a:cubicBezTo>
                    <a:pt x="20" y="68"/>
                    <a:pt x="17" y="67"/>
                    <a:pt x="17" y="68"/>
                  </a:cubicBezTo>
                  <a:cubicBezTo>
                    <a:pt x="16" y="69"/>
                    <a:pt x="17" y="70"/>
                    <a:pt x="17" y="70"/>
                  </a:cubicBezTo>
                  <a:cubicBezTo>
                    <a:pt x="18" y="71"/>
                    <a:pt x="19" y="72"/>
                    <a:pt x="21" y="73"/>
                  </a:cubicBezTo>
                  <a:cubicBezTo>
                    <a:pt x="22" y="74"/>
                    <a:pt x="24" y="73"/>
                    <a:pt x="26" y="74"/>
                  </a:cubicBezTo>
                  <a:cubicBezTo>
                    <a:pt x="26" y="74"/>
                    <a:pt x="26" y="75"/>
                    <a:pt x="27" y="75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80"/>
                    <a:pt x="28" y="82"/>
                    <a:pt x="28" y="82"/>
                  </a:cubicBezTo>
                  <a:cubicBezTo>
                    <a:pt x="28" y="83"/>
                    <a:pt x="27" y="84"/>
                    <a:pt x="26" y="85"/>
                  </a:cubicBezTo>
                  <a:cubicBezTo>
                    <a:pt x="25" y="86"/>
                    <a:pt x="24" y="88"/>
                    <a:pt x="24" y="89"/>
                  </a:cubicBezTo>
                  <a:cubicBezTo>
                    <a:pt x="23" y="90"/>
                    <a:pt x="23" y="90"/>
                    <a:pt x="22" y="91"/>
                  </a:cubicBezTo>
                  <a:cubicBezTo>
                    <a:pt x="21" y="91"/>
                    <a:pt x="20" y="90"/>
                    <a:pt x="19" y="90"/>
                  </a:cubicBezTo>
                  <a:cubicBezTo>
                    <a:pt x="18" y="90"/>
                    <a:pt x="17" y="91"/>
                    <a:pt x="17" y="91"/>
                  </a:cubicBezTo>
                  <a:cubicBezTo>
                    <a:pt x="15" y="92"/>
                    <a:pt x="14" y="97"/>
                    <a:pt x="16" y="99"/>
                  </a:cubicBezTo>
                  <a:cubicBezTo>
                    <a:pt x="16" y="100"/>
                    <a:pt x="20" y="99"/>
                    <a:pt x="19" y="102"/>
                  </a:cubicBezTo>
                  <a:cubicBezTo>
                    <a:pt x="19" y="102"/>
                    <a:pt x="17" y="103"/>
                    <a:pt x="17" y="103"/>
                  </a:cubicBezTo>
                  <a:cubicBezTo>
                    <a:pt x="16" y="103"/>
                    <a:pt x="14" y="105"/>
                    <a:pt x="14" y="106"/>
                  </a:cubicBezTo>
                  <a:cubicBezTo>
                    <a:pt x="13" y="107"/>
                    <a:pt x="14" y="108"/>
                    <a:pt x="14" y="108"/>
                  </a:cubicBezTo>
                  <a:cubicBezTo>
                    <a:pt x="14" y="109"/>
                    <a:pt x="14" y="110"/>
                    <a:pt x="15" y="110"/>
                  </a:cubicBezTo>
                  <a:cubicBezTo>
                    <a:pt x="15" y="112"/>
                    <a:pt x="15" y="112"/>
                    <a:pt x="17" y="113"/>
                  </a:cubicBezTo>
                  <a:cubicBezTo>
                    <a:pt x="18" y="113"/>
                    <a:pt x="18" y="113"/>
                    <a:pt x="18" y="115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8"/>
                    <a:pt x="17" y="119"/>
                    <a:pt x="17" y="120"/>
                  </a:cubicBezTo>
                  <a:cubicBezTo>
                    <a:pt x="17" y="121"/>
                    <a:pt x="17" y="121"/>
                    <a:pt x="17" y="122"/>
                  </a:cubicBezTo>
                  <a:cubicBezTo>
                    <a:pt x="17" y="124"/>
                    <a:pt x="16" y="124"/>
                    <a:pt x="14" y="124"/>
                  </a:cubicBezTo>
                  <a:cubicBezTo>
                    <a:pt x="13" y="124"/>
                    <a:pt x="12" y="125"/>
                    <a:pt x="10" y="125"/>
                  </a:cubicBezTo>
                  <a:cubicBezTo>
                    <a:pt x="8" y="125"/>
                    <a:pt x="8" y="126"/>
                    <a:pt x="6" y="127"/>
                  </a:cubicBezTo>
                  <a:cubicBezTo>
                    <a:pt x="4" y="128"/>
                    <a:pt x="3" y="128"/>
                    <a:pt x="2" y="131"/>
                  </a:cubicBezTo>
                  <a:cubicBezTo>
                    <a:pt x="1" y="132"/>
                    <a:pt x="1" y="132"/>
                    <a:pt x="0" y="133"/>
                  </a:cubicBezTo>
                  <a:cubicBezTo>
                    <a:pt x="1" y="134"/>
                    <a:pt x="2" y="135"/>
                    <a:pt x="2" y="136"/>
                  </a:cubicBezTo>
                  <a:moveTo>
                    <a:pt x="51" y="49"/>
                  </a:moveTo>
                  <a:cubicBezTo>
                    <a:pt x="52" y="49"/>
                    <a:pt x="53" y="48"/>
                    <a:pt x="53" y="47"/>
                  </a:cubicBezTo>
                  <a:cubicBezTo>
                    <a:pt x="53" y="48"/>
                    <a:pt x="52" y="49"/>
                    <a:pt x="51" y="49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3" name="Freeform 25">
              <a:extLst>
                <a:ext uri="{FF2B5EF4-FFF2-40B4-BE49-F238E27FC236}">
                  <a16:creationId xmlns:a16="http://schemas.microsoft.com/office/drawing/2014/main" id="{4FFC0F9E-C459-4F9E-865C-CE214614F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1075" y="5016500"/>
              <a:ext cx="311150" cy="225425"/>
            </a:xfrm>
            <a:custGeom>
              <a:avLst/>
              <a:gdLst/>
              <a:ahLst/>
              <a:cxnLst>
                <a:cxn ang="0">
                  <a:pos x="159" y="13"/>
                </a:cxn>
                <a:cxn ang="0">
                  <a:pos x="155" y="0"/>
                </a:cxn>
                <a:cxn ang="0">
                  <a:pos x="145" y="15"/>
                </a:cxn>
                <a:cxn ang="0">
                  <a:pos x="125" y="14"/>
                </a:cxn>
                <a:cxn ang="0">
                  <a:pos x="119" y="23"/>
                </a:cxn>
                <a:cxn ang="0">
                  <a:pos x="105" y="21"/>
                </a:cxn>
                <a:cxn ang="0">
                  <a:pos x="84" y="25"/>
                </a:cxn>
                <a:cxn ang="0">
                  <a:pos x="78" y="32"/>
                </a:cxn>
                <a:cxn ang="0">
                  <a:pos x="69" y="41"/>
                </a:cxn>
                <a:cxn ang="0">
                  <a:pos x="57" y="37"/>
                </a:cxn>
                <a:cxn ang="0">
                  <a:pos x="49" y="35"/>
                </a:cxn>
                <a:cxn ang="0">
                  <a:pos x="29" y="31"/>
                </a:cxn>
                <a:cxn ang="0">
                  <a:pos x="19" y="40"/>
                </a:cxn>
                <a:cxn ang="0">
                  <a:pos x="3" y="50"/>
                </a:cxn>
                <a:cxn ang="0">
                  <a:pos x="11" y="57"/>
                </a:cxn>
                <a:cxn ang="0">
                  <a:pos x="6" y="69"/>
                </a:cxn>
                <a:cxn ang="0">
                  <a:pos x="9" y="77"/>
                </a:cxn>
                <a:cxn ang="0">
                  <a:pos x="19" y="87"/>
                </a:cxn>
                <a:cxn ang="0">
                  <a:pos x="28" y="92"/>
                </a:cxn>
                <a:cxn ang="0">
                  <a:pos x="24" y="104"/>
                </a:cxn>
                <a:cxn ang="0">
                  <a:pos x="10" y="109"/>
                </a:cxn>
                <a:cxn ang="0">
                  <a:pos x="10" y="113"/>
                </a:cxn>
                <a:cxn ang="0">
                  <a:pos x="18" y="117"/>
                </a:cxn>
                <a:cxn ang="0">
                  <a:pos x="26" y="116"/>
                </a:cxn>
                <a:cxn ang="0">
                  <a:pos x="33" y="113"/>
                </a:cxn>
                <a:cxn ang="0">
                  <a:pos x="43" y="116"/>
                </a:cxn>
                <a:cxn ang="0">
                  <a:pos x="51" y="120"/>
                </a:cxn>
                <a:cxn ang="0">
                  <a:pos x="61" y="116"/>
                </a:cxn>
                <a:cxn ang="0">
                  <a:pos x="56" y="108"/>
                </a:cxn>
                <a:cxn ang="0">
                  <a:pos x="58" y="101"/>
                </a:cxn>
                <a:cxn ang="0">
                  <a:pos x="66" y="108"/>
                </a:cxn>
                <a:cxn ang="0">
                  <a:pos x="74" y="114"/>
                </a:cxn>
                <a:cxn ang="0">
                  <a:pos x="80" y="112"/>
                </a:cxn>
                <a:cxn ang="0">
                  <a:pos x="90" y="119"/>
                </a:cxn>
                <a:cxn ang="0">
                  <a:pos x="95" y="117"/>
                </a:cxn>
                <a:cxn ang="0">
                  <a:pos x="99" y="109"/>
                </a:cxn>
                <a:cxn ang="0">
                  <a:pos x="102" y="99"/>
                </a:cxn>
                <a:cxn ang="0">
                  <a:pos x="104" y="90"/>
                </a:cxn>
                <a:cxn ang="0">
                  <a:pos x="113" y="88"/>
                </a:cxn>
                <a:cxn ang="0">
                  <a:pos x="120" y="87"/>
                </a:cxn>
                <a:cxn ang="0">
                  <a:pos x="133" y="91"/>
                </a:cxn>
                <a:cxn ang="0">
                  <a:pos x="132" y="82"/>
                </a:cxn>
                <a:cxn ang="0">
                  <a:pos x="126" y="75"/>
                </a:cxn>
                <a:cxn ang="0">
                  <a:pos x="121" y="70"/>
                </a:cxn>
                <a:cxn ang="0">
                  <a:pos x="116" y="65"/>
                </a:cxn>
                <a:cxn ang="0">
                  <a:pos x="121" y="58"/>
                </a:cxn>
                <a:cxn ang="0">
                  <a:pos x="128" y="53"/>
                </a:cxn>
                <a:cxn ang="0">
                  <a:pos x="137" y="47"/>
                </a:cxn>
                <a:cxn ang="0">
                  <a:pos x="144" y="43"/>
                </a:cxn>
                <a:cxn ang="0">
                  <a:pos x="152" y="40"/>
                </a:cxn>
                <a:cxn ang="0">
                  <a:pos x="151" y="33"/>
                </a:cxn>
                <a:cxn ang="0">
                  <a:pos x="165" y="33"/>
                </a:cxn>
                <a:cxn ang="0">
                  <a:pos x="163" y="22"/>
                </a:cxn>
              </a:cxnLst>
              <a:rect l="0" t="0" r="r" b="b"/>
              <a:pathLst>
                <a:path w="167" h="120">
                  <a:moveTo>
                    <a:pt x="163" y="22"/>
                  </a:moveTo>
                  <a:cubicBezTo>
                    <a:pt x="162" y="21"/>
                    <a:pt x="161" y="21"/>
                    <a:pt x="160" y="20"/>
                  </a:cubicBezTo>
                  <a:cubicBezTo>
                    <a:pt x="158" y="19"/>
                    <a:pt x="158" y="19"/>
                    <a:pt x="158" y="17"/>
                  </a:cubicBezTo>
                  <a:cubicBezTo>
                    <a:pt x="158" y="15"/>
                    <a:pt x="158" y="14"/>
                    <a:pt x="159" y="13"/>
                  </a:cubicBezTo>
                  <a:cubicBezTo>
                    <a:pt x="159" y="11"/>
                    <a:pt x="160" y="10"/>
                    <a:pt x="160" y="8"/>
                  </a:cubicBezTo>
                  <a:cubicBezTo>
                    <a:pt x="160" y="6"/>
                    <a:pt x="159" y="5"/>
                    <a:pt x="157" y="3"/>
                  </a:cubicBezTo>
                  <a:cubicBezTo>
                    <a:pt x="157" y="2"/>
                    <a:pt x="156" y="1"/>
                    <a:pt x="15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4" y="0"/>
                    <a:pt x="154" y="1"/>
                    <a:pt x="153" y="1"/>
                  </a:cubicBezTo>
                  <a:cubicBezTo>
                    <a:pt x="152" y="3"/>
                    <a:pt x="150" y="2"/>
                    <a:pt x="149" y="3"/>
                  </a:cubicBezTo>
                  <a:cubicBezTo>
                    <a:pt x="147" y="4"/>
                    <a:pt x="146" y="6"/>
                    <a:pt x="146" y="9"/>
                  </a:cubicBezTo>
                  <a:cubicBezTo>
                    <a:pt x="146" y="11"/>
                    <a:pt x="146" y="13"/>
                    <a:pt x="145" y="15"/>
                  </a:cubicBezTo>
                  <a:cubicBezTo>
                    <a:pt x="144" y="18"/>
                    <a:pt x="141" y="18"/>
                    <a:pt x="138" y="18"/>
                  </a:cubicBezTo>
                  <a:cubicBezTo>
                    <a:pt x="136" y="17"/>
                    <a:pt x="133" y="18"/>
                    <a:pt x="131" y="17"/>
                  </a:cubicBezTo>
                  <a:cubicBezTo>
                    <a:pt x="129" y="15"/>
                    <a:pt x="131" y="12"/>
                    <a:pt x="129" y="11"/>
                  </a:cubicBezTo>
                  <a:cubicBezTo>
                    <a:pt x="128" y="10"/>
                    <a:pt x="126" y="13"/>
                    <a:pt x="125" y="14"/>
                  </a:cubicBezTo>
                  <a:cubicBezTo>
                    <a:pt x="124" y="15"/>
                    <a:pt x="125" y="14"/>
                    <a:pt x="124" y="15"/>
                  </a:cubicBezTo>
                  <a:cubicBezTo>
                    <a:pt x="124" y="15"/>
                    <a:pt x="123" y="15"/>
                    <a:pt x="123" y="15"/>
                  </a:cubicBezTo>
                  <a:cubicBezTo>
                    <a:pt x="122" y="15"/>
                    <a:pt x="122" y="15"/>
                    <a:pt x="122" y="16"/>
                  </a:cubicBezTo>
                  <a:cubicBezTo>
                    <a:pt x="121" y="18"/>
                    <a:pt x="119" y="20"/>
                    <a:pt x="119" y="23"/>
                  </a:cubicBezTo>
                  <a:cubicBezTo>
                    <a:pt x="118" y="23"/>
                    <a:pt x="118" y="22"/>
                    <a:pt x="116" y="22"/>
                  </a:cubicBezTo>
                  <a:cubicBezTo>
                    <a:pt x="115" y="21"/>
                    <a:pt x="113" y="22"/>
                    <a:pt x="112" y="22"/>
                  </a:cubicBezTo>
                  <a:cubicBezTo>
                    <a:pt x="111" y="22"/>
                    <a:pt x="111" y="22"/>
                    <a:pt x="111" y="21"/>
                  </a:cubicBezTo>
                  <a:cubicBezTo>
                    <a:pt x="109" y="21"/>
                    <a:pt x="107" y="21"/>
                    <a:pt x="105" y="21"/>
                  </a:cubicBezTo>
                  <a:cubicBezTo>
                    <a:pt x="104" y="21"/>
                    <a:pt x="103" y="20"/>
                    <a:pt x="102" y="20"/>
                  </a:cubicBezTo>
                  <a:cubicBezTo>
                    <a:pt x="100" y="19"/>
                    <a:pt x="99" y="20"/>
                    <a:pt x="97" y="21"/>
                  </a:cubicBezTo>
                  <a:cubicBezTo>
                    <a:pt x="95" y="22"/>
                    <a:pt x="93" y="22"/>
                    <a:pt x="90" y="23"/>
                  </a:cubicBezTo>
                  <a:cubicBezTo>
                    <a:pt x="88" y="23"/>
                    <a:pt x="85" y="23"/>
                    <a:pt x="84" y="25"/>
                  </a:cubicBezTo>
                  <a:cubicBezTo>
                    <a:pt x="84" y="26"/>
                    <a:pt x="83" y="27"/>
                    <a:pt x="83" y="27"/>
                  </a:cubicBezTo>
                  <a:cubicBezTo>
                    <a:pt x="83" y="28"/>
                    <a:pt x="82" y="28"/>
                    <a:pt x="82" y="28"/>
                  </a:cubicBezTo>
                  <a:cubicBezTo>
                    <a:pt x="81" y="29"/>
                    <a:pt x="81" y="29"/>
                    <a:pt x="81" y="30"/>
                  </a:cubicBezTo>
                  <a:cubicBezTo>
                    <a:pt x="80" y="31"/>
                    <a:pt x="79" y="32"/>
                    <a:pt x="78" y="32"/>
                  </a:cubicBezTo>
                  <a:cubicBezTo>
                    <a:pt x="77" y="32"/>
                    <a:pt x="76" y="31"/>
                    <a:pt x="76" y="32"/>
                  </a:cubicBezTo>
                  <a:cubicBezTo>
                    <a:pt x="75" y="32"/>
                    <a:pt x="74" y="33"/>
                    <a:pt x="74" y="33"/>
                  </a:cubicBezTo>
                  <a:cubicBezTo>
                    <a:pt x="73" y="34"/>
                    <a:pt x="73" y="35"/>
                    <a:pt x="72" y="35"/>
                  </a:cubicBezTo>
                  <a:cubicBezTo>
                    <a:pt x="71" y="37"/>
                    <a:pt x="72" y="40"/>
                    <a:pt x="69" y="41"/>
                  </a:cubicBezTo>
                  <a:cubicBezTo>
                    <a:pt x="67" y="41"/>
                    <a:pt x="65" y="40"/>
                    <a:pt x="63" y="39"/>
                  </a:cubicBezTo>
                  <a:cubicBezTo>
                    <a:pt x="62" y="39"/>
                    <a:pt x="61" y="39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9" y="37"/>
                    <a:pt x="57" y="38"/>
                    <a:pt x="57" y="37"/>
                  </a:cubicBezTo>
                  <a:cubicBezTo>
                    <a:pt x="55" y="37"/>
                    <a:pt x="52" y="37"/>
                    <a:pt x="50" y="36"/>
                  </a:cubicBezTo>
                  <a:cubicBezTo>
                    <a:pt x="49" y="36"/>
                    <a:pt x="48" y="36"/>
                    <a:pt x="47" y="36"/>
                  </a:cubicBezTo>
                  <a:cubicBezTo>
                    <a:pt x="48" y="36"/>
                    <a:pt x="48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3" y="33"/>
                    <a:pt x="38" y="34"/>
                    <a:pt x="33" y="32"/>
                  </a:cubicBezTo>
                  <a:cubicBezTo>
                    <a:pt x="32" y="32"/>
                    <a:pt x="31" y="31"/>
                    <a:pt x="29" y="31"/>
                  </a:cubicBezTo>
                  <a:cubicBezTo>
                    <a:pt x="29" y="30"/>
                    <a:pt x="28" y="31"/>
                    <a:pt x="28" y="31"/>
                  </a:cubicBezTo>
                  <a:cubicBezTo>
                    <a:pt x="27" y="30"/>
                    <a:pt x="26" y="30"/>
                    <a:pt x="25" y="30"/>
                  </a:cubicBezTo>
                  <a:cubicBezTo>
                    <a:pt x="24" y="30"/>
                    <a:pt x="22" y="29"/>
                    <a:pt x="21" y="29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7" y="41"/>
                    <a:pt x="15" y="41"/>
                    <a:pt x="13" y="41"/>
                  </a:cubicBezTo>
                  <a:cubicBezTo>
                    <a:pt x="10" y="41"/>
                    <a:pt x="8" y="42"/>
                    <a:pt x="6" y="44"/>
                  </a:cubicBezTo>
                  <a:cubicBezTo>
                    <a:pt x="5" y="45"/>
                    <a:pt x="5" y="46"/>
                    <a:pt x="5" y="48"/>
                  </a:cubicBezTo>
                  <a:cubicBezTo>
                    <a:pt x="5" y="49"/>
                    <a:pt x="5" y="49"/>
                    <a:pt x="3" y="50"/>
                  </a:cubicBezTo>
                  <a:cubicBezTo>
                    <a:pt x="2" y="51"/>
                    <a:pt x="1" y="51"/>
                    <a:pt x="1" y="52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2" y="55"/>
                    <a:pt x="4" y="56"/>
                    <a:pt x="7" y="56"/>
                  </a:cubicBezTo>
                  <a:cubicBezTo>
                    <a:pt x="8" y="56"/>
                    <a:pt x="9" y="57"/>
                    <a:pt x="11" y="57"/>
                  </a:cubicBezTo>
                  <a:cubicBezTo>
                    <a:pt x="12" y="58"/>
                    <a:pt x="15" y="59"/>
                    <a:pt x="16" y="60"/>
                  </a:cubicBezTo>
                  <a:cubicBezTo>
                    <a:pt x="17" y="62"/>
                    <a:pt x="14" y="62"/>
                    <a:pt x="13" y="62"/>
                  </a:cubicBezTo>
                  <a:cubicBezTo>
                    <a:pt x="11" y="63"/>
                    <a:pt x="10" y="65"/>
                    <a:pt x="9" y="66"/>
                  </a:cubicBezTo>
                  <a:cubicBezTo>
                    <a:pt x="7" y="67"/>
                    <a:pt x="7" y="68"/>
                    <a:pt x="6" y="69"/>
                  </a:cubicBezTo>
                  <a:cubicBezTo>
                    <a:pt x="3" y="73"/>
                    <a:pt x="8" y="72"/>
                    <a:pt x="11" y="73"/>
                  </a:cubicBezTo>
                  <a:cubicBezTo>
                    <a:pt x="11" y="73"/>
                    <a:pt x="11" y="74"/>
                    <a:pt x="11" y="74"/>
                  </a:cubicBezTo>
                  <a:cubicBezTo>
                    <a:pt x="11" y="76"/>
                    <a:pt x="11" y="75"/>
                    <a:pt x="10" y="76"/>
                  </a:cubicBezTo>
                  <a:cubicBezTo>
                    <a:pt x="10" y="76"/>
                    <a:pt x="9" y="76"/>
                    <a:pt x="9" y="77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10" y="79"/>
                    <a:pt x="11" y="81"/>
                    <a:pt x="12" y="82"/>
                  </a:cubicBezTo>
                  <a:cubicBezTo>
                    <a:pt x="13" y="84"/>
                    <a:pt x="13" y="85"/>
                    <a:pt x="15" y="86"/>
                  </a:cubicBezTo>
                  <a:cubicBezTo>
                    <a:pt x="16" y="87"/>
                    <a:pt x="18" y="87"/>
                    <a:pt x="19" y="87"/>
                  </a:cubicBezTo>
                  <a:cubicBezTo>
                    <a:pt x="20" y="87"/>
                    <a:pt x="21" y="87"/>
                    <a:pt x="22" y="87"/>
                  </a:cubicBezTo>
                  <a:cubicBezTo>
                    <a:pt x="23" y="87"/>
                    <a:pt x="23" y="88"/>
                    <a:pt x="24" y="89"/>
                  </a:cubicBezTo>
                  <a:cubicBezTo>
                    <a:pt x="25" y="90"/>
                    <a:pt x="27" y="90"/>
                    <a:pt x="27" y="91"/>
                  </a:cubicBezTo>
                  <a:cubicBezTo>
                    <a:pt x="28" y="92"/>
                    <a:pt x="27" y="92"/>
                    <a:pt x="28" y="92"/>
                  </a:cubicBezTo>
                  <a:cubicBezTo>
                    <a:pt x="28" y="94"/>
                    <a:pt x="28" y="94"/>
                    <a:pt x="28" y="95"/>
                  </a:cubicBezTo>
                  <a:cubicBezTo>
                    <a:pt x="28" y="98"/>
                    <a:pt x="28" y="99"/>
                    <a:pt x="27" y="101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5" y="103"/>
                    <a:pt x="25" y="103"/>
                    <a:pt x="24" y="104"/>
                  </a:cubicBezTo>
                  <a:cubicBezTo>
                    <a:pt x="23" y="105"/>
                    <a:pt x="22" y="106"/>
                    <a:pt x="20" y="107"/>
                  </a:cubicBezTo>
                  <a:cubicBezTo>
                    <a:pt x="19" y="107"/>
                    <a:pt x="16" y="107"/>
                    <a:pt x="14" y="107"/>
                  </a:cubicBezTo>
                  <a:cubicBezTo>
                    <a:pt x="14" y="108"/>
                    <a:pt x="13" y="108"/>
                    <a:pt x="12" y="108"/>
                  </a:cubicBezTo>
                  <a:cubicBezTo>
                    <a:pt x="12" y="109"/>
                    <a:pt x="11" y="108"/>
                    <a:pt x="10" y="109"/>
                  </a:cubicBezTo>
                  <a:cubicBezTo>
                    <a:pt x="9" y="109"/>
                    <a:pt x="8" y="110"/>
                    <a:pt x="7" y="110"/>
                  </a:cubicBezTo>
                  <a:cubicBezTo>
                    <a:pt x="8" y="110"/>
                    <a:pt x="8" y="111"/>
                    <a:pt x="8" y="112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10" y="113"/>
                    <a:pt x="9" y="113"/>
                    <a:pt x="10" y="113"/>
                  </a:cubicBezTo>
                  <a:cubicBezTo>
                    <a:pt x="10" y="114"/>
                    <a:pt x="11" y="115"/>
                    <a:pt x="11" y="116"/>
                  </a:cubicBezTo>
                  <a:cubicBezTo>
                    <a:pt x="12" y="116"/>
                    <a:pt x="13" y="116"/>
                    <a:pt x="13" y="116"/>
                  </a:cubicBezTo>
                  <a:cubicBezTo>
                    <a:pt x="14" y="117"/>
                    <a:pt x="15" y="117"/>
                    <a:pt x="15" y="117"/>
                  </a:cubicBezTo>
                  <a:cubicBezTo>
                    <a:pt x="16" y="117"/>
                    <a:pt x="17" y="117"/>
                    <a:pt x="18" y="117"/>
                  </a:cubicBezTo>
                  <a:cubicBezTo>
                    <a:pt x="19" y="117"/>
                    <a:pt x="20" y="117"/>
                    <a:pt x="21" y="118"/>
                  </a:cubicBezTo>
                  <a:cubicBezTo>
                    <a:pt x="21" y="118"/>
                    <a:pt x="22" y="119"/>
                    <a:pt x="22" y="119"/>
                  </a:cubicBezTo>
                  <a:cubicBezTo>
                    <a:pt x="24" y="119"/>
                    <a:pt x="25" y="117"/>
                    <a:pt x="26" y="116"/>
                  </a:cubicBezTo>
                  <a:cubicBezTo>
                    <a:pt x="26" y="116"/>
                    <a:pt x="26" y="116"/>
                    <a:pt x="26" y="116"/>
                  </a:cubicBezTo>
                  <a:cubicBezTo>
                    <a:pt x="26" y="115"/>
                    <a:pt x="26" y="115"/>
                    <a:pt x="27" y="115"/>
                  </a:cubicBezTo>
                  <a:cubicBezTo>
                    <a:pt x="27" y="114"/>
                    <a:pt x="29" y="112"/>
                    <a:pt x="30" y="112"/>
                  </a:cubicBezTo>
                  <a:cubicBezTo>
                    <a:pt x="30" y="112"/>
                    <a:pt x="31" y="111"/>
                    <a:pt x="31" y="112"/>
                  </a:cubicBezTo>
                  <a:cubicBezTo>
                    <a:pt x="32" y="112"/>
                    <a:pt x="32" y="112"/>
                    <a:pt x="33" y="113"/>
                  </a:cubicBezTo>
                  <a:cubicBezTo>
                    <a:pt x="34" y="113"/>
                    <a:pt x="34" y="113"/>
                    <a:pt x="35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7" y="114"/>
                    <a:pt x="39" y="113"/>
                    <a:pt x="41" y="114"/>
                  </a:cubicBezTo>
                  <a:cubicBezTo>
                    <a:pt x="42" y="115"/>
                    <a:pt x="42" y="116"/>
                    <a:pt x="43" y="116"/>
                  </a:cubicBezTo>
                  <a:cubicBezTo>
                    <a:pt x="44" y="117"/>
                    <a:pt x="45" y="117"/>
                    <a:pt x="46" y="118"/>
                  </a:cubicBezTo>
                  <a:cubicBezTo>
                    <a:pt x="47" y="118"/>
                    <a:pt x="48" y="119"/>
                    <a:pt x="49" y="119"/>
                  </a:cubicBezTo>
                  <a:cubicBezTo>
                    <a:pt x="49" y="120"/>
                    <a:pt x="50" y="120"/>
                    <a:pt x="50" y="120"/>
                  </a:cubicBezTo>
                  <a:cubicBezTo>
                    <a:pt x="50" y="120"/>
                    <a:pt x="51" y="120"/>
                    <a:pt x="51" y="120"/>
                  </a:cubicBezTo>
                  <a:cubicBezTo>
                    <a:pt x="52" y="120"/>
                    <a:pt x="52" y="120"/>
                    <a:pt x="52" y="120"/>
                  </a:cubicBezTo>
                  <a:cubicBezTo>
                    <a:pt x="53" y="119"/>
                    <a:pt x="53" y="119"/>
                    <a:pt x="53" y="118"/>
                  </a:cubicBezTo>
                  <a:cubicBezTo>
                    <a:pt x="54" y="118"/>
                    <a:pt x="55" y="119"/>
                    <a:pt x="56" y="119"/>
                  </a:cubicBezTo>
                  <a:cubicBezTo>
                    <a:pt x="57" y="119"/>
                    <a:pt x="60" y="117"/>
                    <a:pt x="61" y="116"/>
                  </a:cubicBezTo>
                  <a:cubicBezTo>
                    <a:pt x="61" y="115"/>
                    <a:pt x="61" y="114"/>
                    <a:pt x="60" y="114"/>
                  </a:cubicBezTo>
                  <a:cubicBezTo>
                    <a:pt x="59" y="113"/>
                    <a:pt x="59" y="112"/>
                    <a:pt x="58" y="112"/>
                  </a:cubicBezTo>
                  <a:cubicBezTo>
                    <a:pt x="58" y="111"/>
                    <a:pt x="57" y="110"/>
                    <a:pt x="57" y="109"/>
                  </a:cubicBezTo>
                  <a:cubicBezTo>
                    <a:pt x="57" y="108"/>
                    <a:pt x="57" y="108"/>
                    <a:pt x="56" y="108"/>
                  </a:cubicBezTo>
                  <a:cubicBezTo>
                    <a:pt x="56" y="108"/>
                    <a:pt x="56" y="107"/>
                    <a:pt x="56" y="107"/>
                  </a:cubicBezTo>
                  <a:cubicBezTo>
                    <a:pt x="55" y="106"/>
                    <a:pt x="56" y="105"/>
                    <a:pt x="56" y="104"/>
                  </a:cubicBezTo>
                  <a:cubicBezTo>
                    <a:pt x="57" y="103"/>
                    <a:pt x="57" y="103"/>
                    <a:pt x="58" y="102"/>
                  </a:cubicBezTo>
                  <a:cubicBezTo>
                    <a:pt x="58" y="102"/>
                    <a:pt x="58" y="101"/>
                    <a:pt x="58" y="101"/>
                  </a:cubicBezTo>
                  <a:cubicBezTo>
                    <a:pt x="59" y="101"/>
                    <a:pt x="58" y="102"/>
                    <a:pt x="59" y="103"/>
                  </a:cubicBezTo>
                  <a:cubicBezTo>
                    <a:pt x="60" y="104"/>
                    <a:pt x="61" y="104"/>
                    <a:pt x="62" y="105"/>
                  </a:cubicBezTo>
                  <a:cubicBezTo>
                    <a:pt x="63" y="105"/>
                    <a:pt x="64" y="106"/>
                    <a:pt x="64" y="107"/>
                  </a:cubicBezTo>
                  <a:cubicBezTo>
                    <a:pt x="65" y="107"/>
                    <a:pt x="66" y="108"/>
                    <a:pt x="66" y="108"/>
                  </a:cubicBezTo>
                  <a:cubicBezTo>
                    <a:pt x="67" y="108"/>
                    <a:pt x="67" y="108"/>
                    <a:pt x="68" y="109"/>
                  </a:cubicBezTo>
                  <a:cubicBezTo>
                    <a:pt x="68" y="110"/>
                    <a:pt x="69" y="111"/>
                    <a:pt x="69" y="112"/>
                  </a:cubicBezTo>
                  <a:cubicBezTo>
                    <a:pt x="69" y="112"/>
                    <a:pt x="70" y="113"/>
                    <a:pt x="70" y="114"/>
                  </a:cubicBezTo>
                  <a:cubicBezTo>
                    <a:pt x="71" y="114"/>
                    <a:pt x="73" y="114"/>
                    <a:pt x="74" y="114"/>
                  </a:cubicBezTo>
                  <a:cubicBezTo>
                    <a:pt x="75" y="114"/>
                    <a:pt x="75" y="114"/>
                    <a:pt x="75" y="113"/>
                  </a:cubicBezTo>
                  <a:cubicBezTo>
                    <a:pt x="76" y="112"/>
                    <a:pt x="77" y="112"/>
                    <a:pt x="77" y="111"/>
                  </a:cubicBezTo>
                  <a:cubicBezTo>
                    <a:pt x="77" y="110"/>
                    <a:pt x="77" y="109"/>
                    <a:pt x="78" y="110"/>
                  </a:cubicBezTo>
                  <a:cubicBezTo>
                    <a:pt x="79" y="111"/>
                    <a:pt x="79" y="112"/>
                    <a:pt x="80" y="112"/>
                  </a:cubicBezTo>
                  <a:cubicBezTo>
                    <a:pt x="80" y="113"/>
                    <a:pt x="80" y="113"/>
                    <a:pt x="81" y="113"/>
                  </a:cubicBezTo>
                  <a:cubicBezTo>
                    <a:pt x="81" y="113"/>
                    <a:pt x="81" y="113"/>
                    <a:pt x="82" y="113"/>
                  </a:cubicBezTo>
                  <a:cubicBezTo>
                    <a:pt x="82" y="114"/>
                    <a:pt x="83" y="115"/>
                    <a:pt x="83" y="115"/>
                  </a:cubicBezTo>
                  <a:cubicBezTo>
                    <a:pt x="85" y="117"/>
                    <a:pt x="87" y="119"/>
                    <a:pt x="90" y="119"/>
                  </a:cubicBezTo>
                  <a:cubicBezTo>
                    <a:pt x="91" y="119"/>
                    <a:pt x="91" y="119"/>
                    <a:pt x="92" y="119"/>
                  </a:cubicBezTo>
                  <a:cubicBezTo>
                    <a:pt x="92" y="119"/>
                    <a:pt x="92" y="118"/>
                    <a:pt x="93" y="118"/>
                  </a:cubicBezTo>
                  <a:cubicBezTo>
                    <a:pt x="93" y="118"/>
                    <a:pt x="93" y="117"/>
                    <a:pt x="93" y="117"/>
                  </a:cubicBezTo>
                  <a:cubicBezTo>
                    <a:pt x="94" y="116"/>
                    <a:pt x="94" y="117"/>
                    <a:pt x="95" y="117"/>
                  </a:cubicBezTo>
                  <a:cubicBezTo>
                    <a:pt x="97" y="117"/>
                    <a:pt x="99" y="115"/>
                    <a:pt x="100" y="114"/>
                  </a:cubicBezTo>
                  <a:cubicBezTo>
                    <a:pt x="101" y="113"/>
                    <a:pt x="101" y="113"/>
                    <a:pt x="100" y="112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9" y="110"/>
                    <a:pt x="99" y="110"/>
                    <a:pt x="99" y="109"/>
                  </a:cubicBezTo>
                  <a:cubicBezTo>
                    <a:pt x="99" y="108"/>
                    <a:pt x="99" y="107"/>
                    <a:pt x="99" y="106"/>
                  </a:cubicBezTo>
                  <a:cubicBezTo>
                    <a:pt x="99" y="105"/>
                    <a:pt x="99" y="104"/>
                    <a:pt x="99" y="103"/>
                  </a:cubicBezTo>
                  <a:cubicBezTo>
                    <a:pt x="99" y="103"/>
                    <a:pt x="99" y="103"/>
                    <a:pt x="99" y="102"/>
                  </a:cubicBezTo>
                  <a:cubicBezTo>
                    <a:pt x="99" y="100"/>
                    <a:pt x="100" y="100"/>
                    <a:pt x="102" y="99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2" y="96"/>
                    <a:pt x="100" y="96"/>
                    <a:pt x="100" y="94"/>
                  </a:cubicBezTo>
                  <a:cubicBezTo>
                    <a:pt x="100" y="94"/>
                    <a:pt x="101" y="93"/>
                    <a:pt x="102" y="93"/>
                  </a:cubicBezTo>
                  <a:cubicBezTo>
                    <a:pt x="102" y="92"/>
                    <a:pt x="103" y="91"/>
                    <a:pt x="104" y="90"/>
                  </a:cubicBezTo>
                  <a:cubicBezTo>
                    <a:pt x="105" y="90"/>
                    <a:pt x="105" y="89"/>
                    <a:pt x="106" y="89"/>
                  </a:cubicBezTo>
                  <a:cubicBezTo>
                    <a:pt x="107" y="88"/>
                    <a:pt x="108" y="88"/>
                    <a:pt x="109" y="88"/>
                  </a:cubicBezTo>
                  <a:cubicBezTo>
                    <a:pt x="110" y="87"/>
                    <a:pt x="110" y="87"/>
                    <a:pt x="111" y="87"/>
                  </a:cubicBezTo>
                  <a:cubicBezTo>
                    <a:pt x="112" y="87"/>
                    <a:pt x="112" y="87"/>
                    <a:pt x="113" y="88"/>
                  </a:cubicBezTo>
                  <a:cubicBezTo>
                    <a:pt x="114" y="88"/>
                    <a:pt x="113" y="88"/>
                    <a:pt x="114" y="88"/>
                  </a:cubicBezTo>
                  <a:cubicBezTo>
                    <a:pt x="116" y="87"/>
                    <a:pt x="117" y="89"/>
                    <a:pt x="119" y="89"/>
                  </a:cubicBezTo>
                  <a:cubicBezTo>
                    <a:pt x="119" y="88"/>
                    <a:pt x="119" y="87"/>
                    <a:pt x="119" y="87"/>
                  </a:cubicBezTo>
                  <a:cubicBezTo>
                    <a:pt x="119" y="87"/>
                    <a:pt x="120" y="87"/>
                    <a:pt x="120" y="87"/>
                  </a:cubicBezTo>
                  <a:cubicBezTo>
                    <a:pt x="120" y="86"/>
                    <a:pt x="123" y="87"/>
                    <a:pt x="123" y="88"/>
                  </a:cubicBezTo>
                  <a:cubicBezTo>
                    <a:pt x="124" y="88"/>
                    <a:pt x="125" y="89"/>
                    <a:pt x="126" y="89"/>
                  </a:cubicBezTo>
                  <a:cubicBezTo>
                    <a:pt x="127" y="90"/>
                    <a:pt x="129" y="91"/>
                    <a:pt x="131" y="91"/>
                  </a:cubicBezTo>
                  <a:cubicBezTo>
                    <a:pt x="132" y="91"/>
                    <a:pt x="133" y="91"/>
                    <a:pt x="133" y="91"/>
                  </a:cubicBezTo>
                  <a:cubicBezTo>
                    <a:pt x="135" y="91"/>
                    <a:pt x="137" y="91"/>
                    <a:pt x="137" y="89"/>
                  </a:cubicBezTo>
                  <a:cubicBezTo>
                    <a:pt x="138" y="88"/>
                    <a:pt x="136" y="86"/>
                    <a:pt x="135" y="84"/>
                  </a:cubicBezTo>
                  <a:cubicBezTo>
                    <a:pt x="135" y="84"/>
                    <a:pt x="135" y="82"/>
                    <a:pt x="135" y="82"/>
                  </a:cubicBezTo>
                  <a:cubicBezTo>
                    <a:pt x="134" y="82"/>
                    <a:pt x="133" y="82"/>
                    <a:pt x="132" y="82"/>
                  </a:cubicBezTo>
                  <a:cubicBezTo>
                    <a:pt x="132" y="81"/>
                    <a:pt x="132" y="82"/>
                    <a:pt x="132" y="81"/>
                  </a:cubicBezTo>
                  <a:cubicBezTo>
                    <a:pt x="131" y="81"/>
                    <a:pt x="131" y="80"/>
                    <a:pt x="131" y="79"/>
                  </a:cubicBezTo>
                  <a:cubicBezTo>
                    <a:pt x="130" y="78"/>
                    <a:pt x="130" y="76"/>
                    <a:pt x="128" y="75"/>
                  </a:cubicBezTo>
                  <a:cubicBezTo>
                    <a:pt x="128" y="75"/>
                    <a:pt x="127" y="76"/>
                    <a:pt x="126" y="75"/>
                  </a:cubicBezTo>
                  <a:cubicBezTo>
                    <a:pt x="125" y="75"/>
                    <a:pt x="125" y="73"/>
                    <a:pt x="124" y="73"/>
                  </a:cubicBezTo>
                  <a:cubicBezTo>
                    <a:pt x="123" y="72"/>
                    <a:pt x="123" y="71"/>
                    <a:pt x="122" y="71"/>
                  </a:cubicBezTo>
                  <a:cubicBezTo>
                    <a:pt x="122" y="71"/>
                    <a:pt x="122" y="71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0" y="70"/>
                    <a:pt x="119" y="70"/>
                    <a:pt x="119" y="69"/>
                  </a:cubicBezTo>
                  <a:cubicBezTo>
                    <a:pt x="119" y="69"/>
                    <a:pt x="118" y="68"/>
                    <a:pt x="118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17" y="67"/>
                    <a:pt x="117" y="66"/>
                    <a:pt x="116" y="65"/>
                  </a:cubicBezTo>
                  <a:cubicBezTo>
                    <a:pt x="116" y="65"/>
                    <a:pt x="115" y="64"/>
                    <a:pt x="115" y="64"/>
                  </a:cubicBezTo>
                  <a:cubicBezTo>
                    <a:pt x="115" y="62"/>
                    <a:pt x="116" y="61"/>
                    <a:pt x="117" y="60"/>
                  </a:cubicBezTo>
                  <a:cubicBezTo>
                    <a:pt x="118" y="59"/>
                    <a:pt x="118" y="58"/>
                    <a:pt x="119" y="58"/>
                  </a:cubicBezTo>
                  <a:cubicBezTo>
                    <a:pt x="120" y="57"/>
                    <a:pt x="121" y="58"/>
                    <a:pt x="121" y="58"/>
                  </a:cubicBezTo>
                  <a:cubicBezTo>
                    <a:pt x="122" y="58"/>
                    <a:pt x="123" y="58"/>
                    <a:pt x="123" y="58"/>
                  </a:cubicBezTo>
                  <a:cubicBezTo>
                    <a:pt x="124" y="57"/>
                    <a:pt x="124" y="55"/>
                    <a:pt x="125" y="55"/>
                  </a:cubicBezTo>
                  <a:cubicBezTo>
                    <a:pt x="126" y="54"/>
                    <a:pt x="125" y="54"/>
                    <a:pt x="126" y="54"/>
                  </a:cubicBezTo>
                  <a:cubicBezTo>
                    <a:pt x="127" y="54"/>
                    <a:pt x="128" y="54"/>
                    <a:pt x="128" y="53"/>
                  </a:cubicBezTo>
                  <a:cubicBezTo>
                    <a:pt x="129" y="53"/>
                    <a:pt x="129" y="53"/>
                    <a:pt x="130" y="52"/>
                  </a:cubicBezTo>
                  <a:cubicBezTo>
                    <a:pt x="130" y="51"/>
                    <a:pt x="132" y="50"/>
                    <a:pt x="133" y="50"/>
                  </a:cubicBezTo>
                  <a:cubicBezTo>
                    <a:pt x="134" y="50"/>
                    <a:pt x="135" y="50"/>
                    <a:pt x="136" y="50"/>
                  </a:cubicBezTo>
                  <a:cubicBezTo>
                    <a:pt x="137" y="49"/>
                    <a:pt x="136" y="47"/>
                    <a:pt x="137" y="47"/>
                  </a:cubicBezTo>
                  <a:cubicBezTo>
                    <a:pt x="138" y="46"/>
                    <a:pt x="140" y="47"/>
                    <a:pt x="141" y="47"/>
                  </a:cubicBezTo>
                  <a:cubicBezTo>
                    <a:pt x="142" y="47"/>
                    <a:pt x="142" y="47"/>
                    <a:pt x="142" y="46"/>
                  </a:cubicBezTo>
                  <a:cubicBezTo>
                    <a:pt x="142" y="46"/>
                    <a:pt x="142" y="45"/>
                    <a:pt x="142" y="45"/>
                  </a:cubicBezTo>
                  <a:cubicBezTo>
                    <a:pt x="142" y="44"/>
                    <a:pt x="143" y="44"/>
                    <a:pt x="144" y="43"/>
                  </a:cubicBezTo>
                  <a:cubicBezTo>
                    <a:pt x="146" y="43"/>
                    <a:pt x="148" y="42"/>
                    <a:pt x="150" y="43"/>
                  </a:cubicBezTo>
                  <a:cubicBezTo>
                    <a:pt x="151" y="43"/>
                    <a:pt x="152" y="43"/>
                    <a:pt x="152" y="43"/>
                  </a:cubicBezTo>
                  <a:cubicBezTo>
                    <a:pt x="153" y="43"/>
                    <a:pt x="153" y="42"/>
                    <a:pt x="153" y="42"/>
                  </a:cubicBezTo>
                  <a:cubicBezTo>
                    <a:pt x="153" y="41"/>
                    <a:pt x="152" y="41"/>
                    <a:pt x="152" y="40"/>
                  </a:cubicBezTo>
                  <a:cubicBezTo>
                    <a:pt x="151" y="39"/>
                    <a:pt x="151" y="38"/>
                    <a:pt x="150" y="37"/>
                  </a:cubicBezTo>
                  <a:cubicBezTo>
                    <a:pt x="150" y="37"/>
                    <a:pt x="149" y="36"/>
                    <a:pt x="148" y="35"/>
                  </a:cubicBezTo>
                  <a:cubicBezTo>
                    <a:pt x="148" y="35"/>
                    <a:pt x="148" y="34"/>
                    <a:pt x="149" y="34"/>
                  </a:cubicBezTo>
                  <a:cubicBezTo>
                    <a:pt x="149" y="33"/>
                    <a:pt x="150" y="33"/>
                    <a:pt x="151" y="33"/>
                  </a:cubicBezTo>
                  <a:cubicBezTo>
                    <a:pt x="152" y="33"/>
                    <a:pt x="152" y="33"/>
                    <a:pt x="153" y="33"/>
                  </a:cubicBezTo>
                  <a:cubicBezTo>
                    <a:pt x="153" y="32"/>
                    <a:pt x="154" y="31"/>
                    <a:pt x="155" y="31"/>
                  </a:cubicBezTo>
                  <a:cubicBezTo>
                    <a:pt x="156" y="30"/>
                    <a:pt x="159" y="32"/>
                    <a:pt x="160" y="33"/>
                  </a:cubicBezTo>
                  <a:cubicBezTo>
                    <a:pt x="162" y="33"/>
                    <a:pt x="163" y="33"/>
                    <a:pt x="165" y="33"/>
                  </a:cubicBezTo>
                  <a:cubicBezTo>
                    <a:pt x="165" y="33"/>
                    <a:pt x="166" y="33"/>
                    <a:pt x="167" y="33"/>
                  </a:cubicBezTo>
                  <a:cubicBezTo>
                    <a:pt x="167" y="32"/>
                    <a:pt x="167" y="32"/>
                    <a:pt x="167" y="32"/>
                  </a:cubicBezTo>
                  <a:cubicBezTo>
                    <a:pt x="166" y="32"/>
                    <a:pt x="165" y="32"/>
                    <a:pt x="165" y="32"/>
                  </a:cubicBezTo>
                  <a:cubicBezTo>
                    <a:pt x="161" y="29"/>
                    <a:pt x="164" y="26"/>
                    <a:pt x="163" y="2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4" name="Freeform 26">
              <a:extLst>
                <a:ext uri="{FF2B5EF4-FFF2-40B4-BE49-F238E27FC236}">
                  <a16:creationId xmlns:a16="http://schemas.microsoft.com/office/drawing/2014/main" id="{295A1DB3-46EE-4314-AD78-1DECF6E002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5838" y="5073650"/>
              <a:ext cx="584200" cy="542925"/>
            </a:xfrm>
            <a:custGeom>
              <a:avLst/>
              <a:gdLst/>
              <a:ahLst/>
              <a:cxnLst>
                <a:cxn ang="0">
                  <a:pos x="261" y="120"/>
                </a:cxn>
                <a:cxn ang="0">
                  <a:pos x="275" y="132"/>
                </a:cxn>
                <a:cxn ang="0">
                  <a:pos x="294" y="124"/>
                </a:cxn>
                <a:cxn ang="0">
                  <a:pos x="305" y="104"/>
                </a:cxn>
                <a:cxn ang="0">
                  <a:pos x="291" y="87"/>
                </a:cxn>
                <a:cxn ang="0">
                  <a:pos x="288" y="72"/>
                </a:cxn>
                <a:cxn ang="0">
                  <a:pos x="284" y="56"/>
                </a:cxn>
                <a:cxn ang="0">
                  <a:pos x="275" y="56"/>
                </a:cxn>
                <a:cxn ang="0">
                  <a:pos x="244" y="63"/>
                </a:cxn>
                <a:cxn ang="0">
                  <a:pos x="223" y="58"/>
                </a:cxn>
                <a:cxn ang="0">
                  <a:pos x="201" y="40"/>
                </a:cxn>
                <a:cxn ang="0">
                  <a:pos x="194" y="29"/>
                </a:cxn>
                <a:cxn ang="0">
                  <a:pos x="169" y="7"/>
                </a:cxn>
                <a:cxn ang="0">
                  <a:pos x="152" y="1"/>
                </a:cxn>
                <a:cxn ang="0">
                  <a:pos x="149" y="10"/>
                </a:cxn>
                <a:cxn ang="0">
                  <a:pos x="139" y="16"/>
                </a:cxn>
                <a:cxn ang="0">
                  <a:pos x="125" y="23"/>
                </a:cxn>
                <a:cxn ang="0">
                  <a:pos x="114" y="30"/>
                </a:cxn>
                <a:cxn ang="0">
                  <a:pos x="118" y="40"/>
                </a:cxn>
                <a:cxn ang="0">
                  <a:pos x="128" y="49"/>
                </a:cxn>
                <a:cxn ang="0">
                  <a:pos x="130" y="61"/>
                </a:cxn>
                <a:cxn ang="0">
                  <a:pos x="116" y="59"/>
                </a:cxn>
                <a:cxn ang="0">
                  <a:pos x="101" y="60"/>
                </a:cxn>
                <a:cxn ang="0">
                  <a:pos x="96" y="73"/>
                </a:cxn>
                <a:cxn ang="0">
                  <a:pos x="92" y="87"/>
                </a:cxn>
                <a:cxn ang="0">
                  <a:pos x="79" y="83"/>
                </a:cxn>
                <a:cxn ang="0">
                  <a:pos x="71" y="84"/>
                </a:cxn>
                <a:cxn ang="0">
                  <a:pos x="59" y="75"/>
                </a:cxn>
                <a:cxn ang="0">
                  <a:pos x="53" y="78"/>
                </a:cxn>
                <a:cxn ang="0">
                  <a:pos x="50" y="88"/>
                </a:cxn>
                <a:cxn ang="0">
                  <a:pos x="40" y="86"/>
                </a:cxn>
                <a:cxn ang="0">
                  <a:pos x="27" y="82"/>
                </a:cxn>
                <a:cxn ang="0">
                  <a:pos x="15" y="87"/>
                </a:cxn>
                <a:cxn ang="0">
                  <a:pos x="5" y="82"/>
                </a:cxn>
                <a:cxn ang="0">
                  <a:pos x="1" y="87"/>
                </a:cxn>
                <a:cxn ang="0">
                  <a:pos x="16" y="127"/>
                </a:cxn>
                <a:cxn ang="0">
                  <a:pos x="25" y="131"/>
                </a:cxn>
                <a:cxn ang="0">
                  <a:pos x="37" y="109"/>
                </a:cxn>
                <a:cxn ang="0">
                  <a:pos x="54" y="109"/>
                </a:cxn>
                <a:cxn ang="0">
                  <a:pos x="64" y="125"/>
                </a:cxn>
                <a:cxn ang="0">
                  <a:pos x="70" y="130"/>
                </a:cxn>
                <a:cxn ang="0">
                  <a:pos x="75" y="151"/>
                </a:cxn>
                <a:cxn ang="0">
                  <a:pos x="93" y="179"/>
                </a:cxn>
                <a:cxn ang="0">
                  <a:pos x="95" y="203"/>
                </a:cxn>
                <a:cxn ang="0">
                  <a:pos x="106" y="217"/>
                </a:cxn>
                <a:cxn ang="0">
                  <a:pos x="119" y="235"/>
                </a:cxn>
                <a:cxn ang="0">
                  <a:pos x="134" y="242"/>
                </a:cxn>
                <a:cxn ang="0">
                  <a:pos x="157" y="246"/>
                </a:cxn>
                <a:cxn ang="0">
                  <a:pos x="200" y="287"/>
                </a:cxn>
                <a:cxn ang="0">
                  <a:pos x="202" y="278"/>
                </a:cxn>
                <a:cxn ang="0">
                  <a:pos x="195" y="264"/>
                </a:cxn>
                <a:cxn ang="0">
                  <a:pos x="192" y="250"/>
                </a:cxn>
                <a:cxn ang="0">
                  <a:pos x="169" y="224"/>
                </a:cxn>
                <a:cxn ang="0">
                  <a:pos x="142" y="196"/>
                </a:cxn>
                <a:cxn ang="0">
                  <a:pos x="135" y="175"/>
                </a:cxn>
                <a:cxn ang="0">
                  <a:pos x="131" y="151"/>
                </a:cxn>
                <a:cxn ang="0">
                  <a:pos x="118" y="134"/>
                </a:cxn>
                <a:cxn ang="0">
                  <a:pos x="133" y="107"/>
                </a:cxn>
                <a:cxn ang="0">
                  <a:pos x="150" y="118"/>
                </a:cxn>
                <a:cxn ang="0">
                  <a:pos x="174" y="105"/>
                </a:cxn>
                <a:cxn ang="0">
                  <a:pos x="192" y="114"/>
                </a:cxn>
                <a:cxn ang="0">
                  <a:pos x="221" y="116"/>
                </a:cxn>
                <a:cxn ang="0">
                  <a:pos x="237" y="114"/>
                </a:cxn>
              </a:cxnLst>
              <a:rect l="0" t="0" r="r" b="b"/>
              <a:pathLst>
                <a:path w="312" h="291">
                  <a:moveTo>
                    <a:pt x="9" y="78"/>
                  </a:move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moveTo>
                    <a:pt x="255" y="117"/>
                  </a:moveTo>
                  <a:cubicBezTo>
                    <a:pt x="256" y="117"/>
                    <a:pt x="257" y="118"/>
                    <a:pt x="259" y="118"/>
                  </a:cubicBezTo>
                  <a:cubicBezTo>
                    <a:pt x="259" y="119"/>
                    <a:pt x="260" y="120"/>
                    <a:pt x="261" y="120"/>
                  </a:cubicBezTo>
                  <a:cubicBezTo>
                    <a:pt x="263" y="121"/>
                    <a:pt x="266" y="121"/>
                    <a:pt x="267" y="121"/>
                  </a:cubicBezTo>
                  <a:cubicBezTo>
                    <a:pt x="268" y="118"/>
                    <a:pt x="272" y="120"/>
                    <a:pt x="273" y="122"/>
                  </a:cubicBezTo>
                  <a:cubicBezTo>
                    <a:pt x="273" y="122"/>
                    <a:pt x="273" y="123"/>
                    <a:pt x="273" y="124"/>
                  </a:cubicBezTo>
                  <a:cubicBezTo>
                    <a:pt x="273" y="124"/>
                    <a:pt x="274" y="125"/>
                    <a:pt x="274" y="125"/>
                  </a:cubicBezTo>
                  <a:cubicBezTo>
                    <a:pt x="275" y="126"/>
                    <a:pt x="277" y="127"/>
                    <a:pt x="277" y="128"/>
                  </a:cubicBezTo>
                  <a:cubicBezTo>
                    <a:pt x="276" y="130"/>
                    <a:pt x="275" y="130"/>
                    <a:pt x="275" y="132"/>
                  </a:cubicBezTo>
                  <a:cubicBezTo>
                    <a:pt x="275" y="134"/>
                    <a:pt x="276" y="136"/>
                    <a:pt x="278" y="137"/>
                  </a:cubicBezTo>
                  <a:cubicBezTo>
                    <a:pt x="279" y="137"/>
                    <a:pt x="278" y="137"/>
                    <a:pt x="280" y="138"/>
                  </a:cubicBezTo>
                  <a:cubicBezTo>
                    <a:pt x="281" y="138"/>
                    <a:pt x="282" y="138"/>
                    <a:pt x="282" y="138"/>
                  </a:cubicBezTo>
                  <a:cubicBezTo>
                    <a:pt x="284" y="137"/>
                    <a:pt x="286" y="137"/>
                    <a:pt x="288" y="136"/>
                  </a:cubicBezTo>
                  <a:cubicBezTo>
                    <a:pt x="290" y="135"/>
                    <a:pt x="297" y="134"/>
                    <a:pt x="295" y="131"/>
                  </a:cubicBezTo>
                  <a:cubicBezTo>
                    <a:pt x="294" y="128"/>
                    <a:pt x="291" y="126"/>
                    <a:pt x="294" y="124"/>
                  </a:cubicBezTo>
                  <a:cubicBezTo>
                    <a:pt x="294" y="123"/>
                    <a:pt x="296" y="122"/>
                    <a:pt x="296" y="121"/>
                  </a:cubicBezTo>
                  <a:cubicBezTo>
                    <a:pt x="296" y="120"/>
                    <a:pt x="295" y="119"/>
                    <a:pt x="296" y="118"/>
                  </a:cubicBezTo>
                  <a:cubicBezTo>
                    <a:pt x="297" y="116"/>
                    <a:pt x="301" y="115"/>
                    <a:pt x="303" y="114"/>
                  </a:cubicBezTo>
                  <a:cubicBezTo>
                    <a:pt x="305" y="114"/>
                    <a:pt x="312" y="114"/>
                    <a:pt x="310" y="110"/>
                  </a:cubicBezTo>
                  <a:cubicBezTo>
                    <a:pt x="310" y="109"/>
                    <a:pt x="309" y="109"/>
                    <a:pt x="308" y="108"/>
                  </a:cubicBezTo>
                  <a:cubicBezTo>
                    <a:pt x="307" y="107"/>
                    <a:pt x="306" y="105"/>
                    <a:pt x="305" y="104"/>
                  </a:cubicBezTo>
                  <a:cubicBezTo>
                    <a:pt x="303" y="102"/>
                    <a:pt x="303" y="102"/>
                    <a:pt x="301" y="102"/>
                  </a:cubicBezTo>
                  <a:cubicBezTo>
                    <a:pt x="297" y="101"/>
                    <a:pt x="294" y="99"/>
                    <a:pt x="292" y="98"/>
                  </a:cubicBezTo>
                  <a:cubicBezTo>
                    <a:pt x="291" y="98"/>
                    <a:pt x="290" y="97"/>
                    <a:pt x="290" y="96"/>
                  </a:cubicBezTo>
                  <a:cubicBezTo>
                    <a:pt x="288" y="94"/>
                    <a:pt x="292" y="93"/>
                    <a:pt x="292" y="90"/>
                  </a:cubicBezTo>
                  <a:cubicBezTo>
                    <a:pt x="291" y="89"/>
                    <a:pt x="290" y="89"/>
                    <a:pt x="290" y="88"/>
                  </a:cubicBezTo>
                  <a:cubicBezTo>
                    <a:pt x="290" y="87"/>
                    <a:pt x="291" y="87"/>
                    <a:pt x="291" y="87"/>
                  </a:cubicBezTo>
                  <a:cubicBezTo>
                    <a:pt x="292" y="85"/>
                    <a:pt x="291" y="84"/>
                    <a:pt x="290" y="83"/>
                  </a:cubicBezTo>
                  <a:cubicBezTo>
                    <a:pt x="290" y="82"/>
                    <a:pt x="290" y="82"/>
                    <a:pt x="289" y="82"/>
                  </a:cubicBezTo>
                  <a:cubicBezTo>
                    <a:pt x="288" y="80"/>
                    <a:pt x="288" y="81"/>
                    <a:pt x="286" y="80"/>
                  </a:cubicBezTo>
                  <a:cubicBezTo>
                    <a:pt x="286" y="79"/>
                    <a:pt x="286" y="78"/>
                    <a:pt x="286" y="76"/>
                  </a:cubicBezTo>
                  <a:cubicBezTo>
                    <a:pt x="286" y="75"/>
                    <a:pt x="287" y="75"/>
                    <a:pt x="287" y="74"/>
                  </a:cubicBezTo>
                  <a:cubicBezTo>
                    <a:pt x="287" y="73"/>
                    <a:pt x="288" y="73"/>
                    <a:pt x="288" y="72"/>
                  </a:cubicBezTo>
                  <a:cubicBezTo>
                    <a:pt x="288" y="70"/>
                    <a:pt x="286" y="70"/>
                    <a:pt x="286" y="68"/>
                  </a:cubicBezTo>
                  <a:cubicBezTo>
                    <a:pt x="286" y="67"/>
                    <a:pt x="286" y="65"/>
                    <a:pt x="286" y="64"/>
                  </a:cubicBezTo>
                  <a:cubicBezTo>
                    <a:pt x="286" y="64"/>
                    <a:pt x="286" y="63"/>
                    <a:pt x="286" y="63"/>
                  </a:cubicBezTo>
                  <a:cubicBezTo>
                    <a:pt x="286" y="62"/>
                    <a:pt x="285" y="62"/>
                    <a:pt x="285" y="62"/>
                  </a:cubicBezTo>
                  <a:cubicBezTo>
                    <a:pt x="285" y="62"/>
                    <a:pt x="285" y="61"/>
                    <a:pt x="284" y="60"/>
                  </a:cubicBezTo>
                  <a:cubicBezTo>
                    <a:pt x="284" y="59"/>
                    <a:pt x="284" y="58"/>
                    <a:pt x="284" y="56"/>
                  </a:cubicBezTo>
                  <a:cubicBezTo>
                    <a:pt x="284" y="54"/>
                    <a:pt x="284" y="52"/>
                    <a:pt x="284" y="50"/>
                  </a:cubicBezTo>
                  <a:cubicBezTo>
                    <a:pt x="284" y="50"/>
                    <a:pt x="284" y="50"/>
                    <a:pt x="284" y="51"/>
                  </a:cubicBezTo>
                  <a:cubicBezTo>
                    <a:pt x="283" y="51"/>
                    <a:pt x="283" y="52"/>
                    <a:pt x="282" y="52"/>
                  </a:cubicBezTo>
                  <a:cubicBezTo>
                    <a:pt x="282" y="52"/>
                    <a:pt x="281" y="52"/>
                    <a:pt x="281" y="51"/>
                  </a:cubicBezTo>
                  <a:cubicBezTo>
                    <a:pt x="279" y="50"/>
                    <a:pt x="278" y="54"/>
                    <a:pt x="277" y="55"/>
                  </a:cubicBezTo>
                  <a:cubicBezTo>
                    <a:pt x="277" y="55"/>
                    <a:pt x="275" y="56"/>
                    <a:pt x="275" y="56"/>
                  </a:cubicBezTo>
                  <a:cubicBezTo>
                    <a:pt x="274" y="56"/>
                    <a:pt x="272" y="57"/>
                    <a:pt x="271" y="57"/>
                  </a:cubicBezTo>
                  <a:cubicBezTo>
                    <a:pt x="270" y="58"/>
                    <a:pt x="269" y="58"/>
                    <a:pt x="269" y="59"/>
                  </a:cubicBezTo>
                  <a:cubicBezTo>
                    <a:pt x="268" y="60"/>
                    <a:pt x="268" y="62"/>
                    <a:pt x="268" y="63"/>
                  </a:cubicBezTo>
                  <a:cubicBezTo>
                    <a:pt x="265" y="65"/>
                    <a:pt x="259" y="62"/>
                    <a:pt x="256" y="63"/>
                  </a:cubicBezTo>
                  <a:cubicBezTo>
                    <a:pt x="253" y="63"/>
                    <a:pt x="251" y="63"/>
                    <a:pt x="249" y="63"/>
                  </a:cubicBezTo>
                  <a:cubicBezTo>
                    <a:pt x="247" y="63"/>
                    <a:pt x="246" y="63"/>
                    <a:pt x="244" y="63"/>
                  </a:cubicBezTo>
                  <a:cubicBezTo>
                    <a:pt x="244" y="63"/>
                    <a:pt x="243" y="63"/>
                    <a:pt x="242" y="63"/>
                  </a:cubicBezTo>
                  <a:cubicBezTo>
                    <a:pt x="241" y="62"/>
                    <a:pt x="241" y="62"/>
                    <a:pt x="240" y="62"/>
                  </a:cubicBezTo>
                  <a:cubicBezTo>
                    <a:pt x="239" y="61"/>
                    <a:pt x="237" y="62"/>
                    <a:pt x="236" y="61"/>
                  </a:cubicBezTo>
                  <a:cubicBezTo>
                    <a:pt x="234" y="61"/>
                    <a:pt x="232" y="60"/>
                    <a:pt x="230" y="60"/>
                  </a:cubicBezTo>
                  <a:cubicBezTo>
                    <a:pt x="229" y="60"/>
                    <a:pt x="227" y="60"/>
                    <a:pt x="225" y="60"/>
                  </a:cubicBezTo>
                  <a:cubicBezTo>
                    <a:pt x="224" y="59"/>
                    <a:pt x="224" y="59"/>
                    <a:pt x="223" y="58"/>
                  </a:cubicBezTo>
                  <a:cubicBezTo>
                    <a:pt x="222" y="56"/>
                    <a:pt x="220" y="55"/>
                    <a:pt x="218" y="54"/>
                  </a:cubicBezTo>
                  <a:cubicBezTo>
                    <a:pt x="218" y="53"/>
                    <a:pt x="218" y="53"/>
                    <a:pt x="217" y="52"/>
                  </a:cubicBezTo>
                  <a:cubicBezTo>
                    <a:pt x="216" y="52"/>
                    <a:pt x="216" y="52"/>
                    <a:pt x="215" y="52"/>
                  </a:cubicBezTo>
                  <a:cubicBezTo>
                    <a:pt x="212" y="52"/>
                    <a:pt x="212" y="51"/>
                    <a:pt x="210" y="50"/>
                  </a:cubicBezTo>
                  <a:cubicBezTo>
                    <a:pt x="208" y="49"/>
                    <a:pt x="205" y="49"/>
                    <a:pt x="203" y="47"/>
                  </a:cubicBezTo>
                  <a:cubicBezTo>
                    <a:pt x="202" y="45"/>
                    <a:pt x="202" y="42"/>
                    <a:pt x="201" y="40"/>
                  </a:cubicBezTo>
                  <a:cubicBezTo>
                    <a:pt x="200" y="38"/>
                    <a:pt x="199" y="38"/>
                    <a:pt x="198" y="36"/>
                  </a:cubicBezTo>
                  <a:cubicBezTo>
                    <a:pt x="197" y="36"/>
                    <a:pt x="197" y="35"/>
                    <a:pt x="196" y="35"/>
                  </a:cubicBezTo>
                  <a:cubicBezTo>
                    <a:pt x="196" y="34"/>
                    <a:pt x="196" y="34"/>
                    <a:pt x="195" y="34"/>
                  </a:cubicBezTo>
                  <a:cubicBezTo>
                    <a:pt x="196" y="33"/>
                    <a:pt x="196" y="33"/>
                    <a:pt x="195" y="33"/>
                  </a:cubicBezTo>
                  <a:cubicBezTo>
                    <a:pt x="195" y="32"/>
                    <a:pt x="194" y="31"/>
                    <a:pt x="193" y="30"/>
                  </a:cubicBezTo>
                  <a:cubicBezTo>
                    <a:pt x="193" y="30"/>
                    <a:pt x="193" y="29"/>
                    <a:pt x="194" y="29"/>
                  </a:cubicBezTo>
                  <a:cubicBezTo>
                    <a:pt x="192" y="30"/>
                    <a:pt x="191" y="28"/>
                    <a:pt x="190" y="28"/>
                  </a:cubicBezTo>
                  <a:cubicBezTo>
                    <a:pt x="189" y="27"/>
                    <a:pt x="187" y="27"/>
                    <a:pt x="186" y="26"/>
                  </a:cubicBezTo>
                  <a:cubicBezTo>
                    <a:pt x="183" y="24"/>
                    <a:pt x="183" y="23"/>
                    <a:pt x="184" y="20"/>
                  </a:cubicBezTo>
                  <a:cubicBezTo>
                    <a:pt x="182" y="20"/>
                    <a:pt x="180" y="19"/>
                    <a:pt x="179" y="18"/>
                  </a:cubicBezTo>
                  <a:cubicBezTo>
                    <a:pt x="178" y="17"/>
                    <a:pt x="178" y="15"/>
                    <a:pt x="177" y="14"/>
                  </a:cubicBezTo>
                  <a:cubicBezTo>
                    <a:pt x="175" y="11"/>
                    <a:pt x="172" y="9"/>
                    <a:pt x="169" y="7"/>
                  </a:cubicBezTo>
                  <a:cubicBezTo>
                    <a:pt x="167" y="6"/>
                    <a:pt x="166" y="5"/>
                    <a:pt x="165" y="4"/>
                  </a:cubicBezTo>
                  <a:cubicBezTo>
                    <a:pt x="165" y="4"/>
                    <a:pt x="164" y="2"/>
                    <a:pt x="164" y="2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3" y="3"/>
                    <a:pt x="162" y="3"/>
                    <a:pt x="162" y="3"/>
                  </a:cubicBezTo>
                  <a:cubicBezTo>
                    <a:pt x="160" y="3"/>
                    <a:pt x="159" y="3"/>
                    <a:pt x="157" y="3"/>
                  </a:cubicBezTo>
                  <a:cubicBezTo>
                    <a:pt x="156" y="2"/>
                    <a:pt x="153" y="0"/>
                    <a:pt x="152" y="1"/>
                  </a:cubicBezTo>
                  <a:cubicBezTo>
                    <a:pt x="151" y="1"/>
                    <a:pt x="150" y="2"/>
                    <a:pt x="150" y="3"/>
                  </a:cubicBezTo>
                  <a:cubicBezTo>
                    <a:pt x="149" y="3"/>
                    <a:pt x="149" y="3"/>
                    <a:pt x="148" y="3"/>
                  </a:cubicBezTo>
                  <a:cubicBezTo>
                    <a:pt x="147" y="3"/>
                    <a:pt x="146" y="3"/>
                    <a:pt x="146" y="4"/>
                  </a:cubicBezTo>
                  <a:cubicBezTo>
                    <a:pt x="145" y="4"/>
                    <a:pt x="145" y="5"/>
                    <a:pt x="145" y="5"/>
                  </a:cubicBezTo>
                  <a:cubicBezTo>
                    <a:pt x="146" y="6"/>
                    <a:pt x="147" y="7"/>
                    <a:pt x="147" y="7"/>
                  </a:cubicBezTo>
                  <a:cubicBezTo>
                    <a:pt x="148" y="8"/>
                    <a:pt x="148" y="9"/>
                    <a:pt x="149" y="10"/>
                  </a:cubicBezTo>
                  <a:cubicBezTo>
                    <a:pt x="149" y="11"/>
                    <a:pt x="150" y="11"/>
                    <a:pt x="150" y="12"/>
                  </a:cubicBezTo>
                  <a:cubicBezTo>
                    <a:pt x="150" y="12"/>
                    <a:pt x="150" y="13"/>
                    <a:pt x="149" y="13"/>
                  </a:cubicBezTo>
                  <a:cubicBezTo>
                    <a:pt x="149" y="13"/>
                    <a:pt x="148" y="13"/>
                    <a:pt x="147" y="13"/>
                  </a:cubicBezTo>
                  <a:cubicBezTo>
                    <a:pt x="145" y="12"/>
                    <a:pt x="143" y="13"/>
                    <a:pt x="141" y="13"/>
                  </a:cubicBezTo>
                  <a:cubicBezTo>
                    <a:pt x="140" y="14"/>
                    <a:pt x="139" y="14"/>
                    <a:pt x="139" y="15"/>
                  </a:cubicBezTo>
                  <a:cubicBezTo>
                    <a:pt x="139" y="15"/>
                    <a:pt x="139" y="16"/>
                    <a:pt x="139" y="16"/>
                  </a:cubicBezTo>
                  <a:cubicBezTo>
                    <a:pt x="139" y="17"/>
                    <a:pt x="139" y="17"/>
                    <a:pt x="138" y="17"/>
                  </a:cubicBezTo>
                  <a:cubicBezTo>
                    <a:pt x="137" y="17"/>
                    <a:pt x="135" y="16"/>
                    <a:pt x="134" y="17"/>
                  </a:cubicBezTo>
                  <a:cubicBezTo>
                    <a:pt x="133" y="17"/>
                    <a:pt x="134" y="19"/>
                    <a:pt x="133" y="20"/>
                  </a:cubicBezTo>
                  <a:cubicBezTo>
                    <a:pt x="132" y="20"/>
                    <a:pt x="131" y="20"/>
                    <a:pt x="130" y="20"/>
                  </a:cubicBezTo>
                  <a:cubicBezTo>
                    <a:pt x="129" y="20"/>
                    <a:pt x="127" y="21"/>
                    <a:pt x="127" y="22"/>
                  </a:cubicBezTo>
                  <a:cubicBezTo>
                    <a:pt x="126" y="23"/>
                    <a:pt x="126" y="23"/>
                    <a:pt x="125" y="23"/>
                  </a:cubicBezTo>
                  <a:cubicBezTo>
                    <a:pt x="125" y="24"/>
                    <a:pt x="124" y="24"/>
                    <a:pt x="123" y="24"/>
                  </a:cubicBezTo>
                  <a:cubicBezTo>
                    <a:pt x="122" y="24"/>
                    <a:pt x="123" y="24"/>
                    <a:pt x="122" y="25"/>
                  </a:cubicBezTo>
                  <a:cubicBezTo>
                    <a:pt x="121" y="25"/>
                    <a:pt x="121" y="27"/>
                    <a:pt x="120" y="28"/>
                  </a:cubicBezTo>
                  <a:cubicBezTo>
                    <a:pt x="120" y="28"/>
                    <a:pt x="119" y="28"/>
                    <a:pt x="118" y="28"/>
                  </a:cubicBezTo>
                  <a:cubicBezTo>
                    <a:pt x="118" y="28"/>
                    <a:pt x="117" y="27"/>
                    <a:pt x="116" y="28"/>
                  </a:cubicBezTo>
                  <a:cubicBezTo>
                    <a:pt x="115" y="28"/>
                    <a:pt x="115" y="29"/>
                    <a:pt x="114" y="30"/>
                  </a:cubicBezTo>
                  <a:cubicBezTo>
                    <a:pt x="113" y="31"/>
                    <a:pt x="112" y="32"/>
                    <a:pt x="112" y="34"/>
                  </a:cubicBezTo>
                  <a:cubicBezTo>
                    <a:pt x="112" y="34"/>
                    <a:pt x="113" y="35"/>
                    <a:pt x="113" y="35"/>
                  </a:cubicBezTo>
                  <a:cubicBezTo>
                    <a:pt x="114" y="36"/>
                    <a:pt x="114" y="37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6" y="39"/>
                    <a:pt x="116" y="39"/>
                  </a:cubicBezTo>
                  <a:cubicBezTo>
                    <a:pt x="116" y="40"/>
                    <a:pt x="117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0" y="41"/>
                    <a:pt x="120" y="42"/>
                    <a:pt x="121" y="43"/>
                  </a:cubicBezTo>
                  <a:cubicBezTo>
                    <a:pt x="122" y="43"/>
                    <a:pt x="122" y="45"/>
                    <a:pt x="123" y="45"/>
                  </a:cubicBezTo>
                  <a:cubicBezTo>
                    <a:pt x="124" y="46"/>
                    <a:pt x="125" y="45"/>
                    <a:pt x="125" y="45"/>
                  </a:cubicBezTo>
                  <a:cubicBezTo>
                    <a:pt x="127" y="46"/>
                    <a:pt x="127" y="48"/>
                    <a:pt x="128" y="49"/>
                  </a:cubicBezTo>
                  <a:cubicBezTo>
                    <a:pt x="128" y="50"/>
                    <a:pt x="128" y="51"/>
                    <a:pt x="129" y="51"/>
                  </a:cubicBezTo>
                  <a:cubicBezTo>
                    <a:pt x="129" y="52"/>
                    <a:pt x="129" y="51"/>
                    <a:pt x="129" y="52"/>
                  </a:cubicBezTo>
                  <a:cubicBezTo>
                    <a:pt x="130" y="52"/>
                    <a:pt x="131" y="52"/>
                    <a:pt x="132" y="52"/>
                  </a:cubicBezTo>
                  <a:cubicBezTo>
                    <a:pt x="132" y="52"/>
                    <a:pt x="132" y="54"/>
                    <a:pt x="132" y="54"/>
                  </a:cubicBezTo>
                  <a:cubicBezTo>
                    <a:pt x="133" y="56"/>
                    <a:pt x="135" y="58"/>
                    <a:pt x="134" y="59"/>
                  </a:cubicBezTo>
                  <a:cubicBezTo>
                    <a:pt x="134" y="61"/>
                    <a:pt x="132" y="61"/>
                    <a:pt x="130" y="61"/>
                  </a:cubicBezTo>
                  <a:cubicBezTo>
                    <a:pt x="130" y="61"/>
                    <a:pt x="129" y="61"/>
                    <a:pt x="128" y="61"/>
                  </a:cubicBezTo>
                  <a:cubicBezTo>
                    <a:pt x="126" y="61"/>
                    <a:pt x="124" y="60"/>
                    <a:pt x="123" y="59"/>
                  </a:cubicBezTo>
                  <a:cubicBezTo>
                    <a:pt x="122" y="59"/>
                    <a:pt x="121" y="58"/>
                    <a:pt x="120" y="58"/>
                  </a:cubicBezTo>
                  <a:cubicBezTo>
                    <a:pt x="120" y="57"/>
                    <a:pt x="117" y="56"/>
                    <a:pt x="117" y="57"/>
                  </a:cubicBezTo>
                  <a:cubicBezTo>
                    <a:pt x="117" y="57"/>
                    <a:pt x="116" y="57"/>
                    <a:pt x="116" y="57"/>
                  </a:cubicBezTo>
                  <a:cubicBezTo>
                    <a:pt x="116" y="57"/>
                    <a:pt x="116" y="58"/>
                    <a:pt x="116" y="59"/>
                  </a:cubicBezTo>
                  <a:cubicBezTo>
                    <a:pt x="114" y="59"/>
                    <a:pt x="113" y="57"/>
                    <a:pt x="111" y="58"/>
                  </a:cubicBezTo>
                  <a:cubicBezTo>
                    <a:pt x="110" y="58"/>
                    <a:pt x="111" y="58"/>
                    <a:pt x="110" y="58"/>
                  </a:cubicBezTo>
                  <a:cubicBezTo>
                    <a:pt x="109" y="57"/>
                    <a:pt x="109" y="57"/>
                    <a:pt x="108" y="57"/>
                  </a:cubicBezTo>
                  <a:cubicBezTo>
                    <a:pt x="107" y="57"/>
                    <a:pt x="107" y="57"/>
                    <a:pt x="106" y="58"/>
                  </a:cubicBezTo>
                  <a:cubicBezTo>
                    <a:pt x="105" y="58"/>
                    <a:pt x="104" y="58"/>
                    <a:pt x="103" y="59"/>
                  </a:cubicBezTo>
                  <a:cubicBezTo>
                    <a:pt x="102" y="59"/>
                    <a:pt x="102" y="60"/>
                    <a:pt x="101" y="60"/>
                  </a:cubicBezTo>
                  <a:cubicBezTo>
                    <a:pt x="100" y="61"/>
                    <a:pt x="99" y="62"/>
                    <a:pt x="99" y="63"/>
                  </a:cubicBezTo>
                  <a:cubicBezTo>
                    <a:pt x="98" y="63"/>
                    <a:pt x="97" y="64"/>
                    <a:pt x="97" y="64"/>
                  </a:cubicBezTo>
                  <a:cubicBezTo>
                    <a:pt x="97" y="66"/>
                    <a:pt x="99" y="66"/>
                    <a:pt x="99" y="68"/>
                  </a:cubicBezTo>
                  <a:cubicBezTo>
                    <a:pt x="99" y="68"/>
                    <a:pt x="99" y="68"/>
                    <a:pt x="99" y="69"/>
                  </a:cubicBezTo>
                  <a:cubicBezTo>
                    <a:pt x="97" y="70"/>
                    <a:pt x="96" y="70"/>
                    <a:pt x="96" y="72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4"/>
                    <a:pt x="96" y="75"/>
                    <a:pt x="96" y="76"/>
                  </a:cubicBezTo>
                  <a:cubicBezTo>
                    <a:pt x="96" y="77"/>
                    <a:pt x="96" y="78"/>
                    <a:pt x="96" y="79"/>
                  </a:cubicBezTo>
                  <a:cubicBezTo>
                    <a:pt x="96" y="80"/>
                    <a:pt x="96" y="80"/>
                    <a:pt x="96" y="81"/>
                  </a:cubicBezTo>
                  <a:cubicBezTo>
                    <a:pt x="96" y="81"/>
                    <a:pt x="96" y="81"/>
                    <a:pt x="97" y="82"/>
                  </a:cubicBezTo>
                  <a:cubicBezTo>
                    <a:pt x="98" y="83"/>
                    <a:pt x="98" y="83"/>
                    <a:pt x="97" y="84"/>
                  </a:cubicBezTo>
                  <a:cubicBezTo>
                    <a:pt x="96" y="85"/>
                    <a:pt x="94" y="87"/>
                    <a:pt x="92" y="87"/>
                  </a:cubicBezTo>
                  <a:cubicBezTo>
                    <a:pt x="91" y="87"/>
                    <a:pt x="91" y="86"/>
                    <a:pt x="90" y="87"/>
                  </a:cubicBezTo>
                  <a:cubicBezTo>
                    <a:pt x="90" y="87"/>
                    <a:pt x="90" y="88"/>
                    <a:pt x="90" y="88"/>
                  </a:cubicBezTo>
                  <a:cubicBezTo>
                    <a:pt x="89" y="88"/>
                    <a:pt x="89" y="89"/>
                    <a:pt x="89" y="89"/>
                  </a:cubicBezTo>
                  <a:cubicBezTo>
                    <a:pt x="88" y="89"/>
                    <a:pt x="88" y="89"/>
                    <a:pt x="87" y="89"/>
                  </a:cubicBezTo>
                  <a:cubicBezTo>
                    <a:pt x="84" y="89"/>
                    <a:pt x="82" y="87"/>
                    <a:pt x="80" y="85"/>
                  </a:cubicBezTo>
                  <a:cubicBezTo>
                    <a:pt x="80" y="85"/>
                    <a:pt x="79" y="84"/>
                    <a:pt x="79" y="83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77" y="83"/>
                    <a:pt x="77" y="83"/>
                    <a:pt x="77" y="82"/>
                  </a:cubicBezTo>
                  <a:cubicBezTo>
                    <a:pt x="76" y="82"/>
                    <a:pt x="76" y="81"/>
                    <a:pt x="75" y="80"/>
                  </a:cubicBezTo>
                  <a:cubicBezTo>
                    <a:pt x="74" y="79"/>
                    <a:pt x="74" y="80"/>
                    <a:pt x="74" y="81"/>
                  </a:cubicBezTo>
                  <a:cubicBezTo>
                    <a:pt x="74" y="82"/>
                    <a:pt x="73" y="82"/>
                    <a:pt x="72" y="83"/>
                  </a:cubicBezTo>
                  <a:cubicBezTo>
                    <a:pt x="72" y="84"/>
                    <a:pt x="72" y="84"/>
                    <a:pt x="71" y="84"/>
                  </a:cubicBezTo>
                  <a:cubicBezTo>
                    <a:pt x="70" y="84"/>
                    <a:pt x="68" y="84"/>
                    <a:pt x="67" y="84"/>
                  </a:cubicBezTo>
                  <a:cubicBezTo>
                    <a:pt x="67" y="83"/>
                    <a:pt x="66" y="82"/>
                    <a:pt x="66" y="82"/>
                  </a:cubicBezTo>
                  <a:cubicBezTo>
                    <a:pt x="66" y="81"/>
                    <a:pt x="65" y="80"/>
                    <a:pt x="65" y="79"/>
                  </a:cubicBezTo>
                  <a:cubicBezTo>
                    <a:pt x="64" y="78"/>
                    <a:pt x="64" y="78"/>
                    <a:pt x="63" y="78"/>
                  </a:cubicBezTo>
                  <a:cubicBezTo>
                    <a:pt x="63" y="78"/>
                    <a:pt x="62" y="77"/>
                    <a:pt x="61" y="77"/>
                  </a:cubicBezTo>
                  <a:cubicBezTo>
                    <a:pt x="61" y="76"/>
                    <a:pt x="60" y="75"/>
                    <a:pt x="59" y="75"/>
                  </a:cubicBezTo>
                  <a:cubicBezTo>
                    <a:pt x="58" y="74"/>
                    <a:pt x="57" y="74"/>
                    <a:pt x="56" y="73"/>
                  </a:cubicBezTo>
                  <a:cubicBezTo>
                    <a:pt x="55" y="72"/>
                    <a:pt x="56" y="71"/>
                    <a:pt x="55" y="71"/>
                  </a:cubicBezTo>
                  <a:cubicBezTo>
                    <a:pt x="55" y="71"/>
                    <a:pt x="55" y="72"/>
                    <a:pt x="55" y="72"/>
                  </a:cubicBezTo>
                  <a:cubicBezTo>
                    <a:pt x="54" y="73"/>
                    <a:pt x="54" y="73"/>
                    <a:pt x="53" y="74"/>
                  </a:cubicBezTo>
                  <a:cubicBezTo>
                    <a:pt x="53" y="75"/>
                    <a:pt x="52" y="76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4" y="78"/>
                    <a:pt x="54" y="78"/>
                    <a:pt x="54" y="79"/>
                  </a:cubicBezTo>
                  <a:cubicBezTo>
                    <a:pt x="54" y="80"/>
                    <a:pt x="55" y="81"/>
                    <a:pt x="55" y="82"/>
                  </a:cubicBezTo>
                  <a:cubicBezTo>
                    <a:pt x="56" y="82"/>
                    <a:pt x="56" y="83"/>
                    <a:pt x="57" y="84"/>
                  </a:cubicBezTo>
                  <a:cubicBezTo>
                    <a:pt x="58" y="84"/>
                    <a:pt x="58" y="85"/>
                    <a:pt x="58" y="86"/>
                  </a:cubicBezTo>
                  <a:cubicBezTo>
                    <a:pt x="57" y="87"/>
                    <a:pt x="54" y="89"/>
                    <a:pt x="53" y="89"/>
                  </a:cubicBezTo>
                  <a:cubicBezTo>
                    <a:pt x="52" y="89"/>
                    <a:pt x="51" y="88"/>
                    <a:pt x="50" y="88"/>
                  </a:cubicBezTo>
                  <a:cubicBezTo>
                    <a:pt x="50" y="89"/>
                    <a:pt x="50" y="89"/>
                    <a:pt x="49" y="90"/>
                  </a:cubicBezTo>
                  <a:cubicBezTo>
                    <a:pt x="49" y="90"/>
                    <a:pt x="49" y="90"/>
                    <a:pt x="48" y="90"/>
                  </a:cubicBezTo>
                  <a:cubicBezTo>
                    <a:pt x="48" y="90"/>
                    <a:pt x="47" y="90"/>
                    <a:pt x="47" y="90"/>
                  </a:cubicBezTo>
                  <a:cubicBezTo>
                    <a:pt x="47" y="90"/>
                    <a:pt x="46" y="90"/>
                    <a:pt x="46" y="89"/>
                  </a:cubicBezTo>
                  <a:cubicBezTo>
                    <a:pt x="45" y="89"/>
                    <a:pt x="44" y="88"/>
                    <a:pt x="43" y="88"/>
                  </a:cubicBezTo>
                  <a:cubicBezTo>
                    <a:pt x="42" y="87"/>
                    <a:pt x="41" y="87"/>
                    <a:pt x="40" y="86"/>
                  </a:cubicBezTo>
                  <a:cubicBezTo>
                    <a:pt x="39" y="86"/>
                    <a:pt x="39" y="85"/>
                    <a:pt x="38" y="84"/>
                  </a:cubicBezTo>
                  <a:cubicBezTo>
                    <a:pt x="36" y="83"/>
                    <a:pt x="34" y="84"/>
                    <a:pt x="32" y="8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1" y="83"/>
                    <a:pt x="31" y="83"/>
                    <a:pt x="30" y="83"/>
                  </a:cubicBezTo>
                  <a:cubicBezTo>
                    <a:pt x="29" y="82"/>
                    <a:pt x="29" y="82"/>
                    <a:pt x="28" y="82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6" y="82"/>
                    <a:pt x="24" y="84"/>
                    <a:pt x="24" y="85"/>
                  </a:cubicBezTo>
                  <a:cubicBezTo>
                    <a:pt x="23" y="85"/>
                    <a:pt x="23" y="85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2" y="87"/>
                    <a:pt x="21" y="89"/>
                    <a:pt x="19" y="89"/>
                  </a:cubicBezTo>
                  <a:cubicBezTo>
                    <a:pt x="19" y="89"/>
                    <a:pt x="18" y="88"/>
                    <a:pt x="18" y="88"/>
                  </a:cubicBezTo>
                  <a:cubicBezTo>
                    <a:pt x="17" y="87"/>
                    <a:pt x="16" y="87"/>
                    <a:pt x="15" y="87"/>
                  </a:cubicBezTo>
                  <a:cubicBezTo>
                    <a:pt x="14" y="87"/>
                    <a:pt x="13" y="87"/>
                    <a:pt x="12" y="87"/>
                  </a:cubicBezTo>
                  <a:cubicBezTo>
                    <a:pt x="12" y="87"/>
                    <a:pt x="11" y="87"/>
                    <a:pt x="10" y="86"/>
                  </a:cubicBezTo>
                  <a:cubicBezTo>
                    <a:pt x="10" y="86"/>
                    <a:pt x="9" y="86"/>
                    <a:pt x="8" y="86"/>
                  </a:cubicBezTo>
                  <a:cubicBezTo>
                    <a:pt x="8" y="85"/>
                    <a:pt x="7" y="84"/>
                    <a:pt x="7" y="83"/>
                  </a:cubicBezTo>
                  <a:cubicBezTo>
                    <a:pt x="6" y="83"/>
                    <a:pt x="7" y="83"/>
                    <a:pt x="6" y="82"/>
                  </a:cubicBezTo>
                  <a:cubicBezTo>
                    <a:pt x="6" y="82"/>
                    <a:pt x="6" y="82"/>
                    <a:pt x="5" y="82"/>
                  </a:cubicBezTo>
                  <a:cubicBezTo>
                    <a:pt x="5" y="81"/>
                    <a:pt x="5" y="80"/>
                    <a:pt x="4" y="80"/>
                  </a:cubicBezTo>
                  <a:cubicBezTo>
                    <a:pt x="5" y="80"/>
                    <a:pt x="6" y="79"/>
                    <a:pt x="6" y="79"/>
                  </a:cubicBezTo>
                  <a:cubicBezTo>
                    <a:pt x="5" y="79"/>
                    <a:pt x="4" y="79"/>
                    <a:pt x="4" y="80"/>
                  </a:cubicBezTo>
                  <a:cubicBezTo>
                    <a:pt x="3" y="80"/>
                    <a:pt x="3" y="81"/>
                    <a:pt x="2" y="81"/>
                  </a:cubicBezTo>
                  <a:cubicBezTo>
                    <a:pt x="2" y="82"/>
                    <a:pt x="2" y="82"/>
                    <a:pt x="2" y="83"/>
                  </a:cubicBezTo>
                  <a:cubicBezTo>
                    <a:pt x="2" y="85"/>
                    <a:pt x="1" y="85"/>
                    <a:pt x="1" y="87"/>
                  </a:cubicBezTo>
                  <a:cubicBezTo>
                    <a:pt x="0" y="89"/>
                    <a:pt x="0" y="93"/>
                    <a:pt x="2" y="93"/>
                  </a:cubicBezTo>
                  <a:cubicBezTo>
                    <a:pt x="3" y="94"/>
                    <a:pt x="2" y="96"/>
                    <a:pt x="3" y="98"/>
                  </a:cubicBezTo>
                  <a:cubicBezTo>
                    <a:pt x="3" y="99"/>
                    <a:pt x="4" y="100"/>
                    <a:pt x="4" y="101"/>
                  </a:cubicBezTo>
                  <a:cubicBezTo>
                    <a:pt x="4" y="105"/>
                    <a:pt x="3" y="107"/>
                    <a:pt x="1" y="110"/>
                  </a:cubicBezTo>
                  <a:cubicBezTo>
                    <a:pt x="0" y="112"/>
                    <a:pt x="2" y="113"/>
                    <a:pt x="4" y="114"/>
                  </a:cubicBezTo>
                  <a:cubicBezTo>
                    <a:pt x="8" y="119"/>
                    <a:pt x="13" y="121"/>
                    <a:pt x="16" y="127"/>
                  </a:cubicBezTo>
                  <a:cubicBezTo>
                    <a:pt x="18" y="129"/>
                    <a:pt x="19" y="131"/>
                    <a:pt x="19" y="133"/>
                  </a:cubicBezTo>
                  <a:cubicBezTo>
                    <a:pt x="20" y="134"/>
                    <a:pt x="20" y="137"/>
                    <a:pt x="20" y="137"/>
                  </a:cubicBezTo>
                  <a:cubicBezTo>
                    <a:pt x="21" y="137"/>
                    <a:pt x="23" y="137"/>
                    <a:pt x="24" y="137"/>
                  </a:cubicBezTo>
                  <a:cubicBezTo>
                    <a:pt x="24" y="136"/>
                    <a:pt x="23" y="136"/>
                    <a:pt x="23" y="136"/>
                  </a:cubicBezTo>
                  <a:cubicBezTo>
                    <a:pt x="23" y="135"/>
                    <a:pt x="23" y="135"/>
                    <a:pt x="23" y="134"/>
                  </a:cubicBezTo>
                  <a:cubicBezTo>
                    <a:pt x="22" y="132"/>
                    <a:pt x="23" y="132"/>
                    <a:pt x="25" y="131"/>
                  </a:cubicBezTo>
                  <a:cubicBezTo>
                    <a:pt x="26" y="129"/>
                    <a:pt x="27" y="128"/>
                    <a:pt x="27" y="126"/>
                  </a:cubicBezTo>
                  <a:cubicBezTo>
                    <a:pt x="28" y="125"/>
                    <a:pt x="28" y="123"/>
                    <a:pt x="30" y="124"/>
                  </a:cubicBezTo>
                  <a:cubicBezTo>
                    <a:pt x="30" y="125"/>
                    <a:pt x="30" y="128"/>
                    <a:pt x="32" y="128"/>
                  </a:cubicBezTo>
                  <a:cubicBezTo>
                    <a:pt x="33" y="127"/>
                    <a:pt x="32" y="126"/>
                    <a:pt x="32" y="125"/>
                  </a:cubicBezTo>
                  <a:cubicBezTo>
                    <a:pt x="31" y="122"/>
                    <a:pt x="33" y="118"/>
                    <a:pt x="34" y="115"/>
                  </a:cubicBezTo>
                  <a:cubicBezTo>
                    <a:pt x="35" y="113"/>
                    <a:pt x="36" y="111"/>
                    <a:pt x="37" y="109"/>
                  </a:cubicBezTo>
                  <a:cubicBezTo>
                    <a:pt x="39" y="106"/>
                    <a:pt x="41" y="104"/>
                    <a:pt x="42" y="101"/>
                  </a:cubicBezTo>
                  <a:cubicBezTo>
                    <a:pt x="44" y="98"/>
                    <a:pt x="45" y="96"/>
                    <a:pt x="48" y="96"/>
                  </a:cubicBezTo>
                  <a:cubicBezTo>
                    <a:pt x="48" y="97"/>
                    <a:pt x="47" y="98"/>
                    <a:pt x="47" y="99"/>
                  </a:cubicBezTo>
                  <a:cubicBezTo>
                    <a:pt x="47" y="101"/>
                    <a:pt x="49" y="101"/>
                    <a:pt x="50" y="102"/>
                  </a:cubicBezTo>
                  <a:cubicBezTo>
                    <a:pt x="52" y="103"/>
                    <a:pt x="54" y="104"/>
                    <a:pt x="54" y="106"/>
                  </a:cubicBezTo>
                  <a:cubicBezTo>
                    <a:pt x="54" y="107"/>
                    <a:pt x="54" y="108"/>
                    <a:pt x="54" y="109"/>
                  </a:cubicBezTo>
                  <a:cubicBezTo>
                    <a:pt x="54" y="109"/>
                    <a:pt x="52" y="111"/>
                    <a:pt x="52" y="112"/>
                  </a:cubicBezTo>
                  <a:cubicBezTo>
                    <a:pt x="52" y="112"/>
                    <a:pt x="51" y="113"/>
                    <a:pt x="51" y="114"/>
                  </a:cubicBezTo>
                  <a:cubicBezTo>
                    <a:pt x="50" y="115"/>
                    <a:pt x="50" y="115"/>
                    <a:pt x="49" y="116"/>
                  </a:cubicBezTo>
                  <a:cubicBezTo>
                    <a:pt x="48" y="119"/>
                    <a:pt x="50" y="119"/>
                    <a:pt x="53" y="121"/>
                  </a:cubicBezTo>
                  <a:cubicBezTo>
                    <a:pt x="55" y="122"/>
                    <a:pt x="57" y="123"/>
                    <a:pt x="59" y="123"/>
                  </a:cubicBezTo>
                  <a:cubicBezTo>
                    <a:pt x="61" y="124"/>
                    <a:pt x="63" y="125"/>
                    <a:pt x="64" y="125"/>
                  </a:cubicBezTo>
                  <a:cubicBezTo>
                    <a:pt x="65" y="124"/>
                    <a:pt x="65" y="123"/>
                    <a:pt x="67" y="122"/>
                  </a:cubicBezTo>
                  <a:cubicBezTo>
                    <a:pt x="68" y="122"/>
                    <a:pt x="70" y="122"/>
                    <a:pt x="71" y="123"/>
                  </a:cubicBezTo>
                  <a:cubicBezTo>
                    <a:pt x="72" y="123"/>
                    <a:pt x="72" y="123"/>
                    <a:pt x="72" y="124"/>
                  </a:cubicBezTo>
                  <a:cubicBezTo>
                    <a:pt x="72" y="124"/>
                    <a:pt x="72" y="124"/>
                    <a:pt x="73" y="124"/>
                  </a:cubicBezTo>
                  <a:cubicBezTo>
                    <a:pt x="73" y="125"/>
                    <a:pt x="73" y="124"/>
                    <a:pt x="73" y="125"/>
                  </a:cubicBezTo>
                  <a:cubicBezTo>
                    <a:pt x="74" y="128"/>
                    <a:pt x="70" y="129"/>
                    <a:pt x="70" y="130"/>
                  </a:cubicBezTo>
                  <a:cubicBezTo>
                    <a:pt x="70" y="131"/>
                    <a:pt x="71" y="132"/>
                    <a:pt x="71" y="133"/>
                  </a:cubicBezTo>
                  <a:cubicBezTo>
                    <a:pt x="71" y="134"/>
                    <a:pt x="71" y="136"/>
                    <a:pt x="71" y="137"/>
                  </a:cubicBezTo>
                  <a:cubicBezTo>
                    <a:pt x="71" y="138"/>
                    <a:pt x="70" y="139"/>
                    <a:pt x="70" y="140"/>
                  </a:cubicBezTo>
                  <a:cubicBezTo>
                    <a:pt x="70" y="141"/>
                    <a:pt x="71" y="143"/>
                    <a:pt x="72" y="144"/>
                  </a:cubicBezTo>
                  <a:cubicBezTo>
                    <a:pt x="72" y="146"/>
                    <a:pt x="73" y="148"/>
                    <a:pt x="74" y="150"/>
                  </a:cubicBezTo>
                  <a:cubicBezTo>
                    <a:pt x="74" y="150"/>
                    <a:pt x="75" y="150"/>
                    <a:pt x="75" y="151"/>
                  </a:cubicBezTo>
                  <a:cubicBezTo>
                    <a:pt x="75" y="151"/>
                    <a:pt x="75" y="152"/>
                    <a:pt x="76" y="153"/>
                  </a:cubicBezTo>
                  <a:cubicBezTo>
                    <a:pt x="77" y="157"/>
                    <a:pt x="80" y="160"/>
                    <a:pt x="82" y="163"/>
                  </a:cubicBezTo>
                  <a:cubicBezTo>
                    <a:pt x="83" y="165"/>
                    <a:pt x="84" y="166"/>
                    <a:pt x="85" y="167"/>
                  </a:cubicBezTo>
                  <a:cubicBezTo>
                    <a:pt x="86" y="168"/>
                    <a:pt x="89" y="169"/>
                    <a:pt x="90" y="172"/>
                  </a:cubicBezTo>
                  <a:cubicBezTo>
                    <a:pt x="90" y="173"/>
                    <a:pt x="89" y="174"/>
                    <a:pt x="90" y="175"/>
                  </a:cubicBezTo>
                  <a:cubicBezTo>
                    <a:pt x="90" y="176"/>
                    <a:pt x="94" y="177"/>
                    <a:pt x="93" y="179"/>
                  </a:cubicBezTo>
                  <a:cubicBezTo>
                    <a:pt x="93" y="180"/>
                    <a:pt x="92" y="180"/>
                    <a:pt x="92" y="181"/>
                  </a:cubicBezTo>
                  <a:cubicBezTo>
                    <a:pt x="91" y="181"/>
                    <a:pt x="92" y="182"/>
                    <a:pt x="91" y="182"/>
                  </a:cubicBezTo>
                  <a:cubicBezTo>
                    <a:pt x="90" y="184"/>
                    <a:pt x="87" y="183"/>
                    <a:pt x="85" y="184"/>
                  </a:cubicBezTo>
                  <a:cubicBezTo>
                    <a:pt x="82" y="186"/>
                    <a:pt x="85" y="189"/>
                    <a:pt x="86" y="190"/>
                  </a:cubicBezTo>
                  <a:cubicBezTo>
                    <a:pt x="88" y="193"/>
                    <a:pt x="90" y="197"/>
                    <a:pt x="92" y="200"/>
                  </a:cubicBezTo>
                  <a:cubicBezTo>
                    <a:pt x="93" y="201"/>
                    <a:pt x="94" y="202"/>
                    <a:pt x="95" y="203"/>
                  </a:cubicBezTo>
                  <a:cubicBezTo>
                    <a:pt x="96" y="203"/>
                    <a:pt x="96" y="204"/>
                    <a:pt x="97" y="205"/>
                  </a:cubicBezTo>
                  <a:cubicBezTo>
                    <a:pt x="98" y="206"/>
                    <a:pt x="98" y="207"/>
                    <a:pt x="99" y="208"/>
                  </a:cubicBezTo>
                  <a:cubicBezTo>
                    <a:pt x="99" y="209"/>
                    <a:pt x="99" y="211"/>
                    <a:pt x="100" y="212"/>
                  </a:cubicBezTo>
                  <a:cubicBezTo>
                    <a:pt x="101" y="212"/>
                    <a:pt x="103" y="212"/>
                    <a:pt x="103" y="212"/>
                  </a:cubicBezTo>
                  <a:cubicBezTo>
                    <a:pt x="104" y="213"/>
                    <a:pt x="103" y="214"/>
                    <a:pt x="104" y="215"/>
                  </a:cubicBezTo>
                  <a:cubicBezTo>
                    <a:pt x="104" y="215"/>
                    <a:pt x="105" y="216"/>
                    <a:pt x="106" y="217"/>
                  </a:cubicBezTo>
                  <a:cubicBezTo>
                    <a:pt x="107" y="219"/>
                    <a:pt x="111" y="220"/>
                    <a:pt x="111" y="222"/>
                  </a:cubicBezTo>
                  <a:cubicBezTo>
                    <a:pt x="112" y="223"/>
                    <a:pt x="111" y="224"/>
                    <a:pt x="112" y="225"/>
                  </a:cubicBezTo>
                  <a:cubicBezTo>
                    <a:pt x="113" y="226"/>
                    <a:pt x="114" y="226"/>
                    <a:pt x="115" y="227"/>
                  </a:cubicBezTo>
                  <a:cubicBezTo>
                    <a:pt x="116" y="228"/>
                    <a:pt x="116" y="228"/>
                    <a:pt x="117" y="228"/>
                  </a:cubicBezTo>
                  <a:cubicBezTo>
                    <a:pt x="117" y="229"/>
                    <a:pt x="118" y="229"/>
                    <a:pt x="118" y="230"/>
                  </a:cubicBezTo>
                  <a:cubicBezTo>
                    <a:pt x="119" y="232"/>
                    <a:pt x="119" y="233"/>
                    <a:pt x="119" y="235"/>
                  </a:cubicBezTo>
                  <a:cubicBezTo>
                    <a:pt x="119" y="236"/>
                    <a:pt x="119" y="237"/>
                    <a:pt x="120" y="238"/>
                  </a:cubicBezTo>
                  <a:cubicBezTo>
                    <a:pt x="120" y="240"/>
                    <a:pt x="122" y="240"/>
                    <a:pt x="123" y="240"/>
                  </a:cubicBezTo>
                  <a:cubicBezTo>
                    <a:pt x="125" y="240"/>
                    <a:pt x="126" y="240"/>
                    <a:pt x="127" y="241"/>
                  </a:cubicBezTo>
                  <a:cubicBezTo>
                    <a:pt x="128" y="241"/>
                    <a:pt x="128" y="242"/>
                    <a:pt x="128" y="242"/>
                  </a:cubicBezTo>
                  <a:cubicBezTo>
                    <a:pt x="129" y="242"/>
                    <a:pt x="131" y="242"/>
                    <a:pt x="133" y="242"/>
                  </a:cubicBezTo>
                  <a:cubicBezTo>
                    <a:pt x="133" y="242"/>
                    <a:pt x="134" y="242"/>
                    <a:pt x="134" y="242"/>
                  </a:cubicBezTo>
                  <a:cubicBezTo>
                    <a:pt x="135" y="242"/>
                    <a:pt x="135" y="241"/>
                    <a:pt x="136" y="241"/>
                  </a:cubicBezTo>
                  <a:cubicBezTo>
                    <a:pt x="137" y="241"/>
                    <a:pt x="138" y="241"/>
                    <a:pt x="139" y="241"/>
                  </a:cubicBezTo>
                  <a:cubicBezTo>
                    <a:pt x="142" y="241"/>
                    <a:pt x="144" y="239"/>
                    <a:pt x="146" y="240"/>
                  </a:cubicBezTo>
                  <a:cubicBezTo>
                    <a:pt x="148" y="241"/>
                    <a:pt x="149" y="241"/>
                    <a:pt x="150" y="242"/>
                  </a:cubicBezTo>
                  <a:cubicBezTo>
                    <a:pt x="152" y="243"/>
                    <a:pt x="153" y="243"/>
                    <a:pt x="155" y="244"/>
                  </a:cubicBezTo>
                  <a:cubicBezTo>
                    <a:pt x="156" y="245"/>
                    <a:pt x="156" y="245"/>
                    <a:pt x="157" y="246"/>
                  </a:cubicBezTo>
                  <a:cubicBezTo>
                    <a:pt x="159" y="248"/>
                    <a:pt x="160" y="249"/>
                    <a:pt x="163" y="251"/>
                  </a:cubicBezTo>
                  <a:cubicBezTo>
                    <a:pt x="166" y="253"/>
                    <a:pt x="169" y="253"/>
                    <a:pt x="171" y="254"/>
                  </a:cubicBezTo>
                  <a:cubicBezTo>
                    <a:pt x="173" y="255"/>
                    <a:pt x="174" y="257"/>
                    <a:pt x="176" y="259"/>
                  </a:cubicBezTo>
                  <a:cubicBezTo>
                    <a:pt x="178" y="263"/>
                    <a:pt x="182" y="265"/>
                    <a:pt x="185" y="269"/>
                  </a:cubicBezTo>
                  <a:cubicBezTo>
                    <a:pt x="187" y="271"/>
                    <a:pt x="188" y="273"/>
                    <a:pt x="190" y="275"/>
                  </a:cubicBezTo>
                  <a:cubicBezTo>
                    <a:pt x="194" y="278"/>
                    <a:pt x="198" y="282"/>
                    <a:pt x="200" y="287"/>
                  </a:cubicBezTo>
                  <a:cubicBezTo>
                    <a:pt x="201" y="288"/>
                    <a:pt x="202" y="291"/>
                    <a:pt x="204" y="291"/>
                  </a:cubicBezTo>
                  <a:cubicBezTo>
                    <a:pt x="205" y="291"/>
                    <a:pt x="209" y="291"/>
                    <a:pt x="210" y="290"/>
                  </a:cubicBezTo>
                  <a:cubicBezTo>
                    <a:pt x="209" y="290"/>
                    <a:pt x="209" y="289"/>
                    <a:pt x="209" y="289"/>
                  </a:cubicBezTo>
                  <a:cubicBezTo>
                    <a:pt x="209" y="289"/>
                    <a:pt x="208" y="288"/>
                    <a:pt x="208" y="288"/>
                  </a:cubicBezTo>
                  <a:cubicBezTo>
                    <a:pt x="207" y="287"/>
                    <a:pt x="208" y="286"/>
                    <a:pt x="207" y="285"/>
                  </a:cubicBezTo>
                  <a:cubicBezTo>
                    <a:pt x="207" y="283"/>
                    <a:pt x="204" y="281"/>
                    <a:pt x="202" y="278"/>
                  </a:cubicBezTo>
                  <a:cubicBezTo>
                    <a:pt x="202" y="277"/>
                    <a:pt x="202" y="276"/>
                    <a:pt x="201" y="276"/>
                  </a:cubicBezTo>
                  <a:cubicBezTo>
                    <a:pt x="200" y="275"/>
                    <a:pt x="196" y="275"/>
                    <a:pt x="195" y="274"/>
                  </a:cubicBezTo>
                  <a:cubicBezTo>
                    <a:pt x="195" y="273"/>
                    <a:pt x="196" y="272"/>
                    <a:pt x="197" y="271"/>
                  </a:cubicBezTo>
                  <a:cubicBezTo>
                    <a:pt x="197" y="270"/>
                    <a:pt x="197" y="269"/>
                    <a:pt x="197" y="268"/>
                  </a:cubicBezTo>
                  <a:cubicBezTo>
                    <a:pt x="197" y="267"/>
                    <a:pt x="197" y="266"/>
                    <a:pt x="197" y="265"/>
                  </a:cubicBezTo>
                  <a:cubicBezTo>
                    <a:pt x="197" y="265"/>
                    <a:pt x="196" y="265"/>
                    <a:pt x="195" y="264"/>
                  </a:cubicBezTo>
                  <a:cubicBezTo>
                    <a:pt x="195" y="264"/>
                    <a:pt x="195" y="264"/>
                    <a:pt x="195" y="263"/>
                  </a:cubicBezTo>
                  <a:cubicBezTo>
                    <a:pt x="195" y="263"/>
                    <a:pt x="195" y="262"/>
                    <a:pt x="194" y="261"/>
                  </a:cubicBezTo>
                  <a:cubicBezTo>
                    <a:pt x="194" y="261"/>
                    <a:pt x="193" y="260"/>
                    <a:pt x="193" y="260"/>
                  </a:cubicBezTo>
                  <a:cubicBezTo>
                    <a:pt x="193" y="259"/>
                    <a:pt x="193" y="258"/>
                    <a:pt x="193" y="258"/>
                  </a:cubicBezTo>
                  <a:cubicBezTo>
                    <a:pt x="192" y="256"/>
                    <a:pt x="192" y="255"/>
                    <a:pt x="192" y="253"/>
                  </a:cubicBezTo>
                  <a:cubicBezTo>
                    <a:pt x="192" y="252"/>
                    <a:pt x="192" y="251"/>
                    <a:pt x="192" y="250"/>
                  </a:cubicBezTo>
                  <a:cubicBezTo>
                    <a:pt x="192" y="249"/>
                    <a:pt x="192" y="248"/>
                    <a:pt x="191" y="247"/>
                  </a:cubicBezTo>
                  <a:cubicBezTo>
                    <a:pt x="191" y="246"/>
                    <a:pt x="189" y="246"/>
                    <a:pt x="188" y="245"/>
                  </a:cubicBezTo>
                  <a:cubicBezTo>
                    <a:pt x="185" y="242"/>
                    <a:pt x="182" y="239"/>
                    <a:pt x="179" y="237"/>
                  </a:cubicBezTo>
                  <a:cubicBezTo>
                    <a:pt x="179" y="236"/>
                    <a:pt x="178" y="235"/>
                    <a:pt x="178" y="234"/>
                  </a:cubicBezTo>
                  <a:cubicBezTo>
                    <a:pt x="177" y="233"/>
                    <a:pt x="176" y="232"/>
                    <a:pt x="174" y="231"/>
                  </a:cubicBezTo>
                  <a:cubicBezTo>
                    <a:pt x="172" y="229"/>
                    <a:pt x="171" y="226"/>
                    <a:pt x="169" y="224"/>
                  </a:cubicBezTo>
                  <a:cubicBezTo>
                    <a:pt x="169" y="223"/>
                    <a:pt x="168" y="222"/>
                    <a:pt x="167" y="221"/>
                  </a:cubicBezTo>
                  <a:cubicBezTo>
                    <a:pt x="166" y="220"/>
                    <a:pt x="165" y="219"/>
                    <a:pt x="165" y="219"/>
                  </a:cubicBezTo>
                  <a:cubicBezTo>
                    <a:pt x="164" y="218"/>
                    <a:pt x="163" y="215"/>
                    <a:pt x="163" y="214"/>
                  </a:cubicBezTo>
                  <a:cubicBezTo>
                    <a:pt x="161" y="210"/>
                    <a:pt x="159" y="207"/>
                    <a:pt x="155" y="206"/>
                  </a:cubicBezTo>
                  <a:cubicBezTo>
                    <a:pt x="151" y="205"/>
                    <a:pt x="147" y="202"/>
                    <a:pt x="144" y="199"/>
                  </a:cubicBezTo>
                  <a:cubicBezTo>
                    <a:pt x="143" y="198"/>
                    <a:pt x="142" y="197"/>
                    <a:pt x="142" y="196"/>
                  </a:cubicBezTo>
                  <a:cubicBezTo>
                    <a:pt x="142" y="195"/>
                    <a:pt x="142" y="194"/>
                    <a:pt x="142" y="193"/>
                  </a:cubicBezTo>
                  <a:cubicBezTo>
                    <a:pt x="141" y="191"/>
                    <a:pt x="141" y="189"/>
                    <a:pt x="140" y="188"/>
                  </a:cubicBezTo>
                  <a:cubicBezTo>
                    <a:pt x="139" y="186"/>
                    <a:pt x="137" y="184"/>
                    <a:pt x="137" y="182"/>
                  </a:cubicBezTo>
                  <a:cubicBezTo>
                    <a:pt x="137" y="181"/>
                    <a:pt x="137" y="180"/>
                    <a:pt x="137" y="179"/>
                  </a:cubicBezTo>
                  <a:cubicBezTo>
                    <a:pt x="136" y="178"/>
                    <a:pt x="135" y="178"/>
                    <a:pt x="135" y="177"/>
                  </a:cubicBezTo>
                  <a:cubicBezTo>
                    <a:pt x="135" y="177"/>
                    <a:pt x="135" y="176"/>
                    <a:pt x="135" y="175"/>
                  </a:cubicBezTo>
                  <a:cubicBezTo>
                    <a:pt x="135" y="172"/>
                    <a:pt x="135" y="169"/>
                    <a:pt x="135" y="165"/>
                  </a:cubicBezTo>
                  <a:cubicBezTo>
                    <a:pt x="135" y="165"/>
                    <a:pt x="135" y="164"/>
                    <a:pt x="135" y="163"/>
                  </a:cubicBezTo>
                  <a:cubicBezTo>
                    <a:pt x="135" y="163"/>
                    <a:pt x="134" y="162"/>
                    <a:pt x="134" y="162"/>
                  </a:cubicBezTo>
                  <a:cubicBezTo>
                    <a:pt x="134" y="161"/>
                    <a:pt x="134" y="160"/>
                    <a:pt x="134" y="160"/>
                  </a:cubicBezTo>
                  <a:cubicBezTo>
                    <a:pt x="134" y="157"/>
                    <a:pt x="134" y="155"/>
                    <a:pt x="133" y="153"/>
                  </a:cubicBezTo>
                  <a:cubicBezTo>
                    <a:pt x="132" y="152"/>
                    <a:pt x="132" y="151"/>
                    <a:pt x="131" y="151"/>
                  </a:cubicBezTo>
                  <a:cubicBezTo>
                    <a:pt x="131" y="151"/>
                    <a:pt x="130" y="151"/>
                    <a:pt x="130" y="151"/>
                  </a:cubicBezTo>
                  <a:cubicBezTo>
                    <a:pt x="127" y="151"/>
                    <a:pt x="125" y="147"/>
                    <a:pt x="123" y="145"/>
                  </a:cubicBezTo>
                  <a:cubicBezTo>
                    <a:pt x="123" y="145"/>
                    <a:pt x="122" y="144"/>
                    <a:pt x="122" y="144"/>
                  </a:cubicBezTo>
                  <a:cubicBezTo>
                    <a:pt x="122" y="143"/>
                    <a:pt x="121" y="143"/>
                    <a:pt x="121" y="142"/>
                  </a:cubicBezTo>
                  <a:cubicBezTo>
                    <a:pt x="120" y="141"/>
                    <a:pt x="119" y="140"/>
                    <a:pt x="119" y="139"/>
                  </a:cubicBezTo>
                  <a:cubicBezTo>
                    <a:pt x="118" y="137"/>
                    <a:pt x="118" y="136"/>
                    <a:pt x="118" y="134"/>
                  </a:cubicBezTo>
                  <a:cubicBezTo>
                    <a:pt x="118" y="133"/>
                    <a:pt x="117" y="133"/>
                    <a:pt x="117" y="132"/>
                  </a:cubicBezTo>
                  <a:cubicBezTo>
                    <a:pt x="116" y="129"/>
                    <a:pt x="117" y="126"/>
                    <a:pt x="118" y="124"/>
                  </a:cubicBezTo>
                  <a:cubicBezTo>
                    <a:pt x="119" y="120"/>
                    <a:pt x="118" y="116"/>
                    <a:pt x="118" y="112"/>
                  </a:cubicBezTo>
                  <a:cubicBezTo>
                    <a:pt x="118" y="109"/>
                    <a:pt x="121" y="106"/>
                    <a:pt x="125" y="105"/>
                  </a:cubicBezTo>
                  <a:cubicBezTo>
                    <a:pt x="126" y="105"/>
                    <a:pt x="128" y="106"/>
                    <a:pt x="129" y="106"/>
                  </a:cubicBezTo>
                  <a:cubicBezTo>
                    <a:pt x="131" y="106"/>
                    <a:pt x="132" y="106"/>
                    <a:pt x="133" y="107"/>
                  </a:cubicBezTo>
                  <a:cubicBezTo>
                    <a:pt x="134" y="108"/>
                    <a:pt x="134" y="109"/>
                    <a:pt x="135" y="110"/>
                  </a:cubicBezTo>
                  <a:cubicBezTo>
                    <a:pt x="136" y="112"/>
                    <a:pt x="136" y="113"/>
                    <a:pt x="137" y="114"/>
                  </a:cubicBezTo>
                  <a:cubicBezTo>
                    <a:pt x="138" y="116"/>
                    <a:pt x="140" y="117"/>
                    <a:pt x="141" y="119"/>
                  </a:cubicBezTo>
                  <a:cubicBezTo>
                    <a:pt x="142" y="122"/>
                    <a:pt x="143" y="124"/>
                    <a:pt x="146" y="124"/>
                  </a:cubicBezTo>
                  <a:cubicBezTo>
                    <a:pt x="147" y="123"/>
                    <a:pt x="148" y="122"/>
                    <a:pt x="149" y="121"/>
                  </a:cubicBezTo>
                  <a:cubicBezTo>
                    <a:pt x="150" y="120"/>
                    <a:pt x="150" y="119"/>
                    <a:pt x="150" y="118"/>
                  </a:cubicBezTo>
                  <a:cubicBezTo>
                    <a:pt x="151" y="116"/>
                    <a:pt x="152" y="115"/>
                    <a:pt x="152" y="114"/>
                  </a:cubicBezTo>
                  <a:cubicBezTo>
                    <a:pt x="153" y="112"/>
                    <a:pt x="154" y="111"/>
                    <a:pt x="154" y="110"/>
                  </a:cubicBezTo>
                  <a:cubicBezTo>
                    <a:pt x="155" y="109"/>
                    <a:pt x="156" y="108"/>
                    <a:pt x="158" y="107"/>
                  </a:cubicBezTo>
                  <a:cubicBezTo>
                    <a:pt x="160" y="107"/>
                    <a:pt x="162" y="107"/>
                    <a:pt x="164" y="107"/>
                  </a:cubicBezTo>
                  <a:cubicBezTo>
                    <a:pt x="167" y="107"/>
                    <a:pt x="171" y="109"/>
                    <a:pt x="174" y="109"/>
                  </a:cubicBezTo>
                  <a:cubicBezTo>
                    <a:pt x="174" y="108"/>
                    <a:pt x="174" y="106"/>
                    <a:pt x="174" y="105"/>
                  </a:cubicBezTo>
                  <a:cubicBezTo>
                    <a:pt x="175" y="103"/>
                    <a:pt x="178" y="105"/>
                    <a:pt x="179" y="106"/>
                  </a:cubicBezTo>
                  <a:cubicBezTo>
                    <a:pt x="180" y="107"/>
                    <a:pt x="180" y="107"/>
                    <a:pt x="182" y="107"/>
                  </a:cubicBezTo>
                  <a:cubicBezTo>
                    <a:pt x="183" y="107"/>
                    <a:pt x="185" y="107"/>
                    <a:pt x="186" y="107"/>
                  </a:cubicBezTo>
                  <a:cubicBezTo>
                    <a:pt x="186" y="108"/>
                    <a:pt x="186" y="108"/>
                    <a:pt x="186" y="109"/>
                  </a:cubicBezTo>
                  <a:cubicBezTo>
                    <a:pt x="187" y="110"/>
                    <a:pt x="188" y="110"/>
                    <a:pt x="189" y="112"/>
                  </a:cubicBezTo>
                  <a:cubicBezTo>
                    <a:pt x="191" y="113"/>
                    <a:pt x="190" y="114"/>
                    <a:pt x="192" y="114"/>
                  </a:cubicBezTo>
                  <a:cubicBezTo>
                    <a:pt x="196" y="115"/>
                    <a:pt x="195" y="111"/>
                    <a:pt x="197" y="109"/>
                  </a:cubicBezTo>
                  <a:cubicBezTo>
                    <a:pt x="199" y="109"/>
                    <a:pt x="198" y="111"/>
                    <a:pt x="199" y="112"/>
                  </a:cubicBezTo>
                  <a:cubicBezTo>
                    <a:pt x="200" y="113"/>
                    <a:pt x="200" y="113"/>
                    <a:pt x="201" y="113"/>
                  </a:cubicBezTo>
                  <a:cubicBezTo>
                    <a:pt x="203" y="113"/>
                    <a:pt x="204" y="113"/>
                    <a:pt x="205" y="115"/>
                  </a:cubicBezTo>
                  <a:cubicBezTo>
                    <a:pt x="205" y="115"/>
                    <a:pt x="205" y="116"/>
                    <a:pt x="205" y="117"/>
                  </a:cubicBezTo>
                  <a:cubicBezTo>
                    <a:pt x="210" y="117"/>
                    <a:pt x="215" y="115"/>
                    <a:pt x="221" y="116"/>
                  </a:cubicBezTo>
                  <a:cubicBezTo>
                    <a:pt x="223" y="116"/>
                    <a:pt x="224" y="118"/>
                    <a:pt x="225" y="120"/>
                  </a:cubicBezTo>
                  <a:cubicBezTo>
                    <a:pt x="227" y="120"/>
                    <a:pt x="228" y="119"/>
                    <a:pt x="229" y="119"/>
                  </a:cubicBezTo>
                  <a:cubicBezTo>
                    <a:pt x="231" y="119"/>
                    <a:pt x="232" y="119"/>
                    <a:pt x="233" y="118"/>
                  </a:cubicBezTo>
                  <a:cubicBezTo>
                    <a:pt x="233" y="118"/>
                    <a:pt x="233" y="117"/>
                    <a:pt x="233" y="116"/>
                  </a:cubicBezTo>
                  <a:cubicBezTo>
                    <a:pt x="233" y="116"/>
                    <a:pt x="234" y="116"/>
                    <a:pt x="234" y="115"/>
                  </a:cubicBezTo>
                  <a:cubicBezTo>
                    <a:pt x="235" y="114"/>
                    <a:pt x="236" y="113"/>
                    <a:pt x="237" y="114"/>
                  </a:cubicBezTo>
                  <a:cubicBezTo>
                    <a:pt x="239" y="114"/>
                    <a:pt x="239" y="116"/>
                    <a:pt x="240" y="117"/>
                  </a:cubicBezTo>
                  <a:cubicBezTo>
                    <a:pt x="241" y="119"/>
                    <a:pt x="244" y="120"/>
                    <a:pt x="246" y="120"/>
                  </a:cubicBezTo>
                  <a:cubicBezTo>
                    <a:pt x="246" y="118"/>
                    <a:pt x="245" y="116"/>
                    <a:pt x="246" y="115"/>
                  </a:cubicBezTo>
                  <a:cubicBezTo>
                    <a:pt x="249" y="114"/>
                    <a:pt x="252" y="116"/>
                    <a:pt x="255" y="11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5" name="Freeform 27">
              <a:extLst>
                <a:ext uri="{FF2B5EF4-FFF2-40B4-BE49-F238E27FC236}">
                  <a16:creationId xmlns:a16="http://schemas.microsoft.com/office/drawing/2014/main" id="{816087D2-6022-4371-A1E8-3ABCB889E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3325" y="5265738"/>
              <a:ext cx="381000" cy="420688"/>
            </a:xfrm>
            <a:custGeom>
              <a:avLst/>
              <a:gdLst/>
              <a:ahLst/>
              <a:cxnLst>
                <a:cxn ang="0">
                  <a:pos x="193" y="94"/>
                </a:cxn>
                <a:cxn ang="0">
                  <a:pos x="188" y="87"/>
                </a:cxn>
                <a:cxn ang="0">
                  <a:pos x="192" y="80"/>
                </a:cxn>
                <a:cxn ang="0">
                  <a:pos x="181" y="74"/>
                </a:cxn>
                <a:cxn ang="0">
                  <a:pos x="179" y="68"/>
                </a:cxn>
                <a:cxn ang="0">
                  <a:pos x="191" y="41"/>
                </a:cxn>
                <a:cxn ang="0">
                  <a:pos x="164" y="35"/>
                </a:cxn>
                <a:cxn ang="0">
                  <a:pos x="158" y="22"/>
                </a:cxn>
                <a:cxn ang="0">
                  <a:pos x="145" y="17"/>
                </a:cxn>
                <a:cxn ang="0">
                  <a:pos x="130" y="17"/>
                </a:cxn>
                <a:cxn ang="0">
                  <a:pos x="117" y="13"/>
                </a:cxn>
                <a:cxn ang="0">
                  <a:pos x="105" y="13"/>
                </a:cxn>
                <a:cxn ang="0">
                  <a:pos x="83" y="9"/>
                </a:cxn>
                <a:cxn ang="0">
                  <a:pos x="70" y="6"/>
                </a:cxn>
                <a:cxn ang="0">
                  <a:pos x="58" y="2"/>
                </a:cxn>
                <a:cxn ang="0">
                  <a:pos x="38" y="7"/>
                </a:cxn>
                <a:cxn ang="0">
                  <a:pos x="30" y="21"/>
                </a:cxn>
                <a:cxn ang="0">
                  <a:pos x="17" y="4"/>
                </a:cxn>
                <a:cxn ang="0">
                  <a:pos x="2" y="21"/>
                </a:cxn>
                <a:cxn ang="0">
                  <a:pos x="5" y="39"/>
                </a:cxn>
                <a:cxn ang="0">
                  <a:pos x="15" y="48"/>
                </a:cxn>
                <a:cxn ang="0">
                  <a:pos x="19" y="60"/>
                </a:cxn>
                <a:cxn ang="0">
                  <a:pos x="21" y="76"/>
                </a:cxn>
                <a:cxn ang="0">
                  <a:pos x="26" y="93"/>
                </a:cxn>
                <a:cxn ang="0">
                  <a:pos x="49" y="116"/>
                </a:cxn>
                <a:cxn ang="0">
                  <a:pos x="62" y="131"/>
                </a:cxn>
                <a:cxn ang="0">
                  <a:pos x="76" y="147"/>
                </a:cxn>
                <a:cxn ang="0">
                  <a:pos x="78" y="158"/>
                </a:cxn>
                <a:cxn ang="0">
                  <a:pos x="81" y="165"/>
                </a:cxn>
                <a:cxn ang="0">
                  <a:pos x="86" y="175"/>
                </a:cxn>
                <a:cxn ang="0">
                  <a:pos x="94" y="187"/>
                </a:cxn>
                <a:cxn ang="0">
                  <a:pos x="98" y="191"/>
                </a:cxn>
                <a:cxn ang="0">
                  <a:pos x="104" y="192"/>
                </a:cxn>
                <a:cxn ang="0">
                  <a:pos x="112" y="203"/>
                </a:cxn>
                <a:cxn ang="0">
                  <a:pos x="131" y="214"/>
                </a:cxn>
                <a:cxn ang="0">
                  <a:pos x="140" y="223"/>
                </a:cxn>
                <a:cxn ang="0">
                  <a:pos x="143" y="209"/>
                </a:cxn>
                <a:cxn ang="0">
                  <a:pos x="140" y="200"/>
                </a:cxn>
                <a:cxn ang="0">
                  <a:pos x="143" y="189"/>
                </a:cxn>
                <a:cxn ang="0">
                  <a:pos x="147" y="180"/>
                </a:cxn>
                <a:cxn ang="0">
                  <a:pos x="150" y="167"/>
                </a:cxn>
                <a:cxn ang="0">
                  <a:pos x="163" y="158"/>
                </a:cxn>
                <a:cxn ang="0">
                  <a:pos x="171" y="164"/>
                </a:cxn>
                <a:cxn ang="0">
                  <a:pos x="168" y="151"/>
                </a:cxn>
                <a:cxn ang="0">
                  <a:pos x="166" y="142"/>
                </a:cxn>
                <a:cxn ang="0">
                  <a:pos x="178" y="144"/>
                </a:cxn>
                <a:cxn ang="0">
                  <a:pos x="184" y="138"/>
                </a:cxn>
                <a:cxn ang="0">
                  <a:pos x="193" y="143"/>
                </a:cxn>
                <a:cxn ang="0">
                  <a:pos x="197" y="133"/>
                </a:cxn>
                <a:cxn ang="0">
                  <a:pos x="189" y="117"/>
                </a:cxn>
                <a:cxn ang="0">
                  <a:pos x="183" y="105"/>
                </a:cxn>
                <a:cxn ang="0">
                  <a:pos x="203" y="106"/>
                </a:cxn>
              </a:cxnLst>
              <a:rect l="0" t="0" r="r" b="b"/>
              <a:pathLst>
                <a:path w="204" h="225">
                  <a:moveTo>
                    <a:pt x="204" y="100"/>
                  </a:moveTo>
                  <a:cubicBezTo>
                    <a:pt x="204" y="99"/>
                    <a:pt x="201" y="98"/>
                    <a:pt x="200" y="98"/>
                  </a:cubicBezTo>
                  <a:cubicBezTo>
                    <a:pt x="199" y="98"/>
                    <a:pt x="197" y="97"/>
                    <a:pt x="196" y="96"/>
                  </a:cubicBezTo>
                  <a:cubicBezTo>
                    <a:pt x="195" y="96"/>
                    <a:pt x="194" y="95"/>
                    <a:pt x="193" y="94"/>
                  </a:cubicBezTo>
                  <a:cubicBezTo>
                    <a:pt x="193" y="94"/>
                    <a:pt x="192" y="93"/>
                    <a:pt x="192" y="94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191" y="92"/>
                    <a:pt x="191" y="91"/>
                    <a:pt x="190" y="90"/>
                  </a:cubicBezTo>
                  <a:cubicBezTo>
                    <a:pt x="189" y="89"/>
                    <a:pt x="188" y="88"/>
                    <a:pt x="188" y="87"/>
                  </a:cubicBezTo>
                  <a:cubicBezTo>
                    <a:pt x="188" y="86"/>
                    <a:pt x="188" y="84"/>
                    <a:pt x="189" y="83"/>
                  </a:cubicBezTo>
                  <a:cubicBezTo>
                    <a:pt x="190" y="83"/>
                    <a:pt x="191" y="83"/>
                    <a:pt x="191" y="83"/>
                  </a:cubicBezTo>
                  <a:cubicBezTo>
                    <a:pt x="191" y="82"/>
                    <a:pt x="191" y="82"/>
                    <a:pt x="192" y="82"/>
                  </a:cubicBezTo>
                  <a:cubicBezTo>
                    <a:pt x="192" y="81"/>
                    <a:pt x="192" y="81"/>
                    <a:pt x="192" y="80"/>
                  </a:cubicBezTo>
                  <a:cubicBezTo>
                    <a:pt x="192" y="79"/>
                    <a:pt x="193" y="78"/>
                    <a:pt x="193" y="77"/>
                  </a:cubicBezTo>
                  <a:cubicBezTo>
                    <a:pt x="192" y="75"/>
                    <a:pt x="189" y="76"/>
                    <a:pt x="187" y="76"/>
                  </a:cubicBezTo>
                  <a:cubicBezTo>
                    <a:pt x="186" y="76"/>
                    <a:pt x="184" y="75"/>
                    <a:pt x="183" y="75"/>
                  </a:cubicBezTo>
                  <a:cubicBezTo>
                    <a:pt x="182" y="75"/>
                    <a:pt x="182" y="74"/>
                    <a:pt x="181" y="74"/>
                  </a:cubicBezTo>
                  <a:cubicBezTo>
                    <a:pt x="180" y="74"/>
                    <a:pt x="181" y="73"/>
                    <a:pt x="181" y="73"/>
                  </a:cubicBezTo>
                  <a:cubicBezTo>
                    <a:pt x="180" y="72"/>
                    <a:pt x="179" y="72"/>
                    <a:pt x="179" y="71"/>
                  </a:cubicBezTo>
                  <a:cubicBezTo>
                    <a:pt x="179" y="71"/>
                    <a:pt x="179" y="70"/>
                    <a:pt x="179" y="70"/>
                  </a:cubicBezTo>
                  <a:cubicBezTo>
                    <a:pt x="179" y="69"/>
                    <a:pt x="179" y="68"/>
                    <a:pt x="179" y="68"/>
                  </a:cubicBezTo>
                  <a:cubicBezTo>
                    <a:pt x="179" y="67"/>
                    <a:pt x="179" y="67"/>
                    <a:pt x="180" y="66"/>
                  </a:cubicBezTo>
                  <a:cubicBezTo>
                    <a:pt x="180" y="65"/>
                    <a:pt x="180" y="65"/>
                    <a:pt x="181" y="64"/>
                  </a:cubicBezTo>
                  <a:cubicBezTo>
                    <a:pt x="182" y="58"/>
                    <a:pt x="185" y="53"/>
                    <a:pt x="189" y="49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0" y="38"/>
                    <a:pt x="186" y="33"/>
                    <a:pt x="179" y="28"/>
                  </a:cubicBezTo>
                  <a:cubicBezTo>
                    <a:pt x="180" y="31"/>
                    <a:pt x="174" y="32"/>
                    <a:pt x="172" y="33"/>
                  </a:cubicBezTo>
                  <a:cubicBezTo>
                    <a:pt x="170" y="34"/>
                    <a:pt x="168" y="34"/>
                    <a:pt x="166" y="35"/>
                  </a:cubicBezTo>
                  <a:cubicBezTo>
                    <a:pt x="166" y="35"/>
                    <a:pt x="165" y="35"/>
                    <a:pt x="164" y="35"/>
                  </a:cubicBezTo>
                  <a:cubicBezTo>
                    <a:pt x="162" y="34"/>
                    <a:pt x="163" y="34"/>
                    <a:pt x="162" y="34"/>
                  </a:cubicBezTo>
                  <a:cubicBezTo>
                    <a:pt x="160" y="33"/>
                    <a:pt x="159" y="31"/>
                    <a:pt x="159" y="29"/>
                  </a:cubicBezTo>
                  <a:cubicBezTo>
                    <a:pt x="159" y="27"/>
                    <a:pt x="160" y="27"/>
                    <a:pt x="161" y="25"/>
                  </a:cubicBezTo>
                  <a:cubicBezTo>
                    <a:pt x="161" y="24"/>
                    <a:pt x="159" y="23"/>
                    <a:pt x="158" y="22"/>
                  </a:cubicBezTo>
                  <a:cubicBezTo>
                    <a:pt x="158" y="22"/>
                    <a:pt x="157" y="21"/>
                    <a:pt x="157" y="21"/>
                  </a:cubicBezTo>
                  <a:cubicBezTo>
                    <a:pt x="157" y="20"/>
                    <a:pt x="157" y="19"/>
                    <a:pt x="157" y="19"/>
                  </a:cubicBezTo>
                  <a:cubicBezTo>
                    <a:pt x="156" y="17"/>
                    <a:pt x="152" y="15"/>
                    <a:pt x="151" y="18"/>
                  </a:cubicBezTo>
                  <a:cubicBezTo>
                    <a:pt x="150" y="18"/>
                    <a:pt x="147" y="18"/>
                    <a:pt x="145" y="17"/>
                  </a:cubicBezTo>
                  <a:cubicBezTo>
                    <a:pt x="144" y="17"/>
                    <a:pt x="143" y="16"/>
                    <a:pt x="143" y="15"/>
                  </a:cubicBezTo>
                  <a:cubicBezTo>
                    <a:pt x="141" y="15"/>
                    <a:pt x="140" y="14"/>
                    <a:pt x="139" y="14"/>
                  </a:cubicBezTo>
                  <a:cubicBezTo>
                    <a:pt x="136" y="13"/>
                    <a:pt x="133" y="11"/>
                    <a:pt x="130" y="12"/>
                  </a:cubicBezTo>
                  <a:cubicBezTo>
                    <a:pt x="129" y="13"/>
                    <a:pt x="130" y="15"/>
                    <a:pt x="130" y="17"/>
                  </a:cubicBezTo>
                  <a:cubicBezTo>
                    <a:pt x="128" y="17"/>
                    <a:pt x="125" y="16"/>
                    <a:pt x="124" y="14"/>
                  </a:cubicBezTo>
                  <a:cubicBezTo>
                    <a:pt x="123" y="13"/>
                    <a:pt x="123" y="11"/>
                    <a:pt x="121" y="11"/>
                  </a:cubicBezTo>
                  <a:cubicBezTo>
                    <a:pt x="120" y="10"/>
                    <a:pt x="119" y="11"/>
                    <a:pt x="118" y="12"/>
                  </a:cubicBezTo>
                  <a:cubicBezTo>
                    <a:pt x="118" y="13"/>
                    <a:pt x="117" y="13"/>
                    <a:pt x="117" y="13"/>
                  </a:cubicBezTo>
                  <a:cubicBezTo>
                    <a:pt x="117" y="14"/>
                    <a:pt x="117" y="15"/>
                    <a:pt x="117" y="15"/>
                  </a:cubicBezTo>
                  <a:cubicBezTo>
                    <a:pt x="116" y="16"/>
                    <a:pt x="115" y="16"/>
                    <a:pt x="113" y="16"/>
                  </a:cubicBezTo>
                  <a:cubicBezTo>
                    <a:pt x="112" y="16"/>
                    <a:pt x="111" y="17"/>
                    <a:pt x="109" y="17"/>
                  </a:cubicBezTo>
                  <a:cubicBezTo>
                    <a:pt x="108" y="15"/>
                    <a:pt x="107" y="13"/>
                    <a:pt x="105" y="13"/>
                  </a:cubicBezTo>
                  <a:cubicBezTo>
                    <a:pt x="99" y="12"/>
                    <a:pt x="94" y="14"/>
                    <a:pt x="89" y="14"/>
                  </a:cubicBezTo>
                  <a:cubicBezTo>
                    <a:pt x="89" y="13"/>
                    <a:pt x="89" y="12"/>
                    <a:pt x="89" y="12"/>
                  </a:cubicBezTo>
                  <a:cubicBezTo>
                    <a:pt x="88" y="10"/>
                    <a:pt x="87" y="10"/>
                    <a:pt x="85" y="10"/>
                  </a:cubicBezTo>
                  <a:cubicBezTo>
                    <a:pt x="84" y="10"/>
                    <a:pt x="84" y="10"/>
                    <a:pt x="83" y="9"/>
                  </a:cubicBezTo>
                  <a:cubicBezTo>
                    <a:pt x="82" y="8"/>
                    <a:pt x="83" y="6"/>
                    <a:pt x="81" y="6"/>
                  </a:cubicBezTo>
                  <a:cubicBezTo>
                    <a:pt x="79" y="8"/>
                    <a:pt x="80" y="12"/>
                    <a:pt x="76" y="11"/>
                  </a:cubicBezTo>
                  <a:cubicBezTo>
                    <a:pt x="74" y="11"/>
                    <a:pt x="75" y="10"/>
                    <a:pt x="73" y="9"/>
                  </a:cubicBezTo>
                  <a:cubicBezTo>
                    <a:pt x="72" y="7"/>
                    <a:pt x="71" y="7"/>
                    <a:pt x="70" y="6"/>
                  </a:cubicBezTo>
                  <a:cubicBezTo>
                    <a:pt x="70" y="5"/>
                    <a:pt x="70" y="5"/>
                    <a:pt x="70" y="4"/>
                  </a:cubicBezTo>
                  <a:cubicBezTo>
                    <a:pt x="69" y="4"/>
                    <a:pt x="67" y="4"/>
                    <a:pt x="66" y="4"/>
                  </a:cubicBezTo>
                  <a:cubicBezTo>
                    <a:pt x="64" y="4"/>
                    <a:pt x="64" y="4"/>
                    <a:pt x="63" y="3"/>
                  </a:cubicBezTo>
                  <a:cubicBezTo>
                    <a:pt x="62" y="2"/>
                    <a:pt x="59" y="0"/>
                    <a:pt x="58" y="2"/>
                  </a:cubicBezTo>
                  <a:cubicBezTo>
                    <a:pt x="58" y="3"/>
                    <a:pt x="58" y="5"/>
                    <a:pt x="58" y="6"/>
                  </a:cubicBezTo>
                  <a:cubicBezTo>
                    <a:pt x="55" y="6"/>
                    <a:pt x="51" y="4"/>
                    <a:pt x="48" y="4"/>
                  </a:cubicBezTo>
                  <a:cubicBezTo>
                    <a:pt x="46" y="4"/>
                    <a:pt x="44" y="4"/>
                    <a:pt x="42" y="4"/>
                  </a:cubicBezTo>
                  <a:cubicBezTo>
                    <a:pt x="40" y="5"/>
                    <a:pt x="39" y="6"/>
                    <a:pt x="38" y="7"/>
                  </a:cubicBezTo>
                  <a:cubicBezTo>
                    <a:pt x="38" y="8"/>
                    <a:pt x="37" y="9"/>
                    <a:pt x="36" y="11"/>
                  </a:cubicBezTo>
                  <a:cubicBezTo>
                    <a:pt x="36" y="12"/>
                    <a:pt x="35" y="13"/>
                    <a:pt x="34" y="15"/>
                  </a:cubicBezTo>
                  <a:cubicBezTo>
                    <a:pt x="34" y="16"/>
                    <a:pt x="34" y="17"/>
                    <a:pt x="33" y="18"/>
                  </a:cubicBezTo>
                  <a:cubicBezTo>
                    <a:pt x="32" y="19"/>
                    <a:pt x="31" y="20"/>
                    <a:pt x="30" y="21"/>
                  </a:cubicBezTo>
                  <a:cubicBezTo>
                    <a:pt x="27" y="21"/>
                    <a:pt x="26" y="19"/>
                    <a:pt x="25" y="16"/>
                  </a:cubicBezTo>
                  <a:cubicBezTo>
                    <a:pt x="24" y="14"/>
                    <a:pt x="22" y="13"/>
                    <a:pt x="21" y="11"/>
                  </a:cubicBezTo>
                  <a:cubicBezTo>
                    <a:pt x="20" y="10"/>
                    <a:pt x="20" y="9"/>
                    <a:pt x="19" y="7"/>
                  </a:cubicBezTo>
                  <a:cubicBezTo>
                    <a:pt x="18" y="6"/>
                    <a:pt x="18" y="5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cubicBezTo>
                    <a:pt x="12" y="3"/>
                    <a:pt x="10" y="2"/>
                    <a:pt x="9" y="2"/>
                  </a:cubicBezTo>
                  <a:cubicBezTo>
                    <a:pt x="5" y="3"/>
                    <a:pt x="2" y="6"/>
                    <a:pt x="2" y="9"/>
                  </a:cubicBezTo>
                  <a:cubicBezTo>
                    <a:pt x="2" y="13"/>
                    <a:pt x="3" y="17"/>
                    <a:pt x="2" y="21"/>
                  </a:cubicBezTo>
                  <a:cubicBezTo>
                    <a:pt x="1" y="23"/>
                    <a:pt x="0" y="26"/>
                    <a:pt x="1" y="29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3"/>
                    <a:pt x="2" y="34"/>
                    <a:pt x="3" y="36"/>
                  </a:cubicBezTo>
                  <a:cubicBezTo>
                    <a:pt x="3" y="37"/>
                    <a:pt x="4" y="38"/>
                    <a:pt x="5" y="39"/>
                  </a:cubicBezTo>
                  <a:cubicBezTo>
                    <a:pt x="5" y="40"/>
                    <a:pt x="6" y="40"/>
                    <a:pt x="6" y="41"/>
                  </a:cubicBezTo>
                  <a:cubicBezTo>
                    <a:pt x="6" y="41"/>
                    <a:pt x="7" y="42"/>
                    <a:pt x="7" y="42"/>
                  </a:cubicBezTo>
                  <a:cubicBezTo>
                    <a:pt x="9" y="44"/>
                    <a:pt x="11" y="48"/>
                    <a:pt x="14" y="48"/>
                  </a:cubicBezTo>
                  <a:cubicBezTo>
                    <a:pt x="14" y="48"/>
                    <a:pt x="14" y="48"/>
                    <a:pt x="15" y="48"/>
                  </a:cubicBezTo>
                  <a:cubicBezTo>
                    <a:pt x="16" y="48"/>
                    <a:pt x="16" y="49"/>
                    <a:pt x="17" y="50"/>
                  </a:cubicBezTo>
                  <a:cubicBezTo>
                    <a:pt x="18" y="52"/>
                    <a:pt x="18" y="54"/>
                    <a:pt x="18" y="57"/>
                  </a:cubicBezTo>
                  <a:cubicBezTo>
                    <a:pt x="18" y="57"/>
                    <a:pt x="18" y="58"/>
                    <a:pt x="18" y="59"/>
                  </a:cubicBezTo>
                  <a:cubicBezTo>
                    <a:pt x="18" y="59"/>
                    <a:pt x="19" y="60"/>
                    <a:pt x="19" y="60"/>
                  </a:cubicBezTo>
                  <a:cubicBezTo>
                    <a:pt x="19" y="61"/>
                    <a:pt x="19" y="62"/>
                    <a:pt x="19" y="62"/>
                  </a:cubicBezTo>
                  <a:cubicBezTo>
                    <a:pt x="19" y="66"/>
                    <a:pt x="19" y="69"/>
                    <a:pt x="19" y="72"/>
                  </a:cubicBezTo>
                  <a:cubicBezTo>
                    <a:pt x="19" y="73"/>
                    <a:pt x="19" y="74"/>
                    <a:pt x="19" y="74"/>
                  </a:cubicBezTo>
                  <a:cubicBezTo>
                    <a:pt x="19" y="75"/>
                    <a:pt x="20" y="75"/>
                    <a:pt x="21" y="76"/>
                  </a:cubicBezTo>
                  <a:cubicBezTo>
                    <a:pt x="21" y="77"/>
                    <a:pt x="21" y="78"/>
                    <a:pt x="21" y="79"/>
                  </a:cubicBezTo>
                  <a:cubicBezTo>
                    <a:pt x="21" y="81"/>
                    <a:pt x="23" y="83"/>
                    <a:pt x="24" y="85"/>
                  </a:cubicBezTo>
                  <a:cubicBezTo>
                    <a:pt x="25" y="86"/>
                    <a:pt x="25" y="88"/>
                    <a:pt x="26" y="90"/>
                  </a:cubicBezTo>
                  <a:cubicBezTo>
                    <a:pt x="26" y="91"/>
                    <a:pt x="26" y="92"/>
                    <a:pt x="26" y="93"/>
                  </a:cubicBezTo>
                  <a:cubicBezTo>
                    <a:pt x="26" y="94"/>
                    <a:pt x="27" y="95"/>
                    <a:pt x="28" y="96"/>
                  </a:cubicBezTo>
                  <a:cubicBezTo>
                    <a:pt x="31" y="99"/>
                    <a:pt x="35" y="102"/>
                    <a:pt x="39" y="103"/>
                  </a:cubicBezTo>
                  <a:cubicBezTo>
                    <a:pt x="43" y="104"/>
                    <a:pt x="45" y="107"/>
                    <a:pt x="47" y="111"/>
                  </a:cubicBezTo>
                  <a:cubicBezTo>
                    <a:pt x="47" y="112"/>
                    <a:pt x="48" y="115"/>
                    <a:pt x="49" y="116"/>
                  </a:cubicBezTo>
                  <a:cubicBezTo>
                    <a:pt x="49" y="116"/>
                    <a:pt x="50" y="117"/>
                    <a:pt x="51" y="118"/>
                  </a:cubicBezTo>
                  <a:cubicBezTo>
                    <a:pt x="52" y="119"/>
                    <a:pt x="53" y="120"/>
                    <a:pt x="53" y="121"/>
                  </a:cubicBezTo>
                  <a:cubicBezTo>
                    <a:pt x="55" y="123"/>
                    <a:pt x="56" y="126"/>
                    <a:pt x="58" y="128"/>
                  </a:cubicBezTo>
                  <a:cubicBezTo>
                    <a:pt x="60" y="129"/>
                    <a:pt x="61" y="130"/>
                    <a:pt x="62" y="131"/>
                  </a:cubicBezTo>
                  <a:cubicBezTo>
                    <a:pt x="62" y="132"/>
                    <a:pt x="63" y="133"/>
                    <a:pt x="63" y="134"/>
                  </a:cubicBezTo>
                  <a:cubicBezTo>
                    <a:pt x="66" y="136"/>
                    <a:pt x="69" y="139"/>
                    <a:pt x="72" y="142"/>
                  </a:cubicBezTo>
                  <a:cubicBezTo>
                    <a:pt x="73" y="143"/>
                    <a:pt x="75" y="143"/>
                    <a:pt x="75" y="144"/>
                  </a:cubicBezTo>
                  <a:cubicBezTo>
                    <a:pt x="76" y="145"/>
                    <a:pt x="76" y="146"/>
                    <a:pt x="76" y="147"/>
                  </a:cubicBezTo>
                  <a:cubicBezTo>
                    <a:pt x="76" y="148"/>
                    <a:pt x="76" y="149"/>
                    <a:pt x="76" y="150"/>
                  </a:cubicBezTo>
                  <a:cubicBezTo>
                    <a:pt x="76" y="152"/>
                    <a:pt x="76" y="153"/>
                    <a:pt x="77" y="155"/>
                  </a:cubicBezTo>
                  <a:cubicBezTo>
                    <a:pt x="77" y="155"/>
                    <a:pt x="77" y="156"/>
                    <a:pt x="77" y="157"/>
                  </a:cubicBezTo>
                  <a:cubicBezTo>
                    <a:pt x="77" y="157"/>
                    <a:pt x="78" y="158"/>
                    <a:pt x="78" y="158"/>
                  </a:cubicBezTo>
                  <a:cubicBezTo>
                    <a:pt x="79" y="159"/>
                    <a:pt x="79" y="160"/>
                    <a:pt x="79" y="160"/>
                  </a:cubicBezTo>
                  <a:cubicBezTo>
                    <a:pt x="79" y="161"/>
                    <a:pt x="79" y="161"/>
                    <a:pt x="79" y="161"/>
                  </a:cubicBezTo>
                  <a:cubicBezTo>
                    <a:pt x="80" y="162"/>
                    <a:pt x="81" y="162"/>
                    <a:pt x="81" y="162"/>
                  </a:cubicBezTo>
                  <a:cubicBezTo>
                    <a:pt x="81" y="163"/>
                    <a:pt x="81" y="164"/>
                    <a:pt x="81" y="165"/>
                  </a:cubicBezTo>
                  <a:cubicBezTo>
                    <a:pt x="81" y="166"/>
                    <a:pt x="81" y="167"/>
                    <a:pt x="81" y="168"/>
                  </a:cubicBezTo>
                  <a:cubicBezTo>
                    <a:pt x="80" y="169"/>
                    <a:pt x="79" y="170"/>
                    <a:pt x="79" y="171"/>
                  </a:cubicBezTo>
                  <a:cubicBezTo>
                    <a:pt x="80" y="172"/>
                    <a:pt x="84" y="172"/>
                    <a:pt x="85" y="173"/>
                  </a:cubicBezTo>
                  <a:cubicBezTo>
                    <a:pt x="86" y="173"/>
                    <a:pt x="86" y="174"/>
                    <a:pt x="86" y="175"/>
                  </a:cubicBezTo>
                  <a:cubicBezTo>
                    <a:pt x="88" y="178"/>
                    <a:pt x="91" y="180"/>
                    <a:pt x="91" y="182"/>
                  </a:cubicBezTo>
                  <a:cubicBezTo>
                    <a:pt x="92" y="183"/>
                    <a:pt x="91" y="184"/>
                    <a:pt x="92" y="185"/>
                  </a:cubicBezTo>
                  <a:cubicBezTo>
                    <a:pt x="92" y="185"/>
                    <a:pt x="93" y="186"/>
                    <a:pt x="93" y="186"/>
                  </a:cubicBezTo>
                  <a:cubicBezTo>
                    <a:pt x="93" y="186"/>
                    <a:pt x="93" y="187"/>
                    <a:pt x="94" y="187"/>
                  </a:cubicBezTo>
                  <a:cubicBezTo>
                    <a:pt x="93" y="188"/>
                    <a:pt x="89" y="188"/>
                    <a:pt x="88" y="188"/>
                  </a:cubicBezTo>
                  <a:cubicBezTo>
                    <a:pt x="88" y="189"/>
                    <a:pt x="89" y="190"/>
                    <a:pt x="90" y="191"/>
                  </a:cubicBezTo>
                  <a:cubicBezTo>
                    <a:pt x="90" y="192"/>
                    <a:pt x="91" y="194"/>
                    <a:pt x="92" y="194"/>
                  </a:cubicBezTo>
                  <a:cubicBezTo>
                    <a:pt x="93" y="192"/>
                    <a:pt x="97" y="191"/>
                    <a:pt x="98" y="191"/>
                  </a:cubicBezTo>
                  <a:cubicBezTo>
                    <a:pt x="99" y="191"/>
                    <a:pt x="100" y="190"/>
                    <a:pt x="100" y="190"/>
                  </a:cubicBezTo>
                  <a:cubicBezTo>
                    <a:pt x="101" y="190"/>
                    <a:pt x="102" y="189"/>
                    <a:pt x="103" y="190"/>
                  </a:cubicBezTo>
                  <a:cubicBezTo>
                    <a:pt x="103" y="190"/>
                    <a:pt x="103" y="191"/>
                    <a:pt x="103" y="191"/>
                  </a:cubicBezTo>
                  <a:cubicBezTo>
                    <a:pt x="103" y="191"/>
                    <a:pt x="104" y="191"/>
                    <a:pt x="104" y="192"/>
                  </a:cubicBezTo>
                  <a:cubicBezTo>
                    <a:pt x="104" y="192"/>
                    <a:pt x="104" y="192"/>
                    <a:pt x="104" y="193"/>
                  </a:cubicBezTo>
                  <a:cubicBezTo>
                    <a:pt x="105" y="194"/>
                    <a:pt x="106" y="195"/>
                    <a:pt x="107" y="196"/>
                  </a:cubicBezTo>
                  <a:cubicBezTo>
                    <a:pt x="108" y="197"/>
                    <a:pt x="108" y="198"/>
                    <a:pt x="108" y="199"/>
                  </a:cubicBezTo>
                  <a:cubicBezTo>
                    <a:pt x="109" y="200"/>
                    <a:pt x="110" y="202"/>
                    <a:pt x="112" y="203"/>
                  </a:cubicBezTo>
                  <a:cubicBezTo>
                    <a:pt x="113" y="204"/>
                    <a:pt x="115" y="206"/>
                    <a:pt x="117" y="207"/>
                  </a:cubicBezTo>
                  <a:cubicBezTo>
                    <a:pt x="119" y="209"/>
                    <a:pt x="121" y="210"/>
                    <a:pt x="122" y="211"/>
                  </a:cubicBezTo>
                  <a:cubicBezTo>
                    <a:pt x="123" y="211"/>
                    <a:pt x="124" y="212"/>
                    <a:pt x="125" y="213"/>
                  </a:cubicBezTo>
                  <a:cubicBezTo>
                    <a:pt x="125" y="215"/>
                    <a:pt x="130" y="214"/>
                    <a:pt x="131" y="214"/>
                  </a:cubicBezTo>
                  <a:cubicBezTo>
                    <a:pt x="132" y="214"/>
                    <a:pt x="133" y="216"/>
                    <a:pt x="134" y="217"/>
                  </a:cubicBezTo>
                  <a:cubicBezTo>
                    <a:pt x="135" y="218"/>
                    <a:pt x="135" y="219"/>
                    <a:pt x="135" y="220"/>
                  </a:cubicBezTo>
                  <a:cubicBezTo>
                    <a:pt x="136" y="221"/>
                    <a:pt x="137" y="223"/>
                    <a:pt x="138" y="224"/>
                  </a:cubicBezTo>
                  <a:cubicBezTo>
                    <a:pt x="139" y="225"/>
                    <a:pt x="139" y="224"/>
                    <a:pt x="140" y="223"/>
                  </a:cubicBezTo>
                  <a:cubicBezTo>
                    <a:pt x="140" y="223"/>
                    <a:pt x="140" y="222"/>
                    <a:pt x="140" y="222"/>
                  </a:cubicBezTo>
                  <a:cubicBezTo>
                    <a:pt x="141" y="222"/>
                    <a:pt x="141" y="221"/>
                    <a:pt x="141" y="221"/>
                  </a:cubicBezTo>
                  <a:cubicBezTo>
                    <a:pt x="143" y="219"/>
                    <a:pt x="143" y="214"/>
                    <a:pt x="143" y="211"/>
                  </a:cubicBezTo>
                  <a:cubicBezTo>
                    <a:pt x="143" y="210"/>
                    <a:pt x="143" y="209"/>
                    <a:pt x="143" y="209"/>
                  </a:cubicBezTo>
                  <a:cubicBezTo>
                    <a:pt x="143" y="208"/>
                    <a:pt x="142" y="207"/>
                    <a:pt x="142" y="207"/>
                  </a:cubicBezTo>
                  <a:cubicBezTo>
                    <a:pt x="142" y="206"/>
                    <a:pt x="142" y="206"/>
                    <a:pt x="141" y="206"/>
                  </a:cubicBezTo>
                  <a:cubicBezTo>
                    <a:pt x="141" y="206"/>
                    <a:pt x="141" y="204"/>
                    <a:pt x="140" y="204"/>
                  </a:cubicBezTo>
                  <a:cubicBezTo>
                    <a:pt x="140" y="202"/>
                    <a:pt x="140" y="201"/>
                    <a:pt x="140" y="200"/>
                  </a:cubicBezTo>
                  <a:cubicBezTo>
                    <a:pt x="140" y="198"/>
                    <a:pt x="139" y="198"/>
                    <a:pt x="139" y="197"/>
                  </a:cubicBezTo>
                  <a:cubicBezTo>
                    <a:pt x="139" y="196"/>
                    <a:pt x="140" y="195"/>
                    <a:pt x="140" y="195"/>
                  </a:cubicBezTo>
                  <a:cubicBezTo>
                    <a:pt x="141" y="193"/>
                    <a:pt x="142" y="192"/>
                    <a:pt x="143" y="190"/>
                  </a:cubicBezTo>
                  <a:cubicBezTo>
                    <a:pt x="143" y="190"/>
                    <a:pt x="143" y="189"/>
                    <a:pt x="143" y="189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44" y="187"/>
                    <a:pt x="144" y="185"/>
                    <a:pt x="144" y="184"/>
                  </a:cubicBezTo>
                  <a:cubicBezTo>
                    <a:pt x="145" y="183"/>
                    <a:pt x="147" y="183"/>
                    <a:pt x="147" y="182"/>
                  </a:cubicBezTo>
                  <a:cubicBezTo>
                    <a:pt x="148" y="181"/>
                    <a:pt x="147" y="181"/>
                    <a:pt x="147" y="180"/>
                  </a:cubicBezTo>
                  <a:cubicBezTo>
                    <a:pt x="148" y="179"/>
                    <a:pt x="148" y="178"/>
                    <a:pt x="148" y="177"/>
                  </a:cubicBezTo>
                  <a:cubicBezTo>
                    <a:pt x="149" y="176"/>
                    <a:pt x="149" y="175"/>
                    <a:pt x="149" y="173"/>
                  </a:cubicBezTo>
                  <a:cubicBezTo>
                    <a:pt x="149" y="172"/>
                    <a:pt x="148" y="171"/>
                    <a:pt x="148" y="170"/>
                  </a:cubicBezTo>
                  <a:cubicBezTo>
                    <a:pt x="148" y="169"/>
                    <a:pt x="149" y="168"/>
                    <a:pt x="150" y="167"/>
                  </a:cubicBezTo>
                  <a:cubicBezTo>
                    <a:pt x="152" y="166"/>
                    <a:pt x="154" y="164"/>
                    <a:pt x="155" y="163"/>
                  </a:cubicBezTo>
                  <a:cubicBezTo>
                    <a:pt x="155" y="162"/>
                    <a:pt x="155" y="162"/>
                    <a:pt x="156" y="162"/>
                  </a:cubicBezTo>
                  <a:cubicBezTo>
                    <a:pt x="156" y="161"/>
                    <a:pt x="157" y="161"/>
                    <a:pt x="157" y="161"/>
                  </a:cubicBezTo>
                  <a:cubicBezTo>
                    <a:pt x="159" y="160"/>
                    <a:pt x="161" y="158"/>
                    <a:pt x="163" y="158"/>
                  </a:cubicBezTo>
                  <a:cubicBezTo>
                    <a:pt x="165" y="158"/>
                    <a:pt x="166" y="159"/>
                    <a:pt x="167" y="161"/>
                  </a:cubicBezTo>
                  <a:cubicBezTo>
                    <a:pt x="167" y="162"/>
                    <a:pt x="167" y="163"/>
                    <a:pt x="168" y="164"/>
                  </a:cubicBezTo>
                  <a:cubicBezTo>
                    <a:pt x="168" y="164"/>
                    <a:pt x="169" y="165"/>
                    <a:pt x="170" y="165"/>
                  </a:cubicBezTo>
                  <a:cubicBezTo>
                    <a:pt x="170" y="164"/>
                    <a:pt x="171" y="165"/>
                    <a:pt x="171" y="164"/>
                  </a:cubicBezTo>
                  <a:cubicBezTo>
                    <a:pt x="172" y="164"/>
                    <a:pt x="172" y="163"/>
                    <a:pt x="172" y="163"/>
                  </a:cubicBezTo>
                  <a:cubicBezTo>
                    <a:pt x="174" y="161"/>
                    <a:pt x="173" y="160"/>
                    <a:pt x="172" y="158"/>
                  </a:cubicBezTo>
                  <a:cubicBezTo>
                    <a:pt x="172" y="157"/>
                    <a:pt x="172" y="156"/>
                    <a:pt x="171" y="155"/>
                  </a:cubicBezTo>
                  <a:cubicBezTo>
                    <a:pt x="170" y="154"/>
                    <a:pt x="169" y="152"/>
                    <a:pt x="168" y="151"/>
                  </a:cubicBezTo>
                  <a:cubicBezTo>
                    <a:pt x="167" y="150"/>
                    <a:pt x="166" y="150"/>
                    <a:pt x="166" y="148"/>
                  </a:cubicBezTo>
                  <a:cubicBezTo>
                    <a:pt x="166" y="147"/>
                    <a:pt x="165" y="145"/>
                    <a:pt x="166" y="144"/>
                  </a:cubicBezTo>
                  <a:cubicBezTo>
                    <a:pt x="166" y="144"/>
                    <a:pt x="166" y="144"/>
                    <a:pt x="167" y="143"/>
                  </a:cubicBezTo>
                  <a:cubicBezTo>
                    <a:pt x="167" y="143"/>
                    <a:pt x="166" y="142"/>
                    <a:pt x="166" y="142"/>
                  </a:cubicBezTo>
                  <a:cubicBezTo>
                    <a:pt x="167" y="141"/>
                    <a:pt x="167" y="141"/>
                    <a:pt x="168" y="141"/>
                  </a:cubicBezTo>
                  <a:cubicBezTo>
                    <a:pt x="170" y="140"/>
                    <a:pt x="172" y="143"/>
                    <a:pt x="173" y="144"/>
                  </a:cubicBezTo>
                  <a:cubicBezTo>
                    <a:pt x="174" y="145"/>
                    <a:pt x="175" y="145"/>
                    <a:pt x="176" y="145"/>
                  </a:cubicBezTo>
                  <a:cubicBezTo>
                    <a:pt x="177" y="144"/>
                    <a:pt x="178" y="144"/>
                    <a:pt x="178" y="144"/>
                  </a:cubicBezTo>
                  <a:cubicBezTo>
                    <a:pt x="179" y="144"/>
                    <a:pt x="180" y="144"/>
                    <a:pt x="180" y="143"/>
                  </a:cubicBezTo>
                  <a:cubicBezTo>
                    <a:pt x="181" y="143"/>
                    <a:pt x="181" y="142"/>
                    <a:pt x="181" y="141"/>
                  </a:cubicBezTo>
                  <a:cubicBezTo>
                    <a:pt x="181" y="140"/>
                    <a:pt x="182" y="140"/>
                    <a:pt x="183" y="139"/>
                  </a:cubicBezTo>
                  <a:cubicBezTo>
                    <a:pt x="184" y="139"/>
                    <a:pt x="184" y="138"/>
                    <a:pt x="184" y="138"/>
                  </a:cubicBezTo>
                  <a:cubicBezTo>
                    <a:pt x="185" y="137"/>
                    <a:pt x="187" y="135"/>
                    <a:pt x="188" y="136"/>
                  </a:cubicBezTo>
                  <a:cubicBezTo>
                    <a:pt x="188" y="136"/>
                    <a:pt x="188" y="138"/>
                    <a:pt x="189" y="139"/>
                  </a:cubicBezTo>
                  <a:cubicBezTo>
                    <a:pt x="190" y="140"/>
                    <a:pt x="191" y="141"/>
                    <a:pt x="191" y="143"/>
                  </a:cubicBezTo>
                  <a:cubicBezTo>
                    <a:pt x="192" y="143"/>
                    <a:pt x="192" y="144"/>
                    <a:pt x="193" y="143"/>
                  </a:cubicBezTo>
                  <a:cubicBezTo>
                    <a:pt x="194" y="143"/>
                    <a:pt x="193" y="143"/>
                    <a:pt x="194" y="142"/>
                  </a:cubicBezTo>
                  <a:cubicBezTo>
                    <a:pt x="194" y="141"/>
                    <a:pt x="195" y="141"/>
                    <a:pt x="196" y="140"/>
                  </a:cubicBezTo>
                  <a:cubicBezTo>
                    <a:pt x="196" y="139"/>
                    <a:pt x="196" y="138"/>
                    <a:pt x="196" y="137"/>
                  </a:cubicBezTo>
                  <a:cubicBezTo>
                    <a:pt x="196" y="135"/>
                    <a:pt x="197" y="134"/>
                    <a:pt x="197" y="133"/>
                  </a:cubicBezTo>
                  <a:cubicBezTo>
                    <a:pt x="197" y="132"/>
                    <a:pt x="196" y="132"/>
                    <a:pt x="196" y="131"/>
                  </a:cubicBezTo>
                  <a:cubicBezTo>
                    <a:pt x="196" y="131"/>
                    <a:pt x="196" y="130"/>
                    <a:pt x="196" y="130"/>
                  </a:cubicBezTo>
                  <a:cubicBezTo>
                    <a:pt x="196" y="128"/>
                    <a:pt x="195" y="127"/>
                    <a:pt x="194" y="125"/>
                  </a:cubicBezTo>
                  <a:cubicBezTo>
                    <a:pt x="192" y="122"/>
                    <a:pt x="190" y="120"/>
                    <a:pt x="189" y="117"/>
                  </a:cubicBezTo>
                  <a:cubicBezTo>
                    <a:pt x="188" y="116"/>
                    <a:pt x="188" y="115"/>
                    <a:pt x="187" y="114"/>
                  </a:cubicBezTo>
                  <a:cubicBezTo>
                    <a:pt x="186" y="112"/>
                    <a:pt x="186" y="113"/>
                    <a:pt x="184" y="112"/>
                  </a:cubicBezTo>
                  <a:cubicBezTo>
                    <a:pt x="183" y="112"/>
                    <a:pt x="182" y="111"/>
                    <a:pt x="182" y="110"/>
                  </a:cubicBezTo>
                  <a:cubicBezTo>
                    <a:pt x="181" y="109"/>
                    <a:pt x="182" y="106"/>
                    <a:pt x="183" y="105"/>
                  </a:cubicBezTo>
                  <a:cubicBezTo>
                    <a:pt x="184" y="106"/>
                    <a:pt x="185" y="107"/>
                    <a:pt x="186" y="107"/>
                  </a:cubicBezTo>
                  <a:cubicBezTo>
                    <a:pt x="188" y="109"/>
                    <a:pt x="192" y="109"/>
                    <a:pt x="195" y="109"/>
                  </a:cubicBezTo>
                  <a:cubicBezTo>
                    <a:pt x="197" y="109"/>
                    <a:pt x="200" y="109"/>
                    <a:pt x="201" y="108"/>
                  </a:cubicBezTo>
                  <a:cubicBezTo>
                    <a:pt x="202" y="107"/>
                    <a:pt x="202" y="107"/>
                    <a:pt x="203" y="106"/>
                  </a:cubicBezTo>
                  <a:cubicBezTo>
                    <a:pt x="204" y="105"/>
                    <a:pt x="204" y="105"/>
                    <a:pt x="204" y="104"/>
                  </a:cubicBezTo>
                  <a:cubicBezTo>
                    <a:pt x="204" y="104"/>
                    <a:pt x="204" y="103"/>
                    <a:pt x="204" y="102"/>
                  </a:cubicBezTo>
                  <a:cubicBezTo>
                    <a:pt x="204" y="102"/>
                    <a:pt x="204" y="100"/>
                    <a:pt x="204" y="10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6" name="Freeform 28">
              <a:extLst>
                <a:ext uri="{FF2B5EF4-FFF2-40B4-BE49-F238E27FC236}">
                  <a16:creationId xmlns:a16="http://schemas.microsoft.com/office/drawing/2014/main" id="{21B8A26F-5B96-43CF-B622-C9E4BFD08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775" y="5527675"/>
              <a:ext cx="280988" cy="252413"/>
            </a:xfrm>
            <a:custGeom>
              <a:avLst/>
              <a:gdLst/>
              <a:ahLst/>
              <a:cxnLst>
                <a:cxn ang="0">
                  <a:pos x="145" y="47"/>
                </a:cxn>
                <a:cxn ang="0">
                  <a:pos x="135" y="45"/>
                </a:cxn>
                <a:cxn ang="0">
                  <a:pos x="132" y="40"/>
                </a:cxn>
                <a:cxn ang="0">
                  <a:pos x="121" y="36"/>
                </a:cxn>
                <a:cxn ang="0">
                  <a:pos x="116" y="31"/>
                </a:cxn>
                <a:cxn ang="0">
                  <a:pos x="110" y="28"/>
                </a:cxn>
                <a:cxn ang="0">
                  <a:pos x="105" y="20"/>
                </a:cxn>
                <a:cxn ang="0">
                  <a:pos x="94" y="10"/>
                </a:cxn>
                <a:cxn ang="0">
                  <a:pos x="88" y="3"/>
                </a:cxn>
                <a:cxn ang="0">
                  <a:pos x="84" y="5"/>
                </a:cxn>
                <a:cxn ang="0">
                  <a:pos x="74" y="2"/>
                </a:cxn>
                <a:cxn ang="0">
                  <a:pos x="74" y="8"/>
                </a:cxn>
                <a:cxn ang="0">
                  <a:pos x="80" y="18"/>
                </a:cxn>
                <a:cxn ang="0">
                  <a:pos x="78" y="25"/>
                </a:cxn>
                <a:cxn ang="0">
                  <a:pos x="71" y="18"/>
                </a:cxn>
                <a:cxn ang="0">
                  <a:pos x="63" y="23"/>
                </a:cxn>
                <a:cxn ang="0">
                  <a:pos x="57" y="33"/>
                </a:cxn>
                <a:cxn ang="0">
                  <a:pos x="55" y="42"/>
                </a:cxn>
                <a:cxn ang="0">
                  <a:pos x="51" y="49"/>
                </a:cxn>
                <a:cxn ang="0">
                  <a:pos x="47" y="57"/>
                </a:cxn>
                <a:cxn ang="0">
                  <a:pos x="49" y="66"/>
                </a:cxn>
                <a:cxn ang="0">
                  <a:pos x="51" y="71"/>
                </a:cxn>
                <a:cxn ang="0">
                  <a:pos x="48" y="83"/>
                </a:cxn>
                <a:cxn ang="0">
                  <a:pos x="42" y="77"/>
                </a:cxn>
                <a:cxn ang="0">
                  <a:pos x="30" y="71"/>
                </a:cxn>
                <a:cxn ang="0">
                  <a:pos x="16" y="59"/>
                </a:cxn>
                <a:cxn ang="0">
                  <a:pos x="12" y="52"/>
                </a:cxn>
                <a:cxn ang="0">
                  <a:pos x="8" y="50"/>
                </a:cxn>
                <a:cxn ang="0">
                  <a:pos x="0" y="54"/>
                </a:cxn>
                <a:cxn ang="0">
                  <a:pos x="5" y="59"/>
                </a:cxn>
                <a:cxn ang="0">
                  <a:pos x="12" y="62"/>
                </a:cxn>
                <a:cxn ang="0">
                  <a:pos x="17" y="66"/>
                </a:cxn>
                <a:cxn ang="0">
                  <a:pos x="26" y="75"/>
                </a:cxn>
                <a:cxn ang="0">
                  <a:pos x="34" y="82"/>
                </a:cxn>
                <a:cxn ang="0">
                  <a:pos x="53" y="94"/>
                </a:cxn>
                <a:cxn ang="0">
                  <a:pos x="62" y="104"/>
                </a:cxn>
                <a:cxn ang="0">
                  <a:pos x="68" y="106"/>
                </a:cxn>
                <a:cxn ang="0">
                  <a:pos x="76" y="116"/>
                </a:cxn>
                <a:cxn ang="0">
                  <a:pos x="82" y="131"/>
                </a:cxn>
                <a:cxn ang="0">
                  <a:pos x="91" y="133"/>
                </a:cxn>
                <a:cxn ang="0">
                  <a:pos x="90" y="111"/>
                </a:cxn>
                <a:cxn ang="0">
                  <a:pos x="95" y="98"/>
                </a:cxn>
                <a:cxn ang="0">
                  <a:pos x="101" y="88"/>
                </a:cxn>
                <a:cxn ang="0">
                  <a:pos x="109" y="76"/>
                </a:cxn>
                <a:cxn ang="0">
                  <a:pos x="113" y="81"/>
                </a:cxn>
                <a:cxn ang="0">
                  <a:pos x="126" y="88"/>
                </a:cxn>
                <a:cxn ang="0">
                  <a:pos x="132" y="81"/>
                </a:cxn>
                <a:cxn ang="0">
                  <a:pos x="132" y="70"/>
                </a:cxn>
                <a:cxn ang="0">
                  <a:pos x="133" y="64"/>
                </a:cxn>
                <a:cxn ang="0">
                  <a:pos x="142" y="62"/>
                </a:cxn>
                <a:cxn ang="0">
                  <a:pos x="148" y="59"/>
                </a:cxn>
              </a:cxnLst>
              <a:rect l="0" t="0" r="r" b="b"/>
              <a:pathLst>
                <a:path w="150" h="135">
                  <a:moveTo>
                    <a:pt x="147" y="51"/>
                  </a:moveTo>
                  <a:cubicBezTo>
                    <a:pt x="146" y="51"/>
                    <a:pt x="146" y="50"/>
                    <a:pt x="146" y="49"/>
                  </a:cubicBezTo>
                  <a:cubicBezTo>
                    <a:pt x="145" y="49"/>
                    <a:pt x="146" y="47"/>
                    <a:pt x="145" y="47"/>
                  </a:cubicBezTo>
                  <a:cubicBezTo>
                    <a:pt x="144" y="46"/>
                    <a:pt x="142" y="47"/>
                    <a:pt x="141" y="47"/>
                  </a:cubicBezTo>
                  <a:cubicBezTo>
                    <a:pt x="140" y="47"/>
                    <a:pt x="136" y="48"/>
                    <a:pt x="136" y="47"/>
                  </a:cubicBezTo>
                  <a:cubicBezTo>
                    <a:pt x="135" y="46"/>
                    <a:pt x="135" y="46"/>
                    <a:pt x="135" y="45"/>
                  </a:cubicBezTo>
                  <a:cubicBezTo>
                    <a:pt x="135" y="44"/>
                    <a:pt x="135" y="44"/>
                    <a:pt x="135" y="43"/>
                  </a:cubicBezTo>
                  <a:cubicBezTo>
                    <a:pt x="134" y="43"/>
                    <a:pt x="134" y="42"/>
                    <a:pt x="133" y="42"/>
                  </a:cubicBezTo>
                  <a:cubicBezTo>
                    <a:pt x="133" y="41"/>
                    <a:pt x="132" y="41"/>
                    <a:pt x="132" y="40"/>
                  </a:cubicBezTo>
                  <a:cubicBezTo>
                    <a:pt x="130" y="40"/>
                    <a:pt x="130" y="39"/>
                    <a:pt x="130" y="38"/>
                  </a:cubicBezTo>
                  <a:cubicBezTo>
                    <a:pt x="129" y="36"/>
                    <a:pt x="128" y="36"/>
                    <a:pt x="127" y="36"/>
                  </a:cubicBezTo>
                  <a:cubicBezTo>
                    <a:pt x="125" y="36"/>
                    <a:pt x="123" y="37"/>
                    <a:pt x="121" y="36"/>
                  </a:cubicBezTo>
                  <a:cubicBezTo>
                    <a:pt x="120" y="36"/>
                    <a:pt x="119" y="35"/>
                    <a:pt x="118" y="34"/>
                  </a:cubicBezTo>
                  <a:cubicBezTo>
                    <a:pt x="117" y="34"/>
                    <a:pt x="117" y="33"/>
                    <a:pt x="116" y="33"/>
                  </a:cubicBezTo>
                  <a:cubicBezTo>
                    <a:pt x="116" y="32"/>
                    <a:pt x="116" y="32"/>
                    <a:pt x="116" y="31"/>
                  </a:cubicBezTo>
                  <a:cubicBezTo>
                    <a:pt x="115" y="31"/>
                    <a:pt x="115" y="31"/>
                    <a:pt x="114" y="31"/>
                  </a:cubicBezTo>
                  <a:cubicBezTo>
                    <a:pt x="113" y="31"/>
                    <a:pt x="113" y="30"/>
                    <a:pt x="112" y="30"/>
                  </a:cubicBezTo>
                  <a:cubicBezTo>
                    <a:pt x="112" y="29"/>
                    <a:pt x="111" y="29"/>
                    <a:pt x="110" y="28"/>
                  </a:cubicBezTo>
                  <a:cubicBezTo>
                    <a:pt x="108" y="27"/>
                    <a:pt x="106" y="25"/>
                    <a:pt x="106" y="23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7" y="22"/>
                    <a:pt x="106" y="21"/>
                    <a:pt x="105" y="20"/>
                  </a:cubicBezTo>
                  <a:cubicBezTo>
                    <a:pt x="103" y="18"/>
                    <a:pt x="101" y="17"/>
                    <a:pt x="100" y="14"/>
                  </a:cubicBezTo>
                  <a:cubicBezTo>
                    <a:pt x="99" y="13"/>
                    <a:pt x="99" y="12"/>
                    <a:pt x="98" y="12"/>
                  </a:cubicBezTo>
                  <a:cubicBezTo>
                    <a:pt x="96" y="11"/>
                    <a:pt x="95" y="11"/>
                    <a:pt x="94" y="10"/>
                  </a:cubicBezTo>
                  <a:cubicBezTo>
                    <a:pt x="93" y="9"/>
                    <a:pt x="93" y="9"/>
                    <a:pt x="92" y="8"/>
                  </a:cubicBezTo>
                  <a:cubicBezTo>
                    <a:pt x="90" y="8"/>
                    <a:pt x="90" y="7"/>
                    <a:pt x="90" y="6"/>
                  </a:cubicBezTo>
                  <a:cubicBezTo>
                    <a:pt x="89" y="5"/>
                    <a:pt x="88" y="4"/>
                    <a:pt x="88" y="3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88" y="4"/>
                    <a:pt x="87" y="4"/>
                    <a:pt x="86" y="4"/>
                  </a:cubicBezTo>
                  <a:cubicBezTo>
                    <a:pt x="86" y="4"/>
                    <a:pt x="85" y="4"/>
                    <a:pt x="84" y="5"/>
                  </a:cubicBezTo>
                  <a:cubicBezTo>
                    <a:pt x="83" y="5"/>
                    <a:pt x="82" y="5"/>
                    <a:pt x="81" y="4"/>
                  </a:cubicBezTo>
                  <a:cubicBezTo>
                    <a:pt x="80" y="3"/>
                    <a:pt x="78" y="0"/>
                    <a:pt x="76" y="1"/>
                  </a:cubicBezTo>
                  <a:cubicBezTo>
                    <a:pt x="75" y="1"/>
                    <a:pt x="75" y="1"/>
                    <a:pt x="74" y="2"/>
                  </a:cubicBezTo>
                  <a:cubicBezTo>
                    <a:pt x="74" y="2"/>
                    <a:pt x="75" y="3"/>
                    <a:pt x="75" y="3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3" y="5"/>
                    <a:pt x="74" y="7"/>
                    <a:pt x="74" y="8"/>
                  </a:cubicBezTo>
                  <a:cubicBezTo>
                    <a:pt x="74" y="10"/>
                    <a:pt x="75" y="10"/>
                    <a:pt x="76" y="11"/>
                  </a:cubicBezTo>
                  <a:cubicBezTo>
                    <a:pt x="77" y="12"/>
                    <a:pt x="78" y="14"/>
                    <a:pt x="79" y="15"/>
                  </a:cubicBezTo>
                  <a:cubicBezTo>
                    <a:pt x="80" y="16"/>
                    <a:pt x="80" y="17"/>
                    <a:pt x="80" y="18"/>
                  </a:cubicBezTo>
                  <a:cubicBezTo>
                    <a:pt x="81" y="20"/>
                    <a:pt x="82" y="21"/>
                    <a:pt x="80" y="23"/>
                  </a:cubicBezTo>
                  <a:cubicBezTo>
                    <a:pt x="80" y="23"/>
                    <a:pt x="80" y="24"/>
                    <a:pt x="79" y="24"/>
                  </a:cubicBezTo>
                  <a:cubicBezTo>
                    <a:pt x="79" y="25"/>
                    <a:pt x="78" y="24"/>
                    <a:pt x="78" y="25"/>
                  </a:cubicBezTo>
                  <a:cubicBezTo>
                    <a:pt x="77" y="25"/>
                    <a:pt x="76" y="24"/>
                    <a:pt x="76" y="24"/>
                  </a:cubicBezTo>
                  <a:cubicBezTo>
                    <a:pt x="75" y="23"/>
                    <a:pt x="75" y="22"/>
                    <a:pt x="75" y="21"/>
                  </a:cubicBezTo>
                  <a:cubicBezTo>
                    <a:pt x="74" y="19"/>
                    <a:pt x="73" y="18"/>
                    <a:pt x="71" y="18"/>
                  </a:cubicBezTo>
                  <a:cubicBezTo>
                    <a:pt x="69" y="18"/>
                    <a:pt x="67" y="20"/>
                    <a:pt x="65" y="21"/>
                  </a:cubicBezTo>
                  <a:cubicBezTo>
                    <a:pt x="65" y="21"/>
                    <a:pt x="64" y="21"/>
                    <a:pt x="64" y="22"/>
                  </a:cubicBezTo>
                  <a:cubicBezTo>
                    <a:pt x="63" y="22"/>
                    <a:pt x="63" y="22"/>
                    <a:pt x="63" y="23"/>
                  </a:cubicBezTo>
                  <a:cubicBezTo>
                    <a:pt x="62" y="24"/>
                    <a:pt x="60" y="26"/>
                    <a:pt x="58" y="27"/>
                  </a:cubicBezTo>
                  <a:cubicBezTo>
                    <a:pt x="57" y="28"/>
                    <a:pt x="56" y="29"/>
                    <a:pt x="56" y="30"/>
                  </a:cubicBezTo>
                  <a:cubicBezTo>
                    <a:pt x="56" y="31"/>
                    <a:pt x="57" y="32"/>
                    <a:pt x="57" y="33"/>
                  </a:cubicBezTo>
                  <a:cubicBezTo>
                    <a:pt x="57" y="35"/>
                    <a:pt x="57" y="36"/>
                    <a:pt x="56" y="37"/>
                  </a:cubicBezTo>
                  <a:cubicBezTo>
                    <a:pt x="56" y="38"/>
                    <a:pt x="56" y="39"/>
                    <a:pt x="55" y="40"/>
                  </a:cubicBezTo>
                  <a:cubicBezTo>
                    <a:pt x="55" y="41"/>
                    <a:pt x="56" y="41"/>
                    <a:pt x="55" y="42"/>
                  </a:cubicBezTo>
                  <a:cubicBezTo>
                    <a:pt x="55" y="43"/>
                    <a:pt x="53" y="43"/>
                    <a:pt x="52" y="44"/>
                  </a:cubicBezTo>
                  <a:cubicBezTo>
                    <a:pt x="52" y="45"/>
                    <a:pt x="52" y="47"/>
                    <a:pt x="51" y="48"/>
                  </a:cubicBezTo>
                  <a:cubicBezTo>
                    <a:pt x="51" y="48"/>
                    <a:pt x="51" y="48"/>
                    <a:pt x="51" y="49"/>
                  </a:cubicBezTo>
                  <a:cubicBezTo>
                    <a:pt x="51" y="49"/>
                    <a:pt x="51" y="50"/>
                    <a:pt x="51" y="50"/>
                  </a:cubicBezTo>
                  <a:cubicBezTo>
                    <a:pt x="50" y="52"/>
                    <a:pt x="49" y="53"/>
                    <a:pt x="48" y="55"/>
                  </a:cubicBezTo>
                  <a:cubicBezTo>
                    <a:pt x="48" y="55"/>
                    <a:pt x="47" y="56"/>
                    <a:pt x="47" y="57"/>
                  </a:cubicBezTo>
                  <a:cubicBezTo>
                    <a:pt x="47" y="58"/>
                    <a:pt x="48" y="58"/>
                    <a:pt x="48" y="60"/>
                  </a:cubicBezTo>
                  <a:cubicBezTo>
                    <a:pt x="48" y="61"/>
                    <a:pt x="48" y="62"/>
                    <a:pt x="48" y="64"/>
                  </a:cubicBezTo>
                  <a:cubicBezTo>
                    <a:pt x="49" y="64"/>
                    <a:pt x="49" y="66"/>
                    <a:pt x="49" y="66"/>
                  </a:cubicBezTo>
                  <a:cubicBezTo>
                    <a:pt x="50" y="66"/>
                    <a:pt x="50" y="66"/>
                    <a:pt x="50" y="67"/>
                  </a:cubicBezTo>
                  <a:cubicBezTo>
                    <a:pt x="50" y="67"/>
                    <a:pt x="51" y="68"/>
                    <a:pt x="51" y="69"/>
                  </a:cubicBezTo>
                  <a:cubicBezTo>
                    <a:pt x="51" y="69"/>
                    <a:pt x="51" y="70"/>
                    <a:pt x="51" y="71"/>
                  </a:cubicBezTo>
                  <a:cubicBezTo>
                    <a:pt x="51" y="74"/>
                    <a:pt x="51" y="79"/>
                    <a:pt x="49" y="81"/>
                  </a:cubicBezTo>
                  <a:cubicBezTo>
                    <a:pt x="49" y="81"/>
                    <a:pt x="49" y="82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ubicBezTo>
                    <a:pt x="47" y="84"/>
                    <a:pt x="47" y="85"/>
                    <a:pt x="46" y="84"/>
                  </a:cubicBezTo>
                  <a:cubicBezTo>
                    <a:pt x="45" y="83"/>
                    <a:pt x="44" y="81"/>
                    <a:pt x="43" y="80"/>
                  </a:cubicBezTo>
                  <a:cubicBezTo>
                    <a:pt x="43" y="79"/>
                    <a:pt x="43" y="78"/>
                    <a:pt x="42" y="77"/>
                  </a:cubicBezTo>
                  <a:cubicBezTo>
                    <a:pt x="41" y="76"/>
                    <a:pt x="40" y="74"/>
                    <a:pt x="39" y="74"/>
                  </a:cubicBezTo>
                  <a:cubicBezTo>
                    <a:pt x="38" y="74"/>
                    <a:pt x="33" y="75"/>
                    <a:pt x="33" y="73"/>
                  </a:cubicBezTo>
                  <a:cubicBezTo>
                    <a:pt x="32" y="72"/>
                    <a:pt x="31" y="71"/>
                    <a:pt x="30" y="71"/>
                  </a:cubicBezTo>
                  <a:cubicBezTo>
                    <a:pt x="29" y="70"/>
                    <a:pt x="27" y="69"/>
                    <a:pt x="25" y="67"/>
                  </a:cubicBezTo>
                  <a:cubicBezTo>
                    <a:pt x="23" y="66"/>
                    <a:pt x="21" y="64"/>
                    <a:pt x="20" y="63"/>
                  </a:cubicBezTo>
                  <a:cubicBezTo>
                    <a:pt x="18" y="62"/>
                    <a:pt x="17" y="60"/>
                    <a:pt x="16" y="59"/>
                  </a:cubicBezTo>
                  <a:cubicBezTo>
                    <a:pt x="16" y="58"/>
                    <a:pt x="16" y="57"/>
                    <a:pt x="15" y="56"/>
                  </a:cubicBezTo>
                  <a:cubicBezTo>
                    <a:pt x="14" y="55"/>
                    <a:pt x="13" y="54"/>
                    <a:pt x="12" y="53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1" y="51"/>
                    <a:pt x="11" y="50"/>
                    <a:pt x="11" y="50"/>
                  </a:cubicBezTo>
                  <a:cubicBezTo>
                    <a:pt x="10" y="49"/>
                    <a:pt x="9" y="50"/>
                    <a:pt x="8" y="50"/>
                  </a:cubicBezTo>
                  <a:cubicBezTo>
                    <a:pt x="8" y="50"/>
                    <a:pt x="7" y="51"/>
                    <a:pt x="6" y="51"/>
                  </a:cubicBezTo>
                  <a:cubicBezTo>
                    <a:pt x="5" y="51"/>
                    <a:pt x="1" y="52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6"/>
                    <a:pt x="0" y="57"/>
                  </a:cubicBezTo>
                  <a:cubicBezTo>
                    <a:pt x="1" y="57"/>
                    <a:pt x="2" y="57"/>
                    <a:pt x="3" y="58"/>
                  </a:cubicBezTo>
                  <a:cubicBezTo>
                    <a:pt x="4" y="58"/>
                    <a:pt x="5" y="58"/>
                    <a:pt x="5" y="59"/>
                  </a:cubicBezTo>
                  <a:cubicBezTo>
                    <a:pt x="5" y="59"/>
                    <a:pt x="6" y="59"/>
                    <a:pt x="6" y="59"/>
                  </a:cubicBezTo>
                  <a:cubicBezTo>
                    <a:pt x="7" y="59"/>
                    <a:pt x="9" y="60"/>
                    <a:pt x="10" y="61"/>
                  </a:cubicBezTo>
                  <a:cubicBezTo>
                    <a:pt x="11" y="62"/>
                    <a:pt x="12" y="62"/>
                    <a:pt x="12" y="62"/>
                  </a:cubicBezTo>
                  <a:cubicBezTo>
                    <a:pt x="13" y="62"/>
                    <a:pt x="13" y="63"/>
                    <a:pt x="14" y="63"/>
                  </a:cubicBezTo>
                  <a:cubicBezTo>
                    <a:pt x="14" y="64"/>
                    <a:pt x="15" y="64"/>
                    <a:pt x="15" y="65"/>
                  </a:cubicBezTo>
                  <a:cubicBezTo>
                    <a:pt x="16" y="65"/>
                    <a:pt x="17" y="65"/>
                    <a:pt x="17" y="66"/>
                  </a:cubicBezTo>
                  <a:cubicBezTo>
                    <a:pt x="19" y="67"/>
                    <a:pt x="20" y="69"/>
                    <a:pt x="22" y="71"/>
                  </a:cubicBezTo>
                  <a:cubicBezTo>
                    <a:pt x="23" y="71"/>
                    <a:pt x="24" y="72"/>
                    <a:pt x="24" y="73"/>
                  </a:cubicBezTo>
                  <a:cubicBezTo>
                    <a:pt x="25" y="73"/>
                    <a:pt x="25" y="74"/>
                    <a:pt x="26" y="75"/>
                  </a:cubicBezTo>
                  <a:cubicBezTo>
                    <a:pt x="27" y="76"/>
                    <a:pt x="29" y="77"/>
                    <a:pt x="30" y="78"/>
                  </a:cubicBezTo>
                  <a:cubicBezTo>
                    <a:pt x="31" y="79"/>
                    <a:pt x="32" y="80"/>
                    <a:pt x="33" y="81"/>
                  </a:cubicBezTo>
                  <a:cubicBezTo>
                    <a:pt x="34" y="81"/>
                    <a:pt x="34" y="82"/>
                    <a:pt x="34" y="82"/>
                  </a:cubicBezTo>
                  <a:cubicBezTo>
                    <a:pt x="35" y="83"/>
                    <a:pt x="35" y="83"/>
                    <a:pt x="36" y="83"/>
                  </a:cubicBezTo>
                  <a:cubicBezTo>
                    <a:pt x="40" y="85"/>
                    <a:pt x="43" y="88"/>
                    <a:pt x="47" y="90"/>
                  </a:cubicBezTo>
                  <a:cubicBezTo>
                    <a:pt x="49" y="91"/>
                    <a:pt x="51" y="93"/>
                    <a:pt x="53" y="94"/>
                  </a:cubicBezTo>
                  <a:cubicBezTo>
                    <a:pt x="55" y="95"/>
                    <a:pt x="57" y="97"/>
                    <a:pt x="58" y="99"/>
                  </a:cubicBezTo>
                  <a:cubicBezTo>
                    <a:pt x="59" y="100"/>
                    <a:pt x="59" y="102"/>
                    <a:pt x="60" y="102"/>
                  </a:cubicBezTo>
                  <a:cubicBezTo>
                    <a:pt x="61" y="103"/>
                    <a:pt x="62" y="103"/>
                    <a:pt x="62" y="104"/>
                  </a:cubicBezTo>
                  <a:cubicBezTo>
                    <a:pt x="63" y="104"/>
                    <a:pt x="64" y="105"/>
                    <a:pt x="65" y="105"/>
                  </a:cubicBezTo>
                  <a:cubicBezTo>
                    <a:pt x="67" y="105"/>
                    <a:pt x="66" y="105"/>
                    <a:pt x="67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9" y="107"/>
                    <a:pt x="69" y="107"/>
                  </a:cubicBezTo>
                  <a:cubicBezTo>
                    <a:pt x="71" y="109"/>
                    <a:pt x="72" y="113"/>
                    <a:pt x="74" y="115"/>
                  </a:cubicBezTo>
                  <a:cubicBezTo>
                    <a:pt x="75" y="116"/>
                    <a:pt x="75" y="116"/>
                    <a:pt x="76" y="116"/>
                  </a:cubicBezTo>
                  <a:cubicBezTo>
                    <a:pt x="77" y="117"/>
                    <a:pt x="77" y="118"/>
                    <a:pt x="78" y="119"/>
                  </a:cubicBezTo>
                  <a:cubicBezTo>
                    <a:pt x="79" y="121"/>
                    <a:pt x="79" y="124"/>
                    <a:pt x="80" y="126"/>
                  </a:cubicBezTo>
                  <a:cubicBezTo>
                    <a:pt x="81" y="128"/>
                    <a:pt x="81" y="129"/>
                    <a:pt x="82" y="131"/>
                  </a:cubicBezTo>
                  <a:cubicBezTo>
                    <a:pt x="83" y="132"/>
                    <a:pt x="85" y="132"/>
                    <a:pt x="86" y="133"/>
                  </a:cubicBezTo>
                  <a:cubicBezTo>
                    <a:pt x="87" y="133"/>
                    <a:pt x="88" y="135"/>
                    <a:pt x="90" y="135"/>
                  </a:cubicBezTo>
                  <a:cubicBezTo>
                    <a:pt x="91" y="134"/>
                    <a:pt x="90" y="134"/>
                    <a:pt x="91" y="133"/>
                  </a:cubicBezTo>
                  <a:cubicBezTo>
                    <a:pt x="91" y="132"/>
                    <a:pt x="91" y="132"/>
                    <a:pt x="91" y="131"/>
                  </a:cubicBezTo>
                  <a:cubicBezTo>
                    <a:pt x="93" y="129"/>
                    <a:pt x="96" y="127"/>
                    <a:pt x="95" y="124"/>
                  </a:cubicBezTo>
                  <a:cubicBezTo>
                    <a:pt x="95" y="120"/>
                    <a:pt x="92" y="115"/>
                    <a:pt x="90" y="111"/>
                  </a:cubicBezTo>
                  <a:cubicBezTo>
                    <a:pt x="88" y="110"/>
                    <a:pt x="86" y="108"/>
                    <a:pt x="86" y="105"/>
                  </a:cubicBezTo>
                  <a:cubicBezTo>
                    <a:pt x="87" y="103"/>
                    <a:pt x="91" y="103"/>
                    <a:pt x="93" y="102"/>
                  </a:cubicBezTo>
                  <a:cubicBezTo>
                    <a:pt x="94" y="101"/>
                    <a:pt x="95" y="100"/>
                    <a:pt x="95" y="98"/>
                  </a:cubicBezTo>
                  <a:cubicBezTo>
                    <a:pt x="96" y="97"/>
                    <a:pt x="97" y="95"/>
                    <a:pt x="97" y="94"/>
                  </a:cubicBezTo>
                  <a:cubicBezTo>
                    <a:pt x="98" y="93"/>
                    <a:pt x="98" y="92"/>
                    <a:pt x="99" y="91"/>
                  </a:cubicBezTo>
                  <a:cubicBezTo>
                    <a:pt x="100" y="90"/>
                    <a:pt x="100" y="89"/>
                    <a:pt x="101" y="88"/>
                  </a:cubicBezTo>
                  <a:cubicBezTo>
                    <a:pt x="103" y="87"/>
                    <a:pt x="104" y="85"/>
                    <a:pt x="105" y="83"/>
                  </a:cubicBezTo>
                  <a:cubicBezTo>
                    <a:pt x="107" y="81"/>
                    <a:pt x="108" y="80"/>
                    <a:pt x="109" y="78"/>
                  </a:cubicBezTo>
                  <a:cubicBezTo>
                    <a:pt x="109" y="77"/>
                    <a:pt x="109" y="77"/>
                    <a:pt x="109" y="76"/>
                  </a:cubicBezTo>
                  <a:cubicBezTo>
                    <a:pt x="109" y="76"/>
                    <a:pt x="111" y="74"/>
                    <a:pt x="111" y="74"/>
                  </a:cubicBezTo>
                  <a:cubicBezTo>
                    <a:pt x="112" y="74"/>
                    <a:pt x="112" y="74"/>
                    <a:pt x="112" y="75"/>
                  </a:cubicBezTo>
                  <a:cubicBezTo>
                    <a:pt x="113" y="77"/>
                    <a:pt x="113" y="79"/>
                    <a:pt x="113" y="81"/>
                  </a:cubicBezTo>
                  <a:cubicBezTo>
                    <a:pt x="113" y="83"/>
                    <a:pt x="113" y="86"/>
                    <a:pt x="113" y="87"/>
                  </a:cubicBezTo>
                  <a:cubicBezTo>
                    <a:pt x="114" y="90"/>
                    <a:pt x="116" y="89"/>
                    <a:pt x="118" y="89"/>
                  </a:cubicBezTo>
                  <a:cubicBezTo>
                    <a:pt x="121" y="89"/>
                    <a:pt x="123" y="89"/>
                    <a:pt x="126" y="88"/>
                  </a:cubicBezTo>
                  <a:cubicBezTo>
                    <a:pt x="127" y="87"/>
                    <a:pt x="129" y="87"/>
                    <a:pt x="130" y="85"/>
                  </a:cubicBezTo>
                  <a:cubicBezTo>
                    <a:pt x="131" y="85"/>
                    <a:pt x="131" y="84"/>
                    <a:pt x="131" y="83"/>
                  </a:cubicBezTo>
                  <a:cubicBezTo>
                    <a:pt x="131" y="82"/>
                    <a:pt x="132" y="82"/>
                    <a:pt x="132" y="81"/>
                  </a:cubicBezTo>
                  <a:cubicBezTo>
                    <a:pt x="133" y="80"/>
                    <a:pt x="133" y="79"/>
                    <a:pt x="133" y="78"/>
                  </a:cubicBezTo>
                  <a:cubicBezTo>
                    <a:pt x="134" y="76"/>
                    <a:pt x="135" y="73"/>
                    <a:pt x="134" y="71"/>
                  </a:cubicBezTo>
                  <a:cubicBezTo>
                    <a:pt x="134" y="71"/>
                    <a:pt x="133" y="70"/>
                    <a:pt x="132" y="70"/>
                  </a:cubicBezTo>
                  <a:cubicBezTo>
                    <a:pt x="132" y="69"/>
                    <a:pt x="131" y="69"/>
                    <a:pt x="130" y="69"/>
                  </a:cubicBezTo>
                  <a:cubicBezTo>
                    <a:pt x="129" y="69"/>
                    <a:pt x="129" y="68"/>
                    <a:pt x="129" y="68"/>
                  </a:cubicBezTo>
                  <a:cubicBezTo>
                    <a:pt x="128" y="66"/>
                    <a:pt x="131" y="64"/>
                    <a:pt x="133" y="64"/>
                  </a:cubicBezTo>
                  <a:cubicBezTo>
                    <a:pt x="134" y="65"/>
                    <a:pt x="135" y="65"/>
                    <a:pt x="136" y="66"/>
                  </a:cubicBezTo>
                  <a:cubicBezTo>
                    <a:pt x="138" y="67"/>
                    <a:pt x="139" y="67"/>
                    <a:pt x="141" y="67"/>
                  </a:cubicBezTo>
                  <a:cubicBezTo>
                    <a:pt x="141" y="65"/>
                    <a:pt x="140" y="62"/>
                    <a:pt x="142" y="62"/>
                  </a:cubicBezTo>
                  <a:cubicBezTo>
                    <a:pt x="143" y="62"/>
                    <a:pt x="145" y="63"/>
                    <a:pt x="146" y="62"/>
                  </a:cubicBezTo>
                  <a:cubicBezTo>
                    <a:pt x="146" y="61"/>
                    <a:pt x="145" y="60"/>
                    <a:pt x="146" y="60"/>
                  </a:cubicBezTo>
                  <a:cubicBezTo>
                    <a:pt x="147" y="59"/>
                    <a:pt x="148" y="59"/>
                    <a:pt x="148" y="59"/>
                  </a:cubicBezTo>
                  <a:cubicBezTo>
                    <a:pt x="149" y="58"/>
                    <a:pt x="149" y="58"/>
                    <a:pt x="149" y="57"/>
                  </a:cubicBezTo>
                  <a:cubicBezTo>
                    <a:pt x="150" y="55"/>
                    <a:pt x="148" y="52"/>
                    <a:pt x="147" y="5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7" name="Freeform 29">
              <a:extLst>
                <a:ext uri="{FF2B5EF4-FFF2-40B4-BE49-F238E27FC236}">
                  <a16:creationId xmlns:a16="http://schemas.microsoft.com/office/drawing/2014/main" id="{08831623-9DBA-40AE-8255-82DDBFA8CD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7650" y="5132388"/>
              <a:ext cx="406400" cy="601663"/>
            </a:xfrm>
            <a:custGeom>
              <a:avLst/>
              <a:gdLst/>
              <a:ahLst/>
              <a:cxnLst>
                <a:cxn ang="0">
                  <a:pos x="53" y="277"/>
                </a:cxn>
                <a:cxn ang="0">
                  <a:pos x="53" y="278"/>
                </a:cxn>
                <a:cxn ang="0">
                  <a:pos x="54" y="276"/>
                </a:cxn>
                <a:cxn ang="0">
                  <a:pos x="58" y="282"/>
                </a:cxn>
                <a:cxn ang="0">
                  <a:pos x="54" y="280"/>
                </a:cxn>
                <a:cxn ang="0">
                  <a:pos x="208" y="236"/>
                </a:cxn>
                <a:cxn ang="0">
                  <a:pos x="200" y="227"/>
                </a:cxn>
                <a:cxn ang="0">
                  <a:pos x="192" y="213"/>
                </a:cxn>
                <a:cxn ang="0">
                  <a:pos x="188" y="190"/>
                </a:cxn>
                <a:cxn ang="0">
                  <a:pos x="201" y="176"/>
                </a:cxn>
                <a:cxn ang="0">
                  <a:pos x="195" y="148"/>
                </a:cxn>
                <a:cxn ang="0">
                  <a:pos x="198" y="139"/>
                </a:cxn>
                <a:cxn ang="0">
                  <a:pos x="183" y="129"/>
                </a:cxn>
                <a:cxn ang="0">
                  <a:pos x="170" y="135"/>
                </a:cxn>
                <a:cxn ang="0">
                  <a:pos x="147" y="122"/>
                </a:cxn>
                <a:cxn ang="0">
                  <a:pos x="137" y="115"/>
                </a:cxn>
                <a:cxn ang="0">
                  <a:pos x="141" y="103"/>
                </a:cxn>
                <a:cxn ang="0">
                  <a:pos x="137" y="90"/>
                </a:cxn>
                <a:cxn ang="0">
                  <a:pos x="137" y="76"/>
                </a:cxn>
                <a:cxn ang="0">
                  <a:pos x="107" y="61"/>
                </a:cxn>
                <a:cxn ang="0">
                  <a:pos x="105" y="40"/>
                </a:cxn>
                <a:cxn ang="0">
                  <a:pos x="95" y="29"/>
                </a:cxn>
                <a:cxn ang="0">
                  <a:pos x="81" y="12"/>
                </a:cxn>
                <a:cxn ang="0">
                  <a:pos x="44" y="0"/>
                </a:cxn>
                <a:cxn ang="0">
                  <a:pos x="26" y="8"/>
                </a:cxn>
                <a:cxn ang="0">
                  <a:pos x="6" y="18"/>
                </a:cxn>
                <a:cxn ang="0">
                  <a:pos x="2" y="31"/>
                </a:cxn>
                <a:cxn ang="0">
                  <a:pos x="2" y="48"/>
                </a:cxn>
                <a:cxn ang="0">
                  <a:pos x="6" y="64"/>
                </a:cxn>
                <a:cxn ang="0">
                  <a:pos x="19" y="82"/>
                </a:cxn>
                <a:cxn ang="0">
                  <a:pos x="23" y="112"/>
                </a:cxn>
                <a:cxn ang="0">
                  <a:pos x="11" y="142"/>
                </a:cxn>
                <a:cxn ang="0">
                  <a:pos x="24" y="151"/>
                </a:cxn>
                <a:cxn ang="0">
                  <a:pos x="24" y="164"/>
                </a:cxn>
                <a:cxn ang="0">
                  <a:pos x="36" y="173"/>
                </a:cxn>
                <a:cxn ang="0">
                  <a:pos x="15" y="176"/>
                </a:cxn>
                <a:cxn ang="0">
                  <a:pos x="28" y="201"/>
                </a:cxn>
                <a:cxn ang="0">
                  <a:pos x="25" y="214"/>
                </a:cxn>
                <a:cxn ang="0">
                  <a:pos x="13" y="212"/>
                </a:cxn>
                <a:cxn ang="0">
                  <a:pos x="22" y="223"/>
                </a:cxn>
                <a:cxn ang="0">
                  <a:pos x="36" y="241"/>
                </a:cxn>
                <a:cxn ang="0">
                  <a:pos x="51" y="247"/>
                </a:cxn>
                <a:cxn ang="0">
                  <a:pos x="60" y="258"/>
                </a:cxn>
                <a:cxn ang="0">
                  <a:pos x="72" y="270"/>
                </a:cxn>
                <a:cxn ang="0">
                  <a:pos x="82" y="262"/>
                </a:cxn>
                <a:cxn ang="0">
                  <a:pos x="93" y="244"/>
                </a:cxn>
                <a:cxn ang="0">
                  <a:pos x="105" y="245"/>
                </a:cxn>
                <a:cxn ang="0">
                  <a:pos x="117" y="255"/>
                </a:cxn>
                <a:cxn ang="0">
                  <a:pos x="131" y="272"/>
                </a:cxn>
                <a:cxn ang="0">
                  <a:pos x="151" y="289"/>
                </a:cxn>
                <a:cxn ang="0">
                  <a:pos x="143" y="305"/>
                </a:cxn>
                <a:cxn ang="0">
                  <a:pos x="138" y="321"/>
                </a:cxn>
                <a:cxn ang="0">
                  <a:pos x="159" y="316"/>
                </a:cxn>
                <a:cxn ang="0">
                  <a:pos x="174" y="312"/>
                </a:cxn>
                <a:cxn ang="0">
                  <a:pos x="190" y="299"/>
                </a:cxn>
                <a:cxn ang="0">
                  <a:pos x="187" y="276"/>
                </a:cxn>
                <a:cxn ang="0">
                  <a:pos x="202" y="269"/>
                </a:cxn>
              </a:cxnLst>
              <a:rect l="0" t="0" r="r" b="b"/>
              <a:pathLst>
                <a:path w="218" h="322">
                  <a:moveTo>
                    <a:pt x="53" y="277"/>
                  </a:move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6"/>
                  </a:cubicBezTo>
                  <a:cubicBezTo>
                    <a:pt x="53" y="277"/>
                    <a:pt x="53" y="277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cubicBezTo>
                    <a:pt x="53" y="278"/>
                    <a:pt x="53" y="278"/>
                    <a:pt x="53" y="278"/>
                  </a:cubicBezTo>
                  <a:cubicBezTo>
                    <a:pt x="53" y="278"/>
                    <a:pt x="53" y="277"/>
                    <a:pt x="53" y="277"/>
                  </a:cubicBezTo>
                  <a:moveTo>
                    <a:pt x="53" y="278"/>
                  </a:moveTo>
                  <a:cubicBezTo>
                    <a:pt x="53" y="278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moveTo>
                    <a:pt x="54" y="276"/>
                  </a:moveTo>
                  <a:cubicBezTo>
                    <a:pt x="54" y="276"/>
                    <a:pt x="54" y="276"/>
                    <a:pt x="54" y="276"/>
                  </a:cubicBezTo>
                  <a:cubicBezTo>
                    <a:pt x="55" y="275"/>
                    <a:pt x="56" y="275"/>
                    <a:pt x="56" y="275"/>
                  </a:cubicBezTo>
                  <a:cubicBezTo>
                    <a:pt x="55" y="275"/>
                    <a:pt x="54" y="276"/>
                    <a:pt x="54" y="276"/>
                  </a:cubicBezTo>
                  <a:moveTo>
                    <a:pt x="58" y="282"/>
                  </a:moveTo>
                  <a:cubicBezTo>
                    <a:pt x="58" y="283"/>
                    <a:pt x="59" y="284"/>
                    <a:pt x="59" y="285"/>
                  </a:cubicBezTo>
                  <a:cubicBezTo>
                    <a:pt x="59" y="284"/>
                    <a:pt x="58" y="283"/>
                    <a:pt x="58" y="282"/>
                  </a:cubicBezTo>
                  <a:moveTo>
                    <a:pt x="56" y="275"/>
                  </a:moveTo>
                  <a:cubicBezTo>
                    <a:pt x="57" y="275"/>
                    <a:pt x="57" y="275"/>
                    <a:pt x="57" y="275"/>
                  </a:cubicBezTo>
                  <a:cubicBezTo>
                    <a:pt x="57" y="275"/>
                    <a:pt x="57" y="275"/>
                    <a:pt x="56" y="275"/>
                  </a:cubicBezTo>
                  <a:moveTo>
                    <a:pt x="54" y="280"/>
                  </a:moveTo>
                  <a:cubicBezTo>
                    <a:pt x="54" y="280"/>
                    <a:pt x="54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moveTo>
                    <a:pt x="217" y="248"/>
                  </a:moveTo>
                  <a:cubicBezTo>
                    <a:pt x="217" y="248"/>
                    <a:pt x="216" y="248"/>
                    <a:pt x="216" y="247"/>
                  </a:cubicBezTo>
                  <a:cubicBezTo>
                    <a:pt x="216" y="247"/>
                    <a:pt x="215" y="246"/>
                    <a:pt x="215" y="246"/>
                  </a:cubicBezTo>
                  <a:cubicBezTo>
                    <a:pt x="215" y="245"/>
                    <a:pt x="214" y="244"/>
                    <a:pt x="213" y="243"/>
                  </a:cubicBezTo>
                  <a:cubicBezTo>
                    <a:pt x="212" y="242"/>
                    <a:pt x="210" y="240"/>
                    <a:pt x="210" y="238"/>
                  </a:cubicBezTo>
                  <a:cubicBezTo>
                    <a:pt x="210" y="237"/>
                    <a:pt x="209" y="237"/>
                    <a:pt x="208" y="236"/>
                  </a:cubicBezTo>
                  <a:cubicBezTo>
                    <a:pt x="207" y="235"/>
                    <a:pt x="207" y="234"/>
                    <a:pt x="206" y="233"/>
                  </a:cubicBezTo>
                  <a:cubicBezTo>
                    <a:pt x="205" y="232"/>
                    <a:pt x="205" y="231"/>
                    <a:pt x="203" y="231"/>
                  </a:cubicBezTo>
                  <a:cubicBezTo>
                    <a:pt x="202" y="230"/>
                    <a:pt x="200" y="231"/>
                    <a:pt x="198" y="230"/>
                  </a:cubicBezTo>
                  <a:cubicBezTo>
                    <a:pt x="197" y="230"/>
                    <a:pt x="195" y="230"/>
                    <a:pt x="194" y="230"/>
                  </a:cubicBezTo>
                  <a:cubicBezTo>
                    <a:pt x="193" y="229"/>
                    <a:pt x="193" y="226"/>
                    <a:pt x="194" y="226"/>
                  </a:cubicBezTo>
                  <a:cubicBezTo>
                    <a:pt x="196" y="226"/>
                    <a:pt x="198" y="228"/>
                    <a:pt x="200" y="227"/>
                  </a:cubicBezTo>
                  <a:cubicBezTo>
                    <a:pt x="199" y="225"/>
                    <a:pt x="198" y="224"/>
                    <a:pt x="197" y="222"/>
                  </a:cubicBezTo>
                  <a:cubicBezTo>
                    <a:pt x="196" y="221"/>
                    <a:pt x="196" y="221"/>
                    <a:pt x="195" y="220"/>
                  </a:cubicBezTo>
                  <a:cubicBezTo>
                    <a:pt x="195" y="220"/>
                    <a:pt x="194" y="219"/>
                    <a:pt x="194" y="218"/>
                  </a:cubicBezTo>
                  <a:cubicBezTo>
                    <a:pt x="194" y="218"/>
                    <a:pt x="193" y="217"/>
                    <a:pt x="193" y="216"/>
                  </a:cubicBezTo>
                  <a:cubicBezTo>
                    <a:pt x="193" y="215"/>
                    <a:pt x="193" y="214"/>
                    <a:pt x="193" y="214"/>
                  </a:cubicBezTo>
                  <a:cubicBezTo>
                    <a:pt x="192" y="213"/>
                    <a:pt x="192" y="214"/>
                    <a:pt x="192" y="213"/>
                  </a:cubicBezTo>
                  <a:cubicBezTo>
                    <a:pt x="191" y="212"/>
                    <a:pt x="192" y="210"/>
                    <a:pt x="191" y="210"/>
                  </a:cubicBezTo>
                  <a:cubicBezTo>
                    <a:pt x="191" y="209"/>
                    <a:pt x="191" y="209"/>
                    <a:pt x="190" y="209"/>
                  </a:cubicBezTo>
                  <a:cubicBezTo>
                    <a:pt x="190" y="209"/>
                    <a:pt x="190" y="208"/>
                    <a:pt x="190" y="208"/>
                  </a:cubicBezTo>
                  <a:cubicBezTo>
                    <a:pt x="189" y="207"/>
                    <a:pt x="188" y="205"/>
                    <a:pt x="187" y="203"/>
                  </a:cubicBezTo>
                  <a:cubicBezTo>
                    <a:pt x="187" y="201"/>
                    <a:pt x="187" y="196"/>
                    <a:pt x="187" y="194"/>
                  </a:cubicBezTo>
                  <a:cubicBezTo>
                    <a:pt x="187" y="192"/>
                    <a:pt x="188" y="191"/>
                    <a:pt x="188" y="190"/>
                  </a:cubicBezTo>
                  <a:cubicBezTo>
                    <a:pt x="189" y="189"/>
                    <a:pt x="190" y="189"/>
                    <a:pt x="191" y="187"/>
                  </a:cubicBezTo>
                  <a:cubicBezTo>
                    <a:pt x="191" y="186"/>
                    <a:pt x="191" y="186"/>
                    <a:pt x="191" y="185"/>
                  </a:cubicBezTo>
                  <a:cubicBezTo>
                    <a:pt x="191" y="184"/>
                    <a:pt x="192" y="184"/>
                    <a:pt x="192" y="183"/>
                  </a:cubicBezTo>
                  <a:cubicBezTo>
                    <a:pt x="194" y="181"/>
                    <a:pt x="194" y="178"/>
                    <a:pt x="196" y="177"/>
                  </a:cubicBezTo>
                  <a:cubicBezTo>
                    <a:pt x="196" y="176"/>
                    <a:pt x="198" y="176"/>
                    <a:pt x="198" y="176"/>
                  </a:cubicBezTo>
                  <a:cubicBezTo>
                    <a:pt x="199" y="176"/>
                    <a:pt x="201" y="176"/>
                    <a:pt x="201" y="176"/>
                  </a:cubicBezTo>
                  <a:cubicBezTo>
                    <a:pt x="202" y="175"/>
                    <a:pt x="202" y="174"/>
                    <a:pt x="202" y="173"/>
                  </a:cubicBezTo>
                  <a:cubicBezTo>
                    <a:pt x="202" y="169"/>
                    <a:pt x="202" y="165"/>
                    <a:pt x="202" y="161"/>
                  </a:cubicBezTo>
                  <a:cubicBezTo>
                    <a:pt x="202" y="159"/>
                    <a:pt x="201" y="157"/>
                    <a:pt x="199" y="156"/>
                  </a:cubicBezTo>
                  <a:cubicBezTo>
                    <a:pt x="199" y="155"/>
                    <a:pt x="198" y="154"/>
                    <a:pt x="198" y="154"/>
                  </a:cubicBezTo>
                  <a:cubicBezTo>
                    <a:pt x="197" y="153"/>
                    <a:pt x="196" y="153"/>
                    <a:pt x="195" y="152"/>
                  </a:cubicBezTo>
                  <a:cubicBezTo>
                    <a:pt x="194" y="151"/>
                    <a:pt x="195" y="149"/>
                    <a:pt x="195" y="148"/>
                  </a:cubicBezTo>
                  <a:cubicBezTo>
                    <a:pt x="194" y="148"/>
                    <a:pt x="193" y="147"/>
                    <a:pt x="193" y="146"/>
                  </a:cubicBezTo>
                  <a:cubicBezTo>
                    <a:pt x="193" y="145"/>
                    <a:pt x="192" y="145"/>
                    <a:pt x="192" y="144"/>
                  </a:cubicBezTo>
                  <a:cubicBezTo>
                    <a:pt x="193" y="143"/>
                    <a:pt x="193" y="143"/>
                    <a:pt x="194" y="143"/>
                  </a:cubicBezTo>
                  <a:cubicBezTo>
                    <a:pt x="194" y="142"/>
                    <a:pt x="194" y="142"/>
                    <a:pt x="194" y="141"/>
                  </a:cubicBezTo>
                  <a:cubicBezTo>
                    <a:pt x="194" y="140"/>
                    <a:pt x="196" y="140"/>
                    <a:pt x="196" y="140"/>
                  </a:cubicBezTo>
                  <a:cubicBezTo>
                    <a:pt x="197" y="139"/>
                    <a:pt x="197" y="139"/>
                    <a:pt x="198" y="139"/>
                  </a:cubicBezTo>
                  <a:cubicBezTo>
                    <a:pt x="199" y="138"/>
                    <a:pt x="200" y="138"/>
                    <a:pt x="201" y="137"/>
                  </a:cubicBezTo>
                  <a:cubicBezTo>
                    <a:pt x="204" y="137"/>
                    <a:pt x="207" y="137"/>
                    <a:pt x="208" y="135"/>
                  </a:cubicBezTo>
                  <a:cubicBezTo>
                    <a:pt x="209" y="132"/>
                    <a:pt x="206" y="131"/>
                    <a:pt x="204" y="130"/>
                  </a:cubicBezTo>
                  <a:cubicBezTo>
                    <a:pt x="201" y="128"/>
                    <a:pt x="199" y="128"/>
                    <a:pt x="196" y="126"/>
                  </a:cubicBezTo>
                  <a:cubicBezTo>
                    <a:pt x="193" y="125"/>
                    <a:pt x="191" y="122"/>
                    <a:pt x="188" y="123"/>
                  </a:cubicBezTo>
                  <a:cubicBezTo>
                    <a:pt x="185" y="124"/>
                    <a:pt x="185" y="127"/>
                    <a:pt x="183" y="129"/>
                  </a:cubicBezTo>
                  <a:cubicBezTo>
                    <a:pt x="182" y="129"/>
                    <a:pt x="182" y="130"/>
                    <a:pt x="181" y="131"/>
                  </a:cubicBezTo>
                  <a:cubicBezTo>
                    <a:pt x="181" y="131"/>
                    <a:pt x="181" y="132"/>
                    <a:pt x="180" y="133"/>
                  </a:cubicBezTo>
                  <a:cubicBezTo>
                    <a:pt x="180" y="133"/>
                    <a:pt x="180" y="134"/>
                    <a:pt x="180" y="134"/>
                  </a:cubicBezTo>
                  <a:cubicBezTo>
                    <a:pt x="179" y="136"/>
                    <a:pt x="179" y="135"/>
                    <a:pt x="178" y="136"/>
                  </a:cubicBezTo>
                  <a:cubicBezTo>
                    <a:pt x="176" y="138"/>
                    <a:pt x="175" y="138"/>
                    <a:pt x="172" y="137"/>
                  </a:cubicBezTo>
                  <a:cubicBezTo>
                    <a:pt x="170" y="137"/>
                    <a:pt x="170" y="137"/>
                    <a:pt x="170" y="135"/>
                  </a:cubicBezTo>
                  <a:cubicBezTo>
                    <a:pt x="169" y="135"/>
                    <a:pt x="169" y="133"/>
                    <a:pt x="169" y="133"/>
                  </a:cubicBezTo>
                  <a:cubicBezTo>
                    <a:pt x="168" y="132"/>
                    <a:pt x="167" y="132"/>
                    <a:pt x="166" y="131"/>
                  </a:cubicBezTo>
                  <a:cubicBezTo>
                    <a:pt x="165" y="131"/>
                    <a:pt x="164" y="130"/>
                    <a:pt x="163" y="130"/>
                  </a:cubicBezTo>
                  <a:cubicBezTo>
                    <a:pt x="161" y="128"/>
                    <a:pt x="159" y="126"/>
                    <a:pt x="156" y="125"/>
                  </a:cubicBezTo>
                  <a:cubicBezTo>
                    <a:pt x="153" y="124"/>
                    <a:pt x="150" y="123"/>
                    <a:pt x="147" y="122"/>
                  </a:cubicBezTo>
                  <a:cubicBezTo>
                    <a:pt x="147" y="122"/>
                    <a:pt x="147" y="122"/>
                    <a:pt x="147" y="122"/>
                  </a:cubicBezTo>
                  <a:cubicBezTo>
                    <a:pt x="147" y="122"/>
                    <a:pt x="146" y="122"/>
                    <a:pt x="146" y="122"/>
                  </a:cubicBezTo>
                  <a:cubicBezTo>
                    <a:pt x="145" y="121"/>
                    <a:pt x="144" y="121"/>
                    <a:pt x="143" y="120"/>
                  </a:cubicBezTo>
                  <a:cubicBezTo>
                    <a:pt x="143" y="119"/>
                    <a:pt x="143" y="119"/>
                    <a:pt x="143" y="118"/>
                  </a:cubicBezTo>
                  <a:cubicBezTo>
                    <a:pt x="143" y="118"/>
                    <a:pt x="142" y="117"/>
                    <a:pt x="142" y="117"/>
                  </a:cubicBezTo>
                  <a:cubicBezTo>
                    <a:pt x="142" y="116"/>
                    <a:pt x="142" y="116"/>
                    <a:pt x="141" y="115"/>
                  </a:cubicBezTo>
                  <a:cubicBezTo>
                    <a:pt x="141" y="115"/>
                    <a:pt x="138" y="115"/>
                    <a:pt x="137" y="115"/>
                  </a:cubicBezTo>
                  <a:cubicBezTo>
                    <a:pt x="136" y="115"/>
                    <a:pt x="135" y="115"/>
                    <a:pt x="134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2" y="111"/>
                    <a:pt x="133" y="111"/>
                    <a:pt x="134" y="110"/>
                  </a:cubicBezTo>
                  <a:cubicBezTo>
                    <a:pt x="135" y="109"/>
                    <a:pt x="135" y="108"/>
                    <a:pt x="136" y="108"/>
                  </a:cubicBezTo>
                  <a:cubicBezTo>
                    <a:pt x="138" y="107"/>
                    <a:pt x="140" y="108"/>
                    <a:pt x="141" y="108"/>
                  </a:cubicBezTo>
                  <a:cubicBezTo>
                    <a:pt x="143" y="107"/>
                    <a:pt x="142" y="104"/>
                    <a:pt x="141" y="103"/>
                  </a:cubicBezTo>
                  <a:cubicBezTo>
                    <a:pt x="140" y="102"/>
                    <a:pt x="139" y="101"/>
                    <a:pt x="139" y="101"/>
                  </a:cubicBezTo>
                  <a:cubicBezTo>
                    <a:pt x="138" y="100"/>
                    <a:pt x="136" y="100"/>
                    <a:pt x="135" y="99"/>
                  </a:cubicBezTo>
                  <a:cubicBezTo>
                    <a:pt x="134" y="98"/>
                    <a:pt x="133" y="95"/>
                    <a:pt x="134" y="94"/>
                  </a:cubicBezTo>
                  <a:cubicBezTo>
                    <a:pt x="134" y="93"/>
                    <a:pt x="135" y="93"/>
                    <a:pt x="136" y="92"/>
                  </a:cubicBezTo>
                  <a:cubicBezTo>
                    <a:pt x="136" y="92"/>
                    <a:pt x="136" y="92"/>
                    <a:pt x="136" y="91"/>
                  </a:cubicBezTo>
                  <a:cubicBezTo>
                    <a:pt x="137" y="91"/>
                    <a:pt x="137" y="90"/>
                    <a:pt x="137" y="90"/>
                  </a:cubicBezTo>
                  <a:cubicBezTo>
                    <a:pt x="137" y="88"/>
                    <a:pt x="138" y="88"/>
                    <a:pt x="139" y="87"/>
                  </a:cubicBezTo>
                  <a:cubicBezTo>
                    <a:pt x="140" y="86"/>
                    <a:pt x="141" y="85"/>
                    <a:pt x="141" y="84"/>
                  </a:cubicBezTo>
                  <a:cubicBezTo>
                    <a:pt x="141" y="83"/>
                    <a:pt x="140" y="83"/>
                    <a:pt x="139" y="82"/>
                  </a:cubicBezTo>
                  <a:cubicBezTo>
                    <a:pt x="138" y="81"/>
                    <a:pt x="138" y="80"/>
                    <a:pt x="138" y="79"/>
                  </a:cubicBezTo>
                  <a:cubicBezTo>
                    <a:pt x="139" y="78"/>
                    <a:pt x="140" y="78"/>
                    <a:pt x="139" y="77"/>
                  </a:cubicBezTo>
                  <a:cubicBezTo>
                    <a:pt x="139" y="76"/>
                    <a:pt x="138" y="76"/>
                    <a:pt x="137" y="76"/>
                  </a:cubicBezTo>
                  <a:cubicBezTo>
                    <a:pt x="137" y="75"/>
                    <a:pt x="137" y="75"/>
                    <a:pt x="136" y="74"/>
                  </a:cubicBezTo>
                  <a:cubicBezTo>
                    <a:pt x="135" y="73"/>
                    <a:pt x="134" y="73"/>
                    <a:pt x="133" y="73"/>
                  </a:cubicBezTo>
                  <a:cubicBezTo>
                    <a:pt x="126" y="73"/>
                    <a:pt x="120" y="73"/>
                    <a:pt x="114" y="71"/>
                  </a:cubicBezTo>
                  <a:cubicBezTo>
                    <a:pt x="112" y="70"/>
                    <a:pt x="111" y="69"/>
                    <a:pt x="110" y="68"/>
                  </a:cubicBezTo>
                  <a:cubicBezTo>
                    <a:pt x="110" y="67"/>
                    <a:pt x="110" y="66"/>
                    <a:pt x="110" y="65"/>
                  </a:cubicBezTo>
                  <a:cubicBezTo>
                    <a:pt x="110" y="62"/>
                    <a:pt x="110" y="62"/>
                    <a:pt x="107" y="61"/>
                  </a:cubicBezTo>
                  <a:cubicBezTo>
                    <a:pt x="105" y="61"/>
                    <a:pt x="104" y="61"/>
                    <a:pt x="104" y="59"/>
                  </a:cubicBezTo>
                  <a:cubicBezTo>
                    <a:pt x="103" y="58"/>
                    <a:pt x="103" y="57"/>
                    <a:pt x="103" y="56"/>
                  </a:cubicBezTo>
                  <a:cubicBezTo>
                    <a:pt x="104" y="55"/>
                    <a:pt x="107" y="53"/>
                    <a:pt x="106" y="52"/>
                  </a:cubicBezTo>
                  <a:cubicBezTo>
                    <a:pt x="104" y="52"/>
                    <a:pt x="103" y="48"/>
                    <a:pt x="104" y="46"/>
                  </a:cubicBezTo>
                  <a:cubicBezTo>
                    <a:pt x="104" y="45"/>
                    <a:pt x="105" y="45"/>
                    <a:pt x="105" y="44"/>
                  </a:cubicBezTo>
                  <a:cubicBezTo>
                    <a:pt x="105" y="43"/>
                    <a:pt x="105" y="41"/>
                    <a:pt x="105" y="40"/>
                  </a:cubicBezTo>
                  <a:cubicBezTo>
                    <a:pt x="105" y="38"/>
                    <a:pt x="106" y="35"/>
                    <a:pt x="105" y="33"/>
                  </a:cubicBezTo>
                  <a:cubicBezTo>
                    <a:pt x="104" y="32"/>
                    <a:pt x="103" y="32"/>
                    <a:pt x="102" y="32"/>
                  </a:cubicBezTo>
                  <a:cubicBezTo>
                    <a:pt x="101" y="32"/>
                    <a:pt x="100" y="31"/>
                    <a:pt x="100" y="32"/>
                  </a:cubicBezTo>
                  <a:cubicBezTo>
                    <a:pt x="99" y="32"/>
                    <a:pt x="99" y="33"/>
                    <a:pt x="98" y="33"/>
                  </a:cubicBezTo>
                  <a:cubicBezTo>
                    <a:pt x="97" y="33"/>
                    <a:pt x="96" y="31"/>
                    <a:pt x="96" y="30"/>
                  </a:cubicBezTo>
                  <a:cubicBezTo>
                    <a:pt x="96" y="30"/>
                    <a:pt x="95" y="29"/>
                    <a:pt x="95" y="29"/>
                  </a:cubicBezTo>
                  <a:cubicBezTo>
                    <a:pt x="94" y="28"/>
                    <a:pt x="95" y="28"/>
                    <a:pt x="94" y="27"/>
                  </a:cubicBezTo>
                  <a:cubicBezTo>
                    <a:pt x="94" y="26"/>
                    <a:pt x="93" y="25"/>
                    <a:pt x="92" y="25"/>
                  </a:cubicBezTo>
                  <a:cubicBezTo>
                    <a:pt x="90" y="24"/>
                    <a:pt x="90" y="25"/>
                    <a:pt x="90" y="23"/>
                  </a:cubicBezTo>
                  <a:cubicBezTo>
                    <a:pt x="89" y="20"/>
                    <a:pt x="86" y="20"/>
                    <a:pt x="84" y="19"/>
                  </a:cubicBezTo>
                  <a:cubicBezTo>
                    <a:pt x="83" y="19"/>
                    <a:pt x="82" y="19"/>
                    <a:pt x="82" y="18"/>
                  </a:cubicBezTo>
                  <a:cubicBezTo>
                    <a:pt x="80" y="16"/>
                    <a:pt x="81" y="14"/>
                    <a:pt x="81" y="12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5" y="3"/>
                    <a:pt x="75" y="3"/>
                    <a:pt x="74" y="3"/>
                  </a:cubicBezTo>
                  <a:cubicBezTo>
                    <a:pt x="71" y="3"/>
                    <a:pt x="68" y="1"/>
                    <a:pt x="65" y="1"/>
                  </a:cubicBezTo>
                  <a:cubicBezTo>
                    <a:pt x="61" y="1"/>
                    <a:pt x="59" y="2"/>
                    <a:pt x="56" y="3"/>
                  </a:cubicBezTo>
                  <a:cubicBezTo>
                    <a:pt x="53" y="3"/>
                    <a:pt x="50" y="3"/>
                    <a:pt x="46" y="2"/>
                  </a:cubicBezTo>
                  <a:cubicBezTo>
                    <a:pt x="45" y="2"/>
                    <a:pt x="45" y="1"/>
                    <a:pt x="44" y="0"/>
                  </a:cubicBezTo>
                  <a:cubicBezTo>
                    <a:pt x="43" y="0"/>
                    <a:pt x="41" y="1"/>
                    <a:pt x="40" y="1"/>
                  </a:cubicBezTo>
                  <a:cubicBezTo>
                    <a:pt x="38" y="1"/>
                    <a:pt x="37" y="1"/>
                    <a:pt x="36" y="2"/>
                  </a:cubicBezTo>
                  <a:cubicBezTo>
                    <a:pt x="35" y="2"/>
                    <a:pt x="35" y="3"/>
                    <a:pt x="34" y="3"/>
                  </a:cubicBezTo>
                  <a:cubicBezTo>
                    <a:pt x="34" y="4"/>
                    <a:pt x="34" y="4"/>
                    <a:pt x="33" y="4"/>
                  </a:cubicBezTo>
                  <a:cubicBezTo>
                    <a:pt x="33" y="4"/>
                    <a:pt x="33" y="5"/>
                    <a:pt x="33" y="5"/>
                  </a:cubicBezTo>
                  <a:cubicBezTo>
                    <a:pt x="31" y="7"/>
                    <a:pt x="28" y="7"/>
                    <a:pt x="26" y="8"/>
                  </a:cubicBezTo>
                  <a:cubicBezTo>
                    <a:pt x="25" y="9"/>
                    <a:pt x="24" y="10"/>
                    <a:pt x="23" y="11"/>
                  </a:cubicBezTo>
                  <a:cubicBezTo>
                    <a:pt x="23" y="13"/>
                    <a:pt x="23" y="13"/>
                    <a:pt x="23" y="14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16" y="15"/>
                    <a:pt x="15" y="13"/>
                    <a:pt x="14" y="11"/>
                  </a:cubicBezTo>
                  <a:cubicBezTo>
                    <a:pt x="13" y="11"/>
                    <a:pt x="12" y="10"/>
                    <a:pt x="12" y="9"/>
                  </a:cubicBezTo>
                  <a:cubicBezTo>
                    <a:pt x="9" y="11"/>
                    <a:pt x="7" y="15"/>
                    <a:pt x="6" y="18"/>
                  </a:cubicBezTo>
                  <a:cubicBezTo>
                    <a:pt x="4" y="19"/>
                    <a:pt x="1" y="18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0" y="22"/>
                    <a:pt x="0" y="24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29"/>
                    <a:pt x="1" y="30"/>
                    <a:pt x="1" y="30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1"/>
                    <a:pt x="2" y="32"/>
                    <a:pt x="2" y="32"/>
                  </a:cubicBezTo>
                  <a:cubicBezTo>
                    <a:pt x="2" y="33"/>
                    <a:pt x="2" y="35"/>
                    <a:pt x="2" y="36"/>
                  </a:cubicBezTo>
                  <a:cubicBezTo>
                    <a:pt x="2" y="38"/>
                    <a:pt x="4" y="38"/>
                    <a:pt x="4" y="40"/>
                  </a:cubicBezTo>
                  <a:cubicBezTo>
                    <a:pt x="4" y="41"/>
                    <a:pt x="3" y="41"/>
                    <a:pt x="3" y="42"/>
                  </a:cubicBezTo>
                  <a:cubicBezTo>
                    <a:pt x="3" y="43"/>
                    <a:pt x="2" y="43"/>
                    <a:pt x="2" y="44"/>
                  </a:cubicBezTo>
                  <a:cubicBezTo>
                    <a:pt x="2" y="46"/>
                    <a:pt x="2" y="47"/>
                    <a:pt x="2" y="48"/>
                  </a:cubicBezTo>
                  <a:cubicBezTo>
                    <a:pt x="4" y="49"/>
                    <a:pt x="4" y="48"/>
                    <a:pt x="5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7" y="52"/>
                    <a:pt x="8" y="53"/>
                    <a:pt x="7" y="55"/>
                  </a:cubicBezTo>
                  <a:cubicBezTo>
                    <a:pt x="7" y="55"/>
                    <a:pt x="6" y="55"/>
                    <a:pt x="6" y="56"/>
                  </a:cubicBezTo>
                  <a:cubicBezTo>
                    <a:pt x="6" y="57"/>
                    <a:pt x="7" y="57"/>
                    <a:pt x="8" y="58"/>
                  </a:cubicBezTo>
                  <a:cubicBezTo>
                    <a:pt x="8" y="61"/>
                    <a:pt x="4" y="62"/>
                    <a:pt x="6" y="64"/>
                  </a:cubicBezTo>
                  <a:cubicBezTo>
                    <a:pt x="6" y="65"/>
                    <a:pt x="7" y="66"/>
                    <a:pt x="8" y="66"/>
                  </a:cubicBezTo>
                  <a:cubicBezTo>
                    <a:pt x="10" y="67"/>
                    <a:pt x="13" y="69"/>
                    <a:pt x="17" y="70"/>
                  </a:cubicBezTo>
                  <a:cubicBezTo>
                    <a:pt x="19" y="70"/>
                    <a:pt x="19" y="70"/>
                    <a:pt x="21" y="72"/>
                  </a:cubicBezTo>
                  <a:cubicBezTo>
                    <a:pt x="22" y="73"/>
                    <a:pt x="23" y="75"/>
                    <a:pt x="24" y="76"/>
                  </a:cubicBezTo>
                  <a:cubicBezTo>
                    <a:pt x="25" y="77"/>
                    <a:pt x="26" y="77"/>
                    <a:pt x="26" y="78"/>
                  </a:cubicBezTo>
                  <a:cubicBezTo>
                    <a:pt x="28" y="82"/>
                    <a:pt x="21" y="82"/>
                    <a:pt x="19" y="82"/>
                  </a:cubicBezTo>
                  <a:cubicBezTo>
                    <a:pt x="17" y="83"/>
                    <a:pt x="13" y="84"/>
                    <a:pt x="12" y="86"/>
                  </a:cubicBezTo>
                  <a:cubicBezTo>
                    <a:pt x="11" y="87"/>
                    <a:pt x="12" y="88"/>
                    <a:pt x="12" y="89"/>
                  </a:cubicBezTo>
                  <a:cubicBezTo>
                    <a:pt x="12" y="90"/>
                    <a:pt x="10" y="91"/>
                    <a:pt x="10" y="92"/>
                  </a:cubicBezTo>
                  <a:cubicBezTo>
                    <a:pt x="7" y="94"/>
                    <a:pt x="10" y="96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8" y="104"/>
                    <a:pt x="22" y="109"/>
                    <a:pt x="23" y="112"/>
                  </a:cubicBezTo>
                  <a:cubicBezTo>
                    <a:pt x="21" y="120"/>
                    <a:pt x="21" y="120"/>
                    <a:pt x="21" y="120"/>
                  </a:cubicBezTo>
                  <a:cubicBezTo>
                    <a:pt x="17" y="124"/>
                    <a:pt x="14" y="129"/>
                    <a:pt x="13" y="135"/>
                  </a:cubicBezTo>
                  <a:cubicBezTo>
                    <a:pt x="12" y="136"/>
                    <a:pt x="12" y="136"/>
                    <a:pt x="12" y="137"/>
                  </a:cubicBezTo>
                  <a:cubicBezTo>
                    <a:pt x="11" y="138"/>
                    <a:pt x="11" y="138"/>
                    <a:pt x="11" y="139"/>
                  </a:cubicBezTo>
                  <a:cubicBezTo>
                    <a:pt x="11" y="139"/>
                    <a:pt x="11" y="140"/>
                    <a:pt x="11" y="141"/>
                  </a:cubicBezTo>
                  <a:cubicBezTo>
                    <a:pt x="11" y="141"/>
                    <a:pt x="11" y="142"/>
                    <a:pt x="11" y="142"/>
                  </a:cubicBezTo>
                  <a:cubicBezTo>
                    <a:pt x="11" y="143"/>
                    <a:pt x="12" y="143"/>
                    <a:pt x="13" y="144"/>
                  </a:cubicBezTo>
                  <a:cubicBezTo>
                    <a:pt x="13" y="144"/>
                    <a:pt x="12" y="145"/>
                    <a:pt x="13" y="145"/>
                  </a:cubicBezTo>
                  <a:cubicBezTo>
                    <a:pt x="14" y="145"/>
                    <a:pt x="14" y="146"/>
                    <a:pt x="15" y="146"/>
                  </a:cubicBezTo>
                  <a:cubicBezTo>
                    <a:pt x="16" y="146"/>
                    <a:pt x="18" y="147"/>
                    <a:pt x="19" y="147"/>
                  </a:cubicBezTo>
                  <a:cubicBezTo>
                    <a:pt x="21" y="147"/>
                    <a:pt x="24" y="146"/>
                    <a:pt x="25" y="148"/>
                  </a:cubicBezTo>
                  <a:cubicBezTo>
                    <a:pt x="25" y="149"/>
                    <a:pt x="24" y="150"/>
                    <a:pt x="24" y="151"/>
                  </a:cubicBezTo>
                  <a:cubicBezTo>
                    <a:pt x="24" y="152"/>
                    <a:pt x="24" y="152"/>
                    <a:pt x="24" y="153"/>
                  </a:cubicBezTo>
                  <a:cubicBezTo>
                    <a:pt x="23" y="153"/>
                    <a:pt x="23" y="153"/>
                    <a:pt x="23" y="154"/>
                  </a:cubicBezTo>
                  <a:cubicBezTo>
                    <a:pt x="23" y="154"/>
                    <a:pt x="22" y="154"/>
                    <a:pt x="21" y="154"/>
                  </a:cubicBezTo>
                  <a:cubicBezTo>
                    <a:pt x="20" y="155"/>
                    <a:pt x="20" y="157"/>
                    <a:pt x="20" y="158"/>
                  </a:cubicBezTo>
                  <a:cubicBezTo>
                    <a:pt x="20" y="159"/>
                    <a:pt x="21" y="160"/>
                    <a:pt x="22" y="161"/>
                  </a:cubicBezTo>
                  <a:cubicBezTo>
                    <a:pt x="23" y="162"/>
                    <a:pt x="23" y="163"/>
                    <a:pt x="24" y="164"/>
                  </a:cubicBezTo>
                  <a:cubicBezTo>
                    <a:pt x="24" y="164"/>
                    <a:pt x="24" y="164"/>
                    <a:pt x="24" y="165"/>
                  </a:cubicBezTo>
                  <a:cubicBezTo>
                    <a:pt x="24" y="164"/>
                    <a:pt x="25" y="165"/>
                    <a:pt x="25" y="165"/>
                  </a:cubicBezTo>
                  <a:cubicBezTo>
                    <a:pt x="26" y="166"/>
                    <a:pt x="27" y="167"/>
                    <a:pt x="28" y="167"/>
                  </a:cubicBezTo>
                  <a:cubicBezTo>
                    <a:pt x="29" y="168"/>
                    <a:pt x="31" y="169"/>
                    <a:pt x="32" y="169"/>
                  </a:cubicBezTo>
                  <a:cubicBezTo>
                    <a:pt x="33" y="169"/>
                    <a:pt x="36" y="170"/>
                    <a:pt x="36" y="171"/>
                  </a:cubicBezTo>
                  <a:cubicBezTo>
                    <a:pt x="36" y="171"/>
                    <a:pt x="36" y="173"/>
                    <a:pt x="36" y="173"/>
                  </a:cubicBezTo>
                  <a:cubicBezTo>
                    <a:pt x="36" y="174"/>
                    <a:pt x="36" y="175"/>
                    <a:pt x="36" y="175"/>
                  </a:cubicBezTo>
                  <a:cubicBezTo>
                    <a:pt x="36" y="176"/>
                    <a:pt x="36" y="176"/>
                    <a:pt x="35" y="177"/>
                  </a:cubicBezTo>
                  <a:cubicBezTo>
                    <a:pt x="34" y="178"/>
                    <a:pt x="34" y="178"/>
                    <a:pt x="33" y="179"/>
                  </a:cubicBezTo>
                  <a:cubicBezTo>
                    <a:pt x="32" y="180"/>
                    <a:pt x="29" y="180"/>
                    <a:pt x="27" y="180"/>
                  </a:cubicBezTo>
                  <a:cubicBezTo>
                    <a:pt x="24" y="180"/>
                    <a:pt x="20" y="180"/>
                    <a:pt x="18" y="178"/>
                  </a:cubicBezTo>
                  <a:cubicBezTo>
                    <a:pt x="17" y="178"/>
                    <a:pt x="16" y="177"/>
                    <a:pt x="15" y="176"/>
                  </a:cubicBezTo>
                  <a:cubicBezTo>
                    <a:pt x="14" y="177"/>
                    <a:pt x="13" y="180"/>
                    <a:pt x="14" y="181"/>
                  </a:cubicBezTo>
                  <a:cubicBezTo>
                    <a:pt x="14" y="182"/>
                    <a:pt x="15" y="183"/>
                    <a:pt x="16" y="183"/>
                  </a:cubicBezTo>
                  <a:cubicBezTo>
                    <a:pt x="18" y="184"/>
                    <a:pt x="18" y="183"/>
                    <a:pt x="19" y="185"/>
                  </a:cubicBezTo>
                  <a:cubicBezTo>
                    <a:pt x="20" y="186"/>
                    <a:pt x="20" y="187"/>
                    <a:pt x="21" y="188"/>
                  </a:cubicBezTo>
                  <a:cubicBezTo>
                    <a:pt x="22" y="191"/>
                    <a:pt x="24" y="193"/>
                    <a:pt x="26" y="196"/>
                  </a:cubicBezTo>
                  <a:cubicBezTo>
                    <a:pt x="27" y="198"/>
                    <a:pt x="28" y="199"/>
                    <a:pt x="28" y="201"/>
                  </a:cubicBezTo>
                  <a:cubicBezTo>
                    <a:pt x="28" y="201"/>
                    <a:pt x="28" y="202"/>
                    <a:pt x="28" y="202"/>
                  </a:cubicBezTo>
                  <a:cubicBezTo>
                    <a:pt x="28" y="203"/>
                    <a:pt x="29" y="203"/>
                    <a:pt x="29" y="204"/>
                  </a:cubicBezTo>
                  <a:cubicBezTo>
                    <a:pt x="29" y="205"/>
                    <a:pt x="28" y="206"/>
                    <a:pt x="28" y="208"/>
                  </a:cubicBezTo>
                  <a:cubicBezTo>
                    <a:pt x="28" y="209"/>
                    <a:pt x="28" y="210"/>
                    <a:pt x="28" y="211"/>
                  </a:cubicBezTo>
                  <a:cubicBezTo>
                    <a:pt x="27" y="212"/>
                    <a:pt x="26" y="212"/>
                    <a:pt x="26" y="213"/>
                  </a:cubicBezTo>
                  <a:cubicBezTo>
                    <a:pt x="25" y="214"/>
                    <a:pt x="26" y="214"/>
                    <a:pt x="25" y="214"/>
                  </a:cubicBezTo>
                  <a:cubicBezTo>
                    <a:pt x="24" y="215"/>
                    <a:pt x="24" y="214"/>
                    <a:pt x="23" y="214"/>
                  </a:cubicBezTo>
                  <a:cubicBezTo>
                    <a:pt x="23" y="212"/>
                    <a:pt x="22" y="211"/>
                    <a:pt x="21" y="210"/>
                  </a:cubicBezTo>
                  <a:cubicBezTo>
                    <a:pt x="20" y="209"/>
                    <a:pt x="20" y="207"/>
                    <a:pt x="20" y="207"/>
                  </a:cubicBezTo>
                  <a:cubicBezTo>
                    <a:pt x="19" y="206"/>
                    <a:pt x="17" y="208"/>
                    <a:pt x="16" y="209"/>
                  </a:cubicBezTo>
                  <a:cubicBezTo>
                    <a:pt x="16" y="209"/>
                    <a:pt x="16" y="210"/>
                    <a:pt x="15" y="210"/>
                  </a:cubicBezTo>
                  <a:cubicBezTo>
                    <a:pt x="14" y="211"/>
                    <a:pt x="13" y="211"/>
                    <a:pt x="13" y="212"/>
                  </a:cubicBezTo>
                  <a:cubicBezTo>
                    <a:pt x="13" y="213"/>
                    <a:pt x="13" y="214"/>
                    <a:pt x="12" y="214"/>
                  </a:cubicBezTo>
                  <a:cubicBezTo>
                    <a:pt x="12" y="214"/>
                    <a:pt x="12" y="214"/>
                    <a:pt x="12" y="214"/>
                  </a:cubicBezTo>
                  <a:cubicBezTo>
                    <a:pt x="12" y="215"/>
                    <a:pt x="13" y="216"/>
                    <a:pt x="14" y="217"/>
                  </a:cubicBezTo>
                  <a:cubicBezTo>
                    <a:pt x="14" y="218"/>
                    <a:pt x="14" y="219"/>
                    <a:pt x="16" y="219"/>
                  </a:cubicBezTo>
                  <a:cubicBezTo>
                    <a:pt x="17" y="220"/>
                    <a:pt x="17" y="220"/>
                    <a:pt x="18" y="221"/>
                  </a:cubicBezTo>
                  <a:cubicBezTo>
                    <a:pt x="19" y="222"/>
                    <a:pt x="20" y="222"/>
                    <a:pt x="22" y="223"/>
                  </a:cubicBezTo>
                  <a:cubicBezTo>
                    <a:pt x="23" y="223"/>
                    <a:pt x="23" y="224"/>
                    <a:pt x="24" y="225"/>
                  </a:cubicBezTo>
                  <a:cubicBezTo>
                    <a:pt x="25" y="228"/>
                    <a:pt x="27" y="229"/>
                    <a:pt x="29" y="231"/>
                  </a:cubicBezTo>
                  <a:cubicBezTo>
                    <a:pt x="30" y="232"/>
                    <a:pt x="31" y="233"/>
                    <a:pt x="32" y="234"/>
                  </a:cubicBezTo>
                  <a:cubicBezTo>
                    <a:pt x="30" y="234"/>
                    <a:pt x="30" y="234"/>
                    <a:pt x="30" y="234"/>
                  </a:cubicBezTo>
                  <a:cubicBezTo>
                    <a:pt x="30" y="236"/>
                    <a:pt x="32" y="238"/>
                    <a:pt x="34" y="239"/>
                  </a:cubicBezTo>
                  <a:cubicBezTo>
                    <a:pt x="35" y="240"/>
                    <a:pt x="36" y="240"/>
                    <a:pt x="36" y="241"/>
                  </a:cubicBezTo>
                  <a:cubicBezTo>
                    <a:pt x="37" y="241"/>
                    <a:pt x="37" y="242"/>
                    <a:pt x="38" y="242"/>
                  </a:cubicBezTo>
                  <a:cubicBezTo>
                    <a:pt x="39" y="242"/>
                    <a:pt x="39" y="242"/>
                    <a:pt x="40" y="242"/>
                  </a:cubicBezTo>
                  <a:cubicBezTo>
                    <a:pt x="40" y="243"/>
                    <a:pt x="40" y="243"/>
                    <a:pt x="40" y="244"/>
                  </a:cubicBezTo>
                  <a:cubicBezTo>
                    <a:pt x="41" y="244"/>
                    <a:pt x="41" y="245"/>
                    <a:pt x="42" y="245"/>
                  </a:cubicBezTo>
                  <a:cubicBezTo>
                    <a:pt x="43" y="246"/>
                    <a:pt x="44" y="247"/>
                    <a:pt x="45" y="247"/>
                  </a:cubicBezTo>
                  <a:cubicBezTo>
                    <a:pt x="47" y="248"/>
                    <a:pt x="49" y="247"/>
                    <a:pt x="51" y="247"/>
                  </a:cubicBezTo>
                  <a:cubicBezTo>
                    <a:pt x="52" y="247"/>
                    <a:pt x="53" y="247"/>
                    <a:pt x="54" y="249"/>
                  </a:cubicBezTo>
                  <a:cubicBezTo>
                    <a:pt x="54" y="250"/>
                    <a:pt x="54" y="251"/>
                    <a:pt x="56" y="251"/>
                  </a:cubicBezTo>
                  <a:cubicBezTo>
                    <a:pt x="56" y="252"/>
                    <a:pt x="57" y="252"/>
                    <a:pt x="57" y="253"/>
                  </a:cubicBezTo>
                  <a:cubicBezTo>
                    <a:pt x="58" y="253"/>
                    <a:pt x="58" y="254"/>
                    <a:pt x="59" y="254"/>
                  </a:cubicBezTo>
                  <a:cubicBezTo>
                    <a:pt x="59" y="255"/>
                    <a:pt x="59" y="255"/>
                    <a:pt x="59" y="256"/>
                  </a:cubicBezTo>
                  <a:cubicBezTo>
                    <a:pt x="59" y="257"/>
                    <a:pt x="59" y="257"/>
                    <a:pt x="60" y="258"/>
                  </a:cubicBezTo>
                  <a:cubicBezTo>
                    <a:pt x="60" y="259"/>
                    <a:pt x="64" y="258"/>
                    <a:pt x="65" y="258"/>
                  </a:cubicBezTo>
                  <a:cubicBezTo>
                    <a:pt x="66" y="258"/>
                    <a:pt x="68" y="257"/>
                    <a:pt x="69" y="258"/>
                  </a:cubicBezTo>
                  <a:cubicBezTo>
                    <a:pt x="70" y="258"/>
                    <a:pt x="69" y="260"/>
                    <a:pt x="70" y="260"/>
                  </a:cubicBezTo>
                  <a:cubicBezTo>
                    <a:pt x="70" y="261"/>
                    <a:pt x="70" y="262"/>
                    <a:pt x="71" y="262"/>
                  </a:cubicBezTo>
                  <a:cubicBezTo>
                    <a:pt x="72" y="263"/>
                    <a:pt x="74" y="266"/>
                    <a:pt x="73" y="268"/>
                  </a:cubicBezTo>
                  <a:cubicBezTo>
                    <a:pt x="73" y="269"/>
                    <a:pt x="73" y="269"/>
                    <a:pt x="72" y="270"/>
                  </a:cubicBezTo>
                  <a:cubicBezTo>
                    <a:pt x="72" y="270"/>
                    <a:pt x="72" y="270"/>
                    <a:pt x="72" y="270"/>
                  </a:cubicBezTo>
                  <a:cubicBezTo>
                    <a:pt x="73" y="270"/>
                    <a:pt x="75" y="271"/>
                    <a:pt x="75" y="270"/>
                  </a:cubicBezTo>
                  <a:cubicBezTo>
                    <a:pt x="76" y="270"/>
                    <a:pt x="77" y="269"/>
                    <a:pt x="77" y="268"/>
                  </a:cubicBezTo>
                  <a:cubicBezTo>
                    <a:pt x="78" y="268"/>
                    <a:pt x="78" y="267"/>
                    <a:pt x="79" y="266"/>
                  </a:cubicBezTo>
                  <a:cubicBezTo>
                    <a:pt x="80" y="265"/>
                    <a:pt x="81" y="266"/>
                    <a:pt x="82" y="264"/>
                  </a:cubicBezTo>
                  <a:cubicBezTo>
                    <a:pt x="82" y="263"/>
                    <a:pt x="82" y="262"/>
                    <a:pt x="82" y="262"/>
                  </a:cubicBezTo>
                  <a:cubicBezTo>
                    <a:pt x="82" y="259"/>
                    <a:pt x="84" y="258"/>
                    <a:pt x="86" y="257"/>
                  </a:cubicBezTo>
                  <a:cubicBezTo>
                    <a:pt x="86" y="256"/>
                    <a:pt x="87" y="256"/>
                    <a:pt x="88" y="256"/>
                  </a:cubicBezTo>
                  <a:cubicBezTo>
                    <a:pt x="88" y="256"/>
                    <a:pt x="88" y="255"/>
                    <a:pt x="88" y="255"/>
                  </a:cubicBezTo>
                  <a:cubicBezTo>
                    <a:pt x="88" y="254"/>
                    <a:pt x="89" y="253"/>
                    <a:pt x="90" y="252"/>
                  </a:cubicBezTo>
                  <a:cubicBezTo>
                    <a:pt x="91" y="251"/>
                    <a:pt x="92" y="251"/>
                    <a:pt x="93" y="249"/>
                  </a:cubicBezTo>
                  <a:cubicBezTo>
                    <a:pt x="93" y="248"/>
                    <a:pt x="93" y="246"/>
                    <a:pt x="93" y="244"/>
                  </a:cubicBezTo>
                  <a:cubicBezTo>
                    <a:pt x="93" y="241"/>
                    <a:pt x="93" y="239"/>
                    <a:pt x="95" y="236"/>
                  </a:cubicBezTo>
                  <a:cubicBezTo>
                    <a:pt x="96" y="235"/>
                    <a:pt x="97" y="232"/>
                    <a:pt x="98" y="234"/>
                  </a:cubicBezTo>
                  <a:cubicBezTo>
                    <a:pt x="99" y="236"/>
                    <a:pt x="98" y="236"/>
                    <a:pt x="97" y="236"/>
                  </a:cubicBezTo>
                  <a:cubicBezTo>
                    <a:pt x="96" y="237"/>
                    <a:pt x="96" y="236"/>
                    <a:pt x="96" y="238"/>
                  </a:cubicBezTo>
                  <a:cubicBezTo>
                    <a:pt x="96" y="241"/>
                    <a:pt x="99" y="244"/>
                    <a:pt x="100" y="247"/>
                  </a:cubicBezTo>
                  <a:cubicBezTo>
                    <a:pt x="102" y="247"/>
                    <a:pt x="103" y="245"/>
                    <a:pt x="105" y="245"/>
                  </a:cubicBezTo>
                  <a:cubicBezTo>
                    <a:pt x="106" y="244"/>
                    <a:pt x="107" y="244"/>
                    <a:pt x="107" y="243"/>
                  </a:cubicBezTo>
                  <a:cubicBezTo>
                    <a:pt x="108" y="242"/>
                    <a:pt x="107" y="241"/>
                    <a:pt x="108" y="241"/>
                  </a:cubicBezTo>
                  <a:cubicBezTo>
                    <a:pt x="108" y="240"/>
                    <a:pt x="110" y="240"/>
                    <a:pt x="111" y="240"/>
                  </a:cubicBezTo>
                  <a:cubicBezTo>
                    <a:pt x="113" y="242"/>
                    <a:pt x="112" y="243"/>
                    <a:pt x="112" y="245"/>
                  </a:cubicBezTo>
                  <a:cubicBezTo>
                    <a:pt x="115" y="250"/>
                    <a:pt x="115" y="250"/>
                    <a:pt x="115" y="250"/>
                  </a:cubicBezTo>
                  <a:cubicBezTo>
                    <a:pt x="115" y="252"/>
                    <a:pt x="116" y="253"/>
                    <a:pt x="117" y="255"/>
                  </a:cubicBezTo>
                  <a:cubicBezTo>
                    <a:pt x="117" y="257"/>
                    <a:pt x="116" y="258"/>
                    <a:pt x="118" y="260"/>
                  </a:cubicBezTo>
                  <a:cubicBezTo>
                    <a:pt x="119" y="261"/>
                    <a:pt x="122" y="261"/>
                    <a:pt x="124" y="263"/>
                  </a:cubicBezTo>
                  <a:cubicBezTo>
                    <a:pt x="124" y="265"/>
                    <a:pt x="124" y="265"/>
                    <a:pt x="125" y="266"/>
                  </a:cubicBezTo>
                  <a:cubicBezTo>
                    <a:pt x="126" y="267"/>
                    <a:pt x="126" y="267"/>
                    <a:pt x="127" y="268"/>
                  </a:cubicBezTo>
                  <a:cubicBezTo>
                    <a:pt x="128" y="267"/>
                    <a:pt x="130" y="267"/>
                    <a:pt x="132" y="267"/>
                  </a:cubicBezTo>
                  <a:cubicBezTo>
                    <a:pt x="132" y="269"/>
                    <a:pt x="131" y="271"/>
                    <a:pt x="131" y="272"/>
                  </a:cubicBezTo>
                  <a:cubicBezTo>
                    <a:pt x="131" y="274"/>
                    <a:pt x="131" y="276"/>
                    <a:pt x="131" y="278"/>
                  </a:cubicBezTo>
                  <a:cubicBezTo>
                    <a:pt x="134" y="278"/>
                    <a:pt x="134" y="282"/>
                    <a:pt x="136" y="282"/>
                  </a:cubicBezTo>
                  <a:cubicBezTo>
                    <a:pt x="140" y="274"/>
                    <a:pt x="143" y="288"/>
                    <a:pt x="147" y="287"/>
                  </a:cubicBezTo>
                  <a:cubicBezTo>
                    <a:pt x="148" y="287"/>
                    <a:pt x="149" y="285"/>
                    <a:pt x="150" y="286"/>
                  </a:cubicBezTo>
                  <a:cubicBezTo>
                    <a:pt x="151" y="286"/>
                    <a:pt x="152" y="287"/>
                    <a:pt x="152" y="287"/>
                  </a:cubicBezTo>
                  <a:cubicBezTo>
                    <a:pt x="153" y="288"/>
                    <a:pt x="152" y="288"/>
                    <a:pt x="151" y="289"/>
                  </a:cubicBezTo>
                  <a:cubicBezTo>
                    <a:pt x="150" y="290"/>
                    <a:pt x="150" y="291"/>
                    <a:pt x="149" y="292"/>
                  </a:cubicBezTo>
                  <a:cubicBezTo>
                    <a:pt x="148" y="293"/>
                    <a:pt x="146" y="294"/>
                    <a:pt x="146" y="296"/>
                  </a:cubicBezTo>
                  <a:cubicBezTo>
                    <a:pt x="146" y="297"/>
                    <a:pt x="147" y="300"/>
                    <a:pt x="146" y="302"/>
                  </a:cubicBezTo>
                  <a:cubicBezTo>
                    <a:pt x="146" y="302"/>
                    <a:pt x="146" y="302"/>
                    <a:pt x="146" y="302"/>
                  </a:cubicBezTo>
                  <a:cubicBezTo>
                    <a:pt x="146" y="302"/>
                    <a:pt x="145" y="304"/>
                    <a:pt x="145" y="304"/>
                  </a:cubicBezTo>
                  <a:cubicBezTo>
                    <a:pt x="144" y="304"/>
                    <a:pt x="143" y="304"/>
                    <a:pt x="143" y="305"/>
                  </a:cubicBezTo>
                  <a:cubicBezTo>
                    <a:pt x="142" y="306"/>
                    <a:pt x="142" y="307"/>
                    <a:pt x="142" y="308"/>
                  </a:cubicBezTo>
                  <a:cubicBezTo>
                    <a:pt x="142" y="308"/>
                    <a:pt x="141" y="309"/>
                    <a:pt x="140" y="309"/>
                  </a:cubicBezTo>
                  <a:cubicBezTo>
                    <a:pt x="139" y="311"/>
                    <a:pt x="135" y="313"/>
                    <a:pt x="135" y="316"/>
                  </a:cubicBezTo>
                  <a:cubicBezTo>
                    <a:pt x="136" y="317"/>
                    <a:pt x="137" y="318"/>
                    <a:pt x="137" y="319"/>
                  </a:cubicBezTo>
                  <a:cubicBezTo>
                    <a:pt x="138" y="319"/>
                    <a:pt x="138" y="319"/>
                    <a:pt x="138" y="320"/>
                  </a:cubicBezTo>
                  <a:cubicBezTo>
                    <a:pt x="138" y="320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40" y="322"/>
                    <a:pt x="144" y="322"/>
                    <a:pt x="146" y="321"/>
                  </a:cubicBezTo>
                  <a:cubicBezTo>
                    <a:pt x="148" y="320"/>
                    <a:pt x="148" y="320"/>
                    <a:pt x="149" y="318"/>
                  </a:cubicBezTo>
                  <a:cubicBezTo>
                    <a:pt x="149" y="318"/>
                    <a:pt x="149" y="317"/>
                    <a:pt x="150" y="316"/>
                  </a:cubicBezTo>
                  <a:cubicBezTo>
                    <a:pt x="151" y="315"/>
                    <a:pt x="153" y="315"/>
                    <a:pt x="155" y="314"/>
                  </a:cubicBezTo>
                  <a:cubicBezTo>
                    <a:pt x="157" y="313"/>
                    <a:pt x="158" y="314"/>
                    <a:pt x="159" y="316"/>
                  </a:cubicBezTo>
                  <a:cubicBezTo>
                    <a:pt x="160" y="317"/>
                    <a:pt x="159" y="317"/>
                    <a:pt x="160" y="317"/>
                  </a:cubicBezTo>
                  <a:cubicBezTo>
                    <a:pt x="161" y="318"/>
                    <a:pt x="162" y="318"/>
                    <a:pt x="163" y="319"/>
                  </a:cubicBezTo>
                  <a:cubicBezTo>
                    <a:pt x="164" y="319"/>
                    <a:pt x="163" y="320"/>
                    <a:pt x="165" y="319"/>
                  </a:cubicBezTo>
                  <a:cubicBezTo>
                    <a:pt x="165" y="319"/>
                    <a:pt x="166" y="319"/>
                    <a:pt x="167" y="318"/>
                  </a:cubicBezTo>
                  <a:cubicBezTo>
                    <a:pt x="168" y="317"/>
                    <a:pt x="168" y="315"/>
                    <a:pt x="170" y="314"/>
                  </a:cubicBezTo>
                  <a:cubicBezTo>
                    <a:pt x="171" y="313"/>
                    <a:pt x="172" y="313"/>
                    <a:pt x="174" y="312"/>
                  </a:cubicBezTo>
                  <a:cubicBezTo>
                    <a:pt x="178" y="310"/>
                    <a:pt x="181" y="314"/>
                    <a:pt x="184" y="316"/>
                  </a:cubicBezTo>
                  <a:cubicBezTo>
                    <a:pt x="186" y="317"/>
                    <a:pt x="190" y="317"/>
                    <a:pt x="193" y="315"/>
                  </a:cubicBezTo>
                  <a:cubicBezTo>
                    <a:pt x="194" y="314"/>
                    <a:pt x="195" y="312"/>
                    <a:pt x="195" y="311"/>
                  </a:cubicBezTo>
                  <a:cubicBezTo>
                    <a:pt x="195" y="309"/>
                    <a:pt x="195" y="309"/>
                    <a:pt x="194" y="307"/>
                  </a:cubicBezTo>
                  <a:cubicBezTo>
                    <a:pt x="193" y="306"/>
                    <a:pt x="193" y="304"/>
                    <a:pt x="193" y="303"/>
                  </a:cubicBezTo>
                  <a:cubicBezTo>
                    <a:pt x="192" y="301"/>
                    <a:pt x="191" y="301"/>
                    <a:pt x="190" y="299"/>
                  </a:cubicBezTo>
                  <a:cubicBezTo>
                    <a:pt x="190" y="297"/>
                    <a:pt x="190" y="298"/>
                    <a:pt x="189" y="297"/>
                  </a:cubicBezTo>
                  <a:cubicBezTo>
                    <a:pt x="188" y="296"/>
                    <a:pt x="188" y="296"/>
                    <a:pt x="187" y="295"/>
                  </a:cubicBezTo>
                  <a:cubicBezTo>
                    <a:pt x="186" y="293"/>
                    <a:pt x="186" y="293"/>
                    <a:pt x="186" y="290"/>
                  </a:cubicBezTo>
                  <a:cubicBezTo>
                    <a:pt x="186" y="288"/>
                    <a:pt x="187" y="287"/>
                    <a:pt x="187" y="285"/>
                  </a:cubicBezTo>
                  <a:cubicBezTo>
                    <a:pt x="188" y="283"/>
                    <a:pt x="189" y="281"/>
                    <a:pt x="188" y="279"/>
                  </a:cubicBezTo>
                  <a:cubicBezTo>
                    <a:pt x="188" y="278"/>
                    <a:pt x="187" y="277"/>
                    <a:pt x="187" y="276"/>
                  </a:cubicBezTo>
                  <a:cubicBezTo>
                    <a:pt x="187" y="275"/>
                    <a:pt x="187" y="273"/>
                    <a:pt x="187" y="272"/>
                  </a:cubicBezTo>
                  <a:cubicBezTo>
                    <a:pt x="188" y="271"/>
                    <a:pt x="192" y="270"/>
                    <a:pt x="193" y="270"/>
                  </a:cubicBezTo>
                  <a:cubicBezTo>
                    <a:pt x="194" y="270"/>
                    <a:pt x="195" y="270"/>
                    <a:pt x="196" y="270"/>
                  </a:cubicBezTo>
                  <a:cubicBezTo>
                    <a:pt x="197" y="270"/>
                    <a:pt x="197" y="271"/>
                    <a:pt x="198" y="271"/>
                  </a:cubicBezTo>
                  <a:cubicBezTo>
                    <a:pt x="199" y="270"/>
                    <a:pt x="199" y="270"/>
                    <a:pt x="200" y="270"/>
                  </a:cubicBezTo>
                  <a:cubicBezTo>
                    <a:pt x="201" y="269"/>
                    <a:pt x="201" y="270"/>
                    <a:pt x="202" y="269"/>
                  </a:cubicBezTo>
                  <a:cubicBezTo>
                    <a:pt x="202" y="269"/>
                    <a:pt x="204" y="268"/>
                    <a:pt x="205" y="267"/>
                  </a:cubicBezTo>
                  <a:cubicBezTo>
                    <a:pt x="205" y="267"/>
                    <a:pt x="205" y="265"/>
                    <a:pt x="205" y="264"/>
                  </a:cubicBezTo>
                  <a:cubicBezTo>
                    <a:pt x="206" y="262"/>
                    <a:pt x="206" y="260"/>
                    <a:pt x="208" y="258"/>
                  </a:cubicBezTo>
                  <a:cubicBezTo>
                    <a:pt x="210" y="256"/>
                    <a:pt x="213" y="256"/>
                    <a:pt x="214" y="254"/>
                  </a:cubicBezTo>
                  <a:cubicBezTo>
                    <a:pt x="215" y="253"/>
                    <a:pt x="218" y="251"/>
                    <a:pt x="217" y="248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8" name="Freeform 30">
              <a:extLst>
                <a:ext uri="{FF2B5EF4-FFF2-40B4-BE49-F238E27FC236}">
                  <a16:creationId xmlns:a16="http://schemas.microsoft.com/office/drawing/2014/main" id="{6BE9605F-AE03-4F4D-AFD0-2C3E64F415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6075" y="5565775"/>
              <a:ext cx="187325" cy="219075"/>
            </a:xfrm>
            <a:custGeom>
              <a:avLst/>
              <a:gdLst/>
              <a:ahLst/>
              <a:cxnLst>
                <a:cxn ang="0">
                  <a:pos x="1" y="48"/>
                </a:cxn>
                <a:cxn ang="0">
                  <a:pos x="1" y="48"/>
                </a:cxn>
                <a:cxn ang="0">
                  <a:pos x="1" y="48"/>
                </a:cxn>
                <a:cxn ang="0">
                  <a:pos x="78" y="46"/>
                </a:cxn>
                <a:cxn ang="0">
                  <a:pos x="79" y="35"/>
                </a:cxn>
                <a:cxn ang="0">
                  <a:pos x="72" y="34"/>
                </a:cxn>
                <a:cxn ang="0">
                  <a:pos x="65" y="28"/>
                </a:cxn>
                <a:cxn ang="0">
                  <a:pos x="62" y="18"/>
                </a:cxn>
                <a:cxn ang="0">
                  <a:pos x="58" y="8"/>
                </a:cxn>
                <a:cxn ang="0">
                  <a:pos x="54" y="11"/>
                </a:cxn>
                <a:cxn ang="0">
                  <a:pos x="47" y="15"/>
                </a:cxn>
                <a:cxn ang="0">
                  <a:pos x="44" y="4"/>
                </a:cxn>
                <a:cxn ang="0">
                  <a:pos x="42" y="4"/>
                </a:cxn>
                <a:cxn ang="0">
                  <a:pos x="40" y="17"/>
                </a:cxn>
                <a:cxn ang="0">
                  <a:pos x="35" y="23"/>
                </a:cxn>
                <a:cxn ang="0">
                  <a:pos x="33" y="25"/>
                </a:cxn>
                <a:cxn ang="0">
                  <a:pos x="29" y="32"/>
                </a:cxn>
                <a:cxn ang="0">
                  <a:pos x="24" y="36"/>
                </a:cxn>
                <a:cxn ang="0">
                  <a:pos x="19" y="38"/>
                </a:cxn>
                <a:cxn ang="0">
                  <a:pos x="17" y="39"/>
                </a:cxn>
                <a:cxn ang="0">
                  <a:pos x="13" y="41"/>
                </a:cxn>
                <a:cxn ang="0">
                  <a:pos x="7" y="45"/>
                </a:cxn>
                <a:cxn ang="0">
                  <a:pos x="1" y="44"/>
                </a:cxn>
                <a:cxn ang="0">
                  <a:pos x="0" y="44"/>
                </a:cxn>
                <a:cxn ang="0">
                  <a:pos x="0" y="46"/>
                </a:cxn>
                <a:cxn ang="0">
                  <a:pos x="0" y="45"/>
                </a:cxn>
                <a:cxn ang="0">
                  <a:pos x="0" y="47"/>
                </a:cxn>
                <a:cxn ang="0">
                  <a:pos x="1" y="48"/>
                </a:cxn>
                <a:cxn ang="0">
                  <a:pos x="2" y="48"/>
                </a:cxn>
                <a:cxn ang="0">
                  <a:pos x="3" y="49"/>
                </a:cxn>
                <a:cxn ang="0">
                  <a:pos x="5" y="55"/>
                </a:cxn>
                <a:cxn ang="0">
                  <a:pos x="8" y="62"/>
                </a:cxn>
                <a:cxn ang="0">
                  <a:pos x="17" y="67"/>
                </a:cxn>
                <a:cxn ang="0">
                  <a:pos x="22" y="74"/>
                </a:cxn>
                <a:cxn ang="0">
                  <a:pos x="25" y="82"/>
                </a:cxn>
                <a:cxn ang="0">
                  <a:pos x="27" y="88"/>
                </a:cxn>
                <a:cxn ang="0">
                  <a:pos x="30" y="99"/>
                </a:cxn>
                <a:cxn ang="0">
                  <a:pos x="30" y="114"/>
                </a:cxn>
                <a:cxn ang="0">
                  <a:pos x="34" y="115"/>
                </a:cxn>
                <a:cxn ang="0">
                  <a:pos x="40" y="111"/>
                </a:cxn>
                <a:cxn ang="0">
                  <a:pos x="40" y="106"/>
                </a:cxn>
                <a:cxn ang="0">
                  <a:pos x="45" y="98"/>
                </a:cxn>
                <a:cxn ang="0">
                  <a:pos x="61" y="93"/>
                </a:cxn>
                <a:cxn ang="0">
                  <a:pos x="64" y="98"/>
                </a:cxn>
                <a:cxn ang="0">
                  <a:pos x="69" y="96"/>
                </a:cxn>
                <a:cxn ang="0">
                  <a:pos x="75" y="87"/>
                </a:cxn>
                <a:cxn ang="0">
                  <a:pos x="85" y="89"/>
                </a:cxn>
                <a:cxn ang="0">
                  <a:pos x="84" y="87"/>
                </a:cxn>
                <a:cxn ang="0">
                  <a:pos x="87" y="77"/>
                </a:cxn>
                <a:cxn ang="0">
                  <a:pos x="90" y="73"/>
                </a:cxn>
                <a:cxn ang="0">
                  <a:pos x="93" y="70"/>
                </a:cxn>
                <a:cxn ang="0">
                  <a:pos x="93" y="64"/>
                </a:cxn>
                <a:cxn ang="0">
                  <a:pos x="98" y="57"/>
                </a:cxn>
                <a:cxn ang="0">
                  <a:pos x="97" y="54"/>
                </a:cxn>
                <a:cxn ang="0">
                  <a:pos x="83" y="50"/>
                </a:cxn>
                <a:cxn ang="0">
                  <a:pos x="0" y="47"/>
                </a:cxn>
                <a:cxn ang="0">
                  <a:pos x="1" y="44"/>
                </a:cxn>
                <a:cxn ang="0">
                  <a:pos x="1" y="44"/>
                </a:cxn>
                <a:cxn ang="0">
                  <a:pos x="2" y="62"/>
                </a:cxn>
              </a:cxnLst>
              <a:rect l="0" t="0" r="r" b="b"/>
              <a:pathLst>
                <a:path w="100" h="117">
                  <a:moveTo>
                    <a:pt x="1" y="48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moveTo>
                    <a:pt x="83" y="50"/>
                  </a:moveTo>
                  <a:cubicBezTo>
                    <a:pt x="81" y="50"/>
                    <a:pt x="81" y="46"/>
                    <a:pt x="78" y="46"/>
                  </a:cubicBezTo>
                  <a:cubicBezTo>
                    <a:pt x="78" y="44"/>
                    <a:pt x="78" y="42"/>
                    <a:pt x="78" y="40"/>
                  </a:cubicBezTo>
                  <a:cubicBezTo>
                    <a:pt x="78" y="39"/>
                    <a:pt x="79" y="37"/>
                    <a:pt x="79" y="35"/>
                  </a:cubicBezTo>
                  <a:cubicBezTo>
                    <a:pt x="77" y="35"/>
                    <a:pt x="75" y="35"/>
                    <a:pt x="74" y="36"/>
                  </a:cubicBezTo>
                  <a:cubicBezTo>
                    <a:pt x="73" y="35"/>
                    <a:pt x="73" y="35"/>
                    <a:pt x="72" y="34"/>
                  </a:cubicBezTo>
                  <a:cubicBezTo>
                    <a:pt x="71" y="33"/>
                    <a:pt x="71" y="33"/>
                    <a:pt x="71" y="31"/>
                  </a:cubicBezTo>
                  <a:cubicBezTo>
                    <a:pt x="69" y="29"/>
                    <a:pt x="66" y="29"/>
                    <a:pt x="65" y="28"/>
                  </a:cubicBezTo>
                  <a:cubicBezTo>
                    <a:pt x="63" y="26"/>
                    <a:pt x="64" y="25"/>
                    <a:pt x="64" y="23"/>
                  </a:cubicBezTo>
                  <a:cubicBezTo>
                    <a:pt x="63" y="21"/>
                    <a:pt x="62" y="20"/>
                    <a:pt x="62" y="18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1"/>
                    <a:pt x="60" y="10"/>
                    <a:pt x="58" y="8"/>
                  </a:cubicBezTo>
                  <a:cubicBezTo>
                    <a:pt x="57" y="8"/>
                    <a:pt x="55" y="8"/>
                    <a:pt x="55" y="9"/>
                  </a:cubicBezTo>
                  <a:cubicBezTo>
                    <a:pt x="54" y="9"/>
                    <a:pt x="55" y="10"/>
                    <a:pt x="54" y="11"/>
                  </a:cubicBezTo>
                  <a:cubicBezTo>
                    <a:pt x="54" y="12"/>
                    <a:pt x="53" y="12"/>
                    <a:pt x="52" y="13"/>
                  </a:cubicBezTo>
                  <a:cubicBezTo>
                    <a:pt x="50" y="13"/>
                    <a:pt x="49" y="15"/>
                    <a:pt x="47" y="15"/>
                  </a:cubicBezTo>
                  <a:cubicBezTo>
                    <a:pt x="46" y="12"/>
                    <a:pt x="43" y="9"/>
                    <a:pt x="43" y="6"/>
                  </a:cubicBezTo>
                  <a:cubicBezTo>
                    <a:pt x="43" y="4"/>
                    <a:pt x="43" y="5"/>
                    <a:pt x="44" y="4"/>
                  </a:cubicBezTo>
                  <a:cubicBezTo>
                    <a:pt x="45" y="4"/>
                    <a:pt x="46" y="4"/>
                    <a:pt x="45" y="2"/>
                  </a:cubicBezTo>
                  <a:cubicBezTo>
                    <a:pt x="44" y="0"/>
                    <a:pt x="43" y="3"/>
                    <a:pt x="42" y="4"/>
                  </a:cubicBezTo>
                  <a:cubicBezTo>
                    <a:pt x="40" y="7"/>
                    <a:pt x="40" y="9"/>
                    <a:pt x="40" y="12"/>
                  </a:cubicBezTo>
                  <a:cubicBezTo>
                    <a:pt x="40" y="14"/>
                    <a:pt x="40" y="16"/>
                    <a:pt x="40" y="17"/>
                  </a:cubicBezTo>
                  <a:cubicBezTo>
                    <a:pt x="39" y="19"/>
                    <a:pt x="38" y="19"/>
                    <a:pt x="37" y="20"/>
                  </a:cubicBezTo>
                  <a:cubicBezTo>
                    <a:pt x="36" y="21"/>
                    <a:pt x="35" y="22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4" y="24"/>
                    <a:pt x="33" y="24"/>
                    <a:pt x="33" y="25"/>
                  </a:cubicBezTo>
                  <a:cubicBezTo>
                    <a:pt x="31" y="26"/>
                    <a:pt x="29" y="27"/>
                    <a:pt x="29" y="30"/>
                  </a:cubicBezTo>
                  <a:cubicBezTo>
                    <a:pt x="29" y="30"/>
                    <a:pt x="29" y="31"/>
                    <a:pt x="29" y="32"/>
                  </a:cubicBezTo>
                  <a:cubicBezTo>
                    <a:pt x="28" y="34"/>
                    <a:pt x="27" y="33"/>
                    <a:pt x="26" y="34"/>
                  </a:cubicBezTo>
                  <a:cubicBezTo>
                    <a:pt x="25" y="35"/>
                    <a:pt x="25" y="36"/>
                    <a:pt x="24" y="36"/>
                  </a:cubicBezTo>
                  <a:cubicBezTo>
                    <a:pt x="24" y="37"/>
                    <a:pt x="23" y="38"/>
                    <a:pt x="22" y="38"/>
                  </a:cubicBezTo>
                  <a:cubicBezTo>
                    <a:pt x="22" y="39"/>
                    <a:pt x="20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8" y="38"/>
                    <a:pt x="17" y="39"/>
                  </a:cubicBezTo>
                  <a:cubicBezTo>
                    <a:pt x="16" y="39"/>
                    <a:pt x="17" y="40"/>
                    <a:pt x="17" y="41"/>
                  </a:cubicBezTo>
                  <a:cubicBezTo>
                    <a:pt x="16" y="42"/>
                    <a:pt x="14" y="41"/>
                    <a:pt x="13" y="41"/>
                  </a:cubicBezTo>
                  <a:cubicBezTo>
                    <a:pt x="11" y="41"/>
                    <a:pt x="12" y="44"/>
                    <a:pt x="12" y="46"/>
                  </a:cubicBezTo>
                  <a:cubicBezTo>
                    <a:pt x="10" y="46"/>
                    <a:pt x="9" y="46"/>
                    <a:pt x="7" y="45"/>
                  </a:cubicBezTo>
                  <a:cubicBezTo>
                    <a:pt x="6" y="44"/>
                    <a:pt x="5" y="44"/>
                    <a:pt x="4" y="43"/>
                  </a:cubicBezTo>
                  <a:cubicBezTo>
                    <a:pt x="3" y="43"/>
                    <a:pt x="2" y="43"/>
                    <a:pt x="1" y="44"/>
                  </a:cubicBezTo>
                  <a:cubicBezTo>
                    <a:pt x="1" y="44"/>
                    <a:pt x="0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45"/>
                    <a:pt x="0" y="45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5"/>
                    <a:pt x="0" y="45"/>
                  </a:cubicBezTo>
                  <a:cubicBezTo>
                    <a:pt x="0" y="45"/>
                    <a:pt x="0" y="46"/>
                    <a:pt x="0" y="46"/>
                  </a:cubicBezTo>
                  <a:cubicBezTo>
                    <a:pt x="0" y="46"/>
                    <a:pt x="0" y="46"/>
                    <a:pt x="0" y="47"/>
                  </a:cubicBezTo>
                  <a:cubicBezTo>
                    <a:pt x="0" y="47"/>
                    <a:pt x="1" y="47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49"/>
                    <a:pt x="3" y="49"/>
                  </a:cubicBezTo>
                  <a:cubicBezTo>
                    <a:pt x="4" y="49"/>
                    <a:pt x="5" y="50"/>
                    <a:pt x="5" y="50"/>
                  </a:cubicBezTo>
                  <a:cubicBezTo>
                    <a:pt x="6" y="52"/>
                    <a:pt x="6" y="54"/>
                    <a:pt x="5" y="55"/>
                  </a:cubicBezTo>
                  <a:cubicBezTo>
                    <a:pt x="6" y="56"/>
                    <a:pt x="6" y="57"/>
                    <a:pt x="6" y="58"/>
                  </a:cubicBezTo>
                  <a:cubicBezTo>
                    <a:pt x="7" y="59"/>
                    <a:pt x="7" y="61"/>
                    <a:pt x="8" y="62"/>
                  </a:cubicBezTo>
                  <a:cubicBezTo>
                    <a:pt x="10" y="64"/>
                    <a:pt x="13" y="62"/>
                    <a:pt x="15" y="64"/>
                  </a:cubicBezTo>
                  <a:cubicBezTo>
                    <a:pt x="16" y="65"/>
                    <a:pt x="16" y="66"/>
                    <a:pt x="17" y="67"/>
                  </a:cubicBezTo>
                  <a:cubicBezTo>
                    <a:pt x="18" y="68"/>
                    <a:pt x="19" y="69"/>
                    <a:pt x="20" y="70"/>
                  </a:cubicBezTo>
                  <a:cubicBezTo>
                    <a:pt x="21" y="71"/>
                    <a:pt x="21" y="72"/>
                    <a:pt x="22" y="74"/>
                  </a:cubicBezTo>
                  <a:cubicBezTo>
                    <a:pt x="22" y="75"/>
                    <a:pt x="24" y="77"/>
                    <a:pt x="25" y="79"/>
                  </a:cubicBezTo>
                  <a:cubicBezTo>
                    <a:pt x="26" y="80"/>
                    <a:pt x="25" y="81"/>
                    <a:pt x="25" y="82"/>
                  </a:cubicBezTo>
                  <a:cubicBezTo>
                    <a:pt x="25" y="83"/>
                    <a:pt x="26" y="83"/>
                    <a:pt x="26" y="84"/>
                  </a:cubicBezTo>
                  <a:cubicBezTo>
                    <a:pt x="27" y="86"/>
                    <a:pt x="27" y="87"/>
                    <a:pt x="27" y="88"/>
                  </a:cubicBezTo>
                  <a:cubicBezTo>
                    <a:pt x="27" y="90"/>
                    <a:pt x="28" y="92"/>
                    <a:pt x="28" y="94"/>
                  </a:cubicBezTo>
                  <a:cubicBezTo>
                    <a:pt x="28" y="96"/>
                    <a:pt x="29" y="97"/>
                    <a:pt x="30" y="99"/>
                  </a:cubicBezTo>
                  <a:cubicBezTo>
                    <a:pt x="31" y="101"/>
                    <a:pt x="31" y="104"/>
                    <a:pt x="31" y="106"/>
                  </a:cubicBezTo>
                  <a:cubicBezTo>
                    <a:pt x="31" y="109"/>
                    <a:pt x="31" y="112"/>
                    <a:pt x="30" y="114"/>
                  </a:cubicBezTo>
                  <a:cubicBezTo>
                    <a:pt x="30" y="115"/>
                    <a:pt x="30" y="117"/>
                    <a:pt x="31" y="117"/>
                  </a:cubicBezTo>
                  <a:cubicBezTo>
                    <a:pt x="32" y="117"/>
                    <a:pt x="33" y="116"/>
                    <a:pt x="34" y="115"/>
                  </a:cubicBezTo>
                  <a:cubicBezTo>
                    <a:pt x="35" y="114"/>
                    <a:pt x="36" y="114"/>
                    <a:pt x="37" y="113"/>
                  </a:cubicBezTo>
                  <a:cubicBezTo>
                    <a:pt x="38" y="112"/>
                    <a:pt x="39" y="112"/>
                    <a:pt x="40" y="111"/>
                  </a:cubicBezTo>
                  <a:cubicBezTo>
                    <a:pt x="40" y="110"/>
                    <a:pt x="40" y="109"/>
                    <a:pt x="40" y="108"/>
                  </a:cubicBezTo>
                  <a:cubicBezTo>
                    <a:pt x="40" y="107"/>
                    <a:pt x="40" y="106"/>
                    <a:pt x="40" y="106"/>
                  </a:cubicBezTo>
                  <a:cubicBezTo>
                    <a:pt x="40" y="105"/>
                    <a:pt x="41" y="104"/>
                    <a:pt x="41" y="103"/>
                  </a:cubicBezTo>
                  <a:cubicBezTo>
                    <a:pt x="43" y="101"/>
                    <a:pt x="44" y="99"/>
                    <a:pt x="45" y="98"/>
                  </a:cubicBezTo>
                  <a:cubicBezTo>
                    <a:pt x="47" y="96"/>
                    <a:pt x="49" y="96"/>
                    <a:pt x="51" y="95"/>
                  </a:cubicBezTo>
                  <a:cubicBezTo>
                    <a:pt x="54" y="94"/>
                    <a:pt x="58" y="91"/>
                    <a:pt x="61" y="93"/>
                  </a:cubicBezTo>
                  <a:cubicBezTo>
                    <a:pt x="63" y="94"/>
                    <a:pt x="62" y="94"/>
                    <a:pt x="63" y="95"/>
                  </a:cubicBezTo>
                  <a:cubicBezTo>
                    <a:pt x="63" y="96"/>
                    <a:pt x="64" y="97"/>
                    <a:pt x="64" y="98"/>
                  </a:cubicBezTo>
                  <a:cubicBezTo>
                    <a:pt x="65" y="98"/>
                    <a:pt x="67" y="101"/>
                    <a:pt x="68" y="100"/>
                  </a:cubicBezTo>
                  <a:cubicBezTo>
                    <a:pt x="68" y="99"/>
                    <a:pt x="69" y="97"/>
                    <a:pt x="69" y="96"/>
                  </a:cubicBezTo>
                  <a:cubicBezTo>
                    <a:pt x="70" y="94"/>
                    <a:pt x="70" y="93"/>
                    <a:pt x="72" y="92"/>
                  </a:cubicBezTo>
                  <a:cubicBezTo>
                    <a:pt x="71" y="90"/>
                    <a:pt x="75" y="89"/>
                    <a:pt x="75" y="87"/>
                  </a:cubicBezTo>
                  <a:cubicBezTo>
                    <a:pt x="77" y="86"/>
                    <a:pt x="86" y="86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8"/>
                    <a:pt x="85" y="88"/>
                  </a:cubicBezTo>
                  <a:cubicBezTo>
                    <a:pt x="85" y="87"/>
                    <a:pt x="85" y="87"/>
                    <a:pt x="84" y="87"/>
                  </a:cubicBezTo>
                  <a:cubicBezTo>
                    <a:pt x="84" y="86"/>
                    <a:pt x="83" y="85"/>
                    <a:pt x="82" y="84"/>
                  </a:cubicBezTo>
                  <a:cubicBezTo>
                    <a:pt x="82" y="81"/>
                    <a:pt x="86" y="79"/>
                    <a:pt x="87" y="77"/>
                  </a:cubicBezTo>
                  <a:cubicBezTo>
                    <a:pt x="88" y="77"/>
                    <a:pt x="89" y="76"/>
                    <a:pt x="89" y="76"/>
                  </a:cubicBezTo>
                  <a:cubicBezTo>
                    <a:pt x="89" y="75"/>
                    <a:pt x="89" y="74"/>
                    <a:pt x="90" y="73"/>
                  </a:cubicBezTo>
                  <a:cubicBezTo>
                    <a:pt x="90" y="72"/>
                    <a:pt x="91" y="72"/>
                    <a:pt x="92" y="72"/>
                  </a:cubicBezTo>
                  <a:cubicBezTo>
                    <a:pt x="92" y="72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68"/>
                    <a:pt x="93" y="65"/>
                    <a:pt x="93" y="64"/>
                  </a:cubicBezTo>
                  <a:cubicBezTo>
                    <a:pt x="93" y="62"/>
                    <a:pt x="95" y="61"/>
                    <a:pt x="96" y="60"/>
                  </a:cubicBezTo>
                  <a:cubicBezTo>
                    <a:pt x="97" y="59"/>
                    <a:pt x="97" y="58"/>
                    <a:pt x="98" y="57"/>
                  </a:cubicBezTo>
                  <a:cubicBezTo>
                    <a:pt x="99" y="56"/>
                    <a:pt x="100" y="56"/>
                    <a:pt x="99" y="55"/>
                  </a:cubicBezTo>
                  <a:cubicBezTo>
                    <a:pt x="99" y="55"/>
                    <a:pt x="98" y="54"/>
                    <a:pt x="97" y="54"/>
                  </a:cubicBezTo>
                  <a:cubicBezTo>
                    <a:pt x="96" y="53"/>
                    <a:pt x="95" y="55"/>
                    <a:pt x="94" y="55"/>
                  </a:cubicBezTo>
                  <a:cubicBezTo>
                    <a:pt x="90" y="56"/>
                    <a:pt x="87" y="42"/>
                    <a:pt x="83" y="50"/>
                  </a:cubicBezTo>
                  <a:moveTo>
                    <a:pt x="0" y="46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7"/>
                    <a:pt x="0" y="46"/>
                  </a:cubicBezTo>
                  <a:moveTo>
                    <a:pt x="1" y="44"/>
                  </a:moveTo>
                  <a:cubicBezTo>
                    <a:pt x="1" y="44"/>
                    <a:pt x="1" y="44"/>
                    <a:pt x="0" y="44"/>
                  </a:cubicBezTo>
                  <a:cubicBezTo>
                    <a:pt x="1" y="44"/>
                    <a:pt x="1" y="44"/>
                    <a:pt x="1" y="44"/>
                  </a:cubicBezTo>
                  <a:moveTo>
                    <a:pt x="2" y="62"/>
                  </a:move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9" name="Freeform 31">
              <a:extLst>
                <a:ext uri="{FF2B5EF4-FFF2-40B4-BE49-F238E27FC236}">
                  <a16:creationId xmlns:a16="http://schemas.microsoft.com/office/drawing/2014/main" id="{8796852D-9B41-4D2D-858D-9DD1C4BC8C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3525" y="5646738"/>
              <a:ext cx="185738" cy="463550"/>
            </a:xfrm>
            <a:custGeom>
              <a:avLst/>
              <a:gdLst/>
              <a:ahLst/>
              <a:cxnLst>
                <a:cxn ang="0">
                  <a:pos x="44" y="3"/>
                </a:cxn>
                <a:cxn ang="0">
                  <a:pos x="44" y="3"/>
                </a:cxn>
                <a:cxn ang="0">
                  <a:pos x="44" y="3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6" y="5"/>
                </a:cxn>
                <a:cxn ang="0">
                  <a:pos x="45" y="5"/>
                </a:cxn>
                <a:cxn ang="0">
                  <a:pos x="45" y="5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5"/>
                </a:cxn>
                <a:cxn ang="0">
                  <a:pos x="44" y="2"/>
                </a:cxn>
                <a:cxn ang="0">
                  <a:pos x="45" y="1"/>
                </a:cxn>
                <a:cxn ang="0">
                  <a:pos x="45" y="1"/>
                </a:cxn>
                <a:cxn ang="0">
                  <a:pos x="44" y="1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11" y="187"/>
                </a:cxn>
                <a:cxn ang="0">
                  <a:pos x="9" y="201"/>
                </a:cxn>
                <a:cxn ang="0">
                  <a:pos x="15" y="208"/>
                </a:cxn>
                <a:cxn ang="0">
                  <a:pos x="20" y="215"/>
                </a:cxn>
                <a:cxn ang="0">
                  <a:pos x="28" y="221"/>
                </a:cxn>
                <a:cxn ang="0">
                  <a:pos x="34" y="229"/>
                </a:cxn>
                <a:cxn ang="0">
                  <a:pos x="37" y="242"/>
                </a:cxn>
                <a:cxn ang="0">
                  <a:pos x="50" y="244"/>
                </a:cxn>
                <a:cxn ang="0">
                  <a:pos x="56" y="236"/>
                </a:cxn>
                <a:cxn ang="0">
                  <a:pos x="56" y="228"/>
                </a:cxn>
                <a:cxn ang="0">
                  <a:pos x="59" y="219"/>
                </a:cxn>
                <a:cxn ang="0">
                  <a:pos x="73" y="213"/>
                </a:cxn>
                <a:cxn ang="0">
                  <a:pos x="77" y="202"/>
                </a:cxn>
                <a:cxn ang="0">
                  <a:pos x="83" y="185"/>
                </a:cxn>
                <a:cxn ang="0">
                  <a:pos x="92" y="184"/>
                </a:cxn>
                <a:cxn ang="0">
                  <a:pos x="96" y="167"/>
                </a:cxn>
                <a:cxn ang="0">
                  <a:pos x="94" y="155"/>
                </a:cxn>
                <a:cxn ang="0">
                  <a:pos x="81" y="147"/>
                </a:cxn>
                <a:cxn ang="0">
                  <a:pos x="75" y="134"/>
                </a:cxn>
                <a:cxn ang="0">
                  <a:pos x="69" y="125"/>
                </a:cxn>
                <a:cxn ang="0">
                  <a:pos x="68" y="112"/>
                </a:cxn>
                <a:cxn ang="0">
                  <a:pos x="67" y="104"/>
                </a:cxn>
                <a:cxn ang="0">
                  <a:pos x="71" y="95"/>
                </a:cxn>
                <a:cxn ang="0">
                  <a:pos x="72" y="79"/>
                </a:cxn>
                <a:cxn ang="0">
                  <a:pos x="74" y="56"/>
                </a:cxn>
                <a:cxn ang="0">
                  <a:pos x="69" y="39"/>
                </a:cxn>
                <a:cxn ang="0">
                  <a:pos x="61" y="24"/>
                </a:cxn>
                <a:cxn ang="0">
                  <a:pos x="49" y="12"/>
                </a:cxn>
                <a:cxn ang="0">
                  <a:pos x="45" y="21"/>
                </a:cxn>
                <a:cxn ang="0">
                  <a:pos x="28" y="17"/>
                </a:cxn>
                <a:cxn ang="0">
                  <a:pos x="24" y="14"/>
                </a:cxn>
                <a:cxn ang="0">
                  <a:pos x="12" y="30"/>
                </a:cxn>
                <a:cxn ang="0">
                  <a:pos x="5" y="47"/>
                </a:cxn>
                <a:cxn ang="0">
                  <a:pos x="10" y="69"/>
                </a:cxn>
                <a:cxn ang="0">
                  <a:pos x="18" y="82"/>
                </a:cxn>
                <a:cxn ang="0">
                  <a:pos x="19" y="103"/>
                </a:cxn>
                <a:cxn ang="0">
                  <a:pos x="7" y="112"/>
                </a:cxn>
                <a:cxn ang="0">
                  <a:pos x="12" y="121"/>
                </a:cxn>
                <a:cxn ang="0">
                  <a:pos x="11" y="135"/>
                </a:cxn>
                <a:cxn ang="0">
                  <a:pos x="13" y="146"/>
                </a:cxn>
                <a:cxn ang="0">
                  <a:pos x="8" y="143"/>
                </a:cxn>
                <a:cxn ang="0">
                  <a:pos x="2" y="167"/>
                </a:cxn>
              </a:cxnLst>
              <a:rect l="0" t="0" r="r" b="b"/>
              <a:pathLst>
                <a:path w="99" h="248"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lose/>
                  <a:moveTo>
                    <a:pt x="44" y="3"/>
                  </a:move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6" y="5"/>
                    <a:pt x="46" y="5"/>
                  </a:cubicBezTo>
                  <a:cubicBezTo>
                    <a:pt x="46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5" y="1"/>
                  </a:move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6" y="1"/>
                    <a:pt x="46" y="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2" y="174"/>
                  </a:moveTo>
                  <a:cubicBezTo>
                    <a:pt x="3" y="176"/>
                    <a:pt x="8" y="176"/>
                    <a:pt x="9" y="178"/>
                  </a:cubicBezTo>
                  <a:cubicBezTo>
                    <a:pt x="9" y="179"/>
                    <a:pt x="8" y="181"/>
                    <a:pt x="9" y="182"/>
                  </a:cubicBezTo>
                  <a:cubicBezTo>
                    <a:pt x="9" y="184"/>
                    <a:pt x="11" y="185"/>
                    <a:pt x="11" y="187"/>
                  </a:cubicBezTo>
                  <a:cubicBezTo>
                    <a:pt x="12" y="188"/>
                    <a:pt x="11" y="189"/>
                    <a:pt x="10" y="190"/>
                  </a:cubicBezTo>
                  <a:cubicBezTo>
                    <a:pt x="9" y="191"/>
                    <a:pt x="8" y="191"/>
                    <a:pt x="7" y="193"/>
                  </a:cubicBezTo>
                  <a:cubicBezTo>
                    <a:pt x="7" y="194"/>
                    <a:pt x="7" y="196"/>
                    <a:pt x="8" y="197"/>
                  </a:cubicBezTo>
                  <a:cubicBezTo>
                    <a:pt x="8" y="199"/>
                    <a:pt x="8" y="200"/>
                    <a:pt x="9" y="201"/>
                  </a:cubicBezTo>
                  <a:cubicBezTo>
                    <a:pt x="10" y="202"/>
                    <a:pt x="10" y="202"/>
                    <a:pt x="11" y="203"/>
                  </a:cubicBezTo>
                  <a:cubicBezTo>
                    <a:pt x="11" y="204"/>
                    <a:pt x="11" y="204"/>
                    <a:pt x="11" y="205"/>
                  </a:cubicBezTo>
                  <a:cubicBezTo>
                    <a:pt x="11" y="205"/>
                    <a:pt x="12" y="206"/>
                    <a:pt x="13" y="206"/>
                  </a:cubicBezTo>
                  <a:cubicBezTo>
                    <a:pt x="13" y="207"/>
                    <a:pt x="14" y="207"/>
                    <a:pt x="15" y="208"/>
                  </a:cubicBezTo>
                  <a:cubicBezTo>
                    <a:pt x="15" y="209"/>
                    <a:pt x="15" y="209"/>
                    <a:pt x="16" y="209"/>
                  </a:cubicBezTo>
                  <a:cubicBezTo>
                    <a:pt x="16" y="210"/>
                    <a:pt x="18" y="210"/>
                    <a:pt x="19" y="211"/>
                  </a:cubicBezTo>
                  <a:cubicBezTo>
                    <a:pt x="20" y="211"/>
                    <a:pt x="20" y="212"/>
                    <a:pt x="20" y="213"/>
                  </a:cubicBezTo>
                  <a:cubicBezTo>
                    <a:pt x="20" y="213"/>
                    <a:pt x="20" y="214"/>
                    <a:pt x="20" y="215"/>
                  </a:cubicBezTo>
                  <a:cubicBezTo>
                    <a:pt x="21" y="215"/>
                    <a:pt x="21" y="215"/>
                    <a:pt x="21" y="216"/>
                  </a:cubicBezTo>
                  <a:cubicBezTo>
                    <a:pt x="22" y="217"/>
                    <a:pt x="22" y="218"/>
                    <a:pt x="24" y="218"/>
                  </a:cubicBezTo>
                  <a:cubicBezTo>
                    <a:pt x="24" y="219"/>
                    <a:pt x="25" y="219"/>
                    <a:pt x="26" y="220"/>
                  </a:cubicBezTo>
                  <a:cubicBezTo>
                    <a:pt x="27" y="220"/>
                    <a:pt x="27" y="221"/>
                    <a:pt x="28" y="221"/>
                  </a:cubicBezTo>
                  <a:cubicBezTo>
                    <a:pt x="29" y="222"/>
                    <a:pt x="30" y="222"/>
                    <a:pt x="31" y="222"/>
                  </a:cubicBezTo>
                  <a:cubicBezTo>
                    <a:pt x="33" y="222"/>
                    <a:pt x="32" y="225"/>
                    <a:pt x="32" y="226"/>
                  </a:cubicBezTo>
                  <a:cubicBezTo>
                    <a:pt x="32" y="228"/>
                    <a:pt x="32" y="228"/>
                    <a:pt x="33" y="229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5" y="229"/>
                    <a:pt x="36" y="230"/>
                    <a:pt x="37" y="231"/>
                  </a:cubicBezTo>
                  <a:cubicBezTo>
                    <a:pt x="38" y="232"/>
                    <a:pt x="39" y="233"/>
                    <a:pt x="37" y="234"/>
                  </a:cubicBezTo>
                  <a:cubicBezTo>
                    <a:pt x="36" y="235"/>
                    <a:pt x="36" y="235"/>
                    <a:pt x="36" y="236"/>
                  </a:cubicBezTo>
                  <a:cubicBezTo>
                    <a:pt x="35" y="238"/>
                    <a:pt x="36" y="240"/>
                    <a:pt x="37" y="242"/>
                  </a:cubicBezTo>
                  <a:cubicBezTo>
                    <a:pt x="38" y="245"/>
                    <a:pt x="40" y="244"/>
                    <a:pt x="42" y="245"/>
                  </a:cubicBezTo>
                  <a:cubicBezTo>
                    <a:pt x="43" y="245"/>
                    <a:pt x="46" y="248"/>
                    <a:pt x="48" y="247"/>
                  </a:cubicBezTo>
                  <a:cubicBezTo>
                    <a:pt x="48" y="246"/>
                    <a:pt x="48" y="246"/>
                    <a:pt x="49" y="245"/>
                  </a:cubicBezTo>
                  <a:cubicBezTo>
                    <a:pt x="49" y="245"/>
                    <a:pt x="50" y="245"/>
                    <a:pt x="50" y="244"/>
                  </a:cubicBezTo>
                  <a:cubicBezTo>
                    <a:pt x="51" y="244"/>
                    <a:pt x="52" y="242"/>
                    <a:pt x="53" y="241"/>
                  </a:cubicBezTo>
                  <a:cubicBezTo>
                    <a:pt x="53" y="239"/>
                    <a:pt x="53" y="238"/>
                    <a:pt x="54" y="237"/>
                  </a:cubicBezTo>
                  <a:cubicBezTo>
                    <a:pt x="54" y="237"/>
                    <a:pt x="54" y="237"/>
                    <a:pt x="55" y="237"/>
                  </a:cubicBezTo>
                  <a:cubicBezTo>
                    <a:pt x="55" y="237"/>
                    <a:pt x="55" y="237"/>
                    <a:pt x="56" y="236"/>
                  </a:cubicBezTo>
                  <a:cubicBezTo>
                    <a:pt x="56" y="236"/>
                    <a:pt x="56" y="236"/>
                    <a:pt x="57" y="236"/>
                  </a:cubicBezTo>
                  <a:cubicBezTo>
                    <a:pt x="57" y="235"/>
                    <a:pt x="58" y="235"/>
                    <a:pt x="58" y="234"/>
                  </a:cubicBezTo>
                  <a:cubicBezTo>
                    <a:pt x="59" y="233"/>
                    <a:pt x="58" y="232"/>
                    <a:pt x="57" y="231"/>
                  </a:cubicBezTo>
                  <a:cubicBezTo>
                    <a:pt x="57" y="230"/>
                    <a:pt x="57" y="229"/>
                    <a:pt x="56" y="228"/>
                  </a:cubicBezTo>
                  <a:cubicBezTo>
                    <a:pt x="56" y="227"/>
                    <a:pt x="55" y="227"/>
                    <a:pt x="55" y="226"/>
                  </a:cubicBezTo>
                  <a:cubicBezTo>
                    <a:pt x="55" y="225"/>
                    <a:pt x="56" y="223"/>
                    <a:pt x="56" y="223"/>
                  </a:cubicBezTo>
                  <a:cubicBezTo>
                    <a:pt x="57" y="222"/>
                    <a:pt x="57" y="222"/>
                    <a:pt x="57" y="221"/>
                  </a:cubicBezTo>
                  <a:cubicBezTo>
                    <a:pt x="58" y="220"/>
                    <a:pt x="58" y="220"/>
                    <a:pt x="59" y="219"/>
                  </a:cubicBezTo>
                  <a:cubicBezTo>
                    <a:pt x="60" y="217"/>
                    <a:pt x="62" y="216"/>
                    <a:pt x="64" y="215"/>
                  </a:cubicBezTo>
                  <a:cubicBezTo>
                    <a:pt x="65" y="214"/>
                    <a:pt x="66" y="214"/>
                    <a:pt x="68" y="214"/>
                  </a:cubicBezTo>
                  <a:cubicBezTo>
                    <a:pt x="69" y="214"/>
                    <a:pt x="71" y="215"/>
                    <a:pt x="72" y="215"/>
                  </a:cubicBezTo>
                  <a:cubicBezTo>
                    <a:pt x="72" y="215"/>
                    <a:pt x="73" y="213"/>
                    <a:pt x="73" y="213"/>
                  </a:cubicBezTo>
                  <a:cubicBezTo>
                    <a:pt x="73" y="212"/>
                    <a:pt x="73" y="211"/>
                    <a:pt x="74" y="210"/>
                  </a:cubicBezTo>
                  <a:cubicBezTo>
                    <a:pt x="74" y="209"/>
                    <a:pt x="75" y="209"/>
                    <a:pt x="75" y="207"/>
                  </a:cubicBezTo>
                  <a:cubicBezTo>
                    <a:pt x="75" y="207"/>
                    <a:pt x="74" y="206"/>
                    <a:pt x="75" y="206"/>
                  </a:cubicBezTo>
                  <a:cubicBezTo>
                    <a:pt x="75" y="204"/>
                    <a:pt x="76" y="203"/>
                    <a:pt x="77" y="202"/>
                  </a:cubicBezTo>
                  <a:cubicBezTo>
                    <a:pt x="77" y="201"/>
                    <a:pt x="77" y="200"/>
                    <a:pt x="78" y="199"/>
                  </a:cubicBezTo>
                  <a:cubicBezTo>
                    <a:pt x="79" y="197"/>
                    <a:pt x="79" y="196"/>
                    <a:pt x="79" y="194"/>
                  </a:cubicBezTo>
                  <a:cubicBezTo>
                    <a:pt x="79" y="192"/>
                    <a:pt x="80" y="190"/>
                    <a:pt x="81" y="188"/>
                  </a:cubicBezTo>
                  <a:cubicBezTo>
                    <a:pt x="82" y="187"/>
                    <a:pt x="82" y="186"/>
                    <a:pt x="83" y="185"/>
                  </a:cubicBezTo>
                  <a:cubicBezTo>
                    <a:pt x="84" y="185"/>
                    <a:pt x="85" y="186"/>
                    <a:pt x="86" y="185"/>
                  </a:cubicBezTo>
                  <a:cubicBezTo>
                    <a:pt x="86" y="185"/>
                    <a:pt x="87" y="185"/>
                    <a:pt x="87" y="184"/>
                  </a:cubicBezTo>
                  <a:cubicBezTo>
                    <a:pt x="87" y="184"/>
                    <a:pt x="88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4" y="183"/>
                    <a:pt x="93" y="181"/>
                    <a:pt x="94" y="179"/>
                  </a:cubicBezTo>
                  <a:cubicBezTo>
                    <a:pt x="94" y="177"/>
                    <a:pt x="94" y="177"/>
                    <a:pt x="96" y="176"/>
                  </a:cubicBezTo>
                  <a:cubicBezTo>
                    <a:pt x="96" y="176"/>
                    <a:pt x="97" y="175"/>
                    <a:pt x="98" y="175"/>
                  </a:cubicBezTo>
                  <a:cubicBezTo>
                    <a:pt x="99" y="173"/>
                    <a:pt x="97" y="168"/>
                    <a:pt x="96" y="167"/>
                  </a:cubicBezTo>
                  <a:cubicBezTo>
                    <a:pt x="95" y="165"/>
                    <a:pt x="90" y="162"/>
                    <a:pt x="92" y="160"/>
                  </a:cubicBezTo>
                  <a:cubicBezTo>
                    <a:pt x="92" y="159"/>
                    <a:pt x="93" y="159"/>
                    <a:pt x="93" y="158"/>
                  </a:cubicBezTo>
                  <a:cubicBezTo>
                    <a:pt x="93" y="158"/>
                    <a:pt x="93" y="157"/>
                    <a:pt x="93" y="157"/>
                  </a:cubicBezTo>
                  <a:cubicBezTo>
                    <a:pt x="93" y="156"/>
                    <a:pt x="93" y="156"/>
                    <a:pt x="94" y="155"/>
                  </a:cubicBezTo>
                  <a:cubicBezTo>
                    <a:pt x="94" y="153"/>
                    <a:pt x="93" y="151"/>
                    <a:pt x="92" y="150"/>
                  </a:cubicBezTo>
                  <a:cubicBezTo>
                    <a:pt x="91" y="149"/>
                    <a:pt x="89" y="147"/>
                    <a:pt x="87" y="148"/>
                  </a:cubicBezTo>
                  <a:cubicBezTo>
                    <a:pt x="86" y="148"/>
                    <a:pt x="85" y="150"/>
                    <a:pt x="84" y="149"/>
                  </a:cubicBezTo>
                  <a:cubicBezTo>
                    <a:pt x="82" y="149"/>
                    <a:pt x="82" y="147"/>
                    <a:pt x="81" y="147"/>
                  </a:cubicBezTo>
                  <a:cubicBezTo>
                    <a:pt x="80" y="147"/>
                    <a:pt x="79" y="147"/>
                    <a:pt x="79" y="147"/>
                  </a:cubicBezTo>
                  <a:cubicBezTo>
                    <a:pt x="78" y="147"/>
                    <a:pt x="78" y="146"/>
                    <a:pt x="78" y="146"/>
                  </a:cubicBezTo>
                  <a:cubicBezTo>
                    <a:pt x="77" y="143"/>
                    <a:pt x="78" y="140"/>
                    <a:pt x="78" y="137"/>
                  </a:cubicBezTo>
                  <a:cubicBezTo>
                    <a:pt x="77" y="136"/>
                    <a:pt x="76" y="135"/>
                    <a:pt x="75" y="134"/>
                  </a:cubicBezTo>
                  <a:cubicBezTo>
                    <a:pt x="74" y="133"/>
                    <a:pt x="74" y="131"/>
                    <a:pt x="72" y="131"/>
                  </a:cubicBezTo>
                  <a:cubicBezTo>
                    <a:pt x="71" y="131"/>
                    <a:pt x="70" y="132"/>
                    <a:pt x="69" y="131"/>
                  </a:cubicBezTo>
                  <a:cubicBezTo>
                    <a:pt x="69" y="130"/>
                    <a:pt x="69" y="129"/>
                    <a:pt x="69" y="129"/>
                  </a:cubicBezTo>
                  <a:cubicBezTo>
                    <a:pt x="69" y="127"/>
                    <a:pt x="69" y="126"/>
                    <a:pt x="69" y="125"/>
                  </a:cubicBezTo>
                  <a:cubicBezTo>
                    <a:pt x="68" y="123"/>
                    <a:pt x="68" y="122"/>
                    <a:pt x="67" y="120"/>
                  </a:cubicBezTo>
                  <a:cubicBezTo>
                    <a:pt x="67" y="119"/>
                    <a:pt x="66" y="118"/>
                    <a:pt x="67" y="116"/>
                  </a:cubicBezTo>
                  <a:cubicBezTo>
                    <a:pt x="67" y="116"/>
                    <a:pt x="67" y="115"/>
                    <a:pt x="68" y="114"/>
                  </a:cubicBezTo>
                  <a:cubicBezTo>
                    <a:pt x="68" y="113"/>
                    <a:pt x="68" y="113"/>
                    <a:pt x="68" y="112"/>
                  </a:cubicBezTo>
                  <a:cubicBezTo>
                    <a:pt x="69" y="111"/>
                    <a:pt x="70" y="111"/>
                    <a:pt x="70" y="110"/>
                  </a:cubicBezTo>
                  <a:cubicBezTo>
                    <a:pt x="70" y="109"/>
                    <a:pt x="69" y="108"/>
                    <a:pt x="69" y="108"/>
                  </a:cubicBezTo>
                  <a:cubicBezTo>
                    <a:pt x="69" y="107"/>
                    <a:pt x="69" y="107"/>
                    <a:pt x="68" y="106"/>
                  </a:cubicBezTo>
                  <a:cubicBezTo>
                    <a:pt x="68" y="105"/>
                    <a:pt x="67" y="105"/>
                    <a:pt x="67" y="104"/>
                  </a:cubicBezTo>
                  <a:cubicBezTo>
                    <a:pt x="67" y="103"/>
                    <a:pt x="66" y="102"/>
                    <a:pt x="66" y="101"/>
                  </a:cubicBezTo>
                  <a:cubicBezTo>
                    <a:pt x="66" y="101"/>
                    <a:pt x="66" y="100"/>
                    <a:pt x="66" y="100"/>
                  </a:cubicBezTo>
                  <a:cubicBezTo>
                    <a:pt x="67" y="99"/>
                    <a:pt x="66" y="97"/>
                    <a:pt x="68" y="97"/>
                  </a:cubicBezTo>
                  <a:cubicBezTo>
                    <a:pt x="69" y="96"/>
                    <a:pt x="70" y="96"/>
                    <a:pt x="71" y="95"/>
                  </a:cubicBezTo>
                  <a:cubicBezTo>
                    <a:pt x="71" y="95"/>
                    <a:pt x="71" y="94"/>
                    <a:pt x="71" y="94"/>
                  </a:cubicBezTo>
                  <a:cubicBezTo>
                    <a:pt x="71" y="92"/>
                    <a:pt x="71" y="91"/>
                    <a:pt x="71" y="89"/>
                  </a:cubicBezTo>
                  <a:cubicBezTo>
                    <a:pt x="71" y="88"/>
                    <a:pt x="71" y="86"/>
                    <a:pt x="71" y="85"/>
                  </a:cubicBezTo>
                  <a:cubicBezTo>
                    <a:pt x="71" y="83"/>
                    <a:pt x="72" y="81"/>
                    <a:pt x="72" y="79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2"/>
                    <a:pt x="74" y="72"/>
                    <a:pt x="74" y="71"/>
                  </a:cubicBezTo>
                  <a:cubicBezTo>
                    <a:pt x="75" y="69"/>
                    <a:pt x="75" y="66"/>
                    <a:pt x="75" y="63"/>
                  </a:cubicBezTo>
                  <a:cubicBezTo>
                    <a:pt x="75" y="61"/>
                    <a:pt x="75" y="58"/>
                    <a:pt x="74" y="56"/>
                  </a:cubicBezTo>
                  <a:cubicBezTo>
                    <a:pt x="73" y="54"/>
                    <a:pt x="72" y="53"/>
                    <a:pt x="72" y="51"/>
                  </a:cubicBezTo>
                  <a:cubicBezTo>
                    <a:pt x="72" y="49"/>
                    <a:pt x="71" y="47"/>
                    <a:pt x="71" y="45"/>
                  </a:cubicBezTo>
                  <a:cubicBezTo>
                    <a:pt x="71" y="44"/>
                    <a:pt x="71" y="43"/>
                    <a:pt x="70" y="41"/>
                  </a:cubicBezTo>
                  <a:cubicBezTo>
                    <a:pt x="70" y="40"/>
                    <a:pt x="69" y="40"/>
                    <a:pt x="69" y="39"/>
                  </a:cubicBezTo>
                  <a:cubicBezTo>
                    <a:pt x="69" y="38"/>
                    <a:pt x="70" y="37"/>
                    <a:pt x="69" y="36"/>
                  </a:cubicBezTo>
                  <a:cubicBezTo>
                    <a:pt x="68" y="34"/>
                    <a:pt x="66" y="32"/>
                    <a:pt x="66" y="31"/>
                  </a:cubicBezTo>
                  <a:cubicBezTo>
                    <a:pt x="65" y="29"/>
                    <a:pt x="65" y="28"/>
                    <a:pt x="64" y="27"/>
                  </a:cubicBezTo>
                  <a:cubicBezTo>
                    <a:pt x="63" y="26"/>
                    <a:pt x="62" y="25"/>
                    <a:pt x="61" y="24"/>
                  </a:cubicBezTo>
                  <a:cubicBezTo>
                    <a:pt x="60" y="23"/>
                    <a:pt x="60" y="22"/>
                    <a:pt x="59" y="21"/>
                  </a:cubicBezTo>
                  <a:cubicBezTo>
                    <a:pt x="57" y="19"/>
                    <a:pt x="54" y="21"/>
                    <a:pt x="52" y="19"/>
                  </a:cubicBezTo>
                  <a:cubicBezTo>
                    <a:pt x="51" y="18"/>
                    <a:pt x="51" y="16"/>
                    <a:pt x="50" y="15"/>
                  </a:cubicBezTo>
                  <a:cubicBezTo>
                    <a:pt x="50" y="14"/>
                    <a:pt x="50" y="13"/>
                    <a:pt x="49" y="12"/>
                  </a:cubicBezTo>
                  <a:cubicBezTo>
                    <a:pt x="49" y="13"/>
                    <a:pt x="49" y="13"/>
                    <a:pt x="48" y="14"/>
                  </a:cubicBezTo>
                  <a:cubicBezTo>
                    <a:pt x="48" y="15"/>
                    <a:pt x="48" y="16"/>
                    <a:pt x="47" y="17"/>
                  </a:cubicBezTo>
                  <a:cubicBezTo>
                    <a:pt x="47" y="18"/>
                    <a:pt x="46" y="18"/>
                    <a:pt x="46" y="19"/>
                  </a:cubicBezTo>
                  <a:cubicBezTo>
                    <a:pt x="46" y="20"/>
                    <a:pt x="46" y="21"/>
                    <a:pt x="45" y="21"/>
                  </a:cubicBezTo>
                  <a:cubicBezTo>
                    <a:pt x="44" y="23"/>
                    <a:pt x="42" y="23"/>
                    <a:pt x="41" y="24"/>
                  </a:cubicBezTo>
                  <a:cubicBezTo>
                    <a:pt x="38" y="25"/>
                    <a:pt x="36" y="25"/>
                    <a:pt x="33" y="25"/>
                  </a:cubicBezTo>
                  <a:cubicBezTo>
                    <a:pt x="31" y="25"/>
                    <a:pt x="29" y="26"/>
                    <a:pt x="28" y="23"/>
                  </a:cubicBezTo>
                  <a:cubicBezTo>
                    <a:pt x="28" y="22"/>
                    <a:pt x="28" y="19"/>
                    <a:pt x="28" y="17"/>
                  </a:cubicBezTo>
                  <a:cubicBezTo>
                    <a:pt x="28" y="15"/>
                    <a:pt x="28" y="13"/>
                    <a:pt x="27" y="11"/>
                  </a:cubicBezTo>
                  <a:cubicBezTo>
                    <a:pt x="27" y="10"/>
                    <a:pt x="27" y="10"/>
                    <a:pt x="26" y="10"/>
                  </a:cubicBezTo>
                  <a:cubicBezTo>
                    <a:pt x="26" y="10"/>
                    <a:pt x="24" y="12"/>
                    <a:pt x="24" y="12"/>
                  </a:cubicBezTo>
                  <a:cubicBezTo>
                    <a:pt x="24" y="13"/>
                    <a:pt x="24" y="13"/>
                    <a:pt x="24" y="14"/>
                  </a:cubicBezTo>
                  <a:cubicBezTo>
                    <a:pt x="23" y="16"/>
                    <a:pt x="22" y="17"/>
                    <a:pt x="20" y="19"/>
                  </a:cubicBezTo>
                  <a:cubicBezTo>
                    <a:pt x="19" y="21"/>
                    <a:pt x="18" y="23"/>
                    <a:pt x="16" y="24"/>
                  </a:cubicBezTo>
                  <a:cubicBezTo>
                    <a:pt x="15" y="25"/>
                    <a:pt x="15" y="26"/>
                    <a:pt x="14" y="27"/>
                  </a:cubicBezTo>
                  <a:cubicBezTo>
                    <a:pt x="13" y="28"/>
                    <a:pt x="13" y="29"/>
                    <a:pt x="12" y="30"/>
                  </a:cubicBezTo>
                  <a:cubicBezTo>
                    <a:pt x="12" y="31"/>
                    <a:pt x="11" y="33"/>
                    <a:pt x="10" y="34"/>
                  </a:cubicBezTo>
                  <a:cubicBezTo>
                    <a:pt x="10" y="36"/>
                    <a:pt x="9" y="37"/>
                    <a:pt x="8" y="38"/>
                  </a:cubicBezTo>
                  <a:cubicBezTo>
                    <a:pt x="6" y="39"/>
                    <a:pt x="2" y="39"/>
                    <a:pt x="1" y="41"/>
                  </a:cubicBezTo>
                  <a:cubicBezTo>
                    <a:pt x="1" y="44"/>
                    <a:pt x="3" y="46"/>
                    <a:pt x="5" y="47"/>
                  </a:cubicBezTo>
                  <a:cubicBezTo>
                    <a:pt x="7" y="51"/>
                    <a:pt x="10" y="56"/>
                    <a:pt x="10" y="60"/>
                  </a:cubicBezTo>
                  <a:cubicBezTo>
                    <a:pt x="11" y="63"/>
                    <a:pt x="8" y="65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8" y="68"/>
                    <a:pt x="9" y="68"/>
                    <a:pt x="10" y="69"/>
                  </a:cubicBezTo>
                  <a:cubicBezTo>
                    <a:pt x="13" y="70"/>
                    <a:pt x="16" y="68"/>
                    <a:pt x="19" y="70"/>
                  </a:cubicBezTo>
                  <a:cubicBezTo>
                    <a:pt x="20" y="72"/>
                    <a:pt x="20" y="76"/>
                    <a:pt x="19" y="77"/>
                  </a:cubicBezTo>
                  <a:cubicBezTo>
                    <a:pt x="18" y="78"/>
                    <a:pt x="18" y="78"/>
                    <a:pt x="18" y="79"/>
                  </a:cubicBezTo>
                  <a:cubicBezTo>
                    <a:pt x="18" y="80"/>
                    <a:pt x="18" y="81"/>
                    <a:pt x="18" y="82"/>
                  </a:cubicBezTo>
                  <a:cubicBezTo>
                    <a:pt x="18" y="86"/>
                    <a:pt x="19" y="90"/>
                    <a:pt x="18" y="93"/>
                  </a:cubicBezTo>
                  <a:cubicBezTo>
                    <a:pt x="18" y="95"/>
                    <a:pt x="18" y="97"/>
                    <a:pt x="18" y="99"/>
                  </a:cubicBezTo>
                  <a:cubicBezTo>
                    <a:pt x="18" y="100"/>
                    <a:pt x="18" y="100"/>
                    <a:pt x="18" y="101"/>
                  </a:cubicBezTo>
                  <a:cubicBezTo>
                    <a:pt x="18" y="101"/>
                    <a:pt x="19" y="102"/>
                    <a:pt x="19" y="103"/>
                  </a:cubicBezTo>
                  <a:cubicBezTo>
                    <a:pt x="19" y="104"/>
                    <a:pt x="19" y="105"/>
                    <a:pt x="18" y="103"/>
                  </a:cubicBezTo>
                  <a:cubicBezTo>
                    <a:pt x="16" y="104"/>
                    <a:pt x="13" y="103"/>
                    <a:pt x="10" y="104"/>
                  </a:cubicBezTo>
                  <a:cubicBezTo>
                    <a:pt x="8" y="104"/>
                    <a:pt x="8" y="107"/>
                    <a:pt x="8" y="108"/>
                  </a:cubicBezTo>
                  <a:cubicBezTo>
                    <a:pt x="8" y="110"/>
                    <a:pt x="7" y="111"/>
                    <a:pt x="7" y="112"/>
                  </a:cubicBezTo>
                  <a:cubicBezTo>
                    <a:pt x="8" y="113"/>
                    <a:pt x="9" y="114"/>
                    <a:pt x="10" y="115"/>
                  </a:cubicBezTo>
                  <a:cubicBezTo>
                    <a:pt x="11" y="116"/>
                    <a:pt x="11" y="117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1"/>
                  </a:cubicBezTo>
                  <a:cubicBezTo>
                    <a:pt x="12" y="121"/>
                    <a:pt x="12" y="123"/>
                    <a:pt x="13" y="123"/>
                  </a:cubicBezTo>
                  <a:cubicBezTo>
                    <a:pt x="13" y="124"/>
                    <a:pt x="15" y="124"/>
                    <a:pt x="15" y="125"/>
                  </a:cubicBezTo>
                  <a:cubicBezTo>
                    <a:pt x="15" y="126"/>
                    <a:pt x="15" y="127"/>
                    <a:pt x="14" y="128"/>
                  </a:cubicBezTo>
                  <a:cubicBezTo>
                    <a:pt x="13" y="131"/>
                    <a:pt x="11" y="133"/>
                    <a:pt x="11" y="135"/>
                  </a:cubicBezTo>
                  <a:cubicBezTo>
                    <a:pt x="11" y="136"/>
                    <a:pt x="11" y="138"/>
                    <a:pt x="12" y="139"/>
                  </a:cubicBezTo>
                  <a:cubicBezTo>
                    <a:pt x="12" y="139"/>
                    <a:pt x="13" y="140"/>
                    <a:pt x="13" y="140"/>
                  </a:cubicBezTo>
                  <a:cubicBezTo>
                    <a:pt x="14" y="141"/>
                    <a:pt x="13" y="142"/>
                    <a:pt x="13" y="143"/>
                  </a:cubicBezTo>
                  <a:cubicBezTo>
                    <a:pt x="13" y="144"/>
                    <a:pt x="13" y="145"/>
                    <a:pt x="13" y="146"/>
                  </a:cubicBezTo>
                  <a:cubicBezTo>
                    <a:pt x="13" y="146"/>
                    <a:pt x="12" y="148"/>
                    <a:pt x="12" y="148"/>
                  </a:cubicBezTo>
                  <a:cubicBezTo>
                    <a:pt x="11" y="147"/>
                    <a:pt x="11" y="146"/>
                    <a:pt x="11" y="145"/>
                  </a:cubicBezTo>
                  <a:cubicBezTo>
                    <a:pt x="11" y="144"/>
                    <a:pt x="11" y="143"/>
                    <a:pt x="11" y="142"/>
                  </a:cubicBezTo>
                  <a:cubicBezTo>
                    <a:pt x="10" y="142"/>
                    <a:pt x="8" y="142"/>
                    <a:pt x="8" y="143"/>
                  </a:cubicBezTo>
                  <a:cubicBezTo>
                    <a:pt x="7" y="143"/>
                    <a:pt x="6" y="144"/>
                    <a:pt x="5" y="144"/>
                  </a:cubicBezTo>
                  <a:cubicBezTo>
                    <a:pt x="2" y="148"/>
                    <a:pt x="3" y="152"/>
                    <a:pt x="3" y="156"/>
                  </a:cubicBezTo>
                  <a:cubicBezTo>
                    <a:pt x="3" y="159"/>
                    <a:pt x="2" y="162"/>
                    <a:pt x="1" y="165"/>
                  </a:cubicBezTo>
                  <a:cubicBezTo>
                    <a:pt x="1" y="166"/>
                    <a:pt x="2" y="167"/>
                    <a:pt x="2" y="167"/>
                  </a:cubicBezTo>
                  <a:cubicBezTo>
                    <a:pt x="2" y="169"/>
                    <a:pt x="0" y="173"/>
                    <a:pt x="2" y="17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270C1112-1EA6-4AFB-B28F-0554DA73F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350" y="5711825"/>
              <a:ext cx="266700" cy="236538"/>
            </a:xfrm>
            <a:custGeom>
              <a:avLst/>
              <a:gdLst/>
              <a:ahLst/>
              <a:cxnLst>
                <a:cxn ang="0">
                  <a:pos x="137" y="46"/>
                </a:cxn>
                <a:cxn ang="0">
                  <a:pos x="136" y="39"/>
                </a:cxn>
                <a:cxn ang="0">
                  <a:pos x="135" y="32"/>
                </a:cxn>
                <a:cxn ang="0">
                  <a:pos x="132" y="28"/>
                </a:cxn>
                <a:cxn ang="0">
                  <a:pos x="122" y="25"/>
                </a:cxn>
                <a:cxn ang="0">
                  <a:pos x="117" y="20"/>
                </a:cxn>
                <a:cxn ang="0">
                  <a:pos x="115" y="18"/>
                </a:cxn>
                <a:cxn ang="0">
                  <a:pos x="113" y="12"/>
                </a:cxn>
                <a:cxn ang="0">
                  <a:pos x="99" y="2"/>
                </a:cxn>
                <a:cxn ang="0">
                  <a:pos x="90" y="9"/>
                </a:cxn>
                <a:cxn ang="0">
                  <a:pos x="84" y="6"/>
                </a:cxn>
                <a:cxn ang="0">
                  <a:pos x="74" y="8"/>
                </a:cxn>
                <a:cxn ang="0">
                  <a:pos x="53" y="9"/>
                </a:cxn>
                <a:cxn ang="0">
                  <a:pos x="46" y="22"/>
                </a:cxn>
                <a:cxn ang="0">
                  <a:pos x="39" y="15"/>
                </a:cxn>
                <a:cxn ang="0">
                  <a:pos x="19" y="25"/>
                </a:cxn>
                <a:cxn ang="0">
                  <a:pos x="18" y="33"/>
                </a:cxn>
                <a:cxn ang="0">
                  <a:pos x="9" y="39"/>
                </a:cxn>
                <a:cxn ang="0">
                  <a:pos x="5" y="50"/>
                </a:cxn>
                <a:cxn ang="0">
                  <a:pos x="5" y="60"/>
                </a:cxn>
                <a:cxn ang="0">
                  <a:pos x="0" y="66"/>
                </a:cxn>
                <a:cxn ang="0">
                  <a:pos x="3" y="73"/>
                </a:cxn>
                <a:cxn ang="0">
                  <a:pos x="2" y="79"/>
                </a:cxn>
                <a:cxn ang="0">
                  <a:pos x="3" y="90"/>
                </a:cxn>
                <a:cxn ang="0">
                  <a:pos x="6" y="96"/>
                </a:cxn>
                <a:cxn ang="0">
                  <a:pos x="12" y="111"/>
                </a:cxn>
                <a:cxn ang="0">
                  <a:pos x="18" y="114"/>
                </a:cxn>
                <a:cxn ang="0">
                  <a:pos x="28" y="120"/>
                </a:cxn>
                <a:cxn ang="0">
                  <a:pos x="26" y="125"/>
                </a:cxn>
                <a:cxn ang="0">
                  <a:pos x="36" y="119"/>
                </a:cxn>
                <a:cxn ang="0">
                  <a:pos x="50" y="116"/>
                </a:cxn>
                <a:cxn ang="0">
                  <a:pos x="58" y="115"/>
                </a:cxn>
                <a:cxn ang="0">
                  <a:pos x="66" y="115"/>
                </a:cxn>
                <a:cxn ang="0">
                  <a:pos x="74" y="108"/>
                </a:cxn>
                <a:cxn ang="0">
                  <a:pos x="87" y="96"/>
                </a:cxn>
                <a:cxn ang="0">
                  <a:pos x="95" y="97"/>
                </a:cxn>
                <a:cxn ang="0">
                  <a:pos x="104" y="98"/>
                </a:cxn>
                <a:cxn ang="0">
                  <a:pos x="115" y="99"/>
                </a:cxn>
                <a:cxn ang="0">
                  <a:pos x="124" y="99"/>
                </a:cxn>
                <a:cxn ang="0">
                  <a:pos x="126" y="89"/>
                </a:cxn>
                <a:cxn ang="0">
                  <a:pos x="130" y="85"/>
                </a:cxn>
                <a:cxn ang="0">
                  <a:pos x="137" y="80"/>
                </a:cxn>
                <a:cxn ang="0">
                  <a:pos x="139" y="65"/>
                </a:cxn>
                <a:cxn ang="0">
                  <a:pos x="142" y="54"/>
                </a:cxn>
              </a:cxnLst>
              <a:rect l="0" t="0" r="r" b="b"/>
              <a:pathLst>
                <a:path w="143" h="126">
                  <a:moveTo>
                    <a:pt x="143" y="52"/>
                  </a:moveTo>
                  <a:cubicBezTo>
                    <a:pt x="143" y="50"/>
                    <a:pt x="140" y="50"/>
                    <a:pt x="139" y="49"/>
                  </a:cubicBezTo>
                  <a:cubicBezTo>
                    <a:pt x="138" y="48"/>
                    <a:pt x="138" y="47"/>
                    <a:pt x="137" y="46"/>
                  </a:cubicBezTo>
                  <a:cubicBezTo>
                    <a:pt x="137" y="45"/>
                    <a:pt x="137" y="44"/>
                    <a:pt x="137" y="44"/>
                  </a:cubicBezTo>
                  <a:cubicBezTo>
                    <a:pt x="137" y="43"/>
                    <a:pt x="137" y="42"/>
                    <a:pt x="137" y="41"/>
                  </a:cubicBezTo>
                  <a:cubicBezTo>
                    <a:pt x="137" y="40"/>
                    <a:pt x="136" y="40"/>
                    <a:pt x="136" y="39"/>
                  </a:cubicBezTo>
                  <a:cubicBezTo>
                    <a:pt x="136" y="38"/>
                    <a:pt x="136" y="37"/>
                    <a:pt x="136" y="37"/>
                  </a:cubicBezTo>
                  <a:cubicBezTo>
                    <a:pt x="136" y="36"/>
                    <a:pt x="135" y="36"/>
                    <a:pt x="135" y="35"/>
                  </a:cubicBezTo>
                  <a:cubicBezTo>
                    <a:pt x="135" y="34"/>
                    <a:pt x="135" y="33"/>
                    <a:pt x="135" y="32"/>
                  </a:cubicBezTo>
                  <a:cubicBezTo>
                    <a:pt x="135" y="31"/>
                    <a:pt x="134" y="30"/>
                    <a:pt x="134" y="30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8"/>
                    <a:pt x="133" y="28"/>
                    <a:pt x="132" y="28"/>
                  </a:cubicBezTo>
                  <a:cubicBezTo>
                    <a:pt x="131" y="28"/>
                    <a:pt x="130" y="27"/>
                    <a:pt x="129" y="27"/>
                  </a:cubicBezTo>
                  <a:cubicBezTo>
                    <a:pt x="128" y="26"/>
                    <a:pt x="127" y="25"/>
                    <a:pt x="126" y="25"/>
                  </a:cubicBezTo>
                  <a:cubicBezTo>
                    <a:pt x="124" y="24"/>
                    <a:pt x="123" y="25"/>
                    <a:pt x="122" y="25"/>
                  </a:cubicBezTo>
                  <a:cubicBezTo>
                    <a:pt x="121" y="24"/>
                    <a:pt x="120" y="24"/>
                    <a:pt x="119" y="24"/>
                  </a:cubicBezTo>
                  <a:cubicBezTo>
                    <a:pt x="118" y="23"/>
                    <a:pt x="118" y="22"/>
                    <a:pt x="118" y="21"/>
                  </a:cubicBezTo>
                  <a:cubicBezTo>
                    <a:pt x="117" y="21"/>
                    <a:pt x="117" y="20"/>
                    <a:pt x="117" y="20"/>
                  </a:cubicBezTo>
                  <a:cubicBezTo>
                    <a:pt x="116" y="20"/>
                    <a:pt x="115" y="20"/>
                    <a:pt x="115" y="2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7"/>
                    <a:pt x="115" y="17"/>
                  </a:cubicBezTo>
                  <a:cubicBezTo>
                    <a:pt x="114" y="16"/>
                    <a:pt x="114" y="16"/>
                    <a:pt x="114" y="15"/>
                  </a:cubicBezTo>
                  <a:cubicBezTo>
                    <a:pt x="113" y="14"/>
                    <a:pt x="113" y="13"/>
                    <a:pt x="113" y="12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1" y="7"/>
                    <a:pt x="110" y="6"/>
                    <a:pt x="109" y="6"/>
                  </a:cubicBezTo>
                  <a:cubicBezTo>
                    <a:pt x="106" y="4"/>
                    <a:pt x="103" y="0"/>
                    <a:pt x="99" y="2"/>
                  </a:cubicBezTo>
                  <a:cubicBezTo>
                    <a:pt x="97" y="3"/>
                    <a:pt x="96" y="3"/>
                    <a:pt x="95" y="4"/>
                  </a:cubicBezTo>
                  <a:cubicBezTo>
                    <a:pt x="93" y="5"/>
                    <a:pt x="93" y="7"/>
                    <a:pt x="92" y="8"/>
                  </a:cubicBezTo>
                  <a:cubicBezTo>
                    <a:pt x="91" y="9"/>
                    <a:pt x="90" y="9"/>
                    <a:pt x="90" y="9"/>
                  </a:cubicBezTo>
                  <a:cubicBezTo>
                    <a:pt x="88" y="10"/>
                    <a:pt x="89" y="9"/>
                    <a:pt x="88" y="9"/>
                  </a:cubicBezTo>
                  <a:cubicBezTo>
                    <a:pt x="87" y="8"/>
                    <a:pt x="86" y="8"/>
                    <a:pt x="85" y="7"/>
                  </a:cubicBezTo>
                  <a:cubicBezTo>
                    <a:pt x="84" y="7"/>
                    <a:pt x="85" y="7"/>
                    <a:pt x="84" y="6"/>
                  </a:cubicBezTo>
                  <a:cubicBezTo>
                    <a:pt x="83" y="4"/>
                    <a:pt x="82" y="3"/>
                    <a:pt x="80" y="4"/>
                  </a:cubicBezTo>
                  <a:cubicBezTo>
                    <a:pt x="78" y="5"/>
                    <a:pt x="76" y="5"/>
                    <a:pt x="75" y="6"/>
                  </a:cubicBezTo>
                  <a:cubicBezTo>
                    <a:pt x="74" y="7"/>
                    <a:pt x="74" y="8"/>
                    <a:pt x="74" y="8"/>
                  </a:cubicBezTo>
                  <a:cubicBezTo>
                    <a:pt x="73" y="10"/>
                    <a:pt x="73" y="10"/>
                    <a:pt x="71" y="11"/>
                  </a:cubicBezTo>
                  <a:cubicBezTo>
                    <a:pt x="69" y="12"/>
                    <a:pt x="65" y="12"/>
                    <a:pt x="63" y="11"/>
                  </a:cubicBezTo>
                  <a:cubicBezTo>
                    <a:pt x="64" y="8"/>
                    <a:pt x="55" y="8"/>
                    <a:pt x="53" y="9"/>
                  </a:cubicBezTo>
                  <a:cubicBezTo>
                    <a:pt x="53" y="11"/>
                    <a:pt x="49" y="12"/>
                    <a:pt x="50" y="14"/>
                  </a:cubicBezTo>
                  <a:cubicBezTo>
                    <a:pt x="48" y="15"/>
                    <a:pt x="48" y="16"/>
                    <a:pt x="47" y="18"/>
                  </a:cubicBezTo>
                  <a:cubicBezTo>
                    <a:pt x="47" y="19"/>
                    <a:pt x="46" y="21"/>
                    <a:pt x="46" y="22"/>
                  </a:cubicBezTo>
                  <a:cubicBezTo>
                    <a:pt x="45" y="23"/>
                    <a:pt x="43" y="20"/>
                    <a:pt x="42" y="20"/>
                  </a:cubicBezTo>
                  <a:cubicBezTo>
                    <a:pt x="42" y="19"/>
                    <a:pt x="41" y="18"/>
                    <a:pt x="41" y="17"/>
                  </a:cubicBezTo>
                  <a:cubicBezTo>
                    <a:pt x="40" y="16"/>
                    <a:pt x="41" y="16"/>
                    <a:pt x="39" y="15"/>
                  </a:cubicBezTo>
                  <a:cubicBezTo>
                    <a:pt x="36" y="13"/>
                    <a:pt x="32" y="16"/>
                    <a:pt x="29" y="17"/>
                  </a:cubicBezTo>
                  <a:cubicBezTo>
                    <a:pt x="27" y="18"/>
                    <a:pt x="25" y="18"/>
                    <a:pt x="23" y="20"/>
                  </a:cubicBezTo>
                  <a:cubicBezTo>
                    <a:pt x="22" y="21"/>
                    <a:pt x="21" y="23"/>
                    <a:pt x="19" y="25"/>
                  </a:cubicBezTo>
                  <a:cubicBezTo>
                    <a:pt x="19" y="26"/>
                    <a:pt x="18" y="27"/>
                    <a:pt x="18" y="28"/>
                  </a:cubicBezTo>
                  <a:cubicBezTo>
                    <a:pt x="18" y="28"/>
                    <a:pt x="18" y="29"/>
                    <a:pt x="18" y="30"/>
                  </a:cubicBezTo>
                  <a:cubicBezTo>
                    <a:pt x="18" y="31"/>
                    <a:pt x="18" y="32"/>
                    <a:pt x="18" y="33"/>
                  </a:cubicBezTo>
                  <a:cubicBezTo>
                    <a:pt x="17" y="34"/>
                    <a:pt x="16" y="34"/>
                    <a:pt x="15" y="35"/>
                  </a:cubicBezTo>
                  <a:cubicBezTo>
                    <a:pt x="14" y="36"/>
                    <a:pt x="13" y="36"/>
                    <a:pt x="12" y="37"/>
                  </a:cubicBezTo>
                  <a:cubicBezTo>
                    <a:pt x="11" y="38"/>
                    <a:pt x="10" y="39"/>
                    <a:pt x="9" y="39"/>
                  </a:cubicBezTo>
                  <a:cubicBezTo>
                    <a:pt x="9" y="39"/>
                    <a:pt x="8" y="38"/>
                    <a:pt x="8" y="38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6"/>
                    <a:pt x="5" y="48"/>
                    <a:pt x="5" y="50"/>
                  </a:cubicBezTo>
                  <a:cubicBezTo>
                    <a:pt x="5" y="51"/>
                    <a:pt x="5" y="53"/>
                    <a:pt x="5" y="54"/>
                  </a:cubicBezTo>
                  <a:cubicBezTo>
                    <a:pt x="5" y="56"/>
                    <a:pt x="5" y="57"/>
                    <a:pt x="5" y="59"/>
                  </a:cubicBezTo>
                  <a:cubicBezTo>
                    <a:pt x="5" y="59"/>
                    <a:pt x="5" y="60"/>
                    <a:pt x="5" y="60"/>
                  </a:cubicBezTo>
                  <a:cubicBezTo>
                    <a:pt x="4" y="61"/>
                    <a:pt x="3" y="61"/>
                    <a:pt x="2" y="62"/>
                  </a:cubicBezTo>
                  <a:cubicBezTo>
                    <a:pt x="0" y="62"/>
                    <a:pt x="1" y="64"/>
                    <a:pt x="0" y="65"/>
                  </a:cubicBezTo>
                  <a:cubicBezTo>
                    <a:pt x="0" y="65"/>
                    <a:pt x="0" y="66"/>
                    <a:pt x="0" y="66"/>
                  </a:cubicBezTo>
                  <a:cubicBezTo>
                    <a:pt x="0" y="67"/>
                    <a:pt x="1" y="68"/>
                    <a:pt x="1" y="69"/>
                  </a:cubicBezTo>
                  <a:cubicBezTo>
                    <a:pt x="1" y="70"/>
                    <a:pt x="2" y="70"/>
                    <a:pt x="2" y="71"/>
                  </a:cubicBezTo>
                  <a:cubicBezTo>
                    <a:pt x="3" y="72"/>
                    <a:pt x="3" y="72"/>
                    <a:pt x="3" y="73"/>
                  </a:cubicBezTo>
                  <a:cubicBezTo>
                    <a:pt x="3" y="73"/>
                    <a:pt x="4" y="74"/>
                    <a:pt x="4" y="75"/>
                  </a:cubicBezTo>
                  <a:cubicBezTo>
                    <a:pt x="4" y="76"/>
                    <a:pt x="3" y="76"/>
                    <a:pt x="2" y="77"/>
                  </a:cubicBezTo>
                  <a:cubicBezTo>
                    <a:pt x="2" y="78"/>
                    <a:pt x="2" y="78"/>
                    <a:pt x="2" y="79"/>
                  </a:cubicBezTo>
                  <a:cubicBezTo>
                    <a:pt x="1" y="80"/>
                    <a:pt x="1" y="81"/>
                    <a:pt x="1" y="81"/>
                  </a:cubicBezTo>
                  <a:cubicBezTo>
                    <a:pt x="0" y="83"/>
                    <a:pt x="1" y="84"/>
                    <a:pt x="1" y="85"/>
                  </a:cubicBezTo>
                  <a:cubicBezTo>
                    <a:pt x="2" y="87"/>
                    <a:pt x="2" y="88"/>
                    <a:pt x="3" y="90"/>
                  </a:cubicBezTo>
                  <a:cubicBezTo>
                    <a:pt x="3" y="91"/>
                    <a:pt x="3" y="92"/>
                    <a:pt x="3" y="94"/>
                  </a:cubicBezTo>
                  <a:cubicBezTo>
                    <a:pt x="3" y="94"/>
                    <a:pt x="3" y="95"/>
                    <a:pt x="3" y="96"/>
                  </a:cubicBezTo>
                  <a:cubicBezTo>
                    <a:pt x="4" y="97"/>
                    <a:pt x="5" y="96"/>
                    <a:pt x="6" y="96"/>
                  </a:cubicBezTo>
                  <a:cubicBezTo>
                    <a:pt x="8" y="96"/>
                    <a:pt x="8" y="98"/>
                    <a:pt x="9" y="99"/>
                  </a:cubicBezTo>
                  <a:cubicBezTo>
                    <a:pt x="10" y="100"/>
                    <a:pt x="11" y="101"/>
                    <a:pt x="12" y="102"/>
                  </a:cubicBezTo>
                  <a:cubicBezTo>
                    <a:pt x="12" y="105"/>
                    <a:pt x="11" y="108"/>
                    <a:pt x="12" y="111"/>
                  </a:cubicBezTo>
                  <a:cubicBezTo>
                    <a:pt x="12" y="111"/>
                    <a:pt x="12" y="112"/>
                    <a:pt x="13" y="112"/>
                  </a:cubicBezTo>
                  <a:cubicBezTo>
                    <a:pt x="13" y="112"/>
                    <a:pt x="14" y="112"/>
                    <a:pt x="15" y="112"/>
                  </a:cubicBezTo>
                  <a:cubicBezTo>
                    <a:pt x="16" y="112"/>
                    <a:pt x="16" y="114"/>
                    <a:pt x="18" y="114"/>
                  </a:cubicBezTo>
                  <a:cubicBezTo>
                    <a:pt x="19" y="115"/>
                    <a:pt x="20" y="113"/>
                    <a:pt x="21" y="113"/>
                  </a:cubicBezTo>
                  <a:cubicBezTo>
                    <a:pt x="23" y="112"/>
                    <a:pt x="25" y="114"/>
                    <a:pt x="26" y="115"/>
                  </a:cubicBezTo>
                  <a:cubicBezTo>
                    <a:pt x="27" y="116"/>
                    <a:pt x="28" y="118"/>
                    <a:pt x="28" y="120"/>
                  </a:cubicBezTo>
                  <a:cubicBezTo>
                    <a:pt x="27" y="121"/>
                    <a:pt x="27" y="121"/>
                    <a:pt x="27" y="122"/>
                  </a:cubicBezTo>
                  <a:cubicBezTo>
                    <a:pt x="27" y="122"/>
                    <a:pt x="27" y="123"/>
                    <a:pt x="27" y="123"/>
                  </a:cubicBezTo>
                  <a:cubicBezTo>
                    <a:pt x="27" y="124"/>
                    <a:pt x="26" y="124"/>
                    <a:pt x="26" y="125"/>
                  </a:cubicBezTo>
                  <a:cubicBezTo>
                    <a:pt x="25" y="125"/>
                    <a:pt x="25" y="126"/>
                    <a:pt x="25" y="126"/>
                  </a:cubicBezTo>
                  <a:cubicBezTo>
                    <a:pt x="27" y="125"/>
                    <a:pt x="29" y="123"/>
                    <a:pt x="31" y="121"/>
                  </a:cubicBezTo>
                  <a:cubicBezTo>
                    <a:pt x="32" y="120"/>
                    <a:pt x="34" y="119"/>
                    <a:pt x="36" y="119"/>
                  </a:cubicBezTo>
                  <a:cubicBezTo>
                    <a:pt x="37" y="118"/>
                    <a:pt x="39" y="117"/>
                    <a:pt x="40" y="116"/>
                  </a:cubicBezTo>
                  <a:cubicBezTo>
                    <a:pt x="42" y="116"/>
                    <a:pt x="44" y="116"/>
                    <a:pt x="45" y="116"/>
                  </a:cubicBezTo>
                  <a:cubicBezTo>
                    <a:pt x="47" y="116"/>
                    <a:pt x="48" y="116"/>
                    <a:pt x="50" y="116"/>
                  </a:cubicBezTo>
                  <a:cubicBezTo>
                    <a:pt x="52" y="116"/>
                    <a:pt x="53" y="117"/>
                    <a:pt x="55" y="117"/>
                  </a:cubicBezTo>
                  <a:cubicBezTo>
                    <a:pt x="56" y="117"/>
                    <a:pt x="57" y="117"/>
                    <a:pt x="57" y="117"/>
                  </a:cubicBezTo>
                  <a:cubicBezTo>
                    <a:pt x="58" y="116"/>
                    <a:pt x="57" y="116"/>
                    <a:pt x="58" y="115"/>
                  </a:cubicBezTo>
                  <a:cubicBezTo>
                    <a:pt x="58" y="115"/>
                    <a:pt x="59" y="115"/>
                    <a:pt x="59" y="115"/>
                  </a:cubicBezTo>
                  <a:cubicBezTo>
                    <a:pt x="60" y="115"/>
                    <a:pt x="61" y="116"/>
                    <a:pt x="62" y="115"/>
                  </a:cubicBezTo>
                  <a:cubicBezTo>
                    <a:pt x="63" y="115"/>
                    <a:pt x="65" y="115"/>
                    <a:pt x="66" y="115"/>
                  </a:cubicBezTo>
                  <a:cubicBezTo>
                    <a:pt x="67" y="115"/>
                    <a:pt x="69" y="114"/>
                    <a:pt x="70" y="113"/>
                  </a:cubicBezTo>
                  <a:cubicBezTo>
                    <a:pt x="71" y="113"/>
                    <a:pt x="72" y="111"/>
                    <a:pt x="73" y="111"/>
                  </a:cubicBezTo>
                  <a:cubicBezTo>
                    <a:pt x="73" y="110"/>
                    <a:pt x="73" y="109"/>
                    <a:pt x="74" y="108"/>
                  </a:cubicBezTo>
                  <a:cubicBezTo>
                    <a:pt x="75" y="106"/>
                    <a:pt x="78" y="105"/>
                    <a:pt x="79" y="103"/>
                  </a:cubicBezTo>
                  <a:cubicBezTo>
                    <a:pt x="80" y="102"/>
                    <a:pt x="81" y="101"/>
                    <a:pt x="82" y="100"/>
                  </a:cubicBezTo>
                  <a:cubicBezTo>
                    <a:pt x="83" y="98"/>
                    <a:pt x="85" y="96"/>
                    <a:pt x="87" y="96"/>
                  </a:cubicBezTo>
                  <a:cubicBezTo>
                    <a:pt x="87" y="96"/>
                    <a:pt x="88" y="96"/>
                    <a:pt x="89" y="97"/>
                  </a:cubicBezTo>
                  <a:cubicBezTo>
                    <a:pt x="90" y="97"/>
                    <a:pt x="92" y="98"/>
                    <a:pt x="93" y="98"/>
                  </a:cubicBezTo>
                  <a:cubicBezTo>
                    <a:pt x="94" y="98"/>
                    <a:pt x="95" y="97"/>
                    <a:pt x="95" y="97"/>
                  </a:cubicBezTo>
                  <a:cubicBezTo>
                    <a:pt x="96" y="96"/>
                    <a:pt x="97" y="96"/>
                    <a:pt x="98" y="96"/>
                  </a:cubicBezTo>
                  <a:cubicBezTo>
                    <a:pt x="99" y="97"/>
                    <a:pt x="101" y="97"/>
                    <a:pt x="102" y="98"/>
                  </a:cubicBezTo>
                  <a:cubicBezTo>
                    <a:pt x="103" y="98"/>
                    <a:pt x="103" y="98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7" y="98"/>
                    <a:pt x="109" y="98"/>
                    <a:pt x="111" y="98"/>
                  </a:cubicBezTo>
                  <a:cubicBezTo>
                    <a:pt x="112" y="98"/>
                    <a:pt x="113" y="99"/>
                    <a:pt x="115" y="99"/>
                  </a:cubicBezTo>
                  <a:cubicBezTo>
                    <a:pt x="116" y="99"/>
                    <a:pt x="117" y="99"/>
                    <a:pt x="118" y="99"/>
                  </a:cubicBezTo>
                  <a:cubicBezTo>
                    <a:pt x="118" y="98"/>
                    <a:pt x="121" y="96"/>
                    <a:pt x="122" y="96"/>
                  </a:cubicBezTo>
                  <a:cubicBezTo>
                    <a:pt x="123" y="97"/>
                    <a:pt x="123" y="99"/>
                    <a:pt x="124" y="99"/>
                  </a:cubicBezTo>
                  <a:cubicBezTo>
                    <a:pt x="125" y="98"/>
                    <a:pt x="125" y="97"/>
                    <a:pt x="125" y="96"/>
                  </a:cubicBezTo>
                  <a:cubicBezTo>
                    <a:pt x="125" y="94"/>
                    <a:pt x="125" y="93"/>
                    <a:pt x="126" y="91"/>
                  </a:cubicBezTo>
                  <a:cubicBezTo>
                    <a:pt x="126" y="90"/>
                    <a:pt x="126" y="90"/>
                    <a:pt x="126" y="89"/>
                  </a:cubicBezTo>
                  <a:cubicBezTo>
                    <a:pt x="126" y="89"/>
                    <a:pt x="126" y="89"/>
                    <a:pt x="127" y="88"/>
                  </a:cubicBezTo>
                  <a:cubicBezTo>
                    <a:pt x="127" y="88"/>
                    <a:pt x="126" y="86"/>
                    <a:pt x="127" y="86"/>
                  </a:cubicBezTo>
                  <a:cubicBezTo>
                    <a:pt x="127" y="84"/>
                    <a:pt x="129" y="85"/>
                    <a:pt x="130" y="85"/>
                  </a:cubicBezTo>
                  <a:cubicBezTo>
                    <a:pt x="131" y="85"/>
                    <a:pt x="132" y="83"/>
                    <a:pt x="133" y="83"/>
                  </a:cubicBezTo>
                  <a:cubicBezTo>
                    <a:pt x="134" y="82"/>
                    <a:pt x="134" y="82"/>
                    <a:pt x="135" y="81"/>
                  </a:cubicBezTo>
                  <a:cubicBezTo>
                    <a:pt x="136" y="81"/>
                    <a:pt x="137" y="81"/>
                    <a:pt x="137" y="80"/>
                  </a:cubicBezTo>
                  <a:cubicBezTo>
                    <a:pt x="138" y="80"/>
                    <a:pt x="138" y="79"/>
                    <a:pt x="138" y="78"/>
                  </a:cubicBezTo>
                  <a:cubicBezTo>
                    <a:pt x="138" y="74"/>
                    <a:pt x="139" y="71"/>
                    <a:pt x="139" y="67"/>
                  </a:cubicBezTo>
                  <a:cubicBezTo>
                    <a:pt x="139" y="66"/>
                    <a:pt x="139" y="65"/>
                    <a:pt x="139" y="65"/>
                  </a:cubicBezTo>
                  <a:cubicBezTo>
                    <a:pt x="138" y="63"/>
                    <a:pt x="137" y="61"/>
                    <a:pt x="137" y="60"/>
                  </a:cubicBezTo>
                  <a:cubicBezTo>
                    <a:pt x="137" y="58"/>
                    <a:pt x="139" y="57"/>
                    <a:pt x="140" y="56"/>
                  </a:cubicBezTo>
                  <a:cubicBezTo>
                    <a:pt x="141" y="55"/>
                    <a:pt x="142" y="55"/>
                    <a:pt x="142" y="54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3"/>
                    <a:pt x="143" y="53"/>
                    <a:pt x="143" y="5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1" name="Freeform 33">
              <a:extLst>
                <a:ext uri="{FF2B5EF4-FFF2-40B4-BE49-F238E27FC236}">
                  <a16:creationId xmlns:a16="http://schemas.microsoft.com/office/drawing/2014/main" id="{DAD7CF40-1E3F-4F45-BE92-B3655A656E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5313" y="5438775"/>
              <a:ext cx="666750" cy="452438"/>
            </a:xfrm>
            <a:custGeom>
              <a:avLst/>
              <a:gdLst/>
              <a:ahLst/>
              <a:cxnLst>
                <a:cxn ang="0">
                  <a:pos x="357" y="62"/>
                </a:cxn>
                <a:cxn ang="0">
                  <a:pos x="346" y="45"/>
                </a:cxn>
                <a:cxn ang="0">
                  <a:pos x="318" y="38"/>
                </a:cxn>
                <a:cxn ang="0">
                  <a:pos x="312" y="26"/>
                </a:cxn>
                <a:cxn ang="0">
                  <a:pos x="298" y="24"/>
                </a:cxn>
                <a:cxn ang="0">
                  <a:pos x="287" y="21"/>
                </a:cxn>
                <a:cxn ang="0">
                  <a:pos x="272" y="13"/>
                </a:cxn>
                <a:cxn ang="0">
                  <a:pos x="241" y="16"/>
                </a:cxn>
                <a:cxn ang="0">
                  <a:pos x="206" y="25"/>
                </a:cxn>
                <a:cxn ang="0">
                  <a:pos x="190" y="41"/>
                </a:cxn>
                <a:cxn ang="0">
                  <a:pos x="173" y="50"/>
                </a:cxn>
                <a:cxn ang="0">
                  <a:pos x="147" y="44"/>
                </a:cxn>
                <a:cxn ang="0">
                  <a:pos x="111" y="44"/>
                </a:cxn>
                <a:cxn ang="0">
                  <a:pos x="79" y="36"/>
                </a:cxn>
                <a:cxn ang="0">
                  <a:pos x="38" y="33"/>
                </a:cxn>
                <a:cxn ang="0">
                  <a:pos x="31" y="15"/>
                </a:cxn>
                <a:cxn ang="0">
                  <a:pos x="16" y="9"/>
                </a:cxn>
                <a:cxn ang="0">
                  <a:pos x="5" y="21"/>
                </a:cxn>
                <a:cxn ang="0">
                  <a:pos x="4" y="44"/>
                </a:cxn>
                <a:cxn ang="0">
                  <a:pos x="7" y="52"/>
                </a:cxn>
                <a:cxn ang="0">
                  <a:pos x="8" y="62"/>
                </a:cxn>
                <a:cxn ang="0">
                  <a:pos x="22" y="72"/>
                </a:cxn>
                <a:cxn ang="0">
                  <a:pos x="31" y="84"/>
                </a:cxn>
                <a:cxn ang="0">
                  <a:pos x="16" y="105"/>
                </a:cxn>
                <a:cxn ang="0">
                  <a:pos x="1" y="108"/>
                </a:cxn>
                <a:cxn ang="0">
                  <a:pos x="1" y="131"/>
                </a:cxn>
                <a:cxn ang="0">
                  <a:pos x="9" y="147"/>
                </a:cxn>
                <a:cxn ang="0">
                  <a:pos x="4" y="163"/>
                </a:cxn>
                <a:cxn ang="0">
                  <a:pos x="7" y="167"/>
                </a:cxn>
                <a:cxn ang="0">
                  <a:pos x="21" y="174"/>
                </a:cxn>
                <a:cxn ang="0">
                  <a:pos x="25" y="183"/>
                </a:cxn>
                <a:cxn ang="0">
                  <a:pos x="28" y="195"/>
                </a:cxn>
                <a:cxn ang="0">
                  <a:pos x="26" y="206"/>
                </a:cxn>
                <a:cxn ang="0">
                  <a:pos x="27" y="226"/>
                </a:cxn>
                <a:cxn ang="0">
                  <a:pos x="49" y="230"/>
                </a:cxn>
                <a:cxn ang="0">
                  <a:pos x="76" y="226"/>
                </a:cxn>
                <a:cxn ang="0">
                  <a:pos x="91" y="216"/>
                </a:cxn>
                <a:cxn ang="0">
                  <a:pos x="105" y="216"/>
                </a:cxn>
                <a:cxn ang="0">
                  <a:pos x="116" y="223"/>
                </a:cxn>
                <a:cxn ang="0">
                  <a:pos x="129" y="235"/>
                </a:cxn>
                <a:cxn ang="0">
                  <a:pos x="146" y="237"/>
                </a:cxn>
                <a:cxn ang="0">
                  <a:pos x="162" y="242"/>
                </a:cxn>
                <a:cxn ang="0">
                  <a:pos x="189" y="238"/>
                </a:cxn>
                <a:cxn ang="0">
                  <a:pos x="206" y="227"/>
                </a:cxn>
                <a:cxn ang="0">
                  <a:pos x="209" y="205"/>
                </a:cxn>
                <a:cxn ang="0">
                  <a:pos x="230" y="198"/>
                </a:cxn>
                <a:cxn ang="0">
                  <a:pos x="238" y="189"/>
                </a:cxn>
                <a:cxn ang="0">
                  <a:pos x="266" y="179"/>
                </a:cxn>
                <a:cxn ang="0">
                  <a:pos x="286" y="191"/>
                </a:cxn>
                <a:cxn ang="0">
                  <a:pos x="310" y="189"/>
                </a:cxn>
                <a:cxn ang="0">
                  <a:pos x="302" y="169"/>
                </a:cxn>
                <a:cxn ang="0">
                  <a:pos x="301" y="156"/>
                </a:cxn>
                <a:cxn ang="0">
                  <a:pos x="284" y="148"/>
                </a:cxn>
                <a:cxn ang="0">
                  <a:pos x="292" y="140"/>
                </a:cxn>
                <a:cxn ang="0">
                  <a:pos x="299" y="132"/>
                </a:cxn>
                <a:cxn ang="0">
                  <a:pos x="313" y="121"/>
                </a:cxn>
                <a:cxn ang="0">
                  <a:pos x="310" y="108"/>
                </a:cxn>
                <a:cxn ang="0">
                  <a:pos x="314" y="90"/>
                </a:cxn>
                <a:cxn ang="0">
                  <a:pos x="320" y="76"/>
                </a:cxn>
                <a:cxn ang="0">
                  <a:pos x="339" y="74"/>
                </a:cxn>
                <a:cxn ang="0">
                  <a:pos x="356" y="69"/>
                </a:cxn>
              </a:cxnLst>
              <a:rect l="0" t="0" r="r" b="b"/>
              <a:pathLst>
                <a:path w="357" h="242">
                  <a:moveTo>
                    <a:pt x="345" y="45"/>
                  </a:moveTo>
                  <a:cubicBezTo>
                    <a:pt x="345" y="45"/>
                    <a:pt x="346" y="45"/>
                    <a:pt x="346" y="45"/>
                  </a:cubicBezTo>
                  <a:cubicBezTo>
                    <a:pt x="346" y="45"/>
                    <a:pt x="347" y="45"/>
                    <a:pt x="347" y="45"/>
                  </a:cubicBezTo>
                  <a:lnTo>
                    <a:pt x="345" y="45"/>
                  </a:lnTo>
                  <a:close/>
                  <a:moveTo>
                    <a:pt x="357" y="62"/>
                  </a:moveTo>
                  <a:cubicBezTo>
                    <a:pt x="357" y="62"/>
                    <a:pt x="357" y="61"/>
                    <a:pt x="356" y="60"/>
                  </a:cubicBezTo>
                  <a:cubicBezTo>
                    <a:pt x="356" y="59"/>
                    <a:pt x="354" y="59"/>
                    <a:pt x="354" y="58"/>
                  </a:cubicBezTo>
                  <a:cubicBezTo>
                    <a:pt x="353" y="57"/>
                    <a:pt x="353" y="54"/>
                    <a:pt x="352" y="53"/>
                  </a:cubicBezTo>
                  <a:cubicBezTo>
                    <a:pt x="351" y="51"/>
                    <a:pt x="350" y="50"/>
                    <a:pt x="350" y="48"/>
                  </a:cubicBezTo>
                  <a:cubicBezTo>
                    <a:pt x="349" y="48"/>
                    <a:pt x="347" y="46"/>
                    <a:pt x="346" y="45"/>
                  </a:cubicBezTo>
                  <a:cubicBezTo>
                    <a:pt x="343" y="45"/>
                    <a:pt x="339" y="45"/>
                    <a:pt x="336" y="45"/>
                  </a:cubicBezTo>
                  <a:cubicBezTo>
                    <a:pt x="333" y="44"/>
                    <a:pt x="331" y="43"/>
                    <a:pt x="329" y="43"/>
                  </a:cubicBezTo>
                  <a:cubicBezTo>
                    <a:pt x="326" y="42"/>
                    <a:pt x="323" y="42"/>
                    <a:pt x="321" y="41"/>
                  </a:cubicBezTo>
                  <a:cubicBezTo>
                    <a:pt x="320" y="41"/>
                    <a:pt x="319" y="40"/>
                    <a:pt x="319" y="39"/>
                  </a:cubicBezTo>
                  <a:cubicBezTo>
                    <a:pt x="318" y="39"/>
                    <a:pt x="319" y="38"/>
                    <a:pt x="318" y="38"/>
                  </a:cubicBezTo>
                  <a:cubicBezTo>
                    <a:pt x="318" y="36"/>
                    <a:pt x="317" y="36"/>
                    <a:pt x="316" y="35"/>
                  </a:cubicBezTo>
                  <a:cubicBezTo>
                    <a:pt x="316" y="35"/>
                    <a:pt x="316" y="34"/>
                    <a:pt x="316" y="34"/>
                  </a:cubicBezTo>
                  <a:cubicBezTo>
                    <a:pt x="315" y="34"/>
                    <a:pt x="315" y="34"/>
                    <a:pt x="314" y="33"/>
                  </a:cubicBezTo>
                  <a:cubicBezTo>
                    <a:pt x="313" y="32"/>
                    <a:pt x="314" y="31"/>
                    <a:pt x="313" y="30"/>
                  </a:cubicBezTo>
                  <a:cubicBezTo>
                    <a:pt x="313" y="28"/>
                    <a:pt x="313" y="28"/>
                    <a:pt x="312" y="26"/>
                  </a:cubicBezTo>
                  <a:cubicBezTo>
                    <a:pt x="311" y="26"/>
                    <a:pt x="311" y="25"/>
                    <a:pt x="311" y="25"/>
                  </a:cubicBezTo>
                  <a:cubicBezTo>
                    <a:pt x="311" y="24"/>
                    <a:pt x="311" y="24"/>
                    <a:pt x="311" y="23"/>
                  </a:cubicBezTo>
                  <a:cubicBezTo>
                    <a:pt x="310" y="21"/>
                    <a:pt x="305" y="25"/>
                    <a:pt x="304" y="26"/>
                  </a:cubicBezTo>
                  <a:cubicBezTo>
                    <a:pt x="303" y="26"/>
                    <a:pt x="301" y="26"/>
                    <a:pt x="300" y="26"/>
                  </a:cubicBezTo>
                  <a:cubicBezTo>
                    <a:pt x="300" y="26"/>
                    <a:pt x="299" y="24"/>
                    <a:pt x="298" y="24"/>
                  </a:cubicBezTo>
                  <a:cubicBezTo>
                    <a:pt x="298" y="23"/>
                    <a:pt x="297" y="23"/>
                    <a:pt x="297" y="22"/>
                  </a:cubicBezTo>
                  <a:cubicBezTo>
                    <a:pt x="296" y="20"/>
                    <a:pt x="297" y="20"/>
                    <a:pt x="294" y="20"/>
                  </a:cubicBezTo>
                  <a:cubicBezTo>
                    <a:pt x="293" y="20"/>
                    <a:pt x="292" y="20"/>
                    <a:pt x="291" y="20"/>
                  </a:cubicBezTo>
                  <a:cubicBezTo>
                    <a:pt x="291" y="20"/>
                    <a:pt x="289" y="21"/>
                    <a:pt x="289" y="21"/>
                  </a:cubicBezTo>
                  <a:cubicBezTo>
                    <a:pt x="288" y="21"/>
                    <a:pt x="288" y="21"/>
                    <a:pt x="287" y="21"/>
                  </a:cubicBezTo>
                  <a:cubicBezTo>
                    <a:pt x="286" y="20"/>
                    <a:pt x="284" y="19"/>
                    <a:pt x="283" y="19"/>
                  </a:cubicBezTo>
                  <a:cubicBezTo>
                    <a:pt x="282" y="19"/>
                    <a:pt x="280" y="19"/>
                    <a:pt x="280" y="19"/>
                  </a:cubicBezTo>
                  <a:cubicBezTo>
                    <a:pt x="279" y="19"/>
                    <a:pt x="278" y="18"/>
                    <a:pt x="277" y="18"/>
                  </a:cubicBezTo>
                  <a:cubicBezTo>
                    <a:pt x="276" y="17"/>
                    <a:pt x="275" y="17"/>
                    <a:pt x="274" y="16"/>
                  </a:cubicBezTo>
                  <a:cubicBezTo>
                    <a:pt x="273" y="15"/>
                    <a:pt x="273" y="14"/>
                    <a:pt x="272" y="13"/>
                  </a:cubicBezTo>
                  <a:cubicBezTo>
                    <a:pt x="270" y="12"/>
                    <a:pt x="268" y="11"/>
                    <a:pt x="267" y="11"/>
                  </a:cubicBezTo>
                  <a:cubicBezTo>
                    <a:pt x="266" y="10"/>
                    <a:pt x="264" y="9"/>
                    <a:pt x="263" y="9"/>
                  </a:cubicBezTo>
                  <a:cubicBezTo>
                    <a:pt x="260" y="8"/>
                    <a:pt x="258" y="10"/>
                    <a:pt x="256" y="11"/>
                  </a:cubicBezTo>
                  <a:cubicBezTo>
                    <a:pt x="253" y="13"/>
                    <a:pt x="251" y="14"/>
                    <a:pt x="248" y="15"/>
                  </a:cubicBezTo>
                  <a:cubicBezTo>
                    <a:pt x="246" y="16"/>
                    <a:pt x="244" y="16"/>
                    <a:pt x="241" y="16"/>
                  </a:cubicBezTo>
                  <a:cubicBezTo>
                    <a:pt x="239" y="16"/>
                    <a:pt x="236" y="16"/>
                    <a:pt x="234" y="16"/>
                  </a:cubicBezTo>
                  <a:cubicBezTo>
                    <a:pt x="231" y="16"/>
                    <a:pt x="228" y="18"/>
                    <a:pt x="225" y="19"/>
                  </a:cubicBezTo>
                  <a:cubicBezTo>
                    <a:pt x="224" y="20"/>
                    <a:pt x="223" y="20"/>
                    <a:pt x="221" y="21"/>
                  </a:cubicBezTo>
                  <a:cubicBezTo>
                    <a:pt x="218" y="21"/>
                    <a:pt x="216" y="21"/>
                    <a:pt x="214" y="22"/>
                  </a:cubicBezTo>
                  <a:cubicBezTo>
                    <a:pt x="211" y="23"/>
                    <a:pt x="208" y="23"/>
                    <a:pt x="206" y="25"/>
                  </a:cubicBezTo>
                  <a:cubicBezTo>
                    <a:pt x="205" y="25"/>
                    <a:pt x="204" y="26"/>
                    <a:pt x="203" y="27"/>
                  </a:cubicBezTo>
                  <a:cubicBezTo>
                    <a:pt x="201" y="28"/>
                    <a:pt x="199" y="29"/>
                    <a:pt x="198" y="30"/>
                  </a:cubicBezTo>
                  <a:cubicBezTo>
                    <a:pt x="198" y="31"/>
                    <a:pt x="198" y="32"/>
                    <a:pt x="198" y="33"/>
                  </a:cubicBezTo>
                  <a:cubicBezTo>
                    <a:pt x="198" y="35"/>
                    <a:pt x="197" y="36"/>
                    <a:pt x="195" y="37"/>
                  </a:cubicBezTo>
                  <a:cubicBezTo>
                    <a:pt x="194" y="38"/>
                    <a:pt x="191" y="39"/>
                    <a:pt x="190" y="41"/>
                  </a:cubicBezTo>
                  <a:cubicBezTo>
                    <a:pt x="190" y="42"/>
                    <a:pt x="191" y="43"/>
                    <a:pt x="190" y="44"/>
                  </a:cubicBezTo>
                  <a:cubicBezTo>
                    <a:pt x="189" y="46"/>
                    <a:pt x="187" y="45"/>
                    <a:pt x="185" y="45"/>
                  </a:cubicBezTo>
                  <a:cubicBezTo>
                    <a:pt x="183" y="45"/>
                    <a:pt x="182" y="45"/>
                    <a:pt x="180" y="47"/>
                  </a:cubicBezTo>
                  <a:cubicBezTo>
                    <a:pt x="179" y="48"/>
                    <a:pt x="178" y="48"/>
                    <a:pt x="176" y="49"/>
                  </a:cubicBezTo>
                  <a:cubicBezTo>
                    <a:pt x="175" y="50"/>
                    <a:pt x="175" y="50"/>
                    <a:pt x="173" y="50"/>
                  </a:cubicBezTo>
                  <a:cubicBezTo>
                    <a:pt x="171" y="50"/>
                    <a:pt x="168" y="48"/>
                    <a:pt x="165" y="48"/>
                  </a:cubicBezTo>
                  <a:cubicBezTo>
                    <a:pt x="165" y="48"/>
                    <a:pt x="165" y="48"/>
                    <a:pt x="164" y="48"/>
                  </a:cubicBezTo>
                  <a:cubicBezTo>
                    <a:pt x="163" y="48"/>
                    <a:pt x="162" y="47"/>
                    <a:pt x="161" y="47"/>
                  </a:cubicBezTo>
                  <a:cubicBezTo>
                    <a:pt x="159" y="46"/>
                    <a:pt x="156" y="45"/>
                    <a:pt x="153" y="44"/>
                  </a:cubicBezTo>
                  <a:cubicBezTo>
                    <a:pt x="151" y="44"/>
                    <a:pt x="149" y="44"/>
                    <a:pt x="147" y="44"/>
                  </a:cubicBezTo>
                  <a:cubicBezTo>
                    <a:pt x="145" y="44"/>
                    <a:pt x="143" y="41"/>
                    <a:pt x="141" y="40"/>
                  </a:cubicBezTo>
                  <a:cubicBezTo>
                    <a:pt x="138" y="39"/>
                    <a:pt x="138" y="40"/>
                    <a:pt x="136" y="41"/>
                  </a:cubicBezTo>
                  <a:cubicBezTo>
                    <a:pt x="134" y="42"/>
                    <a:pt x="132" y="42"/>
                    <a:pt x="130" y="42"/>
                  </a:cubicBezTo>
                  <a:cubicBezTo>
                    <a:pt x="126" y="41"/>
                    <a:pt x="122" y="40"/>
                    <a:pt x="118" y="41"/>
                  </a:cubicBezTo>
                  <a:cubicBezTo>
                    <a:pt x="115" y="41"/>
                    <a:pt x="113" y="43"/>
                    <a:pt x="111" y="44"/>
                  </a:cubicBezTo>
                  <a:cubicBezTo>
                    <a:pt x="109" y="45"/>
                    <a:pt x="105" y="45"/>
                    <a:pt x="103" y="45"/>
                  </a:cubicBezTo>
                  <a:cubicBezTo>
                    <a:pt x="99" y="44"/>
                    <a:pt x="97" y="40"/>
                    <a:pt x="93" y="40"/>
                  </a:cubicBezTo>
                  <a:cubicBezTo>
                    <a:pt x="92" y="40"/>
                    <a:pt x="92" y="41"/>
                    <a:pt x="91" y="41"/>
                  </a:cubicBezTo>
                  <a:cubicBezTo>
                    <a:pt x="90" y="41"/>
                    <a:pt x="88" y="40"/>
                    <a:pt x="87" y="39"/>
                  </a:cubicBezTo>
                  <a:cubicBezTo>
                    <a:pt x="84" y="38"/>
                    <a:pt x="82" y="37"/>
                    <a:pt x="79" y="36"/>
                  </a:cubicBezTo>
                  <a:cubicBezTo>
                    <a:pt x="78" y="35"/>
                    <a:pt x="76" y="35"/>
                    <a:pt x="75" y="35"/>
                  </a:cubicBezTo>
                  <a:cubicBezTo>
                    <a:pt x="73" y="34"/>
                    <a:pt x="72" y="33"/>
                    <a:pt x="70" y="33"/>
                  </a:cubicBezTo>
                  <a:cubicBezTo>
                    <a:pt x="67" y="31"/>
                    <a:pt x="64" y="31"/>
                    <a:pt x="61" y="31"/>
                  </a:cubicBezTo>
                  <a:cubicBezTo>
                    <a:pt x="56" y="31"/>
                    <a:pt x="52" y="30"/>
                    <a:pt x="47" y="30"/>
                  </a:cubicBezTo>
                  <a:cubicBezTo>
                    <a:pt x="43" y="30"/>
                    <a:pt x="41" y="34"/>
                    <a:pt x="38" y="33"/>
                  </a:cubicBezTo>
                  <a:cubicBezTo>
                    <a:pt x="36" y="33"/>
                    <a:pt x="35" y="32"/>
                    <a:pt x="33" y="32"/>
                  </a:cubicBezTo>
                  <a:cubicBezTo>
                    <a:pt x="31" y="32"/>
                    <a:pt x="30" y="32"/>
                    <a:pt x="28" y="31"/>
                  </a:cubicBezTo>
                  <a:cubicBezTo>
                    <a:pt x="26" y="29"/>
                    <a:pt x="26" y="24"/>
                    <a:pt x="26" y="22"/>
                  </a:cubicBezTo>
                  <a:cubicBezTo>
                    <a:pt x="26" y="21"/>
                    <a:pt x="26" y="18"/>
                    <a:pt x="27" y="18"/>
                  </a:cubicBezTo>
                  <a:cubicBezTo>
                    <a:pt x="28" y="17"/>
                    <a:pt x="30" y="16"/>
                    <a:pt x="31" y="15"/>
                  </a:cubicBezTo>
                  <a:cubicBezTo>
                    <a:pt x="33" y="14"/>
                    <a:pt x="36" y="13"/>
                    <a:pt x="35" y="10"/>
                  </a:cubicBezTo>
                  <a:cubicBezTo>
                    <a:pt x="34" y="7"/>
                    <a:pt x="29" y="6"/>
                    <a:pt x="26" y="4"/>
                  </a:cubicBezTo>
                  <a:cubicBezTo>
                    <a:pt x="25" y="3"/>
                    <a:pt x="24" y="2"/>
                    <a:pt x="22" y="1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6" y="3"/>
                    <a:pt x="16" y="6"/>
                    <a:pt x="16" y="9"/>
                  </a:cubicBezTo>
                  <a:cubicBezTo>
                    <a:pt x="16" y="10"/>
                    <a:pt x="16" y="11"/>
                    <a:pt x="15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2"/>
                    <a:pt x="10" y="12"/>
                    <a:pt x="10" y="13"/>
                  </a:cubicBezTo>
                  <a:cubicBezTo>
                    <a:pt x="8" y="14"/>
                    <a:pt x="8" y="17"/>
                    <a:pt x="6" y="19"/>
                  </a:cubicBezTo>
                  <a:cubicBezTo>
                    <a:pt x="6" y="20"/>
                    <a:pt x="5" y="20"/>
                    <a:pt x="5" y="21"/>
                  </a:cubicBezTo>
                  <a:cubicBezTo>
                    <a:pt x="5" y="22"/>
                    <a:pt x="5" y="22"/>
                    <a:pt x="5" y="23"/>
                  </a:cubicBezTo>
                  <a:cubicBezTo>
                    <a:pt x="4" y="25"/>
                    <a:pt x="3" y="25"/>
                    <a:pt x="2" y="26"/>
                  </a:cubicBezTo>
                  <a:cubicBezTo>
                    <a:pt x="2" y="27"/>
                    <a:pt x="1" y="28"/>
                    <a:pt x="1" y="30"/>
                  </a:cubicBezTo>
                  <a:cubicBezTo>
                    <a:pt x="1" y="32"/>
                    <a:pt x="1" y="37"/>
                    <a:pt x="1" y="39"/>
                  </a:cubicBezTo>
                  <a:cubicBezTo>
                    <a:pt x="2" y="41"/>
                    <a:pt x="3" y="43"/>
                    <a:pt x="4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5" y="45"/>
                    <a:pt x="5" y="45"/>
                    <a:pt x="5" y="46"/>
                  </a:cubicBezTo>
                  <a:cubicBezTo>
                    <a:pt x="6" y="46"/>
                    <a:pt x="5" y="48"/>
                    <a:pt x="6" y="49"/>
                  </a:cubicBezTo>
                  <a:cubicBezTo>
                    <a:pt x="6" y="50"/>
                    <a:pt x="6" y="49"/>
                    <a:pt x="7" y="50"/>
                  </a:cubicBezTo>
                  <a:cubicBezTo>
                    <a:pt x="7" y="50"/>
                    <a:pt x="7" y="51"/>
                    <a:pt x="7" y="52"/>
                  </a:cubicBezTo>
                  <a:cubicBezTo>
                    <a:pt x="7" y="53"/>
                    <a:pt x="8" y="54"/>
                    <a:pt x="8" y="54"/>
                  </a:cubicBezTo>
                  <a:cubicBezTo>
                    <a:pt x="8" y="55"/>
                    <a:pt x="9" y="56"/>
                    <a:pt x="9" y="56"/>
                  </a:cubicBezTo>
                  <a:cubicBezTo>
                    <a:pt x="10" y="57"/>
                    <a:pt x="10" y="57"/>
                    <a:pt x="11" y="58"/>
                  </a:cubicBezTo>
                  <a:cubicBezTo>
                    <a:pt x="12" y="60"/>
                    <a:pt x="13" y="61"/>
                    <a:pt x="14" y="63"/>
                  </a:cubicBezTo>
                  <a:cubicBezTo>
                    <a:pt x="12" y="64"/>
                    <a:pt x="10" y="62"/>
                    <a:pt x="8" y="62"/>
                  </a:cubicBezTo>
                  <a:cubicBezTo>
                    <a:pt x="7" y="62"/>
                    <a:pt x="7" y="65"/>
                    <a:pt x="8" y="66"/>
                  </a:cubicBezTo>
                  <a:cubicBezTo>
                    <a:pt x="9" y="66"/>
                    <a:pt x="11" y="66"/>
                    <a:pt x="12" y="66"/>
                  </a:cubicBezTo>
                  <a:cubicBezTo>
                    <a:pt x="14" y="67"/>
                    <a:pt x="16" y="66"/>
                    <a:pt x="17" y="67"/>
                  </a:cubicBezTo>
                  <a:cubicBezTo>
                    <a:pt x="19" y="67"/>
                    <a:pt x="19" y="68"/>
                    <a:pt x="20" y="69"/>
                  </a:cubicBezTo>
                  <a:cubicBezTo>
                    <a:pt x="21" y="70"/>
                    <a:pt x="21" y="71"/>
                    <a:pt x="22" y="72"/>
                  </a:cubicBezTo>
                  <a:cubicBezTo>
                    <a:pt x="23" y="73"/>
                    <a:pt x="24" y="73"/>
                    <a:pt x="24" y="74"/>
                  </a:cubicBezTo>
                  <a:cubicBezTo>
                    <a:pt x="24" y="76"/>
                    <a:pt x="26" y="78"/>
                    <a:pt x="27" y="79"/>
                  </a:cubicBezTo>
                  <a:cubicBezTo>
                    <a:pt x="28" y="80"/>
                    <a:pt x="29" y="81"/>
                    <a:pt x="29" y="82"/>
                  </a:cubicBezTo>
                  <a:cubicBezTo>
                    <a:pt x="29" y="82"/>
                    <a:pt x="30" y="83"/>
                    <a:pt x="30" y="83"/>
                  </a:cubicBezTo>
                  <a:cubicBezTo>
                    <a:pt x="30" y="84"/>
                    <a:pt x="31" y="84"/>
                    <a:pt x="31" y="84"/>
                  </a:cubicBezTo>
                  <a:cubicBezTo>
                    <a:pt x="32" y="87"/>
                    <a:pt x="29" y="89"/>
                    <a:pt x="28" y="90"/>
                  </a:cubicBezTo>
                  <a:cubicBezTo>
                    <a:pt x="27" y="92"/>
                    <a:pt x="24" y="92"/>
                    <a:pt x="22" y="94"/>
                  </a:cubicBezTo>
                  <a:cubicBezTo>
                    <a:pt x="20" y="96"/>
                    <a:pt x="20" y="98"/>
                    <a:pt x="19" y="100"/>
                  </a:cubicBezTo>
                  <a:cubicBezTo>
                    <a:pt x="19" y="101"/>
                    <a:pt x="19" y="103"/>
                    <a:pt x="19" y="103"/>
                  </a:cubicBezTo>
                  <a:cubicBezTo>
                    <a:pt x="18" y="104"/>
                    <a:pt x="16" y="105"/>
                    <a:pt x="16" y="105"/>
                  </a:cubicBezTo>
                  <a:cubicBezTo>
                    <a:pt x="15" y="106"/>
                    <a:pt x="15" y="105"/>
                    <a:pt x="14" y="106"/>
                  </a:cubicBezTo>
                  <a:cubicBezTo>
                    <a:pt x="13" y="106"/>
                    <a:pt x="13" y="106"/>
                    <a:pt x="12" y="107"/>
                  </a:cubicBezTo>
                  <a:cubicBezTo>
                    <a:pt x="11" y="107"/>
                    <a:pt x="11" y="106"/>
                    <a:pt x="10" y="106"/>
                  </a:cubicBezTo>
                  <a:cubicBezTo>
                    <a:pt x="9" y="106"/>
                    <a:pt x="8" y="106"/>
                    <a:pt x="7" y="106"/>
                  </a:cubicBezTo>
                  <a:cubicBezTo>
                    <a:pt x="6" y="106"/>
                    <a:pt x="2" y="107"/>
                    <a:pt x="1" y="108"/>
                  </a:cubicBezTo>
                  <a:cubicBezTo>
                    <a:pt x="1" y="109"/>
                    <a:pt x="1" y="111"/>
                    <a:pt x="1" y="112"/>
                  </a:cubicBezTo>
                  <a:cubicBezTo>
                    <a:pt x="1" y="113"/>
                    <a:pt x="2" y="114"/>
                    <a:pt x="2" y="115"/>
                  </a:cubicBezTo>
                  <a:cubicBezTo>
                    <a:pt x="3" y="117"/>
                    <a:pt x="2" y="119"/>
                    <a:pt x="1" y="121"/>
                  </a:cubicBezTo>
                  <a:cubicBezTo>
                    <a:pt x="1" y="123"/>
                    <a:pt x="0" y="124"/>
                    <a:pt x="0" y="126"/>
                  </a:cubicBezTo>
                  <a:cubicBezTo>
                    <a:pt x="0" y="129"/>
                    <a:pt x="0" y="129"/>
                    <a:pt x="1" y="131"/>
                  </a:cubicBezTo>
                  <a:cubicBezTo>
                    <a:pt x="2" y="132"/>
                    <a:pt x="2" y="132"/>
                    <a:pt x="3" y="133"/>
                  </a:cubicBezTo>
                  <a:cubicBezTo>
                    <a:pt x="4" y="134"/>
                    <a:pt x="4" y="133"/>
                    <a:pt x="4" y="135"/>
                  </a:cubicBezTo>
                  <a:cubicBezTo>
                    <a:pt x="5" y="137"/>
                    <a:pt x="6" y="137"/>
                    <a:pt x="7" y="139"/>
                  </a:cubicBezTo>
                  <a:cubicBezTo>
                    <a:pt x="7" y="140"/>
                    <a:pt x="7" y="142"/>
                    <a:pt x="8" y="143"/>
                  </a:cubicBezTo>
                  <a:cubicBezTo>
                    <a:pt x="9" y="145"/>
                    <a:pt x="9" y="145"/>
                    <a:pt x="9" y="147"/>
                  </a:cubicBezTo>
                  <a:cubicBezTo>
                    <a:pt x="9" y="148"/>
                    <a:pt x="8" y="150"/>
                    <a:pt x="7" y="151"/>
                  </a:cubicBezTo>
                  <a:cubicBezTo>
                    <a:pt x="5" y="152"/>
                    <a:pt x="3" y="153"/>
                    <a:pt x="1" y="153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2" y="159"/>
                    <a:pt x="2" y="160"/>
                    <a:pt x="3" y="161"/>
                  </a:cubicBezTo>
                  <a:cubicBezTo>
                    <a:pt x="3" y="162"/>
                    <a:pt x="3" y="162"/>
                    <a:pt x="4" y="163"/>
                  </a:cubicBezTo>
                  <a:cubicBezTo>
                    <a:pt x="4" y="163"/>
                    <a:pt x="4" y="164"/>
                    <a:pt x="4" y="164"/>
                  </a:cubicBezTo>
                  <a:cubicBezTo>
                    <a:pt x="4" y="164"/>
                    <a:pt x="4" y="164"/>
                    <a:pt x="4" y="165"/>
                  </a:cubicBezTo>
                  <a:cubicBezTo>
                    <a:pt x="4" y="165"/>
                    <a:pt x="4" y="165"/>
                    <a:pt x="4" y="166"/>
                  </a:cubicBezTo>
                  <a:cubicBezTo>
                    <a:pt x="4" y="166"/>
                    <a:pt x="5" y="166"/>
                    <a:pt x="6" y="166"/>
                  </a:cubicBezTo>
                  <a:cubicBezTo>
                    <a:pt x="6" y="166"/>
                    <a:pt x="6" y="167"/>
                    <a:pt x="7" y="167"/>
                  </a:cubicBezTo>
                  <a:cubicBezTo>
                    <a:pt x="7" y="168"/>
                    <a:pt x="7" y="169"/>
                    <a:pt x="8" y="170"/>
                  </a:cubicBezTo>
                  <a:cubicBezTo>
                    <a:pt x="9" y="170"/>
                    <a:pt x="10" y="170"/>
                    <a:pt x="11" y="171"/>
                  </a:cubicBezTo>
                  <a:cubicBezTo>
                    <a:pt x="12" y="171"/>
                    <a:pt x="13" y="170"/>
                    <a:pt x="15" y="171"/>
                  </a:cubicBezTo>
                  <a:cubicBezTo>
                    <a:pt x="16" y="171"/>
                    <a:pt x="17" y="172"/>
                    <a:pt x="18" y="173"/>
                  </a:cubicBezTo>
                  <a:cubicBezTo>
                    <a:pt x="19" y="173"/>
                    <a:pt x="20" y="174"/>
                    <a:pt x="21" y="174"/>
                  </a:cubicBezTo>
                  <a:cubicBezTo>
                    <a:pt x="22" y="174"/>
                    <a:pt x="22" y="174"/>
                    <a:pt x="23" y="175"/>
                  </a:cubicBezTo>
                  <a:cubicBezTo>
                    <a:pt x="23" y="175"/>
                    <a:pt x="23" y="175"/>
                    <a:pt x="23" y="176"/>
                  </a:cubicBezTo>
                  <a:cubicBezTo>
                    <a:pt x="23" y="176"/>
                    <a:pt x="24" y="177"/>
                    <a:pt x="24" y="178"/>
                  </a:cubicBezTo>
                  <a:cubicBezTo>
                    <a:pt x="24" y="179"/>
                    <a:pt x="24" y="180"/>
                    <a:pt x="24" y="181"/>
                  </a:cubicBezTo>
                  <a:cubicBezTo>
                    <a:pt x="24" y="182"/>
                    <a:pt x="25" y="182"/>
                    <a:pt x="25" y="183"/>
                  </a:cubicBezTo>
                  <a:cubicBezTo>
                    <a:pt x="25" y="183"/>
                    <a:pt x="25" y="184"/>
                    <a:pt x="25" y="185"/>
                  </a:cubicBezTo>
                  <a:cubicBezTo>
                    <a:pt x="25" y="186"/>
                    <a:pt x="26" y="186"/>
                    <a:pt x="26" y="187"/>
                  </a:cubicBezTo>
                  <a:cubicBezTo>
                    <a:pt x="26" y="188"/>
                    <a:pt x="26" y="189"/>
                    <a:pt x="26" y="190"/>
                  </a:cubicBezTo>
                  <a:cubicBezTo>
                    <a:pt x="26" y="190"/>
                    <a:pt x="26" y="191"/>
                    <a:pt x="26" y="192"/>
                  </a:cubicBezTo>
                  <a:cubicBezTo>
                    <a:pt x="27" y="193"/>
                    <a:pt x="27" y="194"/>
                    <a:pt x="28" y="195"/>
                  </a:cubicBezTo>
                  <a:cubicBezTo>
                    <a:pt x="29" y="196"/>
                    <a:pt x="32" y="196"/>
                    <a:pt x="32" y="198"/>
                  </a:cubicBezTo>
                  <a:cubicBezTo>
                    <a:pt x="32" y="199"/>
                    <a:pt x="31" y="199"/>
                    <a:pt x="31" y="200"/>
                  </a:cubicBezTo>
                  <a:cubicBezTo>
                    <a:pt x="31" y="200"/>
                    <a:pt x="31" y="200"/>
                    <a:pt x="31" y="200"/>
                  </a:cubicBezTo>
                  <a:cubicBezTo>
                    <a:pt x="31" y="201"/>
                    <a:pt x="30" y="201"/>
                    <a:pt x="29" y="202"/>
                  </a:cubicBezTo>
                  <a:cubicBezTo>
                    <a:pt x="28" y="203"/>
                    <a:pt x="26" y="204"/>
                    <a:pt x="26" y="206"/>
                  </a:cubicBezTo>
                  <a:cubicBezTo>
                    <a:pt x="26" y="207"/>
                    <a:pt x="27" y="209"/>
                    <a:pt x="28" y="211"/>
                  </a:cubicBezTo>
                  <a:cubicBezTo>
                    <a:pt x="28" y="211"/>
                    <a:pt x="28" y="212"/>
                    <a:pt x="28" y="213"/>
                  </a:cubicBezTo>
                  <a:cubicBezTo>
                    <a:pt x="28" y="217"/>
                    <a:pt x="27" y="220"/>
                    <a:pt x="27" y="224"/>
                  </a:cubicBezTo>
                  <a:cubicBezTo>
                    <a:pt x="27" y="225"/>
                    <a:pt x="27" y="225"/>
                    <a:pt x="27" y="226"/>
                  </a:cubicBezTo>
                  <a:cubicBezTo>
                    <a:pt x="27" y="226"/>
                    <a:pt x="27" y="226"/>
                    <a:pt x="27" y="226"/>
                  </a:cubicBezTo>
                  <a:cubicBezTo>
                    <a:pt x="28" y="227"/>
                    <a:pt x="29" y="228"/>
                    <a:pt x="30" y="229"/>
                  </a:cubicBezTo>
                  <a:cubicBezTo>
                    <a:pt x="31" y="229"/>
                    <a:pt x="31" y="230"/>
                    <a:pt x="32" y="231"/>
                  </a:cubicBezTo>
                  <a:cubicBezTo>
                    <a:pt x="33" y="232"/>
                    <a:pt x="34" y="231"/>
                    <a:pt x="36" y="231"/>
                  </a:cubicBezTo>
                  <a:cubicBezTo>
                    <a:pt x="37" y="231"/>
                    <a:pt x="39" y="231"/>
                    <a:pt x="41" y="231"/>
                  </a:cubicBezTo>
                  <a:cubicBezTo>
                    <a:pt x="44" y="231"/>
                    <a:pt x="46" y="231"/>
                    <a:pt x="49" y="230"/>
                  </a:cubicBezTo>
                  <a:cubicBezTo>
                    <a:pt x="51" y="229"/>
                    <a:pt x="55" y="227"/>
                    <a:pt x="57" y="228"/>
                  </a:cubicBezTo>
                  <a:cubicBezTo>
                    <a:pt x="58" y="228"/>
                    <a:pt x="59" y="229"/>
                    <a:pt x="60" y="229"/>
                  </a:cubicBezTo>
                  <a:cubicBezTo>
                    <a:pt x="62" y="229"/>
                    <a:pt x="63" y="229"/>
                    <a:pt x="64" y="229"/>
                  </a:cubicBezTo>
                  <a:cubicBezTo>
                    <a:pt x="66" y="228"/>
                    <a:pt x="68" y="229"/>
                    <a:pt x="70" y="228"/>
                  </a:cubicBezTo>
                  <a:cubicBezTo>
                    <a:pt x="72" y="228"/>
                    <a:pt x="75" y="227"/>
                    <a:pt x="76" y="226"/>
                  </a:cubicBezTo>
                  <a:cubicBezTo>
                    <a:pt x="77" y="225"/>
                    <a:pt x="77" y="224"/>
                    <a:pt x="78" y="224"/>
                  </a:cubicBezTo>
                  <a:cubicBezTo>
                    <a:pt x="79" y="224"/>
                    <a:pt x="80" y="224"/>
                    <a:pt x="80" y="224"/>
                  </a:cubicBezTo>
                  <a:cubicBezTo>
                    <a:pt x="81" y="224"/>
                    <a:pt x="82" y="223"/>
                    <a:pt x="83" y="222"/>
                  </a:cubicBezTo>
                  <a:cubicBezTo>
                    <a:pt x="85" y="224"/>
                    <a:pt x="88" y="223"/>
                    <a:pt x="89" y="220"/>
                  </a:cubicBezTo>
                  <a:cubicBezTo>
                    <a:pt x="89" y="219"/>
                    <a:pt x="88" y="215"/>
                    <a:pt x="91" y="216"/>
                  </a:cubicBezTo>
                  <a:cubicBezTo>
                    <a:pt x="92" y="217"/>
                    <a:pt x="93" y="218"/>
                    <a:pt x="94" y="218"/>
                  </a:cubicBezTo>
                  <a:cubicBezTo>
                    <a:pt x="95" y="218"/>
                    <a:pt x="97" y="218"/>
                    <a:pt x="98" y="218"/>
                  </a:cubicBezTo>
                  <a:cubicBezTo>
                    <a:pt x="100" y="218"/>
                    <a:pt x="101" y="219"/>
                    <a:pt x="103" y="218"/>
                  </a:cubicBezTo>
                  <a:cubicBezTo>
                    <a:pt x="103" y="218"/>
                    <a:pt x="103" y="217"/>
                    <a:pt x="104" y="217"/>
                  </a:cubicBezTo>
                  <a:cubicBezTo>
                    <a:pt x="104" y="216"/>
                    <a:pt x="105" y="217"/>
                    <a:pt x="105" y="216"/>
                  </a:cubicBezTo>
                  <a:cubicBezTo>
                    <a:pt x="107" y="216"/>
                    <a:pt x="106" y="218"/>
                    <a:pt x="108" y="218"/>
                  </a:cubicBezTo>
                  <a:cubicBezTo>
                    <a:pt x="109" y="218"/>
                    <a:pt x="110" y="216"/>
                    <a:pt x="110" y="218"/>
                  </a:cubicBezTo>
                  <a:cubicBezTo>
                    <a:pt x="111" y="217"/>
                    <a:pt x="113" y="216"/>
                    <a:pt x="114" y="217"/>
                  </a:cubicBezTo>
                  <a:cubicBezTo>
                    <a:pt x="115" y="218"/>
                    <a:pt x="114" y="221"/>
                    <a:pt x="115" y="222"/>
                  </a:cubicBezTo>
                  <a:cubicBezTo>
                    <a:pt x="115" y="222"/>
                    <a:pt x="116" y="223"/>
                    <a:pt x="116" y="223"/>
                  </a:cubicBezTo>
                  <a:cubicBezTo>
                    <a:pt x="116" y="224"/>
                    <a:pt x="117" y="225"/>
                    <a:pt x="118" y="225"/>
                  </a:cubicBezTo>
                  <a:cubicBezTo>
                    <a:pt x="120" y="226"/>
                    <a:pt x="122" y="226"/>
                    <a:pt x="124" y="228"/>
                  </a:cubicBezTo>
                  <a:cubicBezTo>
                    <a:pt x="124" y="229"/>
                    <a:pt x="125" y="230"/>
                    <a:pt x="126" y="231"/>
                  </a:cubicBezTo>
                  <a:cubicBezTo>
                    <a:pt x="126" y="231"/>
                    <a:pt x="126" y="231"/>
                    <a:pt x="127" y="232"/>
                  </a:cubicBezTo>
                  <a:cubicBezTo>
                    <a:pt x="128" y="232"/>
                    <a:pt x="128" y="234"/>
                    <a:pt x="129" y="235"/>
                  </a:cubicBezTo>
                  <a:cubicBezTo>
                    <a:pt x="130" y="236"/>
                    <a:pt x="130" y="235"/>
                    <a:pt x="131" y="234"/>
                  </a:cubicBezTo>
                  <a:cubicBezTo>
                    <a:pt x="133" y="234"/>
                    <a:pt x="135" y="233"/>
                    <a:pt x="137" y="233"/>
                  </a:cubicBezTo>
                  <a:cubicBezTo>
                    <a:pt x="138" y="234"/>
                    <a:pt x="138" y="235"/>
                    <a:pt x="139" y="235"/>
                  </a:cubicBezTo>
                  <a:cubicBezTo>
                    <a:pt x="140" y="236"/>
                    <a:pt x="141" y="236"/>
                    <a:pt x="142" y="236"/>
                  </a:cubicBezTo>
                  <a:cubicBezTo>
                    <a:pt x="143" y="238"/>
                    <a:pt x="144" y="237"/>
                    <a:pt x="146" y="237"/>
                  </a:cubicBezTo>
                  <a:cubicBezTo>
                    <a:pt x="147" y="237"/>
                    <a:pt x="148" y="238"/>
                    <a:pt x="148" y="238"/>
                  </a:cubicBezTo>
                  <a:cubicBezTo>
                    <a:pt x="150" y="239"/>
                    <a:pt x="151" y="241"/>
                    <a:pt x="152" y="241"/>
                  </a:cubicBezTo>
                  <a:cubicBezTo>
                    <a:pt x="153" y="242"/>
                    <a:pt x="154" y="241"/>
                    <a:pt x="155" y="241"/>
                  </a:cubicBezTo>
                  <a:cubicBezTo>
                    <a:pt x="155" y="242"/>
                    <a:pt x="156" y="242"/>
                    <a:pt x="156" y="242"/>
                  </a:cubicBezTo>
                  <a:cubicBezTo>
                    <a:pt x="158" y="242"/>
                    <a:pt x="160" y="242"/>
                    <a:pt x="162" y="242"/>
                  </a:cubicBezTo>
                  <a:cubicBezTo>
                    <a:pt x="167" y="242"/>
                    <a:pt x="173" y="241"/>
                    <a:pt x="178" y="241"/>
                  </a:cubicBezTo>
                  <a:cubicBezTo>
                    <a:pt x="178" y="239"/>
                    <a:pt x="178" y="237"/>
                    <a:pt x="176" y="236"/>
                  </a:cubicBezTo>
                  <a:cubicBezTo>
                    <a:pt x="179" y="235"/>
                    <a:pt x="181" y="239"/>
                    <a:pt x="184" y="238"/>
                  </a:cubicBezTo>
                  <a:cubicBezTo>
                    <a:pt x="185" y="237"/>
                    <a:pt x="185" y="237"/>
                    <a:pt x="186" y="237"/>
                  </a:cubicBezTo>
                  <a:cubicBezTo>
                    <a:pt x="187" y="237"/>
                    <a:pt x="188" y="238"/>
                    <a:pt x="189" y="238"/>
                  </a:cubicBezTo>
                  <a:cubicBezTo>
                    <a:pt x="191" y="239"/>
                    <a:pt x="192" y="240"/>
                    <a:pt x="195" y="239"/>
                  </a:cubicBezTo>
                  <a:cubicBezTo>
                    <a:pt x="196" y="239"/>
                    <a:pt x="198" y="238"/>
                    <a:pt x="199" y="238"/>
                  </a:cubicBezTo>
                  <a:cubicBezTo>
                    <a:pt x="200" y="237"/>
                    <a:pt x="201" y="236"/>
                    <a:pt x="202" y="236"/>
                  </a:cubicBezTo>
                  <a:cubicBezTo>
                    <a:pt x="203" y="235"/>
                    <a:pt x="204" y="235"/>
                    <a:pt x="205" y="235"/>
                  </a:cubicBezTo>
                  <a:cubicBezTo>
                    <a:pt x="207" y="233"/>
                    <a:pt x="206" y="230"/>
                    <a:pt x="206" y="227"/>
                  </a:cubicBezTo>
                  <a:cubicBezTo>
                    <a:pt x="206" y="227"/>
                    <a:pt x="206" y="226"/>
                    <a:pt x="206" y="226"/>
                  </a:cubicBezTo>
                  <a:cubicBezTo>
                    <a:pt x="206" y="224"/>
                    <a:pt x="207" y="224"/>
                    <a:pt x="207" y="223"/>
                  </a:cubicBezTo>
                  <a:cubicBezTo>
                    <a:pt x="208" y="221"/>
                    <a:pt x="207" y="220"/>
                    <a:pt x="207" y="218"/>
                  </a:cubicBezTo>
                  <a:cubicBezTo>
                    <a:pt x="207" y="215"/>
                    <a:pt x="204" y="214"/>
                    <a:pt x="203" y="211"/>
                  </a:cubicBezTo>
                  <a:cubicBezTo>
                    <a:pt x="202" y="207"/>
                    <a:pt x="205" y="205"/>
                    <a:pt x="209" y="205"/>
                  </a:cubicBezTo>
                  <a:cubicBezTo>
                    <a:pt x="211" y="205"/>
                    <a:pt x="213" y="207"/>
                    <a:pt x="215" y="208"/>
                  </a:cubicBezTo>
                  <a:cubicBezTo>
                    <a:pt x="217" y="208"/>
                    <a:pt x="220" y="210"/>
                    <a:pt x="223" y="210"/>
                  </a:cubicBezTo>
                  <a:cubicBezTo>
                    <a:pt x="223" y="208"/>
                    <a:pt x="223" y="206"/>
                    <a:pt x="223" y="204"/>
                  </a:cubicBezTo>
                  <a:cubicBezTo>
                    <a:pt x="224" y="202"/>
                    <a:pt x="224" y="201"/>
                    <a:pt x="225" y="200"/>
                  </a:cubicBezTo>
                  <a:cubicBezTo>
                    <a:pt x="227" y="198"/>
                    <a:pt x="227" y="198"/>
                    <a:pt x="230" y="198"/>
                  </a:cubicBezTo>
                  <a:cubicBezTo>
                    <a:pt x="229" y="197"/>
                    <a:pt x="230" y="197"/>
                    <a:pt x="230" y="197"/>
                  </a:cubicBezTo>
                  <a:cubicBezTo>
                    <a:pt x="230" y="196"/>
                    <a:pt x="231" y="196"/>
                    <a:pt x="231" y="196"/>
                  </a:cubicBezTo>
                  <a:cubicBezTo>
                    <a:pt x="232" y="195"/>
                    <a:pt x="232" y="195"/>
                    <a:pt x="233" y="194"/>
                  </a:cubicBezTo>
                  <a:cubicBezTo>
                    <a:pt x="233" y="194"/>
                    <a:pt x="233" y="193"/>
                    <a:pt x="233" y="193"/>
                  </a:cubicBezTo>
                  <a:cubicBezTo>
                    <a:pt x="235" y="191"/>
                    <a:pt x="237" y="190"/>
                    <a:pt x="238" y="189"/>
                  </a:cubicBezTo>
                  <a:cubicBezTo>
                    <a:pt x="240" y="189"/>
                    <a:pt x="242" y="189"/>
                    <a:pt x="244" y="188"/>
                  </a:cubicBezTo>
                  <a:cubicBezTo>
                    <a:pt x="245" y="188"/>
                    <a:pt x="246" y="187"/>
                    <a:pt x="247" y="187"/>
                  </a:cubicBezTo>
                  <a:cubicBezTo>
                    <a:pt x="249" y="188"/>
                    <a:pt x="249" y="188"/>
                    <a:pt x="251" y="187"/>
                  </a:cubicBezTo>
                  <a:cubicBezTo>
                    <a:pt x="254" y="185"/>
                    <a:pt x="256" y="183"/>
                    <a:pt x="260" y="181"/>
                  </a:cubicBezTo>
                  <a:cubicBezTo>
                    <a:pt x="262" y="180"/>
                    <a:pt x="263" y="177"/>
                    <a:pt x="266" y="179"/>
                  </a:cubicBezTo>
                  <a:cubicBezTo>
                    <a:pt x="268" y="180"/>
                    <a:pt x="270" y="183"/>
                    <a:pt x="273" y="183"/>
                  </a:cubicBezTo>
                  <a:cubicBezTo>
                    <a:pt x="275" y="183"/>
                    <a:pt x="276" y="182"/>
                    <a:pt x="277" y="183"/>
                  </a:cubicBezTo>
                  <a:cubicBezTo>
                    <a:pt x="278" y="183"/>
                    <a:pt x="278" y="184"/>
                    <a:pt x="279" y="185"/>
                  </a:cubicBezTo>
                  <a:cubicBezTo>
                    <a:pt x="281" y="185"/>
                    <a:pt x="281" y="185"/>
                    <a:pt x="282" y="187"/>
                  </a:cubicBezTo>
                  <a:cubicBezTo>
                    <a:pt x="283" y="188"/>
                    <a:pt x="285" y="190"/>
                    <a:pt x="286" y="191"/>
                  </a:cubicBezTo>
                  <a:cubicBezTo>
                    <a:pt x="287" y="193"/>
                    <a:pt x="286" y="193"/>
                    <a:pt x="288" y="193"/>
                  </a:cubicBezTo>
                  <a:cubicBezTo>
                    <a:pt x="290" y="193"/>
                    <a:pt x="291" y="192"/>
                    <a:pt x="292" y="192"/>
                  </a:cubicBezTo>
                  <a:cubicBezTo>
                    <a:pt x="294" y="191"/>
                    <a:pt x="296" y="190"/>
                    <a:pt x="298" y="190"/>
                  </a:cubicBezTo>
                  <a:cubicBezTo>
                    <a:pt x="301" y="190"/>
                    <a:pt x="303" y="189"/>
                    <a:pt x="306" y="188"/>
                  </a:cubicBezTo>
                  <a:cubicBezTo>
                    <a:pt x="308" y="188"/>
                    <a:pt x="309" y="189"/>
                    <a:pt x="310" y="189"/>
                  </a:cubicBezTo>
                  <a:cubicBezTo>
                    <a:pt x="311" y="189"/>
                    <a:pt x="314" y="189"/>
                    <a:pt x="315" y="188"/>
                  </a:cubicBezTo>
                  <a:cubicBezTo>
                    <a:pt x="316" y="187"/>
                    <a:pt x="315" y="182"/>
                    <a:pt x="314" y="181"/>
                  </a:cubicBezTo>
                  <a:cubicBezTo>
                    <a:pt x="313" y="181"/>
                    <a:pt x="312" y="181"/>
                    <a:pt x="311" y="180"/>
                  </a:cubicBezTo>
                  <a:cubicBezTo>
                    <a:pt x="309" y="179"/>
                    <a:pt x="308" y="177"/>
                    <a:pt x="307" y="175"/>
                  </a:cubicBezTo>
                  <a:cubicBezTo>
                    <a:pt x="305" y="173"/>
                    <a:pt x="303" y="171"/>
                    <a:pt x="302" y="169"/>
                  </a:cubicBezTo>
                  <a:cubicBezTo>
                    <a:pt x="301" y="168"/>
                    <a:pt x="300" y="167"/>
                    <a:pt x="301" y="166"/>
                  </a:cubicBezTo>
                  <a:cubicBezTo>
                    <a:pt x="301" y="167"/>
                    <a:pt x="302" y="165"/>
                    <a:pt x="302" y="165"/>
                  </a:cubicBezTo>
                  <a:cubicBezTo>
                    <a:pt x="303" y="165"/>
                    <a:pt x="304" y="164"/>
                    <a:pt x="304" y="164"/>
                  </a:cubicBezTo>
                  <a:cubicBezTo>
                    <a:pt x="305" y="163"/>
                    <a:pt x="305" y="162"/>
                    <a:pt x="304" y="161"/>
                  </a:cubicBezTo>
                  <a:cubicBezTo>
                    <a:pt x="304" y="159"/>
                    <a:pt x="302" y="158"/>
                    <a:pt x="301" y="156"/>
                  </a:cubicBezTo>
                  <a:cubicBezTo>
                    <a:pt x="301" y="155"/>
                    <a:pt x="302" y="154"/>
                    <a:pt x="300" y="154"/>
                  </a:cubicBezTo>
                  <a:cubicBezTo>
                    <a:pt x="298" y="153"/>
                    <a:pt x="297" y="154"/>
                    <a:pt x="295" y="153"/>
                  </a:cubicBezTo>
                  <a:cubicBezTo>
                    <a:pt x="294" y="152"/>
                    <a:pt x="293" y="151"/>
                    <a:pt x="292" y="150"/>
                  </a:cubicBezTo>
                  <a:cubicBezTo>
                    <a:pt x="291" y="149"/>
                    <a:pt x="286" y="146"/>
                    <a:pt x="285" y="147"/>
                  </a:cubicBezTo>
                  <a:cubicBezTo>
                    <a:pt x="284" y="147"/>
                    <a:pt x="284" y="148"/>
                    <a:pt x="284" y="148"/>
                  </a:cubicBezTo>
                  <a:cubicBezTo>
                    <a:pt x="283" y="148"/>
                    <a:pt x="282" y="148"/>
                    <a:pt x="282" y="148"/>
                  </a:cubicBezTo>
                  <a:cubicBezTo>
                    <a:pt x="281" y="146"/>
                    <a:pt x="281" y="145"/>
                    <a:pt x="283" y="144"/>
                  </a:cubicBezTo>
                  <a:cubicBezTo>
                    <a:pt x="284" y="144"/>
                    <a:pt x="285" y="143"/>
                    <a:pt x="286" y="143"/>
                  </a:cubicBezTo>
                  <a:cubicBezTo>
                    <a:pt x="287" y="142"/>
                    <a:pt x="289" y="143"/>
                    <a:pt x="290" y="143"/>
                  </a:cubicBezTo>
                  <a:cubicBezTo>
                    <a:pt x="292" y="142"/>
                    <a:pt x="291" y="142"/>
                    <a:pt x="292" y="140"/>
                  </a:cubicBezTo>
                  <a:cubicBezTo>
                    <a:pt x="292" y="139"/>
                    <a:pt x="292" y="138"/>
                    <a:pt x="293" y="137"/>
                  </a:cubicBezTo>
                  <a:cubicBezTo>
                    <a:pt x="293" y="136"/>
                    <a:pt x="293" y="134"/>
                    <a:pt x="294" y="135"/>
                  </a:cubicBezTo>
                  <a:cubicBezTo>
                    <a:pt x="295" y="136"/>
                    <a:pt x="297" y="138"/>
                    <a:pt x="298" y="138"/>
                  </a:cubicBezTo>
                  <a:cubicBezTo>
                    <a:pt x="300" y="138"/>
                    <a:pt x="299" y="136"/>
                    <a:pt x="299" y="135"/>
                  </a:cubicBezTo>
                  <a:cubicBezTo>
                    <a:pt x="299" y="134"/>
                    <a:pt x="299" y="133"/>
                    <a:pt x="299" y="132"/>
                  </a:cubicBezTo>
                  <a:cubicBezTo>
                    <a:pt x="299" y="130"/>
                    <a:pt x="300" y="131"/>
                    <a:pt x="301" y="131"/>
                  </a:cubicBezTo>
                  <a:cubicBezTo>
                    <a:pt x="303" y="131"/>
                    <a:pt x="305" y="130"/>
                    <a:pt x="306" y="128"/>
                  </a:cubicBezTo>
                  <a:cubicBezTo>
                    <a:pt x="306" y="126"/>
                    <a:pt x="304" y="125"/>
                    <a:pt x="304" y="123"/>
                  </a:cubicBezTo>
                  <a:cubicBezTo>
                    <a:pt x="307" y="123"/>
                    <a:pt x="310" y="123"/>
                    <a:pt x="312" y="122"/>
                  </a:cubicBezTo>
                  <a:cubicBezTo>
                    <a:pt x="313" y="121"/>
                    <a:pt x="313" y="121"/>
                    <a:pt x="313" y="121"/>
                  </a:cubicBezTo>
                  <a:cubicBezTo>
                    <a:pt x="313" y="120"/>
                    <a:pt x="313" y="120"/>
                    <a:pt x="312" y="120"/>
                  </a:cubicBezTo>
                  <a:cubicBezTo>
                    <a:pt x="312" y="119"/>
                    <a:pt x="312" y="119"/>
                    <a:pt x="312" y="118"/>
                  </a:cubicBezTo>
                  <a:cubicBezTo>
                    <a:pt x="311" y="117"/>
                    <a:pt x="311" y="117"/>
                    <a:pt x="310" y="116"/>
                  </a:cubicBezTo>
                  <a:cubicBezTo>
                    <a:pt x="310" y="116"/>
                    <a:pt x="310" y="114"/>
                    <a:pt x="310" y="114"/>
                  </a:cubicBezTo>
                  <a:cubicBezTo>
                    <a:pt x="310" y="112"/>
                    <a:pt x="310" y="110"/>
                    <a:pt x="310" y="108"/>
                  </a:cubicBezTo>
                  <a:cubicBezTo>
                    <a:pt x="310" y="107"/>
                    <a:pt x="311" y="107"/>
                    <a:pt x="310" y="106"/>
                  </a:cubicBezTo>
                  <a:cubicBezTo>
                    <a:pt x="310" y="105"/>
                    <a:pt x="310" y="105"/>
                    <a:pt x="310" y="104"/>
                  </a:cubicBezTo>
                  <a:cubicBezTo>
                    <a:pt x="310" y="103"/>
                    <a:pt x="310" y="102"/>
                    <a:pt x="311" y="101"/>
                  </a:cubicBezTo>
                  <a:cubicBezTo>
                    <a:pt x="312" y="100"/>
                    <a:pt x="313" y="98"/>
                    <a:pt x="314" y="96"/>
                  </a:cubicBezTo>
                  <a:cubicBezTo>
                    <a:pt x="315" y="94"/>
                    <a:pt x="315" y="92"/>
                    <a:pt x="314" y="90"/>
                  </a:cubicBezTo>
                  <a:cubicBezTo>
                    <a:pt x="313" y="88"/>
                    <a:pt x="314" y="87"/>
                    <a:pt x="315" y="85"/>
                  </a:cubicBezTo>
                  <a:cubicBezTo>
                    <a:pt x="316" y="84"/>
                    <a:pt x="316" y="82"/>
                    <a:pt x="318" y="80"/>
                  </a:cubicBezTo>
                  <a:cubicBezTo>
                    <a:pt x="318" y="80"/>
                    <a:pt x="318" y="79"/>
                    <a:pt x="318" y="79"/>
                  </a:cubicBezTo>
                  <a:cubicBezTo>
                    <a:pt x="319" y="79"/>
                    <a:pt x="319" y="79"/>
                    <a:pt x="319" y="78"/>
                  </a:cubicBezTo>
                  <a:cubicBezTo>
                    <a:pt x="319" y="78"/>
                    <a:pt x="320" y="76"/>
                    <a:pt x="320" y="76"/>
                  </a:cubicBezTo>
                  <a:cubicBezTo>
                    <a:pt x="322" y="75"/>
                    <a:pt x="325" y="76"/>
                    <a:pt x="327" y="76"/>
                  </a:cubicBezTo>
                  <a:cubicBezTo>
                    <a:pt x="329" y="76"/>
                    <a:pt x="330" y="77"/>
                    <a:pt x="332" y="77"/>
                  </a:cubicBezTo>
                  <a:cubicBezTo>
                    <a:pt x="333" y="77"/>
                    <a:pt x="334" y="77"/>
                    <a:pt x="335" y="77"/>
                  </a:cubicBezTo>
                  <a:cubicBezTo>
                    <a:pt x="336" y="77"/>
                    <a:pt x="336" y="77"/>
                    <a:pt x="337" y="75"/>
                  </a:cubicBezTo>
                  <a:cubicBezTo>
                    <a:pt x="338" y="75"/>
                    <a:pt x="338" y="74"/>
                    <a:pt x="339" y="74"/>
                  </a:cubicBezTo>
                  <a:cubicBezTo>
                    <a:pt x="341" y="74"/>
                    <a:pt x="343" y="76"/>
                    <a:pt x="345" y="76"/>
                  </a:cubicBezTo>
                  <a:cubicBezTo>
                    <a:pt x="347" y="76"/>
                    <a:pt x="348" y="74"/>
                    <a:pt x="348" y="72"/>
                  </a:cubicBezTo>
                  <a:cubicBezTo>
                    <a:pt x="349" y="72"/>
                    <a:pt x="351" y="73"/>
                    <a:pt x="352" y="73"/>
                  </a:cubicBezTo>
                  <a:cubicBezTo>
                    <a:pt x="352" y="74"/>
                    <a:pt x="353" y="75"/>
                    <a:pt x="354" y="74"/>
                  </a:cubicBezTo>
                  <a:cubicBezTo>
                    <a:pt x="355" y="74"/>
                    <a:pt x="356" y="69"/>
                    <a:pt x="356" y="69"/>
                  </a:cubicBezTo>
                  <a:cubicBezTo>
                    <a:pt x="357" y="67"/>
                    <a:pt x="357" y="64"/>
                    <a:pt x="357" y="6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2" name="Freeform 34">
              <a:extLst>
                <a:ext uri="{FF2B5EF4-FFF2-40B4-BE49-F238E27FC236}">
                  <a16:creationId xmlns:a16="http://schemas.microsoft.com/office/drawing/2014/main" id="{236D3A7C-86CD-4B57-A520-A6DAC9D73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8938" y="4814888"/>
              <a:ext cx="981075" cy="717550"/>
            </a:xfrm>
            <a:custGeom>
              <a:avLst/>
              <a:gdLst/>
              <a:ahLst/>
              <a:cxnLst>
                <a:cxn ang="0">
                  <a:pos x="474" y="252"/>
                </a:cxn>
                <a:cxn ang="0">
                  <a:pos x="437" y="239"/>
                </a:cxn>
                <a:cxn ang="0">
                  <a:pos x="438" y="138"/>
                </a:cxn>
                <a:cxn ang="0">
                  <a:pos x="412" y="87"/>
                </a:cxn>
                <a:cxn ang="0">
                  <a:pos x="392" y="65"/>
                </a:cxn>
                <a:cxn ang="0">
                  <a:pos x="379" y="32"/>
                </a:cxn>
                <a:cxn ang="0">
                  <a:pos x="336" y="10"/>
                </a:cxn>
                <a:cxn ang="0">
                  <a:pos x="295" y="30"/>
                </a:cxn>
                <a:cxn ang="0">
                  <a:pos x="245" y="34"/>
                </a:cxn>
                <a:cxn ang="0">
                  <a:pos x="212" y="27"/>
                </a:cxn>
                <a:cxn ang="0">
                  <a:pos x="175" y="24"/>
                </a:cxn>
                <a:cxn ang="0">
                  <a:pos x="145" y="27"/>
                </a:cxn>
                <a:cxn ang="0">
                  <a:pos x="125" y="42"/>
                </a:cxn>
                <a:cxn ang="0">
                  <a:pos x="107" y="53"/>
                </a:cxn>
                <a:cxn ang="0">
                  <a:pos x="102" y="62"/>
                </a:cxn>
                <a:cxn ang="0">
                  <a:pos x="94" y="76"/>
                </a:cxn>
                <a:cxn ang="0">
                  <a:pos x="80" y="102"/>
                </a:cxn>
                <a:cxn ang="0">
                  <a:pos x="73" y="123"/>
                </a:cxn>
                <a:cxn ang="0">
                  <a:pos x="64" y="133"/>
                </a:cxn>
                <a:cxn ang="0">
                  <a:pos x="54" y="149"/>
                </a:cxn>
                <a:cxn ang="0">
                  <a:pos x="48" y="159"/>
                </a:cxn>
                <a:cxn ang="0">
                  <a:pos x="34" y="165"/>
                </a:cxn>
                <a:cxn ang="0">
                  <a:pos x="5" y="182"/>
                </a:cxn>
                <a:cxn ang="0">
                  <a:pos x="19" y="199"/>
                </a:cxn>
                <a:cxn ang="0">
                  <a:pos x="29" y="210"/>
                </a:cxn>
                <a:cxn ang="0">
                  <a:pos x="31" y="231"/>
                </a:cxn>
                <a:cxn ang="0">
                  <a:pos x="61" y="246"/>
                </a:cxn>
                <a:cxn ang="0">
                  <a:pos x="61" y="260"/>
                </a:cxn>
                <a:cxn ang="0">
                  <a:pos x="65" y="273"/>
                </a:cxn>
                <a:cxn ang="0">
                  <a:pos x="61" y="285"/>
                </a:cxn>
                <a:cxn ang="0">
                  <a:pos x="71" y="292"/>
                </a:cxn>
                <a:cxn ang="0">
                  <a:pos x="94" y="305"/>
                </a:cxn>
                <a:cxn ang="0">
                  <a:pos x="107" y="299"/>
                </a:cxn>
                <a:cxn ang="0">
                  <a:pos x="122" y="309"/>
                </a:cxn>
                <a:cxn ang="0">
                  <a:pos x="119" y="318"/>
                </a:cxn>
                <a:cxn ang="0">
                  <a:pos x="132" y="335"/>
                </a:cxn>
                <a:cxn ang="0">
                  <a:pos x="138" y="365"/>
                </a:cxn>
                <a:cxn ang="0">
                  <a:pos x="185" y="369"/>
                </a:cxn>
                <a:cxn ang="0">
                  <a:pos x="221" y="378"/>
                </a:cxn>
                <a:cxn ang="0">
                  <a:pos x="263" y="378"/>
                </a:cxn>
                <a:cxn ang="0">
                  <a:pos x="290" y="381"/>
                </a:cxn>
                <a:cxn ang="0">
                  <a:pos x="308" y="364"/>
                </a:cxn>
                <a:cxn ang="0">
                  <a:pos x="344" y="350"/>
                </a:cxn>
                <a:cxn ang="0">
                  <a:pos x="382" y="347"/>
                </a:cxn>
                <a:cxn ang="0">
                  <a:pos x="399" y="355"/>
                </a:cxn>
                <a:cxn ang="0">
                  <a:pos x="414" y="360"/>
                </a:cxn>
                <a:cxn ang="0">
                  <a:pos x="426" y="368"/>
                </a:cxn>
                <a:cxn ang="0">
                  <a:pos x="446" y="379"/>
                </a:cxn>
                <a:cxn ang="0">
                  <a:pos x="458" y="366"/>
                </a:cxn>
                <a:cxn ang="0">
                  <a:pos x="468" y="316"/>
                </a:cxn>
                <a:cxn ang="0">
                  <a:pos x="476" y="294"/>
                </a:cxn>
                <a:cxn ang="0">
                  <a:pos x="491" y="289"/>
                </a:cxn>
                <a:cxn ang="0">
                  <a:pos x="518" y="280"/>
                </a:cxn>
              </a:cxnLst>
              <a:rect l="0" t="0" r="r" b="b"/>
              <a:pathLst>
                <a:path w="525" h="384">
                  <a:moveTo>
                    <a:pt x="525" y="255"/>
                  </a:moveTo>
                  <a:cubicBezTo>
                    <a:pt x="525" y="252"/>
                    <a:pt x="515" y="249"/>
                    <a:pt x="512" y="247"/>
                  </a:cubicBezTo>
                  <a:cubicBezTo>
                    <a:pt x="507" y="244"/>
                    <a:pt x="503" y="241"/>
                    <a:pt x="496" y="243"/>
                  </a:cubicBezTo>
                  <a:cubicBezTo>
                    <a:pt x="493" y="243"/>
                    <a:pt x="493" y="244"/>
                    <a:pt x="491" y="246"/>
                  </a:cubicBezTo>
                  <a:cubicBezTo>
                    <a:pt x="490" y="247"/>
                    <a:pt x="487" y="249"/>
                    <a:pt x="483" y="250"/>
                  </a:cubicBezTo>
                  <a:cubicBezTo>
                    <a:pt x="478" y="252"/>
                    <a:pt x="476" y="252"/>
                    <a:pt x="474" y="252"/>
                  </a:cubicBezTo>
                  <a:cubicBezTo>
                    <a:pt x="472" y="252"/>
                    <a:pt x="470" y="251"/>
                    <a:pt x="468" y="252"/>
                  </a:cubicBezTo>
                  <a:cubicBezTo>
                    <a:pt x="467" y="252"/>
                    <a:pt x="467" y="255"/>
                    <a:pt x="466" y="256"/>
                  </a:cubicBezTo>
                  <a:cubicBezTo>
                    <a:pt x="463" y="259"/>
                    <a:pt x="462" y="257"/>
                    <a:pt x="459" y="256"/>
                  </a:cubicBezTo>
                  <a:cubicBezTo>
                    <a:pt x="457" y="254"/>
                    <a:pt x="455" y="253"/>
                    <a:pt x="453" y="252"/>
                  </a:cubicBezTo>
                  <a:cubicBezTo>
                    <a:pt x="451" y="252"/>
                    <a:pt x="445" y="249"/>
                    <a:pt x="443" y="248"/>
                  </a:cubicBezTo>
                  <a:cubicBezTo>
                    <a:pt x="443" y="247"/>
                    <a:pt x="438" y="239"/>
                    <a:pt x="437" y="239"/>
                  </a:cubicBezTo>
                  <a:cubicBezTo>
                    <a:pt x="433" y="234"/>
                    <a:pt x="428" y="230"/>
                    <a:pt x="432" y="223"/>
                  </a:cubicBezTo>
                  <a:cubicBezTo>
                    <a:pt x="433" y="219"/>
                    <a:pt x="433" y="211"/>
                    <a:pt x="431" y="208"/>
                  </a:cubicBezTo>
                  <a:cubicBezTo>
                    <a:pt x="429" y="204"/>
                    <a:pt x="430" y="191"/>
                    <a:pt x="430" y="185"/>
                  </a:cubicBezTo>
                  <a:cubicBezTo>
                    <a:pt x="431" y="175"/>
                    <a:pt x="433" y="171"/>
                    <a:pt x="437" y="161"/>
                  </a:cubicBezTo>
                  <a:cubicBezTo>
                    <a:pt x="438" y="159"/>
                    <a:pt x="439" y="151"/>
                    <a:pt x="437" y="148"/>
                  </a:cubicBezTo>
                  <a:cubicBezTo>
                    <a:pt x="436" y="146"/>
                    <a:pt x="438" y="141"/>
                    <a:pt x="438" y="138"/>
                  </a:cubicBezTo>
                  <a:cubicBezTo>
                    <a:pt x="438" y="136"/>
                    <a:pt x="434" y="130"/>
                    <a:pt x="434" y="128"/>
                  </a:cubicBezTo>
                  <a:cubicBezTo>
                    <a:pt x="432" y="125"/>
                    <a:pt x="434" y="121"/>
                    <a:pt x="431" y="121"/>
                  </a:cubicBezTo>
                  <a:cubicBezTo>
                    <a:pt x="427" y="121"/>
                    <a:pt x="424" y="119"/>
                    <a:pt x="422" y="115"/>
                  </a:cubicBezTo>
                  <a:cubicBezTo>
                    <a:pt x="420" y="112"/>
                    <a:pt x="421" y="109"/>
                    <a:pt x="421" y="106"/>
                  </a:cubicBezTo>
                  <a:cubicBezTo>
                    <a:pt x="420" y="101"/>
                    <a:pt x="419" y="96"/>
                    <a:pt x="416" y="92"/>
                  </a:cubicBezTo>
                  <a:cubicBezTo>
                    <a:pt x="414" y="91"/>
                    <a:pt x="414" y="90"/>
                    <a:pt x="412" y="87"/>
                  </a:cubicBezTo>
                  <a:cubicBezTo>
                    <a:pt x="411" y="86"/>
                    <a:pt x="409" y="85"/>
                    <a:pt x="408" y="84"/>
                  </a:cubicBezTo>
                  <a:cubicBezTo>
                    <a:pt x="407" y="83"/>
                    <a:pt x="406" y="81"/>
                    <a:pt x="405" y="79"/>
                  </a:cubicBezTo>
                  <a:cubicBezTo>
                    <a:pt x="403" y="77"/>
                    <a:pt x="403" y="73"/>
                    <a:pt x="401" y="72"/>
                  </a:cubicBezTo>
                  <a:cubicBezTo>
                    <a:pt x="399" y="70"/>
                    <a:pt x="396" y="70"/>
                    <a:pt x="394" y="68"/>
                  </a:cubicBezTo>
                  <a:cubicBezTo>
                    <a:pt x="394" y="68"/>
                    <a:pt x="395" y="67"/>
                    <a:pt x="394" y="67"/>
                  </a:cubicBezTo>
                  <a:cubicBezTo>
                    <a:pt x="394" y="66"/>
                    <a:pt x="393" y="66"/>
                    <a:pt x="392" y="65"/>
                  </a:cubicBezTo>
                  <a:cubicBezTo>
                    <a:pt x="391" y="65"/>
                    <a:pt x="392" y="64"/>
                    <a:pt x="391" y="63"/>
                  </a:cubicBezTo>
                  <a:cubicBezTo>
                    <a:pt x="391" y="62"/>
                    <a:pt x="390" y="62"/>
                    <a:pt x="390" y="60"/>
                  </a:cubicBezTo>
                  <a:cubicBezTo>
                    <a:pt x="389" y="59"/>
                    <a:pt x="390" y="58"/>
                    <a:pt x="390" y="57"/>
                  </a:cubicBezTo>
                  <a:cubicBezTo>
                    <a:pt x="390" y="53"/>
                    <a:pt x="390" y="49"/>
                    <a:pt x="388" y="46"/>
                  </a:cubicBezTo>
                  <a:cubicBezTo>
                    <a:pt x="386" y="42"/>
                    <a:pt x="383" y="40"/>
                    <a:pt x="381" y="37"/>
                  </a:cubicBezTo>
                  <a:cubicBezTo>
                    <a:pt x="380" y="36"/>
                    <a:pt x="380" y="34"/>
                    <a:pt x="379" y="32"/>
                  </a:cubicBezTo>
                  <a:cubicBezTo>
                    <a:pt x="378" y="27"/>
                    <a:pt x="374" y="26"/>
                    <a:pt x="372" y="22"/>
                  </a:cubicBezTo>
                  <a:cubicBezTo>
                    <a:pt x="369" y="19"/>
                    <a:pt x="367" y="17"/>
                    <a:pt x="365" y="14"/>
                  </a:cubicBezTo>
                  <a:cubicBezTo>
                    <a:pt x="362" y="10"/>
                    <a:pt x="361" y="4"/>
                    <a:pt x="357" y="2"/>
                  </a:cubicBezTo>
                  <a:cubicBezTo>
                    <a:pt x="353" y="0"/>
                    <a:pt x="348" y="5"/>
                    <a:pt x="344" y="6"/>
                  </a:cubicBezTo>
                  <a:cubicBezTo>
                    <a:pt x="344" y="6"/>
                    <a:pt x="344" y="6"/>
                    <a:pt x="344" y="6"/>
                  </a:cubicBezTo>
                  <a:cubicBezTo>
                    <a:pt x="341" y="7"/>
                    <a:pt x="339" y="8"/>
                    <a:pt x="336" y="10"/>
                  </a:cubicBezTo>
                  <a:cubicBezTo>
                    <a:pt x="333" y="11"/>
                    <a:pt x="329" y="13"/>
                    <a:pt x="328" y="16"/>
                  </a:cubicBezTo>
                  <a:cubicBezTo>
                    <a:pt x="326" y="18"/>
                    <a:pt x="326" y="21"/>
                    <a:pt x="324" y="23"/>
                  </a:cubicBezTo>
                  <a:cubicBezTo>
                    <a:pt x="322" y="26"/>
                    <a:pt x="321" y="25"/>
                    <a:pt x="317" y="25"/>
                  </a:cubicBezTo>
                  <a:cubicBezTo>
                    <a:pt x="313" y="25"/>
                    <a:pt x="308" y="27"/>
                    <a:pt x="303" y="27"/>
                  </a:cubicBezTo>
                  <a:cubicBezTo>
                    <a:pt x="301" y="27"/>
                    <a:pt x="298" y="28"/>
                    <a:pt x="296" y="29"/>
                  </a:cubicBezTo>
                  <a:cubicBezTo>
                    <a:pt x="296" y="29"/>
                    <a:pt x="296" y="30"/>
                    <a:pt x="295" y="30"/>
                  </a:cubicBezTo>
                  <a:cubicBezTo>
                    <a:pt x="295" y="30"/>
                    <a:pt x="293" y="30"/>
                    <a:pt x="293" y="30"/>
                  </a:cubicBezTo>
                  <a:cubicBezTo>
                    <a:pt x="287" y="30"/>
                    <a:pt x="281" y="30"/>
                    <a:pt x="276" y="30"/>
                  </a:cubicBezTo>
                  <a:cubicBezTo>
                    <a:pt x="272" y="30"/>
                    <a:pt x="271" y="32"/>
                    <a:pt x="269" y="35"/>
                  </a:cubicBezTo>
                  <a:cubicBezTo>
                    <a:pt x="268" y="37"/>
                    <a:pt x="267" y="41"/>
                    <a:pt x="264" y="42"/>
                  </a:cubicBezTo>
                  <a:cubicBezTo>
                    <a:pt x="259" y="44"/>
                    <a:pt x="253" y="42"/>
                    <a:pt x="249" y="39"/>
                  </a:cubicBezTo>
                  <a:cubicBezTo>
                    <a:pt x="247" y="37"/>
                    <a:pt x="246" y="35"/>
                    <a:pt x="245" y="34"/>
                  </a:cubicBezTo>
                  <a:cubicBezTo>
                    <a:pt x="244" y="33"/>
                    <a:pt x="242" y="32"/>
                    <a:pt x="241" y="31"/>
                  </a:cubicBezTo>
                  <a:cubicBezTo>
                    <a:pt x="240" y="30"/>
                    <a:pt x="241" y="29"/>
                    <a:pt x="238" y="29"/>
                  </a:cubicBezTo>
                  <a:cubicBezTo>
                    <a:pt x="239" y="25"/>
                    <a:pt x="229" y="29"/>
                    <a:pt x="228" y="29"/>
                  </a:cubicBezTo>
                  <a:cubicBezTo>
                    <a:pt x="223" y="31"/>
                    <a:pt x="220" y="31"/>
                    <a:pt x="216" y="29"/>
                  </a:cubicBezTo>
                  <a:cubicBezTo>
                    <a:pt x="215" y="29"/>
                    <a:pt x="214" y="29"/>
                    <a:pt x="214" y="29"/>
                  </a:cubicBezTo>
                  <a:cubicBezTo>
                    <a:pt x="213" y="29"/>
                    <a:pt x="213" y="28"/>
                    <a:pt x="212" y="27"/>
                  </a:cubicBezTo>
                  <a:cubicBezTo>
                    <a:pt x="210" y="26"/>
                    <a:pt x="205" y="26"/>
                    <a:pt x="203" y="26"/>
                  </a:cubicBezTo>
                  <a:cubicBezTo>
                    <a:pt x="201" y="26"/>
                    <a:pt x="199" y="26"/>
                    <a:pt x="197" y="26"/>
                  </a:cubicBezTo>
                  <a:cubicBezTo>
                    <a:pt x="195" y="26"/>
                    <a:pt x="195" y="27"/>
                    <a:pt x="194" y="29"/>
                  </a:cubicBezTo>
                  <a:cubicBezTo>
                    <a:pt x="194" y="28"/>
                    <a:pt x="192" y="24"/>
                    <a:pt x="191" y="24"/>
                  </a:cubicBezTo>
                  <a:cubicBezTo>
                    <a:pt x="189" y="22"/>
                    <a:pt x="187" y="23"/>
                    <a:pt x="186" y="23"/>
                  </a:cubicBezTo>
                  <a:cubicBezTo>
                    <a:pt x="182" y="23"/>
                    <a:pt x="179" y="24"/>
                    <a:pt x="175" y="24"/>
                  </a:cubicBezTo>
                  <a:cubicBezTo>
                    <a:pt x="171" y="23"/>
                    <a:pt x="172" y="21"/>
                    <a:pt x="170" y="18"/>
                  </a:cubicBezTo>
                  <a:cubicBezTo>
                    <a:pt x="168" y="16"/>
                    <a:pt x="165" y="15"/>
                    <a:pt x="162" y="17"/>
                  </a:cubicBezTo>
                  <a:cubicBezTo>
                    <a:pt x="160" y="18"/>
                    <a:pt x="159" y="19"/>
                    <a:pt x="158" y="20"/>
                  </a:cubicBezTo>
                  <a:cubicBezTo>
                    <a:pt x="157" y="21"/>
                    <a:pt x="156" y="22"/>
                    <a:pt x="155" y="23"/>
                  </a:cubicBezTo>
                  <a:cubicBezTo>
                    <a:pt x="152" y="24"/>
                    <a:pt x="148" y="22"/>
                    <a:pt x="145" y="23"/>
                  </a:cubicBezTo>
                  <a:cubicBezTo>
                    <a:pt x="145" y="24"/>
                    <a:pt x="145" y="25"/>
                    <a:pt x="145" y="27"/>
                  </a:cubicBezTo>
                  <a:cubicBezTo>
                    <a:pt x="143" y="27"/>
                    <a:pt x="142" y="28"/>
                    <a:pt x="142" y="30"/>
                  </a:cubicBezTo>
                  <a:cubicBezTo>
                    <a:pt x="141" y="31"/>
                    <a:pt x="142" y="32"/>
                    <a:pt x="141" y="33"/>
                  </a:cubicBezTo>
                  <a:cubicBezTo>
                    <a:pt x="141" y="33"/>
                    <a:pt x="140" y="34"/>
                    <a:pt x="140" y="35"/>
                  </a:cubicBezTo>
                  <a:cubicBezTo>
                    <a:pt x="138" y="35"/>
                    <a:pt x="135" y="37"/>
                    <a:pt x="133" y="39"/>
                  </a:cubicBezTo>
                  <a:cubicBezTo>
                    <a:pt x="133" y="40"/>
                    <a:pt x="133" y="41"/>
                    <a:pt x="132" y="42"/>
                  </a:cubicBezTo>
                  <a:cubicBezTo>
                    <a:pt x="130" y="43"/>
                    <a:pt x="127" y="42"/>
                    <a:pt x="125" y="42"/>
                  </a:cubicBezTo>
                  <a:cubicBezTo>
                    <a:pt x="124" y="42"/>
                    <a:pt x="124" y="43"/>
                    <a:pt x="122" y="43"/>
                  </a:cubicBezTo>
                  <a:cubicBezTo>
                    <a:pt x="121" y="43"/>
                    <a:pt x="120" y="43"/>
                    <a:pt x="119" y="45"/>
                  </a:cubicBezTo>
                  <a:cubicBezTo>
                    <a:pt x="118" y="46"/>
                    <a:pt x="118" y="47"/>
                    <a:pt x="116" y="48"/>
                  </a:cubicBezTo>
                  <a:cubicBezTo>
                    <a:pt x="115" y="48"/>
                    <a:pt x="113" y="48"/>
                    <a:pt x="112" y="48"/>
                  </a:cubicBezTo>
                  <a:cubicBezTo>
                    <a:pt x="110" y="48"/>
                    <a:pt x="110" y="48"/>
                    <a:pt x="109" y="50"/>
                  </a:cubicBezTo>
                  <a:cubicBezTo>
                    <a:pt x="108" y="51"/>
                    <a:pt x="108" y="52"/>
                    <a:pt x="107" y="53"/>
                  </a:cubicBezTo>
                  <a:cubicBezTo>
                    <a:pt x="106" y="53"/>
                    <a:pt x="106" y="54"/>
                    <a:pt x="106" y="55"/>
                  </a:cubicBezTo>
                  <a:cubicBezTo>
                    <a:pt x="105" y="55"/>
                    <a:pt x="105" y="55"/>
                    <a:pt x="104" y="56"/>
                  </a:cubicBezTo>
                  <a:cubicBezTo>
                    <a:pt x="104" y="57"/>
                    <a:pt x="105" y="58"/>
                    <a:pt x="104" y="59"/>
                  </a:cubicBezTo>
                  <a:cubicBezTo>
                    <a:pt x="104" y="59"/>
                    <a:pt x="103" y="60"/>
                    <a:pt x="103" y="60"/>
                  </a:cubicBezTo>
                  <a:cubicBezTo>
                    <a:pt x="103" y="60"/>
                    <a:pt x="102" y="61"/>
                    <a:pt x="102" y="61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1" y="63"/>
                    <a:pt x="101" y="63"/>
                  </a:cubicBezTo>
                  <a:cubicBezTo>
                    <a:pt x="100" y="64"/>
                    <a:pt x="100" y="65"/>
                    <a:pt x="99" y="66"/>
                  </a:cubicBezTo>
                  <a:cubicBezTo>
                    <a:pt x="99" y="66"/>
                    <a:pt x="99" y="67"/>
                    <a:pt x="99" y="67"/>
                  </a:cubicBezTo>
                  <a:cubicBezTo>
                    <a:pt x="99" y="69"/>
                    <a:pt x="99" y="70"/>
                    <a:pt x="98" y="71"/>
                  </a:cubicBezTo>
                  <a:cubicBezTo>
                    <a:pt x="98" y="73"/>
                    <a:pt x="98" y="74"/>
                    <a:pt x="98" y="75"/>
                  </a:cubicBezTo>
                  <a:cubicBezTo>
                    <a:pt x="97" y="76"/>
                    <a:pt x="95" y="76"/>
                    <a:pt x="94" y="76"/>
                  </a:cubicBezTo>
                  <a:cubicBezTo>
                    <a:pt x="92" y="77"/>
                    <a:pt x="91" y="79"/>
                    <a:pt x="90" y="81"/>
                  </a:cubicBezTo>
                  <a:cubicBezTo>
                    <a:pt x="89" y="82"/>
                    <a:pt x="89" y="83"/>
                    <a:pt x="89" y="84"/>
                  </a:cubicBezTo>
                  <a:cubicBezTo>
                    <a:pt x="88" y="86"/>
                    <a:pt x="89" y="87"/>
                    <a:pt x="88" y="89"/>
                  </a:cubicBezTo>
                  <a:cubicBezTo>
                    <a:pt x="88" y="91"/>
                    <a:pt x="86" y="94"/>
                    <a:pt x="84" y="96"/>
                  </a:cubicBezTo>
                  <a:cubicBezTo>
                    <a:pt x="83" y="96"/>
                    <a:pt x="81" y="97"/>
                    <a:pt x="81" y="98"/>
                  </a:cubicBezTo>
                  <a:cubicBezTo>
                    <a:pt x="80" y="99"/>
                    <a:pt x="80" y="101"/>
                    <a:pt x="80" y="102"/>
                  </a:cubicBezTo>
                  <a:cubicBezTo>
                    <a:pt x="79" y="103"/>
                    <a:pt x="79" y="104"/>
                    <a:pt x="78" y="105"/>
                  </a:cubicBezTo>
                  <a:cubicBezTo>
                    <a:pt x="77" y="106"/>
                    <a:pt x="77" y="107"/>
                    <a:pt x="77" y="108"/>
                  </a:cubicBezTo>
                  <a:cubicBezTo>
                    <a:pt x="76" y="109"/>
                    <a:pt x="76" y="109"/>
                    <a:pt x="75" y="109"/>
                  </a:cubicBezTo>
                  <a:cubicBezTo>
                    <a:pt x="75" y="110"/>
                    <a:pt x="75" y="112"/>
                    <a:pt x="75" y="113"/>
                  </a:cubicBezTo>
                  <a:cubicBezTo>
                    <a:pt x="75" y="115"/>
                    <a:pt x="74" y="117"/>
                    <a:pt x="74" y="118"/>
                  </a:cubicBezTo>
                  <a:cubicBezTo>
                    <a:pt x="74" y="120"/>
                    <a:pt x="74" y="122"/>
                    <a:pt x="73" y="123"/>
                  </a:cubicBezTo>
                  <a:cubicBezTo>
                    <a:pt x="72" y="125"/>
                    <a:pt x="71" y="126"/>
                    <a:pt x="70" y="126"/>
                  </a:cubicBezTo>
                  <a:cubicBezTo>
                    <a:pt x="70" y="127"/>
                    <a:pt x="70" y="127"/>
                    <a:pt x="69" y="12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7" y="128"/>
                    <a:pt x="67" y="128"/>
                    <a:pt x="67" y="129"/>
                  </a:cubicBezTo>
                  <a:cubicBezTo>
                    <a:pt x="66" y="129"/>
                    <a:pt x="66" y="132"/>
                    <a:pt x="64" y="132"/>
                  </a:cubicBezTo>
                  <a:cubicBezTo>
                    <a:pt x="64" y="132"/>
                    <a:pt x="64" y="132"/>
                    <a:pt x="64" y="133"/>
                  </a:cubicBezTo>
                  <a:cubicBezTo>
                    <a:pt x="62" y="133"/>
                    <a:pt x="63" y="134"/>
                    <a:pt x="62" y="135"/>
                  </a:cubicBezTo>
                  <a:cubicBezTo>
                    <a:pt x="61" y="136"/>
                    <a:pt x="60" y="136"/>
                    <a:pt x="59" y="137"/>
                  </a:cubicBezTo>
                  <a:cubicBezTo>
                    <a:pt x="59" y="138"/>
                    <a:pt x="59" y="139"/>
                    <a:pt x="59" y="139"/>
                  </a:cubicBezTo>
                  <a:cubicBezTo>
                    <a:pt x="59" y="140"/>
                    <a:pt x="58" y="140"/>
                    <a:pt x="58" y="141"/>
                  </a:cubicBezTo>
                  <a:cubicBezTo>
                    <a:pt x="57" y="142"/>
                    <a:pt x="56" y="143"/>
                    <a:pt x="55" y="145"/>
                  </a:cubicBezTo>
                  <a:cubicBezTo>
                    <a:pt x="55" y="146"/>
                    <a:pt x="54" y="148"/>
                    <a:pt x="54" y="149"/>
                  </a:cubicBezTo>
                  <a:cubicBezTo>
                    <a:pt x="54" y="149"/>
                    <a:pt x="55" y="150"/>
                    <a:pt x="54" y="151"/>
                  </a:cubicBezTo>
                  <a:cubicBezTo>
                    <a:pt x="54" y="151"/>
                    <a:pt x="53" y="151"/>
                    <a:pt x="53" y="152"/>
                  </a:cubicBezTo>
                  <a:cubicBezTo>
                    <a:pt x="53" y="152"/>
                    <a:pt x="53" y="153"/>
                    <a:pt x="52" y="154"/>
                  </a:cubicBezTo>
                  <a:cubicBezTo>
                    <a:pt x="52" y="154"/>
                    <a:pt x="51" y="155"/>
                    <a:pt x="51" y="155"/>
                  </a:cubicBezTo>
                  <a:cubicBezTo>
                    <a:pt x="50" y="156"/>
                    <a:pt x="50" y="157"/>
                    <a:pt x="49" y="158"/>
                  </a:cubicBezTo>
                  <a:cubicBezTo>
                    <a:pt x="49" y="159"/>
                    <a:pt x="48" y="159"/>
                    <a:pt x="48" y="159"/>
                  </a:cubicBezTo>
                  <a:cubicBezTo>
                    <a:pt x="48" y="158"/>
                    <a:pt x="47" y="161"/>
                    <a:pt x="47" y="161"/>
                  </a:cubicBezTo>
                  <a:cubicBezTo>
                    <a:pt x="46" y="161"/>
                    <a:pt x="46" y="162"/>
                    <a:pt x="46" y="162"/>
                  </a:cubicBezTo>
                  <a:cubicBezTo>
                    <a:pt x="46" y="162"/>
                    <a:pt x="45" y="163"/>
                    <a:pt x="46" y="163"/>
                  </a:cubicBezTo>
                  <a:cubicBezTo>
                    <a:pt x="45" y="164"/>
                    <a:pt x="45" y="165"/>
                    <a:pt x="43" y="166"/>
                  </a:cubicBezTo>
                  <a:cubicBezTo>
                    <a:pt x="42" y="166"/>
                    <a:pt x="40" y="166"/>
                    <a:pt x="38" y="166"/>
                  </a:cubicBezTo>
                  <a:cubicBezTo>
                    <a:pt x="37" y="166"/>
                    <a:pt x="36" y="166"/>
                    <a:pt x="34" y="165"/>
                  </a:cubicBezTo>
                  <a:cubicBezTo>
                    <a:pt x="33" y="164"/>
                    <a:pt x="32" y="164"/>
                    <a:pt x="31" y="164"/>
                  </a:cubicBezTo>
                  <a:cubicBezTo>
                    <a:pt x="28" y="164"/>
                    <a:pt x="27" y="167"/>
                    <a:pt x="26" y="168"/>
                  </a:cubicBezTo>
                  <a:cubicBezTo>
                    <a:pt x="22" y="177"/>
                    <a:pt x="12" y="171"/>
                    <a:pt x="5" y="172"/>
                  </a:cubicBezTo>
                  <a:cubicBezTo>
                    <a:pt x="4" y="172"/>
                    <a:pt x="4" y="173"/>
                    <a:pt x="2" y="173"/>
                  </a:cubicBezTo>
                  <a:cubicBezTo>
                    <a:pt x="2" y="173"/>
                    <a:pt x="1" y="173"/>
                    <a:pt x="0" y="173"/>
                  </a:cubicBezTo>
                  <a:cubicBezTo>
                    <a:pt x="5" y="182"/>
                    <a:pt x="5" y="182"/>
                    <a:pt x="5" y="182"/>
                  </a:cubicBezTo>
                  <a:cubicBezTo>
                    <a:pt x="5" y="184"/>
                    <a:pt x="4" y="186"/>
                    <a:pt x="6" y="188"/>
                  </a:cubicBezTo>
                  <a:cubicBezTo>
                    <a:pt x="6" y="189"/>
                    <a:pt x="7" y="189"/>
                    <a:pt x="8" y="189"/>
                  </a:cubicBezTo>
                  <a:cubicBezTo>
                    <a:pt x="10" y="190"/>
                    <a:pt x="13" y="190"/>
                    <a:pt x="14" y="193"/>
                  </a:cubicBezTo>
                  <a:cubicBezTo>
                    <a:pt x="14" y="195"/>
                    <a:pt x="14" y="194"/>
                    <a:pt x="16" y="195"/>
                  </a:cubicBezTo>
                  <a:cubicBezTo>
                    <a:pt x="17" y="195"/>
                    <a:pt x="18" y="196"/>
                    <a:pt x="18" y="197"/>
                  </a:cubicBezTo>
                  <a:cubicBezTo>
                    <a:pt x="19" y="198"/>
                    <a:pt x="18" y="198"/>
                    <a:pt x="19" y="199"/>
                  </a:cubicBezTo>
                  <a:cubicBezTo>
                    <a:pt x="19" y="199"/>
                    <a:pt x="20" y="200"/>
                    <a:pt x="20" y="200"/>
                  </a:cubicBezTo>
                  <a:cubicBezTo>
                    <a:pt x="20" y="201"/>
                    <a:pt x="21" y="203"/>
                    <a:pt x="22" y="203"/>
                  </a:cubicBezTo>
                  <a:cubicBezTo>
                    <a:pt x="23" y="203"/>
                    <a:pt x="23" y="202"/>
                    <a:pt x="24" y="202"/>
                  </a:cubicBezTo>
                  <a:cubicBezTo>
                    <a:pt x="24" y="201"/>
                    <a:pt x="25" y="202"/>
                    <a:pt x="26" y="202"/>
                  </a:cubicBezTo>
                  <a:cubicBezTo>
                    <a:pt x="27" y="202"/>
                    <a:pt x="28" y="202"/>
                    <a:pt x="29" y="203"/>
                  </a:cubicBezTo>
                  <a:cubicBezTo>
                    <a:pt x="30" y="205"/>
                    <a:pt x="29" y="208"/>
                    <a:pt x="29" y="210"/>
                  </a:cubicBezTo>
                  <a:cubicBezTo>
                    <a:pt x="29" y="211"/>
                    <a:pt x="29" y="213"/>
                    <a:pt x="29" y="214"/>
                  </a:cubicBezTo>
                  <a:cubicBezTo>
                    <a:pt x="29" y="215"/>
                    <a:pt x="28" y="215"/>
                    <a:pt x="28" y="216"/>
                  </a:cubicBezTo>
                  <a:cubicBezTo>
                    <a:pt x="27" y="218"/>
                    <a:pt x="28" y="222"/>
                    <a:pt x="30" y="222"/>
                  </a:cubicBezTo>
                  <a:cubicBezTo>
                    <a:pt x="31" y="223"/>
                    <a:pt x="28" y="225"/>
                    <a:pt x="27" y="226"/>
                  </a:cubicBezTo>
                  <a:cubicBezTo>
                    <a:pt x="27" y="227"/>
                    <a:pt x="27" y="228"/>
                    <a:pt x="28" y="229"/>
                  </a:cubicBezTo>
                  <a:cubicBezTo>
                    <a:pt x="28" y="231"/>
                    <a:pt x="29" y="231"/>
                    <a:pt x="31" y="231"/>
                  </a:cubicBezTo>
                  <a:cubicBezTo>
                    <a:pt x="34" y="232"/>
                    <a:pt x="34" y="232"/>
                    <a:pt x="34" y="235"/>
                  </a:cubicBezTo>
                  <a:cubicBezTo>
                    <a:pt x="34" y="236"/>
                    <a:pt x="34" y="237"/>
                    <a:pt x="34" y="238"/>
                  </a:cubicBezTo>
                  <a:cubicBezTo>
                    <a:pt x="35" y="239"/>
                    <a:pt x="36" y="240"/>
                    <a:pt x="38" y="241"/>
                  </a:cubicBezTo>
                  <a:cubicBezTo>
                    <a:pt x="44" y="243"/>
                    <a:pt x="50" y="243"/>
                    <a:pt x="57" y="243"/>
                  </a:cubicBezTo>
                  <a:cubicBezTo>
                    <a:pt x="58" y="243"/>
                    <a:pt x="59" y="243"/>
                    <a:pt x="60" y="244"/>
                  </a:cubicBezTo>
                  <a:cubicBezTo>
                    <a:pt x="61" y="245"/>
                    <a:pt x="61" y="245"/>
                    <a:pt x="61" y="246"/>
                  </a:cubicBezTo>
                  <a:cubicBezTo>
                    <a:pt x="62" y="246"/>
                    <a:pt x="63" y="246"/>
                    <a:pt x="63" y="247"/>
                  </a:cubicBezTo>
                  <a:cubicBezTo>
                    <a:pt x="64" y="248"/>
                    <a:pt x="63" y="248"/>
                    <a:pt x="62" y="249"/>
                  </a:cubicBezTo>
                  <a:cubicBezTo>
                    <a:pt x="62" y="250"/>
                    <a:pt x="62" y="251"/>
                    <a:pt x="63" y="252"/>
                  </a:cubicBezTo>
                  <a:cubicBezTo>
                    <a:pt x="64" y="253"/>
                    <a:pt x="65" y="253"/>
                    <a:pt x="65" y="254"/>
                  </a:cubicBezTo>
                  <a:cubicBezTo>
                    <a:pt x="65" y="255"/>
                    <a:pt x="64" y="256"/>
                    <a:pt x="63" y="257"/>
                  </a:cubicBezTo>
                  <a:cubicBezTo>
                    <a:pt x="62" y="258"/>
                    <a:pt x="61" y="258"/>
                    <a:pt x="61" y="260"/>
                  </a:cubicBezTo>
                  <a:cubicBezTo>
                    <a:pt x="61" y="260"/>
                    <a:pt x="61" y="261"/>
                    <a:pt x="60" y="261"/>
                  </a:cubicBezTo>
                  <a:cubicBezTo>
                    <a:pt x="60" y="262"/>
                    <a:pt x="60" y="262"/>
                    <a:pt x="60" y="262"/>
                  </a:cubicBezTo>
                  <a:cubicBezTo>
                    <a:pt x="59" y="263"/>
                    <a:pt x="58" y="263"/>
                    <a:pt x="58" y="264"/>
                  </a:cubicBezTo>
                  <a:cubicBezTo>
                    <a:pt x="57" y="265"/>
                    <a:pt x="58" y="268"/>
                    <a:pt x="59" y="269"/>
                  </a:cubicBezTo>
                  <a:cubicBezTo>
                    <a:pt x="60" y="270"/>
                    <a:pt x="62" y="270"/>
                    <a:pt x="63" y="271"/>
                  </a:cubicBezTo>
                  <a:cubicBezTo>
                    <a:pt x="63" y="271"/>
                    <a:pt x="64" y="272"/>
                    <a:pt x="65" y="273"/>
                  </a:cubicBezTo>
                  <a:cubicBezTo>
                    <a:pt x="66" y="274"/>
                    <a:pt x="67" y="277"/>
                    <a:pt x="65" y="278"/>
                  </a:cubicBezTo>
                  <a:cubicBezTo>
                    <a:pt x="64" y="278"/>
                    <a:pt x="62" y="277"/>
                    <a:pt x="60" y="278"/>
                  </a:cubicBezTo>
                  <a:cubicBezTo>
                    <a:pt x="59" y="278"/>
                    <a:pt x="59" y="279"/>
                    <a:pt x="58" y="280"/>
                  </a:cubicBezTo>
                  <a:cubicBezTo>
                    <a:pt x="57" y="281"/>
                    <a:pt x="56" y="281"/>
                    <a:pt x="57" y="282"/>
                  </a:cubicBezTo>
                  <a:cubicBezTo>
                    <a:pt x="57" y="283"/>
                    <a:pt x="57" y="284"/>
                    <a:pt x="58" y="285"/>
                  </a:cubicBezTo>
                  <a:cubicBezTo>
                    <a:pt x="59" y="285"/>
                    <a:pt x="60" y="285"/>
                    <a:pt x="61" y="285"/>
                  </a:cubicBezTo>
                  <a:cubicBezTo>
                    <a:pt x="62" y="285"/>
                    <a:pt x="65" y="285"/>
                    <a:pt x="65" y="285"/>
                  </a:cubicBezTo>
                  <a:cubicBezTo>
                    <a:pt x="66" y="286"/>
                    <a:pt x="66" y="286"/>
                    <a:pt x="66" y="287"/>
                  </a:cubicBezTo>
                  <a:cubicBezTo>
                    <a:pt x="66" y="287"/>
                    <a:pt x="67" y="288"/>
                    <a:pt x="67" y="288"/>
                  </a:cubicBezTo>
                  <a:cubicBezTo>
                    <a:pt x="67" y="289"/>
                    <a:pt x="67" y="289"/>
                    <a:pt x="67" y="290"/>
                  </a:cubicBezTo>
                  <a:cubicBezTo>
                    <a:pt x="68" y="291"/>
                    <a:pt x="69" y="291"/>
                    <a:pt x="70" y="292"/>
                  </a:cubicBezTo>
                  <a:cubicBezTo>
                    <a:pt x="70" y="292"/>
                    <a:pt x="71" y="292"/>
                    <a:pt x="71" y="292"/>
                  </a:cubicBezTo>
                  <a:cubicBezTo>
                    <a:pt x="71" y="292"/>
                    <a:pt x="71" y="292"/>
                    <a:pt x="71" y="292"/>
                  </a:cubicBezTo>
                  <a:cubicBezTo>
                    <a:pt x="74" y="293"/>
                    <a:pt x="77" y="294"/>
                    <a:pt x="80" y="295"/>
                  </a:cubicBezTo>
                  <a:cubicBezTo>
                    <a:pt x="83" y="296"/>
                    <a:pt x="85" y="298"/>
                    <a:pt x="87" y="300"/>
                  </a:cubicBezTo>
                  <a:cubicBezTo>
                    <a:pt x="88" y="300"/>
                    <a:pt x="89" y="301"/>
                    <a:pt x="90" y="301"/>
                  </a:cubicBezTo>
                  <a:cubicBezTo>
                    <a:pt x="91" y="302"/>
                    <a:pt x="92" y="302"/>
                    <a:pt x="93" y="303"/>
                  </a:cubicBezTo>
                  <a:cubicBezTo>
                    <a:pt x="93" y="303"/>
                    <a:pt x="93" y="305"/>
                    <a:pt x="94" y="305"/>
                  </a:cubicBezTo>
                  <a:cubicBezTo>
                    <a:pt x="94" y="307"/>
                    <a:pt x="94" y="307"/>
                    <a:pt x="96" y="307"/>
                  </a:cubicBezTo>
                  <a:cubicBezTo>
                    <a:pt x="99" y="308"/>
                    <a:pt x="100" y="308"/>
                    <a:pt x="102" y="306"/>
                  </a:cubicBezTo>
                  <a:cubicBezTo>
                    <a:pt x="103" y="305"/>
                    <a:pt x="103" y="306"/>
                    <a:pt x="104" y="304"/>
                  </a:cubicBezTo>
                  <a:cubicBezTo>
                    <a:pt x="104" y="304"/>
                    <a:pt x="104" y="303"/>
                    <a:pt x="104" y="303"/>
                  </a:cubicBezTo>
                  <a:cubicBezTo>
                    <a:pt x="105" y="302"/>
                    <a:pt x="105" y="301"/>
                    <a:pt x="105" y="301"/>
                  </a:cubicBezTo>
                  <a:cubicBezTo>
                    <a:pt x="106" y="300"/>
                    <a:pt x="106" y="299"/>
                    <a:pt x="107" y="299"/>
                  </a:cubicBezTo>
                  <a:cubicBezTo>
                    <a:pt x="109" y="297"/>
                    <a:pt x="109" y="294"/>
                    <a:pt x="112" y="293"/>
                  </a:cubicBezTo>
                  <a:cubicBezTo>
                    <a:pt x="115" y="292"/>
                    <a:pt x="117" y="295"/>
                    <a:pt x="120" y="296"/>
                  </a:cubicBezTo>
                  <a:cubicBezTo>
                    <a:pt x="123" y="298"/>
                    <a:pt x="125" y="298"/>
                    <a:pt x="128" y="300"/>
                  </a:cubicBezTo>
                  <a:cubicBezTo>
                    <a:pt x="130" y="301"/>
                    <a:pt x="133" y="302"/>
                    <a:pt x="132" y="305"/>
                  </a:cubicBezTo>
                  <a:cubicBezTo>
                    <a:pt x="131" y="307"/>
                    <a:pt x="128" y="307"/>
                    <a:pt x="125" y="307"/>
                  </a:cubicBezTo>
                  <a:cubicBezTo>
                    <a:pt x="124" y="308"/>
                    <a:pt x="123" y="308"/>
                    <a:pt x="122" y="309"/>
                  </a:cubicBezTo>
                  <a:cubicBezTo>
                    <a:pt x="121" y="309"/>
                    <a:pt x="121" y="309"/>
                    <a:pt x="120" y="310"/>
                  </a:cubicBezTo>
                  <a:cubicBezTo>
                    <a:pt x="120" y="310"/>
                    <a:pt x="118" y="310"/>
                    <a:pt x="118" y="311"/>
                  </a:cubicBezTo>
                  <a:cubicBezTo>
                    <a:pt x="118" y="312"/>
                    <a:pt x="118" y="312"/>
                    <a:pt x="118" y="313"/>
                  </a:cubicBezTo>
                  <a:cubicBezTo>
                    <a:pt x="117" y="313"/>
                    <a:pt x="117" y="313"/>
                    <a:pt x="116" y="314"/>
                  </a:cubicBezTo>
                  <a:cubicBezTo>
                    <a:pt x="116" y="315"/>
                    <a:pt x="117" y="315"/>
                    <a:pt x="117" y="316"/>
                  </a:cubicBezTo>
                  <a:cubicBezTo>
                    <a:pt x="117" y="317"/>
                    <a:pt x="118" y="318"/>
                    <a:pt x="119" y="318"/>
                  </a:cubicBezTo>
                  <a:cubicBezTo>
                    <a:pt x="119" y="319"/>
                    <a:pt x="118" y="321"/>
                    <a:pt x="119" y="322"/>
                  </a:cubicBezTo>
                  <a:cubicBezTo>
                    <a:pt x="120" y="323"/>
                    <a:pt x="121" y="323"/>
                    <a:pt x="122" y="324"/>
                  </a:cubicBezTo>
                  <a:cubicBezTo>
                    <a:pt x="122" y="324"/>
                    <a:pt x="123" y="325"/>
                    <a:pt x="123" y="326"/>
                  </a:cubicBezTo>
                  <a:cubicBezTo>
                    <a:pt x="125" y="327"/>
                    <a:pt x="126" y="329"/>
                    <a:pt x="126" y="331"/>
                  </a:cubicBezTo>
                  <a:cubicBezTo>
                    <a:pt x="126" y="332"/>
                    <a:pt x="126" y="333"/>
                    <a:pt x="126" y="334"/>
                  </a:cubicBezTo>
                  <a:cubicBezTo>
                    <a:pt x="128" y="334"/>
                    <a:pt x="130" y="335"/>
                    <a:pt x="132" y="335"/>
                  </a:cubicBezTo>
                  <a:cubicBezTo>
                    <a:pt x="134" y="336"/>
                    <a:pt x="135" y="337"/>
                    <a:pt x="136" y="338"/>
                  </a:cubicBezTo>
                  <a:cubicBezTo>
                    <a:pt x="139" y="340"/>
                    <a:pt x="144" y="341"/>
                    <a:pt x="145" y="344"/>
                  </a:cubicBezTo>
                  <a:cubicBezTo>
                    <a:pt x="146" y="347"/>
                    <a:pt x="143" y="348"/>
                    <a:pt x="141" y="349"/>
                  </a:cubicBezTo>
                  <a:cubicBezTo>
                    <a:pt x="140" y="350"/>
                    <a:pt x="138" y="351"/>
                    <a:pt x="137" y="352"/>
                  </a:cubicBezTo>
                  <a:cubicBezTo>
                    <a:pt x="136" y="352"/>
                    <a:pt x="136" y="355"/>
                    <a:pt x="136" y="356"/>
                  </a:cubicBezTo>
                  <a:cubicBezTo>
                    <a:pt x="136" y="358"/>
                    <a:pt x="136" y="363"/>
                    <a:pt x="138" y="365"/>
                  </a:cubicBezTo>
                  <a:cubicBezTo>
                    <a:pt x="140" y="366"/>
                    <a:pt x="141" y="366"/>
                    <a:pt x="143" y="366"/>
                  </a:cubicBezTo>
                  <a:cubicBezTo>
                    <a:pt x="145" y="366"/>
                    <a:pt x="146" y="367"/>
                    <a:pt x="148" y="367"/>
                  </a:cubicBezTo>
                  <a:cubicBezTo>
                    <a:pt x="151" y="368"/>
                    <a:pt x="153" y="364"/>
                    <a:pt x="157" y="364"/>
                  </a:cubicBezTo>
                  <a:cubicBezTo>
                    <a:pt x="162" y="364"/>
                    <a:pt x="166" y="365"/>
                    <a:pt x="171" y="365"/>
                  </a:cubicBezTo>
                  <a:cubicBezTo>
                    <a:pt x="174" y="365"/>
                    <a:pt x="177" y="365"/>
                    <a:pt x="180" y="367"/>
                  </a:cubicBezTo>
                  <a:cubicBezTo>
                    <a:pt x="182" y="367"/>
                    <a:pt x="183" y="368"/>
                    <a:pt x="185" y="369"/>
                  </a:cubicBezTo>
                  <a:cubicBezTo>
                    <a:pt x="186" y="369"/>
                    <a:pt x="188" y="369"/>
                    <a:pt x="189" y="370"/>
                  </a:cubicBezTo>
                  <a:cubicBezTo>
                    <a:pt x="192" y="371"/>
                    <a:pt x="194" y="372"/>
                    <a:pt x="197" y="373"/>
                  </a:cubicBezTo>
                  <a:cubicBezTo>
                    <a:pt x="198" y="374"/>
                    <a:pt x="200" y="375"/>
                    <a:pt x="201" y="375"/>
                  </a:cubicBezTo>
                  <a:cubicBezTo>
                    <a:pt x="202" y="375"/>
                    <a:pt x="202" y="374"/>
                    <a:pt x="203" y="374"/>
                  </a:cubicBezTo>
                  <a:cubicBezTo>
                    <a:pt x="207" y="374"/>
                    <a:pt x="209" y="378"/>
                    <a:pt x="213" y="379"/>
                  </a:cubicBezTo>
                  <a:cubicBezTo>
                    <a:pt x="215" y="379"/>
                    <a:pt x="219" y="379"/>
                    <a:pt x="221" y="378"/>
                  </a:cubicBezTo>
                  <a:cubicBezTo>
                    <a:pt x="223" y="377"/>
                    <a:pt x="225" y="375"/>
                    <a:pt x="228" y="375"/>
                  </a:cubicBezTo>
                  <a:cubicBezTo>
                    <a:pt x="232" y="374"/>
                    <a:pt x="236" y="375"/>
                    <a:pt x="240" y="376"/>
                  </a:cubicBezTo>
                  <a:cubicBezTo>
                    <a:pt x="242" y="376"/>
                    <a:pt x="244" y="376"/>
                    <a:pt x="246" y="375"/>
                  </a:cubicBezTo>
                  <a:cubicBezTo>
                    <a:pt x="248" y="374"/>
                    <a:pt x="248" y="373"/>
                    <a:pt x="251" y="374"/>
                  </a:cubicBezTo>
                  <a:cubicBezTo>
                    <a:pt x="253" y="375"/>
                    <a:pt x="255" y="378"/>
                    <a:pt x="257" y="378"/>
                  </a:cubicBezTo>
                  <a:cubicBezTo>
                    <a:pt x="259" y="378"/>
                    <a:pt x="261" y="378"/>
                    <a:pt x="263" y="378"/>
                  </a:cubicBezTo>
                  <a:cubicBezTo>
                    <a:pt x="266" y="379"/>
                    <a:pt x="269" y="380"/>
                    <a:pt x="271" y="381"/>
                  </a:cubicBezTo>
                  <a:cubicBezTo>
                    <a:pt x="272" y="381"/>
                    <a:pt x="273" y="382"/>
                    <a:pt x="274" y="382"/>
                  </a:cubicBezTo>
                  <a:cubicBezTo>
                    <a:pt x="275" y="382"/>
                    <a:pt x="275" y="382"/>
                    <a:pt x="275" y="382"/>
                  </a:cubicBezTo>
                  <a:cubicBezTo>
                    <a:pt x="278" y="382"/>
                    <a:pt x="281" y="384"/>
                    <a:pt x="283" y="384"/>
                  </a:cubicBezTo>
                  <a:cubicBezTo>
                    <a:pt x="285" y="384"/>
                    <a:pt x="285" y="384"/>
                    <a:pt x="286" y="383"/>
                  </a:cubicBezTo>
                  <a:cubicBezTo>
                    <a:pt x="288" y="382"/>
                    <a:pt x="289" y="382"/>
                    <a:pt x="290" y="381"/>
                  </a:cubicBezTo>
                  <a:cubicBezTo>
                    <a:pt x="292" y="379"/>
                    <a:pt x="293" y="379"/>
                    <a:pt x="295" y="379"/>
                  </a:cubicBezTo>
                  <a:cubicBezTo>
                    <a:pt x="297" y="379"/>
                    <a:pt x="299" y="380"/>
                    <a:pt x="300" y="378"/>
                  </a:cubicBezTo>
                  <a:cubicBezTo>
                    <a:pt x="301" y="377"/>
                    <a:pt x="300" y="376"/>
                    <a:pt x="300" y="375"/>
                  </a:cubicBezTo>
                  <a:cubicBezTo>
                    <a:pt x="301" y="373"/>
                    <a:pt x="304" y="372"/>
                    <a:pt x="305" y="371"/>
                  </a:cubicBezTo>
                  <a:cubicBezTo>
                    <a:pt x="307" y="370"/>
                    <a:pt x="308" y="369"/>
                    <a:pt x="308" y="367"/>
                  </a:cubicBezTo>
                  <a:cubicBezTo>
                    <a:pt x="308" y="366"/>
                    <a:pt x="308" y="365"/>
                    <a:pt x="308" y="364"/>
                  </a:cubicBezTo>
                  <a:cubicBezTo>
                    <a:pt x="309" y="363"/>
                    <a:pt x="311" y="362"/>
                    <a:pt x="313" y="361"/>
                  </a:cubicBezTo>
                  <a:cubicBezTo>
                    <a:pt x="314" y="360"/>
                    <a:pt x="315" y="359"/>
                    <a:pt x="316" y="359"/>
                  </a:cubicBezTo>
                  <a:cubicBezTo>
                    <a:pt x="318" y="357"/>
                    <a:pt x="321" y="357"/>
                    <a:pt x="324" y="356"/>
                  </a:cubicBezTo>
                  <a:cubicBezTo>
                    <a:pt x="326" y="355"/>
                    <a:pt x="328" y="355"/>
                    <a:pt x="331" y="355"/>
                  </a:cubicBezTo>
                  <a:cubicBezTo>
                    <a:pt x="333" y="354"/>
                    <a:pt x="334" y="354"/>
                    <a:pt x="335" y="353"/>
                  </a:cubicBezTo>
                  <a:cubicBezTo>
                    <a:pt x="338" y="352"/>
                    <a:pt x="341" y="350"/>
                    <a:pt x="344" y="350"/>
                  </a:cubicBezTo>
                  <a:cubicBezTo>
                    <a:pt x="346" y="350"/>
                    <a:pt x="349" y="350"/>
                    <a:pt x="351" y="350"/>
                  </a:cubicBezTo>
                  <a:cubicBezTo>
                    <a:pt x="354" y="350"/>
                    <a:pt x="356" y="350"/>
                    <a:pt x="358" y="349"/>
                  </a:cubicBezTo>
                  <a:cubicBezTo>
                    <a:pt x="361" y="348"/>
                    <a:pt x="363" y="347"/>
                    <a:pt x="366" y="345"/>
                  </a:cubicBezTo>
                  <a:cubicBezTo>
                    <a:pt x="368" y="344"/>
                    <a:pt x="370" y="342"/>
                    <a:pt x="373" y="343"/>
                  </a:cubicBezTo>
                  <a:cubicBezTo>
                    <a:pt x="374" y="343"/>
                    <a:pt x="376" y="344"/>
                    <a:pt x="377" y="345"/>
                  </a:cubicBezTo>
                  <a:cubicBezTo>
                    <a:pt x="378" y="345"/>
                    <a:pt x="380" y="346"/>
                    <a:pt x="382" y="347"/>
                  </a:cubicBezTo>
                  <a:cubicBezTo>
                    <a:pt x="383" y="348"/>
                    <a:pt x="383" y="349"/>
                    <a:pt x="384" y="350"/>
                  </a:cubicBezTo>
                  <a:cubicBezTo>
                    <a:pt x="385" y="351"/>
                    <a:pt x="386" y="351"/>
                    <a:pt x="387" y="352"/>
                  </a:cubicBezTo>
                  <a:cubicBezTo>
                    <a:pt x="388" y="352"/>
                    <a:pt x="389" y="353"/>
                    <a:pt x="390" y="353"/>
                  </a:cubicBezTo>
                  <a:cubicBezTo>
                    <a:pt x="390" y="353"/>
                    <a:pt x="392" y="353"/>
                    <a:pt x="393" y="353"/>
                  </a:cubicBezTo>
                  <a:cubicBezTo>
                    <a:pt x="394" y="353"/>
                    <a:pt x="396" y="354"/>
                    <a:pt x="397" y="355"/>
                  </a:cubicBezTo>
                  <a:cubicBezTo>
                    <a:pt x="398" y="355"/>
                    <a:pt x="398" y="355"/>
                    <a:pt x="399" y="355"/>
                  </a:cubicBezTo>
                  <a:cubicBezTo>
                    <a:pt x="399" y="355"/>
                    <a:pt x="401" y="354"/>
                    <a:pt x="401" y="354"/>
                  </a:cubicBezTo>
                  <a:cubicBezTo>
                    <a:pt x="402" y="354"/>
                    <a:pt x="403" y="354"/>
                    <a:pt x="404" y="354"/>
                  </a:cubicBezTo>
                  <a:cubicBezTo>
                    <a:pt x="407" y="354"/>
                    <a:pt x="406" y="354"/>
                    <a:pt x="407" y="356"/>
                  </a:cubicBezTo>
                  <a:cubicBezTo>
                    <a:pt x="407" y="357"/>
                    <a:pt x="408" y="357"/>
                    <a:pt x="408" y="358"/>
                  </a:cubicBezTo>
                  <a:cubicBezTo>
                    <a:pt x="409" y="358"/>
                    <a:pt x="410" y="360"/>
                    <a:pt x="410" y="360"/>
                  </a:cubicBezTo>
                  <a:cubicBezTo>
                    <a:pt x="411" y="360"/>
                    <a:pt x="413" y="360"/>
                    <a:pt x="414" y="360"/>
                  </a:cubicBezTo>
                  <a:cubicBezTo>
                    <a:pt x="415" y="359"/>
                    <a:pt x="420" y="355"/>
                    <a:pt x="421" y="357"/>
                  </a:cubicBezTo>
                  <a:cubicBezTo>
                    <a:pt x="421" y="358"/>
                    <a:pt x="421" y="358"/>
                    <a:pt x="421" y="359"/>
                  </a:cubicBezTo>
                  <a:cubicBezTo>
                    <a:pt x="421" y="359"/>
                    <a:pt x="421" y="360"/>
                    <a:pt x="422" y="360"/>
                  </a:cubicBezTo>
                  <a:cubicBezTo>
                    <a:pt x="423" y="362"/>
                    <a:pt x="423" y="362"/>
                    <a:pt x="423" y="364"/>
                  </a:cubicBezTo>
                  <a:cubicBezTo>
                    <a:pt x="424" y="365"/>
                    <a:pt x="423" y="366"/>
                    <a:pt x="424" y="367"/>
                  </a:cubicBezTo>
                  <a:cubicBezTo>
                    <a:pt x="425" y="368"/>
                    <a:pt x="425" y="368"/>
                    <a:pt x="426" y="368"/>
                  </a:cubicBezTo>
                  <a:cubicBezTo>
                    <a:pt x="426" y="368"/>
                    <a:pt x="426" y="369"/>
                    <a:pt x="426" y="369"/>
                  </a:cubicBezTo>
                  <a:cubicBezTo>
                    <a:pt x="427" y="370"/>
                    <a:pt x="428" y="370"/>
                    <a:pt x="428" y="372"/>
                  </a:cubicBezTo>
                  <a:cubicBezTo>
                    <a:pt x="429" y="372"/>
                    <a:pt x="428" y="373"/>
                    <a:pt x="429" y="373"/>
                  </a:cubicBezTo>
                  <a:cubicBezTo>
                    <a:pt x="429" y="374"/>
                    <a:pt x="430" y="375"/>
                    <a:pt x="431" y="375"/>
                  </a:cubicBezTo>
                  <a:cubicBezTo>
                    <a:pt x="433" y="376"/>
                    <a:pt x="436" y="376"/>
                    <a:pt x="439" y="377"/>
                  </a:cubicBezTo>
                  <a:cubicBezTo>
                    <a:pt x="441" y="377"/>
                    <a:pt x="443" y="378"/>
                    <a:pt x="446" y="379"/>
                  </a:cubicBezTo>
                  <a:cubicBezTo>
                    <a:pt x="449" y="379"/>
                    <a:pt x="452" y="379"/>
                    <a:pt x="456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9"/>
                    <a:pt x="455" y="379"/>
                    <a:pt x="455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8"/>
                    <a:pt x="456" y="377"/>
                    <a:pt x="456" y="376"/>
                  </a:cubicBezTo>
                  <a:cubicBezTo>
                    <a:pt x="457" y="372"/>
                    <a:pt x="458" y="369"/>
                    <a:pt x="458" y="366"/>
                  </a:cubicBezTo>
                  <a:cubicBezTo>
                    <a:pt x="458" y="362"/>
                    <a:pt x="458" y="359"/>
                    <a:pt x="458" y="356"/>
                  </a:cubicBezTo>
                  <a:cubicBezTo>
                    <a:pt x="458" y="347"/>
                    <a:pt x="457" y="340"/>
                    <a:pt x="462" y="332"/>
                  </a:cubicBezTo>
                  <a:cubicBezTo>
                    <a:pt x="465" y="330"/>
                    <a:pt x="466" y="328"/>
                    <a:pt x="466" y="325"/>
                  </a:cubicBezTo>
                  <a:cubicBezTo>
                    <a:pt x="466" y="323"/>
                    <a:pt x="466" y="322"/>
                    <a:pt x="466" y="321"/>
                  </a:cubicBezTo>
                  <a:cubicBezTo>
                    <a:pt x="466" y="321"/>
                    <a:pt x="467" y="319"/>
                    <a:pt x="467" y="319"/>
                  </a:cubicBezTo>
                  <a:cubicBezTo>
                    <a:pt x="467" y="318"/>
                    <a:pt x="467" y="317"/>
                    <a:pt x="468" y="316"/>
                  </a:cubicBezTo>
                  <a:cubicBezTo>
                    <a:pt x="469" y="314"/>
                    <a:pt x="469" y="312"/>
                    <a:pt x="469" y="309"/>
                  </a:cubicBezTo>
                  <a:cubicBezTo>
                    <a:pt x="469" y="308"/>
                    <a:pt x="468" y="306"/>
                    <a:pt x="467" y="305"/>
                  </a:cubicBezTo>
                  <a:cubicBezTo>
                    <a:pt x="466" y="304"/>
                    <a:pt x="465" y="304"/>
                    <a:pt x="464" y="302"/>
                  </a:cubicBezTo>
                  <a:cubicBezTo>
                    <a:pt x="466" y="302"/>
                    <a:pt x="468" y="302"/>
                    <a:pt x="470" y="302"/>
                  </a:cubicBezTo>
                  <a:cubicBezTo>
                    <a:pt x="472" y="302"/>
                    <a:pt x="472" y="301"/>
                    <a:pt x="474" y="299"/>
                  </a:cubicBezTo>
                  <a:cubicBezTo>
                    <a:pt x="475" y="297"/>
                    <a:pt x="476" y="296"/>
                    <a:pt x="476" y="294"/>
                  </a:cubicBezTo>
                  <a:cubicBezTo>
                    <a:pt x="476" y="291"/>
                    <a:pt x="473" y="290"/>
                    <a:pt x="472" y="288"/>
                  </a:cubicBezTo>
                  <a:cubicBezTo>
                    <a:pt x="471" y="284"/>
                    <a:pt x="472" y="279"/>
                    <a:pt x="475" y="278"/>
                  </a:cubicBezTo>
                  <a:cubicBezTo>
                    <a:pt x="477" y="277"/>
                    <a:pt x="479" y="278"/>
                    <a:pt x="481" y="277"/>
                  </a:cubicBezTo>
                  <a:cubicBezTo>
                    <a:pt x="483" y="277"/>
                    <a:pt x="482" y="274"/>
                    <a:pt x="484" y="274"/>
                  </a:cubicBezTo>
                  <a:cubicBezTo>
                    <a:pt x="485" y="279"/>
                    <a:pt x="479" y="280"/>
                    <a:pt x="478" y="285"/>
                  </a:cubicBezTo>
                  <a:cubicBezTo>
                    <a:pt x="477" y="290"/>
                    <a:pt x="488" y="288"/>
                    <a:pt x="491" y="289"/>
                  </a:cubicBezTo>
                  <a:cubicBezTo>
                    <a:pt x="492" y="289"/>
                    <a:pt x="493" y="288"/>
                    <a:pt x="494" y="289"/>
                  </a:cubicBezTo>
                  <a:cubicBezTo>
                    <a:pt x="494" y="290"/>
                    <a:pt x="494" y="291"/>
                    <a:pt x="494" y="292"/>
                  </a:cubicBezTo>
                  <a:cubicBezTo>
                    <a:pt x="496" y="293"/>
                    <a:pt x="500" y="292"/>
                    <a:pt x="502" y="292"/>
                  </a:cubicBezTo>
                  <a:cubicBezTo>
                    <a:pt x="507" y="292"/>
                    <a:pt x="512" y="292"/>
                    <a:pt x="515" y="288"/>
                  </a:cubicBezTo>
                  <a:cubicBezTo>
                    <a:pt x="516" y="287"/>
                    <a:pt x="516" y="286"/>
                    <a:pt x="517" y="285"/>
                  </a:cubicBezTo>
                  <a:cubicBezTo>
                    <a:pt x="517" y="284"/>
                    <a:pt x="517" y="281"/>
                    <a:pt x="518" y="280"/>
                  </a:cubicBezTo>
                  <a:cubicBezTo>
                    <a:pt x="518" y="278"/>
                    <a:pt x="518" y="276"/>
                    <a:pt x="518" y="274"/>
                  </a:cubicBezTo>
                  <a:cubicBezTo>
                    <a:pt x="518" y="271"/>
                    <a:pt x="520" y="268"/>
                    <a:pt x="521" y="265"/>
                  </a:cubicBezTo>
                  <a:cubicBezTo>
                    <a:pt x="521" y="262"/>
                    <a:pt x="522" y="259"/>
                    <a:pt x="523" y="257"/>
                  </a:cubicBezTo>
                  <a:cubicBezTo>
                    <a:pt x="523" y="257"/>
                    <a:pt x="525" y="255"/>
                    <a:pt x="525" y="25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3" name="Freeform 35">
              <a:extLst>
                <a:ext uri="{FF2B5EF4-FFF2-40B4-BE49-F238E27FC236}">
                  <a16:creationId xmlns:a16="http://schemas.microsoft.com/office/drawing/2014/main" id="{EE1FBD1A-B58B-451C-9E68-59982C2D8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0925" y="4779963"/>
              <a:ext cx="336550" cy="477838"/>
            </a:xfrm>
            <a:custGeom>
              <a:avLst/>
              <a:gdLst/>
              <a:ahLst/>
              <a:cxnLst>
                <a:cxn ang="0">
                  <a:pos x="169" y="144"/>
                </a:cxn>
                <a:cxn ang="0">
                  <a:pos x="163" y="133"/>
                </a:cxn>
                <a:cxn ang="0">
                  <a:pos x="158" y="123"/>
                </a:cxn>
                <a:cxn ang="0">
                  <a:pos x="159" y="115"/>
                </a:cxn>
                <a:cxn ang="0">
                  <a:pos x="160" y="101"/>
                </a:cxn>
                <a:cxn ang="0">
                  <a:pos x="150" y="101"/>
                </a:cxn>
                <a:cxn ang="0">
                  <a:pos x="144" y="96"/>
                </a:cxn>
                <a:cxn ang="0">
                  <a:pos x="136" y="85"/>
                </a:cxn>
                <a:cxn ang="0">
                  <a:pos x="139" y="74"/>
                </a:cxn>
                <a:cxn ang="0">
                  <a:pos x="141" y="63"/>
                </a:cxn>
                <a:cxn ang="0">
                  <a:pos x="141" y="56"/>
                </a:cxn>
                <a:cxn ang="0">
                  <a:pos x="141" y="48"/>
                </a:cxn>
                <a:cxn ang="0">
                  <a:pos x="130" y="48"/>
                </a:cxn>
                <a:cxn ang="0">
                  <a:pos x="121" y="45"/>
                </a:cxn>
                <a:cxn ang="0">
                  <a:pos x="115" y="35"/>
                </a:cxn>
                <a:cxn ang="0">
                  <a:pos x="107" y="31"/>
                </a:cxn>
                <a:cxn ang="0">
                  <a:pos x="97" y="37"/>
                </a:cxn>
                <a:cxn ang="0">
                  <a:pos x="95" y="29"/>
                </a:cxn>
                <a:cxn ang="0">
                  <a:pos x="92" y="24"/>
                </a:cxn>
                <a:cxn ang="0">
                  <a:pos x="80" y="23"/>
                </a:cxn>
                <a:cxn ang="0">
                  <a:pos x="75" y="18"/>
                </a:cxn>
                <a:cxn ang="0">
                  <a:pos x="60" y="7"/>
                </a:cxn>
                <a:cxn ang="0">
                  <a:pos x="48" y="4"/>
                </a:cxn>
                <a:cxn ang="0">
                  <a:pos x="36" y="6"/>
                </a:cxn>
                <a:cxn ang="0">
                  <a:pos x="25" y="11"/>
                </a:cxn>
                <a:cxn ang="0">
                  <a:pos x="12" y="13"/>
                </a:cxn>
                <a:cxn ang="0">
                  <a:pos x="4" y="7"/>
                </a:cxn>
                <a:cxn ang="0">
                  <a:pos x="2" y="18"/>
                </a:cxn>
                <a:cxn ang="0">
                  <a:pos x="11" y="33"/>
                </a:cxn>
                <a:cxn ang="0">
                  <a:pos x="34" y="65"/>
                </a:cxn>
                <a:cxn ang="0">
                  <a:pos x="38" y="84"/>
                </a:cxn>
                <a:cxn ang="0">
                  <a:pos x="51" y="98"/>
                </a:cxn>
                <a:cxn ang="0">
                  <a:pos x="67" y="125"/>
                </a:cxn>
                <a:cxn ang="0">
                  <a:pos x="84" y="157"/>
                </a:cxn>
                <a:cxn ang="0">
                  <a:pos x="77" y="227"/>
                </a:cxn>
                <a:cxn ang="0">
                  <a:pos x="88" y="252"/>
                </a:cxn>
                <a:cxn ang="0">
                  <a:pos x="98" y="253"/>
                </a:cxn>
                <a:cxn ang="0">
                  <a:pos x="99" y="244"/>
                </a:cxn>
                <a:cxn ang="0">
                  <a:pos x="101" y="234"/>
                </a:cxn>
                <a:cxn ang="0">
                  <a:pos x="108" y="228"/>
                </a:cxn>
                <a:cxn ang="0">
                  <a:pos x="126" y="211"/>
                </a:cxn>
                <a:cxn ang="0">
                  <a:pos x="128" y="195"/>
                </a:cxn>
                <a:cxn ang="0">
                  <a:pos x="126" y="182"/>
                </a:cxn>
                <a:cxn ang="0">
                  <a:pos x="127" y="172"/>
                </a:cxn>
                <a:cxn ang="0">
                  <a:pos x="143" y="169"/>
                </a:cxn>
                <a:cxn ang="0">
                  <a:pos x="142" y="180"/>
                </a:cxn>
                <a:cxn ang="0">
                  <a:pos x="146" y="171"/>
                </a:cxn>
                <a:cxn ang="0">
                  <a:pos x="155" y="176"/>
                </a:cxn>
                <a:cxn ang="0">
                  <a:pos x="163" y="185"/>
                </a:cxn>
                <a:cxn ang="0">
                  <a:pos x="171" y="172"/>
                </a:cxn>
                <a:cxn ang="0">
                  <a:pos x="178" y="165"/>
                </a:cxn>
              </a:cxnLst>
              <a:rect l="0" t="0" r="r" b="b"/>
              <a:pathLst>
                <a:path w="180" h="256">
                  <a:moveTo>
                    <a:pt x="180" y="147"/>
                  </a:moveTo>
                  <a:cubicBezTo>
                    <a:pt x="180" y="144"/>
                    <a:pt x="178" y="144"/>
                    <a:pt x="176" y="143"/>
                  </a:cubicBezTo>
                  <a:cubicBezTo>
                    <a:pt x="175" y="142"/>
                    <a:pt x="174" y="141"/>
                    <a:pt x="173" y="142"/>
                  </a:cubicBezTo>
                  <a:cubicBezTo>
                    <a:pt x="171" y="143"/>
                    <a:pt x="170" y="143"/>
                    <a:pt x="169" y="144"/>
                  </a:cubicBezTo>
                  <a:cubicBezTo>
                    <a:pt x="168" y="144"/>
                    <a:pt x="168" y="144"/>
                    <a:pt x="167" y="143"/>
                  </a:cubicBezTo>
                  <a:cubicBezTo>
                    <a:pt x="167" y="141"/>
                    <a:pt x="165" y="138"/>
                    <a:pt x="165" y="136"/>
                  </a:cubicBezTo>
                  <a:cubicBezTo>
                    <a:pt x="165" y="135"/>
                    <a:pt x="165" y="135"/>
                    <a:pt x="164" y="134"/>
                  </a:cubicBezTo>
                  <a:cubicBezTo>
                    <a:pt x="164" y="134"/>
                    <a:pt x="163" y="133"/>
                    <a:pt x="163" y="133"/>
                  </a:cubicBezTo>
                  <a:cubicBezTo>
                    <a:pt x="163" y="132"/>
                    <a:pt x="163" y="130"/>
                    <a:pt x="164" y="128"/>
                  </a:cubicBezTo>
                  <a:cubicBezTo>
                    <a:pt x="164" y="128"/>
                    <a:pt x="164" y="127"/>
                    <a:pt x="164" y="126"/>
                  </a:cubicBezTo>
                  <a:cubicBezTo>
                    <a:pt x="164" y="126"/>
                    <a:pt x="164" y="124"/>
                    <a:pt x="163" y="123"/>
                  </a:cubicBezTo>
                  <a:cubicBezTo>
                    <a:pt x="162" y="123"/>
                    <a:pt x="159" y="123"/>
                    <a:pt x="158" y="123"/>
                  </a:cubicBezTo>
                  <a:cubicBezTo>
                    <a:pt x="156" y="123"/>
                    <a:pt x="152" y="122"/>
                    <a:pt x="154" y="120"/>
                  </a:cubicBezTo>
                  <a:cubicBezTo>
                    <a:pt x="155" y="118"/>
                    <a:pt x="156" y="119"/>
                    <a:pt x="158" y="120"/>
                  </a:cubicBezTo>
                  <a:cubicBezTo>
                    <a:pt x="157" y="119"/>
                    <a:pt x="157" y="118"/>
                    <a:pt x="157" y="117"/>
                  </a:cubicBezTo>
                  <a:cubicBezTo>
                    <a:pt x="158" y="115"/>
                    <a:pt x="158" y="116"/>
                    <a:pt x="159" y="115"/>
                  </a:cubicBezTo>
                  <a:cubicBezTo>
                    <a:pt x="159" y="114"/>
                    <a:pt x="159" y="114"/>
                    <a:pt x="159" y="113"/>
                  </a:cubicBezTo>
                  <a:cubicBezTo>
                    <a:pt x="159" y="113"/>
                    <a:pt x="159" y="112"/>
                    <a:pt x="159" y="112"/>
                  </a:cubicBezTo>
                  <a:cubicBezTo>
                    <a:pt x="158" y="109"/>
                    <a:pt x="160" y="109"/>
                    <a:pt x="161" y="107"/>
                  </a:cubicBezTo>
                  <a:cubicBezTo>
                    <a:pt x="162" y="105"/>
                    <a:pt x="160" y="103"/>
                    <a:pt x="160" y="101"/>
                  </a:cubicBezTo>
                  <a:cubicBezTo>
                    <a:pt x="160" y="99"/>
                    <a:pt x="160" y="98"/>
                    <a:pt x="160" y="97"/>
                  </a:cubicBezTo>
                  <a:cubicBezTo>
                    <a:pt x="159" y="97"/>
                    <a:pt x="158" y="97"/>
                    <a:pt x="157" y="98"/>
                  </a:cubicBezTo>
                  <a:cubicBezTo>
                    <a:pt x="157" y="98"/>
                    <a:pt x="156" y="98"/>
                    <a:pt x="156" y="98"/>
                  </a:cubicBezTo>
                  <a:cubicBezTo>
                    <a:pt x="154" y="100"/>
                    <a:pt x="153" y="103"/>
                    <a:pt x="150" y="101"/>
                  </a:cubicBezTo>
                  <a:cubicBezTo>
                    <a:pt x="149" y="101"/>
                    <a:pt x="148" y="100"/>
                    <a:pt x="147" y="100"/>
                  </a:cubicBezTo>
                  <a:cubicBezTo>
                    <a:pt x="146" y="99"/>
                    <a:pt x="146" y="97"/>
                    <a:pt x="146" y="96"/>
                  </a:cubicBezTo>
                  <a:cubicBezTo>
                    <a:pt x="146" y="96"/>
                    <a:pt x="145" y="95"/>
                    <a:pt x="145" y="94"/>
                  </a:cubicBezTo>
                  <a:cubicBezTo>
                    <a:pt x="145" y="95"/>
                    <a:pt x="144" y="96"/>
                    <a:pt x="144" y="96"/>
                  </a:cubicBezTo>
                  <a:cubicBezTo>
                    <a:pt x="143" y="96"/>
                    <a:pt x="141" y="95"/>
                    <a:pt x="141" y="94"/>
                  </a:cubicBezTo>
                  <a:cubicBezTo>
                    <a:pt x="141" y="93"/>
                    <a:pt x="141" y="92"/>
                    <a:pt x="140" y="91"/>
                  </a:cubicBezTo>
                  <a:cubicBezTo>
                    <a:pt x="139" y="90"/>
                    <a:pt x="139" y="89"/>
                    <a:pt x="138" y="89"/>
                  </a:cubicBezTo>
                  <a:cubicBezTo>
                    <a:pt x="137" y="88"/>
                    <a:pt x="137" y="86"/>
                    <a:pt x="136" y="85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3"/>
                    <a:pt x="135" y="82"/>
                    <a:pt x="135" y="81"/>
                  </a:cubicBezTo>
                  <a:cubicBezTo>
                    <a:pt x="134" y="80"/>
                    <a:pt x="134" y="79"/>
                    <a:pt x="135" y="78"/>
                  </a:cubicBezTo>
                  <a:cubicBezTo>
                    <a:pt x="136" y="76"/>
                    <a:pt x="139" y="76"/>
                    <a:pt x="139" y="74"/>
                  </a:cubicBezTo>
                  <a:cubicBezTo>
                    <a:pt x="139" y="74"/>
                    <a:pt x="139" y="73"/>
                    <a:pt x="139" y="72"/>
                  </a:cubicBezTo>
                  <a:cubicBezTo>
                    <a:pt x="139" y="71"/>
                    <a:pt x="139" y="70"/>
                    <a:pt x="139" y="70"/>
                  </a:cubicBezTo>
                  <a:cubicBezTo>
                    <a:pt x="140" y="68"/>
                    <a:pt x="140" y="67"/>
                    <a:pt x="140" y="66"/>
                  </a:cubicBezTo>
                  <a:cubicBezTo>
                    <a:pt x="140" y="65"/>
                    <a:pt x="141" y="64"/>
                    <a:pt x="141" y="63"/>
                  </a:cubicBezTo>
                  <a:cubicBezTo>
                    <a:pt x="142" y="63"/>
                    <a:pt x="143" y="63"/>
                    <a:pt x="142" y="62"/>
                  </a:cubicBezTo>
                  <a:cubicBezTo>
                    <a:pt x="141" y="61"/>
                    <a:pt x="140" y="61"/>
                    <a:pt x="140" y="60"/>
                  </a:cubicBezTo>
                  <a:cubicBezTo>
                    <a:pt x="140" y="60"/>
                    <a:pt x="140" y="59"/>
                    <a:pt x="140" y="59"/>
                  </a:cubicBezTo>
                  <a:cubicBezTo>
                    <a:pt x="141" y="58"/>
                    <a:pt x="141" y="58"/>
                    <a:pt x="141" y="56"/>
                  </a:cubicBezTo>
                  <a:cubicBezTo>
                    <a:pt x="141" y="56"/>
                    <a:pt x="141" y="55"/>
                    <a:pt x="141" y="55"/>
                  </a:cubicBezTo>
                  <a:cubicBezTo>
                    <a:pt x="141" y="54"/>
                    <a:pt x="141" y="54"/>
                    <a:pt x="142" y="53"/>
                  </a:cubicBezTo>
                  <a:cubicBezTo>
                    <a:pt x="142" y="53"/>
                    <a:pt x="142" y="53"/>
                    <a:pt x="142" y="52"/>
                  </a:cubicBezTo>
                  <a:cubicBezTo>
                    <a:pt x="143" y="51"/>
                    <a:pt x="143" y="49"/>
                    <a:pt x="141" y="48"/>
                  </a:cubicBezTo>
                  <a:cubicBezTo>
                    <a:pt x="141" y="48"/>
                    <a:pt x="140" y="48"/>
                    <a:pt x="139" y="48"/>
                  </a:cubicBezTo>
                  <a:cubicBezTo>
                    <a:pt x="138" y="47"/>
                    <a:pt x="137" y="47"/>
                    <a:pt x="136" y="46"/>
                  </a:cubicBezTo>
                  <a:cubicBezTo>
                    <a:pt x="135" y="46"/>
                    <a:pt x="133" y="45"/>
                    <a:pt x="132" y="46"/>
                  </a:cubicBezTo>
                  <a:cubicBezTo>
                    <a:pt x="131" y="47"/>
                    <a:pt x="131" y="48"/>
                    <a:pt x="130" y="48"/>
                  </a:cubicBezTo>
                  <a:cubicBezTo>
                    <a:pt x="130" y="48"/>
                    <a:pt x="129" y="48"/>
                    <a:pt x="129" y="48"/>
                  </a:cubicBezTo>
                  <a:cubicBezTo>
                    <a:pt x="128" y="48"/>
                    <a:pt x="126" y="48"/>
                    <a:pt x="125" y="48"/>
                  </a:cubicBezTo>
                  <a:cubicBezTo>
                    <a:pt x="124" y="47"/>
                    <a:pt x="125" y="47"/>
                    <a:pt x="124" y="46"/>
                  </a:cubicBezTo>
                  <a:cubicBezTo>
                    <a:pt x="123" y="45"/>
                    <a:pt x="123" y="45"/>
                    <a:pt x="121" y="45"/>
                  </a:cubicBezTo>
                  <a:cubicBezTo>
                    <a:pt x="120" y="45"/>
                    <a:pt x="120" y="43"/>
                    <a:pt x="119" y="42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7"/>
                    <a:pt x="118" y="35"/>
                    <a:pt x="117" y="35"/>
                  </a:cubicBezTo>
                  <a:cubicBezTo>
                    <a:pt x="116" y="34"/>
                    <a:pt x="116" y="35"/>
                    <a:pt x="115" y="35"/>
                  </a:cubicBezTo>
                  <a:cubicBezTo>
                    <a:pt x="114" y="34"/>
                    <a:pt x="114" y="33"/>
                    <a:pt x="113" y="33"/>
                  </a:cubicBezTo>
                  <a:cubicBezTo>
                    <a:pt x="112" y="32"/>
                    <a:pt x="113" y="32"/>
                    <a:pt x="111" y="32"/>
                  </a:cubicBezTo>
                  <a:cubicBezTo>
                    <a:pt x="111" y="32"/>
                    <a:pt x="110" y="32"/>
                    <a:pt x="109" y="32"/>
                  </a:cubicBezTo>
                  <a:cubicBezTo>
                    <a:pt x="109" y="32"/>
                    <a:pt x="108" y="31"/>
                    <a:pt x="107" y="31"/>
                  </a:cubicBezTo>
                  <a:cubicBezTo>
                    <a:pt x="106" y="30"/>
                    <a:pt x="105" y="30"/>
                    <a:pt x="104" y="30"/>
                  </a:cubicBezTo>
                  <a:cubicBezTo>
                    <a:pt x="103" y="30"/>
                    <a:pt x="100" y="29"/>
                    <a:pt x="99" y="30"/>
                  </a:cubicBezTo>
                  <a:cubicBezTo>
                    <a:pt x="99" y="31"/>
                    <a:pt x="99" y="33"/>
                    <a:pt x="99" y="34"/>
                  </a:cubicBezTo>
                  <a:cubicBezTo>
                    <a:pt x="99" y="35"/>
                    <a:pt x="98" y="37"/>
                    <a:pt x="97" y="37"/>
                  </a:cubicBezTo>
                  <a:cubicBezTo>
                    <a:pt x="97" y="37"/>
                    <a:pt x="97" y="36"/>
                    <a:pt x="97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3"/>
                    <a:pt x="95" y="32"/>
                  </a:cubicBezTo>
                  <a:cubicBezTo>
                    <a:pt x="95" y="32"/>
                    <a:pt x="95" y="30"/>
                    <a:pt x="95" y="29"/>
                  </a:cubicBezTo>
                  <a:cubicBezTo>
                    <a:pt x="94" y="29"/>
                    <a:pt x="93" y="31"/>
                    <a:pt x="92" y="31"/>
                  </a:cubicBezTo>
                  <a:cubicBezTo>
                    <a:pt x="91" y="31"/>
                    <a:pt x="90" y="32"/>
                    <a:pt x="89" y="31"/>
                  </a:cubicBezTo>
                  <a:cubicBezTo>
                    <a:pt x="89" y="30"/>
                    <a:pt x="90" y="30"/>
                    <a:pt x="91" y="29"/>
                  </a:cubicBezTo>
                  <a:cubicBezTo>
                    <a:pt x="92" y="28"/>
                    <a:pt x="93" y="26"/>
                    <a:pt x="92" y="24"/>
                  </a:cubicBezTo>
                  <a:cubicBezTo>
                    <a:pt x="91" y="22"/>
                    <a:pt x="90" y="23"/>
                    <a:pt x="88" y="23"/>
                  </a:cubicBezTo>
                  <a:cubicBezTo>
                    <a:pt x="87" y="24"/>
                    <a:pt x="86" y="23"/>
                    <a:pt x="84" y="23"/>
                  </a:cubicBezTo>
                  <a:cubicBezTo>
                    <a:pt x="84" y="24"/>
                    <a:pt x="83" y="24"/>
                    <a:pt x="83" y="25"/>
                  </a:cubicBezTo>
                  <a:cubicBezTo>
                    <a:pt x="82" y="25"/>
                    <a:pt x="80" y="24"/>
                    <a:pt x="80" y="23"/>
                  </a:cubicBezTo>
                  <a:cubicBezTo>
                    <a:pt x="79" y="22"/>
                    <a:pt x="80" y="22"/>
                    <a:pt x="79" y="21"/>
                  </a:cubicBezTo>
                  <a:cubicBezTo>
                    <a:pt x="77" y="21"/>
                    <a:pt x="77" y="22"/>
                    <a:pt x="77" y="20"/>
                  </a:cubicBezTo>
                  <a:cubicBezTo>
                    <a:pt x="77" y="20"/>
                    <a:pt x="77" y="19"/>
                    <a:pt x="77" y="19"/>
                  </a:cubicBezTo>
                  <a:cubicBezTo>
                    <a:pt x="77" y="18"/>
                    <a:pt x="76" y="18"/>
                    <a:pt x="75" y="18"/>
                  </a:cubicBezTo>
                  <a:cubicBezTo>
                    <a:pt x="73" y="17"/>
                    <a:pt x="71" y="14"/>
                    <a:pt x="69" y="13"/>
                  </a:cubicBezTo>
                  <a:cubicBezTo>
                    <a:pt x="68" y="12"/>
                    <a:pt x="66" y="12"/>
                    <a:pt x="64" y="11"/>
                  </a:cubicBezTo>
                  <a:cubicBezTo>
                    <a:pt x="63" y="10"/>
                    <a:pt x="62" y="9"/>
                    <a:pt x="61" y="8"/>
                  </a:cubicBezTo>
                  <a:cubicBezTo>
                    <a:pt x="61" y="8"/>
                    <a:pt x="60" y="8"/>
                    <a:pt x="60" y="7"/>
                  </a:cubicBezTo>
                  <a:cubicBezTo>
                    <a:pt x="58" y="6"/>
                    <a:pt x="59" y="6"/>
                    <a:pt x="57" y="6"/>
                  </a:cubicBezTo>
                  <a:cubicBezTo>
                    <a:pt x="56" y="6"/>
                    <a:pt x="54" y="6"/>
                    <a:pt x="54" y="5"/>
                  </a:cubicBezTo>
                  <a:cubicBezTo>
                    <a:pt x="53" y="5"/>
                    <a:pt x="51" y="0"/>
                    <a:pt x="49" y="2"/>
                  </a:cubicBezTo>
                  <a:cubicBezTo>
                    <a:pt x="48" y="2"/>
                    <a:pt x="48" y="4"/>
                    <a:pt x="48" y="4"/>
                  </a:cubicBezTo>
                  <a:cubicBezTo>
                    <a:pt x="48" y="7"/>
                    <a:pt x="45" y="9"/>
                    <a:pt x="42" y="10"/>
                  </a:cubicBezTo>
                  <a:cubicBezTo>
                    <a:pt x="41" y="10"/>
                    <a:pt x="40" y="10"/>
                    <a:pt x="39" y="9"/>
                  </a:cubicBezTo>
                  <a:cubicBezTo>
                    <a:pt x="38" y="8"/>
                    <a:pt x="38" y="7"/>
                    <a:pt x="37" y="7"/>
                  </a:cubicBezTo>
                  <a:cubicBezTo>
                    <a:pt x="37" y="6"/>
                    <a:pt x="36" y="5"/>
                    <a:pt x="36" y="6"/>
                  </a:cubicBezTo>
                  <a:cubicBezTo>
                    <a:pt x="35" y="6"/>
                    <a:pt x="35" y="7"/>
                    <a:pt x="35" y="8"/>
                  </a:cubicBezTo>
                  <a:cubicBezTo>
                    <a:pt x="34" y="9"/>
                    <a:pt x="33" y="9"/>
                    <a:pt x="32" y="10"/>
                  </a:cubicBezTo>
                  <a:cubicBezTo>
                    <a:pt x="31" y="11"/>
                    <a:pt x="28" y="12"/>
                    <a:pt x="26" y="12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9"/>
                    <a:pt x="23" y="8"/>
                    <a:pt x="21" y="8"/>
                  </a:cubicBezTo>
                  <a:cubicBezTo>
                    <a:pt x="19" y="7"/>
                    <a:pt x="19" y="7"/>
                    <a:pt x="19" y="9"/>
                  </a:cubicBezTo>
                  <a:cubicBezTo>
                    <a:pt x="18" y="11"/>
                    <a:pt x="18" y="12"/>
                    <a:pt x="15" y="13"/>
                  </a:cubicBezTo>
                  <a:cubicBezTo>
                    <a:pt x="14" y="14"/>
                    <a:pt x="13" y="14"/>
                    <a:pt x="12" y="13"/>
                  </a:cubicBezTo>
                  <a:cubicBezTo>
                    <a:pt x="12" y="12"/>
                    <a:pt x="12" y="11"/>
                    <a:pt x="11" y="11"/>
                  </a:cubicBezTo>
                  <a:cubicBezTo>
                    <a:pt x="10" y="10"/>
                    <a:pt x="9" y="11"/>
                    <a:pt x="8" y="10"/>
                  </a:cubicBezTo>
                  <a:cubicBezTo>
                    <a:pt x="6" y="10"/>
                    <a:pt x="7" y="7"/>
                    <a:pt x="6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2" y="8"/>
                    <a:pt x="1" y="8"/>
                    <a:pt x="1" y="10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1" y="21"/>
                    <a:pt x="2" y="21"/>
                    <a:pt x="3" y="21"/>
                  </a:cubicBezTo>
                  <a:cubicBezTo>
                    <a:pt x="7" y="23"/>
                    <a:pt x="8" y="29"/>
                    <a:pt x="11" y="33"/>
                  </a:cubicBezTo>
                  <a:cubicBezTo>
                    <a:pt x="13" y="36"/>
                    <a:pt x="15" y="38"/>
                    <a:pt x="18" y="41"/>
                  </a:cubicBezTo>
                  <a:cubicBezTo>
                    <a:pt x="20" y="45"/>
                    <a:pt x="24" y="46"/>
                    <a:pt x="25" y="51"/>
                  </a:cubicBezTo>
                  <a:cubicBezTo>
                    <a:pt x="26" y="53"/>
                    <a:pt x="26" y="55"/>
                    <a:pt x="27" y="56"/>
                  </a:cubicBezTo>
                  <a:cubicBezTo>
                    <a:pt x="29" y="59"/>
                    <a:pt x="32" y="61"/>
                    <a:pt x="34" y="65"/>
                  </a:cubicBezTo>
                  <a:cubicBezTo>
                    <a:pt x="36" y="68"/>
                    <a:pt x="36" y="72"/>
                    <a:pt x="36" y="76"/>
                  </a:cubicBezTo>
                  <a:cubicBezTo>
                    <a:pt x="36" y="77"/>
                    <a:pt x="35" y="78"/>
                    <a:pt x="36" y="79"/>
                  </a:cubicBezTo>
                  <a:cubicBezTo>
                    <a:pt x="36" y="81"/>
                    <a:pt x="37" y="81"/>
                    <a:pt x="37" y="82"/>
                  </a:cubicBezTo>
                  <a:cubicBezTo>
                    <a:pt x="38" y="83"/>
                    <a:pt x="37" y="84"/>
                    <a:pt x="38" y="84"/>
                  </a:cubicBezTo>
                  <a:cubicBezTo>
                    <a:pt x="39" y="85"/>
                    <a:pt x="40" y="85"/>
                    <a:pt x="40" y="86"/>
                  </a:cubicBezTo>
                  <a:cubicBezTo>
                    <a:pt x="41" y="86"/>
                    <a:pt x="40" y="87"/>
                    <a:pt x="40" y="87"/>
                  </a:cubicBezTo>
                  <a:cubicBezTo>
                    <a:pt x="42" y="89"/>
                    <a:pt x="45" y="89"/>
                    <a:pt x="47" y="91"/>
                  </a:cubicBezTo>
                  <a:cubicBezTo>
                    <a:pt x="49" y="92"/>
                    <a:pt x="49" y="96"/>
                    <a:pt x="51" y="98"/>
                  </a:cubicBezTo>
                  <a:cubicBezTo>
                    <a:pt x="52" y="100"/>
                    <a:pt x="53" y="102"/>
                    <a:pt x="54" y="103"/>
                  </a:cubicBezTo>
                  <a:cubicBezTo>
                    <a:pt x="55" y="104"/>
                    <a:pt x="57" y="105"/>
                    <a:pt x="58" y="106"/>
                  </a:cubicBezTo>
                  <a:cubicBezTo>
                    <a:pt x="60" y="109"/>
                    <a:pt x="60" y="110"/>
                    <a:pt x="62" y="111"/>
                  </a:cubicBezTo>
                  <a:cubicBezTo>
                    <a:pt x="65" y="115"/>
                    <a:pt x="66" y="120"/>
                    <a:pt x="67" y="125"/>
                  </a:cubicBezTo>
                  <a:cubicBezTo>
                    <a:pt x="67" y="128"/>
                    <a:pt x="66" y="131"/>
                    <a:pt x="68" y="134"/>
                  </a:cubicBezTo>
                  <a:cubicBezTo>
                    <a:pt x="70" y="138"/>
                    <a:pt x="73" y="140"/>
                    <a:pt x="77" y="140"/>
                  </a:cubicBezTo>
                  <a:cubicBezTo>
                    <a:pt x="80" y="140"/>
                    <a:pt x="78" y="144"/>
                    <a:pt x="80" y="147"/>
                  </a:cubicBezTo>
                  <a:cubicBezTo>
                    <a:pt x="80" y="149"/>
                    <a:pt x="84" y="155"/>
                    <a:pt x="84" y="157"/>
                  </a:cubicBezTo>
                  <a:cubicBezTo>
                    <a:pt x="84" y="160"/>
                    <a:pt x="82" y="165"/>
                    <a:pt x="83" y="167"/>
                  </a:cubicBezTo>
                  <a:cubicBezTo>
                    <a:pt x="85" y="170"/>
                    <a:pt x="84" y="178"/>
                    <a:pt x="83" y="180"/>
                  </a:cubicBezTo>
                  <a:cubicBezTo>
                    <a:pt x="79" y="190"/>
                    <a:pt x="77" y="194"/>
                    <a:pt x="76" y="204"/>
                  </a:cubicBezTo>
                  <a:cubicBezTo>
                    <a:pt x="76" y="210"/>
                    <a:pt x="75" y="223"/>
                    <a:pt x="77" y="227"/>
                  </a:cubicBezTo>
                  <a:cubicBezTo>
                    <a:pt x="79" y="230"/>
                    <a:pt x="79" y="238"/>
                    <a:pt x="78" y="242"/>
                  </a:cubicBezTo>
                  <a:cubicBezTo>
                    <a:pt x="75" y="249"/>
                    <a:pt x="78" y="252"/>
                    <a:pt x="82" y="256"/>
                  </a:cubicBezTo>
                  <a:cubicBezTo>
                    <a:pt x="83" y="256"/>
                    <a:pt x="84" y="255"/>
                    <a:pt x="85" y="254"/>
                  </a:cubicBezTo>
                  <a:cubicBezTo>
                    <a:pt x="86" y="253"/>
                    <a:pt x="87" y="252"/>
                    <a:pt x="88" y="252"/>
                  </a:cubicBezTo>
                  <a:cubicBezTo>
                    <a:pt x="91" y="249"/>
                    <a:pt x="91" y="256"/>
                    <a:pt x="94" y="256"/>
                  </a:cubicBezTo>
                  <a:cubicBezTo>
                    <a:pt x="95" y="256"/>
                    <a:pt x="95" y="256"/>
                    <a:pt x="96" y="255"/>
                  </a:cubicBezTo>
                  <a:cubicBezTo>
                    <a:pt x="96" y="255"/>
                    <a:pt x="96" y="254"/>
                    <a:pt x="97" y="254"/>
                  </a:cubicBezTo>
                  <a:cubicBezTo>
                    <a:pt x="97" y="253"/>
                    <a:pt x="98" y="253"/>
                    <a:pt x="98" y="253"/>
                  </a:cubicBezTo>
                  <a:cubicBezTo>
                    <a:pt x="98" y="252"/>
                    <a:pt x="98" y="251"/>
                    <a:pt x="98" y="250"/>
                  </a:cubicBezTo>
                  <a:cubicBezTo>
                    <a:pt x="98" y="250"/>
                    <a:pt x="98" y="249"/>
                    <a:pt x="99" y="248"/>
                  </a:cubicBezTo>
                  <a:cubicBezTo>
                    <a:pt x="99" y="247"/>
                    <a:pt x="99" y="246"/>
                    <a:pt x="99" y="245"/>
                  </a:cubicBezTo>
                  <a:cubicBezTo>
                    <a:pt x="99" y="245"/>
                    <a:pt x="99" y="244"/>
                    <a:pt x="99" y="244"/>
                  </a:cubicBezTo>
                  <a:cubicBezTo>
                    <a:pt x="99" y="244"/>
                    <a:pt x="100" y="243"/>
                    <a:pt x="100" y="243"/>
                  </a:cubicBezTo>
                  <a:cubicBezTo>
                    <a:pt x="101" y="241"/>
                    <a:pt x="99" y="240"/>
                    <a:pt x="99" y="238"/>
                  </a:cubicBezTo>
                  <a:cubicBezTo>
                    <a:pt x="99" y="237"/>
                    <a:pt x="99" y="236"/>
                    <a:pt x="99" y="235"/>
                  </a:cubicBezTo>
                  <a:cubicBezTo>
                    <a:pt x="99" y="234"/>
                    <a:pt x="100" y="234"/>
                    <a:pt x="101" y="234"/>
                  </a:cubicBezTo>
                  <a:cubicBezTo>
                    <a:pt x="102" y="233"/>
                    <a:pt x="102" y="233"/>
                    <a:pt x="102" y="232"/>
                  </a:cubicBezTo>
                  <a:cubicBezTo>
                    <a:pt x="102" y="231"/>
                    <a:pt x="103" y="230"/>
                    <a:pt x="104" y="230"/>
                  </a:cubicBezTo>
                  <a:cubicBezTo>
                    <a:pt x="104" y="229"/>
                    <a:pt x="105" y="229"/>
                    <a:pt x="106" y="228"/>
                  </a:cubicBezTo>
                  <a:cubicBezTo>
                    <a:pt x="107" y="228"/>
                    <a:pt x="107" y="228"/>
                    <a:pt x="108" y="228"/>
                  </a:cubicBezTo>
                  <a:cubicBezTo>
                    <a:pt x="109" y="228"/>
                    <a:pt x="110" y="227"/>
                    <a:pt x="111" y="227"/>
                  </a:cubicBezTo>
                  <a:cubicBezTo>
                    <a:pt x="113" y="225"/>
                    <a:pt x="112" y="223"/>
                    <a:pt x="111" y="221"/>
                  </a:cubicBezTo>
                  <a:cubicBezTo>
                    <a:pt x="110" y="219"/>
                    <a:pt x="113" y="217"/>
                    <a:pt x="115" y="216"/>
                  </a:cubicBezTo>
                  <a:cubicBezTo>
                    <a:pt x="118" y="214"/>
                    <a:pt x="122" y="213"/>
                    <a:pt x="126" y="211"/>
                  </a:cubicBezTo>
                  <a:cubicBezTo>
                    <a:pt x="127" y="210"/>
                    <a:pt x="128" y="210"/>
                    <a:pt x="128" y="209"/>
                  </a:cubicBezTo>
                  <a:cubicBezTo>
                    <a:pt x="128" y="208"/>
                    <a:pt x="127" y="207"/>
                    <a:pt x="126" y="206"/>
                  </a:cubicBezTo>
                  <a:cubicBezTo>
                    <a:pt x="125" y="204"/>
                    <a:pt x="127" y="202"/>
                    <a:pt x="128" y="200"/>
                  </a:cubicBezTo>
                  <a:cubicBezTo>
                    <a:pt x="129" y="198"/>
                    <a:pt x="129" y="197"/>
                    <a:pt x="128" y="195"/>
                  </a:cubicBezTo>
                  <a:cubicBezTo>
                    <a:pt x="128" y="194"/>
                    <a:pt x="128" y="194"/>
                    <a:pt x="127" y="193"/>
                  </a:cubicBezTo>
                  <a:cubicBezTo>
                    <a:pt x="126" y="193"/>
                    <a:pt x="124" y="194"/>
                    <a:pt x="124" y="193"/>
                  </a:cubicBezTo>
                  <a:cubicBezTo>
                    <a:pt x="123" y="192"/>
                    <a:pt x="125" y="189"/>
                    <a:pt x="125" y="188"/>
                  </a:cubicBezTo>
                  <a:cubicBezTo>
                    <a:pt x="126" y="186"/>
                    <a:pt x="126" y="184"/>
                    <a:pt x="126" y="182"/>
                  </a:cubicBezTo>
                  <a:cubicBezTo>
                    <a:pt x="126" y="181"/>
                    <a:pt x="127" y="180"/>
                    <a:pt x="127" y="179"/>
                  </a:cubicBezTo>
                  <a:cubicBezTo>
                    <a:pt x="126" y="177"/>
                    <a:pt x="125" y="178"/>
                    <a:pt x="124" y="177"/>
                  </a:cubicBezTo>
                  <a:cubicBezTo>
                    <a:pt x="124" y="176"/>
                    <a:pt x="125" y="174"/>
                    <a:pt x="125" y="174"/>
                  </a:cubicBezTo>
                  <a:cubicBezTo>
                    <a:pt x="126" y="172"/>
                    <a:pt x="126" y="172"/>
                    <a:pt x="127" y="172"/>
                  </a:cubicBezTo>
                  <a:cubicBezTo>
                    <a:pt x="129" y="171"/>
                    <a:pt x="130" y="170"/>
                    <a:pt x="131" y="170"/>
                  </a:cubicBezTo>
                  <a:cubicBezTo>
                    <a:pt x="132" y="170"/>
                    <a:pt x="133" y="170"/>
                    <a:pt x="134" y="169"/>
                  </a:cubicBezTo>
                  <a:cubicBezTo>
                    <a:pt x="135" y="169"/>
                    <a:pt x="134" y="169"/>
                    <a:pt x="135" y="168"/>
                  </a:cubicBezTo>
                  <a:cubicBezTo>
                    <a:pt x="137" y="166"/>
                    <a:pt x="143" y="164"/>
                    <a:pt x="143" y="169"/>
                  </a:cubicBezTo>
                  <a:cubicBezTo>
                    <a:pt x="143" y="171"/>
                    <a:pt x="142" y="172"/>
                    <a:pt x="141" y="174"/>
                  </a:cubicBezTo>
                  <a:cubicBezTo>
                    <a:pt x="139" y="176"/>
                    <a:pt x="139" y="177"/>
                    <a:pt x="139" y="179"/>
                  </a:cubicBezTo>
                  <a:cubicBezTo>
                    <a:pt x="140" y="180"/>
                    <a:pt x="140" y="183"/>
                    <a:pt x="141" y="182"/>
                  </a:cubicBezTo>
                  <a:cubicBezTo>
                    <a:pt x="142" y="181"/>
                    <a:pt x="142" y="180"/>
                    <a:pt x="142" y="180"/>
                  </a:cubicBezTo>
                  <a:cubicBezTo>
                    <a:pt x="142" y="179"/>
                    <a:pt x="143" y="179"/>
                    <a:pt x="143" y="178"/>
                  </a:cubicBezTo>
                  <a:cubicBezTo>
                    <a:pt x="144" y="177"/>
                    <a:pt x="144" y="176"/>
                    <a:pt x="144" y="175"/>
                  </a:cubicBezTo>
                  <a:cubicBezTo>
                    <a:pt x="144" y="172"/>
                    <a:pt x="145" y="169"/>
                    <a:pt x="146" y="168"/>
                  </a:cubicBezTo>
                  <a:cubicBezTo>
                    <a:pt x="147" y="169"/>
                    <a:pt x="146" y="170"/>
                    <a:pt x="146" y="171"/>
                  </a:cubicBezTo>
                  <a:cubicBezTo>
                    <a:pt x="146" y="172"/>
                    <a:pt x="147" y="176"/>
                    <a:pt x="148" y="177"/>
                  </a:cubicBezTo>
                  <a:cubicBezTo>
                    <a:pt x="149" y="176"/>
                    <a:pt x="151" y="171"/>
                    <a:pt x="154" y="172"/>
                  </a:cubicBezTo>
                  <a:cubicBezTo>
                    <a:pt x="155" y="172"/>
                    <a:pt x="155" y="173"/>
                    <a:pt x="155" y="174"/>
                  </a:cubicBezTo>
                  <a:cubicBezTo>
                    <a:pt x="155" y="175"/>
                    <a:pt x="155" y="175"/>
                    <a:pt x="155" y="176"/>
                  </a:cubicBezTo>
                  <a:cubicBezTo>
                    <a:pt x="156" y="176"/>
                    <a:pt x="157" y="177"/>
                    <a:pt x="158" y="177"/>
                  </a:cubicBezTo>
                  <a:cubicBezTo>
                    <a:pt x="158" y="178"/>
                    <a:pt x="159" y="179"/>
                    <a:pt x="159" y="180"/>
                  </a:cubicBezTo>
                  <a:cubicBezTo>
                    <a:pt x="159" y="180"/>
                    <a:pt x="160" y="181"/>
                    <a:pt x="160" y="182"/>
                  </a:cubicBezTo>
                  <a:cubicBezTo>
                    <a:pt x="161" y="183"/>
                    <a:pt x="162" y="184"/>
                    <a:pt x="163" y="185"/>
                  </a:cubicBezTo>
                  <a:cubicBezTo>
                    <a:pt x="163" y="185"/>
                    <a:pt x="165" y="185"/>
                    <a:pt x="166" y="185"/>
                  </a:cubicBezTo>
                  <a:cubicBezTo>
                    <a:pt x="166" y="182"/>
                    <a:pt x="166" y="180"/>
                    <a:pt x="168" y="178"/>
                  </a:cubicBezTo>
                  <a:cubicBezTo>
                    <a:pt x="169" y="177"/>
                    <a:pt x="170" y="176"/>
                    <a:pt x="170" y="175"/>
                  </a:cubicBezTo>
                  <a:cubicBezTo>
                    <a:pt x="171" y="174"/>
                    <a:pt x="170" y="173"/>
                    <a:pt x="171" y="172"/>
                  </a:cubicBezTo>
                  <a:cubicBezTo>
                    <a:pt x="172" y="171"/>
                    <a:pt x="172" y="171"/>
                    <a:pt x="173" y="170"/>
                  </a:cubicBezTo>
                  <a:cubicBezTo>
                    <a:pt x="173" y="170"/>
                    <a:pt x="173" y="169"/>
                    <a:pt x="173" y="168"/>
                  </a:cubicBezTo>
                  <a:cubicBezTo>
                    <a:pt x="175" y="167"/>
                    <a:pt x="176" y="169"/>
                    <a:pt x="178" y="168"/>
                  </a:cubicBezTo>
                  <a:cubicBezTo>
                    <a:pt x="179" y="167"/>
                    <a:pt x="178" y="166"/>
                    <a:pt x="178" y="165"/>
                  </a:cubicBezTo>
                  <a:cubicBezTo>
                    <a:pt x="178" y="163"/>
                    <a:pt x="179" y="161"/>
                    <a:pt x="179" y="160"/>
                  </a:cubicBezTo>
                  <a:cubicBezTo>
                    <a:pt x="180" y="156"/>
                    <a:pt x="180" y="151"/>
                    <a:pt x="180" y="14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4" name="Freeform 36">
              <a:extLst>
                <a:ext uri="{FF2B5EF4-FFF2-40B4-BE49-F238E27FC236}">
                  <a16:creationId xmlns:a16="http://schemas.microsoft.com/office/drawing/2014/main" id="{26E61C9A-C1F2-47D5-9471-7CA576388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0" y="3663950"/>
              <a:ext cx="346075" cy="179388"/>
            </a:xfrm>
            <a:custGeom>
              <a:avLst/>
              <a:gdLst/>
              <a:ahLst/>
              <a:cxnLst>
                <a:cxn ang="0">
                  <a:pos x="184" y="94"/>
                </a:cxn>
                <a:cxn ang="0">
                  <a:pos x="182" y="91"/>
                </a:cxn>
                <a:cxn ang="0">
                  <a:pos x="175" y="87"/>
                </a:cxn>
                <a:cxn ang="0">
                  <a:pos x="163" y="83"/>
                </a:cxn>
                <a:cxn ang="0">
                  <a:pos x="161" y="81"/>
                </a:cxn>
                <a:cxn ang="0">
                  <a:pos x="160" y="75"/>
                </a:cxn>
                <a:cxn ang="0">
                  <a:pos x="163" y="61"/>
                </a:cxn>
                <a:cxn ang="0">
                  <a:pos x="171" y="47"/>
                </a:cxn>
                <a:cxn ang="0">
                  <a:pos x="169" y="38"/>
                </a:cxn>
                <a:cxn ang="0">
                  <a:pos x="163" y="31"/>
                </a:cxn>
                <a:cxn ang="0">
                  <a:pos x="158" y="23"/>
                </a:cxn>
                <a:cxn ang="0">
                  <a:pos x="151" y="22"/>
                </a:cxn>
                <a:cxn ang="0">
                  <a:pos x="139" y="20"/>
                </a:cxn>
                <a:cxn ang="0">
                  <a:pos x="132" y="22"/>
                </a:cxn>
                <a:cxn ang="0">
                  <a:pos x="127" y="22"/>
                </a:cxn>
                <a:cxn ang="0">
                  <a:pos x="122" y="20"/>
                </a:cxn>
                <a:cxn ang="0">
                  <a:pos x="115" y="17"/>
                </a:cxn>
                <a:cxn ang="0">
                  <a:pos x="110" y="15"/>
                </a:cxn>
                <a:cxn ang="0">
                  <a:pos x="101" y="12"/>
                </a:cxn>
                <a:cxn ang="0">
                  <a:pos x="90" y="1"/>
                </a:cxn>
                <a:cxn ang="0">
                  <a:pos x="82" y="3"/>
                </a:cxn>
                <a:cxn ang="0">
                  <a:pos x="83" y="9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76" y="36"/>
                </a:cxn>
                <a:cxn ang="0">
                  <a:pos x="74" y="40"/>
                </a:cxn>
                <a:cxn ang="0">
                  <a:pos x="62" y="33"/>
                </a:cxn>
                <a:cxn ang="0">
                  <a:pos x="48" y="39"/>
                </a:cxn>
                <a:cxn ang="0">
                  <a:pos x="33" y="45"/>
                </a:cxn>
                <a:cxn ang="0">
                  <a:pos x="14" y="52"/>
                </a:cxn>
                <a:cxn ang="0">
                  <a:pos x="28" y="56"/>
                </a:cxn>
                <a:cxn ang="0">
                  <a:pos x="28" y="62"/>
                </a:cxn>
                <a:cxn ang="0">
                  <a:pos x="22" y="65"/>
                </a:cxn>
                <a:cxn ang="0">
                  <a:pos x="15" y="66"/>
                </a:cxn>
                <a:cxn ang="0">
                  <a:pos x="11" y="71"/>
                </a:cxn>
                <a:cxn ang="0">
                  <a:pos x="0" y="78"/>
                </a:cxn>
                <a:cxn ang="0">
                  <a:pos x="2" y="84"/>
                </a:cxn>
                <a:cxn ang="0">
                  <a:pos x="6" y="83"/>
                </a:cxn>
                <a:cxn ang="0">
                  <a:pos x="76" y="88"/>
                </a:cxn>
                <a:cxn ang="0">
                  <a:pos x="137" y="89"/>
                </a:cxn>
                <a:cxn ang="0">
                  <a:pos x="164" y="89"/>
                </a:cxn>
                <a:cxn ang="0">
                  <a:pos x="184" y="96"/>
                </a:cxn>
              </a:cxnLst>
              <a:rect l="0" t="0" r="r" b="b"/>
              <a:pathLst>
                <a:path w="185" h="96">
                  <a:moveTo>
                    <a:pt x="185" y="96"/>
                  </a:moveTo>
                  <a:cubicBezTo>
                    <a:pt x="185" y="96"/>
                    <a:pt x="184" y="95"/>
                    <a:pt x="184" y="94"/>
                  </a:cubicBezTo>
                  <a:cubicBezTo>
                    <a:pt x="183" y="94"/>
                    <a:pt x="184" y="93"/>
                    <a:pt x="183" y="92"/>
                  </a:cubicBezTo>
                  <a:cubicBezTo>
                    <a:pt x="183" y="92"/>
                    <a:pt x="182" y="91"/>
                    <a:pt x="182" y="91"/>
                  </a:cubicBezTo>
                  <a:cubicBezTo>
                    <a:pt x="181" y="90"/>
                    <a:pt x="180" y="89"/>
                    <a:pt x="179" y="88"/>
                  </a:cubicBezTo>
                  <a:cubicBezTo>
                    <a:pt x="178" y="87"/>
                    <a:pt x="177" y="87"/>
                    <a:pt x="175" y="87"/>
                  </a:cubicBezTo>
                  <a:cubicBezTo>
                    <a:pt x="173" y="87"/>
                    <a:pt x="171" y="86"/>
                    <a:pt x="169" y="85"/>
                  </a:cubicBezTo>
                  <a:cubicBezTo>
                    <a:pt x="167" y="85"/>
                    <a:pt x="165" y="84"/>
                    <a:pt x="163" y="83"/>
                  </a:cubicBezTo>
                  <a:cubicBezTo>
                    <a:pt x="163" y="82"/>
                    <a:pt x="163" y="82"/>
                    <a:pt x="162" y="82"/>
                  </a:cubicBezTo>
                  <a:cubicBezTo>
                    <a:pt x="162" y="81"/>
                    <a:pt x="161" y="81"/>
                    <a:pt x="161" y="81"/>
                  </a:cubicBezTo>
                  <a:cubicBezTo>
                    <a:pt x="160" y="81"/>
                    <a:pt x="160" y="81"/>
                    <a:pt x="160" y="80"/>
                  </a:cubicBezTo>
                  <a:cubicBezTo>
                    <a:pt x="160" y="78"/>
                    <a:pt x="160" y="76"/>
                    <a:pt x="160" y="75"/>
                  </a:cubicBezTo>
                  <a:cubicBezTo>
                    <a:pt x="160" y="73"/>
                    <a:pt x="161" y="72"/>
                    <a:pt x="161" y="71"/>
                  </a:cubicBezTo>
                  <a:cubicBezTo>
                    <a:pt x="161" y="67"/>
                    <a:pt x="162" y="64"/>
                    <a:pt x="163" y="61"/>
                  </a:cubicBezTo>
                  <a:cubicBezTo>
                    <a:pt x="163" y="58"/>
                    <a:pt x="163" y="57"/>
                    <a:pt x="165" y="55"/>
                  </a:cubicBezTo>
                  <a:cubicBezTo>
                    <a:pt x="167" y="53"/>
                    <a:pt x="169" y="50"/>
                    <a:pt x="171" y="47"/>
                  </a:cubicBezTo>
                  <a:cubicBezTo>
                    <a:pt x="172" y="47"/>
                    <a:pt x="172" y="46"/>
                    <a:pt x="172" y="45"/>
                  </a:cubicBezTo>
                  <a:cubicBezTo>
                    <a:pt x="172" y="42"/>
                    <a:pt x="169" y="40"/>
                    <a:pt x="169" y="38"/>
                  </a:cubicBezTo>
                  <a:cubicBezTo>
                    <a:pt x="168" y="37"/>
                    <a:pt x="168" y="35"/>
                    <a:pt x="167" y="33"/>
                  </a:cubicBezTo>
                  <a:cubicBezTo>
                    <a:pt x="166" y="32"/>
                    <a:pt x="164" y="32"/>
                    <a:pt x="163" y="31"/>
                  </a:cubicBezTo>
                  <a:cubicBezTo>
                    <a:pt x="162" y="30"/>
                    <a:pt x="159" y="28"/>
                    <a:pt x="159" y="27"/>
                  </a:cubicBezTo>
                  <a:cubicBezTo>
                    <a:pt x="158" y="26"/>
                    <a:pt x="159" y="25"/>
                    <a:pt x="158" y="23"/>
                  </a:cubicBezTo>
                  <a:cubicBezTo>
                    <a:pt x="157" y="22"/>
                    <a:pt x="155" y="20"/>
                    <a:pt x="154" y="20"/>
                  </a:cubicBezTo>
                  <a:cubicBezTo>
                    <a:pt x="152" y="20"/>
                    <a:pt x="152" y="21"/>
                    <a:pt x="151" y="22"/>
                  </a:cubicBezTo>
                  <a:cubicBezTo>
                    <a:pt x="150" y="22"/>
                    <a:pt x="149" y="22"/>
                    <a:pt x="148" y="22"/>
                  </a:cubicBezTo>
                  <a:cubicBezTo>
                    <a:pt x="144" y="22"/>
                    <a:pt x="142" y="21"/>
                    <a:pt x="139" y="20"/>
                  </a:cubicBezTo>
                  <a:cubicBezTo>
                    <a:pt x="137" y="19"/>
                    <a:pt x="136" y="19"/>
                    <a:pt x="134" y="20"/>
                  </a:cubicBezTo>
                  <a:cubicBezTo>
                    <a:pt x="133" y="21"/>
                    <a:pt x="132" y="22"/>
                    <a:pt x="132" y="22"/>
                  </a:cubicBezTo>
                  <a:cubicBezTo>
                    <a:pt x="131" y="23"/>
                    <a:pt x="132" y="24"/>
                    <a:pt x="130" y="24"/>
                  </a:cubicBezTo>
                  <a:cubicBezTo>
                    <a:pt x="129" y="24"/>
                    <a:pt x="128" y="22"/>
                    <a:pt x="127" y="22"/>
                  </a:cubicBezTo>
                  <a:cubicBezTo>
                    <a:pt x="126" y="21"/>
                    <a:pt x="125" y="18"/>
                    <a:pt x="124" y="19"/>
                  </a:cubicBezTo>
                  <a:cubicBezTo>
                    <a:pt x="123" y="19"/>
                    <a:pt x="123" y="20"/>
                    <a:pt x="122" y="20"/>
                  </a:cubicBezTo>
                  <a:cubicBezTo>
                    <a:pt x="121" y="20"/>
                    <a:pt x="121" y="19"/>
                    <a:pt x="120" y="18"/>
                  </a:cubicBezTo>
                  <a:cubicBezTo>
                    <a:pt x="119" y="17"/>
                    <a:pt x="116" y="18"/>
                    <a:pt x="115" y="17"/>
                  </a:cubicBezTo>
                  <a:cubicBezTo>
                    <a:pt x="114" y="17"/>
                    <a:pt x="113" y="16"/>
                    <a:pt x="112" y="15"/>
                  </a:cubicBezTo>
                  <a:cubicBezTo>
                    <a:pt x="111" y="15"/>
                    <a:pt x="110" y="15"/>
                    <a:pt x="110" y="15"/>
                  </a:cubicBezTo>
                  <a:cubicBezTo>
                    <a:pt x="109" y="14"/>
                    <a:pt x="108" y="14"/>
                    <a:pt x="107" y="13"/>
                  </a:cubicBezTo>
                  <a:cubicBezTo>
                    <a:pt x="105" y="13"/>
                    <a:pt x="103" y="12"/>
                    <a:pt x="101" y="12"/>
                  </a:cubicBezTo>
                  <a:cubicBezTo>
                    <a:pt x="99" y="12"/>
                    <a:pt x="98" y="10"/>
                    <a:pt x="97" y="9"/>
                  </a:cubicBezTo>
                  <a:cubicBezTo>
                    <a:pt x="95" y="6"/>
                    <a:pt x="93" y="2"/>
                    <a:pt x="90" y="1"/>
                  </a:cubicBezTo>
                  <a:cubicBezTo>
                    <a:pt x="88" y="0"/>
                    <a:pt x="87" y="1"/>
                    <a:pt x="85" y="2"/>
                  </a:cubicBezTo>
                  <a:cubicBezTo>
                    <a:pt x="85" y="2"/>
                    <a:pt x="83" y="3"/>
                    <a:pt x="82" y="3"/>
                  </a:cubicBezTo>
                  <a:cubicBezTo>
                    <a:pt x="82" y="4"/>
                    <a:pt x="82" y="4"/>
                    <a:pt x="83" y="5"/>
                  </a:cubicBezTo>
                  <a:cubicBezTo>
                    <a:pt x="83" y="7"/>
                    <a:pt x="84" y="8"/>
                    <a:pt x="83" y="9"/>
                  </a:cubicBezTo>
                  <a:cubicBezTo>
                    <a:pt x="82" y="10"/>
                    <a:pt x="80" y="10"/>
                    <a:pt x="79" y="10"/>
                  </a:cubicBezTo>
                  <a:cubicBezTo>
                    <a:pt x="77" y="10"/>
                    <a:pt x="76" y="10"/>
                    <a:pt x="76" y="12"/>
                  </a:cubicBezTo>
                  <a:cubicBezTo>
                    <a:pt x="76" y="13"/>
                    <a:pt x="76" y="14"/>
                    <a:pt x="76" y="15"/>
                  </a:cubicBezTo>
                  <a:cubicBezTo>
                    <a:pt x="76" y="16"/>
                    <a:pt x="76" y="18"/>
                    <a:pt x="76" y="20"/>
                  </a:cubicBezTo>
                  <a:cubicBezTo>
                    <a:pt x="76" y="22"/>
                    <a:pt x="76" y="25"/>
                    <a:pt x="76" y="27"/>
                  </a:cubicBezTo>
                  <a:cubicBezTo>
                    <a:pt x="76" y="30"/>
                    <a:pt x="76" y="33"/>
                    <a:pt x="76" y="36"/>
                  </a:cubicBezTo>
                  <a:cubicBezTo>
                    <a:pt x="76" y="37"/>
                    <a:pt x="77" y="38"/>
                    <a:pt x="76" y="39"/>
                  </a:cubicBezTo>
                  <a:cubicBezTo>
                    <a:pt x="75" y="39"/>
                    <a:pt x="75" y="40"/>
                    <a:pt x="74" y="40"/>
                  </a:cubicBezTo>
                  <a:cubicBezTo>
                    <a:pt x="73" y="40"/>
                    <a:pt x="72" y="40"/>
                    <a:pt x="71" y="39"/>
                  </a:cubicBezTo>
                  <a:cubicBezTo>
                    <a:pt x="68" y="37"/>
                    <a:pt x="66" y="34"/>
                    <a:pt x="62" y="33"/>
                  </a:cubicBezTo>
                  <a:cubicBezTo>
                    <a:pt x="58" y="33"/>
                    <a:pt x="54" y="30"/>
                    <a:pt x="50" y="31"/>
                  </a:cubicBezTo>
                  <a:cubicBezTo>
                    <a:pt x="47" y="32"/>
                    <a:pt x="48" y="36"/>
                    <a:pt x="48" y="39"/>
                  </a:cubicBezTo>
                  <a:cubicBezTo>
                    <a:pt x="45" y="39"/>
                    <a:pt x="40" y="36"/>
                    <a:pt x="37" y="39"/>
                  </a:cubicBezTo>
                  <a:cubicBezTo>
                    <a:pt x="35" y="40"/>
                    <a:pt x="35" y="44"/>
                    <a:pt x="33" y="45"/>
                  </a:cubicBezTo>
                  <a:cubicBezTo>
                    <a:pt x="28" y="48"/>
                    <a:pt x="23" y="49"/>
                    <a:pt x="18" y="50"/>
                  </a:cubicBezTo>
                  <a:cubicBezTo>
                    <a:pt x="17" y="50"/>
                    <a:pt x="15" y="51"/>
                    <a:pt x="14" y="52"/>
                  </a:cubicBezTo>
                  <a:cubicBezTo>
                    <a:pt x="14" y="54"/>
                    <a:pt x="17" y="55"/>
                    <a:pt x="19" y="56"/>
                  </a:cubicBezTo>
                  <a:cubicBezTo>
                    <a:pt x="22" y="56"/>
                    <a:pt x="25" y="56"/>
                    <a:pt x="28" y="56"/>
                  </a:cubicBezTo>
                  <a:cubicBezTo>
                    <a:pt x="30" y="56"/>
                    <a:pt x="33" y="56"/>
                    <a:pt x="34" y="57"/>
                  </a:cubicBezTo>
                  <a:cubicBezTo>
                    <a:pt x="37" y="60"/>
                    <a:pt x="30" y="61"/>
                    <a:pt x="28" y="62"/>
                  </a:cubicBezTo>
                  <a:cubicBezTo>
                    <a:pt x="26" y="62"/>
                    <a:pt x="25" y="63"/>
                    <a:pt x="24" y="64"/>
                  </a:cubicBezTo>
                  <a:cubicBezTo>
                    <a:pt x="23" y="64"/>
                    <a:pt x="22" y="64"/>
                    <a:pt x="22" y="65"/>
                  </a:cubicBezTo>
                  <a:cubicBezTo>
                    <a:pt x="21" y="66"/>
                    <a:pt x="21" y="67"/>
                    <a:pt x="20" y="67"/>
                  </a:cubicBezTo>
                  <a:cubicBezTo>
                    <a:pt x="17" y="68"/>
                    <a:pt x="17" y="67"/>
                    <a:pt x="15" y="66"/>
                  </a:cubicBezTo>
                  <a:cubicBezTo>
                    <a:pt x="14" y="65"/>
                    <a:pt x="13" y="65"/>
                    <a:pt x="12" y="66"/>
                  </a:cubicBezTo>
                  <a:cubicBezTo>
                    <a:pt x="10" y="67"/>
                    <a:pt x="11" y="68"/>
                    <a:pt x="11" y="71"/>
                  </a:cubicBezTo>
                  <a:cubicBezTo>
                    <a:pt x="10" y="75"/>
                    <a:pt x="6" y="72"/>
                    <a:pt x="4" y="73"/>
                  </a:cubicBezTo>
                  <a:cubicBezTo>
                    <a:pt x="2" y="73"/>
                    <a:pt x="1" y="76"/>
                    <a:pt x="0" y="78"/>
                  </a:cubicBezTo>
                  <a:cubicBezTo>
                    <a:pt x="0" y="80"/>
                    <a:pt x="1" y="80"/>
                    <a:pt x="2" y="82"/>
                  </a:cubicBezTo>
                  <a:cubicBezTo>
                    <a:pt x="2" y="83"/>
                    <a:pt x="2" y="83"/>
                    <a:pt x="2" y="84"/>
                  </a:cubicBezTo>
                  <a:cubicBezTo>
                    <a:pt x="2" y="83"/>
                    <a:pt x="3" y="83"/>
                    <a:pt x="3" y="82"/>
                  </a:cubicBezTo>
                  <a:cubicBezTo>
                    <a:pt x="4" y="82"/>
                    <a:pt x="5" y="82"/>
                    <a:pt x="6" y="83"/>
                  </a:cubicBezTo>
                  <a:cubicBezTo>
                    <a:pt x="13" y="84"/>
                    <a:pt x="20" y="85"/>
                    <a:pt x="27" y="86"/>
                  </a:cubicBezTo>
                  <a:cubicBezTo>
                    <a:pt x="43" y="87"/>
                    <a:pt x="59" y="88"/>
                    <a:pt x="76" y="88"/>
                  </a:cubicBezTo>
                  <a:cubicBezTo>
                    <a:pt x="88" y="89"/>
                    <a:pt x="100" y="88"/>
                    <a:pt x="112" y="88"/>
                  </a:cubicBezTo>
                  <a:cubicBezTo>
                    <a:pt x="120" y="88"/>
                    <a:pt x="129" y="89"/>
                    <a:pt x="137" y="89"/>
                  </a:cubicBezTo>
                  <a:cubicBezTo>
                    <a:pt x="144" y="89"/>
                    <a:pt x="150" y="89"/>
                    <a:pt x="157" y="89"/>
                  </a:cubicBezTo>
                  <a:cubicBezTo>
                    <a:pt x="159" y="89"/>
                    <a:pt x="162" y="89"/>
                    <a:pt x="164" y="89"/>
                  </a:cubicBezTo>
                  <a:cubicBezTo>
                    <a:pt x="166" y="89"/>
                    <a:pt x="168" y="90"/>
                    <a:pt x="170" y="90"/>
                  </a:cubicBezTo>
                  <a:cubicBezTo>
                    <a:pt x="175" y="92"/>
                    <a:pt x="179" y="95"/>
                    <a:pt x="184" y="96"/>
                  </a:cubicBezTo>
                  <a:cubicBezTo>
                    <a:pt x="184" y="96"/>
                    <a:pt x="185" y="96"/>
                    <a:pt x="185" y="96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5" name="Freeform 37">
              <a:extLst>
                <a:ext uri="{FF2B5EF4-FFF2-40B4-BE49-F238E27FC236}">
                  <a16:creationId xmlns:a16="http://schemas.microsoft.com/office/drawing/2014/main" id="{1B4C4A4C-74C9-4A4D-8472-0EBF2D9D6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050" y="3459163"/>
              <a:ext cx="592138" cy="452438"/>
            </a:xfrm>
            <a:custGeom>
              <a:avLst/>
              <a:gdLst/>
              <a:ahLst/>
              <a:cxnLst>
                <a:cxn ang="0">
                  <a:pos x="305" y="111"/>
                </a:cxn>
                <a:cxn ang="0">
                  <a:pos x="303" y="97"/>
                </a:cxn>
                <a:cxn ang="0">
                  <a:pos x="309" y="76"/>
                </a:cxn>
                <a:cxn ang="0">
                  <a:pos x="291" y="69"/>
                </a:cxn>
                <a:cxn ang="0">
                  <a:pos x="278" y="50"/>
                </a:cxn>
                <a:cxn ang="0">
                  <a:pos x="252" y="32"/>
                </a:cxn>
                <a:cxn ang="0">
                  <a:pos x="229" y="29"/>
                </a:cxn>
                <a:cxn ang="0">
                  <a:pos x="213" y="9"/>
                </a:cxn>
                <a:cxn ang="0">
                  <a:pos x="208" y="2"/>
                </a:cxn>
                <a:cxn ang="0">
                  <a:pos x="200" y="11"/>
                </a:cxn>
                <a:cxn ang="0">
                  <a:pos x="189" y="18"/>
                </a:cxn>
                <a:cxn ang="0">
                  <a:pos x="168" y="16"/>
                </a:cxn>
                <a:cxn ang="0">
                  <a:pos x="154" y="13"/>
                </a:cxn>
                <a:cxn ang="0">
                  <a:pos x="137" y="10"/>
                </a:cxn>
                <a:cxn ang="0">
                  <a:pos x="121" y="10"/>
                </a:cxn>
                <a:cxn ang="0">
                  <a:pos x="112" y="6"/>
                </a:cxn>
                <a:cxn ang="0">
                  <a:pos x="101" y="7"/>
                </a:cxn>
                <a:cxn ang="0">
                  <a:pos x="78" y="5"/>
                </a:cxn>
                <a:cxn ang="0">
                  <a:pos x="53" y="3"/>
                </a:cxn>
                <a:cxn ang="0">
                  <a:pos x="36" y="13"/>
                </a:cxn>
                <a:cxn ang="0">
                  <a:pos x="20" y="23"/>
                </a:cxn>
                <a:cxn ang="0">
                  <a:pos x="12" y="27"/>
                </a:cxn>
                <a:cxn ang="0">
                  <a:pos x="8" y="34"/>
                </a:cxn>
                <a:cxn ang="0">
                  <a:pos x="1" y="51"/>
                </a:cxn>
                <a:cxn ang="0">
                  <a:pos x="3" y="65"/>
                </a:cxn>
                <a:cxn ang="0">
                  <a:pos x="8" y="74"/>
                </a:cxn>
                <a:cxn ang="0">
                  <a:pos x="9" y="90"/>
                </a:cxn>
                <a:cxn ang="0">
                  <a:pos x="15" y="106"/>
                </a:cxn>
                <a:cxn ang="0">
                  <a:pos x="22" y="110"/>
                </a:cxn>
                <a:cxn ang="0">
                  <a:pos x="42" y="124"/>
                </a:cxn>
                <a:cxn ang="0">
                  <a:pos x="54" y="129"/>
                </a:cxn>
                <a:cxn ang="0">
                  <a:pos x="64" y="131"/>
                </a:cxn>
                <a:cxn ang="0">
                  <a:pos x="83" y="131"/>
                </a:cxn>
                <a:cxn ang="0">
                  <a:pos x="95" y="140"/>
                </a:cxn>
                <a:cxn ang="0">
                  <a:pos x="103" y="156"/>
                </a:cxn>
                <a:cxn ang="0">
                  <a:pos x="92" y="184"/>
                </a:cxn>
                <a:cxn ang="0">
                  <a:pos x="95" y="192"/>
                </a:cxn>
                <a:cxn ang="0">
                  <a:pos x="114" y="200"/>
                </a:cxn>
                <a:cxn ang="0">
                  <a:pos x="128" y="207"/>
                </a:cxn>
                <a:cxn ang="0">
                  <a:pos x="138" y="221"/>
                </a:cxn>
                <a:cxn ang="0">
                  <a:pos x="137" y="237"/>
                </a:cxn>
                <a:cxn ang="0">
                  <a:pos x="144" y="235"/>
                </a:cxn>
                <a:cxn ang="0">
                  <a:pos x="159" y="236"/>
                </a:cxn>
                <a:cxn ang="0">
                  <a:pos x="185" y="240"/>
                </a:cxn>
                <a:cxn ang="0">
                  <a:pos x="195" y="232"/>
                </a:cxn>
                <a:cxn ang="0">
                  <a:pos x="203" y="234"/>
                </a:cxn>
                <a:cxn ang="0">
                  <a:pos x="207" y="222"/>
                </a:cxn>
                <a:cxn ang="0">
                  <a:pos x="223" y="220"/>
                </a:cxn>
                <a:cxn ang="0">
                  <a:pos x="237" y="204"/>
                </a:cxn>
                <a:cxn ang="0">
                  <a:pos x="247" y="212"/>
                </a:cxn>
                <a:cxn ang="0">
                  <a:pos x="259" y="217"/>
                </a:cxn>
                <a:cxn ang="0">
                  <a:pos x="251" y="202"/>
                </a:cxn>
                <a:cxn ang="0">
                  <a:pos x="251" y="191"/>
                </a:cxn>
                <a:cxn ang="0">
                  <a:pos x="258" y="164"/>
                </a:cxn>
                <a:cxn ang="0">
                  <a:pos x="261" y="149"/>
                </a:cxn>
                <a:cxn ang="0">
                  <a:pos x="274" y="142"/>
                </a:cxn>
                <a:cxn ang="0">
                  <a:pos x="283" y="135"/>
                </a:cxn>
                <a:cxn ang="0">
                  <a:pos x="289" y="129"/>
                </a:cxn>
                <a:cxn ang="0">
                  <a:pos x="304" y="123"/>
                </a:cxn>
                <a:cxn ang="0">
                  <a:pos x="312" y="116"/>
                </a:cxn>
              </a:cxnLst>
              <a:rect l="0" t="0" r="r" b="b"/>
              <a:pathLst>
                <a:path w="317" h="242">
                  <a:moveTo>
                    <a:pt x="316" y="111"/>
                  </a:moveTo>
                  <a:cubicBezTo>
                    <a:pt x="314" y="110"/>
                    <a:pt x="310" y="110"/>
                    <a:pt x="308" y="110"/>
                  </a:cubicBezTo>
                  <a:cubicBezTo>
                    <a:pt x="308" y="110"/>
                    <a:pt x="307" y="110"/>
                    <a:pt x="306" y="110"/>
                  </a:cubicBezTo>
                  <a:cubicBezTo>
                    <a:pt x="306" y="110"/>
                    <a:pt x="305" y="111"/>
                    <a:pt x="305" y="111"/>
                  </a:cubicBezTo>
                  <a:cubicBezTo>
                    <a:pt x="303" y="111"/>
                    <a:pt x="302" y="109"/>
                    <a:pt x="301" y="108"/>
                  </a:cubicBezTo>
                  <a:cubicBezTo>
                    <a:pt x="300" y="106"/>
                    <a:pt x="300" y="106"/>
                    <a:pt x="301" y="105"/>
                  </a:cubicBezTo>
                  <a:cubicBezTo>
                    <a:pt x="302" y="103"/>
                    <a:pt x="304" y="102"/>
                    <a:pt x="304" y="100"/>
                  </a:cubicBezTo>
                  <a:cubicBezTo>
                    <a:pt x="304" y="98"/>
                    <a:pt x="304" y="98"/>
                    <a:pt x="303" y="97"/>
                  </a:cubicBezTo>
                  <a:cubicBezTo>
                    <a:pt x="302" y="96"/>
                    <a:pt x="300" y="97"/>
                    <a:pt x="301" y="94"/>
                  </a:cubicBezTo>
                  <a:cubicBezTo>
                    <a:pt x="301" y="94"/>
                    <a:pt x="301" y="93"/>
                    <a:pt x="302" y="92"/>
                  </a:cubicBezTo>
                  <a:cubicBezTo>
                    <a:pt x="304" y="91"/>
                    <a:pt x="305" y="89"/>
                    <a:pt x="306" y="87"/>
                  </a:cubicBezTo>
                  <a:cubicBezTo>
                    <a:pt x="307" y="85"/>
                    <a:pt x="312" y="78"/>
                    <a:pt x="309" y="76"/>
                  </a:cubicBezTo>
                  <a:cubicBezTo>
                    <a:pt x="308" y="75"/>
                    <a:pt x="306" y="75"/>
                    <a:pt x="305" y="75"/>
                  </a:cubicBezTo>
                  <a:cubicBezTo>
                    <a:pt x="303" y="75"/>
                    <a:pt x="301" y="74"/>
                    <a:pt x="299" y="74"/>
                  </a:cubicBezTo>
                  <a:cubicBezTo>
                    <a:pt x="297" y="73"/>
                    <a:pt x="293" y="73"/>
                    <a:pt x="292" y="72"/>
                  </a:cubicBezTo>
                  <a:cubicBezTo>
                    <a:pt x="291" y="71"/>
                    <a:pt x="291" y="70"/>
                    <a:pt x="291" y="69"/>
                  </a:cubicBezTo>
                  <a:cubicBezTo>
                    <a:pt x="290" y="67"/>
                    <a:pt x="288" y="65"/>
                    <a:pt x="287" y="63"/>
                  </a:cubicBezTo>
                  <a:cubicBezTo>
                    <a:pt x="286" y="62"/>
                    <a:pt x="285" y="61"/>
                    <a:pt x="285" y="60"/>
                  </a:cubicBezTo>
                  <a:cubicBezTo>
                    <a:pt x="284" y="60"/>
                    <a:pt x="284" y="59"/>
                    <a:pt x="284" y="58"/>
                  </a:cubicBezTo>
                  <a:cubicBezTo>
                    <a:pt x="283" y="55"/>
                    <a:pt x="280" y="52"/>
                    <a:pt x="278" y="50"/>
                  </a:cubicBezTo>
                  <a:cubicBezTo>
                    <a:pt x="275" y="48"/>
                    <a:pt x="273" y="46"/>
                    <a:pt x="270" y="44"/>
                  </a:cubicBezTo>
                  <a:cubicBezTo>
                    <a:pt x="267" y="42"/>
                    <a:pt x="265" y="40"/>
                    <a:pt x="262" y="39"/>
                  </a:cubicBezTo>
                  <a:cubicBezTo>
                    <a:pt x="260" y="37"/>
                    <a:pt x="258" y="36"/>
                    <a:pt x="255" y="35"/>
                  </a:cubicBezTo>
                  <a:cubicBezTo>
                    <a:pt x="254" y="34"/>
                    <a:pt x="253" y="32"/>
                    <a:pt x="252" y="32"/>
                  </a:cubicBezTo>
                  <a:cubicBezTo>
                    <a:pt x="250" y="30"/>
                    <a:pt x="248" y="30"/>
                    <a:pt x="246" y="30"/>
                  </a:cubicBezTo>
                  <a:cubicBezTo>
                    <a:pt x="243" y="30"/>
                    <a:pt x="239" y="31"/>
                    <a:pt x="236" y="29"/>
                  </a:cubicBezTo>
                  <a:cubicBezTo>
                    <a:pt x="235" y="29"/>
                    <a:pt x="234" y="27"/>
                    <a:pt x="233" y="27"/>
                  </a:cubicBezTo>
                  <a:cubicBezTo>
                    <a:pt x="232" y="26"/>
                    <a:pt x="229" y="27"/>
                    <a:pt x="229" y="29"/>
                  </a:cubicBezTo>
                  <a:cubicBezTo>
                    <a:pt x="227" y="29"/>
                    <a:pt x="226" y="26"/>
                    <a:pt x="226" y="25"/>
                  </a:cubicBezTo>
                  <a:cubicBezTo>
                    <a:pt x="223" y="24"/>
                    <a:pt x="222" y="22"/>
                    <a:pt x="221" y="19"/>
                  </a:cubicBezTo>
                  <a:cubicBezTo>
                    <a:pt x="219" y="16"/>
                    <a:pt x="217" y="14"/>
                    <a:pt x="216" y="11"/>
                  </a:cubicBezTo>
                  <a:cubicBezTo>
                    <a:pt x="215" y="10"/>
                    <a:pt x="214" y="9"/>
                    <a:pt x="213" y="9"/>
                  </a:cubicBezTo>
                  <a:cubicBezTo>
                    <a:pt x="213" y="8"/>
                    <a:pt x="213" y="8"/>
                    <a:pt x="213" y="7"/>
                  </a:cubicBezTo>
                  <a:cubicBezTo>
                    <a:pt x="214" y="6"/>
                    <a:pt x="213" y="6"/>
                    <a:pt x="214" y="5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0"/>
                    <a:pt x="210" y="0"/>
                    <a:pt x="208" y="2"/>
                  </a:cubicBezTo>
                  <a:cubicBezTo>
                    <a:pt x="208" y="2"/>
                    <a:pt x="208" y="3"/>
                    <a:pt x="207" y="3"/>
                  </a:cubicBezTo>
                  <a:cubicBezTo>
                    <a:pt x="207" y="4"/>
                    <a:pt x="206" y="4"/>
                    <a:pt x="205" y="4"/>
                  </a:cubicBezTo>
                  <a:cubicBezTo>
                    <a:pt x="204" y="5"/>
                    <a:pt x="202" y="6"/>
                    <a:pt x="201" y="7"/>
                  </a:cubicBezTo>
                  <a:cubicBezTo>
                    <a:pt x="200" y="8"/>
                    <a:pt x="200" y="10"/>
                    <a:pt x="200" y="11"/>
                  </a:cubicBezTo>
                  <a:cubicBezTo>
                    <a:pt x="200" y="12"/>
                    <a:pt x="200" y="13"/>
                    <a:pt x="200" y="14"/>
                  </a:cubicBezTo>
                  <a:cubicBezTo>
                    <a:pt x="199" y="14"/>
                    <a:pt x="198" y="14"/>
                    <a:pt x="197" y="14"/>
                  </a:cubicBezTo>
                  <a:cubicBezTo>
                    <a:pt x="196" y="15"/>
                    <a:pt x="196" y="16"/>
                    <a:pt x="195" y="17"/>
                  </a:cubicBezTo>
                  <a:cubicBezTo>
                    <a:pt x="193" y="18"/>
                    <a:pt x="190" y="18"/>
                    <a:pt x="189" y="18"/>
                  </a:cubicBezTo>
                  <a:cubicBezTo>
                    <a:pt x="184" y="17"/>
                    <a:pt x="179" y="15"/>
                    <a:pt x="175" y="18"/>
                  </a:cubicBezTo>
                  <a:cubicBezTo>
                    <a:pt x="174" y="18"/>
                    <a:pt x="173" y="20"/>
                    <a:pt x="171" y="20"/>
                  </a:cubicBezTo>
                  <a:cubicBezTo>
                    <a:pt x="170" y="20"/>
                    <a:pt x="169" y="20"/>
                    <a:pt x="169" y="19"/>
                  </a:cubicBezTo>
                  <a:cubicBezTo>
                    <a:pt x="168" y="18"/>
                    <a:pt x="169" y="17"/>
                    <a:pt x="168" y="16"/>
                  </a:cubicBezTo>
                  <a:cubicBezTo>
                    <a:pt x="168" y="15"/>
                    <a:pt x="166" y="15"/>
                    <a:pt x="165" y="15"/>
                  </a:cubicBezTo>
                  <a:cubicBezTo>
                    <a:pt x="163" y="14"/>
                    <a:pt x="161" y="13"/>
                    <a:pt x="159" y="12"/>
                  </a:cubicBezTo>
                  <a:cubicBezTo>
                    <a:pt x="158" y="11"/>
                    <a:pt x="157" y="10"/>
                    <a:pt x="156" y="10"/>
                  </a:cubicBezTo>
                  <a:cubicBezTo>
                    <a:pt x="154" y="10"/>
                    <a:pt x="155" y="13"/>
                    <a:pt x="154" y="13"/>
                  </a:cubicBezTo>
                  <a:cubicBezTo>
                    <a:pt x="153" y="12"/>
                    <a:pt x="153" y="10"/>
                    <a:pt x="153" y="9"/>
                  </a:cubicBezTo>
                  <a:cubicBezTo>
                    <a:pt x="150" y="8"/>
                    <a:pt x="148" y="8"/>
                    <a:pt x="145" y="9"/>
                  </a:cubicBezTo>
                  <a:cubicBezTo>
                    <a:pt x="144" y="9"/>
                    <a:pt x="143" y="10"/>
                    <a:pt x="142" y="10"/>
                  </a:cubicBezTo>
                  <a:cubicBezTo>
                    <a:pt x="140" y="10"/>
                    <a:pt x="138" y="10"/>
                    <a:pt x="137" y="10"/>
                  </a:cubicBezTo>
                  <a:cubicBezTo>
                    <a:pt x="135" y="9"/>
                    <a:pt x="134" y="8"/>
                    <a:pt x="132" y="8"/>
                  </a:cubicBezTo>
                  <a:cubicBezTo>
                    <a:pt x="131" y="8"/>
                    <a:pt x="129" y="7"/>
                    <a:pt x="128" y="7"/>
                  </a:cubicBezTo>
                  <a:cubicBezTo>
                    <a:pt x="127" y="8"/>
                    <a:pt x="127" y="10"/>
                    <a:pt x="125" y="10"/>
                  </a:cubicBezTo>
                  <a:cubicBezTo>
                    <a:pt x="124" y="10"/>
                    <a:pt x="122" y="9"/>
                    <a:pt x="121" y="10"/>
                  </a:cubicBezTo>
                  <a:cubicBezTo>
                    <a:pt x="121" y="12"/>
                    <a:pt x="117" y="14"/>
                    <a:pt x="115" y="14"/>
                  </a:cubicBezTo>
                  <a:cubicBezTo>
                    <a:pt x="113" y="13"/>
                    <a:pt x="113" y="10"/>
                    <a:pt x="113" y="9"/>
                  </a:cubicBezTo>
                  <a:cubicBezTo>
                    <a:pt x="113" y="8"/>
                    <a:pt x="112" y="8"/>
                    <a:pt x="112" y="8"/>
                  </a:cubicBezTo>
                  <a:cubicBezTo>
                    <a:pt x="112" y="7"/>
                    <a:pt x="112" y="6"/>
                    <a:pt x="112" y="6"/>
                  </a:cubicBezTo>
                  <a:cubicBezTo>
                    <a:pt x="112" y="5"/>
                    <a:pt x="110" y="6"/>
                    <a:pt x="110" y="6"/>
                  </a:cubicBezTo>
                  <a:cubicBezTo>
                    <a:pt x="109" y="5"/>
                    <a:pt x="107" y="5"/>
                    <a:pt x="106" y="5"/>
                  </a:cubicBezTo>
                  <a:cubicBezTo>
                    <a:pt x="105" y="5"/>
                    <a:pt x="104" y="5"/>
                    <a:pt x="103" y="5"/>
                  </a:cubicBezTo>
                  <a:cubicBezTo>
                    <a:pt x="102" y="6"/>
                    <a:pt x="102" y="7"/>
                    <a:pt x="101" y="7"/>
                  </a:cubicBezTo>
                  <a:cubicBezTo>
                    <a:pt x="100" y="7"/>
                    <a:pt x="99" y="7"/>
                    <a:pt x="99" y="7"/>
                  </a:cubicBezTo>
                  <a:cubicBezTo>
                    <a:pt x="97" y="7"/>
                    <a:pt x="96" y="7"/>
                    <a:pt x="94" y="7"/>
                  </a:cubicBezTo>
                  <a:cubicBezTo>
                    <a:pt x="91" y="7"/>
                    <a:pt x="89" y="7"/>
                    <a:pt x="86" y="6"/>
                  </a:cubicBezTo>
                  <a:cubicBezTo>
                    <a:pt x="83" y="5"/>
                    <a:pt x="81" y="5"/>
                    <a:pt x="78" y="5"/>
                  </a:cubicBezTo>
                  <a:cubicBezTo>
                    <a:pt x="75" y="5"/>
                    <a:pt x="71" y="5"/>
                    <a:pt x="67" y="4"/>
                  </a:cubicBezTo>
                  <a:cubicBezTo>
                    <a:pt x="66" y="4"/>
                    <a:pt x="65" y="3"/>
                    <a:pt x="64" y="3"/>
                  </a:cubicBezTo>
                  <a:cubicBezTo>
                    <a:pt x="63" y="3"/>
                    <a:pt x="62" y="2"/>
                    <a:pt x="61" y="2"/>
                  </a:cubicBezTo>
                  <a:cubicBezTo>
                    <a:pt x="60" y="1"/>
                    <a:pt x="54" y="1"/>
                    <a:pt x="53" y="3"/>
                  </a:cubicBezTo>
                  <a:cubicBezTo>
                    <a:pt x="52" y="5"/>
                    <a:pt x="54" y="7"/>
                    <a:pt x="50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8"/>
                    <a:pt x="42" y="9"/>
                    <a:pt x="41" y="10"/>
                  </a:cubicBezTo>
                  <a:cubicBezTo>
                    <a:pt x="39" y="12"/>
                    <a:pt x="39" y="13"/>
                    <a:pt x="36" y="13"/>
                  </a:cubicBezTo>
                  <a:cubicBezTo>
                    <a:pt x="33" y="13"/>
                    <a:pt x="31" y="12"/>
                    <a:pt x="29" y="14"/>
                  </a:cubicBezTo>
                  <a:cubicBezTo>
                    <a:pt x="28" y="14"/>
                    <a:pt x="26" y="16"/>
                    <a:pt x="25" y="17"/>
                  </a:cubicBezTo>
                  <a:cubicBezTo>
                    <a:pt x="23" y="17"/>
                    <a:pt x="22" y="17"/>
                    <a:pt x="21" y="19"/>
                  </a:cubicBezTo>
                  <a:cubicBezTo>
                    <a:pt x="21" y="20"/>
                    <a:pt x="21" y="22"/>
                    <a:pt x="20" y="23"/>
                  </a:cubicBezTo>
                  <a:cubicBezTo>
                    <a:pt x="19" y="23"/>
                    <a:pt x="18" y="24"/>
                    <a:pt x="17" y="24"/>
                  </a:cubicBezTo>
                  <a:cubicBezTo>
                    <a:pt x="16" y="24"/>
                    <a:pt x="15" y="25"/>
                    <a:pt x="15" y="25"/>
                  </a:cubicBezTo>
                  <a:cubicBezTo>
                    <a:pt x="15" y="25"/>
                    <a:pt x="14" y="26"/>
                    <a:pt x="14" y="26"/>
                  </a:cubicBezTo>
                  <a:cubicBezTo>
                    <a:pt x="14" y="26"/>
                    <a:pt x="12" y="26"/>
                    <a:pt x="12" y="27"/>
                  </a:cubicBezTo>
                  <a:cubicBezTo>
                    <a:pt x="11" y="27"/>
                    <a:pt x="12" y="28"/>
                    <a:pt x="12" y="28"/>
                  </a:cubicBezTo>
                  <a:cubicBezTo>
                    <a:pt x="12" y="29"/>
                    <a:pt x="11" y="29"/>
                    <a:pt x="11" y="29"/>
                  </a:cubicBezTo>
                  <a:cubicBezTo>
                    <a:pt x="11" y="30"/>
                    <a:pt x="10" y="31"/>
                    <a:pt x="10" y="31"/>
                  </a:cubicBezTo>
                  <a:cubicBezTo>
                    <a:pt x="9" y="32"/>
                    <a:pt x="9" y="33"/>
                    <a:pt x="8" y="34"/>
                  </a:cubicBezTo>
                  <a:cubicBezTo>
                    <a:pt x="7" y="34"/>
                    <a:pt x="6" y="33"/>
                    <a:pt x="5" y="34"/>
                  </a:cubicBezTo>
                  <a:cubicBezTo>
                    <a:pt x="3" y="35"/>
                    <a:pt x="3" y="38"/>
                    <a:pt x="3" y="40"/>
                  </a:cubicBezTo>
                  <a:cubicBezTo>
                    <a:pt x="2" y="43"/>
                    <a:pt x="2" y="46"/>
                    <a:pt x="2" y="49"/>
                  </a:cubicBezTo>
                  <a:cubicBezTo>
                    <a:pt x="2" y="50"/>
                    <a:pt x="2" y="50"/>
                    <a:pt x="1" y="51"/>
                  </a:cubicBezTo>
                  <a:cubicBezTo>
                    <a:pt x="0" y="52"/>
                    <a:pt x="0" y="53"/>
                    <a:pt x="0" y="55"/>
                  </a:cubicBezTo>
                  <a:cubicBezTo>
                    <a:pt x="0" y="57"/>
                    <a:pt x="0" y="61"/>
                    <a:pt x="1" y="63"/>
                  </a:cubicBezTo>
                  <a:cubicBezTo>
                    <a:pt x="1" y="63"/>
                    <a:pt x="2" y="63"/>
                    <a:pt x="2" y="64"/>
                  </a:cubicBezTo>
                  <a:cubicBezTo>
                    <a:pt x="2" y="64"/>
                    <a:pt x="3" y="65"/>
                    <a:pt x="3" y="65"/>
                  </a:cubicBezTo>
                  <a:cubicBezTo>
                    <a:pt x="4" y="67"/>
                    <a:pt x="5" y="67"/>
                    <a:pt x="5" y="69"/>
                  </a:cubicBezTo>
                  <a:cubicBezTo>
                    <a:pt x="5" y="68"/>
                    <a:pt x="6" y="70"/>
                    <a:pt x="6" y="70"/>
                  </a:cubicBezTo>
                  <a:cubicBezTo>
                    <a:pt x="6" y="70"/>
                    <a:pt x="7" y="70"/>
                    <a:pt x="7" y="71"/>
                  </a:cubicBezTo>
                  <a:cubicBezTo>
                    <a:pt x="8" y="72"/>
                    <a:pt x="7" y="73"/>
                    <a:pt x="8" y="74"/>
                  </a:cubicBezTo>
                  <a:cubicBezTo>
                    <a:pt x="8" y="76"/>
                    <a:pt x="8" y="76"/>
                    <a:pt x="8" y="78"/>
                  </a:cubicBezTo>
                  <a:cubicBezTo>
                    <a:pt x="9" y="81"/>
                    <a:pt x="8" y="84"/>
                    <a:pt x="8" y="88"/>
                  </a:cubicBezTo>
                  <a:cubicBezTo>
                    <a:pt x="8" y="88"/>
                    <a:pt x="8" y="89"/>
                    <a:pt x="8" y="89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10" y="92"/>
                    <a:pt x="12" y="95"/>
                    <a:pt x="12" y="97"/>
                  </a:cubicBezTo>
                  <a:cubicBezTo>
                    <a:pt x="12" y="99"/>
                    <a:pt x="12" y="101"/>
                    <a:pt x="12" y="102"/>
                  </a:cubicBezTo>
                  <a:cubicBezTo>
                    <a:pt x="12" y="103"/>
                    <a:pt x="12" y="104"/>
                    <a:pt x="13" y="105"/>
                  </a:cubicBezTo>
                  <a:cubicBezTo>
                    <a:pt x="13" y="105"/>
                    <a:pt x="14" y="105"/>
                    <a:pt x="15" y="106"/>
                  </a:cubicBezTo>
                  <a:cubicBezTo>
                    <a:pt x="15" y="107"/>
                    <a:pt x="15" y="107"/>
                    <a:pt x="15" y="108"/>
                  </a:cubicBezTo>
                  <a:cubicBezTo>
                    <a:pt x="16" y="109"/>
                    <a:pt x="18" y="109"/>
                    <a:pt x="19" y="110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20" y="110"/>
                    <a:pt x="20" y="109"/>
                    <a:pt x="22" y="110"/>
                  </a:cubicBezTo>
                  <a:cubicBezTo>
                    <a:pt x="25" y="111"/>
                    <a:pt x="27" y="115"/>
                    <a:pt x="29" y="118"/>
                  </a:cubicBezTo>
                  <a:cubicBezTo>
                    <a:pt x="30" y="119"/>
                    <a:pt x="31" y="121"/>
                    <a:pt x="33" y="121"/>
                  </a:cubicBezTo>
                  <a:cubicBezTo>
                    <a:pt x="35" y="121"/>
                    <a:pt x="37" y="122"/>
                    <a:pt x="39" y="122"/>
                  </a:cubicBezTo>
                  <a:cubicBezTo>
                    <a:pt x="40" y="123"/>
                    <a:pt x="41" y="123"/>
                    <a:pt x="42" y="124"/>
                  </a:cubicBezTo>
                  <a:cubicBezTo>
                    <a:pt x="42" y="124"/>
                    <a:pt x="43" y="124"/>
                    <a:pt x="44" y="124"/>
                  </a:cubicBezTo>
                  <a:cubicBezTo>
                    <a:pt x="45" y="125"/>
                    <a:pt x="46" y="126"/>
                    <a:pt x="47" y="126"/>
                  </a:cubicBezTo>
                  <a:cubicBezTo>
                    <a:pt x="48" y="127"/>
                    <a:pt x="51" y="126"/>
                    <a:pt x="52" y="127"/>
                  </a:cubicBezTo>
                  <a:cubicBezTo>
                    <a:pt x="53" y="128"/>
                    <a:pt x="53" y="129"/>
                    <a:pt x="54" y="129"/>
                  </a:cubicBezTo>
                  <a:cubicBezTo>
                    <a:pt x="55" y="129"/>
                    <a:pt x="55" y="128"/>
                    <a:pt x="56" y="128"/>
                  </a:cubicBezTo>
                  <a:cubicBezTo>
                    <a:pt x="57" y="127"/>
                    <a:pt x="58" y="130"/>
                    <a:pt x="59" y="131"/>
                  </a:cubicBezTo>
                  <a:cubicBezTo>
                    <a:pt x="60" y="131"/>
                    <a:pt x="61" y="133"/>
                    <a:pt x="62" y="133"/>
                  </a:cubicBezTo>
                  <a:cubicBezTo>
                    <a:pt x="64" y="133"/>
                    <a:pt x="63" y="132"/>
                    <a:pt x="64" y="131"/>
                  </a:cubicBezTo>
                  <a:cubicBezTo>
                    <a:pt x="64" y="131"/>
                    <a:pt x="65" y="130"/>
                    <a:pt x="66" y="129"/>
                  </a:cubicBezTo>
                  <a:cubicBezTo>
                    <a:pt x="68" y="128"/>
                    <a:pt x="69" y="128"/>
                    <a:pt x="71" y="129"/>
                  </a:cubicBezTo>
                  <a:cubicBezTo>
                    <a:pt x="74" y="130"/>
                    <a:pt x="76" y="131"/>
                    <a:pt x="80" y="131"/>
                  </a:cubicBezTo>
                  <a:cubicBezTo>
                    <a:pt x="81" y="131"/>
                    <a:pt x="82" y="131"/>
                    <a:pt x="83" y="131"/>
                  </a:cubicBezTo>
                  <a:cubicBezTo>
                    <a:pt x="84" y="130"/>
                    <a:pt x="84" y="129"/>
                    <a:pt x="86" y="129"/>
                  </a:cubicBezTo>
                  <a:cubicBezTo>
                    <a:pt x="87" y="129"/>
                    <a:pt x="89" y="131"/>
                    <a:pt x="90" y="132"/>
                  </a:cubicBezTo>
                  <a:cubicBezTo>
                    <a:pt x="91" y="134"/>
                    <a:pt x="90" y="135"/>
                    <a:pt x="91" y="136"/>
                  </a:cubicBezTo>
                  <a:cubicBezTo>
                    <a:pt x="91" y="137"/>
                    <a:pt x="94" y="139"/>
                    <a:pt x="95" y="140"/>
                  </a:cubicBezTo>
                  <a:cubicBezTo>
                    <a:pt x="96" y="141"/>
                    <a:pt x="98" y="141"/>
                    <a:pt x="99" y="142"/>
                  </a:cubicBezTo>
                  <a:cubicBezTo>
                    <a:pt x="100" y="144"/>
                    <a:pt x="100" y="146"/>
                    <a:pt x="101" y="147"/>
                  </a:cubicBezTo>
                  <a:cubicBezTo>
                    <a:pt x="101" y="149"/>
                    <a:pt x="104" y="151"/>
                    <a:pt x="104" y="154"/>
                  </a:cubicBezTo>
                  <a:cubicBezTo>
                    <a:pt x="104" y="155"/>
                    <a:pt x="104" y="156"/>
                    <a:pt x="103" y="156"/>
                  </a:cubicBezTo>
                  <a:cubicBezTo>
                    <a:pt x="101" y="159"/>
                    <a:pt x="99" y="162"/>
                    <a:pt x="97" y="164"/>
                  </a:cubicBezTo>
                  <a:cubicBezTo>
                    <a:pt x="95" y="166"/>
                    <a:pt x="95" y="167"/>
                    <a:pt x="95" y="170"/>
                  </a:cubicBezTo>
                  <a:cubicBezTo>
                    <a:pt x="94" y="173"/>
                    <a:pt x="93" y="176"/>
                    <a:pt x="93" y="180"/>
                  </a:cubicBezTo>
                  <a:cubicBezTo>
                    <a:pt x="93" y="181"/>
                    <a:pt x="92" y="182"/>
                    <a:pt x="92" y="184"/>
                  </a:cubicBezTo>
                  <a:cubicBezTo>
                    <a:pt x="92" y="185"/>
                    <a:pt x="92" y="187"/>
                    <a:pt x="92" y="189"/>
                  </a:cubicBezTo>
                  <a:cubicBezTo>
                    <a:pt x="92" y="190"/>
                    <a:pt x="92" y="190"/>
                    <a:pt x="93" y="190"/>
                  </a:cubicBezTo>
                  <a:cubicBezTo>
                    <a:pt x="93" y="190"/>
                    <a:pt x="94" y="190"/>
                    <a:pt x="94" y="191"/>
                  </a:cubicBezTo>
                  <a:cubicBezTo>
                    <a:pt x="95" y="191"/>
                    <a:pt x="95" y="191"/>
                    <a:pt x="95" y="192"/>
                  </a:cubicBezTo>
                  <a:cubicBezTo>
                    <a:pt x="97" y="193"/>
                    <a:pt x="99" y="194"/>
                    <a:pt x="101" y="194"/>
                  </a:cubicBezTo>
                  <a:cubicBezTo>
                    <a:pt x="103" y="195"/>
                    <a:pt x="105" y="196"/>
                    <a:pt x="107" y="196"/>
                  </a:cubicBezTo>
                  <a:cubicBezTo>
                    <a:pt x="109" y="196"/>
                    <a:pt x="110" y="196"/>
                    <a:pt x="111" y="197"/>
                  </a:cubicBezTo>
                  <a:cubicBezTo>
                    <a:pt x="112" y="198"/>
                    <a:pt x="113" y="199"/>
                    <a:pt x="114" y="200"/>
                  </a:cubicBezTo>
                  <a:cubicBezTo>
                    <a:pt x="114" y="200"/>
                    <a:pt x="115" y="201"/>
                    <a:pt x="115" y="201"/>
                  </a:cubicBezTo>
                  <a:cubicBezTo>
                    <a:pt x="116" y="202"/>
                    <a:pt x="115" y="203"/>
                    <a:pt x="116" y="203"/>
                  </a:cubicBezTo>
                  <a:cubicBezTo>
                    <a:pt x="116" y="204"/>
                    <a:pt x="117" y="205"/>
                    <a:pt x="117" y="205"/>
                  </a:cubicBezTo>
                  <a:cubicBezTo>
                    <a:pt x="121" y="206"/>
                    <a:pt x="125" y="205"/>
                    <a:pt x="128" y="207"/>
                  </a:cubicBezTo>
                  <a:cubicBezTo>
                    <a:pt x="129" y="208"/>
                    <a:pt x="131" y="210"/>
                    <a:pt x="132" y="210"/>
                  </a:cubicBezTo>
                  <a:cubicBezTo>
                    <a:pt x="132" y="211"/>
                    <a:pt x="132" y="212"/>
                    <a:pt x="132" y="213"/>
                  </a:cubicBezTo>
                  <a:cubicBezTo>
                    <a:pt x="132" y="215"/>
                    <a:pt x="134" y="216"/>
                    <a:pt x="134" y="217"/>
                  </a:cubicBezTo>
                  <a:cubicBezTo>
                    <a:pt x="135" y="218"/>
                    <a:pt x="137" y="219"/>
                    <a:pt x="138" y="221"/>
                  </a:cubicBezTo>
                  <a:cubicBezTo>
                    <a:pt x="139" y="223"/>
                    <a:pt x="139" y="228"/>
                    <a:pt x="138" y="230"/>
                  </a:cubicBezTo>
                  <a:cubicBezTo>
                    <a:pt x="138" y="231"/>
                    <a:pt x="137" y="230"/>
                    <a:pt x="137" y="231"/>
                  </a:cubicBezTo>
                  <a:cubicBezTo>
                    <a:pt x="136" y="232"/>
                    <a:pt x="137" y="233"/>
                    <a:pt x="137" y="233"/>
                  </a:cubicBezTo>
                  <a:cubicBezTo>
                    <a:pt x="137" y="234"/>
                    <a:pt x="136" y="236"/>
                    <a:pt x="137" y="237"/>
                  </a:cubicBezTo>
                  <a:cubicBezTo>
                    <a:pt x="137" y="238"/>
                    <a:pt x="137" y="239"/>
                    <a:pt x="138" y="240"/>
                  </a:cubicBezTo>
                  <a:cubicBezTo>
                    <a:pt x="138" y="240"/>
                    <a:pt x="138" y="240"/>
                    <a:pt x="139" y="239"/>
                  </a:cubicBezTo>
                  <a:cubicBezTo>
                    <a:pt x="139" y="238"/>
                    <a:pt x="140" y="237"/>
                    <a:pt x="141" y="237"/>
                  </a:cubicBezTo>
                  <a:cubicBezTo>
                    <a:pt x="142" y="235"/>
                    <a:pt x="142" y="235"/>
                    <a:pt x="144" y="235"/>
                  </a:cubicBezTo>
                  <a:cubicBezTo>
                    <a:pt x="147" y="234"/>
                    <a:pt x="149" y="234"/>
                    <a:pt x="152" y="234"/>
                  </a:cubicBezTo>
                  <a:cubicBezTo>
                    <a:pt x="153" y="234"/>
                    <a:pt x="154" y="234"/>
                    <a:pt x="155" y="234"/>
                  </a:cubicBezTo>
                  <a:cubicBezTo>
                    <a:pt x="156" y="235"/>
                    <a:pt x="156" y="235"/>
                    <a:pt x="157" y="235"/>
                  </a:cubicBezTo>
                  <a:cubicBezTo>
                    <a:pt x="158" y="236"/>
                    <a:pt x="159" y="236"/>
                    <a:pt x="159" y="236"/>
                  </a:cubicBezTo>
                  <a:cubicBezTo>
                    <a:pt x="161" y="236"/>
                    <a:pt x="166" y="238"/>
                    <a:pt x="167" y="236"/>
                  </a:cubicBezTo>
                  <a:cubicBezTo>
                    <a:pt x="167" y="236"/>
                    <a:pt x="167" y="237"/>
                    <a:pt x="167" y="237"/>
                  </a:cubicBezTo>
                  <a:cubicBezTo>
                    <a:pt x="170" y="238"/>
                    <a:pt x="174" y="237"/>
                    <a:pt x="176" y="238"/>
                  </a:cubicBezTo>
                  <a:cubicBezTo>
                    <a:pt x="179" y="239"/>
                    <a:pt x="182" y="242"/>
                    <a:pt x="185" y="240"/>
                  </a:cubicBezTo>
                  <a:cubicBezTo>
                    <a:pt x="187" y="240"/>
                    <a:pt x="187" y="239"/>
                    <a:pt x="188" y="237"/>
                  </a:cubicBezTo>
                  <a:cubicBezTo>
                    <a:pt x="189" y="236"/>
                    <a:pt x="190" y="236"/>
                    <a:pt x="192" y="235"/>
                  </a:cubicBezTo>
                  <a:cubicBezTo>
                    <a:pt x="192" y="235"/>
                    <a:pt x="193" y="234"/>
                    <a:pt x="194" y="234"/>
                  </a:cubicBezTo>
                  <a:cubicBezTo>
                    <a:pt x="194" y="233"/>
                    <a:pt x="195" y="233"/>
                    <a:pt x="195" y="232"/>
                  </a:cubicBezTo>
                  <a:cubicBezTo>
                    <a:pt x="196" y="232"/>
                    <a:pt x="197" y="232"/>
                    <a:pt x="197" y="232"/>
                  </a:cubicBezTo>
                  <a:cubicBezTo>
                    <a:pt x="198" y="231"/>
                    <a:pt x="199" y="230"/>
                    <a:pt x="200" y="230"/>
                  </a:cubicBezTo>
                  <a:cubicBezTo>
                    <a:pt x="201" y="232"/>
                    <a:pt x="198" y="236"/>
                    <a:pt x="202" y="234"/>
                  </a:cubicBezTo>
                  <a:cubicBezTo>
                    <a:pt x="202" y="234"/>
                    <a:pt x="203" y="234"/>
                    <a:pt x="203" y="234"/>
                  </a:cubicBezTo>
                  <a:cubicBezTo>
                    <a:pt x="204" y="233"/>
                    <a:pt x="204" y="233"/>
                    <a:pt x="205" y="232"/>
                  </a:cubicBezTo>
                  <a:cubicBezTo>
                    <a:pt x="206" y="231"/>
                    <a:pt x="207" y="232"/>
                    <a:pt x="208" y="231"/>
                  </a:cubicBezTo>
                  <a:cubicBezTo>
                    <a:pt x="209" y="229"/>
                    <a:pt x="207" y="228"/>
                    <a:pt x="207" y="226"/>
                  </a:cubicBezTo>
                  <a:cubicBezTo>
                    <a:pt x="207" y="225"/>
                    <a:pt x="207" y="223"/>
                    <a:pt x="207" y="222"/>
                  </a:cubicBezTo>
                  <a:cubicBezTo>
                    <a:pt x="207" y="221"/>
                    <a:pt x="208" y="218"/>
                    <a:pt x="210" y="218"/>
                  </a:cubicBezTo>
                  <a:cubicBezTo>
                    <a:pt x="211" y="217"/>
                    <a:pt x="214" y="216"/>
                    <a:pt x="216" y="216"/>
                  </a:cubicBezTo>
                  <a:cubicBezTo>
                    <a:pt x="217" y="217"/>
                    <a:pt x="217" y="219"/>
                    <a:pt x="219" y="219"/>
                  </a:cubicBezTo>
                  <a:cubicBezTo>
                    <a:pt x="220" y="220"/>
                    <a:pt x="222" y="220"/>
                    <a:pt x="223" y="220"/>
                  </a:cubicBezTo>
                  <a:cubicBezTo>
                    <a:pt x="228" y="220"/>
                    <a:pt x="227" y="215"/>
                    <a:pt x="227" y="212"/>
                  </a:cubicBezTo>
                  <a:cubicBezTo>
                    <a:pt x="227" y="208"/>
                    <a:pt x="231" y="204"/>
                    <a:pt x="235" y="205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37" y="205"/>
                    <a:pt x="237" y="205"/>
                    <a:pt x="237" y="204"/>
                  </a:cubicBezTo>
                  <a:cubicBezTo>
                    <a:pt x="238" y="204"/>
                    <a:pt x="238" y="204"/>
                    <a:pt x="238" y="204"/>
                  </a:cubicBezTo>
                  <a:cubicBezTo>
                    <a:pt x="241" y="204"/>
                    <a:pt x="244" y="204"/>
                    <a:pt x="246" y="204"/>
                  </a:cubicBezTo>
                  <a:cubicBezTo>
                    <a:pt x="246" y="206"/>
                    <a:pt x="248" y="206"/>
                    <a:pt x="248" y="208"/>
                  </a:cubicBezTo>
                  <a:cubicBezTo>
                    <a:pt x="248" y="210"/>
                    <a:pt x="247" y="210"/>
                    <a:pt x="247" y="212"/>
                  </a:cubicBezTo>
                  <a:cubicBezTo>
                    <a:pt x="246" y="213"/>
                    <a:pt x="246" y="215"/>
                    <a:pt x="246" y="216"/>
                  </a:cubicBezTo>
                  <a:cubicBezTo>
                    <a:pt x="246" y="218"/>
                    <a:pt x="246" y="218"/>
                    <a:pt x="248" y="219"/>
                  </a:cubicBezTo>
                  <a:cubicBezTo>
                    <a:pt x="250" y="219"/>
                    <a:pt x="254" y="219"/>
                    <a:pt x="256" y="219"/>
                  </a:cubicBezTo>
                  <a:cubicBezTo>
                    <a:pt x="257" y="219"/>
                    <a:pt x="259" y="218"/>
                    <a:pt x="259" y="217"/>
                  </a:cubicBezTo>
                  <a:cubicBezTo>
                    <a:pt x="261" y="214"/>
                    <a:pt x="259" y="211"/>
                    <a:pt x="257" y="209"/>
                  </a:cubicBezTo>
                  <a:cubicBezTo>
                    <a:pt x="257" y="208"/>
                    <a:pt x="256" y="207"/>
                    <a:pt x="255" y="207"/>
                  </a:cubicBezTo>
                  <a:cubicBezTo>
                    <a:pt x="254" y="206"/>
                    <a:pt x="253" y="205"/>
                    <a:pt x="252" y="204"/>
                  </a:cubicBezTo>
                  <a:cubicBezTo>
                    <a:pt x="252" y="204"/>
                    <a:pt x="252" y="202"/>
                    <a:pt x="251" y="202"/>
                  </a:cubicBezTo>
                  <a:cubicBezTo>
                    <a:pt x="250" y="200"/>
                    <a:pt x="249" y="201"/>
                    <a:pt x="249" y="199"/>
                  </a:cubicBezTo>
                  <a:cubicBezTo>
                    <a:pt x="249" y="198"/>
                    <a:pt x="249" y="197"/>
                    <a:pt x="249" y="196"/>
                  </a:cubicBezTo>
                  <a:cubicBezTo>
                    <a:pt x="249" y="195"/>
                    <a:pt x="249" y="194"/>
                    <a:pt x="250" y="193"/>
                  </a:cubicBezTo>
                  <a:cubicBezTo>
                    <a:pt x="250" y="192"/>
                    <a:pt x="251" y="191"/>
                    <a:pt x="251" y="191"/>
                  </a:cubicBezTo>
                  <a:cubicBezTo>
                    <a:pt x="252" y="189"/>
                    <a:pt x="253" y="188"/>
                    <a:pt x="254" y="186"/>
                  </a:cubicBezTo>
                  <a:cubicBezTo>
                    <a:pt x="255" y="184"/>
                    <a:pt x="256" y="183"/>
                    <a:pt x="257" y="180"/>
                  </a:cubicBezTo>
                  <a:cubicBezTo>
                    <a:pt x="257" y="179"/>
                    <a:pt x="258" y="177"/>
                    <a:pt x="258" y="176"/>
                  </a:cubicBezTo>
                  <a:cubicBezTo>
                    <a:pt x="259" y="172"/>
                    <a:pt x="258" y="168"/>
                    <a:pt x="258" y="164"/>
                  </a:cubicBezTo>
                  <a:cubicBezTo>
                    <a:pt x="258" y="161"/>
                    <a:pt x="258" y="158"/>
                    <a:pt x="258" y="155"/>
                  </a:cubicBezTo>
                  <a:cubicBezTo>
                    <a:pt x="258" y="155"/>
                    <a:pt x="258" y="154"/>
                    <a:pt x="258" y="154"/>
                  </a:cubicBezTo>
                  <a:cubicBezTo>
                    <a:pt x="259" y="153"/>
                    <a:pt x="259" y="153"/>
                    <a:pt x="259" y="152"/>
                  </a:cubicBezTo>
                  <a:cubicBezTo>
                    <a:pt x="260" y="150"/>
                    <a:pt x="260" y="150"/>
                    <a:pt x="261" y="149"/>
                  </a:cubicBezTo>
                  <a:cubicBezTo>
                    <a:pt x="263" y="148"/>
                    <a:pt x="264" y="148"/>
                    <a:pt x="265" y="148"/>
                  </a:cubicBezTo>
                  <a:cubicBezTo>
                    <a:pt x="266" y="147"/>
                    <a:pt x="268" y="146"/>
                    <a:pt x="269" y="145"/>
                  </a:cubicBezTo>
                  <a:cubicBezTo>
                    <a:pt x="269" y="145"/>
                    <a:pt x="269" y="144"/>
                    <a:pt x="270" y="144"/>
                  </a:cubicBezTo>
                  <a:cubicBezTo>
                    <a:pt x="271" y="143"/>
                    <a:pt x="273" y="143"/>
                    <a:pt x="274" y="142"/>
                  </a:cubicBezTo>
                  <a:cubicBezTo>
                    <a:pt x="276" y="142"/>
                    <a:pt x="277" y="142"/>
                    <a:pt x="279" y="142"/>
                  </a:cubicBezTo>
                  <a:cubicBezTo>
                    <a:pt x="281" y="142"/>
                    <a:pt x="281" y="142"/>
                    <a:pt x="282" y="141"/>
                  </a:cubicBezTo>
                  <a:cubicBezTo>
                    <a:pt x="282" y="140"/>
                    <a:pt x="283" y="139"/>
                    <a:pt x="283" y="138"/>
                  </a:cubicBezTo>
                  <a:cubicBezTo>
                    <a:pt x="283" y="137"/>
                    <a:pt x="283" y="136"/>
                    <a:pt x="283" y="135"/>
                  </a:cubicBezTo>
                  <a:cubicBezTo>
                    <a:pt x="283" y="135"/>
                    <a:pt x="284" y="135"/>
                    <a:pt x="284" y="134"/>
                  </a:cubicBezTo>
                  <a:cubicBezTo>
                    <a:pt x="284" y="134"/>
                    <a:pt x="284" y="134"/>
                    <a:pt x="284" y="133"/>
                  </a:cubicBezTo>
                  <a:cubicBezTo>
                    <a:pt x="285" y="133"/>
                    <a:pt x="285" y="132"/>
                    <a:pt x="285" y="132"/>
                  </a:cubicBezTo>
                  <a:cubicBezTo>
                    <a:pt x="287" y="131"/>
                    <a:pt x="288" y="130"/>
                    <a:pt x="289" y="129"/>
                  </a:cubicBezTo>
                  <a:cubicBezTo>
                    <a:pt x="291" y="129"/>
                    <a:pt x="293" y="128"/>
                    <a:pt x="294" y="127"/>
                  </a:cubicBezTo>
                  <a:cubicBezTo>
                    <a:pt x="295" y="126"/>
                    <a:pt x="295" y="126"/>
                    <a:pt x="296" y="125"/>
                  </a:cubicBezTo>
                  <a:cubicBezTo>
                    <a:pt x="298" y="125"/>
                    <a:pt x="299" y="124"/>
                    <a:pt x="301" y="124"/>
                  </a:cubicBezTo>
                  <a:cubicBezTo>
                    <a:pt x="302" y="123"/>
                    <a:pt x="303" y="124"/>
                    <a:pt x="304" y="123"/>
                  </a:cubicBezTo>
                  <a:cubicBezTo>
                    <a:pt x="305" y="123"/>
                    <a:pt x="305" y="122"/>
                    <a:pt x="306" y="122"/>
                  </a:cubicBezTo>
                  <a:cubicBezTo>
                    <a:pt x="307" y="121"/>
                    <a:pt x="308" y="121"/>
                    <a:pt x="309" y="120"/>
                  </a:cubicBezTo>
                  <a:cubicBezTo>
                    <a:pt x="310" y="118"/>
                    <a:pt x="309" y="118"/>
                    <a:pt x="311" y="117"/>
                  </a:cubicBezTo>
                  <a:cubicBezTo>
                    <a:pt x="311" y="117"/>
                    <a:pt x="312" y="117"/>
                    <a:pt x="312" y="116"/>
                  </a:cubicBezTo>
                  <a:cubicBezTo>
                    <a:pt x="313" y="116"/>
                    <a:pt x="313" y="116"/>
                    <a:pt x="314" y="116"/>
                  </a:cubicBezTo>
                  <a:cubicBezTo>
                    <a:pt x="316" y="115"/>
                    <a:pt x="317" y="113"/>
                    <a:pt x="316" y="11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6" name="Freeform 38">
              <a:extLst>
                <a:ext uri="{FF2B5EF4-FFF2-40B4-BE49-F238E27FC236}">
                  <a16:creationId xmlns:a16="http://schemas.microsoft.com/office/drawing/2014/main" id="{A5030AEE-CB80-4C82-B584-DB2B179DCE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6763" y="3511550"/>
              <a:ext cx="947738" cy="849313"/>
            </a:xfrm>
            <a:custGeom>
              <a:avLst/>
              <a:gdLst/>
              <a:ahLst/>
              <a:cxnLst>
                <a:cxn ang="0">
                  <a:pos x="493" y="252"/>
                </a:cxn>
                <a:cxn ang="0">
                  <a:pos x="479" y="230"/>
                </a:cxn>
                <a:cxn ang="0">
                  <a:pos x="455" y="220"/>
                </a:cxn>
                <a:cxn ang="0">
                  <a:pos x="426" y="174"/>
                </a:cxn>
                <a:cxn ang="0">
                  <a:pos x="418" y="142"/>
                </a:cxn>
                <a:cxn ang="0">
                  <a:pos x="406" y="117"/>
                </a:cxn>
                <a:cxn ang="0">
                  <a:pos x="412" y="91"/>
                </a:cxn>
                <a:cxn ang="0">
                  <a:pos x="408" y="69"/>
                </a:cxn>
                <a:cxn ang="0">
                  <a:pos x="383" y="37"/>
                </a:cxn>
                <a:cxn ang="0">
                  <a:pos x="354" y="34"/>
                </a:cxn>
                <a:cxn ang="0">
                  <a:pos x="329" y="44"/>
                </a:cxn>
                <a:cxn ang="0">
                  <a:pos x="294" y="18"/>
                </a:cxn>
                <a:cxn ang="0">
                  <a:pos x="256" y="8"/>
                </a:cxn>
                <a:cxn ang="0">
                  <a:pos x="210" y="33"/>
                </a:cxn>
                <a:cxn ang="0">
                  <a:pos x="185" y="47"/>
                </a:cxn>
                <a:cxn ang="0">
                  <a:pos x="173" y="66"/>
                </a:cxn>
                <a:cxn ang="0">
                  <a:pos x="178" y="82"/>
                </a:cxn>
                <a:cxn ang="0">
                  <a:pos x="181" y="92"/>
                </a:cxn>
                <a:cxn ang="0">
                  <a:pos x="161" y="101"/>
                </a:cxn>
                <a:cxn ang="0">
                  <a:pos x="154" y="113"/>
                </a:cxn>
                <a:cxn ang="0">
                  <a:pos x="133" y="121"/>
                </a:cxn>
                <a:cxn ang="0">
                  <a:pos x="129" y="152"/>
                </a:cxn>
                <a:cxn ang="0">
                  <a:pos x="123" y="174"/>
                </a:cxn>
                <a:cxn ang="0">
                  <a:pos x="120" y="191"/>
                </a:cxn>
                <a:cxn ang="0">
                  <a:pos x="109" y="176"/>
                </a:cxn>
                <a:cxn ang="0">
                  <a:pos x="88" y="188"/>
                </a:cxn>
                <a:cxn ang="0">
                  <a:pos x="75" y="206"/>
                </a:cxn>
                <a:cxn ang="0">
                  <a:pos x="64" y="207"/>
                </a:cxn>
                <a:cxn ang="0">
                  <a:pos x="31" y="208"/>
                </a:cxn>
                <a:cxn ang="0">
                  <a:pos x="11" y="211"/>
                </a:cxn>
                <a:cxn ang="0">
                  <a:pos x="22" y="253"/>
                </a:cxn>
                <a:cxn ang="0">
                  <a:pos x="38" y="294"/>
                </a:cxn>
                <a:cxn ang="0">
                  <a:pos x="40" y="316"/>
                </a:cxn>
                <a:cxn ang="0">
                  <a:pos x="20" y="331"/>
                </a:cxn>
                <a:cxn ang="0">
                  <a:pos x="4" y="360"/>
                </a:cxn>
                <a:cxn ang="0">
                  <a:pos x="23" y="380"/>
                </a:cxn>
                <a:cxn ang="0">
                  <a:pos x="13" y="404"/>
                </a:cxn>
                <a:cxn ang="0">
                  <a:pos x="43" y="408"/>
                </a:cxn>
                <a:cxn ang="0">
                  <a:pos x="69" y="393"/>
                </a:cxn>
                <a:cxn ang="0">
                  <a:pos x="118" y="394"/>
                </a:cxn>
                <a:cxn ang="0">
                  <a:pos x="148" y="398"/>
                </a:cxn>
                <a:cxn ang="0">
                  <a:pos x="200" y="407"/>
                </a:cxn>
                <a:cxn ang="0">
                  <a:pos x="215" y="420"/>
                </a:cxn>
                <a:cxn ang="0">
                  <a:pos x="242" y="423"/>
                </a:cxn>
                <a:cxn ang="0">
                  <a:pos x="272" y="425"/>
                </a:cxn>
                <a:cxn ang="0">
                  <a:pos x="296" y="425"/>
                </a:cxn>
                <a:cxn ang="0">
                  <a:pos x="322" y="435"/>
                </a:cxn>
                <a:cxn ang="0">
                  <a:pos x="370" y="445"/>
                </a:cxn>
                <a:cxn ang="0">
                  <a:pos x="391" y="406"/>
                </a:cxn>
                <a:cxn ang="0">
                  <a:pos x="406" y="384"/>
                </a:cxn>
                <a:cxn ang="0">
                  <a:pos x="427" y="375"/>
                </a:cxn>
                <a:cxn ang="0">
                  <a:pos x="443" y="363"/>
                </a:cxn>
                <a:cxn ang="0">
                  <a:pos x="436" y="319"/>
                </a:cxn>
                <a:cxn ang="0">
                  <a:pos x="444" y="280"/>
                </a:cxn>
                <a:cxn ang="0">
                  <a:pos x="483" y="284"/>
                </a:cxn>
                <a:cxn ang="0">
                  <a:pos x="500" y="270"/>
                </a:cxn>
              </a:cxnLst>
              <a:rect l="0" t="0" r="r" b="b"/>
              <a:pathLst>
                <a:path w="507" h="454">
                  <a:moveTo>
                    <a:pt x="9" y="209"/>
                  </a:moveTo>
                  <a:cubicBezTo>
                    <a:pt x="9" y="210"/>
                    <a:pt x="9" y="210"/>
                    <a:pt x="9" y="211"/>
                  </a:cubicBezTo>
                  <a:cubicBezTo>
                    <a:pt x="9" y="210"/>
                    <a:pt x="9" y="210"/>
                    <a:pt x="9" y="209"/>
                  </a:cubicBezTo>
                  <a:moveTo>
                    <a:pt x="505" y="257"/>
                  </a:moveTo>
                  <a:cubicBezTo>
                    <a:pt x="503" y="254"/>
                    <a:pt x="502" y="255"/>
                    <a:pt x="498" y="255"/>
                  </a:cubicBezTo>
                  <a:cubicBezTo>
                    <a:pt x="496" y="255"/>
                    <a:pt x="495" y="255"/>
                    <a:pt x="493" y="252"/>
                  </a:cubicBezTo>
                  <a:cubicBezTo>
                    <a:pt x="491" y="249"/>
                    <a:pt x="491" y="246"/>
                    <a:pt x="491" y="242"/>
                  </a:cubicBezTo>
                  <a:cubicBezTo>
                    <a:pt x="491" y="241"/>
                    <a:pt x="490" y="239"/>
                    <a:pt x="490" y="238"/>
                  </a:cubicBezTo>
                  <a:cubicBezTo>
                    <a:pt x="490" y="236"/>
                    <a:pt x="492" y="232"/>
                    <a:pt x="491" y="230"/>
                  </a:cubicBezTo>
                  <a:cubicBezTo>
                    <a:pt x="489" y="229"/>
                    <a:pt x="487" y="232"/>
                    <a:pt x="484" y="232"/>
                  </a:cubicBezTo>
                  <a:cubicBezTo>
                    <a:pt x="483" y="232"/>
                    <a:pt x="483" y="231"/>
                    <a:pt x="482" y="231"/>
                  </a:cubicBezTo>
                  <a:cubicBezTo>
                    <a:pt x="481" y="230"/>
                    <a:pt x="480" y="231"/>
                    <a:pt x="479" y="230"/>
                  </a:cubicBezTo>
                  <a:cubicBezTo>
                    <a:pt x="478" y="230"/>
                    <a:pt x="478" y="231"/>
                    <a:pt x="476" y="229"/>
                  </a:cubicBezTo>
                  <a:cubicBezTo>
                    <a:pt x="475" y="228"/>
                    <a:pt x="475" y="227"/>
                    <a:pt x="474" y="226"/>
                  </a:cubicBezTo>
                  <a:cubicBezTo>
                    <a:pt x="472" y="225"/>
                    <a:pt x="468" y="226"/>
                    <a:pt x="466" y="225"/>
                  </a:cubicBezTo>
                  <a:cubicBezTo>
                    <a:pt x="462" y="225"/>
                    <a:pt x="457" y="227"/>
                    <a:pt x="453" y="227"/>
                  </a:cubicBezTo>
                  <a:cubicBezTo>
                    <a:pt x="452" y="225"/>
                    <a:pt x="453" y="225"/>
                    <a:pt x="454" y="224"/>
                  </a:cubicBezTo>
                  <a:cubicBezTo>
                    <a:pt x="454" y="223"/>
                    <a:pt x="454" y="221"/>
                    <a:pt x="455" y="220"/>
                  </a:cubicBezTo>
                  <a:cubicBezTo>
                    <a:pt x="457" y="215"/>
                    <a:pt x="458" y="211"/>
                    <a:pt x="458" y="206"/>
                  </a:cubicBezTo>
                  <a:cubicBezTo>
                    <a:pt x="457" y="204"/>
                    <a:pt x="456" y="203"/>
                    <a:pt x="456" y="201"/>
                  </a:cubicBezTo>
                  <a:cubicBezTo>
                    <a:pt x="455" y="199"/>
                    <a:pt x="454" y="198"/>
                    <a:pt x="453" y="197"/>
                  </a:cubicBezTo>
                  <a:cubicBezTo>
                    <a:pt x="446" y="193"/>
                    <a:pt x="438" y="200"/>
                    <a:pt x="435" y="190"/>
                  </a:cubicBezTo>
                  <a:cubicBezTo>
                    <a:pt x="434" y="188"/>
                    <a:pt x="434" y="185"/>
                    <a:pt x="432" y="182"/>
                  </a:cubicBezTo>
                  <a:cubicBezTo>
                    <a:pt x="431" y="179"/>
                    <a:pt x="428" y="177"/>
                    <a:pt x="426" y="174"/>
                  </a:cubicBezTo>
                  <a:cubicBezTo>
                    <a:pt x="425" y="171"/>
                    <a:pt x="425" y="167"/>
                    <a:pt x="422" y="165"/>
                  </a:cubicBezTo>
                  <a:cubicBezTo>
                    <a:pt x="421" y="164"/>
                    <a:pt x="417" y="165"/>
                    <a:pt x="416" y="163"/>
                  </a:cubicBezTo>
                  <a:cubicBezTo>
                    <a:pt x="415" y="161"/>
                    <a:pt x="416" y="160"/>
                    <a:pt x="417" y="159"/>
                  </a:cubicBezTo>
                  <a:cubicBezTo>
                    <a:pt x="419" y="156"/>
                    <a:pt x="421" y="154"/>
                    <a:pt x="422" y="150"/>
                  </a:cubicBezTo>
                  <a:cubicBezTo>
                    <a:pt x="423" y="149"/>
                    <a:pt x="422" y="147"/>
                    <a:pt x="422" y="145"/>
                  </a:cubicBezTo>
                  <a:cubicBezTo>
                    <a:pt x="421" y="142"/>
                    <a:pt x="420" y="142"/>
                    <a:pt x="418" y="142"/>
                  </a:cubicBezTo>
                  <a:cubicBezTo>
                    <a:pt x="415" y="142"/>
                    <a:pt x="414" y="143"/>
                    <a:pt x="413" y="141"/>
                  </a:cubicBezTo>
                  <a:cubicBezTo>
                    <a:pt x="411" y="140"/>
                    <a:pt x="411" y="139"/>
                    <a:pt x="409" y="138"/>
                  </a:cubicBezTo>
                  <a:cubicBezTo>
                    <a:pt x="406" y="136"/>
                    <a:pt x="402" y="137"/>
                    <a:pt x="401" y="132"/>
                  </a:cubicBezTo>
                  <a:cubicBezTo>
                    <a:pt x="399" y="129"/>
                    <a:pt x="403" y="126"/>
                    <a:pt x="402" y="123"/>
                  </a:cubicBezTo>
                  <a:cubicBezTo>
                    <a:pt x="402" y="121"/>
                    <a:pt x="400" y="120"/>
                    <a:pt x="402" y="118"/>
                  </a:cubicBezTo>
                  <a:cubicBezTo>
                    <a:pt x="403" y="117"/>
                    <a:pt x="405" y="117"/>
                    <a:pt x="406" y="117"/>
                  </a:cubicBezTo>
                  <a:cubicBezTo>
                    <a:pt x="406" y="116"/>
                    <a:pt x="407" y="115"/>
                    <a:pt x="408" y="115"/>
                  </a:cubicBezTo>
                  <a:cubicBezTo>
                    <a:pt x="408" y="114"/>
                    <a:pt x="408" y="112"/>
                    <a:pt x="408" y="111"/>
                  </a:cubicBezTo>
                  <a:cubicBezTo>
                    <a:pt x="410" y="111"/>
                    <a:pt x="411" y="110"/>
                    <a:pt x="412" y="109"/>
                  </a:cubicBezTo>
                  <a:cubicBezTo>
                    <a:pt x="412" y="108"/>
                    <a:pt x="412" y="106"/>
                    <a:pt x="412" y="105"/>
                  </a:cubicBezTo>
                  <a:cubicBezTo>
                    <a:pt x="411" y="102"/>
                    <a:pt x="411" y="102"/>
                    <a:pt x="412" y="100"/>
                  </a:cubicBezTo>
                  <a:cubicBezTo>
                    <a:pt x="413" y="97"/>
                    <a:pt x="412" y="94"/>
                    <a:pt x="412" y="91"/>
                  </a:cubicBezTo>
                  <a:cubicBezTo>
                    <a:pt x="410" y="91"/>
                    <a:pt x="406" y="89"/>
                    <a:pt x="405" y="88"/>
                  </a:cubicBezTo>
                  <a:cubicBezTo>
                    <a:pt x="404" y="86"/>
                    <a:pt x="405" y="87"/>
                    <a:pt x="405" y="85"/>
                  </a:cubicBezTo>
                  <a:cubicBezTo>
                    <a:pt x="405" y="83"/>
                    <a:pt x="405" y="81"/>
                    <a:pt x="406" y="80"/>
                  </a:cubicBezTo>
                  <a:cubicBezTo>
                    <a:pt x="407" y="79"/>
                    <a:pt x="408" y="79"/>
                    <a:pt x="408" y="78"/>
                  </a:cubicBezTo>
                  <a:cubicBezTo>
                    <a:pt x="408" y="77"/>
                    <a:pt x="408" y="76"/>
                    <a:pt x="408" y="76"/>
                  </a:cubicBezTo>
                  <a:cubicBezTo>
                    <a:pt x="408" y="73"/>
                    <a:pt x="408" y="71"/>
                    <a:pt x="408" y="69"/>
                  </a:cubicBezTo>
                  <a:cubicBezTo>
                    <a:pt x="408" y="64"/>
                    <a:pt x="410" y="63"/>
                    <a:pt x="411" y="58"/>
                  </a:cubicBezTo>
                  <a:cubicBezTo>
                    <a:pt x="411" y="57"/>
                    <a:pt x="411" y="54"/>
                    <a:pt x="409" y="54"/>
                  </a:cubicBezTo>
                  <a:cubicBezTo>
                    <a:pt x="407" y="53"/>
                    <a:pt x="404" y="54"/>
                    <a:pt x="402" y="54"/>
                  </a:cubicBezTo>
                  <a:cubicBezTo>
                    <a:pt x="396" y="54"/>
                    <a:pt x="399" y="49"/>
                    <a:pt x="397" y="45"/>
                  </a:cubicBezTo>
                  <a:cubicBezTo>
                    <a:pt x="396" y="43"/>
                    <a:pt x="393" y="42"/>
                    <a:pt x="391" y="41"/>
                  </a:cubicBezTo>
                  <a:cubicBezTo>
                    <a:pt x="388" y="39"/>
                    <a:pt x="386" y="38"/>
                    <a:pt x="383" y="37"/>
                  </a:cubicBezTo>
                  <a:cubicBezTo>
                    <a:pt x="381" y="37"/>
                    <a:pt x="379" y="36"/>
                    <a:pt x="377" y="34"/>
                  </a:cubicBezTo>
                  <a:cubicBezTo>
                    <a:pt x="376" y="33"/>
                    <a:pt x="375" y="31"/>
                    <a:pt x="374" y="29"/>
                  </a:cubicBezTo>
                  <a:cubicBezTo>
                    <a:pt x="371" y="26"/>
                    <a:pt x="365" y="30"/>
                    <a:pt x="362" y="32"/>
                  </a:cubicBezTo>
                  <a:cubicBezTo>
                    <a:pt x="362" y="32"/>
                    <a:pt x="362" y="33"/>
                    <a:pt x="362" y="33"/>
                  </a:cubicBezTo>
                  <a:cubicBezTo>
                    <a:pt x="360" y="33"/>
                    <a:pt x="359" y="32"/>
                    <a:pt x="357" y="32"/>
                  </a:cubicBezTo>
                  <a:cubicBezTo>
                    <a:pt x="355" y="32"/>
                    <a:pt x="355" y="32"/>
                    <a:pt x="354" y="34"/>
                  </a:cubicBezTo>
                  <a:cubicBezTo>
                    <a:pt x="351" y="36"/>
                    <a:pt x="352" y="39"/>
                    <a:pt x="350" y="42"/>
                  </a:cubicBezTo>
                  <a:cubicBezTo>
                    <a:pt x="348" y="41"/>
                    <a:pt x="346" y="39"/>
                    <a:pt x="343" y="39"/>
                  </a:cubicBezTo>
                  <a:cubicBezTo>
                    <a:pt x="342" y="39"/>
                    <a:pt x="341" y="40"/>
                    <a:pt x="340" y="41"/>
                  </a:cubicBezTo>
                  <a:cubicBezTo>
                    <a:pt x="338" y="43"/>
                    <a:pt x="339" y="43"/>
                    <a:pt x="337" y="44"/>
                  </a:cubicBezTo>
                  <a:cubicBezTo>
                    <a:pt x="337" y="44"/>
                    <a:pt x="336" y="44"/>
                    <a:pt x="335" y="45"/>
                  </a:cubicBezTo>
                  <a:cubicBezTo>
                    <a:pt x="334" y="45"/>
                    <a:pt x="330" y="45"/>
                    <a:pt x="329" y="44"/>
                  </a:cubicBezTo>
                  <a:cubicBezTo>
                    <a:pt x="327" y="43"/>
                    <a:pt x="328" y="36"/>
                    <a:pt x="328" y="35"/>
                  </a:cubicBezTo>
                  <a:cubicBezTo>
                    <a:pt x="328" y="33"/>
                    <a:pt x="328" y="31"/>
                    <a:pt x="328" y="29"/>
                  </a:cubicBezTo>
                  <a:cubicBezTo>
                    <a:pt x="329" y="28"/>
                    <a:pt x="330" y="27"/>
                    <a:pt x="330" y="25"/>
                  </a:cubicBezTo>
                  <a:cubicBezTo>
                    <a:pt x="329" y="18"/>
                    <a:pt x="321" y="16"/>
                    <a:pt x="315" y="16"/>
                  </a:cubicBezTo>
                  <a:cubicBezTo>
                    <a:pt x="311" y="16"/>
                    <a:pt x="306" y="16"/>
                    <a:pt x="302" y="18"/>
                  </a:cubicBezTo>
                  <a:cubicBezTo>
                    <a:pt x="299" y="19"/>
                    <a:pt x="297" y="21"/>
                    <a:pt x="294" y="18"/>
                  </a:cubicBezTo>
                  <a:cubicBezTo>
                    <a:pt x="291" y="17"/>
                    <a:pt x="290" y="13"/>
                    <a:pt x="289" y="10"/>
                  </a:cubicBezTo>
                  <a:cubicBezTo>
                    <a:pt x="287" y="6"/>
                    <a:pt x="286" y="4"/>
                    <a:pt x="282" y="6"/>
                  </a:cubicBezTo>
                  <a:cubicBezTo>
                    <a:pt x="278" y="7"/>
                    <a:pt x="274" y="9"/>
                    <a:pt x="270" y="8"/>
                  </a:cubicBezTo>
                  <a:cubicBezTo>
                    <a:pt x="269" y="8"/>
                    <a:pt x="265" y="7"/>
                    <a:pt x="264" y="6"/>
                  </a:cubicBezTo>
                  <a:cubicBezTo>
                    <a:pt x="264" y="6"/>
                    <a:pt x="264" y="2"/>
                    <a:pt x="263" y="1"/>
                  </a:cubicBezTo>
                  <a:cubicBezTo>
                    <a:pt x="262" y="0"/>
                    <a:pt x="257" y="6"/>
                    <a:pt x="256" y="8"/>
                  </a:cubicBezTo>
                  <a:cubicBezTo>
                    <a:pt x="253" y="11"/>
                    <a:pt x="249" y="16"/>
                    <a:pt x="245" y="16"/>
                  </a:cubicBezTo>
                  <a:cubicBezTo>
                    <a:pt x="240" y="17"/>
                    <a:pt x="237" y="19"/>
                    <a:pt x="236" y="24"/>
                  </a:cubicBezTo>
                  <a:cubicBezTo>
                    <a:pt x="235" y="28"/>
                    <a:pt x="238" y="33"/>
                    <a:pt x="234" y="36"/>
                  </a:cubicBezTo>
                  <a:cubicBezTo>
                    <a:pt x="230" y="39"/>
                    <a:pt x="227" y="34"/>
                    <a:pt x="223" y="35"/>
                  </a:cubicBezTo>
                  <a:cubicBezTo>
                    <a:pt x="220" y="35"/>
                    <a:pt x="217" y="35"/>
                    <a:pt x="215" y="35"/>
                  </a:cubicBezTo>
                  <a:cubicBezTo>
                    <a:pt x="212" y="34"/>
                    <a:pt x="212" y="34"/>
                    <a:pt x="210" y="33"/>
                  </a:cubicBezTo>
                  <a:cubicBezTo>
                    <a:pt x="207" y="31"/>
                    <a:pt x="203" y="33"/>
                    <a:pt x="201" y="35"/>
                  </a:cubicBezTo>
                  <a:cubicBezTo>
                    <a:pt x="200" y="35"/>
                    <a:pt x="200" y="37"/>
                    <a:pt x="199" y="37"/>
                  </a:cubicBezTo>
                  <a:cubicBezTo>
                    <a:pt x="198" y="37"/>
                    <a:pt x="197" y="37"/>
                    <a:pt x="196" y="38"/>
                  </a:cubicBezTo>
                  <a:cubicBezTo>
                    <a:pt x="195" y="38"/>
                    <a:pt x="193" y="39"/>
                    <a:pt x="193" y="40"/>
                  </a:cubicBezTo>
                  <a:cubicBezTo>
                    <a:pt x="191" y="41"/>
                    <a:pt x="190" y="44"/>
                    <a:pt x="189" y="45"/>
                  </a:cubicBezTo>
                  <a:cubicBezTo>
                    <a:pt x="188" y="47"/>
                    <a:pt x="187" y="47"/>
                    <a:pt x="185" y="47"/>
                  </a:cubicBezTo>
                  <a:cubicBezTo>
                    <a:pt x="183" y="47"/>
                    <a:pt x="181" y="46"/>
                    <a:pt x="180" y="46"/>
                  </a:cubicBezTo>
                  <a:cubicBezTo>
                    <a:pt x="179" y="47"/>
                    <a:pt x="179" y="47"/>
                    <a:pt x="178" y="47"/>
                  </a:cubicBezTo>
                  <a:cubicBezTo>
                    <a:pt x="179" y="47"/>
                    <a:pt x="181" y="47"/>
                    <a:pt x="181" y="48"/>
                  </a:cubicBezTo>
                  <a:cubicBezTo>
                    <a:pt x="184" y="50"/>
                    <a:pt x="179" y="57"/>
                    <a:pt x="178" y="59"/>
                  </a:cubicBezTo>
                  <a:cubicBezTo>
                    <a:pt x="177" y="61"/>
                    <a:pt x="176" y="63"/>
                    <a:pt x="174" y="64"/>
                  </a:cubicBezTo>
                  <a:cubicBezTo>
                    <a:pt x="173" y="65"/>
                    <a:pt x="173" y="66"/>
                    <a:pt x="173" y="66"/>
                  </a:cubicBezTo>
                  <a:cubicBezTo>
                    <a:pt x="172" y="69"/>
                    <a:pt x="174" y="68"/>
                    <a:pt x="175" y="69"/>
                  </a:cubicBezTo>
                  <a:cubicBezTo>
                    <a:pt x="176" y="70"/>
                    <a:pt x="176" y="70"/>
                    <a:pt x="176" y="72"/>
                  </a:cubicBezTo>
                  <a:cubicBezTo>
                    <a:pt x="176" y="74"/>
                    <a:pt x="174" y="75"/>
                    <a:pt x="173" y="77"/>
                  </a:cubicBezTo>
                  <a:cubicBezTo>
                    <a:pt x="172" y="78"/>
                    <a:pt x="172" y="78"/>
                    <a:pt x="173" y="80"/>
                  </a:cubicBezTo>
                  <a:cubicBezTo>
                    <a:pt x="174" y="81"/>
                    <a:pt x="175" y="83"/>
                    <a:pt x="177" y="83"/>
                  </a:cubicBezTo>
                  <a:cubicBezTo>
                    <a:pt x="177" y="83"/>
                    <a:pt x="178" y="82"/>
                    <a:pt x="178" y="82"/>
                  </a:cubicBezTo>
                  <a:cubicBezTo>
                    <a:pt x="179" y="82"/>
                    <a:pt x="180" y="82"/>
                    <a:pt x="180" y="82"/>
                  </a:cubicBezTo>
                  <a:cubicBezTo>
                    <a:pt x="182" y="82"/>
                    <a:pt x="186" y="82"/>
                    <a:pt x="188" y="83"/>
                  </a:cubicBezTo>
                  <a:cubicBezTo>
                    <a:pt x="189" y="85"/>
                    <a:pt x="188" y="87"/>
                    <a:pt x="186" y="88"/>
                  </a:cubicBezTo>
                  <a:cubicBezTo>
                    <a:pt x="185" y="88"/>
                    <a:pt x="185" y="88"/>
                    <a:pt x="184" y="88"/>
                  </a:cubicBezTo>
                  <a:cubicBezTo>
                    <a:pt x="184" y="89"/>
                    <a:pt x="183" y="89"/>
                    <a:pt x="183" y="89"/>
                  </a:cubicBezTo>
                  <a:cubicBezTo>
                    <a:pt x="181" y="90"/>
                    <a:pt x="182" y="90"/>
                    <a:pt x="181" y="92"/>
                  </a:cubicBezTo>
                  <a:cubicBezTo>
                    <a:pt x="180" y="93"/>
                    <a:pt x="179" y="93"/>
                    <a:pt x="178" y="94"/>
                  </a:cubicBezTo>
                  <a:cubicBezTo>
                    <a:pt x="177" y="94"/>
                    <a:pt x="177" y="95"/>
                    <a:pt x="176" y="95"/>
                  </a:cubicBezTo>
                  <a:cubicBezTo>
                    <a:pt x="175" y="96"/>
                    <a:pt x="174" y="95"/>
                    <a:pt x="173" y="96"/>
                  </a:cubicBezTo>
                  <a:cubicBezTo>
                    <a:pt x="171" y="96"/>
                    <a:pt x="170" y="97"/>
                    <a:pt x="168" y="97"/>
                  </a:cubicBezTo>
                  <a:cubicBezTo>
                    <a:pt x="167" y="98"/>
                    <a:pt x="167" y="98"/>
                    <a:pt x="166" y="99"/>
                  </a:cubicBezTo>
                  <a:cubicBezTo>
                    <a:pt x="165" y="100"/>
                    <a:pt x="163" y="101"/>
                    <a:pt x="161" y="101"/>
                  </a:cubicBezTo>
                  <a:cubicBezTo>
                    <a:pt x="160" y="102"/>
                    <a:pt x="159" y="103"/>
                    <a:pt x="157" y="104"/>
                  </a:cubicBezTo>
                  <a:cubicBezTo>
                    <a:pt x="157" y="104"/>
                    <a:pt x="157" y="105"/>
                    <a:pt x="156" y="105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56" y="107"/>
                    <a:pt x="155" y="107"/>
                    <a:pt x="155" y="107"/>
                  </a:cubicBezTo>
                  <a:cubicBezTo>
                    <a:pt x="155" y="108"/>
                    <a:pt x="155" y="109"/>
                    <a:pt x="155" y="110"/>
                  </a:cubicBezTo>
                  <a:cubicBezTo>
                    <a:pt x="155" y="111"/>
                    <a:pt x="154" y="112"/>
                    <a:pt x="154" y="113"/>
                  </a:cubicBezTo>
                  <a:cubicBezTo>
                    <a:pt x="153" y="114"/>
                    <a:pt x="153" y="114"/>
                    <a:pt x="151" y="114"/>
                  </a:cubicBezTo>
                  <a:cubicBezTo>
                    <a:pt x="149" y="114"/>
                    <a:pt x="148" y="114"/>
                    <a:pt x="146" y="114"/>
                  </a:cubicBezTo>
                  <a:cubicBezTo>
                    <a:pt x="145" y="115"/>
                    <a:pt x="143" y="115"/>
                    <a:pt x="142" y="116"/>
                  </a:cubicBezTo>
                  <a:cubicBezTo>
                    <a:pt x="141" y="116"/>
                    <a:pt x="141" y="117"/>
                    <a:pt x="141" y="117"/>
                  </a:cubicBezTo>
                  <a:cubicBezTo>
                    <a:pt x="140" y="118"/>
                    <a:pt x="138" y="119"/>
                    <a:pt x="137" y="120"/>
                  </a:cubicBezTo>
                  <a:cubicBezTo>
                    <a:pt x="136" y="120"/>
                    <a:pt x="135" y="120"/>
                    <a:pt x="133" y="121"/>
                  </a:cubicBezTo>
                  <a:cubicBezTo>
                    <a:pt x="132" y="122"/>
                    <a:pt x="132" y="122"/>
                    <a:pt x="131" y="124"/>
                  </a:cubicBezTo>
                  <a:cubicBezTo>
                    <a:pt x="131" y="125"/>
                    <a:pt x="131" y="125"/>
                    <a:pt x="130" y="126"/>
                  </a:cubicBezTo>
                  <a:cubicBezTo>
                    <a:pt x="130" y="126"/>
                    <a:pt x="130" y="127"/>
                    <a:pt x="130" y="127"/>
                  </a:cubicBezTo>
                  <a:cubicBezTo>
                    <a:pt x="130" y="130"/>
                    <a:pt x="130" y="133"/>
                    <a:pt x="130" y="136"/>
                  </a:cubicBezTo>
                  <a:cubicBezTo>
                    <a:pt x="130" y="140"/>
                    <a:pt x="131" y="144"/>
                    <a:pt x="130" y="148"/>
                  </a:cubicBezTo>
                  <a:cubicBezTo>
                    <a:pt x="130" y="149"/>
                    <a:pt x="129" y="151"/>
                    <a:pt x="129" y="152"/>
                  </a:cubicBezTo>
                  <a:cubicBezTo>
                    <a:pt x="128" y="155"/>
                    <a:pt x="127" y="156"/>
                    <a:pt x="126" y="158"/>
                  </a:cubicBezTo>
                  <a:cubicBezTo>
                    <a:pt x="125" y="160"/>
                    <a:pt x="124" y="161"/>
                    <a:pt x="123" y="163"/>
                  </a:cubicBezTo>
                  <a:cubicBezTo>
                    <a:pt x="123" y="163"/>
                    <a:pt x="122" y="164"/>
                    <a:pt x="122" y="165"/>
                  </a:cubicBezTo>
                  <a:cubicBezTo>
                    <a:pt x="121" y="166"/>
                    <a:pt x="121" y="167"/>
                    <a:pt x="121" y="168"/>
                  </a:cubicBezTo>
                  <a:cubicBezTo>
                    <a:pt x="121" y="169"/>
                    <a:pt x="121" y="170"/>
                    <a:pt x="121" y="171"/>
                  </a:cubicBezTo>
                  <a:cubicBezTo>
                    <a:pt x="121" y="173"/>
                    <a:pt x="122" y="172"/>
                    <a:pt x="123" y="174"/>
                  </a:cubicBezTo>
                  <a:cubicBezTo>
                    <a:pt x="124" y="174"/>
                    <a:pt x="124" y="176"/>
                    <a:pt x="124" y="176"/>
                  </a:cubicBezTo>
                  <a:cubicBezTo>
                    <a:pt x="125" y="177"/>
                    <a:pt x="126" y="178"/>
                    <a:pt x="127" y="179"/>
                  </a:cubicBezTo>
                  <a:cubicBezTo>
                    <a:pt x="128" y="179"/>
                    <a:pt x="129" y="180"/>
                    <a:pt x="129" y="181"/>
                  </a:cubicBezTo>
                  <a:cubicBezTo>
                    <a:pt x="131" y="183"/>
                    <a:pt x="133" y="186"/>
                    <a:pt x="131" y="189"/>
                  </a:cubicBezTo>
                  <a:cubicBezTo>
                    <a:pt x="131" y="190"/>
                    <a:pt x="129" y="191"/>
                    <a:pt x="128" y="191"/>
                  </a:cubicBezTo>
                  <a:cubicBezTo>
                    <a:pt x="126" y="191"/>
                    <a:pt x="122" y="191"/>
                    <a:pt x="120" y="191"/>
                  </a:cubicBezTo>
                  <a:cubicBezTo>
                    <a:pt x="118" y="190"/>
                    <a:pt x="118" y="190"/>
                    <a:pt x="118" y="188"/>
                  </a:cubicBezTo>
                  <a:cubicBezTo>
                    <a:pt x="118" y="187"/>
                    <a:pt x="118" y="185"/>
                    <a:pt x="119" y="184"/>
                  </a:cubicBezTo>
                  <a:cubicBezTo>
                    <a:pt x="119" y="182"/>
                    <a:pt x="120" y="182"/>
                    <a:pt x="120" y="180"/>
                  </a:cubicBezTo>
                  <a:cubicBezTo>
                    <a:pt x="120" y="178"/>
                    <a:pt x="118" y="178"/>
                    <a:pt x="118" y="176"/>
                  </a:cubicBezTo>
                  <a:cubicBezTo>
                    <a:pt x="116" y="176"/>
                    <a:pt x="113" y="176"/>
                    <a:pt x="110" y="176"/>
                  </a:cubicBezTo>
                  <a:cubicBezTo>
                    <a:pt x="110" y="176"/>
                    <a:pt x="110" y="176"/>
                    <a:pt x="109" y="176"/>
                  </a:cubicBezTo>
                  <a:cubicBezTo>
                    <a:pt x="109" y="177"/>
                    <a:pt x="109" y="177"/>
                    <a:pt x="108" y="177"/>
                  </a:cubicBezTo>
                  <a:cubicBezTo>
                    <a:pt x="108" y="177"/>
                    <a:pt x="108" y="177"/>
                    <a:pt x="107" y="177"/>
                  </a:cubicBezTo>
                  <a:cubicBezTo>
                    <a:pt x="103" y="176"/>
                    <a:pt x="99" y="180"/>
                    <a:pt x="99" y="184"/>
                  </a:cubicBezTo>
                  <a:cubicBezTo>
                    <a:pt x="99" y="187"/>
                    <a:pt x="100" y="192"/>
                    <a:pt x="95" y="192"/>
                  </a:cubicBezTo>
                  <a:cubicBezTo>
                    <a:pt x="94" y="192"/>
                    <a:pt x="92" y="192"/>
                    <a:pt x="91" y="191"/>
                  </a:cubicBezTo>
                  <a:cubicBezTo>
                    <a:pt x="89" y="191"/>
                    <a:pt x="89" y="189"/>
                    <a:pt x="88" y="188"/>
                  </a:cubicBezTo>
                  <a:cubicBezTo>
                    <a:pt x="86" y="188"/>
                    <a:pt x="83" y="189"/>
                    <a:pt x="82" y="190"/>
                  </a:cubicBezTo>
                  <a:cubicBezTo>
                    <a:pt x="80" y="190"/>
                    <a:pt x="79" y="193"/>
                    <a:pt x="79" y="194"/>
                  </a:cubicBezTo>
                  <a:cubicBezTo>
                    <a:pt x="79" y="195"/>
                    <a:pt x="79" y="197"/>
                    <a:pt x="79" y="198"/>
                  </a:cubicBezTo>
                  <a:cubicBezTo>
                    <a:pt x="79" y="200"/>
                    <a:pt x="81" y="201"/>
                    <a:pt x="80" y="203"/>
                  </a:cubicBezTo>
                  <a:cubicBezTo>
                    <a:pt x="79" y="204"/>
                    <a:pt x="78" y="203"/>
                    <a:pt x="77" y="204"/>
                  </a:cubicBezTo>
                  <a:cubicBezTo>
                    <a:pt x="76" y="205"/>
                    <a:pt x="76" y="205"/>
                    <a:pt x="75" y="206"/>
                  </a:cubicBezTo>
                  <a:cubicBezTo>
                    <a:pt x="75" y="206"/>
                    <a:pt x="74" y="206"/>
                    <a:pt x="74" y="206"/>
                  </a:cubicBezTo>
                  <a:cubicBezTo>
                    <a:pt x="70" y="208"/>
                    <a:pt x="73" y="204"/>
                    <a:pt x="72" y="202"/>
                  </a:cubicBezTo>
                  <a:cubicBezTo>
                    <a:pt x="71" y="202"/>
                    <a:pt x="70" y="203"/>
                    <a:pt x="69" y="204"/>
                  </a:cubicBezTo>
                  <a:cubicBezTo>
                    <a:pt x="69" y="204"/>
                    <a:pt x="68" y="204"/>
                    <a:pt x="67" y="204"/>
                  </a:cubicBezTo>
                  <a:cubicBezTo>
                    <a:pt x="67" y="205"/>
                    <a:pt x="66" y="205"/>
                    <a:pt x="66" y="206"/>
                  </a:cubicBezTo>
                  <a:cubicBezTo>
                    <a:pt x="65" y="206"/>
                    <a:pt x="64" y="207"/>
                    <a:pt x="64" y="207"/>
                  </a:cubicBezTo>
                  <a:cubicBezTo>
                    <a:pt x="62" y="208"/>
                    <a:pt x="61" y="208"/>
                    <a:pt x="60" y="209"/>
                  </a:cubicBezTo>
                  <a:cubicBezTo>
                    <a:pt x="59" y="211"/>
                    <a:pt x="59" y="212"/>
                    <a:pt x="57" y="212"/>
                  </a:cubicBezTo>
                  <a:cubicBezTo>
                    <a:pt x="54" y="214"/>
                    <a:pt x="51" y="211"/>
                    <a:pt x="48" y="210"/>
                  </a:cubicBezTo>
                  <a:cubicBezTo>
                    <a:pt x="46" y="209"/>
                    <a:pt x="42" y="210"/>
                    <a:pt x="39" y="209"/>
                  </a:cubicBezTo>
                  <a:cubicBezTo>
                    <a:pt x="39" y="209"/>
                    <a:pt x="39" y="208"/>
                    <a:pt x="39" y="208"/>
                  </a:cubicBezTo>
                  <a:cubicBezTo>
                    <a:pt x="38" y="210"/>
                    <a:pt x="33" y="208"/>
                    <a:pt x="31" y="208"/>
                  </a:cubicBezTo>
                  <a:cubicBezTo>
                    <a:pt x="31" y="208"/>
                    <a:pt x="30" y="208"/>
                    <a:pt x="29" y="207"/>
                  </a:cubicBezTo>
                  <a:cubicBezTo>
                    <a:pt x="28" y="207"/>
                    <a:pt x="28" y="207"/>
                    <a:pt x="27" y="206"/>
                  </a:cubicBezTo>
                  <a:cubicBezTo>
                    <a:pt x="26" y="206"/>
                    <a:pt x="25" y="206"/>
                    <a:pt x="24" y="206"/>
                  </a:cubicBezTo>
                  <a:cubicBezTo>
                    <a:pt x="21" y="206"/>
                    <a:pt x="19" y="206"/>
                    <a:pt x="16" y="207"/>
                  </a:cubicBezTo>
                  <a:cubicBezTo>
                    <a:pt x="14" y="207"/>
                    <a:pt x="14" y="207"/>
                    <a:pt x="13" y="209"/>
                  </a:cubicBezTo>
                  <a:cubicBezTo>
                    <a:pt x="12" y="209"/>
                    <a:pt x="11" y="210"/>
                    <a:pt x="11" y="211"/>
                  </a:cubicBezTo>
                  <a:cubicBezTo>
                    <a:pt x="10" y="212"/>
                    <a:pt x="10" y="212"/>
                    <a:pt x="10" y="212"/>
                  </a:cubicBezTo>
                  <a:cubicBezTo>
                    <a:pt x="11" y="215"/>
                    <a:pt x="13" y="217"/>
                    <a:pt x="14" y="220"/>
                  </a:cubicBezTo>
                  <a:cubicBezTo>
                    <a:pt x="14" y="222"/>
                    <a:pt x="13" y="223"/>
                    <a:pt x="12" y="225"/>
                  </a:cubicBezTo>
                  <a:cubicBezTo>
                    <a:pt x="11" y="227"/>
                    <a:pt x="11" y="227"/>
                    <a:pt x="11" y="230"/>
                  </a:cubicBezTo>
                  <a:cubicBezTo>
                    <a:pt x="11" y="234"/>
                    <a:pt x="14" y="236"/>
                    <a:pt x="15" y="239"/>
                  </a:cubicBezTo>
                  <a:cubicBezTo>
                    <a:pt x="17" y="244"/>
                    <a:pt x="20" y="248"/>
                    <a:pt x="22" y="253"/>
                  </a:cubicBezTo>
                  <a:cubicBezTo>
                    <a:pt x="25" y="259"/>
                    <a:pt x="26" y="264"/>
                    <a:pt x="28" y="270"/>
                  </a:cubicBezTo>
                  <a:cubicBezTo>
                    <a:pt x="30" y="273"/>
                    <a:pt x="31" y="277"/>
                    <a:pt x="33" y="279"/>
                  </a:cubicBezTo>
                  <a:cubicBezTo>
                    <a:pt x="33" y="281"/>
                    <a:pt x="34" y="281"/>
                    <a:pt x="35" y="282"/>
                  </a:cubicBezTo>
                  <a:cubicBezTo>
                    <a:pt x="35" y="284"/>
                    <a:pt x="34" y="287"/>
                    <a:pt x="34" y="289"/>
                  </a:cubicBezTo>
                  <a:cubicBezTo>
                    <a:pt x="35" y="291"/>
                    <a:pt x="35" y="291"/>
                    <a:pt x="36" y="293"/>
                  </a:cubicBezTo>
                  <a:cubicBezTo>
                    <a:pt x="37" y="293"/>
                    <a:pt x="37" y="294"/>
                    <a:pt x="38" y="294"/>
                  </a:cubicBezTo>
                  <a:cubicBezTo>
                    <a:pt x="39" y="295"/>
                    <a:pt x="39" y="293"/>
                    <a:pt x="40" y="293"/>
                  </a:cubicBezTo>
                  <a:cubicBezTo>
                    <a:pt x="44" y="292"/>
                    <a:pt x="43" y="296"/>
                    <a:pt x="43" y="298"/>
                  </a:cubicBezTo>
                  <a:cubicBezTo>
                    <a:pt x="43" y="300"/>
                    <a:pt x="43" y="302"/>
                    <a:pt x="43" y="304"/>
                  </a:cubicBezTo>
                  <a:cubicBezTo>
                    <a:pt x="43" y="306"/>
                    <a:pt x="43" y="307"/>
                    <a:pt x="42" y="309"/>
                  </a:cubicBezTo>
                  <a:cubicBezTo>
                    <a:pt x="42" y="310"/>
                    <a:pt x="41" y="311"/>
                    <a:pt x="40" y="312"/>
                  </a:cubicBezTo>
                  <a:cubicBezTo>
                    <a:pt x="40" y="313"/>
                    <a:pt x="40" y="315"/>
                    <a:pt x="40" y="316"/>
                  </a:cubicBezTo>
                  <a:cubicBezTo>
                    <a:pt x="40" y="318"/>
                    <a:pt x="39" y="320"/>
                    <a:pt x="38" y="321"/>
                  </a:cubicBezTo>
                  <a:cubicBezTo>
                    <a:pt x="37" y="323"/>
                    <a:pt x="38" y="323"/>
                    <a:pt x="35" y="324"/>
                  </a:cubicBezTo>
                  <a:cubicBezTo>
                    <a:pt x="32" y="324"/>
                    <a:pt x="30" y="323"/>
                    <a:pt x="27" y="324"/>
                  </a:cubicBezTo>
                  <a:cubicBezTo>
                    <a:pt x="25" y="325"/>
                    <a:pt x="24" y="326"/>
                    <a:pt x="23" y="327"/>
                  </a:cubicBezTo>
                  <a:cubicBezTo>
                    <a:pt x="22" y="328"/>
                    <a:pt x="21" y="328"/>
                    <a:pt x="21" y="329"/>
                  </a:cubicBezTo>
                  <a:cubicBezTo>
                    <a:pt x="20" y="329"/>
                    <a:pt x="20" y="331"/>
                    <a:pt x="20" y="331"/>
                  </a:cubicBezTo>
                  <a:cubicBezTo>
                    <a:pt x="19" y="333"/>
                    <a:pt x="19" y="334"/>
                    <a:pt x="18" y="336"/>
                  </a:cubicBezTo>
                  <a:cubicBezTo>
                    <a:pt x="17" y="338"/>
                    <a:pt x="18" y="337"/>
                    <a:pt x="16" y="338"/>
                  </a:cubicBezTo>
                  <a:cubicBezTo>
                    <a:pt x="14" y="341"/>
                    <a:pt x="11" y="342"/>
                    <a:pt x="8" y="344"/>
                  </a:cubicBezTo>
                  <a:cubicBezTo>
                    <a:pt x="6" y="345"/>
                    <a:pt x="4" y="346"/>
                    <a:pt x="3" y="347"/>
                  </a:cubicBezTo>
                  <a:cubicBezTo>
                    <a:pt x="3" y="349"/>
                    <a:pt x="3" y="351"/>
                    <a:pt x="2" y="352"/>
                  </a:cubicBezTo>
                  <a:cubicBezTo>
                    <a:pt x="1" y="355"/>
                    <a:pt x="0" y="360"/>
                    <a:pt x="4" y="360"/>
                  </a:cubicBezTo>
                  <a:cubicBezTo>
                    <a:pt x="8" y="359"/>
                    <a:pt x="8" y="360"/>
                    <a:pt x="10" y="363"/>
                  </a:cubicBezTo>
                  <a:cubicBezTo>
                    <a:pt x="11" y="365"/>
                    <a:pt x="12" y="367"/>
                    <a:pt x="14" y="368"/>
                  </a:cubicBezTo>
                  <a:cubicBezTo>
                    <a:pt x="16" y="368"/>
                    <a:pt x="16" y="368"/>
                    <a:pt x="18" y="370"/>
                  </a:cubicBezTo>
                  <a:cubicBezTo>
                    <a:pt x="19" y="371"/>
                    <a:pt x="20" y="372"/>
                    <a:pt x="21" y="373"/>
                  </a:cubicBezTo>
                  <a:cubicBezTo>
                    <a:pt x="22" y="375"/>
                    <a:pt x="23" y="375"/>
                    <a:pt x="23" y="377"/>
                  </a:cubicBezTo>
                  <a:cubicBezTo>
                    <a:pt x="23" y="377"/>
                    <a:pt x="23" y="379"/>
                    <a:pt x="23" y="380"/>
                  </a:cubicBezTo>
                  <a:cubicBezTo>
                    <a:pt x="23" y="381"/>
                    <a:pt x="22" y="380"/>
                    <a:pt x="22" y="381"/>
                  </a:cubicBezTo>
                  <a:cubicBezTo>
                    <a:pt x="20" y="382"/>
                    <a:pt x="21" y="383"/>
                    <a:pt x="21" y="385"/>
                  </a:cubicBezTo>
                  <a:cubicBezTo>
                    <a:pt x="20" y="388"/>
                    <a:pt x="19" y="390"/>
                    <a:pt x="18" y="392"/>
                  </a:cubicBezTo>
                  <a:cubicBezTo>
                    <a:pt x="17" y="394"/>
                    <a:pt x="17" y="394"/>
                    <a:pt x="16" y="396"/>
                  </a:cubicBezTo>
                  <a:cubicBezTo>
                    <a:pt x="16" y="397"/>
                    <a:pt x="16" y="399"/>
                    <a:pt x="16" y="400"/>
                  </a:cubicBezTo>
                  <a:cubicBezTo>
                    <a:pt x="15" y="402"/>
                    <a:pt x="14" y="402"/>
                    <a:pt x="13" y="404"/>
                  </a:cubicBezTo>
                  <a:cubicBezTo>
                    <a:pt x="13" y="406"/>
                    <a:pt x="13" y="408"/>
                    <a:pt x="13" y="410"/>
                  </a:cubicBezTo>
                  <a:cubicBezTo>
                    <a:pt x="13" y="413"/>
                    <a:pt x="12" y="416"/>
                    <a:pt x="15" y="417"/>
                  </a:cubicBezTo>
                  <a:cubicBezTo>
                    <a:pt x="17" y="418"/>
                    <a:pt x="17" y="416"/>
                    <a:pt x="19" y="418"/>
                  </a:cubicBezTo>
                  <a:cubicBezTo>
                    <a:pt x="22" y="418"/>
                    <a:pt x="25" y="417"/>
                    <a:pt x="28" y="416"/>
                  </a:cubicBezTo>
                  <a:cubicBezTo>
                    <a:pt x="31" y="416"/>
                    <a:pt x="32" y="416"/>
                    <a:pt x="35" y="414"/>
                  </a:cubicBezTo>
                  <a:cubicBezTo>
                    <a:pt x="37" y="412"/>
                    <a:pt x="42" y="412"/>
                    <a:pt x="43" y="408"/>
                  </a:cubicBezTo>
                  <a:cubicBezTo>
                    <a:pt x="45" y="405"/>
                    <a:pt x="43" y="402"/>
                    <a:pt x="46" y="399"/>
                  </a:cubicBezTo>
                  <a:cubicBezTo>
                    <a:pt x="47" y="397"/>
                    <a:pt x="49" y="396"/>
                    <a:pt x="50" y="396"/>
                  </a:cubicBezTo>
                  <a:cubicBezTo>
                    <a:pt x="51" y="396"/>
                    <a:pt x="52" y="396"/>
                    <a:pt x="53" y="396"/>
                  </a:cubicBezTo>
                  <a:cubicBezTo>
                    <a:pt x="53" y="396"/>
                    <a:pt x="55" y="394"/>
                    <a:pt x="55" y="394"/>
                  </a:cubicBezTo>
                  <a:cubicBezTo>
                    <a:pt x="57" y="392"/>
                    <a:pt x="60" y="391"/>
                    <a:pt x="63" y="392"/>
                  </a:cubicBezTo>
                  <a:cubicBezTo>
                    <a:pt x="65" y="392"/>
                    <a:pt x="67" y="392"/>
                    <a:pt x="69" y="393"/>
                  </a:cubicBezTo>
                  <a:cubicBezTo>
                    <a:pt x="71" y="393"/>
                    <a:pt x="73" y="395"/>
                    <a:pt x="75" y="395"/>
                  </a:cubicBezTo>
                  <a:cubicBezTo>
                    <a:pt x="76" y="395"/>
                    <a:pt x="78" y="395"/>
                    <a:pt x="80" y="394"/>
                  </a:cubicBezTo>
                  <a:cubicBezTo>
                    <a:pt x="83" y="394"/>
                    <a:pt x="86" y="391"/>
                    <a:pt x="89" y="392"/>
                  </a:cubicBezTo>
                  <a:cubicBezTo>
                    <a:pt x="91" y="392"/>
                    <a:pt x="92" y="392"/>
                    <a:pt x="94" y="392"/>
                  </a:cubicBezTo>
                  <a:cubicBezTo>
                    <a:pt x="98" y="392"/>
                    <a:pt x="102" y="393"/>
                    <a:pt x="106" y="393"/>
                  </a:cubicBezTo>
                  <a:cubicBezTo>
                    <a:pt x="110" y="393"/>
                    <a:pt x="114" y="394"/>
                    <a:pt x="118" y="394"/>
                  </a:cubicBezTo>
                  <a:cubicBezTo>
                    <a:pt x="120" y="394"/>
                    <a:pt x="123" y="393"/>
                    <a:pt x="124" y="394"/>
                  </a:cubicBezTo>
                  <a:cubicBezTo>
                    <a:pt x="125" y="394"/>
                    <a:pt x="126" y="395"/>
                    <a:pt x="127" y="395"/>
                  </a:cubicBezTo>
                  <a:cubicBezTo>
                    <a:pt x="128" y="396"/>
                    <a:pt x="130" y="396"/>
                    <a:pt x="131" y="396"/>
                  </a:cubicBezTo>
                  <a:cubicBezTo>
                    <a:pt x="133" y="396"/>
                    <a:pt x="135" y="396"/>
                    <a:pt x="138" y="397"/>
                  </a:cubicBezTo>
                  <a:cubicBezTo>
                    <a:pt x="139" y="397"/>
                    <a:pt x="141" y="398"/>
                    <a:pt x="143" y="398"/>
                  </a:cubicBezTo>
                  <a:cubicBezTo>
                    <a:pt x="144" y="398"/>
                    <a:pt x="147" y="397"/>
                    <a:pt x="148" y="398"/>
                  </a:cubicBezTo>
                  <a:cubicBezTo>
                    <a:pt x="151" y="399"/>
                    <a:pt x="150" y="402"/>
                    <a:pt x="152" y="403"/>
                  </a:cubicBezTo>
                  <a:cubicBezTo>
                    <a:pt x="154" y="404"/>
                    <a:pt x="157" y="403"/>
                    <a:pt x="159" y="402"/>
                  </a:cubicBezTo>
                  <a:cubicBezTo>
                    <a:pt x="163" y="402"/>
                    <a:pt x="166" y="402"/>
                    <a:pt x="169" y="402"/>
                  </a:cubicBezTo>
                  <a:cubicBezTo>
                    <a:pt x="171" y="403"/>
                    <a:pt x="174" y="404"/>
                    <a:pt x="176" y="405"/>
                  </a:cubicBezTo>
                  <a:cubicBezTo>
                    <a:pt x="178" y="406"/>
                    <a:pt x="180" y="408"/>
                    <a:pt x="183" y="409"/>
                  </a:cubicBezTo>
                  <a:cubicBezTo>
                    <a:pt x="188" y="410"/>
                    <a:pt x="195" y="401"/>
                    <a:pt x="200" y="407"/>
                  </a:cubicBezTo>
                  <a:cubicBezTo>
                    <a:pt x="201" y="408"/>
                    <a:pt x="201" y="410"/>
                    <a:pt x="202" y="412"/>
                  </a:cubicBezTo>
                  <a:cubicBezTo>
                    <a:pt x="202" y="412"/>
                    <a:pt x="203" y="413"/>
                    <a:pt x="203" y="414"/>
                  </a:cubicBezTo>
                  <a:cubicBezTo>
                    <a:pt x="204" y="415"/>
                    <a:pt x="204" y="415"/>
                    <a:pt x="204" y="416"/>
                  </a:cubicBezTo>
                  <a:cubicBezTo>
                    <a:pt x="205" y="418"/>
                    <a:pt x="205" y="418"/>
                    <a:pt x="206" y="419"/>
                  </a:cubicBezTo>
                  <a:cubicBezTo>
                    <a:pt x="206" y="420"/>
                    <a:pt x="206" y="421"/>
                    <a:pt x="207" y="422"/>
                  </a:cubicBezTo>
                  <a:cubicBezTo>
                    <a:pt x="209" y="423"/>
                    <a:pt x="212" y="420"/>
                    <a:pt x="215" y="420"/>
                  </a:cubicBezTo>
                  <a:cubicBezTo>
                    <a:pt x="218" y="420"/>
                    <a:pt x="221" y="420"/>
                    <a:pt x="222" y="423"/>
                  </a:cubicBezTo>
                  <a:cubicBezTo>
                    <a:pt x="223" y="426"/>
                    <a:pt x="224" y="429"/>
                    <a:pt x="225" y="431"/>
                  </a:cubicBezTo>
                  <a:cubicBezTo>
                    <a:pt x="227" y="434"/>
                    <a:pt x="228" y="434"/>
                    <a:pt x="231" y="432"/>
                  </a:cubicBezTo>
                  <a:cubicBezTo>
                    <a:pt x="233" y="430"/>
                    <a:pt x="234" y="429"/>
                    <a:pt x="235" y="427"/>
                  </a:cubicBezTo>
                  <a:cubicBezTo>
                    <a:pt x="235" y="425"/>
                    <a:pt x="234" y="422"/>
                    <a:pt x="236" y="421"/>
                  </a:cubicBezTo>
                  <a:cubicBezTo>
                    <a:pt x="237" y="420"/>
                    <a:pt x="240" y="423"/>
                    <a:pt x="242" y="423"/>
                  </a:cubicBezTo>
                  <a:cubicBezTo>
                    <a:pt x="245" y="423"/>
                    <a:pt x="246" y="422"/>
                    <a:pt x="247" y="420"/>
                  </a:cubicBezTo>
                  <a:cubicBezTo>
                    <a:pt x="247" y="418"/>
                    <a:pt x="248" y="413"/>
                    <a:pt x="251" y="414"/>
                  </a:cubicBezTo>
                  <a:cubicBezTo>
                    <a:pt x="255" y="414"/>
                    <a:pt x="257" y="423"/>
                    <a:pt x="258" y="426"/>
                  </a:cubicBezTo>
                  <a:cubicBezTo>
                    <a:pt x="260" y="429"/>
                    <a:pt x="261" y="430"/>
                    <a:pt x="263" y="429"/>
                  </a:cubicBezTo>
                  <a:cubicBezTo>
                    <a:pt x="264" y="428"/>
                    <a:pt x="265" y="426"/>
                    <a:pt x="267" y="425"/>
                  </a:cubicBezTo>
                  <a:cubicBezTo>
                    <a:pt x="268" y="425"/>
                    <a:pt x="271" y="425"/>
                    <a:pt x="272" y="425"/>
                  </a:cubicBezTo>
                  <a:cubicBezTo>
                    <a:pt x="278" y="427"/>
                    <a:pt x="276" y="436"/>
                    <a:pt x="276" y="441"/>
                  </a:cubicBezTo>
                  <a:cubicBezTo>
                    <a:pt x="278" y="441"/>
                    <a:pt x="281" y="441"/>
                    <a:pt x="282" y="440"/>
                  </a:cubicBezTo>
                  <a:cubicBezTo>
                    <a:pt x="284" y="439"/>
                    <a:pt x="282" y="434"/>
                    <a:pt x="282" y="432"/>
                  </a:cubicBezTo>
                  <a:cubicBezTo>
                    <a:pt x="283" y="430"/>
                    <a:pt x="283" y="431"/>
                    <a:pt x="286" y="430"/>
                  </a:cubicBezTo>
                  <a:cubicBezTo>
                    <a:pt x="288" y="429"/>
                    <a:pt x="289" y="429"/>
                    <a:pt x="291" y="428"/>
                  </a:cubicBezTo>
                  <a:cubicBezTo>
                    <a:pt x="293" y="428"/>
                    <a:pt x="295" y="427"/>
                    <a:pt x="296" y="425"/>
                  </a:cubicBezTo>
                  <a:cubicBezTo>
                    <a:pt x="297" y="424"/>
                    <a:pt x="297" y="422"/>
                    <a:pt x="299" y="421"/>
                  </a:cubicBezTo>
                  <a:cubicBezTo>
                    <a:pt x="304" y="419"/>
                    <a:pt x="306" y="424"/>
                    <a:pt x="307" y="427"/>
                  </a:cubicBezTo>
                  <a:cubicBezTo>
                    <a:pt x="307" y="431"/>
                    <a:pt x="309" y="438"/>
                    <a:pt x="312" y="441"/>
                  </a:cubicBezTo>
                  <a:cubicBezTo>
                    <a:pt x="313" y="442"/>
                    <a:pt x="316" y="443"/>
                    <a:pt x="318" y="443"/>
                  </a:cubicBezTo>
                  <a:cubicBezTo>
                    <a:pt x="320" y="442"/>
                    <a:pt x="320" y="441"/>
                    <a:pt x="321" y="440"/>
                  </a:cubicBezTo>
                  <a:cubicBezTo>
                    <a:pt x="322" y="438"/>
                    <a:pt x="322" y="437"/>
                    <a:pt x="322" y="435"/>
                  </a:cubicBezTo>
                  <a:cubicBezTo>
                    <a:pt x="323" y="430"/>
                    <a:pt x="328" y="427"/>
                    <a:pt x="332" y="429"/>
                  </a:cubicBezTo>
                  <a:cubicBezTo>
                    <a:pt x="335" y="430"/>
                    <a:pt x="336" y="433"/>
                    <a:pt x="336" y="436"/>
                  </a:cubicBezTo>
                  <a:cubicBezTo>
                    <a:pt x="339" y="436"/>
                    <a:pt x="343" y="436"/>
                    <a:pt x="346" y="436"/>
                  </a:cubicBezTo>
                  <a:cubicBezTo>
                    <a:pt x="350" y="435"/>
                    <a:pt x="354" y="431"/>
                    <a:pt x="357" y="433"/>
                  </a:cubicBezTo>
                  <a:cubicBezTo>
                    <a:pt x="360" y="434"/>
                    <a:pt x="361" y="439"/>
                    <a:pt x="363" y="440"/>
                  </a:cubicBezTo>
                  <a:cubicBezTo>
                    <a:pt x="365" y="442"/>
                    <a:pt x="368" y="442"/>
                    <a:pt x="370" y="445"/>
                  </a:cubicBezTo>
                  <a:cubicBezTo>
                    <a:pt x="372" y="447"/>
                    <a:pt x="374" y="449"/>
                    <a:pt x="376" y="451"/>
                  </a:cubicBezTo>
                  <a:cubicBezTo>
                    <a:pt x="377" y="452"/>
                    <a:pt x="378" y="453"/>
                    <a:pt x="380" y="453"/>
                  </a:cubicBezTo>
                  <a:cubicBezTo>
                    <a:pt x="383" y="454"/>
                    <a:pt x="385" y="451"/>
                    <a:pt x="386" y="449"/>
                  </a:cubicBezTo>
                  <a:cubicBezTo>
                    <a:pt x="387" y="446"/>
                    <a:pt x="385" y="443"/>
                    <a:pt x="384" y="440"/>
                  </a:cubicBezTo>
                  <a:cubicBezTo>
                    <a:pt x="382" y="432"/>
                    <a:pt x="380" y="423"/>
                    <a:pt x="385" y="415"/>
                  </a:cubicBezTo>
                  <a:cubicBezTo>
                    <a:pt x="387" y="412"/>
                    <a:pt x="389" y="409"/>
                    <a:pt x="391" y="406"/>
                  </a:cubicBezTo>
                  <a:cubicBezTo>
                    <a:pt x="392" y="404"/>
                    <a:pt x="392" y="403"/>
                    <a:pt x="394" y="402"/>
                  </a:cubicBezTo>
                  <a:cubicBezTo>
                    <a:pt x="394" y="401"/>
                    <a:pt x="395" y="401"/>
                    <a:pt x="396" y="400"/>
                  </a:cubicBezTo>
                  <a:cubicBezTo>
                    <a:pt x="397" y="399"/>
                    <a:pt x="399" y="396"/>
                    <a:pt x="400" y="394"/>
                  </a:cubicBezTo>
                  <a:cubicBezTo>
                    <a:pt x="401" y="393"/>
                    <a:pt x="401" y="392"/>
                    <a:pt x="402" y="391"/>
                  </a:cubicBezTo>
                  <a:cubicBezTo>
                    <a:pt x="403" y="390"/>
                    <a:pt x="403" y="390"/>
                    <a:pt x="404" y="390"/>
                  </a:cubicBezTo>
                  <a:cubicBezTo>
                    <a:pt x="405" y="388"/>
                    <a:pt x="406" y="386"/>
                    <a:pt x="406" y="384"/>
                  </a:cubicBezTo>
                  <a:cubicBezTo>
                    <a:pt x="406" y="383"/>
                    <a:pt x="405" y="380"/>
                    <a:pt x="406" y="379"/>
                  </a:cubicBezTo>
                  <a:cubicBezTo>
                    <a:pt x="408" y="377"/>
                    <a:pt x="409" y="380"/>
                    <a:pt x="410" y="381"/>
                  </a:cubicBezTo>
                  <a:cubicBezTo>
                    <a:pt x="411" y="382"/>
                    <a:pt x="410" y="382"/>
                    <a:pt x="412" y="383"/>
                  </a:cubicBezTo>
                  <a:cubicBezTo>
                    <a:pt x="414" y="384"/>
                    <a:pt x="418" y="383"/>
                    <a:pt x="420" y="383"/>
                  </a:cubicBezTo>
                  <a:cubicBezTo>
                    <a:pt x="421" y="382"/>
                    <a:pt x="423" y="379"/>
                    <a:pt x="424" y="377"/>
                  </a:cubicBezTo>
                  <a:cubicBezTo>
                    <a:pt x="425" y="375"/>
                    <a:pt x="425" y="375"/>
                    <a:pt x="427" y="375"/>
                  </a:cubicBezTo>
                  <a:cubicBezTo>
                    <a:pt x="434" y="375"/>
                    <a:pt x="441" y="377"/>
                    <a:pt x="447" y="378"/>
                  </a:cubicBezTo>
                  <a:cubicBezTo>
                    <a:pt x="449" y="379"/>
                    <a:pt x="452" y="381"/>
                    <a:pt x="453" y="379"/>
                  </a:cubicBezTo>
                  <a:cubicBezTo>
                    <a:pt x="454" y="377"/>
                    <a:pt x="452" y="376"/>
                    <a:pt x="452" y="375"/>
                  </a:cubicBezTo>
                  <a:cubicBezTo>
                    <a:pt x="450" y="372"/>
                    <a:pt x="450" y="371"/>
                    <a:pt x="449" y="368"/>
                  </a:cubicBezTo>
                  <a:cubicBezTo>
                    <a:pt x="448" y="366"/>
                    <a:pt x="448" y="366"/>
                    <a:pt x="446" y="365"/>
                  </a:cubicBezTo>
                  <a:cubicBezTo>
                    <a:pt x="445" y="365"/>
                    <a:pt x="444" y="364"/>
                    <a:pt x="443" y="363"/>
                  </a:cubicBezTo>
                  <a:cubicBezTo>
                    <a:pt x="440" y="361"/>
                    <a:pt x="442" y="360"/>
                    <a:pt x="442" y="357"/>
                  </a:cubicBezTo>
                  <a:cubicBezTo>
                    <a:pt x="442" y="354"/>
                    <a:pt x="439" y="351"/>
                    <a:pt x="439" y="347"/>
                  </a:cubicBezTo>
                  <a:cubicBezTo>
                    <a:pt x="439" y="346"/>
                    <a:pt x="439" y="345"/>
                    <a:pt x="439" y="344"/>
                  </a:cubicBezTo>
                  <a:cubicBezTo>
                    <a:pt x="440" y="342"/>
                    <a:pt x="441" y="343"/>
                    <a:pt x="442" y="341"/>
                  </a:cubicBezTo>
                  <a:cubicBezTo>
                    <a:pt x="445" y="337"/>
                    <a:pt x="439" y="334"/>
                    <a:pt x="437" y="331"/>
                  </a:cubicBezTo>
                  <a:cubicBezTo>
                    <a:pt x="436" y="328"/>
                    <a:pt x="436" y="323"/>
                    <a:pt x="436" y="319"/>
                  </a:cubicBezTo>
                  <a:cubicBezTo>
                    <a:pt x="436" y="313"/>
                    <a:pt x="434" y="309"/>
                    <a:pt x="430" y="304"/>
                  </a:cubicBezTo>
                  <a:cubicBezTo>
                    <a:pt x="427" y="300"/>
                    <a:pt x="423" y="296"/>
                    <a:pt x="428" y="293"/>
                  </a:cubicBezTo>
                  <a:cubicBezTo>
                    <a:pt x="431" y="291"/>
                    <a:pt x="430" y="291"/>
                    <a:pt x="430" y="288"/>
                  </a:cubicBezTo>
                  <a:cubicBezTo>
                    <a:pt x="430" y="286"/>
                    <a:pt x="429" y="281"/>
                    <a:pt x="430" y="280"/>
                  </a:cubicBezTo>
                  <a:cubicBezTo>
                    <a:pt x="432" y="278"/>
                    <a:pt x="436" y="280"/>
                    <a:pt x="438" y="280"/>
                  </a:cubicBezTo>
                  <a:cubicBezTo>
                    <a:pt x="440" y="280"/>
                    <a:pt x="442" y="279"/>
                    <a:pt x="444" y="280"/>
                  </a:cubicBezTo>
                  <a:cubicBezTo>
                    <a:pt x="447" y="281"/>
                    <a:pt x="448" y="283"/>
                    <a:pt x="450" y="285"/>
                  </a:cubicBezTo>
                  <a:cubicBezTo>
                    <a:pt x="451" y="285"/>
                    <a:pt x="453" y="285"/>
                    <a:pt x="453" y="286"/>
                  </a:cubicBezTo>
                  <a:cubicBezTo>
                    <a:pt x="454" y="286"/>
                    <a:pt x="454" y="286"/>
                    <a:pt x="454" y="287"/>
                  </a:cubicBezTo>
                  <a:cubicBezTo>
                    <a:pt x="455" y="287"/>
                    <a:pt x="456" y="288"/>
                    <a:pt x="457" y="288"/>
                  </a:cubicBezTo>
                  <a:cubicBezTo>
                    <a:pt x="463" y="289"/>
                    <a:pt x="471" y="289"/>
                    <a:pt x="477" y="288"/>
                  </a:cubicBezTo>
                  <a:cubicBezTo>
                    <a:pt x="479" y="287"/>
                    <a:pt x="481" y="286"/>
                    <a:pt x="483" y="284"/>
                  </a:cubicBezTo>
                  <a:cubicBezTo>
                    <a:pt x="483" y="283"/>
                    <a:pt x="483" y="282"/>
                    <a:pt x="484" y="281"/>
                  </a:cubicBezTo>
                  <a:cubicBezTo>
                    <a:pt x="485" y="280"/>
                    <a:pt x="486" y="280"/>
                    <a:pt x="487" y="279"/>
                  </a:cubicBezTo>
                  <a:cubicBezTo>
                    <a:pt x="488" y="278"/>
                    <a:pt x="489" y="277"/>
                    <a:pt x="490" y="276"/>
                  </a:cubicBezTo>
                  <a:cubicBezTo>
                    <a:pt x="492" y="275"/>
                    <a:pt x="493" y="275"/>
                    <a:pt x="494" y="274"/>
                  </a:cubicBezTo>
                  <a:cubicBezTo>
                    <a:pt x="496" y="273"/>
                    <a:pt x="496" y="271"/>
                    <a:pt x="497" y="270"/>
                  </a:cubicBezTo>
                  <a:cubicBezTo>
                    <a:pt x="498" y="269"/>
                    <a:pt x="499" y="270"/>
                    <a:pt x="500" y="270"/>
                  </a:cubicBezTo>
                  <a:cubicBezTo>
                    <a:pt x="502" y="269"/>
                    <a:pt x="501" y="269"/>
                    <a:pt x="502" y="268"/>
                  </a:cubicBezTo>
                  <a:cubicBezTo>
                    <a:pt x="504" y="266"/>
                    <a:pt x="504" y="266"/>
                    <a:pt x="505" y="263"/>
                  </a:cubicBezTo>
                  <a:cubicBezTo>
                    <a:pt x="505" y="262"/>
                    <a:pt x="506" y="261"/>
                    <a:pt x="506" y="260"/>
                  </a:cubicBezTo>
                  <a:cubicBezTo>
                    <a:pt x="507" y="258"/>
                    <a:pt x="506" y="258"/>
                    <a:pt x="505" y="25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7" name="Freeform 39">
              <a:extLst>
                <a:ext uri="{FF2B5EF4-FFF2-40B4-BE49-F238E27FC236}">
                  <a16:creationId xmlns:a16="http://schemas.microsoft.com/office/drawing/2014/main" id="{0500F913-B4FF-4041-9271-8863BA63D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2763" y="3159125"/>
              <a:ext cx="746125" cy="441325"/>
            </a:xfrm>
            <a:custGeom>
              <a:avLst/>
              <a:gdLst/>
              <a:ahLst/>
              <a:cxnLst>
                <a:cxn ang="0">
                  <a:pos x="394" y="150"/>
                </a:cxn>
                <a:cxn ang="0">
                  <a:pos x="386" y="137"/>
                </a:cxn>
                <a:cxn ang="0">
                  <a:pos x="375" y="124"/>
                </a:cxn>
                <a:cxn ang="0">
                  <a:pos x="376" y="94"/>
                </a:cxn>
                <a:cxn ang="0">
                  <a:pos x="378" y="77"/>
                </a:cxn>
                <a:cxn ang="0">
                  <a:pos x="359" y="56"/>
                </a:cxn>
                <a:cxn ang="0">
                  <a:pos x="349" y="50"/>
                </a:cxn>
                <a:cxn ang="0">
                  <a:pos x="332" y="49"/>
                </a:cxn>
                <a:cxn ang="0">
                  <a:pos x="311" y="53"/>
                </a:cxn>
                <a:cxn ang="0">
                  <a:pos x="294" y="48"/>
                </a:cxn>
                <a:cxn ang="0">
                  <a:pos x="279" y="32"/>
                </a:cxn>
                <a:cxn ang="0">
                  <a:pos x="255" y="15"/>
                </a:cxn>
                <a:cxn ang="0">
                  <a:pos x="237" y="7"/>
                </a:cxn>
                <a:cxn ang="0">
                  <a:pos x="219" y="10"/>
                </a:cxn>
                <a:cxn ang="0">
                  <a:pos x="192" y="22"/>
                </a:cxn>
                <a:cxn ang="0">
                  <a:pos x="189" y="60"/>
                </a:cxn>
                <a:cxn ang="0">
                  <a:pos x="174" y="94"/>
                </a:cxn>
                <a:cxn ang="0">
                  <a:pos x="146" y="109"/>
                </a:cxn>
                <a:cxn ang="0">
                  <a:pos x="127" y="96"/>
                </a:cxn>
                <a:cxn ang="0">
                  <a:pos x="124" y="77"/>
                </a:cxn>
                <a:cxn ang="0">
                  <a:pos x="110" y="64"/>
                </a:cxn>
                <a:cxn ang="0">
                  <a:pos x="96" y="50"/>
                </a:cxn>
                <a:cxn ang="0">
                  <a:pos x="93" y="33"/>
                </a:cxn>
                <a:cxn ang="0">
                  <a:pos x="75" y="38"/>
                </a:cxn>
                <a:cxn ang="0">
                  <a:pos x="57" y="51"/>
                </a:cxn>
                <a:cxn ang="0">
                  <a:pos x="39" y="58"/>
                </a:cxn>
                <a:cxn ang="0">
                  <a:pos x="28" y="75"/>
                </a:cxn>
                <a:cxn ang="0">
                  <a:pos x="17" y="117"/>
                </a:cxn>
                <a:cxn ang="0">
                  <a:pos x="8" y="131"/>
                </a:cxn>
                <a:cxn ang="0">
                  <a:pos x="1" y="189"/>
                </a:cxn>
                <a:cxn ang="0">
                  <a:pos x="10" y="204"/>
                </a:cxn>
                <a:cxn ang="0">
                  <a:pos x="18" y="192"/>
                </a:cxn>
                <a:cxn ang="0">
                  <a:pos x="22" y="187"/>
                </a:cxn>
                <a:cxn ang="0">
                  <a:pos x="29" y="180"/>
                </a:cxn>
                <a:cxn ang="0">
                  <a:pos x="49" y="171"/>
                </a:cxn>
                <a:cxn ang="0">
                  <a:pos x="69" y="163"/>
                </a:cxn>
                <a:cxn ang="0">
                  <a:pos x="94" y="167"/>
                </a:cxn>
                <a:cxn ang="0">
                  <a:pos x="111" y="166"/>
                </a:cxn>
                <a:cxn ang="0">
                  <a:pos x="120" y="169"/>
                </a:cxn>
                <a:cxn ang="0">
                  <a:pos x="133" y="171"/>
                </a:cxn>
                <a:cxn ang="0">
                  <a:pos x="150" y="171"/>
                </a:cxn>
                <a:cxn ang="0">
                  <a:pos x="164" y="171"/>
                </a:cxn>
                <a:cxn ang="0">
                  <a:pos x="177" y="180"/>
                </a:cxn>
                <a:cxn ang="0">
                  <a:pos x="203" y="178"/>
                </a:cxn>
                <a:cxn ang="0">
                  <a:pos x="209" y="168"/>
                </a:cxn>
                <a:cxn ang="0">
                  <a:pos x="225" y="164"/>
                </a:cxn>
                <a:cxn ang="0">
                  <a:pos x="224" y="172"/>
                </a:cxn>
                <a:cxn ang="0">
                  <a:pos x="241" y="188"/>
                </a:cxn>
                <a:cxn ang="0">
                  <a:pos x="263" y="196"/>
                </a:cxn>
                <a:cxn ang="0">
                  <a:pos x="292" y="219"/>
                </a:cxn>
                <a:cxn ang="0">
                  <a:pos x="300" y="233"/>
                </a:cxn>
                <a:cxn ang="0">
                  <a:pos x="316" y="235"/>
                </a:cxn>
                <a:cxn ang="0">
                  <a:pos x="332" y="227"/>
                </a:cxn>
                <a:cxn ang="0">
                  <a:pos x="351" y="224"/>
                </a:cxn>
                <a:cxn ang="0">
                  <a:pos x="381" y="205"/>
                </a:cxn>
                <a:cxn ang="0">
                  <a:pos x="399" y="173"/>
                </a:cxn>
              </a:cxnLst>
              <a:rect l="0" t="0" r="r" b="b"/>
              <a:pathLst>
                <a:path w="399" h="236">
                  <a:moveTo>
                    <a:pt x="399" y="162"/>
                  </a:moveTo>
                  <a:cubicBezTo>
                    <a:pt x="399" y="161"/>
                    <a:pt x="398" y="161"/>
                    <a:pt x="397" y="159"/>
                  </a:cubicBezTo>
                  <a:cubicBezTo>
                    <a:pt x="396" y="157"/>
                    <a:pt x="398" y="153"/>
                    <a:pt x="397" y="151"/>
                  </a:cubicBezTo>
                  <a:cubicBezTo>
                    <a:pt x="396" y="149"/>
                    <a:pt x="396" y="150"/>
                    <a:pt x="394" y="150"/>
                  </a:cubicBezTo>
                  <a:cubicBezTo>
                    <a:pt x="392" y="149"/>
                    <a:pt x="392" y="148"/>
                    <a:pt x="391" y="146"/>
                  </a:cubicBezTo>
                  <a:cubicBezTo>
                    <a:pt x="391" y="143"/>
                    <a:pt x="392" y="143"/>
                    <a:pt x="390" y="142"/>
                  </a:cubicBezTo>
                  <a:cubicBezTo>
                    <a:pt x="389" y="141"/>
                    <a:pt x="387" y="141"/>
                    <a:pt x="387" y="140"/>
                  </a:cubicBezTo>
                  <a:cubicBezTo>
                    <a:pt x="386" y="139"/>
                    <a:pt x="386" y="138"/>
                    <a:pt x="386" y="137"/>
                  </a:cubicBezTo>
                  <a:cubicBezTo>
                    <a:pt x="385" y="135"/>
                    <a:pt x="384" y="135"/>
                    <a:pt x="384" y="133"/>
                  </a:cubicBezTo>
                  <a:cubicBezTo>
                    <a:pt x="385" y="130"/>
                    <a:pt x="387" y="129"/>
                    <a:pt x="387" y="126"/>
                  </a:cubicBezTo>
                  <a:cubicBezTo>
                    <a:pt x="382" y="126"/>
                    <a:pt x="383" y="124"/>
                    <a:pt x="383" y="121"/>
                  </a:cubicBezTo>
                  <a:cubicBezTo>
                    <a:pt x="380" y="120"/>
                    <a:pt x="378" y="123"/>
                    <a:pt x="375" y="124"/>
                  </a:cubicBezTo>
                  <a:cubicBezTo>
                    <a:pt x="373" y="124"/>
                    <a:pt x="371" y="124"/>
                    <a:pt x="369" y="125"/>
                  </a:cubicBezTo>
                  <a:cubicBezTo>
                    <a:pt x="367" y="121"/>
                    <a:pt x="373" y="118"/>
                    <a:pt x="373" y="114"/>
                  </a:cubicBezTo>
                  <a:cubicBezTo>
                    <a:pt x="374" y="110"/>
                    <a:pt x="372" y="110"/>
                    <a:pt x="371" y="107"/>
                  </a:cubicBezTo>
                  <a:cubicBezTo>
                    <a:pt x="369" y="101"/>
                    <a:pt x="374" y="98"/>
                    <a:pt x="376" y="94"/>
                  </a:cubicBezTo>
                  <a:cubicBezTo>
                    <a:pt x="377" y="94"/>
                    <a:pt x="377" y="93"/>
                    <a:pt x="377" y="93"/>
                  </a:cubicBezTo>
                  <a:cubicBezTo>
                    <a:pt x="378" y="92"/>
                    <a:pt x="380" y="91"/>
                    <a:pt x="380" y="91"/>
                  </a:cubicBezTo>
                  <a:cubicBezTo>
                    <a:pt x="381" y="90"/>
                    <a:pt x="381" y="87"/>
                    <a:pt x="381" y="86"/>
                  </a:cubicBezTo>
                  <a:cubicBezTo>
                    <a:pt x="382" y="83"/>
                    <a:pt x="381" y="79"/>
                    <a:pt x="378" y="77"/>
                  </a:cubicBezTo>
                  <a:cubicBezTo>
                    <a:pt x="376" y="75"/>
                    <a:pt x="373" y="75"/>
                    <a:pt x="370" y="73"/>
                  </a:cubicBezTo>
                  <a:cubicBezTo>
                    <a:pt x="369" y="72"/>
                    <a:pt x="368" y="70"/>
                    <a:pt x="367" y="69"/>
                  </a:cubicBezTo>
                  <a:cubicBezTo>
                    <a:pt x="364" y="66"/>
                    <a:pt x="361" y="65"/>
                    <a:pt x="358" y="63"/>
                  </a:cubicBezTo>
                  <a:cubicBezTo>
                    <a:pt x="359" y="61"/>
                    <a:pt x="359" y="58"/>
                    <a:pt x="359" y="56"/>
                  </a:cubicBezTo>
                  <a:cubicBezTo>
                    <a:pt x="357" y="56"/>
                    <a:pt x="355" y="56"/>
                    <a:pt x="354" y="56"/>
                  </a:cubicBezTo>
                  <a:cubicBezTo>
                    <a:pt x="353" y="55"/>
                    <a:pt x="353" y="55"/>
                    <a:pt x="353" y="54"/>
                  </a:cubicBezTo>
                  <a:cubicBezTo>
                    <a:pt x="351" y="52"/>
                    <a:pt x="350" y="50"/>
                    <a:pt x="349" y="47"/>
                  </a:cubicBezTo>
                  <a:cubicBezTo>
                    <a:pt x="349" y="48"/>
                    <a:pt x="349" y="49"/>
                    <a:pt x="349" y="50"/>
                  </a:cubicBezTo>
                  <a:cubicBezTo>
                    <a:pt x="349" y="53"/>
                    <a:pt x="350" y="54"/>
                    <a:pt x="350" y="56"/>
                  </a:cubicBezTo>
                  <a:cubicBezTo>
                    <a:pt x="346" y="57"/>
                    <a:pt x="343" y="56"/>
                    <a:pt x="340" y="54"/>
                  </a:cubicBezTo>
                  <a:cubicBezTo>
                    <a:pt x="338" y="53"/>
                    <a:pt x="336" y="53"/>
                    <a:pt x="334" y="52"/>
                  </a:cubicBezTo>
                  <a:cubicBezTo>
                    <a:pt x="333" y="51"/>
                    <a:pt x="333" y="50"/>
                    <a:pt x="332" y="49"/>
                  </a:cubicBezTo>
                  <a:cubicBezTo>
                    <a:pt x="331" y="48"/>
                    <a:pt x="329" y="48"/>
                    <a:pt x="327" y="48"/>
                  </a:cubicBezTo>
                  <a:cubicBezTo>
                    <a:pt x="326" y="47"/>
                    <a:pt x="327" y="47"/>
                    <a:pt x="325" y="47"/>
                  </a:cubicBezTo>
                  <a:cubicBezTo>
                    <a:pt x="324" y="46"/>
                    <a:pt x="320" y="46"/>
                    <a:pt x="319" y="47"/>
                  </a:cubicBezTo>
                  <a:cubicBezTo>
                    <a:pt x="314" y="48"/>
                    <a:pt x="315" y="52"/>
                    <a:pt x="311" y="53"/>
                  </a:cubicBezTo>
                  <a:cubicBezTo>
                    <a:pt x="310" y="53"/>
                    <a:pt x="309" y="53"/>
                    <a:pt x="308" y="53"/>
                  </a:cubicBezTo>
                  <a:cubicBezTo>
                    <a:pt x="306" y="52"/>
                    <a:pt x="303" y="52"/>
                    <a:pt x="301" y="51"/>
                  </a:cubicBezTo>
                  <a:cubicBezTo>
                    <a:pt x="300" y="51"/>
                    <a:pt x="300" y="50"/>
                    <a:pt x="299" y="50"/>
                  </a:cubicBezTo>
                  <a:cubicBezTo>
                    <a:pt x="297" y="49"/>
                    <a:pt x="296" y="48"/>
                    <a:pt x="294" y="48"/>
                  </a:cubicBezTo>
                  <a:cubicBezTo>
                    <a:pt x="294" y="48"/>
                    <a:pt x="292" y="49"/>
                    <a:pt x="291" y="48"/>
                  </a:cubicBezTo>
                  <a:cubicBezTo>
                    <a:pt x="289" y="48"/>
                    <a:pt x="288" y="45"/>
                    <a:pt x="287" y="43"/>
                  </a:cubicBezTo>
                  <a:cubicBezTo>
                    <a:pt x="285" y="41"/>
                    <a:pt x="284" y="39"/>
                    <a:pt x="282" y="36"/>
                  </a:cubicBezTo>
                  <a:cubicBezTo>
                    <a:pt x="281" y="34"/>
                    <a:pt x="281" y="33"/>
                    <a:pt x="279" y="32"/>
                  </a:cubicBezTo>
                  <a:cubicBezTo>
                    <a:pt x="276" y="31"/>
                    <a:pt x="276" y="31"/>
                    <a:pt x="276" y="28"/>
                  </a:cubicBezTo>
                  <a:cubicBezTo>
                    <a:pt x="275" y="25"/>
                    <a:pt x="277" y="24"/>
                    <a:pt x="274" y="22"/>
                  </a:cubicBezTo>
                  <a:cubicBezTo>
                    <a:pt x="271" y="21"/>
                    <a:pt x="268" y="22"/>
                    <a:pt x="266" y="20"/>
                  </a:cubicBezTo>
                  <a:cubicBezTo>
                    <a:pt x="262" y="17"/>
                    <a:pt x="262" y="13"/>
                    <a:pt x="255" y="15"/>
                  </a:cubicBezTo>
                  <a:cubicBezTo>
                    <a:pt x="256" y="10"/>
                    <a:pt x="251" y="7"/>
                    <a:pt x="247" y="5"/>
                  </a:cubicBezTo>
                  <a:cubicBezTo>
                    <a:pt x="245" y="5"/>
                    <a:pt x="244" y="4"/>
                    <a:pt x="243" y="4"/>
                  </a:cubicBezTo>
                  <a:cubicBezTo>
                    <a:pt x="241" y="2"/>
                    <a:pt x="240" y="0"/>
                    <a:pt x="237" y="0"/>
                  </a:cubicBezTo>
                  <a:cubicBezTo>
                    <a:pt x="237" y="2"/>
                    <a:pt x="237" y="5"/>
                    <a:pt x="237" y="7"/>
                  </a:cubicBezTo>
                  <a:cubicBezTo>
                    <a:pt x="232" y="8"/>
                    <a:pt x="235" y="2"/>
                    <a:pt x="233" y="1"/>
                  </a:cubicBezTo>
                  <a:cubicBezTo>
                    <a:pt x="231" y="0"/>
                    <a:pt x="226" y="4"/>
                    <a:pt x="224" y="5"/>
                  </a:cubicBezTo>
                  <a:cubicBezTo>
                    <a:pt x="223" y="6"/>
                    <a:pt x="222" y="6"/>
                    <a:pt x="221" y="7"/>
                  </a:cubicBezTo>
                  <a:cubicBezTo>
                    <a:pt x="220" y="8"/>
                    <a:pt x="219" y="9"/>
                    <a:pt x="219" y="10"/>
                  </a:cubicBezTo>
                  <a:cubicBezTo>
                    <a:pt x="215" y="13"/>
                    <a:pt x="209" y="12"/>
                    <a:pt x="204" y="13"/>
                  </a:cubicBezTo>
                  <a:cubicBezTo>
                    <a:pt x="201" y="13"/>
                    <a:pt x="202" y="13"/>
                    <a:pt x="201" y="15"/>
                  </a:cubicBezTo>
                  <a:cubicBezTo>
                    <a:pt x="199" y="17"/>
                    <a:pt x="198" y="18"/>
                    <a:pt x="196" y="20"/>
                  </a:cubicBezTo>
                  <a:cubicBezTo>
                    <a:pt x="195" y="20"/>
                    <a:pt x="193" y="22"/>
                    <a:pt x="192" y="22"/>
                  </a:cubicBezTo>
                  <a:cubicBezTo>
                    <a:pt x="189" y="23"/>
                    <a:pt x="188" y="22"/>
                    <a:pt x="188" y="21"/>
                  </a:cubicBezTo>
                  <a:cubicBezTo>
                    <a:pt x="188" y="23"/>
                    <a:pt x="188" y="25"/>
                    <a:pt x="188" y="27"/>
                  </a:cubicBezTo>
                  <a:cubicBezTo>
                    <a:pt x="188" y="30"/>
                    <a:pt x="189" y="34"/>
                    <a:pt x="189" y="37"/>
                  </a:cubicBezTo>
                  <a:cubicBezTo>
                    <a:pt x="189" y="45"/>
                    <a:pt x="189" y="52"/>
                    <a:pt x="189" y="60"/>
                  </a:cubicBezTo>
                  <a:cubicBezTo>
                    <a:pt x="189" y="68"/>
                    <a:pt x="190" y="77"/>
                    <a:pt x="189" y="85"/>
                  </a:cubicBezTo>
                  <a:cubicBezTo>
                    <a:pt x="188" y="90"/>
                    <a:pt x="185" y="91"/>
                    <a:pt x="181" y="92"/>
                  </a:cubicBezTo>
                  <a:cubicBezTo>
                    <a:pt x="179" y="93"/>
                    <a:pt x="178" y="94"/>
                    <a:pt x="176" y="94"/>
                  </a:cubicBezTo>
                  <a:cubicBezTo>
                    <a:pt x="175" y="94"/>
                    <a:pt x="174" y="94"/>
                    <a:pt x="174" y="94"/>
                  </a:cubicBezTo>
                  <a:cubicBezTo>
                    <a:pt x="173" y="93"/>
                    <a:pt x="173" y="92"/>
                    <a:pt x="172" y="92"/>
                  </a:cubicBezTo>
                  <a:cubicBezTo>
                    <a:pt x="165" y="90"/>
                    <a:pt x="163" y="102"/>
                    <a:pt x="159" y="105"/>
                  </a:cubicBezTo>
                  <a:cubicBezTo>
                    <a:pt x="158" y="106"/>
                    <a:pt x="156" y="106"/>
                    <a:pt x="154" y="107"/>
                  </a:cubicBezTo>
                  <a:cubicBezTo>
                    <a:pt x="151" y="108"/>
                    <a:pt x="148" y="109"/>
                    <a:pt x="146" y="109"/>
                  </a:cubicBezTo>
                  <a:cubicBezTo>
                    <a:pt x="142" y="110"/>
                    <a:pt x="140" y="108"/>
                    <a:pt x="140" y="104"/>
                  </a:cubicBezTo>
                  <a:cubicBezTo>
                    <a:pt x="138" y="104"/>
                    <a:pt x="135" y="105"/>
                    <a:pt x="133" y="104"/>
                  </a:cubicBezTo>
                  <a:cubicBezTo>
                    <a:pt x="131" y="103"/>
                    <a:pt x="131" y="103"/>
                    <a:pt x="131" y="101"/>
                  </a:cubicBezTo>
                  <a:cubicBezTo>
                    <a:pt x="129" y="99"/>
                    <a:pt x="128" y="98"/>
                    <a:pt x="127" y="96"/>
                  </a:cubicBezTo>
                  <a:cubicBezTo>
                    <a:pt x="127" y="96"/>
                    <a:pt x="127" y="95"/>
                    <a:pt x="127" y="95"/>
                  </a:cubicBezTo>
                  <a:cubicBezTo>
                    <a:pt x="126" y="94"/>
                    <a:pt x="125" y="93"/>
                    <a:pt x="125" y="92"/>
                  </a:cubicBezTo>
                  <a:cubicBezTo>
                    <a:pt x="124" y="91"/>
                    <a:pt x="124" y="90"/>
                    <a:pt x="124" y="88"/>
                  </a:cubicBezTo>
                  <a:cubicBezTo>
                    <a:pt x="124" y="85"/>
                    <a:pt x="124" y="81"/>
                    <a:pt x="124" y="77"/>
                  </a:cubicBezTo>
                  <a:cubicBezTo>
                    <a:pt x="124" y="73"/>
                    <a:pt x="125" y="72"/>
                    <a:pt x="121" y="71"/>
                  </a:cubicBezTo>
                  <a:cubicBezTo>
                    <a:pt x="118" y="70"/>
                    <a:pt x="114" y="70"/>
                    <a:pt x="112" y="68"/>
                  </a:cubicBezTo>
                  <a:cubicBezTo>
                    <a:pt x="111" y="67"/>
                    <a:pt x="110" y="67"/>
                    <a:pt x="110" y="66"/>
                  </a:cubicBezTo>
                  <a:cubicBezTo>
                    <a:pt x="110" y="65"/>
                    <a:pt x="110" y="64"/>
                    <a:pt x="110" y="64"/>
                  </a:cubicBezTo>
                  <a:cubicBezTo>
                    <a:pt x="110" y="63"/>
                    <a:pt x="109" y="62"/>
                    <a:pt x="108" y="62"/>
                  </a:cubicBezTo>
                  <a:cubicBezTo>
                    <a:pt x="107" y="61"/>
                    <a:pt x="105" y="59"/>
                    <a:pt x="105" y="57"/>
                  </a:cubicBezTo>
                  <a:cubicBezTo>
                    <a:pt x="103" y="57"/>
                    <a:pt x="101" y="58"/>
                    <a:pt x="99" y="56"/>
                  </a:cubicBezTo>
                  <a:cubicBezTo>
                    <a:pt x="98" y="54"/>
                    <a:pt x="98" y="52"/>
                    <a:pt x="96" y="50"/>
                  </a:cubicBezTo>
                  <a:cubicBezTo>
                    <a:pt x="96" y="49"/>
                    <a:pt x="95" y="49"/>
                    <a:pt x="94" y="48"/>
                  </a:cubicBezTo>
                  <a:cubicBezTo>
                    <a:pt x="92" y="47"/>
                    <a:pt x="92" y="48"/>
                    <a:pt x="92" y="45"/>
                  </a:cubicBezTo>
                  <a:cubicBezTo>
                    <a:pt x="92" y="43"/>
                    <a:pt x="92" y="41"/>
                    <a:pt x="92" y="39"/>
                  </a:cubicBezTo>
                  <a:cubicBezTo>
                    <a:pt x="92" y="38"/>
                    <a:pt x="93" y="35"/>
                    <a:pt x="93" y="33"/>
                  </a:cubicBezTo>
                  <a:cubicBezTo>
                    <a:pt x="92" y="32"/>
                    <a:pt x="91" y="32"/>
                    <a:pt x="91" y="30"/>
                  </a:cubicBezTo>
                  <a:cubicBezTo>
                    <a:pt x="90" y="30"/>
                    <a:pt x="88" y="32"/>
                    <a:pt x="87" y="33"/>
                  </a:cubicBezTo>
                  <a:cubicBezTo>
                    <a:pt x="85" y="35"/>
                    <a:pt x="86" y="35"/>
                    <a:pt x="84" y="35"/>
                  </a:cubicBezTo>
                  <a:cubicBezTo>
                    <a:pt x="81" y="36"/>
                    <a:pt x="78" y="37"/>
                    <a:pt x="75" y="38"/>
                  </a:cubicBezTo>
                  <a:cubicBezTo>
                    <a:pt x="73" y="39"/>
                    <a:pt x="72" y="40"/>
                    <a:pt x="70" y="41"/>
                  </a:cubicBezTo>
                  <a:cubicBezTo>
                    <a:pt x="68" y="43"/>
                    <a:pt x="67" y="42"/>
                    <a:pt x="65" y="43"/>
                  </a:cubicBezTo>
                  <a:cubicBezTo>
                    <a:pt x="61" y="45"/>
                    <a:pt x="61" y="48"/>
                    <a:pt x="61" y="51"/>
                  </a:cubicBezTo>
                  <a:cubicBezTo>
                    <a:pt x="59" y="51"/>
                    <a:pt x="58" y="51"/>
                    <a:pt x="57" y="51"/>
                  </a:cubicBezTo>
                  <a:cubicBezTo>
                    <a:pt x="57" y="51"/>
                    <a:pt x="55" y="50"/>
                    <a:pt x="55" y="50"/>
                  </a:cubicBezTo>
                  <a:cubicBezTo>
                    <a:pt x="54" y="49"/>
                    <a:pt x="52" y="49"/>
                    <a:pt x="50" y="49"/>
                  </a:cubicBezTo>
                  <a:cubicBezTo>
                    <a:pt x="47" y="49"/>
                    <a:pt x="44" y="51"/>
                    <a:pt x="42" y="53"/>
                  </a:cubicBezTo>
                  <a:cubicBezTo>
                    <a:pt x="41" y="55"/>
                    <a:pt x="40" y="56"/>
                    <a:pt x="39" y="58"/>
                  </a:cubicBezTo>
                  <a:cubicBezTo>
                    <a:pt x="37" y="59"/>
                    <a:pt x="37" y="62"/>
                    <a:pt x="36" y="64"/>
                  </a:cubicBezTo>
                  <a:cubicBezTo>
                    <a:pt x="34" y="66"/>
                    <a:pt x="33" y="67"/>
                    <a:pt x="32" y="69"/>
                  </a:cubicBezTo>
                  <a:cubicBezTo>
                    <a:pt x="31" y="70"/>
                    <a:pt x="31" y="71"/>
                    <a:pt x="30" y="72"/>
                  </a:cubicBezTo>
                  <a:cubicBezTo>
                    <a:pt x="30" y="73"/>
                    <a:pt x="28" y="74"/>
                    <a:pt x="28" y="75"/>
                  </a:cubicBezTo>
                  <a:cubicBezTo>
                    <a:pt x="27" y="77"/>
                    <a:pt x="26" y="80"/>
                    <a:pt x="25" y="83"/>
                  </a:cubicBezTo>
                  <a:cubicBezTo>
                    <a:pt x="24" y="88"/>
                    <a:pt x="26" y="94"/>
                    <a:pt x="25" y="99"/>
                  </a:cubicBezTo>
                  <a:cubicBezTo>
                    <a:pt x="24" y="103"/>
                    <a:pt x="23" y="107"/>
                    <a:pt x="22" y="110"/>
                  </a:cubicBezTo>
                  <a:cubicBezTo>
                    <a:pt x="21" y="113"/>
                    <a:pt x="19" y="115"/>
                    <a:pt x="17" y="117"/>
                  </a:cubicBezTo>
                  <a:cubicBezTo>
                    <a:pt x="17" y="117"/>
                    <a:pt x="15" y="118"/>
                    <a:pt x="15" y="119"/>
                  </a:cubicBezTo>
                  <a:cubicBezTo>
                    <a:pt x="14" y="120"/>
                    <a:pt x="14" y="120"/>
                    <a:pt x="14" y="122"/>
                  </a:cubicBezTo>
                  <a:cubicBezTo>
                    <a:pt x="13" y="123"/>
                    <a:pt x="12" y="125"/>
                    <a:pt x="11" y="126"/>
                  </a:cubicBezTo>
                  <a:cubicBezTo>
                    <a:pt x="10" y="128"/>
                    <a:pt x="9" y="130"/>
                    <a:pt x="8" y="131"/>
                  </a:cubicBezTo>
                  <a:cubicBezTo>
                    <a:pt x="7" y="135"/>
                    <a:pt x="8" y="141"/>
                    <a:pt x="6" y="146"/>
                  </a:cubicBezTo>
                  <a:cubicBezTo>
                    <a:pt x="5" y="149"/>
                    <a:pt x="2" y="152"/>
                    <a:pt x="1" y="156"/>
                  </a:cubicBezTo>
                  <a:cubicBezTo>
                    <a:pt x="0" y="160"/>
                    <a:pt x="0" y="164"/>
                    <a:pt x="0" y="168"/>
                  </a:cubicBezTo>
                  <a:cubicBezTo>
                    <a:pt x="0" y="175"/>
                    <a:pt x="0" y="182"/>
                    <a:pt x="1" y="189"/>
                  </a:cubicBezTo>
                  <a:cubicBezTo>
                    <a:pt x="1" y="191"/>
                    <a:pt x="0" y="191"/>
                    <a:pt x="2" y="193"/>
                  </a:cubicBezTo>
                  <a:cubicBezTo>
                    <a:pt x="2" y="194"/>
                    <a:pt x="3" y="194"/>
                    <a:pt x="4" y="195"/>
                  </a:cubicBezTo>
                  <a:cubicBezTo>
                    <a:pt x="5" y="196"/>
                    <a:pt x="6" y="198"/>
                    <a:pt x="6" y="199"/>
                  </a:cubicBezTo>
                  <a:cubicBezTo>
                    <a:pt x="7" y="201"/>
                    <a:pt x="9" y="202"/>
                    <a:pt x="10" y="204"/>
                  </a:cubicBezTo>
                  <a:cubicBezTo>
                    <a:pt x="11" y="203"/>
                    <a:pt x="11" y="202"/>
                    <a:pt x="11" y="201"/>
                  </a:cubicBezTo>
                  <a:cubicBezTo>
                    <a:pt x="11" y="199"/>
                    <a:pt x="11" y="196"/>
                    <a:pt x="13" y="195"/>
                  </a:cubicBezTo>
                  <a:cubicBezTo>
                    <a:pt x="14" y="194"/>
                    <a:pt x="15" y="195"/>
                    <a:pt x="16" y="195"/>
                  </a:cubicBezTo>
                  <a:cubicBezTo>
                    <a:pt x="17" y="194"/>
                    <a:pt x="17" y="193"/>
                    <a:pt x="18" y="192"/>
                  </a:cubicBezTo>
                  <a:cubicBezTo>
                    <a:pt x="18" y="192"/>
                    <a:pt x="19" y="191"/>
                    <a:pt x="19" y="190"/>
                  </a:cubicBezTo>
                  <a:cubicBezTo>
                    <a:pt x="19" y="190"/>
                    <a:pt x="20" y="190"/>
                    <a:pt x="20" y="189"/>
                  </a:cubicBezTo>
                  <a:cubicBezTo>
                    <a:pt x="20" y="189"/>
                    <a:pt x="19" y="188"/>
                    <a:pt x="20" y="188"/>
                  </a:cubicBezTo>
                  <a:cubicBezTo>
                    <a:pt x="20" y="187"/>
                    <a:pt x="22" y="187"/>
                    <a:pt x="22" y="187"/>
                  </a:cubicBezTo>
                  <a:cubicBezTo>
                    <a:pt x="22" y="187"/>
                    <a:pt x="23" y="186"/>
                    <a:pt x="23" y="186"/>
                  </a:cubicBezTo>
                  <a:cubicBezTo>
                    <a:pt x="23" y="186"/>
                    <a:pt x="24" y="185"/>
                    <a:pt x="25" y="185"/>
                  </a:cubicBezTo>
                  <a:cubicBezTo>
                    <a:pt x="26" y="185"/>
                    <a:pt x="27" y="184"/>
                    <a:pt x="28" y="184"/>
                  </a:cubicBezTo>
                  <a:cubicBezTo>
                    <a:pt x="29" y="183"/>
                    <a:pt x="29" y="181"/>
                    <a:pt x="29" y="180"/>
                  </a:cubicBezTo>
                  <a:cubicBezTo>
                    <a:pt x="30" y="178"/>
                    <a:pt x="31" y="178"/>
                    <a:pt x="33" y="178"/>
                  </a:cubicBezTo>
                  <a:cubicBezTo>
                    <a:pt x="34" y="177"/>
                    <a:pt x="36" y="175"/>
                    <a:pt x="37" y="175"/>
                  </a:cubicBezTo>
                  <a:cubicBezTo>
                    <a:pt x="39" y="173"/>
                    <a:pt x="41" y="174"/>
                    <a:pt x="44" y="174"/>
                  </a:cubicBezTo>
                  <a:cubicBezTo>
                    <a:pt x="47" y="174"/>
                    <a:pt x="47" y="173"/>
                    <a:pt x="49" y="171"/>
                  </a:cubicBezTo>
                  <a:cubicBezTo>
                    <a:pt x="50" y="170"/>
                    <a:pt x="53" y="169"/>
                    <a:pt x="55" y="169"/>
                  </a:cubicBezTo>
                  <a:cubicBezTo>
                    <a:pt x="56" y="168"/>
                    <a:pt x="57" y="168"/>
                    <a:pt x="58" y="168"/>
                  </a:cubicBezTo>
                  <a:cubicBezTo>
                    <a:pt x="62" y="168"/>
                    <a:pt x="60" y="166"/>
                    <a:pt x="61" y="164"/>
                  </a:cubicBezTo>
                  <a:cubicBezTo>
                    <a:pt x="62" y="162"/>
                    <a:pt x="68" y="162"/>
                    <a:pt x="69" y="163"/>
                  </a:cubicBezTo>
                  <a:cubicBezTo>
                    <a:pt x="70" y="163"/>
                    <a:pt x="71" y="164"/>
                    <a:pt x="72" y="164"/>
                  </a:cubicBezTo>
                  <a:cubicBezTo>
                    <a:pt x="73" y="164"/>
                    <a:pt x="74" y="165"/>
                    <a:pt x="75" y="165"/>
                  </a:cubicBezTo>
                  <a:cubicBezTo>
                    <a:pt x="79" y="166"/>
                    <a:pt x="83" y="166"/>
                    <a:pt x="86" y="166"/>
                  </a:cubicBezTo>
                  <a:cubicBezTo>
                    <a:pt x="89" y="166"/>
                    <a:pt x="91" y="166"/>
                    <a:pt x="94" y="167"/>
                  </a:cubicBezTo>
                  <a:cubicBezTo>
                    <a:pt x="97" y="168"/>
                    <a:pt x="99" y="168"/>
                    <a:pt x="102" y="168"/>
                  </a:cubicBezTo>
                  <a:cubicBezTo>
                    <a:pt x="104" y="168"/>
                    <a:pt x="105" y="168"/>
                    <a:pt x="107" y="168"/>
                  </a:cubicBezTo>
                  <a:cubicBezTo>
                    <a:pt x="107" y="168"/>
                    <a:pt x="108" y="168"/>
                    <a:pt x="109" y="168"/>
                  </a:cubicBezTo>
                  <a:cubicBezTo>
                    <a:pt x="110" y="168"/>
                    <a:pt x="110" y="167"/>
                    <a:pt x="111" y="166"/>
                  </a:cubicBezTo>
                  <a:cubicBezTo>
                    <a:pt x="112" y="166"/>
                    <a:pt x="113" y="166"/>
                    <a:pt x="114" y="166"/>
                  </a:cubicBezTo>
                  <a:cubicBezTo>
                    <a:pt x="115" y="166"/>
                    <a:pt x="117" y="166"/>
                    <a:pt x="118" y="167"/>
                  </a:cubicBezTo>
                  <a:cubicBezTo>
                    <a:pt x="118" y="167"/>
                    <a:pt x="120" y="166"/>
                    <a:pt x="120" y="167"/>
                  </a:cubicBezTo>
                  <a:cubicBezTo>
                    <a:pt x="120" y="167"/>
                    <a:pt x="120" y="168"/>
                    <a:pt x="120" y="169"/>
                  </a:cubicBezTo>
                  <a:cubicBezTo>
                    <a:pt x="120" y="169"/>
                    <a:pt x="121" y="169"/>
                    <a:pt x="121" y="170"/>
                  </a:cubicBezTo>
                  <a:cubicBezTo>
                    <a:pt x="121" y="171"/>
                    <a:pt x="121" y="174"/>
                    <a:pt x="123" y="175"/>
                  </a:cubicBezTo>
                  <a:cubicBezTo>
                    <a:pt x="125" y="175"/>
                    <a:pt x="129" y="173"/>
                    <a:pt x="129" y="171"/>
                  </a:cubicBezTo>
                  <a:cubicBezTo>
                    <a:pt x="130" y="170"/>
                    <a:pt x="132" y="171"/>
                    <a:pt x="133" y="171"/>
                  </a:cubicBezTo>
                  <a:cubicBezTo>
                    <a:pt x="135" y="171"/>
                    <a:pt x="135" y="169"/>
                    <a:pt x="136" y="168"/>
                  </a:cubicBezTo>
                  <a:cubicBezTo>
                    <a:pt x="137" y="168"/>
                    <a:pt x="139" y="169"/>
                    <a:pt x="140" y="169"/>
                  </a:cubicBezTo>
                  <a:cubicBezTo>
                    <a:pt x="142" y="169"/>
                    <a:pt x="143" y="170"/>
                    <a:pt x="145" y="171"/>
                  </a:cubicBezTo>
                  <a:cubicBezTo>
                    <a:pt x="146" y="171"/>
                    <a:pt x="148" y="171"/>
                    <a:pt x="150" y="171"/>
                  </a:cubicBezTo>
                  <a:cubicBezTo>
                    <a:pt x="151" y="171"/>
                    <a:pt x="152" y="170"/>
                    <a:pt x="153" y="170"/>
                  </a:cubicBezTo>
                  <a:cubicBezTo>
                    <a:pt x="156" y="169"/>
                    <a:pt x="158" y="169"/>
                    <a:pt x="161" y="170"/>
                  </a:cubicBezTo>
                  <a:cubicBezTo>
                    <a:pt x="161" y="171"/>
                    <a:pt x="161" y="173"/>
                    <a:pt x="162" y="174"/>
                  </a:cubicBezTo>
                  <a:cubicBezTo>
                    <a:pt x="163" y="174"/>
                    <a:pt x="162" y="171"/>
                    <a:pt x="164" y="171"/>
                  </a:cubicBezTo>
                  <a:cubicBezTo>
                    <a:pt x="165" y="171"/>
                    <a:pt x="166" y="172"/>
                    <a:pt x="167" y="173"/>
                  </a:cubicBezTo>
                  <a:cubicBezTo>
                    <a:pt x="169" y="174"/>
                    <a:pt x="171" y="175"/>
                    <a:pt x="173" y="176"/>
                  </a:cubicBezTo>
                  <a:cubicBezTo>
                    <a:pt x="174" y="176"/>
                    <a:pt x="176" y="176"/>
                    <a:pt x="176" y="177"/>
                  </a:cubicBezTo>
                  <a:cubicBezTo>
                    <a:pt x="177" y="178"/>
                    <a:pt x="176" y="179"/>
                    <a:pt x="177" y="180"/>
                  </a:cubicBezTo>
                  <a:cubicBezTo>
                    <a:pt x="177" y="181"/>
                    <a:pt x="178" y="181"/>
                    <a:pt x="179" y="181"/>
                  </a:cubicBezTo>
                  <a:cubicBezTo>
                    <a:pt x="181" y="181"/>
                    <a:pt x="182" y="179"/>
                    <a:pt x="183" y="179"/>
                  </a:cubicBezTo>
                  <a:cubicBezTo>
                    <a:pt x="187" y="176"/>
                    <a:pt x="192" y="178"/>
                    <a:pt x="197" y="179"/>
                  </a:cubicBezTo>
                  <a:cubicBezTo>
                    <a:pt x="198" y="179"/>
                    <a:pt x="201" y="179"/>
                    <a:pt x="203" y="178"/>
                  </a:cubicBezTo>
                  <a:cubicBezTo>
                    <a:pt x="204" y="177"/>
                    <a:pt x="204" y="176"/>
                    <a:pt x="205" y="175"/>
                  </a:cubicBezTo>
                  <a:cubicBezTo>
                    <a:pt x="206" y="175"/>
                    <a:pt x="207" y="175"/>
                    <a:pt x="208" y="175"/>
                  </a:cubicBezTo>
                  <a:cubicBezTo>
                    <a:pt x="208" y="174"/>
                    <a:pt x="208" y="173"/>
                    <a:pt x="208" y="172"/>
                  </a:cubicBezTo>
                  <a:cubicBezTo>
                    <a:pt x="208" y="171"/>
                    <a:pt x="208" y="169"/>
                    <a:pt x="209" y="168"/>
                  </a:cubicBezTo>
                  <a:cubicBezTo>
                    <a:pt x="210" y="167"/>
                    <a:pt x="212" y="166"/>
                    <a:pt x="213" y="165"/>
                  </a:cubicBezTo>
                  <a:cubicBezTo>
                    <a:pt x="214" y="165"/>
                    <a:pt x="215" y="165"/>
                    <a:pt x="215" y="164"/>
                  </a:cubicBezTo>
                  <a:cubicBezTo>
                    <a:pt x="216" y="164"/>
                    <a:pt x="216" y="163"/>
                    <a:pt x="216" y="163"/>
                  </a:cubicBezTo>
                  <a:cubicBezTo>
                    <a:pt x="218" y="161"/>
                    <a:pt x="225" y="161"/>
                    <a:pt x="225" y="164"/>
                  </a:cubicBezTo>
                  <a:cubicBezTo>
                    <a:pt x="222" y="166"/>
                    <a:pt x="222" y="166"/>
                    <a:pt x="222" y="166"/>
                  </a:cubicBezTo>
                  <a:cubicBezTo>
                    <a:pt x="221" y="167"/>
                    <a:pt x="222" y="167"/>
                    <a:pt x="221" y="168"/>
                  </a:cubicBezTo>
                  <a:cubicBezTo>
                    <a:pt x="221" y="169"/>
                    <a:pt x="221" y="169"/>
                    <a:pt x="221" y="170"/>
                  </a:cubicBezTo>
                  <a:cubicBezTo>
                    <a:pt x="222" y="170"/>
                    <a:pt x="223" y="171"/>
                    <a:pt x="224" y="172"/>
                  </a:cubicBezTo>
                  <a:cubicBezTo>
                    <a:pt x="225" y="175"/>
                    <a:pt x="227" y="177"/>
                    <a:pt x="229" y="180"/>
                  </a:cubicBezTo>
                  <a:cubicBezTo>
                    <a:pt x="230" y="183"/>
                    <a:pt x="231" y="185"/>
                    <a:pt x="234" y="186"/>
                  </a:cubicBezTo>
                  <a:cubicBezTo>
                    <a:pt x="234" y="187"/>
                    <a:pt x="235" y="190"/>
                    <a:pt x="237" y="190"/>
                  </a:cubicBezTo>
                  <a:cubicBezTo>
                    <a:pt x="237" y="188"/>
                    <a:pt x="240" y="187"/>
                    <a:pt x="241" y="188"/>
                  </a:cubicBezTo>
                  <a:cubicBezTo>
                    <a:pt x="242" y="188"/>
                    <a:pt x="243" y="190"/>
                    <a:pt x="244" y="190"/>
                  </a:cubicBezTo>
                  <a:cubicBezTo>
                    <a:pt x="247" y="192"/>
                    <a:pt x="251" y="191"/>
                    <a:pt x="254" y="191"/>
                  </a:cubicBezTo>
                  <a:cubicBezTo>
                    <a:pt x="256" y="191"/>
                    <a:pt x="258" y="191"/>
                    <a:pt x="260" y="193"/>
                  </a:cubicBezTo>
                  <a:cubicBezTo>
                    <a:pt x="261" y="193"/>
                    <a:pt x="262" y="195"/>
                    <a:pt x="263" y="196"/>
                  </a:cubicBezTo>
                  <a:cubicBezTo>
                    <a:pt x="266" y="197"/>
                    <a:pt x="268" y="198"/>
                    <a:pt x="270" y="200"/>
                  </a:cubicBezTo>
                  <a:cubicBezTo>
                    <a:pt x="273" y="201"/>
                    <a:pt x="275" y="203"/>
                    <a:pt x="278" y="205"/>
                  </a:cubicBezTo>
                  <a:cubicBezTo>
                    <a:pt x="281" y="207"/>
                    <a:pt x="283" y="209"/>
                    <a:pt x="286" y="211"/>
                  </a:cubicBezTo>
                  <a:cubicBezTo>
                    <a:pt x="288" y="213"/>
                    <a:pt x="291" y="216"/>
                    <a:pt x="292" y="219"/>
                  </a:cubicBezTo>
                  <a:cubicBezTo>
                    <a:pt x="292" y="220"/>
                    <a:pt x="292" y="221"/>
                    <a:pt x="293" y="221"/>
                  </a:cubicBezTo>
                  <a:cubicBezTo>
                    <a:pt x="293" y="222"/>
                    <a:pt x="294" y="223"/>
                    <a:pt x="295" y="224"/>
                  </a:cubicBezTo>
                  <a:cubicBezTo>
                    <a:pt x="296" y="226"/>
                    <a:pt x="298" y="228"/>
                    <a:pt x="299" y="230"/>
                  </a:cubicBezTo>
                  <a:cubicBezTo>
                    <a:pt x="299" y="231"/>
                    <a:pt x="299" y="232"/>
                    <a:pt x="300" y="233"/>
                  </a:cubicBezTo>
                  <a:cubicBezTo>
                    <a:pt x="301" y="234"/>
                    <a:pt x="305" y="234"/>
                    <a:pt x="307" y="235"/>
                  </a:cubicBezTo>
                  <a:cubicBezTo>
                    <a:pt x="309" y="235"/>
                    <a:pt x="311" y="236"/>
                    <a:pt x="313" y="236"/>
                  </a:cubicBezTo>
                  <a:cubicBezTo>
                    <a:pt x="313" y="236"/>
                    <a:pt x="313" y="236"/>
                    <a:pt x="314" y="236"/>
                  </a:cubicBezTo>
                  <a:cubicBezTo>
                    <a:pt x="315" y="236"/>
                    <a:pt x="315" y="236"/>
                    <a:pt x="316" y="235"/>
                  </a:cubicBezTo>
                  <a:cubicBezTo>
                    <a:pt x="317" y="235"/>
                    <a:pt x="319" y="236"/>
                    <a:pt x="321" y="236"/>
                  </a:cubicBezTo>
                  <a:cubicBezTo>
                    <a:pt x="323" y="236"/>
                    <a:pt x="324" y="236"/>
                    <a:pt x="325" y="234"/>
                  </a:cubicBezTo>
                  <a:cubicBezTo>
                    <a:pt x="326" y="233"/>
                    <a:pt x="327" y="230"/>
                    <a:pt x="329" y="229"/>
                  </a:cubicBezTo>
                  <a:cubicBezTo>
                    <a:pt x="329" y="228"/>
                    <a:pt x="331" y="227"/>
                    <a:pt x="332" y="227"/>
                  </a:cubicBezTo>
                  <a:cubicBezTo>
                    <a:pt x="333" y="226"/>
                    <a:pt x="334" y="226"/>
                    <a:pt x="335" y="226"/>
                  </a:cubicBezTo>
                  <a:cubicBezTo>
                    <a:pt x="336" y="226"/>
                    <a:pt x="336" y="224"/>
                    <a:pt x="337" y="224"/>
                  </a:cubicBezTo>
                  <a:cubicBezTo>
                    <a:pt x="339" y="222"/>
                    <a:pt x="343" y="220"/>
                    <a:pt x="346" y="222"/>
                  </a:cubicBezTo>
                  <a:cubicBezTo>
                    <a:pt x="348" y="223"/>
                    <a:pt x="348" y="223"/>
                    <a:pt x="351" y="224"/>
                  </a:cubicBezTo>
                  <a:cubicBezTo>
                    <a:pt x="353" y="224"/>
                    <a:pt x="356" y="224"/>
                    <a:pt x="359" y="224"/>
                  </a:cubicBezTo>
                  <a:cubicBezTo>
                    <a:pt x="363" y="223"/>
                    <a:pt x="366" y="228"/>
                    <a:pt x="370" y="225"/>
                  </a:cubicBezTo>
                  <a:cubicBezTo>
                    <a:pt x="374" y="222"/>
                    <a:pt x="371" y="217"/>
                    <a:pt x="372" y="213"/>
                  </a:cubicBezTo>
                  <a:cubicBezTo>
                    <a:pt x="373" y="208"/>
                    <a:pt x="376" y="206"/>
                    <a:pt x="381" y="205"/>
                  </a:cubicBezTo>
                  <a:cubicBezTo>
                    <a:pt x="385" y="205"/>
                    <a:pt x="389" y="200"/>
                    <a:pt x="392" y="197"/>
                  </a:cubicBezTo>
                  <a:cubicBezTo>
                    <a:pt x="392" y="196"/>
                    <a:pt x="393" y="195"/>
                    <a:pt x="394" y="194"/>
                  </a:cubicBezTo>
                  <a:cubicBezTo>
                    <a:pt x="394" y="191"/>
                    <a:pt x="395" y="188"/>
                    <a:pt x="395" y="187"/>
                  </a:cubicBezTo>
                  <a:cubicBezTo>
                    <a:pt x="396" y="182"/>
                    <a:pt x="398" y="177"/>
                    <a:pt x="399" y="173"/>
                  </a:cubicBezTo>
                  <a:cubicBezTo>
                    <a:pt x="399" y="170"/>
                    <a:pt x="399" y="167"/>
                    <a:pt x="399" y="165"/>
                  </a:cubicBezTo>
                  <a:cubicBezTo>
                    <a:pt x="399" y="164"/>
                    <a:pt x="399" y="162"/>
                    <a:pt x="399" y="16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8" name="Freeform 40">
              <a:extLst>
                <a:ext uri="{FF2B5EF4-FFF2-40B4-BE49-F238E27FC236}">
                  <a16:creationId xmlns:a16="http://schemas.microsoft.com/office/drawing/2014/main" id="{0D22EDAB-677E-4077-9E9C-7DA1C014C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2950" y="2852738"/>
              <a:ext cx="508000" cy="412750"/>
            </a:xfrm>
            <a:custGeom>
              <a:avLst/>
              <a:gdLst/>
              <a:ahLst/>
              <a:cxnLst>
                <a:cxn ang="0">
                  <a:pos x="269" y="22"/>
                </a:cxn>
                <a:cxn ang="0">
                  <a:pos x="268" y="32"/>
                </a:cxn>
                <a:cxn ang="0">
                  <a:pos x="255" y="49"/>
                </a:cxn>
                <a:cxn ang="0">
                  <a:pos x="252" y="66"/>
                </a:cxn>
                <a:cxn ang="0">
                  <a:pos x="234" y="69"/>
                </a:cxn>
                <a:cxn ang="0">
                  <a:pos x="209" y="77"/>
                </a:cxn>
                <a:cxn ang="0">
                  <a:pos x="212" y="94"/>
                </a:cxn>
                <a:cxn ang="0">
                  <a:pos x="219" y="119"/>
                </a:cxn>
                <a:cxn ang="0">
                  <a:pos x="240" y="136"/>
                </a:cxn>
                <a:cxn ang="0">
                  <a:pos x="237" y="157"/>
                </a:cxn>
                <a:cxn ang="0">
                  <a:pos x="242" y="171"/>
                </a:cxn>
                <a:cxn ang="0">
                  <a:pos x="248" y="184"/>
                </a:cxn>
                <a:cxn ang="0">
                  <a:pos x="236" y="187"/>
                </a:cxn>
                <a:cxn ang="0">
                  <a:pos x="232" y="195"/>
                </a:cxn>
                <a:cxn ang="0">
                  <a:pos x="228" y="209"/>
                </a:cxn>
                <a:cxn ang="0">
                  <a:pos x="217" y="218"/>
                </a:cxn>
                <a:cxn ang="0">
                  <a:pos x="204" y="212"/>
                </a:cxn>
                <a:cxn ang="0">
                  <a:pos x="188" y="217"/>
                </a:cxn>
                <a:cxn ang="0">
                  <a:pos x="176" y="214"/>
                </a:cxn>
                <a:cxn ang="0">
                  <a:pos x="164" y="207"/>
                </a:cxn>
                <a:cxn ang="0">
                  <a:pos x="153" y="192"/>
                </a:cxn>
                <a:cxn ang="0">
                  <a:pos x="132" y="179"/>
                </a:cxn>
                <a:cxn ang="0">
                  <a:pos x="114" y="164"/>
                </a:cxn>
                <a:cxn ang="0">
                  <a:pos x="101" y="169"/>
                </a:cxn>
                <a:cxn ang="0">
                  <a:pos x="81" y="177"/>
                </a:cxn>
                <a:cxn ang="0">
                  <a:pos x="69" y="186"/>
                </a:cxn>
                <a:cxn ang="0">
                  <a:pos x="70" y="159"/>
                </a:cxn>
                <a:cxn ang="0">
                  <a:pos x="78" y="138"/>
                </a:cxn>
                <a:cxn ang="0">
                  <a:pos x="44" y="143"/>
                </a:cxn>
                <a:cxn ang="0">
                  <a:pos x="23" y="119"/>
                </a:cxn>
                <a:cxn ang="0">
                  <a:pos x="21" y="107"/>
                </a:cxn>
                <a:cxn ang="0">
                  <a:pos x="28" y="96"/>
                </a:cxn>
                <a:cxn ang="0">
                  <a:pos x="22" y="87"/>
                </a:cxn>
                <a:cxn ang="0">
                  <a:pos x="20" y="68"/>
                </a:cxn>
                <a:cxn ang="0">
                  <a:pos x="3" y="63"/>
                </a:cxn>
                <a:cxn ang="0">
                  <a:pos x="13" y="59"/>
                </a:cxn>
                <a:cxn ang="0">
                  <a:pos x="17" y="44"/>
                </a:cxn>
                <a:cxn ang="0">
                  <a:pos x="29" y="39"/>
                </a:cxn>
                <a:cxn ang="0">
                  <a:pos x="46" y="32"/>
                </a:cxn>
                <a:cxn ang="0">
                  <a:pos x="58" y="25"/>
                </a:cxn>
                <a:cxn ang="0">
                  <a:pos x="81" y="18"/>
                </a:cxn>
                <a:cxn ang="0">
                  <a:pos x="97" y="8"/>
                </a:cxn>
                <a:cxn ang="0">
                  <a:pos x="109" y="14"/>
                </a:cxn>
                <a:cxn ang="0">
                  <a:pos x="128" y="5"/>
                </a:cxn>
                <a:cxn ang="0">
                  <a:pos x="136" y="4"/>
                </a:cxn>
                <a:cxn ang="0">
                  <a:pos x="153" y="6"/>
                </a:cxn>
                <a:cxn ang="0">
                  <a:pos x="167" y="6"/>
                </a:cxn>
                <a:cxn ang="0">
                  <a:pos x="183" y="12"/>
                </a:cxn>
                <a:cxn ang="0">
                  <a:pos x="195" y="14"/>
                </a:cxn>
                <a:cxn ang="0">
                  <a:pos x="227" y="23"/>
                </a:cxn>
                <a:cxn ang="0">
                  <a:pos x="247" y="19"/>
                </a:cxn>
              </a:cxnLst>
              <a:rect l="0" t="0" r="r" b="b"/>
              <a:pathLst>
                <a:path w="272" h="221">
                  <a:moveTo>
                    <a:pt x="264" y="14"/>
                  </a:moveTo>
                  <a:cubicBezTo>
                    <a:pt x="264" y="14"/>
                    <a:pt x="264" y="15"/>
                    <a:pt x="264" y="15"/>
                  </a:cubicBezTo>
                  <a:cubicBezTo>
                    <a:pt x="265" y="18"/>
                    <a:pt x="267" y="20"/>
                    <a:pt x="269" y="22"/>
                  </a:cubicBezTo>
                  <a:cubicBezTo>
                    <a:pt x="270" y="23"/>
                    <a:pt x="271" y="24"/>
                    <a:pt x="271" y="26"/>
                  </a:cubicBezTo>
                  <a:cubicBezTo>
                    <a:pt x="272" y="28"/>
                    <a:pt x="271" y="27"/>
                    <a:pt x="270" y="29"/>
                  </a:cubicBezTo>
                  <a:cubicBezTo>
                    <a:pt x="269" y="30"/>
                    <a:pt x="269" y="31"/>
                    <a:pt x="268" y="32"/>
                  </a:cubicBezTo>
                  <a:cubicBezTo>
                    <a:pt x="267" y="35"/>
                    <a:pt x="265" y="34"/>
                    <a:pt x="264" y="35"/>
                  </a:cubicBezTo>
                  <a:cubicBezTo>
                    <a:pt x="260" y="37"/>
                    <a:pt x="257" y="41"/>
                    <a:pt x="256" y="45"/>
                  </a:cubicBezTo>
                  <a:cubicBezTo>
                    <a:pt x="255" y="46"/>
                    <a:pt x="255" y="48"/>
                    <a:pt x="255" y="49"/>
                  </a:cubicBezTo>
                  <a:cubicBezTo>
                    <a:pt x="254" y="51"/>
                    <a:pt x="254" y="53"/>
                    <a:pt x="254" y="54"/>
                  </a:cubicBezTo>
                  <a:cubicBezTo>
                    <a:pt x="254" y="57"/>
                    <a:pt x="253" y="58"/>
                    <a:pt x="253" y="60"/>
                  </a:cubicBezTo>
                  <a:cubicBezTo>
                    <a:pt x="252" y="62"/>
                    <a:pt x="253" y="64"/>
                    <a:pt x="252" y="66"/>
                  </a:cubicBezTo>
                  <a:cubicBezTo>
                    <a:pt x="251" y="69"/>
                    <a:pt x="248" y="71"/>
                    <a:pt x="245" y="71"/>
                  </a:cubicBezTo>
                  <a:cubicBezTo>
                    <a:pt x="242" y="71"/>
                    <a:pt x="242" y="70"/>
                    <a:pt x="240" y="69"/>
                  </a:cubicBezTo>
                  <a:cubicBezTo>
                    <a:pt x="238" y="68"/>
                    <a:pt x="236" y="69"/>
                    <a:pt x="234" y="69"/>
                  </a:cubicBezTo>
                  <a:cubicBezTo>
                    <a:pt x="230" y="69"/>
                    <a:pt x="227" y="71"/>
                    <a:pt x="223" y="72"/>
                  </a:cubicBezTo>
                  <a:cubicBezTo>
                    <a:pt x="220" y="73"/>
                    <a:pt x="218" y="73"/>
                    <a:pt x="215" y="74"/>
                  </a:cubicBezTo>
                  <a:cubicBezTo>
                    <a:pt x="213" y="75"/>
                    <a:pt x="211" y="76"/>
                    <a:pt x="209" y="77"/>
                  </a:cubicBezTo>
                  <a:cubicBezTo>
                    <a:pt x="206" y="79"/>
                    <a:pt x="202" y="80"/>
                    <a:pt x="203" y="84"/>
                  </a:cubicBezTo>
                  <a:cubicBezTo>
                    <a:pt x="204" y="86"/>
                    <a:pt x="207" y="89"/>
                    <a:pt x="209" y="91"/>
                  </a:cubicBezTo>
                  <a:cubicBezTo>
                    <a:pt x="210" y="92"/>
                    <a:pt x="211" y="93"/>
                    <a:pt x="212" y="94"/>
                  </a:cubicBezTo>
                  <a:cubicBezTo>
                    <a:pt x="215" y="97"/>
                    <a:pt x="215" y="101"/>
                    <a:pt x="216" y="105"/>
                  </a:cubicBezTo>
                  <a:cubicBezTo>
                    <a:pt x="216" y="108"/>
                    <a:pt x="216" y="111"/>
                    <a:pt x="216" y="114"/>
                  </a:cubicBezTo>
                  <a:cubicBezTo>
                    <a:pt x="217" y="116"/>
                    <a:pt x="218" y="117"/>
                    <a:pt x="219" y="119"/>
                  </a:cubicBezTo>
                  <a:cubicBezTo>
                    <a:pt x="220" y="123"/>
                    <a:pt x="219" y="126"/>
                    <a:pt x="222" y="129"/>
                  </a:cubicBezTo>
                  <a:cubicBezTo>
                    <a:pt x="224" y="130"/>
                    <a:pt x="229" y="131"/>
                    <a:pt x="229" y="135"/>
                  </a:cubicBezTo>
                  <a:cubicBezTo>
                    <a:pt x="232" y="136"/>
                    <a:pt x="237" y="134"/>
                    <a:pt x="240" y="136"/>
                  </a:cubicBezTo>
                  <a:cubicBezTo>
                    <a:pt x="243" y="140"/>
                    <a:pt x="237" y="140"/>
                    <a:pt x="236" y="141"/>
                  </a:cubicBezTo>
                  <a:cubicBezTo>
                    <a:pt x="235" y="142"/>
                    <a:pt x="235" y="144"/>
                    <a:pt x="235" y="146"/>
                  </a:cubicBezTo>
                  <a:cubicBezTo>
                    <a:pt x="235" y="151"/>
                    <a:pt x="234" y="154"/>
                    <a:pt x="237" y="157"/>
                  </a:cubicBezTo>
                  <a:cubicBezTo>
                    <a:pt x="238" y="159"/>
                    <a:pt x="239" y="161"/>
                    <a:pt x="240" y="163"/>
                  </a:cubicBezTo>
                  <a:cubicBezTo>
                    <a:pt x="241" y="165"/>
                    <a:pt x="242" y="166"/>
                    <a:pt x="242" y="168"/>
                  </a:cubicBezTo>
                  <a:cubicBezTo>
                    <a:pt x="242" y="169"/>
                    <a:pt x="242" y="170"/>
                    <a:pt x="242" y="171"/>
                  </a:cubicBezTo>
                  <a:cubicBezTo>
                    <a:pt x="242" y="172"/>
                    <a:pt x="244" y="173"/>
                    <a:pt x="244" y="174"/>
                  </a:cubicBezTo>
                  <a:cubicBezTo>
                    <a:pt x="245" y="174"/>
                    <a:pt x="245" y="177"/>
                    <a:pt x="245" y="178"/>
                  </a:cubicBezTo>
                  <a:cubicBezTo>
                    <a:pt x="245" y="180"/>
                    <a:pt x="246" y="182"/>
                    <a:pt x="248" y="184"/>
                  </a:cubicBezTo>
                  <a:cubicBezTo>
                    <a:pt x="248" y="185"/>
                    <a:pt x="250" y="184"/>
                    <a:pt x="250" y="186"/>
                  </a:cubicBezTo>
                  <a:cubicBezTo>
                    <a:pt x="249" y="188"/>
                    <a:pt x="248" y="187"/>
                    <a:pt x="247" y="187"/>
                  </a:cubicBezTo>
                  <a:cubicBezTo>
                    <a:pt x="244" y="188"/>
                    <a:pt x="239" y="186"/>
                    <a:pt x="236" y="187"/>
                  </a:cubicBezTo>
                  <a:cubicBezTo>
                    <a:pt x="234" y="188"/>
                    <a:pt x="235" y="189"/>
                    <a:pt x="234" y="191"/>
                  </a:cubicBezTo>
                  <a:cubicBezTo>
                    <a:pt x="233" y="192"/>
                    <a:pt x="232" y="191"/>
                    <a:pt x="232" y="193"/>
                  </a:cubicBezTo>
                  <a:cubicBezTo>
                    <a:pt x="232" y="194"/>
                    <a:pt x="232" y="195"/>
                    <a:pt x="232" y="195"/>
                  </a:cubicBezTo>
                  <a:cubicBezTo>
                    <a:pt x="234" y="198"/>
                    <a:pt x="234" y="197"/>
                    <a:pt x="234" y="200"/>
                  </a:cubicBezTo>
                  <a:cubicBezTo>
                    <a:pt x="234" y="200"/>
                    <a:pt x="235" y="203"/>
                    <a:pt x="234" y="204"/>
                  </a:cubicBezTo>
                  <a:cubicBezTo>
                    <a:pt x="233" y="207"/>
                    <a:pt x="230" y="207"/>
                    <a:pt x="228" y="209"/>
                  </a:cubicBezTo>
                  <a:cubicBezTo>
                    <a:pt x="226" y="210"/>
                    <a:pt x="226" y="211"/>
                    <a:pt x="226" y="214"/>
                  </a:cubicBezTo>
                  <a:cubicBezTo>
                    <a:pt x="226" y="217"/>
                    <a:pt x="227" y="218"/>
                    <a:pt x="227" y="220"/>
                  </a:cubicBezTo>
                  <a:cubicBezTo>
                    <a:pt x="223" y="221"/>
                    <a:pt x="220" y="220"/>
                    <a:pt x="217" y="218"/>
                  </a:cubicBezTo>
                  <a:cubicBezTo>
                    <a:pt x="215" y="217"/>
                    <a:pt x="213" y="217"/>
                    <a:pt x="211" y="216"/>
                  </a:cubicBezTo>
                  <a:cubicBezTo>
                    <a:pt x="210" y="215"/>
                    <a:pt x="210" y="214"/>
                    <a:pt x="209" y="213"/>
                  </a:cubicBezTo>
                  <a:cubicBezTo>
                    <a:pt x="208" y="212"/>
                    <a:pt x="206" y="212"/>
                    <a:pt x="204" y="212"/>
                  </a:cubicBezTo>
                  <a:cubicBezTo>
                    <a:pt x="203" y="211"/>
                    <a:pt x="204" y="211"/>
                    <a:pt x="202" y="211"/>
                  </a:cubicBezTo>
                  <a:cubicBezTo>
                    <a:pt x="201" y="210"/>
                    <a:pt x="197" y="210"/>
                    <a:pt x="196" y="211"/>
                  </a:cubicBezTo>
                  <a:cubicBezTo>
                    <a:pt x="191" y="212"/>
                    <a:pt x="192" y="216"/>
                    <a:pt x="188" y="217"/>
                  </a:cubicBezTo>
                  <a:cubicBezTo>
                    <a:pt x="187" y="217"/>
                    <a:pt x="186" y="217"/>
                    <a:pt x="185" y="217"/>
                  </a:cubicBezTo>
                  <a:cubicBezTo>
                    <a:pt x="183" y="216"/>
                    <a:pt x="180" y="216"/>
                    <a:pt x="178" y="215"/>
                  </a:cubicBezTo>
                  <a:cubicBezTo>
                    <a:pt x="177" y="215"/>
                    <a:pt x="177" y="214"/>
                    <a:pt x="176" y="214"/>
                  </a:cubicBezTo>
                  <a:cubicBezTo>
                    <a:pt x="174" y="213"/>
                    <a:pt x="173" y="212"/>
                    <a:pt x="171" y="212"/>
                  </a:cubicBezTo>
                  <a:cubicBezTo>
                    <a:pt x="171" y="212"/>
                    <a:pt x="169" y="213"/>
                    <a:pt x="168" y="212"/>
                  </a:cubicBezTo>
                  <a:cubicBezTo>
                    <a:pt x="166" y="212"/>
                    <a:pt x="165" y="209"/>
                    <a:pt x="164" y="207"/>
                  </a:cubicBezTo>
                  <a:cubicBezTo>
                    <a:pt x="162" y="205"/>
                    <a:pt x="161" y="203"/>
                    <a:pt x="159" y="200"/>
                  </a:cubicBezTo>
                  <a:cubicBezTo>
                    <a:pt x="158" y="198"/>
                    <a:pt x="158" y="197"/>
                    <a:pt x="156" y="196"/>
                  </a:cubicBezTo>
                  <a:cubicBezTo>
                    <a:pt x="153" y="195"/>
                    <a:pt x="153" y="195"/>
                    <a:pt x="153" y="192"/>
                  </a:cubicBezTo>
                  <a:cubicBezTo>
                    <a:pt x="152" y="189"/>
                    <a:pt x="154" y="188"/>
                    <a:pt x="151" y="186"/>
                  </a:cubicBezTo>
                  <a:cubicBezTo>
                    <a:pt x="148" y="185"/>
                    <a:pt x="145" y="186"/>
                    <a:pt x="143" y="184"/>
                  </a:cubicBezTo>
                  <a:cubicBezTo>
                    <a:pt x="139" y="181"/>
                    <a:pt x="139" y="177"/>
                    <a:pt x="132" y="179"/>
                  </a:cubicBezTo>
                  <a:cubicBezTo>
                    <a:pt x="133" y="174"/>
                    <a:pt x="128" y="171"/>
                    <a:pt x="124" y="169"/>
                  </a:cubicBezTo>
                  <a:cubicBezTo>
                    <a:pt x="122" y="169"/>
                    <a:pt x="121" y="168"/>
                    <a:pt x="120" y="168"/>
                  </a:cubicBezTo>
                  <a:cubicBezTo>
                    <a:pt x="118" y="166"/>
                    <a:pt x="117" y="164"/>
                    <a:pt x="114" y="164"/>
                  </a:cubicBezTo>
                  <a:cubicBezTo>
                    <a:pt x="114" y="166"/>
                    <a:pt x="114" y="169"/>
                    <a:pt x="114" y="171"/>
                  </a:cubicBezTo>
                  <a:cubicBezTo>
                    <a:pt x="109" y="172"/>
                    <a:pt x="112" y="166"/>
                    <a:pt x="110" y="165"/>
                  </a:cubicBezTo>
                  <a:cubicBezTo>
                    <a:pt x="108" y="164"/>
                    <a:pt x="103" y="168"/>
                    <a:pt x="101" y="169"/>
                  </a:cubicBezTo>
                  <a:cubicBezTo>
                    <a:pt x="100" y="170"/>
                    <a:pt x="99" y="170"/>
                    <a:pt x="98" y="171"/>
                  </a:cubicBezTo>
                  <a:cubicBezTo>
                    <a:pt x="97" y="172"/>
                    <a:pt x="96" y="173"/>
                    <a:pt x="96" y="174"/>
                  </a:cubicBezTo>
                  <a:cubicBezTo>
                    <a:pt x="92" y="177"/>
                    <a:pt x="86" y="176"/>
                    <a:pt x="81" y="177"/>
                  </a:cubicBezTo>
                  <a:cubicBezTo>
                    <a:pt x="78" y="177"/>
                    <a:pt x="79" y="177"/>
                    <a:pt x="78" y="179"/>
                  </a:cubicBezTo>
                  <a:cubicBezTo>
                    <a:pt x="76" y="181"/>
                    <a:pt x="75" y="182"/>
                    <a:pt x="73" y="184"/>
                  </a:cubicBezTo>
                  <a:cubicBezTo>
                    <a:pt x="72" y="184"/>
                    <a:pt x="70" y="186"/>
                    <a:pt x="69" y="186"/>
                  </a:cubicBezTo>
                  <a:cubicBezTo>
                    <a:pt x="65" y="188"/>
                    <a:pt x="65" y="185"/>
                    <a:pt x="64" y="182"/>
                  </a:cubicBezTo>
                  <a:cubicBezTo>
                    <a:pt x="63" y="176"/>
                    <a:pt x="67" y="174"/>
                    <a:pt x="68" y="169"/>
                  </a:cubicBezTo>
                  <a:cubicBezTo>
                    <a:pt x="70" y="165"/>
                    <a:pt x="71" y="163"/>
                    <a:pt x="70" y="159"/>
                  </a:cubicBezTo>
                  <a:cubicBezTo>
                    <a:pt x="70" y="157"/>
                    <a:pt x="70" y="156"/>
                    <a:pt x="69" y="154"/>
                  </a:cubicBezTo>
                  <a:cubicBezTo>
                    <a:pt x="69" y="150"/>
                    <a:pt x="70" y="145"/>
                    <a:pt x="73" y="142"/>
                  </a:cubicBezTo>
                  <a:cubicBezTo>
                    <a:pt x="74" y="140"/>
                    <a:pt x="77" y="140"/>
                    <a:pt x="78" y="138"/>
                  </a:cubicBezTo>
                  <a:cubicBezTo>
                    <a:pt x="76" y="135"/>
                    <a:pt x="64" y="134"/>
                    <a:pt x="62" y="137"/>
                  </a:cubicBezTo>
                  <a:cubicBezTo>
                    <a:pt x="59" y="140"/>
                    <a:pt x="59" y="144"/>
                    <a:pt x="55" y="147"/>
                  </a:cubicBezTo>
                  <a:cubicBezTo>
                    <a:pt x="51" y="150"/>
                    <a:pt x="47" y="147"/>
                    <a:pt x="44" y="143"/>
                  </a:cubicBezTo>
                  <a:cubicBezTo>
                    <a:pt x="43" y="140"/>
                    <a:pt x="37" y="130"/>
                    <a:pt x="33" y="134"/>
                  </a:cubicBezTo>
                  <a:cubicBezTo>
                    <a:pt x="31" y="131"/>
                    <a:pt x="30" y="127"/>
                    <a:pt x="27" y="124"/>
                  </a:cubicBezTo>
                  <a:cubicBezTo>
                    <a:pt x="26" y="122"/>
                    <a:pt x="24" y="121"/>
                    <a:pt x="23" y="119"/>
                  </a:cubicBezTo>
                  <a:cubicBezTo>
                    <a:pt x="22" y="118"/>
                    <a:pt x="23" y="114"/>
                    <a:pt x="23" y="112"/>
                  </a:cubicBezTo>
                  <a:cubicBezTo>
                    <a:pt x="22" y="111"/>
                    <a:pt x="22" y="110"/>
                    <a:pt x="21" y="109"/>
                  </a:cubicBezTo>
                  <a:cubicBezTo>
                    <a:pt x="21" y="108"/>
                    <a:pt x="21" y="108"/>
                    <a:pt x="21" y="107"/>
                  </a:cubicBezTo>
                  <a:cubicBezTo>
                    <a:pt x="21" y="107"/>
                    <a:pt x="21" y="106"/>
                    <a:pt x="20" y="106"/>
                  </a:cubicBezTo>
                  <a:cubicBezTo>
                    <a:pt x="19" y="104"/>
                    <a:pt x="16" y="97"/>
                    <a:pt x="20" y="96"/>
                  </a:cubicBezTo>
                  <a:cubicBezTo>
                    <a:pt x="22" y="95"/>
                    <a:pt x="26" y="97"/>
                    <a:pt x="28" y="96"/>
                  </a:cubicBezTo>
                  <a:cubicBezTo>
                    <a:pt x="28" y="96"/>
                    <a:pt x="30" y="93"/>
                    <a:pt x="30" y="93"/>
                  </a:cubicBezTo>
                  <a:cubicBezTo>
                    <a:pt x="31" y="91"/>
                    <a:pt x="32" y="90"/>
                    <a:pt x="32" y="88"/>
                  </a:cubicBezTo>
                  <a:cubicBezTo>
                    <a:pt x="28" y="87"/>
                    <a:pt x="25" y="88"/>
                    <a:pt x="22" y="87"/>
                  </a:cubicBezTo>
                  <a:cubicBezTo>
                    <a:pt x="22" y="86"/>
                    <a:pt x="22" y="84"/>
                    <a:pt x="22" y="82"/>
                  </a:cubicBezTo>
                  <a:cubicBezTo>
                    <a:pt x="21" y="80"/>
                    <a:pt x="18" y="79"/>
                    <a:pt x="17" y="76"/>
                  </a:cubicBezTo>
                  <a:cubicBezTo>
                    <a:pt x="16" y="72"/>
                    <a:pt x="18" y="70"/>
                    <a:pt x="20" y="68"/>
                  </a:cubicBezTo>
                  <a:cubicBezTo>
                    <a:pt x="19" y="66"/>
                    <a:pt x="14" y="67"/>
                    <a:pt x="12" y="67"/>
                  </a:cubicBezTo>
                  <a:cubicBezTo>
                    <a:pt x="9" y="67"/>
                    <a:pt x="6" y="70"/>
                    <a:pt x="4" y="69"/>
                  </a:cubicBezTo>
                  <a:cubicBezTo>
                    <a:pt x="0" y="68"/>
                    <a:pt x="1" y="64"/>
                    <a:pt x="3" y="63"/>
                  </a:cubicBezTo>
                  <a:cubicBezTo>
                    <a:pt x="6" y="62"/>
                    <a:pt x="6" y="62"/>
                    <a:pt x="8" y="63"/>
                  </a:cubicBezTo>
                  <a:cubicBezTo>
                    <a:pt x="10" y="63"/>
                    <a:pt x="11" y="62"/>
                    <a:pt x="12" y="61"/>
                  </a:cubicBezTo>
                  <a:cubicBezTo>
                    <a:pt x="12" y="60"/>
                    <a:pt x="12" y="59"/>
                    <a:pt x="13" y="59"/>
                  </a:cubicBezTo>
                  <a:cubicBezTo>
                    <a:pt x="13" y="58"/>
                    <a:pt x="14" y="59"/>
                    <a:pt x="14" y="58"/>
                  </a:cubicBezTo>
                  <a:cubicBezTo>
                    <a:pt x="16" y="57"/>
                    <a:pt x="16" y="57"/>
                    <a:pt x="17" y="55"/>
                  </a:cubicBezTo>
                  <a:cubicBezTo>
                    <a:pt x="18" y="51"/>
                    <a:pt x="17" y="48"/>
                    <a:pt x="17" y="44"/>
                  </a:cubicBezTo>
                  <a:cubicBezTo>
                    <a:pt x="16" y="40"/>
                    <a:pt x="17" y="37"/>
                    <a:pt x="21" y="39"/>
                  </a:cubicBezTo>
                  <a:cubicBezTo>
                    <a:pt x="22" y="39"/>
                    <a:pt x="23" y="41"/>
                    <a:pt x="25" y="41"/>
                  </a:cubicBezTo>
                  <a:cubicBezTo>
                    <a:pt x="27" y="42"/>
                    <a:pt x="28" y="40"/>
                    <a:pt x="29" y="39"/>
                  </a:cubicBezTo>
                  <a:cubicBezTo>
                    <a:pt x="31" y="37"/>
                    <a:pt x="41" y="36"/>
                    <a:pt x="41" y="40"/>
                  </a:cubicBezTo>
                  <a:cubicBezTo>
                    <a:pt x="43" y="40"/>
                    <a:pt x="52" y="40"/>
                    <a:pt x="50" y="36"/>
                  </a:cubicBezTo>
                  <a:cubicBezTo>
                    <a:pt x="50" y="34"/>
                    <a:pt x="47" y="34"/>
                    <a:pt x="46" y="32"/>
                  </a:cubicBezTo>
                  <a:cubicBezTo>
                    <a:pt x="45" y="30"/>
                    <a:pt x="47" y="29"/>
                    <a:pt x="48" y="29"/>
                  </a:cubicBezTo>
                  <a:cubicBezTo>
                    <a:pt x="50" y="29"/>
                    <a:pt x="52" y="30"/>
                    <a:pt x="53" y="29"/>
                  </a:cubicBezTo>
                  <a:cubicBezTo>
                    <a:pt x="56" y="29"/>
                    <a:pt x="56" y="27"/>
                    <a:pt x="58" y="25"/>
                  </a:cubicBezTo>
                  <a:cubicBezTo>
                    <a:pt x="61" y="22"/>
                    <a:pt x="66" y="20"/>
                    <a:pt x="69" y="20"/>
                  </a:cubicBezTo>
                  <a:cubicBezTo>
                    <a:pt x="72" y="20"/>
                    <a:pt x="73" y="20"/>
                    <a:pt x="75" y="19"/>
                  </a:cubicBezTo>
                  <a:cubicBezTo>
                    <a:pt x="77" y="19"/>
                    <a:pt x="79" y="18"/>
                    <a:pt x="81" y="18"/>
                  </a:cubicBezTo>
                  <a:cubicBezTo>
                    <a:pt x="83" y="17"/>
                    <a:pt x="83" y="17"/>
                    <a:pt x="84" y="16"/>
                  </a:cubicBezTo>
                  <a:cubicBezTo>
                    <a:pt x="85" y="15"/>
                    <a:pt x="87" y="15"/>
                    <a:pt x="89" y="14"/>
                  </a:cubicBezTo>
                  <a:cubicBezTo>
                    <a:pt x="92" y="11"/>
                    <a:pt x="93" y="9"/>
                    <a:pt x="97" y="8"/>
                  </a:cubicBezTo>
                  <a:cubicBezTo>
                    <a:pt x="100" y="7"/>
                    <a:pt x="102" y="8"/>
                    <a:pt x="105" y="10"/>
                  </a:cubicBezTo>
                  <a:cubicBezTo>
                    <a:pt x="106" y="11"/>
                    <a:pt x="108" y="11"/>
                    <a:pt x="109" y="12"/>
                  </a:cubicBezTo>
                  <a:cubicBezTo>
                    <a:pt x="109" y="13"/>
                    <a:pt x="109" y="14"/>
                    <a:pt x="109" y="14"/>
                  </a:cubicBezTo>
                  <a:cubicBezTo>
                    <a:pt x="110" y="14"/>
                    <a:pt x="111" y="14"/>
                    <a:pt x="111" y="14"/>
                  </a:cubicBezTo>
                  <a:cubicBezTo>
                    <a:pt x="116" y="16"/>
                    <a:pt x="123" y="16"/>
                    <a:pt x="128" y="15"/>
                  </a:cubicBezTo>
                  <a:cubicBezTo>
                    <a:pt x="128" y="12"/>
                    <a:pt x="127" y="8"/>
                    <a:pt x="128" y="5"/>
                  </a:cubicBezTo>
                  <a:cubicBezTo>
                    <a:pt x="128" y="4"/>
                    <a:pt x="128" y="2"/>
                    <a:pt x="130" y="3"/>
                  </a:cubicBezTo>
                  <a:cubicBezTo>
                    <a:pt x="133" y="3"/>
                    <a:pt x="132" y="7"/>
                    <a:pt x="132" y="9"/>
                  </a:cubicBezTo>
                  <a:cubicBezTo>
                    <a:pt x="136" y="10"/>
                    <a:pt x="135" y="5"/>
                    <a:pt x="136" y="4"/>
                  </a:cubicBezTo>
                  <a:cubicBezTo>
                    <a:pt x="139" y="0"/>
                    <a:pt x="140" y="6"/>
                    <a:pt x="141" y="8"/>
                  </a:cubicBezTo>
                  <a:cubicBezTo>
                    <a:pt x="143" y="8"/>
                    <a:pt x="145" y="9"/>
                    <a:pt x="147" y="8"/>
                  </a:cubicBezTo>
                  <a:cubicBezTo>
                    <a:pt x="150" y="8"/>
                    <a:pt x="151" y="7"/>
                    <a:pt x="153" y="6"/>
                  </a:cubicBezTo>
                  <a:cubicBezTo>
                    <a:pt x="156" y="5"/>
                    <a:pt x="158" y="5"/>
                    <a:pt x="161" y="5"/>
                  </a:cubicBezTo>
                  <a:cubicBezTo>
                    <a:pt x="163" y="4"/>
                    <a:pt x="163" y="3"/>
                    <a:pt x="166" y="4"/>
                  </a:cubicBezTo>
                  <a:cubicBezTo>
                    <a:pt x="166" y="5"/>
                    <a:pt x="167" y="6"/>
                    <a:pt x="167" y="6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2" y="8"/>
                    <a:pt x="173" y="9"/>
                    <a:pt x="175" y="9"/>
                  </a:cubicBezTo>
                  <a:cubicBezTo>
                    <a:pt x="177" y="10"/>
                    <a:pt x="180" y="12"/>
                    <a:pt x="183" y="12"/>
                  </a:cubicBezTo>
                  <a:cubicBezTo>
                    <a:pt x="183" y="11"/>
                    <a:pt x="183" y="9"/>
                    <a:pt x="183" y="8"/>
                  </a:cubicBezTo>
                  <a:cubicBezTo>
                    <a:pt x="185" y="8"/>
                    <a:pt x="187" y="10"/>
                    <a:pt x="188" y="11"/>
                  </a:cubicBezTo>
                  <a:cubicBezTo>
                    <a:pt x="191" y="13"/>
                    <a:pt x="192" y="14"/>
                    <a:pt x="195" y="14"/>
                  </a:cubicBezTo>
                  <a:cubicBezTo>
                    <a:pt x="198" y="15"/>
                    <a:pt x="202" y="14"/>
                    <a:pt x="205" y="16"/>
                  </a:cubicBezTo>
                  <a:cubicBezTo>
                    <a:pt x="209" y="17"/>
                    <a:pt x="211" y="20"/>
                    <a:pt x="214" y="21"/>
                  </a:cubicBezTo>
                  <a:cubicBezTo>
                    <a:pt x="218" y="23"/>
                    <a:pt x="223" y="23"/>
                    <a:pt x="227" y="23"/>
                  </a:cubicBezTo>
                  <a:cubicBezTo>
                    <a:pt x="231" y="22"/>
                    <a:pt x="233" y="20"/>
                    <a:pt x="237" y="19"/>
                  </a:cubicBezTo>
                  <a:cubicBezTo>
                    <a:pt x="238" y="19"/>
                    <a:pt x="243" y="17"/>
                    <a:pt x="244" y="17"/>
                  </a:cubicBezTo>
                  <a:cubicBezTo>
                    <a:pt x="246" y="18"/>
                    <a:pt x="245" y="18"/>
                    <a:pt x="247" y="19"/>
                  </a:cubicBezTo>
                  <a:cubicBezTo>
                    <a:pt x="251" y="22"/>
                    <a:pt x="259" y="21"/>
                    <a:pt x="264" y="21"/>
                  </a:cubicBezTo>
                  <a:lnTo>
                    <a:pt x="264" y="14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9" name="Freeform 41">
              <a:extLst>
                <a:ext uri="{FF2B5EF4-FFF2-40B4-BE49-F238E27FC236}">
                  <a16:creationId xmlns:a16="http://schemas.microsoft.com/office/drawing/2014/main" id="{44994F2A-93F4-49EF-836F-118709835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3250" y="3044825"/>
              <a:ext cx="171450" cy="144463"/>
            </a:xfrm>
            <a:custGeom>
              <a:avLst/>
              <a:gdLst/>
              <a:ahLst/>
              <a:cxnLst>
                <a:cxn ang="0">
                  <a:pos x="83" y="0"/>
                </a:cxn>
                <a:cxn ang="0">
                  <a:pos x="76" y="1"/>
                </a:cxn>
                <a:cxn ang="0">
                  <a:pos x="75" y="8"/>
                </a:cxn>
                <a:cxn ang="0">
                  <a:pos x="75" y="11"/>
                </a:cxn>
                <a:cxn ang="0">
                  <a:pos x="72" y="9"/>
                </a:cxn>
                <a:cxn ang="0">
                  <a:pos x="69" y="8"/>
                </a:cxn>
                <a:cxn ang="0">
                  <a:pos x="66" y="6"/>
                </a:cxn>
                <a:cxn ang="0">
                  <a:pos x="62" y="6"/>
                </a:cxn>
                <a:cxn ang="0">
                  <a:pos x="59" y="4"/>
                </a:cxn>
                <a:cxn ang="0">
                  <a:pos x="55" y="9"/>
                </a:cxn>
                <a:cxn ang="0">
                  <a:pos x="49" y="9"/>
                </a:cxn>
                <a:cxn ang="0">
                  <a:pos x="46" y="7"/>
                </a:cxn>
                <a:cxn ang="0">
                  <a:pos x="42" y="7"/>
                </a:cxn>
                <a:cxn ang="0">
                  <a:pos x="38" y="3"/>
                </a:cxn>
                <a:cxn ang="0">
                  <a:pos x="36" y="7"/>
                </a:cxn>
                <a:cxn ang="0">
                  <a:pos x="32" y="9"/>
                </a:cxn>
                <a:cxn ang="0">
                  <a:pos x="28" y="20"/>
                </a:cxn>
                <a:cxn ang="0">
                  <a:pos x="22" y="18"/>
                </a:cxn>
                <a:cxn ang="0">
                  <a:pos x="22" y="13"/>
                </a:cxn>
                <a:cxn ang="0">
                  <a:pos x="16" y="25"/>
                </a:cxn>
                <a:cxn ang="0">
                  <a:pos x="7" y="17"/>
                </a:cxn>
                <a:cxn ang="0">
                  <a:pos x="1" y="20"/>
                </a:cxn>
                <a:cxn ang="0">
                  <a:pos x="7" y="27"/>
                </a:cxn>
                <a:cxn ang="0">
                  <a:pos x="5" y="31"/>
                </a:cxn>
                <a:cxn ang="0">
                  <a:pos x="9" y="36"/>
                </a:cxn>
                <a:cxn ang="0">
                  <a:pos x="3" y="39"/>
                </a:cxn>
                <a:cxn ang="0">
                  <a:pos x="10" y="42"/>
                </a:cxn>
                <a:cxn ang="0">
                  <a:pos x="19" y="51"/>
                </a:cxn>
                <a:cxn ang="0">
                  <a:pos x="20" y="59"/>
                </a:cxn>
                <a:cxn ang="0">
                  <a:pos x="14" y="63"/>
                </a:cxn>
                <a:cxn ang="0">
                  <a:pos x="18" y="77"/>
                </a:cxn>
                <a:cxn ang="0">
                  <a:pos x="22" y="75"/>
                </a:cxn>
                <a:cxn ang="0">
                  <a:pos x="23" y="69"/>
                </a:cxn>
                <a:cxn ang="0">
                  <a:pos x="22" y="64"/>
                </a:cxn>
                <a:cxn ang="0">
                  <a:pos x="21" y="59"/>
                </a:cxn>
                <a:cxn ang="0">
                  <a:pos x="24" y="53"/>
                </a:cxn>
                <a:cxn ang="0">
                  <a:pos x="27" y="49"/>
                </a:cxn>
                <a:cxn ang="0">
                  <a:pos x="28" y="48"/>
                </a:cxn>
                <a:cxn ang="0">
                  <a:pos x="31" y="50"/>
                </a:cxn>
                <a:cxn ang="0">
                  <a:pos x="34" y="48"/>
                </a:cxn>
                <a:cxn ang="0">
                  <a:pos x="39" y="50"/>
                </a:cxn>
                <a:cxn ang="0">
                  <a:pos x="48" y="45"/>
                </a:cxn>
                <a:cxn ang="0">
                  <a:pos x="56" y="44"/>
                </a:cxn>
                <a:cxn ang="0">
                  <a:pos x="57" y="38"/>
                </a:cxn>
                <a:cxn ang="0">
                  <a:pos x="62" y="37"/>
                </a:cxn>
                <a:cxn ang="0">
                  <a:pos x="68" y="31"/>
                </a:cxn>
                <a:cxn ang="0">
                  <a:pos x="72" y="27"/>
                </a:cxn>
                <a:cxn ang="0">
                  <a:pos x="80" y="20"/>
                </a:cxn>
                <a:cxn ang="0">
                  <a:pos x="75" y="17"/>
                </a:cxn>
                <a:cxn ang="0">
                  <a:pos x="72" y="13"/>
                </a:cxn>
                <a:cxn ang="0">
                  <a:pos x="90" y="12"/>
                </a:cxn>
                <a:cxn ang="0">
                  <a:pos x="82" y="1"/>
                </a:cxn>
                <a:cxn ang="0">
                  <a:pos x="83" y="0"/>
                </a:cxn>
              </a:cxnLst>
              <a:rect l="0" t="0" r="r" b="b"/>
              <a:pathLst>
                <a:path w="91" h="77">
                  <a:moveTo>
                    <a:pt x="83" y="0"/>
                  </a:moveTo>
                  <a:cubicBezTo>
                    <a:pt x="81" y="0"/>
                    <a:pt x="77" y="0"/>
                    <a:pt x="76" y="1"/>
                  </a:cubicBezTo>
                  <a:cubicBezTo>
                    <a:pt x="72" y="2"/>
                    <a:pt x="74" y="5"/>
                    <a:pt x="75" y="8"/>
                  </a:cubicBezTo>
                  <a:cubicBezTo>
                    <a:pt x="75" y="9"/>
                    <a:pt x="76" y="10"/>
                    <a:pt x="75" y="11"/>
                  </a:cubicBezTo>
                  <a:cubicBezTo>
                    <a:pt x="73" y="12"/>
                    <a:pt x="73" y="10"/>
                    <a:pt x="72" y="9"/>
                  </a:cubicBezTo>
                  <a:cubicBezTo>
                    <a:pt x="70" y="8"/>
                    <a:pt x="70" y="9"/>
                    <a:pt x="69" y="8"/>
                  </a:cubicBezTo>
                  <a:cubicBezTo>
                    <a:pt x="68" y="7"/>
                    <a:pt x="68" y="7"/>
                    <a:pt x="66" y="6"/>
                  </a:cubicBezTo>
                  <a:cubicBezTo>
                    <a:pt x="65" y="6"/>
                    <a:pt x="63" y="6"/>
                    <a:pt x="62" y="6"/>
                  </a:cubicBezTo>
                  <a:cubicBezTo>
                    <a:pt x="61" y="6"/>
                    <a:pt x="60" y="4"/>
                    <a:pt x="59" y="4"/>
                  </a:cubicBezTo>
                  <a:cubicBezTo>
                    <a:pt x="56" y="4"/>
                    <a:pt x="57" y="8"/>
                    <a:pt x="55" y="9"/>
                  </a:cubicBezTo>
                  <a:cubicBezTo>
                    <a:pt x="54" y="9"/>
                    <a:pt x="50" y="9"/>
                    <a:pt x="49" y="9"/>
                  </a:cubicBezTo>
                  <a:cubicBezTo>
                    <a:pt x="48" y="8"/>
                    <a:pt x="47" y="7"/>
                    <a:pt x="46" y="7"/>
                  </a:cubicBezTo>
                  <a:cubicBezTo>
                    <a:pt x="44" y="7"/>
                    <a:pt x="43" y="7"/>
                    <a:pt x="42" y="7"/>
                  </a:cubicBezTo>
                  <a:cubicBezTo>
                    <a:pt x="41" y="5"/>
                    <a:pt x="41" y="1"/>
                    <a:pt x="38" y="3"/>
                  </a:cubicBezTo>
                  <a:cubicBezTo>
                    <a:pt x="36" y="4"/>
                    <a:pt x="37" y="6"/>
                    <a:pt x="36" y="7"/>
                  </a:cubicBezTo>
                  <a:cubicBezTo>
                    <a:pt x="34" y="9"/>
                    <a:pt x="33" y="8"/>
                    <a:pt x="32" y="9"/>
                  </a:cubicBezTo>
                  <a:cubicBezTo>
                    <a:pt x="28" y="11"/>
                    <a:pt x="31" y="17"/>
                    <a:pt x="28" y="20"/>
                  </a:cubicBezTo>
                  <a:cubicBezTo>
                    <a:pt x="27" y="21"/>
                    <a:pt x="23" y="19"/>
                    <a:pt x="22" y="18"/>
                  </a:cubicBezTo>
                  <a:cubicBezTo>
                    <a:pt x="22" y="17"/>
                    <a:pt x="23" y="15"/>
                    <a:pt x="22" y="13"/>
                  </a:cubicBezTo>
                  <a:cubicBezTo>
                    <a:pt x="16" y="12"/>
                    <a:pt x="16" y="21"/>
                    <a:pt x="16" y="25"/>
                  </a:cubicBezTo>
                  <a:cubicBezTo>
                    <a:pt x="12" y="27"/>
                    <a:pt x="9" y="18"/>
                    <a:pt x="7" y="17"/>
                  </a:cubicBezTo>
                  <a:cubicBezTo>
                    <a:pt x="5" y="15"/>
                    <a:pt x="0" y="16"/>
                    <a:pt x="1" y="20"/>
                  </a:cubicBezTo>
                  <a:cubicBezTo>
                    <a:pt x="5" y="20"/>
                    <a:pt x="7" y="24"/>
                    <a:pt x="7" y="27"/>
                  </a:cubicBezTo>
                  <a:cubicBezTo>
                    <a:pt x="6" y="28"/>
                    <a:pt x="5" y="29"/>
                    <a:pt x="5" y="31"/>
                  </a:cubicBezTo>
                  <a:cubicBezTo>
                    <a:pt x="4" y="34"/>
                    <a:pt x="7" y="34"/>
                    <a:pt x="9" y="36"/>
                  </a:cubicBezTo>
                  <a:cubicBezTo>
                    <a:pt x="8" y="38"/>
                    <a:pt x="4" y="37"/>
                    <a:pt x="3" y="39"/>
                  </a:cubicBezTo>
                  <a:cubicBezTo>
                    <a:pt x="1" y="42"/>
                    <a:pt x="8" y="42"/>
                    <a:pt x="10" y="42"/>
                  </a:cubicBezTo>
                  <a:cubicBezTo>
                    <a:pt x="10" y="48"/>
                    <a:pt x="18" y="45"/>
                    <a:pt x="19" y="51"/>
                  </a:cubicBezTo>
                  <a:cubicBezTo>
                    <a:pt x="19" y="53"/>
                    <a:pt x="21" y="57"/>
                    <a:pt x="20" y="59"/>
                  </a:cubicBezTo>
                  <a:cubicBezTo>
                    <a:pt x="19" y="60"/>
                    <a:pt x="16" y="62"/>
                    <a:pt x="14" y="63"/>
                  </a:cubicBezTo>
                  <a:cubicBezTo>
                    <a:pt x="9" y="67"/>
                    <a:pt x="10" y="77"/>
                    <a:pt x="18" y="77"/>
                  </a:cubicBezTo>
                  <a:cubicBezTo>
                    <a:pt x="21" y="77"/>
                    <a:pt x="21" y="77"/>
                    <a:pt x="22" y="75"/>
                  </a:cubicBezTo>
                  <a:cubicBezTo>
                    <a:pt x="23" y="74"/>
                    <a:pt x="24" y="70"/>
                    <a:pt x="23" y="69"/>
                  </a:cubicBezTo>
                  <a:cubicBezTo>
                    <a:pt x="23" y="67"/>
                    <a:pt x="22" y="66"/>
                    <a:pt x="22" y="64"/>
                  </a:cubicBezTo>
                  <a:cubicBezTo>
                    <a:pt x="21" y="62"/>
                    <a:pt x="22" y="61"/>
                    <a:pt x="21" y="59"/>
                  </a:cubicBezTo>
                  <a:cubicBezTo>
                    <a:pt x="23" y="59"/>
                    <a:pt x="23" y="55"/>
                    <a:pt x="24" y="53"/>
                  </a:cubicBezTo>
                  <a:cubicBezTo>
                    <a:pt x="25" y="52"/>
                    <a:pt x="25" y="50"/>
                    <a:pt x="27" y="49"/>
                  </a:cubicBezTo>
                  <a:cubicBezTo>
                    <a:pt x="28" y="48"/>
                    <a:pt x="27" y="48"/>
                    <a:pt x="28" y="48"/>
                  </a:cubicBezTo>
                  <a:cubicBezTo>
                    <a:pt x="30" y="48"/>
                    <a:pt x="30" y="50"/>
                    <a:pt x="31" y="50"/>
                  </a:cubicBezTo>
                  <a:cubicBezTo>
                    <a:pt x="33" y="51"/>
                    <a:pt x="32" y="49"/>
                    <a:pt x="34" y="48"/>
                  </a:cubicBezTo>
                  <a:cubicBezTo>
                    <a:pt x="37" y="46"/>
                    <a:pt x="38" y="49"/>
                    <a:pt x="39" y="50"/>
                  </a:cubicBezTo>
                  <a:cubicBezTo>
                    <a:pt x="44" y="53"/>
                    <a:pt x="46" y="47"/>
                    <a:pt x="48" y="45"/>
                  </a:cubicBezTo>
                  <a:cubicBezTo>
                    <a:pt x="51" y="42"/>
                    <a:pt x="53" y="45"/>
                    <a:pt x="56" y="44"/>
                  </a:cubicBezTo>
                  <a:cubicBezTo>
                    <a:pt x="56" y="42"/>
                    <a:pt x="55" y="40"/>
                    <a:pt x="57" y="38"/>
                  </a:cubicBezTo>
                  <a:cubicBezTo>
                    <a:pt x="59" y="36"/>
                    <a:pt x="60" y="37"/>
                    <a:pt x="62" y="37"/>
                  </a:cubicBezTo>
                  <a:cubicBezTo>
                    <a:pt x="66" y="36"/>
                    <a:pt x="66" y="34"/>
                    <a:pt x="68" y="31"/>
                  </a:cubicBezTo>
                  <a:cubicBezTo>
                    <a:pt x="69" y="28"/>
                    <a:pt x="69" y="28"/>
                    <a:pt x="72" y="27"/>
                  </a:cubicBezTo>
                  <a:cubicBezTo>
                    <a:pt x="76" y="25"/>
                    <a:pt x="84" y="25"/>
                    <a:pt x="80" y="20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2" y="16"/>
                    <a:pt x="73" y="15"/>
                    <a:pt x="72" y="13"/>
                  </a:cubicBezTo>
                  <a:cubicBezTo>
                    <a:pt x="76" y="15"/>
                    <a:pt x="87" y="17"/>
                    <a:pt x="90" y="12"/>
                  </a:cubicBezTo>
                  <a:cubicBezTo>
                    <a:pt x="91" y="8"/>
                    <a:pt x="85" y="2"/>
                    <a:pt x="82" y="1"/>
                  </a:cubicBezTo>
                  <a:lnTo>
                    <a:pt x="8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0" name="Freeform 42">
              <a:extLst>
                <a:ext uri="{FF2B5EF4-FFF2-40B4-BE49-F238E27FC236}">
                  <a16:creationId xmlns:a16="http://schemas.microsoft.com/office/drawing/2014/main" id="{CF66B922-4DE9-460A-9335-1D78A4619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3413" y="2960688"/>
              <a:ext cx="101600" cy="79375"/>
            </a:xfrm>
            <a:custGeom>
              <a:avLst/>
              <a:gdLst/>
              <a:ahLst/>
              <a:cxnLst>
                <a:cxn ang="0">
                  <a:pos x="50" y="21"/>
                </a:cxn>
                <a:cxn ang="0">
                  <a:pos x="53" y="27"/>
                </a:cxn>
                <a:cxn ang="0">
                  <a:pos x="44" y="26"/>
                </a:cxn>
                <a:cxn ang="0">
                  <a:pos x="36" y="25"/>
                </a:cxn>
                <a:cxn ang="0">
                  <a:pos x="37" y="34"/>
                </a:cxn>
                <a:cxn ang="0">
                  <a:pos x="38" y="39"/>
                </a:cxn>
                <a:cxn ang="0">
                  <a:pos x="31" y="38"/>
                </a:cxn>
                <a:cxn ang="0">
                  <a:pos x="29" y="36"/>
                </a:cxn>
                <a:cxn ang="0">
                  <a:pos x="28" y="40"/>
                </a:cxn>
                <a:cxn ang="0">
                  <a:pos x="23" y="41"/>
                </a:cxn>
                <a:cxn ang="0">
                  <a:pos x="20" y="36"/>
                </a:cxn>
                <a:cxn ang="0">
                  <a:pos x="14" y="25"/>
                </a:cxn>
                <a:cxn ang="0">
                  <a:pos x="3" y="24"/>
                </a:cxn>
                <a:cxn ang="0">
                  <a:pos x="1" y="19"/>
                </a:cxn>
                <a:cxn ang="0">
                  <a:pos x="1" y="16"/>
                </a:cxn>
                <a:cxn ang="0">
                  <a:pos x="10" y="17"/>
                </a:cxn>
                <a:cxn ang="0">
                  <a:pos x="12" y="16"/>
                </a:cxn>
                <a:cxn ang="0">
                  <a:pos x="16" y="17"/>
                </a:cxn>
                <a:cxn ang="0">
                  <a:pos x="20" y="6"/>
                </a:cxn>
                <a:cxn ang="0">
                  <a:pos x="28" y="4"/>
                </a:cxn>
                <a:cxn ang="0">
                  <a:pos x="34" y="0"/>
                </a:cxn>
                <a:cxn ang="0">
                  <a:pos x="35" y="9"/>
                </a:cxn>
                <a:cxn ang="0">
                  <a:pos x="41" y="10"/>
                </a:cxn>
                <a:cxn ang="0">
                  <a:pos x="43" y="15"/>
                </a:cxn>
                <a:cxn ang="0">
                  <a:pos x="53" y="17"/>
                </a:cxn>
                <a:cxn ang="0">
                  <a:pos x="53" y="23"/>
                </a:cxn>
                <a:cxn ang="0">
                  <a:pos x="50" y="21"/>
                </a:cxn>
              </a:cxnLst>
              <a:rect l="0" t="0" r="r" b="b"/>
              <a:pathLst>
                <a:path w="54" h="42">
                  <a:moveTo>
                    <a:pt x="50" y="21"/>
                  </a:moveTo>
                  <a:cubicBezTo>
                    <a:pt x="50" y="24"/>
                    <a:pt x="54" y="24"/>
                    <a:pt x="53" y="27"/>
                  </a:cubicBezTo>
                  <a:cubicBezTo>
                    <a:pt x="50" y="28"/>
                    <a:pt x="47" y="27"/>
                    <a:pt x="44" y="26"/>
                  </a:cubicBezTo>
                  <a:cubicBezTo>
                    <a:pt x="41" y="24"/>
                    <a:pt x="39" y="21"/>
                    <a:pt x="36" y="25"/>
                  </a:cubicBezTo>
                  <a:cubicBezTo>
                    <a:pt x="34" y="29"/>
                    <a:pt x="34" y="31"/>
                    <a:pt x="37" y="34"/>
                  </a:cubicBezTo>
                  <a:cubicBezTo>
                    <a:pt x="38" y="36"/>
                    <a:pt x="39" y="37"/>
                    <a:pt x="38" y="39"/>
                  </a:cubicBezTo>
                  <a:cubicBezTo>
                    <a:pt x="36" y="39"/>
                    <a:pt x="33" y="39"/>
                    <a:pt x="31" y="38"/>
                  </a:cubicBezTo>
                  <a:cubicBezTo>
                    <a:pt x="30" y="38"/>
                    <a:pt x="31" y="36"/>
                    <a:pt x="29" y="36"/>
                  </a:cubicBezTo>
                  <a:cubicBezTo>
                    <a:pt x="28" y="37"/>
                    <a:pt x="29" y="39"/>
                    <a:pt x="28" y="40"/>
                  </a:cubicBezTo>
                  <a:cubicBezTo>
                    <a:pt x="28" y="42"/>
                    <a:pt x="25" y="42"/>
                    <a:pt x="23" y="41"/>
                  </a:cubicBezTo>
                  <a:cubicBezTo>
                    <a:pt x="20" y="40"/>
                    <a:pt x="20" y="39"/>
                    <a:pt x="20" y="36"/>
                  </a:cubicBezTo>
                  <a:cubicBezTo>
                    <a:pt x="20" y="31"/>
                    <a:pt x="20" y="26"/>
                    <a:pt x="14" y="25"/>
                  </a:cubicBezTo>
                  <a:cubicBezTo>
                    <a:pt x="11" y="25"/>
                    <a:pt x="5" y="27"/>
                    <a:pt x="3" y="24"/>
                  </a:cubicBezTo>
                  <a:cubicBezTo>
                    <a:pt x="2" y="23"/>
                    <a:pt x="1" y="20"/>
                    <a:pt x="1" y="19"/>
                  </a:cubicBezTo>
                  <a:cubicBezTo>
                    <a:pt x="1" y="18"/>
                    <a:pt x="0" y="17"/>
                    <a:pt x="1" y="16"/>
                  </a:cubicBezTo>
                  <a:cubicBezTo>
                    <a:pt x="4" y="15"/>
                    <a:pt x="6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4" y="16"/>
                    <a:pt x="15" y="17"/>
                    <a:pt x="16" y="17"/>
                  </a:cubicBezTo>
                  <a:cubicBezTo>
                    <a:pt x="17" y="12"/>
                    <a:pt x="14" y="9"/>
                    <a:pt x="20" y="6"/>
                  </a:cubicBezTo>
                  <a:cubicBezTo>
                    <a:pt x="22" y="5"/>
                    <a:pt x="25" y="5"/>
                    <a:pt x="28" y="4"/>
                  </a:cubicBezTo>
                  <a:cubicBezTo>
                    <a:pt x="30" y="3"/>
                    <a:pt x="31" y="1"/>
                    <a:pt x="34" y="0"/>
                  </a:cubicBezTo>
                  <a:cubicBezTo>
                    <a:pt x="34" y="3"/>
                    <a:pt x="34" y="6"/>
                    <a:pt x="35" y="9"/>
                  </a:cubicBezTo>
                  <a:cubicBezTo>
                    <a:pt x="37" y="9"/>
                    <a:pt x="39" y="9"/>
                    <a:pt x="41" y="10"/>
                  </a:cubicBezTo>
                  <a:cubicBezTo>
                    <a:pt x="42" y="12"/>
                    <a:pt x="41" y="14"/>
                    <a:pt x="43" y="15"/>
                  </a:cubicBezTo>
                  <a:cubicBezTo>
                    <a:pt x="45" y="17"/>
                    <a:pt x="50" y="14"/>
                    <a:pt x="53" y="17"/>
                  </a:cubicBezTo>
                  <a:cubicBezTo>
                    <a:pt x="53" y="18"/>
                    <a:pt x="54" y="21"/>
                    <a:pt x="53" y="23"/>
                  </a:cubicBezTo>
                  <a:lnTo>
                    <a:pt x="50" y="2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1" name="Freeform 43">
              <a:extLst>
                <a:ext uri="{FF2B5EF4-FFF2-40B4-BE49-F238E27FC236}">
                  <a16:creationId xmlns:a16="http://schemas.microsoft.com/office/drawing/2014/main" id="{7E2A2B8C-B852-4AE7-9BD8-40894A2E0B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9250" y="5822950"/>
              <a:ext cx="688975" cy="779463"/>
            </a:xfrm>
            <a:custGeom>
              <a:avLst/>
              <a:gdLst/>
              <a:ahLst/>
              <a:cxnLst>
                <a:cxn ang="0">
                  <a:pos x="116" y="274"/>
                </a:cxn>
                <a:cxn ang="0">
                  <a:pos x="84" y="265"/>
                </a:cxn>
                <a:cxn ang="0">
                  <a:pos x="52" y="293"/>
                </a:cxn>
                <a:cxn ang="0">
                  <a:pos x="79" y="343"/>
                </a:cxn>
                <a:cxn ang="0">
                  <a:pos x="77" y="372"/>
                </a:cxn>
                <a:cxn ang="0">
                  <a:pos x="109" y="379"/>
                </a:cxn>
                <a:cxn ang="0">
                  <a:pos x="139" y="385"/>
                </a:cxn>
                <a:cxn ang="0">
                  <a:pos x="154" y="408"/>
                </a:cxn>
                <a:cxn ang="0">
                  <a:pos x="155" y="380"/>
                </a:cxn>
                <a:cxn ang="0">
                  <a:pos x="142" y="334"/>
                </a:cxn>
                <a:cxn ang="0">
                  <a:pos x="160" y="334"/>
                </a:cxn>
                <a:cxn ang="0">
                  <a:pos x="171" y="346"/>
                </a:cxn>
                <a:cxn ang="0">
                  <a:pos x="183" y="335"/>
                </a:cxn>
                <a:cxn ang="0">
                  <a:pos x="160" y="315"/>
                </a:cxn>
                <a:cxn ang="0">
                  <a:pos x="158" y="293"/>
                </a:cxn>
                <a:cxn ang="0">
                  <a:pos x="18" y="191"/>
                </a:cxn>
                <a:cxn ang="0">
                  <a:pos x="48" y="216"/>
                </a:cxn>
                <a:cxn ang="0">
                  <a:pos x="24" y="239"/>
                </a:cxn>
                <a:cxn ang="0">
                  <a:pos x="40" y="236"/>
                </a:cxn>
                <a:cxn ang="0">
                  <a:pos x="69" y="257"/>
                </a:cxn>
                <a:cxn ang="0">
                  <a:pos x="120" y="261"/>
                </a:cxn>
                <a:cxn ang="0">
                  <a:pos x="155" y="271"/>
                </a:cxn>
                <a:cxn ang="0">
                  <a:pos x="152" y="289"/>
                </a:cxn>
                <a:cxn ang="0">
                  <a:pos x="180" y="295"/>
                </a:cxn>
                <a:cxn ang="0">
                  <a:pos x="211" y="312"/>
                </a:cxn>
                <a:cxn ang="0">
                  <a:pos x="216" y="287"/>
                </a:cxn>
                <a:cxn ang="0">
                  <a:pos x="247" y="294"/>
                </a:cxn>
                <a:cxn ang="0">
                  <a:pos x="224" y="248"/>
                </a:cxn>
                <a:cxn ang="0">
                  <a:pos x="168" y="210"/>
                </a:cxn>
                <a:cxn ang="0">
                  <a:pos x="162" y="230"/>
                </a:cxn>
                <a:cxn ang="0">
                  <a:pos x="176" y="249"/>
                </a:cxn>
                <a:cxn ang="0">
                  <a:pos x="149" y="219"/>
                </a:cxn>
                <a:cxn ang="0">
                  <a:pos x="166" y="201"/>
                </a:cxn>
                <a:cxn ang="0">
                  <a:pos x="155" y="166"/>
                </a:cxn>
                <a:cxn ang="0">
                  <a:pos x="132" y="116"/>
                </a:cxn>
                <a:cxn ang="0">
                  <a:pos x="156" y="96"/>
                </a:cxn>
                <a:cxn ang="0">
                  <a:pos x="178" y="138"/>
                </a:cxn>
                <a:cxn ang="0">
                  <a:pos x="196" y="124"/>
                </a:cxn>
                <a:cxn ang="0">
                  <a:pos x="208" y="110"/>
                </a:cxn>
                <a:cxn ang="0">
                  <a:pos x="238" y="121"/>
                </a:cxn>
                <a:cxn ang="0">
                  <a:pos x="210" y="92"/>
                </a:cxn>
                <a:cxn ang="0">
                  <a:pos x="228" y="72"/>
                </a:cxn>
                <a:cxn ang="0">
                  <a:pos x="275" y="53"/>
                </a:cxn>
                <a:cxn ang="0">
                  <a:pos x="333" y="79"/>
                </a:cxn>
                <a:cxn ang="0">
                  <a:pos x="366" y="22"/>
                </a:cxn>
                <a:cxn ang="0">
                  <a:pos x="338" y="13"/>
                </a:cxn>
                <a:cxn ang="0">
                  <a:pos x="320" y="33"/>
                </a:cxn>
                <a:cxn ang="0">
                  <a:pos x="283" y="36"/>
                </a:cxn>
                <a:cxn ang="0">
                  <a:pos x="258" y="27"/>
                </a:cxn>
                <a:cxn ang="0">
                  <a:pos x="239" y="13"/>
                </a:cxn>
                <a:cxn ang="0">
                  <a:pos x="214" y="17"/>
                </a:cxn>
                <a:cxn ang="0">
                  <a:pos x="180" y="25"/>
                </a:cxn>
                <a:cxn ang="0">
                  <a:pos x="155" y="22"/>
                </a:cxn>
                <a:cxn ang="0">
                  <a:pos x="144" y="40"/>
                </a:cxn>
                <a:cxn ang="0">
                  <a:pos x="118" y="37"/>
                </a:cxn>
                <a:cxn ang="0">
                  <a:pos x="93" y="52"/>
                </a:cxn>
                <a:cxn ang="0">
                  <a:pos x="70" y="57"/>
                </a:cxn>
                <a:cxn ang="0">
                  <a:pos x="50" y="82"/>
                </a:cxn>
                <a:cxn ang="0">
                  <a:pos x="33" y="100"/>
                </a:cxn>
                <a:cxn ang="0">
                  <a:pos x="22" y="120"/>
                </a:cxn>
                <a:cxn ang="0">
                  <a:pos x="12" y="140"/>
                </a:cxn>
                <a:cxn ang="0">
                  <a:pos x="2" y="153"/>
                </a:cxn>
              </a:cxnLst>
              <a:rect l="0" t="0" r="r" b="b"/>
              <a:pathLst>
                <a:path w="368" h="417">
                  <a:moveTo>
                    <a:pt x="155" y="296"/>
                  </a:moveTo>
                  <a:cubicBezTo>
                    <a:pt x="155" y="296"/>
                    <a:pt x="155" y="296"/>
                    <a:pt x="155" y="296"/>
                  </a:cubicBezTo>
                  <a:cubicBezTo>
                    <a:pt x="151" y="295"/>
                    <a:pt x="146" y="291"/>
                    <a:pt x="145" y="290"/>
                  </a:cubicBezTo>
                  <a:cubicBezTo>
                    <a:pt x="144" y="289"/>
                    <a:pt x="142" y="288"/>
                    <a:pt x="141" y="287"/>
                  </a:cubicBezTo>
                  <a:cubicBezTo>
                    <a:pt x="141" y="285"/>
                    <a:pt x="140" y="283"/>
                    <a:pt x="139" y="282"/>
                  </a:cubicBezTo>
                  <a:cubicBezTo>
                    <a:pt x="137" y="281"/>
                    <a:pt x="135" y="282"/>
                    <a:pt x="134" y="281"/>
                  </a:cubicBezTo>
                  <a:cubicBezTo>
                    <a:pt x="132" y="281"/>
                    <a:pt x="131" y="280"/>
                    <a:pt x="129" y="279"/>
                  </a:cubicBezTo>
                  <a:cubicBezTo>
                    <a:pt x="125" y="277"/>
                    <a:pt x="120" y="275"/>
                    <a:pt x="116" y="274"/>
                  </a:cubicBezTo>
                  <a:cubicBezTo>
                    <a:pt x="114" y="273"/>
                    <a:pt x="112" y="272"/>
                    <a:pt x="110" y="271"/>
                  </a:cubicBezTo>
                  <a:cubicBezTo>
                    <a:pt x="109" y="271"/>
                    <a:pt x="108" y="271"/>
                    <a:pt x="107" y="270"/>
                  </a:cubicBezTo>
                  <a:cubicBezTo>
                    <a:pt x="106" y="269"/>
                    <a:pt x="107" y="268"/>
                    <a:pt x="106" y="267"/>
                  </a:cubicBezTo>
                  <a:cubicBezTo>
                    <a:pt x="104" y="265"/>
                    <a:pt x="100" y="267"/>
                    <a:pt x="98" y="264"/>
                  </a:cubicBezTo>
                  <a:cubicBezTo>
                    <a:pt x="97" y="262"/>
                    <a:pt x="97" y="261"/>
                    <a:pt x="94" y="261"/>
                  </a:cubicBezTo>
                  <a:cubicBezTo>
                    <a:pt x="92" y="261"/>
                    <a:pt x="91" y="260"/>
                    <a:pt x="89" y="261"/>
                  </a:cubicBezTo>
                  <a:cubicBezTo>
                    <a:pt x="87" y="261"/>
                    <a:pt x="87" y="262"/>
                    <a:pt x="86" y="263"/>
                  </a:cubicBezTo>
                  <a:cubicBezTo>
                    <a:pt x="85" y="264"/>
                    <a:pt x="85" y="265"/>
                    <a:pt x="84" y="265"/>
                  </a:cubicBezTo>
                  <a:cubicBezTo>
                    <a:pt x="82" y="266"/>
                    <a:pt x="81" y="267"/>
                    <a:pt x="79" y="268"/>
                  </a:cubicBezTo>
                  <a:cubicBezTo>
                    <a:pt x="78" y="268"/>
                    <a:pt x="77" y="270"/>
                    <a:pt x="77" y="270"/>
                  </a:cubicBezTo>
                  <a:cubicBezTo>
                    <a:pt x="75" y="271"/>
                    <a:pt x="73" y="270"/>
                    <a:pt x="71" y="269"/>
                  </a:cubicBezTo>
                  <a:cubicBezTo>
                    <a:pt x="70" y="269"/>
                    <a:pt x="67" y="266"/>
                    <a:pt x="65" y="266"/>
                  </a:cubicBezTo>
                  <a:cubicBezTo>
                    <a:pt x="65" y="269"/>
                    <a:pt x="66" y="274"/>
                    <a:pt x="64" y="276"/>
                  </a:cubicBezTo>
                  <a:cubicBezTo>
                    <a:pt x="63" y="277"/>
                    <a:pt x="61" y="277"/>
                    <a:pt x="60" y="278"/>
                  </a:cubicBezTo>
                  <a:cubicBezTo>
                    <a:pt x="57" y="281"/>
                    <a:pt x="55" y="288"/>
                    <a:pt x="55" y="292"/>
                  </a:cubicBezTo>
                  <a:cubicBezTo>
                    <a:pt x="54" y="292"/>
                    <a:pt x="53" y="293"/>
                    <a:pt x="52" y="293"/>
                  </a:cubicBezTo>
                  <a:cubicBezTo>
                    <a:pt x="51" y="293"/>
                    <a:pt x="49" y="292"/>
                    <a:pt x="48" y="293"/>
                  </a:cubicBezTo>
                  <a:cubicBezTo>
                    <a:pt x="45" y="294"/>
                    <a:pt x="44" y="297"/>
                    <a:pt x="46" y="299"/>
                  </a:cubicBezTo>
                  <a:cubicBezTo>
                    <a:pt x="49" y="302"/>
                    <a:pt x="54" y="301"/>
                    <a:pt x="57" y="304"/>
                  </a:cubicBezTo>
                  <a:cubicBezTo>
                    <a:pt x="60" y="307"/>
                    <a:pt x="56" y="309"/>
                    <a:pt x="57" y="312"/>
                  </a:cubicBezTo>
                  <a:cubicBezTo>
                    <a:pt x="61" y="313"/>
                    <a:pt x="65" y="314"/>
                    <a:pt x="69" y="315"/>
                  </a:cubicBezTo>
                  <a:cubicBezTo>
                    <a:pt x="74" y="316"/>
                    <a:pt x="75" y="319"/>
                    <a:pt x="75" y="325"/>
                  </a:cubicBezTo>
                  <a:cubicBezTo>
                    <a:pt x="75" y="328"/>
                    <a:pt x="74" y="331"/>
                    <a:pt x="75" y="334"/>
                  </a:cubicBezTo>
                  <a:cubicBezTo>
                    <a:pt x="76" y="337"/>
                    <a:pt x="80" y="340"/>
                    <a:pt x="79" y="343"/>
                  </a:cubicBezTo>
                  <a:cubicBezTo>
                    <a:pt x="79" y="345"/>
                    <a:pt x="76" y="345"/>
                    <a:pt x="74" y="345"/>
                  </a:cubicBezTo>
                  <a:cubicBezTo>
                    <a:pt x="70" y="346"/>
                    <a:pt x="70" y="346"/>
                    <a:pt x="71" y="349"/>
                  </a:cubicBezTo>
                  <a:cubicBezTo>
                    <a:pt x="71" y="352"/>
                    <a:pt x="71" y="355"/>
                    <a:pt x="71" y="358"/>
                  </a:cubicBezTo>
                  <a:cubicBezTo>
                    <a:pt x="72" y="359"/>
                    <a:pt x="72" y="361"/>
                    <a:pt x="72" y="361"/>
                  </a:cubicBezTo>
                  <a:cubicBezTo>
                    <a:pt x="73" y="362"/>
                    <a:pt x="74" y="362"/>
                    <a:pt x="74" y="362"/>
                  </a:cubicBezTo>
                  <a:cubicBezTo>
                    <a:pt x="75" y="363"/>
                    <a:pt x="75" y="364"/>
                    <a:pt x="76" y="364"/>
                  </a:cubicBezTo>
                  <a:cubicBezTo>
                    <a:pt x="77" y="366"/>
                    <a:pt x="77" y="368"/>
                    <a:pt x="78" y="370"/>
                  </a:cubicBezTo>
                  <a:cubicBezTo>
                    <a:pt x="78" y="371"/>
                    <a:pt x="77" y="371"/>
                    <a:pt x="77" y="372"/>
                  </a:cubicBezTo>
                  <a:cubicBezTo>
                    <a:pt x="75" y="376"/>
                    <a:pt x="76" y="380"/>
                    <a:pt x="77" y="384"/>
                  </a:cubicBezTo>
                  <a:cubicBezTo>
                    <a:pt x="80" y="384"/>
                    <a:pt x="82" y="384"/>
                    <a:pt x="84" y="386"/>
                  </a:cubicBezTo>
                  <a:cubicBezTo>
                    <a:pt x="85" y="387"/>
                    <a:pt x="86" y="388"/>
                    <a:pt x="87" y="389"/>
                  </a:cubicBezTo>
                  <a:cubicBezTo>
                    <a:pt x="88" y="390"/>
                    <a:pt x="90" y="390"/>
                    <a:pt x="90" y="390"/>
                  </a:cubicBezTo>
                  <a:cubicBezTo>
                    <a:pt x="94" y="385"/>
                    <a:pt x="90" y="377"/>
                    <a:pt x="91" y="371"/>
                  </a:cubicBezTo>
                  <a:cubicBezTo>
                    <a:pt x="92" y="364"/>
                    <a:pt x="98" y="366"/>
                    <a:pt x="103" y="367"/>
                  </a:cubicBezTo>
                  <a:cubicBezTo>
                    <a:pt x="103" y="369"/>
                    <a:pt x="103" y="372"/>
                    <a:pt x="104" y="373"/>
                  </a:cubicBezTo>
                  <a:cubicBezTo>
                    <a:pt x="105" y="375"/>
                    <a:pt x="107" y="377"/>
                    <a:pt x="109" y="379"/>
                  </a:cubicBezTo>
                  <a:cubicBezTo>
                    <a:pt x="111" y="381"/>
                    <a:pt x="112" y="383"/>
                    <a:pt x="113" y="386"/>
                  </a:cubicBezTo>
                  <a:cubicBezTo>
                    <a:pt x="114" y="389"/>
                    <a:pt x="116" y="391"/>
                    <a:pt x="117" y="394"/>
                  </a:cubicBezTo>
                  <a:cubicBezTo>
                    <a:pt x="119" y="400"/>
                    <a:pt x="113" y="411"/>
                    <a:pt x="120" y="414"/>
                  </a:cubicBezTo>
                  <a:cubicBezTo>
                    <a:pt x="126" y="417"/>
                    <a:pt x="124" y="408"/>
                    <a:pt x="124" y="405"/>
                  </a:cubicBezTo>
                  <a:cubicBezTo>
                    <a:pt x="124" y="401"/>
                    <a:pt x="123" y="399"/>
                    <a:pt x="125" y="396"/>
                  </a:cubicBezTo>
                  <a:cubicBezTo>
                    <a:pt x="126" y="393"/>
                    <a:pt x="127" y="392"/>
                    <a:pt x="129" y="390"/>
                  </a:cubicBezTo>
                  <a:cubicBezTo>
                    <a:pt x="132" y="388"/>
                    <a:pt x="131" y="385"/>
                    <a:pt x="135" y="385"/>
                  </a:cubicBezTo>
                  <a:cubicBezTo>
                    <a:pt x="136" y="385"/>
                    <a:pt x="138" y="384"/>
                    <a:pt x="139" y="385"/>
                  </a:cubicBezTo>
                  <a:cubicBezTo>
                    <a:pt x="141" y="385"/>
                    <a:pt x="140" y="386"/>
                    <a:pt x="140" y="387"/>
                  </a:cubicBezTo>
                  <a:cubicBezTo>
                    <a:pt x="141" y="389"/>
                    <a:pt x="140" y="389"/>
                    <a:pt x="141" y="391"/>
                  </a:cubicBezTo>
                  <a:cubicBezTo>
                    <a:pt x="142" y="391"/>
                    <a:pt x="143" y="391"/>
                    <a:pt x="144" y="392"/>
                  </a:cubicBezTo>
                  <a:cubicBezTo>
                    <a:pt x="145" y="393"/>
                    <a:pt x="145" y="393"/>
                    <a:pt x="145" y="394"/>
                  </a:cubicBezTo>
                  <a:cubicBezTo>
                    <a:pt x="146" y="396"/>
                    <a:pt x="145" y="398"/>
                    <a:pt x="146" y="400"/>
                  </a:cubicBezTo>
                  <a:cubicBezTo>
                    <a:pt x="146" y="402"/>
                    <a:pt x="146" y="402"/>
                    <a:pt x="147" y="403"/>
                  </a:cubicBezTo>
                  <a:cubicBezTo>
                    <a:pt x="148" y="405"/>
                    <a:pt x="148" y="406"/>
                    <a:pt x="150" y="407"/>
                  </a:cubicBezTo>
                  <a:cubicBezTo>
                    <a:pt x="151" y="407"/>
                    <a:pt x="153" y="407"/>
                    <a:pt x="154" y="408"/>
                  </a:cubicBezTo>
                  <a:cubicBezTo>
                    <a:pt x="155" y="409"/>
                    <a:pt x="155" y="410"/>
                    <a:pt x="155" y="411"/>
                  </a:cubicBezTo>
                  <a:cubicBezTo>
                    <a:pt x="156" y="412"/>
                    <a:pt x="160" y="415"/>
                    <a:pt x="162" y="415"/>
                  </a:cubicBezTo>
                  <a:cubicBezTo>
                    <a:pt x="162" y="413"/>
                    <a:pt x="160" y="412"/>
                    <a:pt x="160" y="410"/>
                  </a:cubicBezTo>
                  <a:cubicBezTo>
                    <a:pt x="159" y="408"/>
                    <a:pt x="159" y="405"/>
                    <a:pt x="157" y="404"/>
                  </a:cubicBezTo>
                  <a:cubicBezTo>
                    <a:pt x="156" y="401"/>
                    <a:pt x="155" y="402"/>
                    <a:pt x="155" y="399"/>
                  </a:cubicBezTo>
                  <a:cubicBezTo>
                    <a:pt x="155" y="397"/>
                    <a:pt x="154" y="395"/>
                    <a:pt x="155" y="393"/>
                  </a:cubicBezTo>
                  <a:cubicBezTo>
                    <a:pt x="155" y="390"/>
                    <a:pt x="157" y="389"/>
                    <a:pt x="156" y="386"/>
                  </a:cubicBezTo>
                  <a:cubicBezTo>
                    <a:pt x="156" y="384"/>
                    <a:pt x="155" y="382"/>
                    <a:pt x="155" y="380"/>
                  </a:cubicBezTo>
                  <a:cubicBezTo>
                    <a:pt x="154" y="378"/>
                    <a:pt x="155" y="375"/>
                    <a:pt x="155" y="373"/>
                  </a:cubicBezTo>
                  <a:cubicBezTo>
                    <a:pt x="155" y="371"/>
                    <a:pt x="155" y="368"/>
                    <a:pt x="155" y="367"/>
                  </a:cubicBezTo>
                  <a:cubicBezTo>
                    <a:pt x="154" y="366"/>
                    <a:pt x="152" y="365"/>
                    <a:pt x="150" y="363"/>
                  </a:cubicBezTo>
                  <a:cubicBezTo>
                    <a:pt x="149" y="362"/>
                    <a:pt x="149" y="361"/>
                    <a:pt x="149" y="359"/>
                  </a:cubicBezTo>
                  <a:cubicBezTo>
                    <a:pt x="149" y="356"/>
                    <a:pt x="150" y="352"/>
                    <a:pt x="149" y="350"/>
                  </a:cubicBezTo>
                  <a:cubicBezTo>
                    <a:pt x="148" y="349"/>
                    <a:pt x="147" y="348"/>
                    <a:pt x="146" y="347"/>
                  </a:cubicBezTo>
                  <a:cubicBezTo>
                    <a:pt x="145" y="345"/>
                    <a:pt x="144" y="342"/>
                    <a:pt x="144" y="340"/>
                  </a:cubicBezTo>
                  <a:cubicBezTo>
                    <a:pt x="143" y="338"/>
                    <a:pt x="143" y="337"/>
                    <a:pt x="142" y="334"/>
                  </a:cubicBezTo>
                  <a:cubicBezTo>
                    <a:pt x="141" y="333"/>
                    <a:pt x="141" y="332"/>
                    <a:pt x="141" y="331"/>
                  </a:cubicBezTo>
                  <a:cubicBezTo>
                    <a:pt x="140" y="330"/>
                    <a:pt x="139" y="329"/>
                    <a:pt x="139" y="329"/>
                  </a:cubicBezTo>
                  <a:cubicBezTo>
                    <a:pt x="138" y="327"/>
                    <a:pt x="138" y="323"/>
                    <a:pt x="140" y="322"/>
                  </a:cubicBezTo>
                  <a:cubicBezTo>
                    <a:pt x="141" y="322"/>
                    <a:pt x="142" y="324"/>
                    <a:pt x="143" y="325"/>
                  </a:cubicBezTo>
                  <a:cubicBezTo>
                    <a:pt x="145" y="325"/>
                    <a:pt x="147" y="324"/>
                    <a:pt x="149" y="326"/>
                  </a:cubicBezTo>
                  <a:cubicBezTo>
                    <a:pt x="149" y="326"/>
                    <a:pt x="150" y="328"/>
                    <a:pt x="150" y="328"/>
                  </a:cubicBezTo>
                  <a:cubicBezTo>
                    <a:pt x="150" y="329"/>
                    <a:pt x="152" y="330"/>
                    <a:pt x="152" y="330"/>
                  </a:cubicBezTo>
                  <a:cubicBezTo>
                    <a:pt x="154" y="332"/>
                    <a:pt x="158" y="332"/>
                    <a:pt x="160" y="334"/>
                  </a:cubicBezTo>
                  <a:cubicBezTo>
                    <a:pt x="160" y="335"/>
                    <a:pt x="159" y="337"/>
                    <a:pt x="159" y="339"/>
                  </a:cubicBezTo>
                  <a:cubicBezTo>
                    <a:pt x="159" y="341"/>
                    <a:pt x="160" y="343"/>
                    <a:pt x="158" y="345"/>
                  </a:cubicBezTo>
                  <a:cubicBezTo>
                    <a:pt x="157" y="347"/>
                    <a:pt x="155" y="347"/>
                    <a:pt x="156" y="350"/>
                  </a:cubicBezTo>
                  <a:cubicBezTo>
                    <a:pt x="156" y="352"/>
                    <a:pt x="156" y="352"/>
                    <a:pt x="158" y="352"/>
                  </a:cubicBezTo>
                  <a:cubicBezTo>
                    <a:pt x="158" y="352"/>
                    <a:pt x="160" y="352"/>
                    <a:pt x="161" y="352"/>
                  </a:cubicBezTo>
                  <a:cubicBezTo>
                    <a:pt x="163" y="351"/>
                    <a:pt x="163" y="349"/>
                    <a:pt x="165" y="349"/>
                  </a:cubicBezTo>
                  <a:cubicBezTo>
                    <a:pt x="165" y="347"/>
                    <a:pt x="165" y="346"/>
                    <a:pt x="165" y="345"/>
                  </a:cubicBezTo>
                  <a:cubicBezTo>
                    <a:pt x="167" y="345"/>
                    <a:pt x="169" y="346"/>
                    <a:pt x="171" y="346"/>
                  </a:cubicBezTo>
                  <a:cubicBezTo>
                    <a:pt x="173" y="346"/>
                    <a:pt x="180" y="347"/>
                    <a:pt x="180" y="344"/>
                  </a:cubicBezTo>
                  <a:cubicBezTo>
                    <a:pt x="179" y="344"/>
                    <a:pt x="178" y="344"/>
                    <a:pt x="177" y="344"/>
                  </a:cubicBezTo>
                  <a:cubicBezTo>
                    <a:pt x="175" y="343"/>
                    <a:pt x="174" y="343"/>
                    <a:pt x="172" y="343"/>
                  </a:cubicBezTo>
                  <a:cubicBezTo>
                    <a:pt x="170" y="343"/>
                    <a:pt x="168" y="342"/>
                    <a:pt x="170" y="339"/>
                  </a:cubicBezTo>
                  <a:cubicBezTo>
                    <a:pt x="171" y="339"/>
                    <a:pt x="172" y="340"/>
                    <a:pt x="172" y="339"/>
                  </a:cubicBezTo>
                  <a:cubicBezTo>
                    <a:pt x="172" y="339"/>
                    <a:pt x="173" y="338"/>
                    <a:pt x="173" y="338"/>
                  </a:cubicBezTo>
                  <a:cubicBezTo>
                    <a:pt x="173" y="337"/>
                    <a:pt x="174" y="336"/>
                    <a:pt x="175" y="336"/>
                  </a:cubicBezTo>
                  <a:cubicBezTo>
                    <a:pt x="177" y="334"/>
                    <a:pt x="180" y="336"/>
                    <a:pt x="183" y="335"/>
                  </a:cubicBezTo>
                  <a:cubicBezTo>
                    <a:pt x="184" y="333"/>
                    <a:pt x="184" y="331"/>
                    <a:pt x="183" y="330"/>
                  </a:cubicBezTo>
                  <a:cubicBezTo>
                    <a:pt x="182" y="329"/>
                    <a:pt x="177" y="327"/>
                    <a:pt x="176" y="327"/>
                  </a:cubicBezTo>
                  <a:cubicBezTo>
                    <a:pt x="174" y="327"/>
                    <a:pt x="172" y="329"/>
                    <a:pt x="170" y="329"/>
                  </a:cubicBezTo>
                  <a:cubicBezTo>
                    <a:pt x="169" y="328"/>
                    <a:pt x="169" y="326"/>
                    <a:pt x="167" y="325"/>
                  </a:cubicBezTo>
                  <a:cubicBezTo>
                    <a:pt x="166" y="325"/>
                    <a:pt x="166" y="326"/>
                    <a:pt x="165" y="326"/>
                  </a:cubicBezTo>
                  <a:cubicBezTo>
                    <a:pt x="164" y="326"/>
                    <a:pt x="161" y="324"/>
                    <a:pt x="161" y="323"/>
                  </a:cubicBezTo>
                  <a:cubicBezTo>
                    <a:pt x="160" y="321"/>
                    <a:pt x="161" y="319"/>
                    <a:pt x="161" y="318"/>
                  </a:cubicBezTo>
                  <a:cubicBezTo>
                    <a:pt x="161" y="317"/>
                    <a:pt x="160" y="316"/>
                    <a:pt x="160" y="315"/>
                  </a:cubicBezTo>
                  <a:cubicBezTo>
                    <a:pt x="159" y="313"/>
                    <a:pt x="160" y="313"/>
                    <a:pt x="161" y="312"/>
                  </a:cubicBezTo>
                  <a:cubicBezTo>
                    <a:pt x="162" y="310"/>
                    <a:pt x="162" y="311"/>
                    <a:pt x="162" y="309"/>
                  </a:cubicBezTo>
                  <a:cubicBezTo>
                    <a:pt x="162" y="305"/>
                    <a:pt x="162" y="304"/>
                    <a:pt x="159" y="301"/>
                  </a:cubicBezTo>
                  <a:cubicBezTo>
                    <a:pt x="157" y="300"/>
                    <a:pt x="154" y="299"/>
                    <a:pt x="155" y="296"/>
                  </a:cubicBezTo>
                  <a:moveTo>
                    <a:pt x="158" y="293"/>
                  </a:moveTo>
                  <a:cubicBezTo>
                    <a:pt x="156" y="293"/>
                    <a:pt x="155" y="294"/>
                    <a:pt x="155" y="296"/>
                  </a:cubicBezTo>
                  <a:cubicBezTo>
                    <a:pt x="156" y="296"/>
                    <a:pt x="157" y="295"/>
                    <a:pt x="158" y="294"/>
                  </a:cubicBezTo>
                  <a:cubicBezTo>
                    <a:pt x="158" y="293"/>
                    <a:pt x="158" y="293"/>
                    <a:pt x="158" y="293"/>
                  </a:cubicBezTo>
                  <a:moveTo>
                    <a:pt x="0" y="153"/>
                  </a:moveTo>
                  <a:cubicBezTo>
                    <a:pt x="0" y="154"/>
                    <a:pt x="0" y="155"/>
                    <a:pt x="0" y="156"/>
                  </a:cubicBezTo>
                  <a:cubicBezTo>
                    <a:pt x="0" y="158"/>
                    <a:pt x="1" y="159"/>
                    <a:pt x="1" y="161"/>
                  </a:cubicBezTo>
                  <a:cubicBezTo>
                    <a:pt x="2" y="163"/>
                    <a:pt x="2" y="164"/>
                    <a:pt x="2" y="165"/>
                  </a:cubicBezTo>
                  <a:cubicBezTo>
                    <a:pt x="2" y="169"/>
                    <a:pt x="2" y="171"/>
                    <a:pt x="4" y="174"/>
                  </a:cubicBezTo>
                  <a:cubicBezTo>
                    <a:pt x="6" y="176"/>
                    <a:pt x="7" y="179"/>
                    <a:pt x="8" y="181"/>
                  </a:cubicBezTo>
                  <a:cubicBezTo>
                    <a:pt x="10" y="183"/>
                    <a:pt x="13" y="182"/>
                    <a:pt x="15" y="182"/>
                  </a:cubicBezTo>
                  <a:cubicBezTo>
                    <a:pt x="18" y="184"/>
                    <a:pt x="18" y="188"/>
                    <a:pt x="18" y="191"/>
                  </a:cubicBezTo>
                  <a:cubicBezTo>
                    <a:pt x="19" y="196"/>
                    <a:pt x="23" y="197"/>
                    <a:pt x="26" y="200"/>
                  </a:cubicBezTo>
                  <a:cubicBezTo>
                    <a:pt x="28" y="202"/>
                    <a:pt x="29" y="204"/>
                    <a:pt x="30" y="207"/>
                  </a:cubicBezTo>
                  <a:cubicBezTo>
                    <a:pt x="33" y="208"/>
                    <a:pt x="33" y="202"/>
                    <a:pt x="34" y="200"/>
                  </a:cubicBezTo>
                  <a:cubicBezTo>
                    <a:pt x="35" y="199"/>
                    <a:pt x="39" y="198"/>
                    <a:pt x="41" y="199"/>
                  </a:cubicBezTo>
                  <a:cubicBezTo>
                    <a:pt x="43" y="200"/>
                    <a:pt x="42" y="204"/>
                    <a:pt x="43" y="205"/>
                  </a:cubicBezTo>
                  <a:cubicBezTo>
                    <a:pt x="45" y="207"/>
                    <a:pt x="48" y="205"/>
                    <a:pt x="51" y="206"/>
                  </a:cubicBezTo>
                  <a:cubicBezTo>
                    <a:pt x="53" y="206"/>
                    <a:pt x="53" y="207"/>
                    <a:pt x="54" y="209"/>
                  </a:cubicBezTo>
                  <a:cubicBezTo>
                    <a:pt x="57" y="214"/>
                    <a:pt x="54" y="217"/>
                    <a:pt x="48" y="216"/>
                  </a:cubicBezTo>
                  <a:cubicBezTo>
                    <a:pt x="48" y="214"/>
                    <a:pt x="49" y="211"/>
                    <a:pt x="48" y="210"/>
                  </a:cubicBezTo>
                  <a:cubicBezTo>
                    <a:pt x="47" y="208"/>
                    <a:pt x="38" y="209"/>
                    <a:pt x="36" y="210"/>
                  </a:cubicBezTo>
                  <a:cubicBezTo>
                    <a:pt x="30" y="211"/>
                    <a:pt x="32" y="215"/>
                    <a:pt x="32" y="220"/>
                  </a:cubicBezTo>
                  <a:cubicBezTo>
                    <a:pt x="30" y="219"/>
                    <a:pt x="30" y="216"/>
                    <a:pt x="28" y="215"/>
                  </a:cubicBezTo>
                  <a:cubicBezTo>
                    <a:pt x="25" y="215"/>
                    <a:pt x="23" y="218"/>
                    <a:pt x="22" y="220"/>
                  </a:cubicBezTo>
                  <a:cubicBezTo>
                    <a:pt x="21" y="222"/>
                    <a:pt x="22" y="223"/>
                    <a:pt x="20" y="224"/>
                  </a:cubicBezTo>
                  <a:cubicBezTo>
                    <a:pt x="18" y="227"/>
                    <a:pt x="14" y="230"/>
                    <a:pt x="15" y="233"/>
                  </a:cubicBezTo>
                  <a:cubicBezTo>
                    <a:pt x="19" y="234"/>
                    <a:pt x="20" y="238"/>
                    <a:pt x="24" y="239"/>
                  </a:cubicBezTo>
                  <a:cubicBezTo>
                    <a:pt x="25" y="239"/>
                    <a:pt x="28" y="238"/>
                    <a:pt x="29" y="236"/>
                  </a:cubicBezTo>
                  <a:cubicBezTo>
                    <a:pt x="31" y="233"/>
                    <a:pt x="29" y="233"/>
                    <a:pt x="28" y="231"/>
                  </a:cubicBezTo>
                  <a:cubicBezTo>
                    <a:pt x="27" y="230"/>
                    <a:pt x="28" y="227"/>
                    <a:pt x="28" y="226"/>
                  </a:cubicBezTo>
                  <a:cubicBezTo>
                    <a:pt x="29" y="226"/>
                    <a:pt x="30" y="227"/>
                    <a:pt x="32" y="226"/>
                  </a:cubicBezTo>
                  <a:cubicBezTo>
                    <a:pt x="32" y="224"/>
                    <a:pt x="32" y="223"/>
                    <a:pt x="34" y="224"/>
                  </a:cubicBezTo>
                  <a:cubicBezTo>
                    <a:pt x="34" y="225"/>
                    <a:pt x="34" y="226"/>
                    <a:pt x="34" y="227"/>
                  </a:cubicBezTo>
                  <a:cubicBezTo>
                    <a:pt x="35" y="227"/>
                    <a:pt x="36" y="227"/>
                    <a:pt x="37" y="227"/>
                  </a:cubicBezTo>
                  <a:cubicBezTo>
                    <a:pt x="40" y="230"/>
                    <a:pt x="40" y="232"/>
                    <a:pt x="40" y="236"/>
                  </a:cubicBezTo>
                  <a:cubicBezTo>
                    <a:pt x="40" y="238"/>
                    <a:pt x="39" y="240"/>
                    <a:pt x="40" y="242"/>
                  </a:cubicBezTo>
                  <a:cubicBezTo>
                    <a:pt x="41" y="243"/>
                    <a:pt x="44" y="245"/>
                    <a:pt x="46" y="246"/>
                  </a:cubicBezTo>
                  <a:cubicBezTo>
                    <a:pt x="48" y="247"/>
                    <a:pt x="49" y="247"/>
                    <a:pt x="48" y="250"/>
                  </a:cubicBezTo>
                  <a:cubicBezTo>
                    <a:pt x="47" y="252"/>
                    <a:pt x="46" y="252"/>
                    <a:pt x="46" y="254"/>
                  </a:cubicBezTo>
                  <a:cubicBezTo>
                    <a:pt x="45" y="258"/>
                    <a:pt x="46" y="261"/>
                    <a:pt x="51" y="261"/>
                  </a:cubicBezTo>
                  <a:cubicBezTo>
                    <a:pt x="54" y="262"/>
                    <a:pt x="57" y="260"/>
                    <a:pt x="59" y="258"/>
                  </a:cubicBezTo>
                  <a:cubicBezTo>
                    <a:pt x="61" y="257"/>
                    <a:pt x="63" y="256"/>
                    <a:pt x="65" y="256"/>
                  </a:cubicBezTo>
                  <a:cubicBezTo>
                    <a:pt x="67" y="256"/>
                    <a:pt x="68" y="256"/>
                    <a:pt x="69" y="257"/>
                  </a:cubicBezTo>
                  <a:cubicBezTo>
                    <a:pt x="70" y="258"/>
                    <a:pt x="69" y="260"/>
                    <a:pt x="71" y="260"/>
                  </a:cubicBezTo>
                  <a:cubicBezTo>
                    <a:pt x="71" y="255"/>
                    <a:pt x="77" y="260"/>
                    <a:pt x="79" y="260"/>
                  </a:cubicBezTo>
                  <a:cubicBezTo>
                    <a:pt x="81" y="260"/>
                    <a:pt x="83" y="258"/>
                    <a:pt x="86" y="258"/>
                  </a:cubicBezTo>
                  <a:cubicBezTo>
                    <a:pt x="88" y="258"/>
                    <a:pt x="91" y="259"/>
                    <a:pt x="91" y="256"/>
                  </a:cubicBezTo>
                  <a:cubicBezTo>
                    <a:pt x="95" y="256"/>
                    <a:pt x="100" y="256"/>
                    <a:pt x="103" y="258"/>
                  </a:cubicBezTo>
                  <a:cubicBezTo>
                    <a:pt x="107" y="259"/>
                    <a:pt x="110" y="262"/>
                    <a:pt x="115" y="262"/>
                  </a:cubicBezTo>
                  <a:cubicBezTo>
                    <a:pt x="116" y="262"/>
                    <a:pt x="117" y="262"/>
                    <a:pt x="118" y="262"/>
                  </a:cubicBezTo>
                  <a:cubicBezTo>
                    <a:pt x="119" y="262"/>
                    <a:pt x="119" y="261"/>
                    <a:pt x="120" y="261"/>
                  </a:cubicBezTo>
                  <a:cubicBezTo>
                    <a:pt x="121" y="260"/>
                    <a:pt x="123" y="259"/>
                    <a:pt x="124" y="259"/>
                  </a:cubicBezTo>
                  <a:cubicBezTo>
                    <a:pt x="126" y="259"/>
                    <a:pt x="125" y="261"/>
                    <a:pt x="126" y="263"/>
                  </a:cubicBezTo>
                  <a:cubicBezTo>
                    <a:pt x="127" y="265"/>
                    <a:pt x="129" y="267"/>
                    <a:pt x="132" y="266"/>
                  </a:cubicBezTo>
                  <a:cubicBezTo>
                    <a:pt x="133" y="264"/>
                    <a:pt x="131" y="260"/>
                    <a:pt x="134" y="259"/>
                  </a:cubicBezTo>
                  <a:cubicBezTo>
                    <a:pt x="138" y="259"/>
                    <a:pt x="137" y="267"/>
                    <a:pt x="139" y="269"/>
                  </a:cubicBezTo>
                  <a:cubicBezTo>
                    <a:pt x="139" y="266"/>
                    <a:pt x="139" y="266"/>
                    <a:pt x="141" y="266"/>
                  </a:cubicBezTo>
                  <a:cubicBezTo>
                    <a:pt x="144" y="265"/>
                    <a:pt x="146" y="267"/>
                    <a:pt x="148" y="268"/>
                  </a:cubicBezTo>
                  <a:cubicBezTo>
                    <a:pt x="150" y="270"/>
                    <a:pt x="152" y="270"/>
                    <a:pt x="155" y="271"/>
                  </a:cubicBezTo>
                  <a:cubicBezTo>
                    <a:pt x="157" y="272"/>
                    <a:pt x="159" y="274"/>
                    <a:pt x="161" y="275"/>
                  </a:cubicBezTo>
                  <a:cubicBezTo>
                    <a:pt x="164" y="276"/>
                    <a:pt x="167" y="275"/>
                    <a:pt x="170" y="275"/>
                  </a:cubicBezTo>
                  <a:cubicBezTo>
                    <a:pt x="172" y="275"/>
                    <a:pt x="173" y="275"/>
                    <a:pt x="171" y="278"/>
                  </a:cubicBezTo>
                  <a:cubicBezTo>
                    <a:pt x="171" y="279"/>
                    <a:pt x="169" y="280"/>
                    <a:pt x="168" y="281"/>
                  </a:cubicBezTo>
                  <a:cubicBezTo>
                    <a:pt x="168" y="282"/>
                    <a:pt x="166" y="283"/>
                    <a:pt x="165" y="283"/>
                  </a:cubicBezTo>
                  <a:cubicBezTo>
                    <a:pt x="163" y="284"/>
                    <a:pt x="161" y="282"/>
                    <a:pt x="158" y="282"/>
                  </a:cubicBezTo>
                  <a:cubicBezTo>
                    <a:pt x="155" y="282"/>
                    <a:pt x="149" y="282"/>
                    <a:pt x="150" y="286"/>
                  </a:cubicBezTo>
                  <a:cubicBezTo>
                    <a:pt x="151" y="288"/>
                    <a:pt x="151" y="288"/>
                    <a:pt x="152" y="289"/>
                  </a:cubicBezTo>
                  <a:cubicBezTo>
                    <a:pt x="153" y="290"/>
                    <a:pt x="152" y="290"/>
                    <a:pt x="153" y="291"/>
                  </a:cubicBezTo>
                  <a:cubicBezTo>
                    <a:pt x="154" y="292"/>
                    <a:pt x="155" y="291"/>
                    <a:pt x="155" y="291"/>
                  </a:cubicBezTo>
                  <a:cubicBezTo>
                    <a:pt x="156" y="292"/>
                    <a:pt x="157" y="292"/>
                    <a:pt x="158" y="293"/>
                  </a:cubicBezTo>
                  <a:cubicBezTo>
                    <a:pt x="159" y="292"/>
                    <a:pt x="160" y="292"/>
                    <a:pt x="161" y="292"/>
                  </a:cubicBezTo>
                  <a:cubicBezTo>
                    <a:pt x="160" y="289"/>
                    <a:pt x="162" y="290"/>
                    <a:pt x="163" y="291"/>
                  </a:cubicBezTo>
                  <a:cubicBezTo>
                    <a:pt x="165" y="291"/>
                    <a:pt x="164" y="292"/>
                    <a:pt x="166" y="292"/>
                  </a:cubicBezTo>
                  <a:cubicBezTo>
                    <a:pt x="169" y="292"/>
                    <a:pt x="171" y="288"/>
                    <a:pt x="175" y="287"/>
                  </a:cubicBezTo>
                  <a:cubicBezTo>
                    <a:pt x="179" y="287"/>
                    <a:pt x="181" y="291"/>
                    <a:pt x="180" y="295"/>
                  </a:cubicBezTo>
                  <a:cubicBezTo>
                    <a:pt x="180" y="297"/>
                    <a:pt x="178" y="299"/>
                    <a:pt x="179" y="302"/>
                  </a:cubicBezTo>
                  <a:cubicBezTo>
                    <a:pt x="181" y="303"/>
                    <a:pt x="184" y="302"/>
                    <a:pt x="187" y="301"/>
                  </a:cubicBezTo>
                  <a:cubicBezTo>
                    <a:pt x="187" y="297"/>
                    <a:pt x="186" y="292"/>
                    <a:pt x="186" y="288"/>
                  </a:cubicBezTo>
                  <a:cubicBezTo>
                    <a:pt x="188" y="287"/>
                    <a:pt x="188" y="288"/>
                    <a:pt x="190" y="289"/>
                  </a:cubicBezTo>
                  <a:cubicBezTo>
                    <a:pt x="191" y="289"/>
                    <a:pt x="194" y="289"/>
                    <a:pt x="195" y="290"/>
                  </a:cubicBezTo>
                  <a:cubicBezTo>
                    <a:pt x="199" y="293"/>
                    <a:pt x="197" y="298"/>
                    <a:pt x="198" y="302"/>
                  </a:cubicBezTo>
                  <a:cubicBezTo>
                    <a:pt x="198" y="305"/>
                    <a:pt x="201" y="309"/>
                    <a:pt x="203" y="311"/>
                  </a:cubicBezTo>
                  <a:cubicBezTo>
                    <a:pt x="206" y="313"/>
                    <a:pt x="208" y="312"/>
                    <a:pt x="211" y="312"/>
                  </a:cubicBezTo>
                  <a:cubicBezTo>
                    <a:pt x="211" y="314"/>
                    <a:pt x="211" y="315"/>
                    <a:pt x="211" y="316"/>
                  </a:cubicBezTo>
                  <a:cubicBezTo>
                    <a:pt x="212" y="317"/>
                    <a:pt x="211" y="318"/>
                    <a:pt x="211" y="320"/>
                  </a:cubicBezTo>
                  <a:cubicBezTo>
                    <a:pt x="212" y="323"/>
                    <a:pt x="213" y="323"/>
                    <a:pt x="216" y="322"/>
                  </a:cubicBezTo>
                  <a:cubicBezTo>
                    <a:pt x="217" y="319"/>
                    <a:pt x="216" y="316"/>
                    <a:pt x="216" y="312"/>
                  </a:cubicBezTo>
                  <a:cubicBezTo>
                    <a:pt x="216" y="309"/>
                    <a:pt x="216" y="306"/>
                    <a:pt x="215" y="303"/>
                  </a:cubicBezTo>
                  <a:cubicBezTo>
                    <a:pt x="215" y="301"/>
                    <a:pt x="214" y="299"/>
                    <a:pt x="214" y="297"/>
                  </a:cubicBezTo>
                  <a:cubicBezTo>
                    <a:pt x="215" y="295"/>
                    <a:pt x="216" y="294"/>
                    <a:pt x="216" y="293"/>
                  </a:cubicBezTo>
                  <a:cubicBezTo>
                    <a:pt x="216" y="291"/>
                    <a:pt x="216" y="288"/>
                    <a:pt x="216" y="287"/>
                  </a:cubicBezTo>
                  <a:cubicBezTo>
                    <a:pt x="215" y="285"/>
                    <a:pt x="214" y="285"/>
                    <a:pt x="214" y="283"/>
                  </a:cubicBezTo>
                  <a:cubicBezTo>
                    <a:pt x="213" y="281"/>
                    <a:pt x="215" y="280"/>
                    <a:pt x="216" y="278"/>
                  </a:cubicBezTo>
                  <a:cubicBezTo>
                    <a:pt x="216" y="277"/>
                    <a:pt x="220" y="272"/>
                    <a:pt x="221" y="272"/>
                  </a:cubicBezTo>
                  <a:cubicBezTo>
                    <a:pt x="223" y="272"/>
                    <a:pt x="226" y="280"/>
                    <a:pt x="227" y="282"/>
                  </a:cubicBezTo>
                  <a:cubicBezTo>
                    <a:pt x="229" y="284"/>
                    <a:pt x="230" y="286"/>
                    <a:pt x="231" y="288"/>
                  </a:cubicBezTo>
                  <a:cubicBezTo>
                    <a:pt x="232" y="291"/>
                    <a:pt x="233" y="291"/>
                    <a:pt x="235" y="293"/>
                  </a:cubicBezTo>
                  <a:cubicBezTo>
                    <a:pt x="237" y="296"/>
                    <a:pt x="238" y="298"/>
                    <a:pt x="241" y="297"/>
                  </a:cubicBezTo>
                  <a:cubicBezTo>
                    <a:pt x="244" y="297"/>
                    <a:pt x="246" y="296"/>
                    <a:pt x="247" y="294"/>
                  </a:cubicBezTo>
                  <a:cubicBezTo>
                    <a:pt x="250" y="292"/>
                    <a:pt x="250" y="286"/>
                    <a:pt x="249" y="283"/>
                  </a:cubicBezTo>
                  <a:cubicBezTo>
                    <a:pt x="247" y="279"/>
                    <a:pt x="241" y="281"/>
                    <a:pt x="238" y="280"/>
                  </a:cubicBezTo>
                  <a:cubicBezTo>
                    <a:pt x="235" y="279"/>
                    <a:pt x="233" y="279"/>
                    <a:pt x="231" y="277"/>
                  </a:cubicBezTo>
                  <a:cubicBezTo>
                    <a:pt x="230" y="276"/>
                    <a:pt x="230" y="274"/>
                    <a:pt x="229" y="273"/>
                  </a:cubicBezTo>
                  <a:cubicBezTo>
                    <a:pt x="228" y="273"/>
                    <a:pt x="226" y="272"/>
                    <a:pt x="225" y="271"/>
                  </a:cubicBezTo>
                  <a:cubicBezTo>
                    <a:pt x="223" y="270"/>
                    <a:pt x="221" y="268"/>
                    <a:pt x="220" y="265"/>
                  </a:cubicBezTo>
                  <a:cubicBezTo>
                    <a:pt x="217" y="261"/>
                    <a:pt x="216" y="258"/>
                    <a:pt x="220" y="254"/>
                  </a:cubicBezTo>
                  <a:cubicBezTo>
                    <a:pt x="222" y="252"/>
                    <a:pt x="224" y="252"/>
                    <a:pt x="224" y="248"/>
                  </a:cubicBezTo>
                  <a:cubicBezTo>
                    <a:pt x="224" y="247"/>
                    <a:pt x="224" y="246"/>
                    <a:pt x="222" y="245"/>
                  </a:cubicBezTo>
                  <a:cubicBezTo>
                    <a:pt x="217" y="242"/>
                    <a:pt x="209" y="241"/>
                    <a:pt x="204" y="238"/>
                  </a:cubicBezTo>
                  <a:cubicBezTo>
                    <a:pt x="203" y="237"/>
                    <a:pt x="203" y="236"/>
                    <a:pt x="202" y="236"/>
                  </a:cubicBezTo>
                  <a:cubicBezTo>
                    <a:pt x="201" y="235"/>
                    <a:pt x="199" y="234"/>
                    <a:pt x="198" y="234"/>
                  </a:cubicBezTo>
                  <a:cubicBezTo>
                    <a:pt x="196" y="233"/>
                    <a:pt x="195" y="232"/>
                    <a:pt x="193" y="231"/>
                  </a:cubicBezTo>
                  <a:cubicBezTo>
                    <a:pt x="190" y="228"/>
                    <a:pt x="183" y="229"/>
                    <a:pt x="182" y="224"/>
                  </a:cubicBezTo>
                  <a:cubicBezTo>
                    <a:pt x="180" y="219"/>
                    <a:pt x="182" y="214"/>
                    <a:pt x="181" y="209"/>
                  </a:cubicBezTo>
                  <a:cubicBezTo>
                    <a:pt x="177" y="210"/>
                    <a:pt x="172" y="209"/>
                    <a:pt x="168" y="210"/>
                  </a:cubicBezTo>
                  <a:cubicBezTo>
                    <a:pt x="167" y="211"/>
                    <a:pt x="165" y="211"/>
                    <a:pt x="164" y="213"/>
                  </a:cubicBezTo>
                  <a:cubicBezTo>
                    <a:pt x="163" y="214"/>
                    <a:pt x="164" y="215"/>
                    <a:pt x="163" y="216"/>
                  </a:cubicBezTo>
                  <a:cubicBezTo>
                    <a:pt x="161" y="218"/>
                    <a:pt x="157" y="218"/>
                    <a:pt x="155" y="218"/>
                  </a:cubicBezTo>
                  <a:cubicBezTo>
                    <a:pt x="151" y="218"/>
                    <a:pt x="145" y="220"/>
                    <a:pt x="145" y="224"/>
                  </a:cubicBezTo>
                  <a:cubicBezTo>
                    <a:pt x="148" y="225"/>
                    <a:pt x="148" y="225"/>
                    <a:pt x="150" y="226"/>
                  </a:cubicBezTo>
                  <a:cubicBezTo>
                    <a:pt x="152" y="228"/>
                    <a:pt x="155" y="229"/>
                    <a:pt x="157" y="229"/>
                  </a:cubicBezTo>
                  <a:cubicBezTo>
                    <a:pt x="158" y="229"/>
                    <a:pt x="159" y="229"/>
                    <a:pt x="160" y="229"/>
                  </a:cubicBezTo>
                  <a:cubicBezTo>
                    <a:pt x="161" y="229"/>
                    <a:pt x="161" y="230"/>
                    <a:pt x="162" y="230"/>
                  </a:cubicBezTo>
                  <a:cubicBezTo>
                    <a:pt x="165" y="231"/>
                    <a:pt x="167" y="230"/>
                    <a:pt x="169" y="231"/>
                  </a:cubicBezTo>
                  <a:cubicBezTo>
                    <a:pt x="170" y="232"/>
                    <a:pt x="172" y="233"/>
                    <a:pt x="172" y="234"/>
                  </a:cubicBezTo>
                  <a:cubicBezTo>
                    <a:pt x="173" y="235"/>
                    <a:pt x="172" y="237"/>
                    <a:pt x="172" y="239"/>
                  </a:cubicBezTo>
                  <a:cubicBezTo>
                    <a:pt x="173" y="241"/>
                    <a:pt x="177" y="241"/>
                    <a:pt x="180" y="242"/>
                  </a:cubicBezTo>
                  <a:cubicBezTo>
                    <a:pt x="182" y="243"/>
                    <a:pt x="189" y="246"/>
                    <a:pt x="189" y="249"/>
                  </a:cubicBezTo>
                  <a:cubicBezTo>
                    <a:pt x="189" y="250"/>
                    <a:pt x="188" y="252"/>
                    <a:pt x="186" y="253"/>
                  </a:cubicBezTo>
                  <a:cubicBezTo>
                    <a:pt x="184" y="254"/>
                    <a:pt x="178" y="254"/>
                    <a:pt x="177" y="252"/>
                  </a:cubicBezTo>
                  <a:cubicBezTo>
                    <a:pt x="176" y="252"/>
                    <a:pt x="177" y="250"/>
                    <a:pt x="176" y="249"/>
                  </a:cubicBezTo>
                  <a:cubicBezTo>
                    <a:pt x="175" y="248"/>
                    <a:pt x="175" y="247"/>
                    <a:pt x="174" y="246"/>
                  </a:cubicBezTo>
                  <a:cubicBezTo>
                    <a:pt x="170" y="244"/>
                    <a:pt x="167" y="241"/>
                    <a:pt x="164" y="239"/>
                  </a:cubicBezTo>
                  <a:cubicBezTo>
                    <a:pt x="163" y="238"/>
                    <a:pt x="161" y="237"/>
                    <a:pt x="160" y="236"/>
                  </a:cubicBezTo>
                  <a:cubicBezTo>
                    <a:pt x="158" y="234"/>
                    <a:pt x="157" y="234"/>
                    <a:pt x="154" y="233"/>
                  </a:cubicBezTo>
                  <a:cubicBezTo>
                    <a:pt x="151" y="232"/>
                    <a:pt x="148" y="229"/>
                    <a:pt x="145" y="228"/>
                  </a:cubicBezTo>
                  <a:cubicBezTo>
                    <a:pt x="142" y="228"/>
                    <a:pt x="132" y="227"/>
                    <a:pt x="133" y="223"/>
                  </a:cubicBezTo>
                  <a:cubicBezTo>
                    <a:pt x="133" y="219"/>
                    <a:pt x="139" y="221"/>
                    <a:pt x="141" y="221"/>
                  </a:cubicBezTo>
                  <a:cubicBezTo>
                    <a:pt x="145" y="222"/>
                    <a:pt x="146" y="221"/>
                    <a:pt x="149" y="219"/>
                  </a:cubicBezTo>
                  <a:cubicBezTo>
                    <a:pt x="152" y="217"/>
                    <a:pt x="157" y="217"/>
                    <a:pt x="161" y="215"/>
                  </a:cubicBezTo>
                  <a:cubicBezTo>
                    <a:pt x="157" y="216"/>
                    <a:pt x="157" y="209"/>
                    <a:pt x="157" y="207"/>
                  </a:cubicBezTo>
                  <a:cubicBezTo>
                    <a:pt x="157" y="205"/>
                    <a:pt x="156" y="205"/>
                    <a:pt x="156" y="204"/>
                  </a:cubicBezTo>
                  <a:cubicBezTo>
                    <a:pt x="155" y="202"/>
                    <a:pt x="156" y="202"/>
                    <a:pt x="155" y="200"/>
                  </a:cubicBezTo>
                  <a:cubicBezTo>
                    <a:pt x="153" y="198"/>
                    <a:pt x="150" y="196"/>
                    <a:pt x="150" y="193"/>
                  </a:cubicBezTo>
                  <a:cubicBezTo>
                    <a:pt x="151" y="191"/>
                    <a:pt x="153" y="189"/>
                    <a:pt x="154" y="188"/>
                  </a:cubicBezTo>
                  <a:cubicBezTo>
                    <a:pt x="157" y="185"/>
                    <a:pt x="161" y="186"/>
                    <a:pt x="163" y="189"/>
                  </a:cubicBezTo>
                  <a:cubicBezTo>
                    <a:pt x="165" y="192"/>
                    <a:pt x="163" y="199"/>
                    <a:pt x="166" y="201"/>
                  </a:cubicBezTo>
                  <a:cubicBezTo>
                    <a:pt x="168" y="202"/>
                    <a:pt x="174" y="199"/>
                    <a:pt x="175" y="198"/>
                  </a:cubicBezTo>
                  <a:cubicBezTo>
                    <a:pt x="178" y="197"/>
                    <a:pt x="177" y="193"/>
                    <a:pt x="175" y="192"/>
                  </a:cubicBezTo>
                  <a:cubicBezTo>
                    <a:pt x="173" y="190"/>
                    <a:pt x="171" y="189"/>
                    <a:pt x="170" y="187"/>
                  </a:cubicBezTo>
                  <a:cubicBezTo>
                    <a:pt x="169" y="185"/>
                    <a:pt x="169" y="184"/>
                    <a:pt x="168" y="182"/>
                  </a:cubicBezTo>
                  <a:cubicBezTo>
                    <a:pt x="166" y="181"/>
                    <a:pt x="164" y="179"/>
                    <a:pt x="163" y="177"/>
                  </a:cubicBezTo>
                  <a:cubicBezTo>
                    <a:pt x="161" y="175"/>
                    <a:pt x="160" y="172"/>
                    <a:pt x="158" y="170"/>
                  </a:cubicBezTo>
                  <a:cubicBezTo>
                    <a:pt x="158" y="169"/>
                    <a:pt x="157" y="169"/>
                    <a:pt x="156" y="168"/>
                  </a:cubicBezTo>
                  <a:cubicBezTo>
                    <a:pt x="156" y="167"/>
                    <a:pt x="156" y="167"/>
                    <a:pt x="155" y="166"/>
                  </a:cubicBezTo>
                  <a:cubicBezTo>
                    <a:pt x="154" y="165"/>
                    <a:pt x="151" y="166"/>
                    <a:pt x="150" y="165"/>
                  </a:cubicBezTo>
                  <a:cubicBezTo>
                    <a:pt x="149" y="165"/>
                    <a:pt x="147" y="163"/>
                    <a:pt x="146" y="162"/>
                  </a:cubicBezTo>
                  <a:cubicBezTo>
                    <a:pt x="144" y="160"/>
                    <a:pt x="143" y="158"/>
                    <a:pt x="143" y="155"/>
                  </a:cubicBezTo>
                  <a:cubicBezTo>
                    <a:pt x="142" y="152"/>
                    <a:pt x="143" y="150"/>
                    <a:pt x="143" y="148"/>
                  </a:cubicBezTo>
                  <a:cubicBezTo>
                    <a:pt x="143" y="144"/>
                    <a:pt x="143" y="143"/>
                    <a:pt x="141" y="140"/>
                  </a:cubicBezTo>
                  <a:cubicBezTo>
                    <a:pt x="139" y="138"/>
                    <a:pt x="138" y="136"/>
                    <a:pt x="137" y="133"/>
                  </a:cubicBezTo>
                  <a:cubicBezTo>
                    <a:pt x="136" y="132"/>
                    <a:pt x="135" y="131"/>
                    <a:pt x="134" y="129"/>
                  </a:cubicBezTo>
                  <a:cubicBezTo>
                    <a:pt x="131" y="126"/>
                    <a:pt x="131" y="120"/>
                    <a:pt x="132" y="116"/>
                  </a:cubicBezTo>
                  <a:cubicBezTo>
                    <a:pt x="132" y="113"/>
                    <a:pt x="135" y="111"/>
                    <a:pt x="135" y="109"/>
                  </a:cubicBezTo>
                  <a:cubicBezTo>
                    <a:pt x="135" y="107"/>
                    <a:pt x="135" y="105"/>
                    <a:pt x="135" y="104"/>
                  </a:cubicBezTo>
                  <a:cubicBezTo>
                    <a:pt x="135" y="102"/>
                    <a:pt x="136" y="97"/>
                    <a:pt x="133" y="97"/>
                  </a:cubicBezTo>
                  <a:cubicBezTo>
                    <a:pt x="135" y="91"/>
                    <a:pt x="138" y="86"/>
                    <a:pt x="144" y="83"/>
                  </a:cubicBezTo>
                  <a:cubicBezTo>
                    <a:pt x="147" y="82"/>
                    <a:pt x="155" y="79"/>
                    <a:pt x="157" y="84"/>
                  </a:cubicBezTo>
                  <a:cubicBezTo>
                    <a:pt x="157" y="86"/>
                    <a:pt x="157" y="88"/>
                    <a:pt x="157" y="90"/>
                  </a:cubicBezTo>
                  <a:cubicBezTo>
                    <a:pt x="157" y="92"/>
                    <a:pt x="158" y="93"/>
                    <a:pt x="157" y="95"/>
                  </a:cubicBezTo>
                  <a:cubicBezTo>
                    <a:pt x="157" y="95"/>
                    <a:pt x="157" y="95"/>
                    <a:pt x="156" y="96"/>
                  </a:cubicBezTo>
                  <a:cubicBezTo>
                    <a:pt x="156" y="96"/>
                    <a:pt x="155" y="96"/>
                    <a:pt x="155" y="96"/>
                  </a:cubicBezTo>
                  <a:cubicBezTo>
                    <a:pt x="153" y="101"/>
                    <a:pt x="158" y="105"/>
                    <a:pt x="162" y="106"/>
                  </a:cubicBezTo>
                  <a:cubicBezTo>
                    <a:pt x="164" y="108"/>
                    <a:pt x="166" y="108"/>
                    <a:pt x="168" y="110"/>
                  </a:cubicBezTo>
                  <a:cubicBezTo>
                    <a:pt x="170" y="112"/>
                    <a:pt x="172" y="113"/>
                    <a:pt x="173" y="115"/>
                  </a:cubicBezTo>
                  <a:cubicBezTo>
                    <a:pt x="176" y="116"/>
                    <a:pt x="177" y="116"/>
                    <a:pt x="177" y="119"/>
                  </a:cubicBezTo>
                  <a:cubicBezTo>
                    <a:pt x="177" y="123"/>
                    <a:pt x="176" y="127"/>
                    <a:pt x="175" y="131"/>
                  </a:cubicBezTo>
                  <a:cubicBezTo>
                    <a:pt x="175" y="132"/>
                    <a:pt x="175" y="135"/>
                    <a:pt x="175" y="137"/>
                  </a:cubicBezTo>
                  <a:cubicBezTo>
                    <a:pt x="176" y="138"/>
                    <a:pt x="177" y="138"/>
                    <a:pt x="178" y="138"/>
                  </a:cubicBezTo>
                  <a:cubicBezTo>
                    <a:pt x="183" y="139"/>
                    <a:pt x="189" y="140"/>
                    <a:pt x="194" y="140"/>
                  </a:cubicBezTo>
                  <a:cubicBezTo>
                    <a:pt x="194" y="136"/>
                    <a:pt x="194" y="134"/>
                    <a:pt x="190" y="133"/>
                  </a:cubicBezTo>
                  <a:cubicBezTo>
                    <a:pt x="187" y="132"/>
                    <a:pt x="186" y="132"/>
                    <a:pt x="184" y="128"/>
                  </a:cubicBezTo>
                  <a:cubicBezTo>
                    <a:pt x="183" y="125"/>
                    <a:pt x="180" y="121"/>
                    <a:pt x="180" y="118"/>
                  </a:cubicBezTo>
                  <a:cubicBezTo>
                    <a:pt x="181" y="114"/>
                    <a:pt x="183" y="116"/>
                    <a:pt x="186" y="116"/>
                  </a:cubicBezTo>
                  <a:cubicBezTo>
                    <a:pt x="187" y="117"/>
                    <a:pt x="188" y="116"/>
                    <a:pt x="190" y="117"/>
                  </a:cubicBezTo>
                  <a:cubicBezTo>
                    <a:pt x="191" y="117"/>
                    <a:pt x="192" y="119"/>
                    <a:pt x="193" y="119"/>
                  </a:cubicBezTo>
                  <a:cubicBezTo>
                    <a:pt x="195" y="121"/>
                    <a:pt x="195" y="123"/>
                    <a:pt x="196" y="124"/>
                  </a:cubicBezTo>
                  <a:cubicBezTo>
                    <a:pt x="196" y="125"/>
                    <a:pt x="197" y="126"/>
                    <a:pt x="198" y="127"/>
                  </a:cubicBezTo>
                  <a:cubicBezTo>
                    <a:pt x="200" y="130"/>
                    <a:pt x="201" y="136"/>
                    <a:pt x="204" y="137"/>
                  </a:cubicBezTo>
                  <a:cubicBezTo>
                    <a:pt x="206" y="138"/>
                    <a:pt x="212" y="137"/>
                    <a:pt x="214" y="137"/>
                  </a:cubicBezTo>
                  <a:cubicBezTo>
                    <a:pt x="215" y="136"/>
                    <a:pt x="215" y="135"/>
                    <a:pt x="214" y="134"/>
                  </a:cubicBezTo>
                  <a:cubicBezTo>
                    <a:pt x="214" y="131"/>
                    <a:pt x="214" y="132"/>
                    <a:pt x="212" y="130"/>
                  </a:cubicBezTo>
                  <a:cubicBezTo>
                    <a:pt x="210" y="128"/>
                    <a:pt x="208" y="126"/>
                    <a:pt x="205" y="123"/>
                  </a:cubicBezTo>
                  <a:cubicBezTo>
                    <a:pt x="202" y="121"/>
                    <a:pt x="194" y="118"/>
                    <a:pt x="196" y="113"/>
                  </a:cubicBezTo>
                  <a:cubicBezTo>
                    <a:pt x="199" y="107"/>
                    <a:pt x="203" y="108"/>
                    <a:pt x="208" y="110"/>
                  </a:cubicBezTo>
                  <a:cubicBezTo>
                    <a:pt x="211" y="111"/>
                    <a:pt x="214" y="111"/>
                    <a:pt x="217" y="112"/>
                  </a:cubicBezTo>
                  <a:cubicBezTo>
                    <a:pt x="219" y="112"/>
                    <a:pt x="220" y="113"/>
                    <a:pt x="221" y="114"/>
                  </a:cubicBezTo>
                  <a:cubicBezTo>
                    <a:pt x="222" y="114"/>
                    <a:pt x="222" y="115"/>
                    <a:pt x="223" y="116"/>
                  </a:cubicBezTo>
                  <a:cubicBezTo>
                    <a:pt x="225" y="117"/>
                    <a:pt x="227" y="119"/>
                    <a:pt x="228" y="121"/>
                  </a:cubicBezTo>
                  <a:cubicBezTo>
                    <a:pt x="229" y="122"/>
                    <a:pt x="230" y="125"/>
                    <a:pt x="232" y="125"/>
                  </a:cubicBezTo>
                  <a:cubicBezTo>
                    <a:pt x="232" y="126"/>
                    <a:pt x="238" y="126"/>
                    <a:pt x="238" y="125"/>
                  </a:cubicBezTo>
                  <a:cubicBezTo>
                    <a:pt x="239" y="124"/>
                    <a:pt x="239" y="123"/>
                    <a:pt x="239" y="122"/>
                  </a:cubicBezTo>
                  <a:cubicBezTo>
                    <a:pt x="238" y="122"/>
                    <a:pt x="238" y="121"/>
                    <a:pt x="238" y="121"/>
                  </a:cubicBezTo>
                  <a:cubicBezTo>
                    <a:pt x="237" y="120"/>
                    <a:pt x="237" y="119"/>
                    <a:pt x="237" y="119"/>
                  </a:cubicBezTo>
                  <a:cubicBezTo>
                    <a:pt x="235" y="116"/>
                    <a:pt x="231" y="115"/>
                    <a:pt x="229" y="113"/>
                  </a:cubicBezTo>
                  <a:cubicBezTo>
                    <a:pt x="226" y="109"/>
                    <a:pt x="223" y="107"/>
                    <a:pt x="218" y="106"/>
                  </a:cubicBezTo>
                  <a:cubicBezTo>
                    <a:pt x="215" y="105"/>
                    <a:pt x="212" y="105"/>
                    <a:pt x="210" y="104"/>
                  </a:cubicBezTo>
                  <a:cubicBezTo>
                    <a:pt x="208" y="104"/>
                    <a:pt x="208" y="103"/>
                    <a:pt x="206" y="103"/>
                  </a:cubicBezTo>
                  <a:cubicBezTo>
                    <a:pt x="205" y="101"/>
                    <a:pt x="206" y="100"/>
                    <a:pt x="207" y="98"/>
                  </a:cubicBezTo>
                  <a:cubicBezTo>
                    <a:pt x="207" y="97"/>
                    <a:pt x="207" y="96"/>
                    <a:pt x="207" y="96"/>
                  </a:cubicBezTo>
                  <a:cubicBezTo>
                    <a:pt x="207" y="94"/>
                    <a:pt x="208" y="93"/>
                    <a:pt x="210" y="92"/>
                  </a:cubicBezTo>
                  <a:cubicBezTo>
                    <a:pt x="207" y="91"/>
                    <a:pt x="208" y="88"/>
                    <a:pt x="207" y="86"/>
                  </a:cubicBezTo>
                  <a:cubicBezTo>
                    <a:pt x="205" y="84"/>
                    <a:pt x="204" y="84"/>
                    <a:pt x="202" y="83"/>
                  </a:cubicBezTo>
                  <a:cubicBezTo>
                    <a:pt x="198" y="80"/>
                    <a:pt x="203" y="75"/>
                    <a:pt x="204" y="72"/>
                  </a:cubicBezTo>
                  <a:cubicBezTo>
                    <a:pt x="205" y="70"/>
                    <a:pt x="207" y="67"/>
                    <a:pt x="209" y="68"/>
                  </a:cubicBezTo>
                  <a:cubicBezTo>
                    <a:pt x="212" y="68"/>
                    <a:pt x="212" y="70"/>
                    <a:pt x="212" y="72"/>
                  </a:cubicBezTo>
                  <a:cubicBezTo>
                    <a:pt x="213" y="75"/>
                    <a:pt x="213" y="75"/>
                    <a:pt x="217" y="76"/>
                  </a:cubicBezTo>
                  <a:cubicBezTo>
                    <a:pt x="219" y="76"/>
                    <a:pt x="220" y="76"/>
                    <a:pt x="223" y="76"/>
                  </a:cubicBezTo>
                  <a:cubicBezTo>
                    <a:pt x="225" y="75"/>
                    <a:pt x="226" y="73"/>
                    <a:pt x="228" y="72"/>
                  </a:cubicBezTo>
                  <a:cubicBezTo>
                    <a:pt x="230" y="71"/>
                    <a:pt x="232" y="70"/>
                    <a:pt x="234" y="70"/>
                  </a:cubicBezTo>
                  <a:cubicBezTo>
                    <a:pt x="237" y="68"/>
                    <a:pt x="237" y="65"/>
                    <a:pt x="239" y="62"/>
                  </a:cubicBezTo>
                  <a:cubicBezTo>
                    <a:pt x="240" y="60"/>
                    <a:pt x="241" y="59"/>
                    <a:pt x="243" y="59"/>
                  </a:cubicBezTo>
                  <a:cubicBezTo>
                    <a:pt x="245" y="59"/>
                    <a:pt x="247" y="60"/>
                    <a:pt x="249" y="61"/>
                  </a:cubicBezTo>
                  <a:cubicBezTo>
                    <a:pt x="250" y="61"/>
                    <a:pt x="251" y="61"/>
                    <a:pt x="252" y="61"/>
                  </a:cubicBezTo>
                  <a:cubicBezTo>
                    <a:pt x="255" y="61"/>
                    <a:pt x="257" y="63"/>
                    <a:pt x="259" y="63"/>
                  </a:cubicBezTo>
                  <a:cubicBezTo>
                    <a:pt x="262" y="64"/>
                    <a:pt x="267" y="63"/>
                    <a:pt x="269" y="61"/>
                  </a:cubicBezTo>
                  <a:cubicBezTo>
                    <a:pt x="271" y="59"/>
                    <a:pt x="272" y="54"/>
                    <a:pt x="275" y="53"/>
                  </a:cubicBezTo>
                  <a:cubicBezTo>
                    <a:pt x="280" y="52"/>
                    <a:pt x="279" y="56"/>
                    <a:pt x="279" y="59"/>
                  </a:cubicBezTo>
                  <a:cubicBezTo>
                    <a:pt x="278" y="62"/>
                    <a:pt x="279" y="62"/>
                    <a:pt x="282" y="63"/>
                  </a:cubicBezTo>
                  <a:cubicBezTo>
                    <a:pt x="283" y="63"/>
                    <a:pt x="284" y="65"/>
                    <a:pt x="285" y="66"/>
                  </a:cubicBezTo>
                  <a:cubicBezTo>
                    <a:pt x="288" y="68"/>
                    <a:pt x="293" y="70"/>
                    <a:pt x="297" y="70"/>
                  </a:cubicBezTo>
                  <a:cubicBezTo>
                    <a:pt x="303" y="70"/>
                    <a:pt x="309" y="70"/>
                    <a:pt x="315" y="70"/>
                  </a:cubicBezTo>
                  <a:cubicBezTo>
                    <a:pt x="317" y="70"/>
                    <a:pt x="318" y="70"/>
                    <a:pt x="320" y="71"/>
                  </a:cubicBezTo>
                  <a:cubicBezTo>
                    <a:pt x="323" y="72"/>
                    <a:pt x="326" y="73"/>
                    <a:pt x="328" y="74"/>
                  </a:cubicBezTo>
                  <a:cubicBezTo>
                    <a:pt x="329" y="75"/>
                    <a:pt x="333" y="79"/>
                    <a:pt x="333" y="79"/>
                  </a:cubicBezTo>
                  <a:cubicBezTo>
                    <a:pt x="335" y="79"/>
                    <a:pt x="335" y="77"/>
                    <a:pt x="336" y="75"/>
                  </a:cubicBezTo>
                  <a:cubicBezTo>
                    <a:pt x="338" y="72"/>
                    <a:pt x="339" y="69"/>
                    <a:pt x="342" y="67"/>
                  </a:cubicBezTo>
                  <a:cubicBezTo>
                    <a:pt x="344" y="65"/>
                    <a:pt x="348" y="63"/>
                    <a:pt x="349" y="61"/>
                  </a:cubicBezTo>
                  <a:cubicBezTo>
                    <a:pt x="350" y="59"/>
                    <a:pt x="350" y="59"/>
                    <a:pt x="350" y="57"/>
                  </a:cubicBezTo>
                  <a:cubicBezTo>
                    <a:pt x="350" y="53"/>
                    <a:pt x="351" y="50"/>
                    <a:pt x="351" y="46"/>
                  </a:cubicBezTo>
                  <a:cubicBezTo>
                    <a:pt x="351" y="42"/>
                    <a:pt x="351" y="37"/>
                    <a:pt x="355" y="35"/>
                  </a:cubicBezTo>
                  <a:cubicBezTo>
                    <a:pt x="357" y="33"/>
                    <a:pt x="362" y="35"/>
                    <a:pt x="364" y="33"/>
                  </a:cubicBezTo>
                  <a:cubicBezTo>
                    <a:pt x="368" y="31"/>
                    <a:pt x="366" y="26"/>
                    <a:pt x="366" y="22"/>
                  </a:cubicBezTo>
                  <a:cubicBezTo>
                    <a:pt x="365" y="18"/>
                    <a:pt x="365" y="15"/>
                    <a:pt x="365" y="10"/>
                  </a:cubicBezTo>
                  <a:cubicBezTo>
                    <a:pt x="365" y="6"/>
                    <a:pt x="362" y="7"/>
                    <a:pt x="359" y="6"/>
                  </a:cubicBezTo>
                  <a:cubicBezTo>
                    <a:pt x="357" y="5"/>
                    <a:pt x="356" y="3"/>
                    <a:pt x="354" y="2"/>
                  </a:cubicBezTo>
                  <a:cubicBezTo>
                    <a:pt x="354" y="3"/>
                    <a:pt x="354" y="4"/>
                    <a:pt x="354" y="5"/>
                  </a:cubicBezTo>
                  <a:cubicBezTo>
                    <a:pt x="351" y="5"/>
                    <a:pt x="348" y="3"/>
                    <a:pt x="346" y="3"/>
                  </a:cubicBezTo>
                  <a:cubicBezTo>
                    <a:pt x="344" y="2"/>
                    <a:pt x="342" y="0"/>
                    <a:pt x="340" y="0"/>
                  </a:cubicBezTo>
                  <a:cubicBezTo>
                    <a:pt x="336" y="0"/>
                    <a:pt x="333" y="2"/>
                    <a:pt x="334" y="6"/>
                  </a:cubicBezTo>
                  <a:cubicBezTo>
                    <a:pt x="335" y="9"/>
                    <a:pt x="338" y="10"/>
                    <a:pt x="338" y="13"/>
                  </a:cubicBezTo>
                  <a:cubicBezTo>
                    <a:pt x="338" y="15"/>
                    <a:pt x="339" y="16"/>
                    <a:pt x="338" y="18"/>
                  </a:cubicBezTo>
                  <a:cubicBezTo>
                    <a:pt x="338" y="19"/>
                    <a:pt x="337" y="19"/>
                    <a:pt x="337" y="21"/>
                  </a:cubicBezTo>
                  <a:cubicBezTo>
                    <a:pt x="337" y="21"/>
                    <a:pt x="337" y="22"/>
                    <a:pt x="337" y="22"/>
                  </a:cubicBezTo>
                  <a:cubicBezTo>
                    <a:pt x="337" y="25"/>
                    <a:pt x="338" y="28"/>
                    <a:pt x="336" y="30"/>
                  </a:cubicBezTo>
                  <a:cubicBezTo>
                    <a:pt x="335" y="30"/>
                    <a:pt x="334" y="30"/>
                    <a:pt x="333" y="31"/>
                  </a:cubicBezTo>
                  <a:cubicBezTo>
                    <a:pt x="332" y="31"/>
                    <a:pt x="331" y="32"/>
                    <a:pt x="330" y="33"/>
                  </a:cubicBezTo>
                  <a:cubicBezTo>
                    <a:pt x="329" y="33"/>
                    <a:pt x="327" y="34"/>
                    <a:pt x="326" y="34"/>
                  </a:cubicBezTo>
                  <a:cubicBezTo>
                    <a:pt x="323" y="35"/>
                    <a:pt x="322" y="34"/>
                    <a:pt x="320" y="33"/>
                  </a:cubicBezTo>
                  <a:cubicBezTo>
                    <a:pt x="319" y="33"/>
                    <a:pt x="318" y="32"/>
                    <a:pt x="317" y="32"/>
                  </a:cubicBezTo>
                  <a:cubicBezTo>
                    <a:pt x="316" y="32"/>
                    <a:pt x="316" y="32"/>
                    <a:pt x="315" y="33"/>
                  </a:cubicBezTo>
                  <a:cubicBezTo>
                    <a:pt x="312" y="34"/>
                    <a:pt x="310" y="30"/>
                    <a:pt x="307" y="31"/>
                  </a:cubicBezTo>
                  <a:cubicBezTo>
                    <a:pt x="309" y="32"/>
                    <a:pt x="309" y="34"/>
                    <a:pt x="309" y="36"/>
                  </a:cubicBezTo>
                  <a:cubicBezTo>
                    <a:pt x="304" y="36"/>
                    <a:pt x="298" y="37"/>
                    <a:pt x="293" y="37"/>
                  </a:cubicBezTo>
                  <a:cubicBezTo>
                    <a:pt x="291" y="37"/>
                    <a:pt x="289" y="37"/>
                    <a:pt x="287" y="37"/>
                  </a:cubicBezTo>
                  <a:cubicBezTo>
                    <a:pt x="287" y="37"/>
                    <a:pt x="286" y="37"/>
                    <a:pt x="286" y="36"/>
                  </a:cubicBezTo>
                  <a:cubicBezTo>
                    <a:pt x="285" y="36"/>
                    <a:pt x="284" y="37"/>
                    <a:pt x="283" y="36"/>
                  </a:cubicBezTo>
                  <a:cubicBezTo>
                    <a:pt x="282" y="36"/>
                    <a:pt x="281" y="34"/>
                    <a:pt x="279" y="33"/>
                  </a:cubicBezTo>
                  <a:cubicBezTo>
                    <a:pt x="279" y="33"/>
                    <a:pt x="278" y="32"/>
                    <a:pt x="277" y="32"/>
                  </a:cubicBezTo>
                  <a:cubicBezTo>
                    <a:pt x="275" y="32"/>
                    <a:pt x="274" y="33"/>
                    <a:pt x="273" y="31"/>
                  </a:cubicBezTo>
                  <a:cubicBezTo>
                    <a:pt x="272" y="31"/>
                    <a:pt x="271" y="31"/>
                    <a:pt x="270" y="30"/>
                  </a:cubicBezTo>
                  <a:cubicBezTo>
                    <a:pt x="269" y="30"/>
                    <a:pt x="269" y="29"/>
                    <a:pt x="268" y="28"/>
                  </a:cubicBezTo>
                  <a:cubicBezTo>
                    <a:pt x="266" y="28"/>
                    <a:pt x="264" y="29"/>
                    <a:pt x="262" y="29"/>
                  </a:cubicBezTo>
                  <a:cubicBezTo>
                    <a:pt x="261" y="30"/>
                    <a:pt x="261" y="31"/>
                    <a:pt x="260" y="30"/>
                  </a:cubicBezTo>
                  <a:cubicBezTo>
                    <a:pt x="259" y="29"/>
                    <a:pt x="259" y="27"/>
                    <a:pt x="258" y="27"/>
                  </a:cubicBezTo>
                  <a:cubicBezTo>
                    <a:pt x="257" y="26"/>
                    <a:pt x="257" y="26"/>
                    <a:pt x="257" y="26"/>
                  </a:cubicBezTo>
                  <a:cubicBezTo>
                    <a:pt x="256" y="25"/>
                    <a:pt x="255" y="24"/>
                    <a:pt x="255" y="23"/>
                  </a:cubicBezTo>
                  <a:cubicBezTo>
                    <a:pt x="253" y="21"/>
                    <a:pt x="251" y="21"/>
                    <a:pt x="249" y="20"/>
                  </a:cubicBezTo>
                  <a:cubicBezTo>
                    <a:pt x="248" y="20"/>
                    <a:pt x="247" y="19"/>
                    <a:pt x="247" y="18"/>
                  </a:cubicBezTo>
                  <a:cubicBezTo>
                    <a:pt x="247" y="18"/>
                    <a:pt x="246" y="17"/>
                    <a:pt x="246" y="17"/>
                  </a:cubicBezTo>
                  <a:cubicBezTo>
                    <a:pt x="245" y="16"/>
                    <a:pt x="246" y="13"/>
                    <a:pt x="245" y="12"/>
                  </a:cubicBezTo>
                  <a:cubicBezTo>
                    <a:pt x="244" y="11"/>
                    <a:pt x="242" y="12"/>
                    <a:pt x="241" y="13"/>
                  </a:cubicBezTo>
                  <a:cubicBezTo>
                    <a:pt x="241" y="11"/>
                    <a:pt x="240" y="13"/>
                    <a:pt x="239" y="13"/>
                  </a:cubicBezTo>
                  <a:cubicBezTo>
                    <a:pt x="237" y="13"/>
                    <a:pt x="238" y="11"/>
                    <a:pt x="236" y="11"/>
                  </a:cubicBezTo>
                  <a:cubicBezTo>
                    <a:pt x="236" y="12"/>
                    <a:pt x="235" y="11"/>
                    <a:pt x="235" y="12"/>
                  </a:cubicBezTo>
                  <a:cubicBezTo>
                    <a:pt x="234" y="12"/>
                    <a:pt x="234" y="13"/>
                    <a:pt x="234" y="13"/>
                  </a:cubicBezTo>
                  <a:cubicBezTo>
                    <a:pt x="232" y="14"/>
                    <a:pt x="231" y="13"/>
                    <a:pt x="229" y="13"/>
                  </a:cubicBezTo>
                  <a:cubicBezTo>
                    <a:pt x="228" y="13"/>
                    <a:pt x="226" y="13"/>
                    <a:pt x="225" y="13"/>
                  </a:cubicBezTo>
                  <a:cubicBezTo>
                    <a:pt x="224" y="13"/>
                    <a:pt x="223" y="12"/>
                    <a:pt x="222" y="11"/>
                  </a:cubicBezTo>
                  <a:cubicBezTo>
                    <a:pt x="219" y="10"/>
                    <a:pt x="220" y="14"/>
                    <a:pt x="220" y="15"/>
                  </a:cubicBezTo>
                  <a:cubicBezTo>
                    <a:pt x="219" y="18"/>
                    <a:pt x="216" y="19"/>
                    <a:pt x="214" y="17"/>
                  </a:cubicBezTo>
                  <a:cubicBezTo>
                    <a:pt x="213" y="18"/>
                    <a:pt x="212" y="19"/>
                    <a:pt x="211" y="19"/>
                  </a:cubicBezTo>
                  <a:cubicBezTo>
                    <a:pt x="211" y="19"/>
                    <a:pt x="210" y="19"/>
                    <a:pt x="209" y="19"/>
                  </a:cubicBezTo>
                  <a:cubicBezTo>
                    <a:pt x="208" y="19"/>
                    <a:pt x="208" y="20"/>
                    <a:pt x="207" y="21"/>
                  </a:cubicBezTo>
                  <a:cubicBezTo>
                    <a:pt x="206" y="22"/>
                    <a:pt x="203" y="23"/>
                    <a:pt x="201" y="23"/>
                  </a:cubicBezTo>
                  <a:cubicBezTo>
                    <a:pt x="199" y="24"/>
                    <a:pt x="197" y="23"/>
                    <a:pt x="195" y="24"/>
                  </a:cubicBezTo>
                  <a:cubicBezTo>
                    <a:pt x="194" y="24"/>
                    <a:pt x="193" y="24"/>
                    <a:pt x="191" y="24"/>
                  </a:cubicBezTo>
                  <a:cubicBezTo>
                    <a:pt x="190" y="24"/>
                    <a:pt x="189" y="23"/>
                    <a:pt x="188" y="23"/>
                  </a:cubicBezTo>
                  <a:cubicBezTo>
                    <a:pt x="186" y="22"/>
                    <a:pt x="182" y="24"/>
                    <a:pt x="180" y="25"/>
                  </a:cubicBezTo>
                  <a:cubicBezTo>
                    <a:pt x="177" y="26"/>
                    <a:pt x="175" y="26"/>
                    <a:pt x="172" y="26"/>
                  </a:cubicBezTo>
                  <a:cubicBezTo>
                    <a:pt x="170" y="26"/>
                    <a:pt x="168" y="26"/>
                    <a:pt x="167" y="26"/>
                  </a:cubicBezTo>
                  <a:cubicBezTo>
                    <a:pt x="165" y="26"/>
                    <a:pt x="164" y="27"/>
                    <a:pt x="163" y="26"/>
                  </a:cubicBezTo>
                  <a:cubicBezTo>
                    <a:pt x="162" y="25"/>
                    <a:pt x="162" y="24"/>
                    <a:pt x="161" y="24"/>
                  </a:cubicBezTo>
                  <a:cubicBezTo>
                    <a:pt x="160" y="23"/>
                    <a:pt x="159" y="22"/>
                    <a:pt x="158" y="21"/>
                  </a:cubicBezTo>
                  <a:cubicBezTo>
                    <a:pt x="158" y="21"/>
                    <a:pt x="158" y="21"/>
                    <a:pt x="158" y="21"/>
                  </a:cubicBezTo>
                  <a:cubicBezTo>
                    <a:pt x="158" y="21"/>
                    <a:pt x="157" y="21"/>
                    <a:pt x="157" y="21"/>
                  </a:cubicBezTo>
                  <a:cubicBezTo>
                    <a:pt x="157" y="22"/>
                    <a:pt x="156" y="22"/>
                    <a:pt x="155" y="22"/>
                  </a:cubicBezTo>
                  <a:cubicBezTo>
                    <a:pt x="154" y="23"/>
                    <a:pt x="154" y="23"/>
                    <a:pt x="153" y="24"/>
                  </a:cubicBezTo>
                  <a:cubicBezTo>
                    <a:pt x="152" y="24"/>
                    <a:pt x="151" y="26"/>
                    <a:pt x="150" y="26"/>
                  </a:cubicBezTo>
                  <a:cubicBezTo>
                    <a:pt x="149" y="26"/>
                    <a:pt x="147" y="25"/>
                    <a:pt x="147" y="27"/>
                  </a:cubicBezTo>
                  <a:cubicBezTo>
                    <a:pt x="146" y="27"/>
                    <a:pt x="147" y="29"/>
                    <a:pt x="147" y="29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1"/>
                    <a:pt x="146" y="31"/>
                    <a:pt x="146" y="32"/>
                  </a:cubicBezTo>
                  <a:cubicBezTo>
                    <a:pt x="145" y="34"/>
                    <a:pt x="145" y="35"/>
                    <a:pt x="145" y="37"/>
                  </a:cubicBezTo>
                  <a:cubicBezTo>
                    <a:pt x="145" y="38"/>
                    <a:pt x="145" y="39"/>
                    <a:pt x="144" y="40"/>
                  </a:cubicBezTo>
                  <a:cubicBezTo>
                    <a:pt x="143" y="40"/>
                    <a:pt x="143" y="38"/>
                    <a:pt x="142" y="37"/>
                  </a:cubicBezTo>
                  <a:cubicBezTo>
                    <a:pt x="141" y="37"/>
                    <a:pt x="138" y="39"/>
                    <a:pt x="138" y="40"/>
                  </a:cubicBezTo>
                  <a:cubicBezTo>
                    <a:pt x="137" y="40"/>
                    <a:pt x="136" y="40"/>
                    <a:pt x="135" y="40"/>
                  </a:cubicBezTo>
                  <a:cubicBezTo>
                    <a:pt x="133" y="40"/>
                    <a:pt x="132" y="39"/>
                    <a:pt x="131" y="39"/>
                  </a:cubicBezTo>
                  <a:cubicBezTo>
                    <a:pt x="129" y="39"/>
                    <a:pt x="127" y="39"/>
                    <a:pt x="125" y="39"/>
                  </a:cubicBezTo>
                  <a:cubicBezTo>
                    <a:pt x="125" y="39"/>
                    <a:pt x="124" y="39"/>
                    <a:pt x="124" y="39"/>
                  </a:cubicBezTo>
                  <a:cubicBezTo>
                    <a:pt x="123" y="39"/>
                    <a:pt x="123" y="39"/>
                    <a:pt x="122" y="39"/>
                  </a:cubicBezTo>
                  <a:cubicBezTo>
                    <a:pt x="121" y="38"/>
                    <a:pt x="119" y="38"/>
                    <a:pt x="118" y="37"/>
                  </a:cubicBezTo>
                  <a:cubicBezTo>
                    <a:pt x="117" y="37"/>
                    <a:pt x="116" y="37"/>
                    <a:pt x="115" y="38"/>
                  </a:cubicBezTo>
                  <a:cubicBezTo>
                    <a:pt x="115" y="38"/>
                    <a:pt x="114" y="39"/>
                    <a:pt x="113" y="39"/>
                  </a:cubicBezTo>
                  <a:cubicBezTo>
                    <a:pt x="112" y="39"/>
                    <a:pt x="110" y="38"/>
                    <a:pt x="109" y="38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5" y="37"/>
                    <a:pt x="103" y="39"/>
                    <a:pt x="102" y="41"/>
                  </a:cubicBezTo>
                  <a:cubicBezTo>
                    <a:pt x="101" y="42"/>
                    <a:pt x="100" y="43"/>
                    <a:pt x="99" y="44"/>
                  </a:cubicBezTo>
                  <a:cubicBezTo>
                    <a:pt x="98" y="46"/>
                    <a:pt x="95" y="47"/>
                    <a:pt x="94" y="49"/>
                  </a:cubicBezTo>
                  <a:cubicBezTo>
                    <a:pt x="93" y="50"/>
                    <a:pt x="93" y="51"/>
                    <a:pt x="93" y="52"/>
                  </a:cubicBezTo>
                  <a:cubicBezTo>
                    <a:pt x="92" y="52"/>
                    <a:pt x="91" y="54"/>
                    <a:pt x="90" y="54"/>
                  </a:cubicBezTo>
                  <a:cubicBezTo>
                    <a:pt x="89" y="55"/>
                    <a:pt x="87" y="56"/>
                    <a:pt x="86" y="56"/>
                  </a:cubicBezTo>
                  <a:cubicBezTo>
                    <a:pt x="85" y="56"/>
                    <a:pt x="83" y="56"/>
                    <a:pt x="82" y="56"/>
                  </a:cubicBezTo>
                  <a:cubicBezTo>
                    <a:pt x="81" y="57"/>
                    <a:pt x="80" y="56"/>
                    <a:pt x="79" y="56"/>
                  </a:cubicBezTo>
                  <a:cubicBezTo>
                    <a:pt x="79" y="56"/>
                    <a:pt x="78" y="56"/>
                    <a:pt x="78" y="56"/>
                  </a:cubicBezTo>
                  <a:cubicBezTo>
                    <a:pt x="77" y="57"/>
                    <a:pt x="78" y="57"/>
                    <a:pt x="77" y="58"/>
                  </a:cubicBezTo>
                  <a:cubicBezTo>
                    <a:pt x="77" y="58"/>
                    <a:pt x="76" y="58"/>
                    <a:pt x="75" y="58"/>
                  </a:cubicBezTo>
                  <a:cubicBezTo>
                    <a:pt x="73" y="58"/>
                    <a:pt x="72" y="57"/>
                    <a:pt x="70" y="57"/>
                  </a:cubicBezTo>
                  <a:cubicBezTo>
                    <a:pt x="68" y="57"/>
                    <a:pt x="67" y="57"/>
                    <a:pt x="65" y="57"/>
                  </a:cubicBezTo>
                  <a:cubicBezTo>
                    <a:pt x="64" y="57"/>
                    <a:pt x="62" y="57"/>
                    <a:pt x="60" y="57"/>
                  </a:cubicBezTo>
                  <a:cubicBezTo>
                    <a:pt x="59" y="58"/>
                    <a:pt x="57" y="59"/>
                    <a:pt x="56" y="60"/>
                  </a:cubicBezTo>
                  <a:cubicBezTo>
                    <a:pt x="54" y="60"/>
                    <a:pt x="52" y="61"/>
                    <a:pt x="51" y="62"/>
                  </a:cubicBezTo>
                  <a:cubicBezTo>
                    <a:pt x="49" y="64"/>
                    <a:pt x="47" y="66"/>
                    <a:pt x="45" y="67"/>
                  </a:cubicBezTo>
                  <a:cubicBezTo>
                    <a:pt x="46" y="69"/>
                    <a:pt x="49" y="71"/>
                    <a:pt x="50" y="73"/>
                  </a:cubicBezTo>
                  <a:cubicBezTo>
                    <a:pt x="51" y="74"/>
                    <a:pt x="53" y="79"/>
                    <a:pt x="52" y="81"/>
                  </a:cubicBezTo>
                  <a:cubicBezTo>
                    <a:pt x="51" y="81"/>
                    <a:pt x="50" y="82"/>
                    <a:pt x="50" y="82"/>
                  </a:cubicBezTo>
                  <a:cubicBezTo>
                    <a:pt x="48" y="83"/>
                    <a:pt x="48" y="83"/>
                    <a:pt x="48" y="85"/>
                  </a:cubicBezTo>
                  <a:cubicBezTo>
                    <a:pt x="47" y="87"/>
                    <a:pt x="48" y="89"/>
                    <a:pt x="46" y="90"/>
                  </a:cubicBezTo>
                  <a:cubicBezTo>
                    <a:pt x="45" y="90"/>
                    <a:pt x="43" y="90"/>
                    <a:pt x="42" y="90"/>
                  </a:cubicBezTo>
                  <a:cubicBezTo>
                    <a:pt x="42" y="90"/>
                    <a:pt x="41" y="90"/>
                    <a:pt x="41" y="90"/>
                  </a:cubicBezTo>
                  <a:cubicBezTo>
                    <a:pt x="41" y="91"/>
                    <a:pt x="40" y="91"/>
                    <a:pt x="40" y="91"/>
                  </a:cubicBezTo>
                  <a:cubicBezTo>
                    <a:pt x="39" y="92"/>
                    <a:pt x="38" y="91"/>
                    <a:pt x="37" y="91"/>
                  </a:cubicBezTo>
                  <a:cubicBezTo>
                    <a:pt x="36" y="92"/>
                    <a:pt x="36" y="93"/>
                    <a:pt x="35" y="94"/>
                  </a:cubicBezTo>
                  <a:cubicBezTo>
                    <a:pt x="34" y="96"/>
                    <a:pt x="33" y="98"/>
                    <a:pt x="33" y="100"/>
                  </a:cubicBezTo>
                  <a:cubicBezTo>
                    <a:pt x="33" y="102"/>
                    <a:pt x="33" y="103"/>
                    <a:pt x="32" y="105"/>
                  </a:cubicBezTo>
                  <a:cubicBezTo>
                    <a:pt x="31" y="106"/>
                    <a:pt x="31" y="107"/>
                    <a:pt x="31" y="108"/>
                  </a:cubicBezTo>
                  <a:cubicBezTo>
                    <a:pt x="30" y="109"/>
                    <a:pt x="29" y="110"/>
                    <a:pt x="29" y="112"/>
                  </a:cubicBezTo>
                  <a:cubicBezTo>
                    <a:pt x="28" y="112"/>
                    <a:pt x="29" y="113"/>
                    <a:pt x="29" y="113"/>
                  </a:cubicBezTo>
                  <a:cubicBezTo>
                    <a:pt x="29" y="115"/>
                    <a:pt x="28" y="115"/>
                    <a:pt x="28" y="116"/>
                  </a:cubicBezTo>
                  <a:cubicBezTo>
                    <a:pt x="27" y="117"/>
                    <a:pt x="27" y="118"/>
                    <a:pt x="27" y="119"/>
                  </a:cubicBezTo>
                  <a:cubicBezTo>
                    <a:pt x="27" y="119"/>
                    <a:pt x="26" y="121"/>
                    <a:pt x="26" y="121"/>
                  </a:cubicBezTo>
                  <a:cubicBezTo>
                    <a:pt x="25" y="121"/>
                    <a:pt x="23" y="120"/>
                    <a:pt x="22" y="120"/>
                  </a:cubicBezTo>
                  <a:cubicBezTo>
                    <a:pt x="20" y="120"/>
                    <a:pt x="19" y="120"/>
                    <a:pt x="18" y="121"/>
                  </a:cubicBezTo>
                  <a:cubicBezTo>
                    <a:pt x="16" y="122"/>
                    <a:pt x="14" y="123"/>
                    <a:pt x="13" y="125"/>
                  </a:cubicBezTo>
                  <a:cubicBezTo>
                    <a:pt x="12" y="126"/>
                    <a:pt x="12" y="126"/>
                    <a:pt x="11" y="127"/>
                  </a:cubicBezTo>
                  <a:cubicBezTo>
                    <a:pt x="11" y="128"/>
                    <a:pt x="11" y="128"/>
                    <a:pt x="10" y="129"/>
                  </a:cubicBezTo>
                  <a:cubicBezTo>
                    <a:pt x="10" y="129"/>
                    <a:pt x="9" y="131"/>
                    <a:pt x="9" y="132"/>
                  </a:cubicBezTo>
                  <a:cubicBezTo>
                    <a:pt x="9" y="133"/>
                    <a:pt x="10" y="133"/>
                    <a:pt x="10" y="134"/>
                  </a:cubicBezTo>
                  <a:cubicBezTo>
                    <a:pt x="11" y="135"/>
                    <a:pt x="11" y="136"/>
                    <a:pt x="11" y="137"/>
                  </a:cubicBezTo>
                  <a:cubicBezTo>
                    <a:pt x="12" y="138"/>
                    <a:pt x="13" y="139"/>
                    <a:pt x="12" y="140"/>
                  </a:cubicBezTo>
                  <a:cubicBezTo>
                    <a:pt x="12" y="141"/>
                    <a:pt x="11" y="141"/>
                    <a:pt x="11" y="142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7" y="144"/>
                    <a:pt x="7" y="145"/>
                    <a:pt x="7" y="147"/>
                  </a:cubicBezTo>
                  <a:cubicBezTo>
                    <a:pt x="6" y="148"/>
                    <a:pt x="5" y="150"/>
                    <a:pt x="4" y="150"/>
                  </a:cubicBezTo>
                  <a:cubicBezTo>
                    <a:pt x="4" y="151"/>
                    <a:pt x="3" y="151"/>
                    <a:pt x="3" y="151"/>
                  </a:cubicBezTo>
                  <a:cubicBezTo>
                    <a:pt x="2" y="152"/>
                    <a:pt x="2" y="152"/>
                    <a:pt x="2" y="153"/>
                  </a:cubicBezTo>
                  <a:cubicBezTo>
                    <a:pt x="1" y="153"/>
                    <a:pt x="0" y="153"/>
                    <a:pt x="0" y="15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2" name="Freeform 44">
              <a:extLst>
                <a:ext uri="{FF2B5EF4-FFF2-40B4-BE49-F238E27FC236}">
                  <a16:creationId xmlns:a16="http://schemas.microsoft.com/office/drawing/2014/main" id="{A7E797AF-1FEE-43A1-A45A-837495381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188" y="6280150"/>
              <a:ext cx="52388" cy="61913"/>
            </a:xfrm>
            <a:custGeom>
              <a:avLst/>
              <a:gdLst/>
              <a:ahLst/>
              <a:cxnLst>
                <a:cxn ang="0">
                  <a:pos x="23" y="23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2" y="3"/>
                </a:cxn>
                <a:cxn ang="0">
                  <a:pos x="12" y="12"/>
                </a:cxn>
                <a:cxn ang="0">
                  <a:pos x="7" y="14"/>
                </a:cxn>
                <a:cxn ang="0">
                  <a:pos x="2" y="20"/>
                </a:cxn>
                <a:cxn ang="0">
                  <a:pos x="2" y="27"/>
                </a:cxn>
                <a:cxn ang="0">
                  <a:pos x="6" y="22"/>
                </a:cxn>
                <a:cxn ang="0">
                  <a:pos x="8" y="28"/>
                </a:cxn>
                <a:cxn ang="0">
                  <a:pos x="13" y="31"/>
                </a:cxn>
                <a:cxn ang="0">
                  <a:pos x="26" y="32"/>
                </a:cxn>
                <a:cxn ang="0">
                  <a:pos x="25" y="23"/>
                </a:cxn>
                <a:cxn ang="0">
                  <a:pos x="23" y="23"/>
                </a:cxn>
              </a:cxnLst>
              <a:rect l="0" t="0" r="r" b="b"/>
              <a:pathLst>
                <a:path w="28" h="33">
                  <a:moveTo>
                    <a:pt x="23" y="23"/>
                  </a:moveTo>
                  <a:cubicBezTo>
                    <a:pt x="20" y="23"/>
                    <a:pt x="18" y="18"/>
                    <a:pt x="17" y="16"/>
                  </a:cubicBezTo>
                  <a:cubicBezTo>
                    <a:pt x="17" y="13"/>
                    <a:pt x="17" y="10"/>
                    <a:pt x="17" y="8"/>
                  </a:cubicBezTo>
                  <a:cubicBezTo>
                    <a:pt x="17" y="6"/>
                    <a:pt x="15" y="0"/>
                    <a:pt x="12" y="3"/>
                  </a:cubicBezTo>
                  <a:cubicBezTo>
                    <a:pt x="10" y="5"/>
                    <a:pt x="13" y="9"/>
                    <a:pt x="12" y="12"/>
                  </a:cubicBezTo>
                  <a:cubicBezTo>
                    <a:pt x="11" y="13"/>
                    <a:pt x="9" y="14"/>
                    <a:pt x="7" y="14"/>
                  </a:cubicBezTo>
                  <a:cubicBezTo>
                    <a:pt x="4" y="15"/>
                    <a:pt x="3" y="16"/>
                    <a:pt x="2" y="20"/>
                  </a:cubicBezTo>
                  <a:cubicBezTo>
                    <a:pt x="1" y="22"/>
                    <a:pt x="0" y="27"/>
                    <a:pt x="2" y="27"/>
                  </a:cubicBezTo>
                  <a:cubicBezTo>
                    <a:pt x="5" y="27"/>
                    <a:pt x="6" y="24"/>
                    <a:pt x="6" y="22"/>
                  </a:cubicBezTo>
                  <a:cubicBezTo>
                    <a:pt x="7" y="24"/>
                    <a:pt x="7" y="27"/>
                    <a:pt x="8" y="28"/>
                  </a:cubicBezTo>
                  <a:cubicBezTo>
                    <a:pt x="9" y="30"/>
                    <a:pt x="11" y="30"/>
                    <a:pt x="13" y="31"/>
                  </a:cubicBezTo>
                  <a:cubicBezTo>
                    <a:pt x="17" y="32"/>
                    <a:pt x="22" y="33"/>
                    <a:pt x="26" y="32"/>
                  </a:cubicBezTo>
                  <a:cubicBezTo>
                    <a:pt x="27" y="30"/>
                    <a:pt x="28" y="24"/>
                    <a:pt x="25" y="23"/>
                  </a:cubicBezTo>
                  <a:lnTo>
                    <a:pt x="23" y="2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3" name="Freeform 45">
              <a:extLst>
                <a:ext uri="{FF2B5EF4-FFF2-40B4-BE49-F238E27FC236}">
                  <a16:creationId xmlns:a16="http://schemas.microsoft.com/office/drawing/2014/main" id="{3FFA6376-227E-4486-ABE9-8128198FA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6359525"/>
              <a:ext cx="38100" cy="42863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3" y="2"/>
                </a:cxn>
                <a:cxn ang="0">
                  <a:pos x="1" y="11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13" y="23"/>
                </a:cxn>
                <a:cxn ang="0">
                  <a:pos x="14" y="20"/>
                </a:cxn>
                <a:cxn ang="0">
                  <a:pos x="19" y="20"/>
                </a:cxn>
                <a:cxn ang="0">
                  <a:pos x="12" y="8"/>
                </a:cxn>
                <a:cxn ang="0">
                  <a:pos x="10" y="7"/>
                </a:cxn>
              </a:cxnLst>
              <a:rect l="0" t="0" r="r" b="b"/>
              <a:pathLst>
                <a:path w="21" h="23">
                  <a:moveTo>
                    <a:pt x="10" y="7"/>
                  </a:moveTo>
                  <a:cubicBezTo>
                    <a:pt x="8" y="5"/>
                    <a:pt x="6" y="0"/>
                    <a:pt x="3" y="2"/>
                  </a:cubicBezTo>
                  <a:cubicBezTo>
                    <a:pt x="0" y="3"/>
                    <a:pt x="1" y="9"/>
                    <a:pt x="1" y="11"/>
                  </a:cubicBezTo>
                  <a:cubicBezTo>
                    <a:pt x="2" y="13"/>
                    <a:pt x="3" y="16"/>
                    <a:pt x="4" y="18"/>
                  </a:cubicBezTo>
                  <a:cubicBezTo>
                    <a:pt x="5" y="21"/>
                    <a:pt x="5" y="21"/>
                    <a:pt x="8" y="22"/>
                  </a:cubicBezTo>
                  <a:cubicBezTo>
                    <a:pt x="9" y="22"/>
                    <a:pt x="12" y="23"/>
                    <a:pt x="13" y="23"/>
                  </a:cubicBezTo>
                  <a:cubicBezTo>
                    <a:pt x="13" y="22"/>
                    <a:pt x="13" y="21"/>
                    <a:pt x="14" y="20"/>
                  </a:cubicBezTo>
                  <a:cubicBezTo>
                    <a:pt x="16" y="20"/>
                    <a:pt x="17" y="23"/>
                    <a:pt x="19" y="20"/>
                  </a:cubicBezTo>
                  <a:cubicBezTo>
                    <a:pt x="21" y="16"/>
                    <a:pt x="15" y="10"/>
                    <a:pt x="12" y="8"/>
                  </a:cubicBezTo>
                  <a:lnTo>
                    <a:pt x="10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4" name="Freeform 46">
              <a:extLst>
                <a:ext uri="{FF2B5EF4-FFF2-40B4-BE49-F238E27FC236}">
                  <a16:creationId xmlns:a16="http://schemas.microsoft.com/office/drawing/2014/main" id="{D1C8354C-780C-4503-95B1-ABB6803F0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5" y="6384925"/>
              <a:ext cx="31750" cy="39688"/>
            </a:xfrm>
            <a:custGeom>
              <a:avLst/>
              <a:gdLst/>
              <a:ahLst/>
              <a:cxnLst>
                <a:cxn ang="0">
                  <a:pos x="10" y="6"/>
                </a:cxn>
                <a:cxn ang="0">
                  <a:pos x="1" y="1"/>
                </a:cxn>
                <a:cxn ang="0">
                  <a:pos x="7" y="12"/>
                </a:cxn>
                <a:cxn ang="0">
                  <a:pos x="16" y="21"/>
                </a:cxn>
                <a:cxn ang="0">
                  <a:pos x="15" y="14"/>
                </a:cxn>
                <a:cxn ang="0">
                  <a:pos x="10" y="7"/>
                </a:cxn>
                <a:cxn ang="0">
                  <a:pos x="10" y="6"/>
                </a:cxn>
              </a:cxnLst>
              <a:rect l="0" t="0" r="r" b="b"/>
              <a:pathLst>
                <a:path w="17" h="21">
                  <a:moveTo>
                    <a:pt x="10" y="6"/>
                  </a:moveTo>
                  <a:cubicBezTo>
                    <a:pt x="11" y="3"/>
                    <a:pt x="5" y="0"/>
                    <a:pt x="1" y="1"/>
                  </a:cubicBezTo>
                  <a:cubicBezTo>
                    <a:pt x="0" y="5"/>
                    <a:pt x="4" y="9"/>
                    <a:pt x="7" y="12"/>
                  </a:cubicBezTo>
                  <a:cubicBezTo>
                    <a:pt x="9" y="15"/>
                    <a:pt x="13" y="20"/>
                    <a:pt x="16" y="21"/>
                  </a:cubicBezTo>
                  <a:cubicBezTo>
                    <a:pt x="17" y="19"/>
                    <a:pt x="16" y="16"/>
                    <a:pt x="15" y="14"/>
                  </a:cubicBezTo>
                  <a:cubicBezTo>
                    <a:pt x="14" y="13"/>
                    <a:pt x="12" y="8"/>
                    <a:pt x="10" y="7"/>
                  </a:cubicBezTo>
                  <a:lnTo>
                    <a:pt x="10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5" name="Freeform 47">
              <a:extLst>
                <a:ext uri="{FF2B5EF4-FFF2-40B4-BE49-F238E27FC236}">
                  <a16:creationId xmlns:a16="http://schemas.microsoft.com/office/drawing/2014/main" id="{37407A4F-D514-4A7D-A045-CA32F362E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0425" y="6432550"/>
              <a:ext cx="31750" cy="15875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1"/>
                </a:cxn>
                <a:cxn ang="0">
                  <a:pos x="11" y="8"/>
                </a:cxn>
                <a:cxn ang="0">
                  <a:pos x="7" y="1"/>
                </a:cxn>
                <a:cxn ang="0">
                  <a:pos x="10" y="3"/>
                </a:cxn>
              </a:cxnLst>
              <a:rect l="0" t="0" r="r" b="b"/>
              <a:pathLst>
                <a:path w="17" h="9">
                  <a:moveTo>
                    <a:pt x="10" y="3"/>
                  </a:moveTo>
                  <a:cubicBezTo>
                    <a:pt x="7" y="2"/>
                    <a:pt x="4" y="0"/>
                    <a:pt x="1" y="1"/>
                  </a:cubicBezTo>
                  <a:cubicBezTo>
                    <a:pt x="0" y="6"/>
                    <a:pt x="6" y="9"/>
                    <a:pt x="11" y="8"/>
                  </a:cubicBezTo>
                  <a:cubicBezTo>
                    <a:pt x="17" y="8"/>
                    <a:pt x="11" y="1"/>
                    <a:pt x="7" y="1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6" name="Freeform 48">
              <a:extLst>
                <a:ext uri="{FF2B5EF4-FFF2-40B4-BE49-F238E27FC236}">
                  <a16:creationId xmlns:a16="http://schemas.microsoft.com/office/drawing/2014/main" id="{5775AEFE-E3BB-4286-816A-B8DC2CC37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4238" y="6497638"/>
              <a:ext cx="22225" cy="36513"/>
            </a:xfrm>
            <a:custGeom>
              <a:avLst/>
              <a:gdLst/>
              <a:ahLst/>
              <a:cxnLst>
                <a:cxn ang="0">
                  <a:pos x="12" y="1"/>
                </a:cxn>
                <a:cxn ang="0">
                  <a:pos x="1" y="3"/>
                </a:cxn>
                <a:cxn ang="0">
                  <a:pos x="1" y="10"/>
                </a:cxn>
                <a:cxn ang="0">
                  <a:pos x="11" y="19"/>
                </a:cxn>
                <a:cxn ang="0">
                  <a:pos x="12" y="5"/>
                </a:cxn>
                <a:cxn ang="0">
                  <a:pos x="12" y="1"/>
                </a:cxn>
              </a:cxnLst>
              <a:rect l="0" t="0" r="r" b="b"/>
              <a:pathLst>
                <a:path w="12" h="20">
                  <a:moveTo>
                    <a:pt x="12" y="1"/>
                  </a:moveTo>
                  <a:cubicBezTo>
                    <a:pt x="8" y="1"/>
                    <a:pt x="3" y="0"/>
                    <a:pt x="1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2" y="13"/>
                    <a:pt x="7" y="20"/>
                    <a:pt x="11" y="19"/>
                  </a:cubicBezTo>
                  <a:cubicBezTo>
                    <a:pt x="12" y="14"/>
                    <a:pt x="12" y="10"/>
                    <a:pt x="12" y="5"/>
                  </a:cubicBezTo>
                  <a:lnTo>
                    <a:pt x="12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7" name="Freeform 49">
              <a:extLst>
                <a:ext uri="{FF2B5EF4-FFF2-40B4-BE49-F238E27FC236}">
                  <a16:creationId xmlns:a16="http://schemas.microsoft.com/office/drawing/2014/main" id="{99AAFAF6-0269-448D-94FF-D3342217E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313" y="6503988"/>
              <a:ext cx="17463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11"/>
                </a:cxn>
                <a:cxn ang="0">
                  <a:pos x="8" y="14"/>
                </a:cxn>
                <a:cxn ang="0">
                  <a:pos x="9" y="4"/>
                </a:cxn>
                <a:cxn ang="0">
                  <a:pos x="10" y="0"/>
                </a:cxn>
              </a:cxnLst>
              <a:rect l="0" t="0" r="r" b="b"/>
              <a:pathLst>
                <a:path w="10" h="15">
                  <a:moveTo>
                    <a:pt x="10" y="0"/>
                  </a:moveTo>
                  <a:cubicBezTo>
                    <a:pt x="7" y="0"/>
                    <a:pt x="0" y="8"/>
                    <a:pt x="0" y="11"/>
                  </a:cubicBezTo>
                  <a:cubicBezTo>
                    <a:pt x="0" y="15"/>
                    <a:pt x="5" y="14"/>
                    <a:pt x="8" y="14"/>
                  </a:cubicBezTo>
                  <a:cubicBezTo>
                    <a:pt x="8" y="11"/>
                    <a:pt x="9" y="7"/>
                    <a:pt x="9" y="4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8" name="Freeform 50">
              <a:extLst>
                <a:ext uri="{FF2B5EF4-FFF2-40B4-BE49-F238E27FC236}">
                  <a16:creationId xmlns:a16="http://schemas.microsoft.com/office/drawing/2014/main" id="{F9036C2E-7C8F-49A9-82B3-46A532D1B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0875" y="6650038"/>
              <a:ext cx="273050" cy="58738"/>
            </a:xfrm>
            <a:custGeom>
              <a:avLst/>
              <a:gdLst/>
              <a:ahLst/>
              <a:cxnLst>
                <a:cxn ang="0">
                  <a:pos x="116" y="7"/>
                </a:cxn>
                <a:cxn ang="0">
                  <a:pos x="95" y="5"/>
                </a:cxn>
                <a:cxn ang="0">
                  <a:pos x="67" y="4"/>
                </a:cxn>
                <a:cxn ang="0">
                  <a:pos x="57" y="3"/>
                </a:cxn>
                <a:cxn ang="0">
                  <a:pos x="37" y="1"/>
                </a:cxn>
                <a:cxn ang="0">
                  <a:pos x="22" y="0"/>
                </a:cxn>
                <a:cxn ang="0">
                  <a:pos x="5" y="3"/>
                </a:cxn>
                <a:cxn ang="0">
                  <a:pos x="1" y="8"/>
                </a:cxn>
                <a:cxn ang="0">
                  <a:pos x="13" y="13"/>
                </a:cxn>
                <a:cxn ang="0">
                  <a:pos x="41" y="15"/>
                </a:cxn>
                <a:cxn ang="0">
                  <a:pos x="57" y="16"/>
                </a:cxn>
                <a:cxn ang="0">
                  <a:pos x="65" y="19"/>
                </a:cxn>
                <a:cxn ang="0">
                  <a:pos x="68" y="25"/>
                </a:cxn>
                <a:cxn ang="0">
                  <a:pos x="71" y="30"/>
                </a:cxn>
                <a:cxn ang="0">
                  <a:pos x="76" y="31"/>
                </a:cxn>
                <a:cxn ang="0">
                  <a:pos x="93" y="28"/>
                </a:cxn>
                <a:cxn ang="0">
                  <a:pos x="127" y="27"/>
                </a:cxn>
                <a:cxn ang="0">
                  <a:pos x="142" y="25"/>
                </a:cxn>
                <a:cxn ang="0">
                  <a:pos x="146" y="22"/>
                </a:cxn>
                <a:cxn ang="0">
                  <a:pos x="139" y="15"/>
                </a:cxn>
                <a:cxn ang="0">
                  <a:pos x="123" y="8"/>
                </a:cxn>
                <a:cxn ang="0">
                  <a:pos x="116" y="7"/>
                </a:cxn>
              </a:cxnLst>
              <a:rect l="0" t="0" r="r" b="b"/>
              <a:pathLst>
                <a:path w="146" h="31">
                  <a:moveTo>
                    <a:pt x="116" y="7"/>
                  </a:moveTo>
                  <a:cubicBezTo>
                    <a:pt x="109" y="5"/>
                    <a:pt x="102" y="5"/>
                    <a:pt x="95" y="5"/>
                  </a:cubicBezTo>
                  <a:cubicBezTo>
                    <a:pt x="86" y="5"/>
                    <a:pt x="77" y="4"/>
                    <a:pt x="67" y="4"/>
                  </a:cubicBezTo>
                  <a:cubicBezTo>
                    <a:pt x="64" y="3"/>
                    <a:pt x="60" y="3"/>
                    <a:pt x="57" y="3"/>
                  </a:cubicBezTo>
                  <a:cubicBezTo>
                    <a:pt x="50" y="3"/>
                    <a:pt x="44" y="1"/>
                    <a:pt x="37" y="1"/>
                  </a:cubicBezTo>
                  <a:cubicBezTo>
                    <a:pt x="32" y="0"/>
                    <a:pt x="27" y="1"/>
                    <a:pt x="22" y="0"/>
                  </a:cubicBezTo>
                  <a:cubicBezTo>
                    <a:pt x="16" y="0"/>
                    <a:pt x="10" y="0"/>
                    <a:pt x="5" y="3"/>
                  </a:cubicBezTo>
                  <a:cubicBezTo>
                    <a:pt x="3" y="4"/>
                    <a:pt x="0" y="5"/>
                    <a:pt x="1" y="8"/>
                  </a:cubicBezTo>
                  <a:cubicBezTo>
                    <a:pt x="3" y="11"/>
                    <a:pt x="11" y="12"/>
                    <a:pt x="13" y="13"/>
                  </a:cubicBezTo>
                  <a:cubicBezTo>
                    <a:pt x="22" y="14"/>
                    <a:pt x="31" y="14"/>
                    <a:pt x="41" y="15"/>
                  </a:cubicBezTo>
                  <a:cubicBezTo>
                    <a:pt x="46" y="15"/>
                    <a:pt x="52" y="15"/>
                    <a:pt x="57" y="16"/>
                  </a:cubicBezTo>
                  <a:cubicBezTo>
                    <a:pt x="59" y="17"/>
                    <a:pt x="64" y="18"/>
                    <a:pt x="65" y="19"/>
                  </a:cubicBezTo>
                  <a:cubicBezTo>
                    <a:pt x="67" y="21"/>
                    <a:pt x="67" y="23"/>
                    <a:pt x="68" y="25"/>
                  </a:cubicBezTo>
                  <a:cubicBezTo>
                    <a:pt x="68" y="27"/>
                    <a:pt x="69" y="30"/>
                    <a:pt x="71" y="30"/>
                  </a:cubicBezTo>
                  <a:cubicBezTo>
                    <a:pt x="72" y="31"/>
                    <a:pt x="75" y="31"/>
                    <a:pt x="76" y="31"/>
                  </a:cubicBezTo>
                  <a:cubicBezTo>
                    <a:pt x="82" y="30"/>
                    <a:pt x="88" y="28"/>
                    <a:pt x="93" y="28"/>
                  </a:cubicBezTo>
                  <a:cubicBezTo>
                    <a:pt x="104" y="27"/>
                    <a:pt x="116" y="27"/>
                    <a:pt x="127" y="27"/>
                  </a:cubicBezTo>
                  <a:cubicBezTo>
                    <a:pt x="132" y="27"/>
                    <a:pt x="137" y="27"/>
                    <a:pt x="142" y="25"/>
                  </a:cubicBezTo>
                  <a:cubicBezTo>
                    <a:pt x="143" y="25"/>
                    <a:pt x="145" y="23"/>
                    <a:pt x="146" y="22"/>
                  </a:cubicBezTo>
                  <a:cubicBezTo>
                    <a:pt x="146" y="19"/>
                    <a:pt x="140" y="16"/>
                    <a:pt x="139" y="15"/>
                  </a:cubicBezTo>
                  <a:cubicBezTo>
                    <a:pt x="134" y="12"/>
                    <a:pt x="129" y="10"/>
                    <a:pt x="123" y="8"/>
                  </a:cubicBezTo>
                  <a:lnTo>
                    <a:pt x="116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9" name="Freeform 51">
              <a:extLst>
                <a:ext uri="{FF2B5EF4-FFF2-40B4-BE49-F238E27FC236}">
                  <a16:creationId xmlns:a16="http://schemas.microsoft.com/office/drawing/2014/main" id="{783C3619-633B-4E0E-B004-1CFDA4793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975" y="6275388"/>
              <a:ext cx="39688" cy="76200"/>
            </a:xfrm>
            <a:custGeom>
              <a:avLst/>
              <a:gdLst/>
              <a:ahLst/>
              <a:cxnLst>
                <a:cxn ang="0">
                  <a:pos x="17" y="12"/>
                </a:cxn>
                <a:cxn ang="0">
                  <a:pos x="1" y="5"/>
                </a:cxn>
                <a:cxn ang="0">
                  <a:pos x="0" y="10"/>
                </a:cxn>
                <a:cxn ang="0">
                  <a:pos x="2" y="17"/>
                </a:cxn>
                <a:cxn ang="0">
                  <a:pos x="7" y="22"/>
                </a:cxn>
                <a:cxn ang="0">
                  <a:pos x="4" y="25"/>
                </a:cxn>
                <a:cxn ang="0">
                  <a:pos x="1" y="31"/>
                </a:cxn>
                <a:cxn ang="0">
                  <a:pos x="8" y="36"/>
                </a:cxn>
                <a:cxn ang="0">
                  <a:pos x="13" y="41"/>
                </a:cxn>
                <a:cxn ang="0">
                  <a:pos x="15" y="34"/>
                </a:cxn>
                <a:cxn ang="0">
                  <a:pos x="19" y="25"/>
                </a:cxn>
                <a:cxn ang="0">
                  <a:pos x="16" y="13"/>
                </a:cxn>
                <a:cxn ang="0">
                  <a:pos x="17" y="12"/>
                </a:cxn>
              </a:cxnLst>
              <a:rect l="0" t="0" r="r" b="b"/>
              <a:pathLst>
                <a:path w="22" h="41">
                  <a:moveTo>
                    <a:pt x="17" y="12"/>
                  </a:moveTo>
                  <a:cubicBezTo>
                    <a:pt x="14" y="9"/>
                    <a:pt x="6" y="0"/>
                    <a:pt x="1" y="5"/>
                  </a:cubicBezTo>
                  <a:cubicBezTo>
                    <a:pt x="0" y="7"/>
                    <a:pt x="0" y="9"/>
                    <a:pt x="0" y="10"/>
                  </a:cubicBezTo>
                  <a:cubicBezTo>
                    <a:pt x="0" y="13"/>
                    <a:pt x="1" y="15"/>
                    <a:pt x="2" y="17"/>
                  </a:cubicBezTo>
                  <a:cubicBezTo>
                    <a:pt x="3" y="18"/>
                    <a:pt x="6" y="20"/>
                    <a:pt x="7" y="22"/>
                  </a:cubicBezTo>
                  <a:cubicBezTo>
                    <a:pt x="8" y="25"/>
                    <a:pt x="6" y="24"/>
                    <a:pt x="4" y="25"/>
                  </a:cubicBezTo>
                  <a:cubicBezTo>
                    <a:pt x="1" y="26"/>
                    <a:pt x="1" y="28"/>
                    <a:pt x="1" y="31"/>
                  </a:cubicBezTo>
                  <a:cubicBezTo>
                    <a:pt x="2" y="35"/>
                    <a:pt x="5" y="34"/>
                    <a:pt x="8" y="36"/>
                  </a:cubicBezTo>
                  <a:cubicBezTo>
                    <a:pt x="10" y="38"/>
                    <a:pt x="10" y="41"/>
                    <a:pt x="13" y="41"/>
                  </a:cubicBezTo>
                  <a:cubicBezTo>
                    <a:pt x="15" y="40"/>
                    <a:pt x="15" y="36"/>
                    <a:pt x="15" y="34"/>
                  </a:cubicBezTo>
                  <a:cubicBezTo>
                    <a:pt x="15" y="29"/>
                    <a:pt x="17" y="28"/>
                    <a:pt x="19" y="25"/>
                  </a:cubicBezTo>
                  <a:cubicBezTo>
                    <a:pt x="22" y="21"/>
                    <a:pt x="22" y="14"/>
                    <a:pt x="16" y="13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0" name="Freeform 52">
              <a:extLst>
                <a:ext uri="{FF2B5EF4-FFF2-40B4-BE49-F238E27FC236}">
                  <a16:creationId xmlns:a16="http://schemas.microsoft.com/office/drawing/2014/main" id="{45A9C3B1-83C6-4063-9756-68D97AEB2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975" y="6175375"/>
              <a:ext cx="87313" cy="68263"/>
            </a:xfrm>
            <a:custGeom>
              <a:avLst/>
              <a:gdLst/>
              <a:ahLst/>
              <a:cxnLst>
                <a:cxn ang="0">
                  <a:pos x="39" y="6"/>
                </a:cxn>
                <a:cxn ang="0">
                  <a:pos x="35" y="5"/>
                </a:cxn>
                <a:cxn ang="0">
                  <a:pos x="25" y="0"/>
                </a:cxn>
                <a:cxn ang="0">
                  <a:pos x="19" y="3"/>
                </a:cxn>
                <a:cxn ang="0">
                  <a:pos x="16" y="5"/>
                </a:cxn>
                <a:cxn ang="0">
                  <a:pos x="5" y="9"/>
                </a:cxn>
                <a:cxn ang="0">
                  <a:pos x="0" y="14"/>
                </a:cxn>
                <a:cxn ang="0">
                  <a:pos x="6" y="20"/>
                </a:cxn>
                <a:cxn ang="0">
                  <a:pos x="10" y="23"/>
                </a:cxn>
                <a:cxn ang="0">
                  <a:pos x="12" y="22"/>
                </a:cxn>
                <a:cxn ang="0">
                  <a:pos x="31" y="22"/>
                </a:cxn>
                <a:cxn ang="0">
                  <a:pos x="20" y="30"/>
                </a:cxn>
                <a:cxn ang="0">
                  <a:pos x="33" y="33"/>
                </a:cxn>
                <a:cxn ang="0">
                  <a:pos x="39" y="34"/>
                </a:cxn>
                <a:cxn ang="0">
                  <a:pos x="43" y="35"/>
                </a:cxn>
                <a:cxn ang="0">
                  <a:pos x="45" y="27"/>
                </a:cxn>
                <a:cxn ang="0">
                  <a:pos x="40" y="25"/>
                </a:cxn>
                <a:cxn ang="0">
                  <a:pos x="39" y="21"/>
                </a:cxn>
                <a:cxn ang="0">
                  <a:pos x="37" y="16"/>
                </a:cxn>
                <a:cxn ang="0">
                  <a:pos x="34" y="11"/>
                </a:cxn>
                <a:cxn ang="0">
                  <a:pos x="34" y="5"/>
                </a:cxn>
                <a:cxn ang="0">
                  <a:pos x="39" y="6"/>
                </a:cxn>
              </a:cxnLst>
              <a:rect l="0" t="0" r="r" b="b"/>
              <a:pathLst>
                <a:path w="47" h="36">
                  <a:moveTo>
                    <a:pt x="39" y="6"/>
                  </a:moveTo>
                  <a:cubicBezTo>
                    <a:pt x="38" y="6"/>
                    <a:pt x="37" y="6"/>
                    <a:pt x="35" y="5"/>
                  </a:cubicBezTo>
                  <a:cubicBezTo>
                    <a:pt x="32" y="2"/>
                    <a:pt x="29" y="1"/>
                    <a:pt x="25" y="0"/>
                  </a:cubicBezTo>
                  <a:cubicBezTo>
                    <a:pt x="22" y="0"/>
                    <a:pt x="21" y="1"/>
                    <a:pt x="19" y="3"/>
                  </a:cubicBezTo>
                  <a:cubicBezTo>
                    <a:pt x="18" y="4"/>
                    <a:pt x="17" y="5"/>
                    <a:pt x="16" y="5"/>
                  </a:cubicBezTo>
                  <a:cubicBezTo>
                    <a:pt x="13" y="8"/>
                    <a:pt x="8" y="9"/>
                    <a:pt x="5" y="9"/>
                  </a:cubicBezTo>
                  <a:cubicBezTo>
                    <a:pt x="1" y="10"/>
                    <a:pt x="0" y="10"/>
                    <a:pt x="0" y="14"/>
                  </a:cubicBezTo>
                  <a:cubicBezTo>
                    <a:pt x="0" y="18"/>
                    <a:pt x="2" y="19"/>
                    <a:pt x="6" y="20"/>
                  </a:cubicBezTo>
                  <a:cubicBezTo>
                    <a:pt x="7" y="21"/>
                    <a:pt x="8" y="23"/>
                    <a:pt x="10" y="23"/>
                  </a:cubicBezTo>
                  <a:cubicBezTo>
                    <a:pt x="11" y="23"/>
                    <a:pt x="11" y="23"/>
                    <a:pt x="12" y="22"/>
                  </a:cubicBezTo>
                  <a:cubicBezTo>
                    <a:pt x="17" y="19"/>
                    <a:pt x="27" y="16"/>
                    <a:pt x="31" y="22"/>
                  </a:cubicBezTo>
                  <a:cubicBezTo>
                    <a:pt x="26" y="24"/>
                    <a:pt x="20" y="23"/>
                    <a:pt x="20" y="30"/>
                  </a:cubicBezTo>
                  <a:cubicBezTo>
                    <a:pt x="25" y="32"/>
                    <a:pt x="28" y="33"/>
                    <a:pt x="33" y="33"/>
                  </a:cubicBezTo>
                  <a:cubicBezTo>
                    <a:pt x="35" y="33"/>
                    <a:pt x="37" y="33"/>
                    <a:pt x="39" y="34"/>
                  </a:cubicBezTo>
                  <a:cubicBezTo>
                    <a:pt x="40" y="35"/>
                    <a:pt x="40" y="36"/>
                    <a:pt x="43" y="35"/>
                  </a:cubicBezTo>
                  <a:cubicBezTo>
                    <a:pt x="46" y="34"/>
                    <a:pt x="47" y="29"/>
                    <a:pt x="45" y="27"/>
                  </a:cubicBezTo>
                  <a:cubicBezTo>
                    <a:pt x="43" y="25"/>
                    <a:pt x="41" y="26"/>
                    <a:pt x="40" y="25"/>
                  </a:cubicBezTo>
                  <a:cubicBezTo>
                    <a:pt x="39" y="24"/>
                    <a:pt x="39" y="22"/>
                    <a:pt x="39" y="21"/>
                  </a:cubicBezTo>
                  <a:cubicBezTo>
                    <a:pt x="39" y="19"/>
                    <a:pt x="37" y="18"/>
                    <a:pt x="37" y="16"/>
                  </a:cubicBezTo>
                  <a:cubicBezTo>
                    <a:pt x="36" y="14"/>
                    <a:pt x="35" y="13"/>
                    <a:pt x="34" y="11"/>
                  </a:cubicBezTo>
                  <a:cubicBezTo>
                    <a:pt x="33" y="9"/>
                    <a:pt x="34" y="7"/>
                    <a:pt x="34" y="5"/>
                  </a:cubicBezTo>
                  <a:lnTo>
                    <a:pt x="39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1" name="Freeform 53">
              <a:extLst>
                <a:ext uri="{FF2B5EF4-FFF2-40B4-BE49-F238E27FC236}">
                  <a16:creationId xmlns:a16="http://schemas.microsoft.com/office/drawing/2014/main" id="{9EA7F046-65B1-4065-9515-827472FDB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475" y="6632575"/>
              <a:ext cx="69850" cy="68263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5" y="7"/>
                </a:cxn>
                <a:cxn ang="0">
                  <a:pos x="12" y="11"/>
                </a:cxn>
                <a:cxn ang="0">
                  <a:pos x="12" y="13"/>
                </a:cxn>
                <a:cxn ang="0">
                  <a:pos x="3" y="21"/>
                </a:cxn>
                <a:cxn ang="0">
                  <a:pos x="7" y="24"/>
                </a:cxn>
                <a:cxn ang="0">
                  <a:pos x="11" y="28"/>
                </a:cxn>
                <a:cxn ang="0">
                  <a:pos x="12" y="31"/>
                </a:cxn>
                <a:cxn ang="0">
                  <a:pos x="14" y="31"/>
                </a:cxn>
                <a:cxn ang="0">
                  <a:pos x="17" y="35"/>
                </a:cxn>
                <a:cxn ang="0">
                  <a:pos x="22" y="23"/>
                </a:cxn>
                <a:cxn ang="0">
                  <a:pos x="33" y="11"/>
                </a:cxn>
                <a:cxn ang="0">
                  <a:pos x="33" y="3"/>
                </a:cxn>
                <a:cxn ang="0">
                  <a:pos x="23" y="6"/>
                </a:cxn>
                <a:cxn ang="0">
                  <a:pos x="27" y="0"/>
                </a:cxn>
              </a:cxnLst>
              <a:rect l="0" t="0" r="r" b="b"/>
              <a:pathLst>
                <a:path w="38" h="37">
                  <a:moveTo>
                    <a:pt x="27" y="0"/>
                  </a:moveTo>
                  <a:cubicBezTo>
                    <a:pt x="23" y="2"/>
                    <a:pt x="18" y="4"/>
                    <a:pt x="15" y="7"/>
                  </a:cubicBezTo>
                  <a:cubicBezTo>
                    <a:pt x="14" y="8"/>
                    <a:pt x="13" y="9"/>
                    <a:pt x="12" y="11"/>
                  </a:cubicBezTo>
                  <a:cubicBezTo>
                    <a:pt x="12" y="12"/>
                    <a:pt x="13" y="12"/>
                    <a:pt x="12" y="13"/>
                  </a:cubicBezTo>
                  <a:cubicBezTo>
                    <a:pt x="11" y="16"/>
                    <a:pt x="0" y="17"/>
                    <a:pt x="3" y="21"/>
                  </a:cubicBezTo>
                  <a:cubicBezTo>
                    <a:pt x="4" y="22"/>
                    <a:pt x="6" y="23"/>
                    <a:pt x="7" y="24"/>
                  </a:cubicBezTo>
                  <a:cubicBezTo>
                    <a:pt x="9" y="25"/>
                    <a:pt x="9" y="25"/>
                    <a:pt x="11" y="28"/>
                  </a:cubicBezTo>
                  <a:cubicBezTo>
                    <a:pt x="11" y="29"/>
                    <a:pt x="12" y="30"/>
                    <a:pt x="12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3"/>
                    <a:pt x="15" y="35"/>
                    <a:pt x="17" y="35"/>
                  </a:cubicBezTo>
                  <a:cubicBezTo>
                    <a:pt x="20" y="37"/>
                    <a:pt x="22" y="25"/>
                    <a:pt x="22" y="23"/>
                  </a:cubicBezTo>
                  <a:cubicBezTo>
                    <a:pt x="24" y="18"/>
                    <a:pt x="30" y="15"/>
                    <a:pt x="33" y="11"/>
                  </a:cubicBezTo>
                  <a:cubicBezTo>
                    <a:pt x="35" y="8"/>
                    <a:pt x="38" y="4"/>
                    <a:pt x="33" y="3"/>
                  </a:cubicBezTo>
                  <a:cubicBezTo>
                    <a:pt x="31" y="2"/>
                    <a:pt x="22" y="1"/>
                    <a:pt x="23" y="6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2" name="Freeform 54">
              <a:extLst>
                <a:ext uri="{FF2B5EF4-FFF2-40B4-BE49-F238E27FC236}">
                  <a16:creationId xmlns:a16="http://schemas.microsoft.com/office/drawing/2014/main" id="{5B2BFFB5-908F-458A-B181-59B168536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688" y="6553200"/>
              <a:ext cx="42863" cy="31750"/>
            </a:xfrm>
            <a:custGeom>
              <a:avLst/>
              <a:gdLst/>
              <a:ahLst/>
              <a:cxnLst>
                <a:cxn ang="0">
                  <a:pos x="21" y="2"/>
                </a:cxn>
                <a:cxn ang="0">
                  <a:pos x="5" y="7"/>
                </a:cxn>
                <a:cxn ang="0">
                  <a:pos x="3" y="15"/>
                </a:cxn>
                <a:cxn ang="0">
                  <a:pos x="18" y="5"/>
                </a:cxn>
                <a:cxn ang="0">
                  <a:pos x="22" y="3"/>
                </a:cxn>
                <a:cxn ang="0">
                  <a:pos x="23" y="0"/>
                </a:cxn>
                <a:cxn ang="0">
                  <a:pos x="21" y="2"/>
                </a:cxn>
              </a:cxnLst>
              <a:rect l="0" t="0" r="r" b="b"/>
              <a:pathLst>
                <a:path w="23" h="17">
                  <a:moveTo>
                    <a:pt x="21" y="2"/>
                  </a:moveTo>
                  <a:cubicBezTo>
                    <a:pt x="16" y="1"/>
                    <a:pt x="8" y="4"/>
                    <a:pt x="5" y="7"/>
                  </a:cubicBezTo>
                  <a:cubicBezTo>
                    <a:pt x="3" y="9"/>
                    <a:pt x="0" y="13"/>
                    <a:pt x="3" y="15"/>
                  </a:cubicBezTo>
                  <a:cubicBezTo>
                    <a:pt x="8" y="17"/>
                    <a:pt x="16" y="8"/>
                    <a:pt x="18" y="5"/>
                  </a:cubicBezTo>
                  <a:cubicBezTo>
                    <a:pt x="19" y="4"/>
                    <a:pt x="22" y="4"/>
                    <a:pt x="22" y="3"/>
                  </a:cubicBezTo>
                  <a:cubicBezTo>
                    <a:pt x="23" y="2"/>
                    <a:pt x="23" y="1"/>
                    <a:pt x="23" y="0"/>
                  </a:cubicBezTo>
                  <a:lnTo>
                    <a:pt x="21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3" name="Freeform 55">
              <a:extLst>
                <a:ext uri="{FF2B5EF4-FFF2-40B4-BE49-F238E27FC236}">
                  <a16:creationId xmlns:a16="http://schemas.microsoft.com/office/drawing/2014/main" id="{12C9C317-A0A7-4F71-A744-5D8DD1212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6432550"/>
              <a:ext cx="42863" cy="22225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4" y="7"/>
                </a:cxn>
                <a:cxn ang="0">
                  <a:pos x="2" y="11"/>
                </a:cxn>
                <a:cxn ang="0">
                  <a:pos x="9" y="11"/>
                </a:cxn>
                <a:cxn ang="0">
                  <a:pos x="19" y="9"/>
                </a:cxn>
                <a:cxn ang="0">
                  <a:pos x="23" y="0"/>
                </a:cxn>
                <a:cxn ang="0">
                  <a:pos x="17" y="0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11" y="0"/>
                    <a:pt x="8" y="4"/>
                    <a:pt x="4" y="7"/>
                  </a:cubicBezTo>
                  <a:cubicBezTo>
                    <a:pt x="3" y="8"/>
                    <a:pt x="0" y="9"/>
                    <a:pt x="2" y="11"/>
                  </a:cubicBezTo>
                  <a:cubicBezTo>
                    <a:pt x="3" y="12"/>
                    <a:pt x="7" y="11"/>
                    <a:pt x="9" y="11"/>
                  </a:cubicBezTo>
                  <a:cubicBezTo>
                    <a:pt x="13" y="11"/>
                    <a:pt x="16" y="12"/>
                    <a:pt x="19" y="9"/>
                  </a:cubicBezTo>
                  <a:cubicBezTo>
                    <a:pt x="23" y="7"/>
                    <a:pt x="23" y="4"/>
                    <a:pt x="23" y="0"/>
                  </a:cubicBezTo>
                  <a:lnTo>
                    <a:pt x="1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4" name="Freeform 56">
              <a:extLst>
                <a:ext uri="{FF2B5EF4-FFF2-40B4-BE49-F238E27FC236}">
                  <a16:creationId xmlns:a16="http://schemas.microsoft.com/office/drawing/2014/main" id="{714ABE4C-8954-4A60-99B6-5DDA0EB91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4075" y="6078538"/>
              <a:ext cx="42863" cy="39688"/>
            </a:xfrm>
            <a:custGeom>
              <a:avLst/>
              <a:gdLst/>
              <a:ahLst/>
              <a:cxnLst>
                <a:cxn ang="0">
                  <a:pos x="19" y="5"/>
                </a:cxn>
                <a:cxn ang="0">
                  <a:pos x="20" y="3"/>
                </a:cxn>
                <a:cxn ang="0">
                  <a:pos x="17" y="1"/>
                </a:cxn>
                <a:cxn ang="0">
                  <a:pos x="14" y="1"/>
                </a:cxn>
                <a:cxn ang="0">
                  <a:pos x="13" y="3"/>
                </a:cxn>
                <a:cxn ang="0">
                  <a:pos x="6" y="1"/>
                </a:cxn>
                <a:cxn ang="0">
                  <a:pos x="3" y="3"/>
                </a:cxn>
                <a:cxn ang="0">
                  <a:pos x="2" y="13"/>
                </a:cxn>
                <a:cxn ang="0">
                  <a:pos x="14" y="11"/>
                </a:cxn>
                <a:cxn ang="0">
                  <a:pos x="21" y="17"/>
                </a:cxn>
                <a:cxn ang="0">
                  <a:pos x="22" y="9"/>
                </a:cxn>
                <a:cxn ang="0">
                  <a:pos x="18" y="5"/>
                </a:cxn>
                <a:cxn ang="0">
                  <a:pos x="19" y="5"/>
                </a:cxn>
              </a:cxnLst>
              <a:rect l="0" t="0" r="r" b="b"/>
              <a:pathLst>
                <a:path w="23" h="21">
                  <a:moveTo>
                    <a:pt x="19" y="5"/>
                  </a:moveTo>
                  <a:cubicBezTo>
                    <a:pt x="20" y="5"/>
                    <a:pt x="20" y="4"/>
                    <a:pt x="20" y="3"/>
                  </a:cubicBezTo>
                  <a:cubicBezTo>
                    <a:pt x="20" y="1"/>
                    <a:pt x="19" y="1"/>
                    <a:pt x="17" y="1"/>
                  </a:cubicBezTo>
                  <a:cubicBezTo>
                    <a:pt x="16" y="1"/>
                    <a:pt x="15" y="1"/>
                    <a:pt x="14" y="1"/>
                  </a:cubicBezTo>
                  <a:cubicBezTo>
                    <a:pt x="13" y="1"/>
                    <a:pt x="14" y="2"/>
                    <a:pt x="13" y="3"/>
                  </a:cubicBezTo>
                  <a:cubicBezTo>
                    <a:pt x="10" y="4"/>
                    <a:pt x="8" y="0"/>
                    <a:pt x="6" y="1"/>
                  </a:cubicBezTo>
                  <a:cubicBezTo>
                    <a:pt x="4" y="1"/>
                    <a:pt x="4" y="1"/>
                    <a:pt x="3" y="3"/>
                  </a:cubicBezTo>
                  <a:cubicBezTo>
                    <a:pt x="2" y="6"/>
                    <a:pt x="0" y="11"/>
                    <a:pt x="2" y="13"/>
                  </a:cubicBezTo>
                  <a:cubicBezTo>
                    <a:pt x="5" y="16"/>
                    <a:pt x="11" y="13"/>
                    <a:pt x="14" y="11"/>
                  </a:cubicBezTo>
                  <a:cubicBezTo>
                    <a:pt x="15" y="15"/>
                    <a:pt x="16" y="21"/>
                    <a:pt x="21" y="17"/>
                  </a:cubicBezTo>
                  <a:cubicBezTo>
                    <a:pt x="23" y="15"/>
                    <a:pt x="22" y="12"/>
                    <a:pt x="22" y="9"/>
                  </a:cubicBezTo>
                  <a:cubicBezTo>
                    <a:pt x="22" y="5"/>
                    <a:pt x="21" y="4"/>
                    <a:pt x="18" y="5"/>
                  </a:cubicBezTo>
                  <a:lnTo>
                    <a:pt x="19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5" name="Freeform 57">
              <a:extLst>
                <a:ext uri="{FF2B5EF4-FFF2-40B4-BE49-F238E27FC236}">
                  <a16:creationId xmlns:a16="http://schemas.microsoft.com/office/drawing/2014/main" id="{DB4D7440-4074-443F-B265-50577DC6A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75" y="5954713"/>
              <a:ext cx="38100" cy="3968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5" y="1"/>
                </a:cxn>
                <a:cxn ang="0">
                  <a:pos x="1" y="12"/>
                </a:cxn>
                <a:cxn ang="0">
                  <a:pos x="15" y="17"/>
                </a:cxn>
                <a:cxn ang="0">
                  <a:pos x="14" y="4"/>
                </a:cxn>
                <a:cxn ang="0">
                  <a:pos x="16" y="2"/>
                </a:cxn>
              </a:cxnLst>
              <a:rect l="0" t="0" r="r" b="b"/>
              <a:pathLst>
                <a:path w="20" h="21">
                  <a:moveTo>
                    <a:pt x="16" y="2"/>
                  </a:moveTo>
                  <a:cubicBezTo>
                    <a:pt x="12" y="3"/>
                    <a:pt x="9" y="0"/>
                    <a:pt x="5" y="1"/>
                  </a:cubicBezTo>
                  <a:cubicBezTo>
                    <a:pt x="1" y="2"/>
                    <a:pt x="0" y="8"/>
                    <a:pt x="1" y="12"/>
                  </a:cubicBezTo>
                  <a:cubicBezTo>
                    <a:pt x="4" y="17"/>
                    <a:pt x="10" y="21"/>
                    <a:pt x="15" y="17"/>
                  </a:cubicBezTo>
                  <a:cubicBezTo>
                    <a:pt x="20" y="14"/>
                    <a:pt x="16" y="8"/>
                    <a:pt x="14" y="4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6" name="Freeform 58">
              <a:extLst>
                <a:ext uri="{FF2B5EF4-FFF2-40B4-BE49-F238E27FC236}">
                  <a16:creationId xmlns:a16="http://schemas.microsoft.com/office/drawing/2014/main" id="{4DFA4F17-EA68-44DF-BE8A-02B99F987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0" y="5995988"/>
              <a:ext cx="34925" cy="20638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5" y="2"/>
                </a:cxn>
                <a:cxn ang="0">
                  <a:pos x="0" y="8"/>
                </a:cxn>
                <a:cxn ang="0">
                  <a:pos x="8" y="11"/>
                </a:cxn>
                <a:cxn ang="0">
                  <a:pos x="19" y="11"/>
                </a:cxn>
                <a:cxn ang="0">
                  <a:pos x="16" y="9"/>
                </a:cxn>
                <a:cxn ang="0">
                  <a:pos x="17" y="7"/>
                </a:cxn>
              </a:cxnLst>
              <a:rect l="0" t="0" r="r" b="b"/>
              <a:pathLst>
                <a:path w="19" h="11">
                  <a:moveTo>
                    <a:pt x="17" y="7"/>
                  </a:moveTo>
                  <a:cubicBezTo>
                    <a:pt x="14" y="4"/>
                    <a:pt x="9" y="0"/>
                    <a:pt x="5" y="2"/>
                  </a:cubicBezTo>
                  <a:cubicBezTo>
                    <a:pt x="3" y="2"/>
                    <a:pt x="0" y="5"/>
                    <a:pt x="0" y="8"/>
                  </a:cubicBezTo>
                  <a:cubicBezTo>
                    <a:pt x="1" y="11"/>
                    <a:pt x="6" y="11"/>
                    <a:pt x="8" y="11"/>
                  </a:cubicBezTo>
                  <a:cubicBezTo>
                    <a:pt x="12" y="11"/>
                    <a:pt x="15" y="11"/>
                    <a:pt x="19" y="11"/>
                  </a:cubicBezTo>
                  <a:cubicBezTo>
                    <a:pt x="18" y="10"/>
                    <a:pt x="18" y="9"/>
                    <a:pt x="16" y="9"/>
                  </a:cubicBezTo>
                  <a:lnTo>
                    <a:pt x="17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7" name="Freeform 59">
              <a:extLst>
                <a:ext uri="{FF2B5EF4-FFF2-40B4-BE49-F238E27FC236}">
                  <a16:creationId xmlns:a16="http://schemas.microsoft.com/office/drawing/2014/main" id="{B17865CD-C04C-4CC0-8508-28821A9B02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1863" y="5770563"/>
              <a:ext cx="2187575" cy="968375"/>
            </a:xfrm>
            <a:custGeom>
              <a:avLst/>
              <a:gdLst/>
              <a:ahLst/>
              <a:cxnLst>
                <a:cxn ang="0">
                  <a:pos x="135" y="37"/>
                </a:cxn>
                <a:cxn ang="0">
                  <a:pos x="102" y="10"/>
                </a:cxn>
                <a:cxn ang="0">
                  <a:pos x="53" y="16"/>
                </a:cxn>
                <a:cxn ang="0">
                  <a:pos x="54" y="38"/>
                </a:cxn>
                <a:cxn ang="0">
                  <a:pos x="19" y="104"/>
                </a:cxn>
                <a:cxn ang="0">
                  <a:pos x="59" y="122"/>
                </a:cxn>
                <a:cxn ang="0">
                  <a:pos x="74" y="124"/>
                </a:cxn>
                <a:cxn ang="0">
                  <a:pos x="113" y="111"/>
                </a:cxn>
                <a:cxn ang="0">
                  <a:pos x="104" y="96"/>
                </a:cxn>
                <a:cxn ang="0">
                  <a:pos x="141" y="88"/>
                </a:cxn>
                <a:cxn ang="0">
                  <a:pos x="187" y="95"/>
                </a:cxn>
                <a:cxn ang="0">
                  <a:pos x="311" y="435"/>
                </a:cxn>
                <a:cxn ang="0">
                  <a:pos x="1149" y="410"/>
                </a:cxn>
                <a:cxn ang="0">
                  <a:pos x="1131" y="343"/>
                </a:cxn>
                <a:cxn ang="0">
                  <a:pos x="1139" y="238"/>
                </a:cxn>
                <a:cxn ang="0">
                  <a:pos x="1079" y="167"/>
                </a:cxn>
                <a:cxn ang="0">
                  <a:pos x="1047" y="94"/>
                </a:cxn>
                <a:cxn ang="0">
                  <a:pos x="986" y="83"/>
                </a:cxn>
                <a:cxn ang="0">
                  <a:pos x="925" y="97"/>
                </a:cxn>
                <a:cxn ang="0">
                  <a:pos x="812" y="112"/>
                </a:cxn>
                <a:cxn ang="0">
                  <a:pos x="739" y="118"/>
                </a:cxn>
                <a:cxn ang="0">
                  <a:pos x="663" y="97"/>
                </a:cxn>
                <a:cxn ang="0">
                  <a:pos x="612" y="65"/>
                </a:cxn>
                <a:cxn ang="0">
                  <a:pos x="550" y="27"/>
                </a:cxn>
                <a:cxn ang="0">
                  <a:pos x="477" y="22"/>
                </a:cxn>
                <a:cxn ang="0">
                  <a:pos x="367" y="43"/>
                </a:cxn>
                <a:cxn ang="0">
                  <a:pos x="321" y="86"/>
                </a:cxn>
                <a:cxn ang="0">
                  <a:pos x="208" y="75"/>
                </a:cxn>
                <a:cxn ang="0">
                  <a:pos x="194" y="88"/>
                </a:cxn>
                <a:cxn ang="0">
                  <a:pos x="199" y="100"/>
                </a:cxn>
                <a:cxn ang="0">
                  <a:pos x="242" y="115"/>
                </a:cxn>
                <a:cxn ang="0">
                  <a:pos x="208" y="119"/>
                </a:cxn>
                <a:cxn ang="0">
                  <a:pos x="178" y="135"/>
                </a:cxn>
                <a:cxn ang="0">
                  <a:pos x="141" y="140"/>
                </a:cxn>
                <a:cxn ang="0">
                  <a:pos x="119" y="137"/>
                </a:cxn>
                <a:cxn ang="0">
                  <a:pos x="86" y="135"/>
                </a:cxn>
                <a:cxn ang="0">
                  <a:pos x="59" y="130"/>
                </a:cxn>
                <a:cxn ang="0">
                  <a:pos x="1" y="158"/>
                </a:cxn>
                <a:cxn ang="0">
                  <a:pos x="29" y="171"/>
                </a:cxn>
                <a:cxn ang="0">
                  <a:pos x="60" y="208"/>
                </a:cxn>
                <a:cxn ang="0">
                  <a:pos x="67" y="265"/>
                </a:cxn>
                <a:cxn ang="0">
                  <a:pos x="41" y="277"/>
                </a:cxn>
                <a:cxn ang="0">
                  <a:pos x="86" y="340"/>
                </a:cxn>
                <a:cxn ang="0">
                  <a:pos x="65" y="361"/>
                </a:cxn>
                <a:cxn ang="0">
                  <a:pos x="98" y="400"/>
                </a:cxn>
                <a:cxn ang="0">
                  <a:pos x="146" y="416"/>
                </a:cxn>
                <a:cxn ang="0">
                  <a:pos x="125" y="439"/>
                </a:cxn>
                <a:cxn ang="0">
                  <a:pos x="187" y="443"/>
                </a:cxn>
                <a:cxn ang="0">
                  <a:pos x="272" y="477"/>
                </a:cxn>
                <a:cxn ang="0">
                  <a:pos x="345" y="445"/>
                </a:cxn>
                <a:cxn ang="0">
                  <a:pos x="381" y="481"/>
                </a:cxn>
                <a:cxn ang="0">
                  <a:pos x="492" y="491"/>
                </a:cxn>
                <a:cxn ang="0">
                  <a:pos x="542" y="456"/>
                </a:cxn>
                <a:cxn ang="0">
                  <a:pos x="595" y="462"/>
                </a:cxn>
                <a:cxn ang="0">
                  <a:pos x="617" y="517"/>
                </a:cxn>
                <a:cxn ang="0">
                  <a:pos x="669" y="462"/>
                </a:cxn>
                <a:cxn ang="0">
                  <a:pos x="764" y="454"/>
                </a:cxn>
                <a:cxn ang="0">
                  <a:pos x="882" y="455"/>
                </a:cxn>
                <a:cxn ang="0">
                  <a:pos x="983" y="447"/>
                </a:cxn>
                <a:cxn ang="0">
                  <a:pos x="1079" y="436"/>
                </a:cxn>
              </a:cxnLst>
              <a:rect l="0" t="0" r="r" b="b"/>
              <a:pathLst>
                <a:path w="1171" h="518">
                  <a:moveTo>
                    <a:pt x="197" y="70"/>
                  </a:moveTo>
                  <a:cubicBezTo>
                    <a:pt x="193" y="69"/>
                    <a:pt x="188" y="67"/>
                    <a:pt x="184" y="66"/>
                  </a:cubicBezTo>
                  <a:cubicBezTo>
                    <a:pt x="181" y="65"/>
                    <a:pt x="178" y="66"/>
                    <a:pt x="175" y="65"/>
                  </a:cubicBezTo>
                  <a:cubicBezTo>
                    <a:pt x="172" y="65"/>
                    <a:pt x="171" y="64"/>
                    <a:pt x="168" y="63"/>
                  </a:cubicBezTo>
                  <a:cubicBezTo>
                    <a:pt x="165" y="61"/>
                    <a:pt x="164" y="62"/>
                    <a:pt x="162" y="59"/>
                  </a:cubicBezTo>
                  <a:cubicBezTo>
                    <a:pt x="161" y="58"/>
                    <a:pt x="160" y="56"/>
                    <a:pt x="159" y="55"/>
                  </a:cubicBezTo>
                  <a:cubicBezTo>
                    <a:pt x="158" y="53"/>
                    <a:pt x="156" y="54"/>
                    <a:pt x="154" y="54"/>
                  </a:cubicBezTo>
                  <a:cubicBezTo>
                    <a:pt x="152" y="53"/>
                    <a:pt x="150" y="51"/>
                    <a:pt x="148" y="49"/>
                  </a:cubicBezTo>
                  <a:cubicBezTo>
                    <a:pt x="145" y="47"/>
                    <a:pt x="142" y="48"/>
                    <a:pt x="140" y="47"/>
                  </a:cubicBezTo>
                  <a:cubicBezTo>
                    <a:pt x="135" y="45"/>
                    <a:pt x="137" y="41"/>
                    <a:pt x="135" y="37"/>
                  </a:cubicBezTo>
                  <a:cubicBezTo>
                    <a:pt x="135" y="36"/>
                    <a:pt x="134" y="35"/>
                    <a:pt x="134" y="34"/>
                  </a:cubicBezTo>
                  <a:cubicBezTo>
                    <a:pt x="134" y="32"/>
                    <a:pt x="134" y="30"/>
                    <a:pt x="134" y="28"/>
                  </a:cubicBezTo>
                  <a:cubicBezTo>
                    <a:pt x="133" y="24"/>
                    <a:pt x="131" y="23"/>
                    <a:pt x="131" y="19"/>
                  </a:cubicBezTo>
                  <a:cubicBezTo>
                    <a:pt x="131" y="16"/>
                    <a:pt x="130" y="14"/>
                    <a:pt x="128" y="11"/>
                  </a:cubicBezTo>
                  <a:cubicBezTo>
                    <a:pt x="128" y="11"/>
                    <a:pt x="127" y="11"/>
                    <a:pt x="126" y="11"/>
                  </a:cubicBezTo>
                  <a:cubicBezTo>
                    <a:pt x="123" y="12"/>
                    <a:pt x="121" y="13"/>
                    <a:pt x="118" y="13"/>
                  </a:cubicBezTo>
                  <a:cubicBezTo>
                    <a:pt x="116" y="13"/>
                    <a:pt x="114" y="14"/>
                    <a:pt x="112" y="15"/>
                  </a:cubicBezTo>
                  <a:cubicBezTo>
                    <a:pt x="111" y="15"/>
                    <a:pt x="110" y="16"/>
                    <a:pt x="108" y="16"/>
                  </a:cubicBezTo>
                  <a:cubicBezTo>
                    <a:pt x="106" y="16"/>
                    <a:pt x="107" y="16"/>
                    <a:pt x="106" y="14"/>
                  </a:cubicBezTo>
                  <a:cubicBezTo>
                    <a:pt x="105" y="13"/>
                    <a:pt x="103" y="11"/>
                    <a:pt x="102" y="10"/>
                  </a:cubicBezTo>
                  <a:cubicBezTo>
                    <a:pt x="101" y="8"/>
                    <a:pt x="101" y="8"/>
                    <a:pt x="99" y="8"/>
                  </a:cubicBezTo>
                  <a:cubicBezTo>
                    <a:pt x="98" y="7"/>
                    <a:pt x="98" y="6"/>
                    <a:pt x="97" y="6"/>
                  </a:cubicBezTo>
                  <a:cubicBezTo>
                    <a:pt x="96" y="5"/>
                    <a:pt x="95" y="6"/>
                    <a:pt x="93" y="6"/>
                  </a:cubicBezTo>
                  <a:cubicBezTo>
                    <a:pt x="90" y="6"/>
                    <a:pt x="88" y="3"/>
                    <a:pt x="86" y="2"/>
                  </a:cubicBezTo>
                  <a:cubicBezTo>
                    <a:pt x="83" y="0"/>
                    <a:pt x="82" y="3"/>
                    <a:pt x="80" y="4"/>
                  </a:cubicBezTo>
                  <a:cubicBezTo>
                    <a:pt x="76" y="6"/>
                    <a:pt x="74" y="8"/>
                    <a:pt x="71" y="10"/>
                  </a:cubicBezTo>
                  <a:cubicBezTo>
                    <a:pt x="69" y="11"/>
                    <a:pt x="69" y="11"/>
                    <a:pt x="67" y="10"/>
                  </a:cubicBezTo>
                  <a:cubicBezTo>
                    <a:pt x="66" y="10"/>
                    <a:pt x="65" y="11"/>
                    <a:pt x="64" y="11"/>
                  </a:cubicBezTo>
                  <a:cubicBezTo>
                    <a:pt x="62" y="12"/>
                    <a:pt x="60" y="12"/>
                    <a:pt x="58" y="12"/>
                  </a:cubicBezTo>
                  <a:cubicBezTo>
                    <a:pt x="57" y="13"/>
                    <a:pt x="55" y="14"/>
                    <a:pt x="53" y="16"/>
                  </a:cubicBezTo>
                  <a:cubicBezTo>
                    <a:pt x="53" y="16"/>
                    <a:pt x="53" y="17"/>
                    <a:pt x="53" y="17"/>
                  </a:cubicBezTo>
                  <a:cubicBezTo>
                    <a:pt x="52" y="18"/>
                    <a:pt x="52" y="18"/>
                    <a:pt x="51" y="19"/>
                  </a:cubicBezTo>
                  <a:cubicBezTo>
                    <a:pt x="51" y="19"/>
                    <a:pt x="50" y="19"/>
                    <a:pt x="50" y="20"/>
                  </a:cubicBezTo>
                  <a:cubicBezTo>
                    <a:pt x="50" y="20"/>
                    <a:pt x="49" y="20"/>
                    <a:pt x="50" y="21"/>
                  </a:cubicBezTo>
                  <a:cubicBezTo>
                    <a:pt x="47" y="21"/>
                    <a:pt x="47" y="21"/>
                    <a:pt x="45" y="23"/>
                  </a:cubicBezTo>
                  <a:cubicBezTo>
                    <a:pt x="44" y="24"/>
                    <a:pt x="44" y="25"/>
                    <a:pt x="43" y="27"/>
                  </a:cubicBezTo>
                  <a:cubicBezTo>
                    <a:pt x="43" y="29"/>
                    <a:pt x="43" y="31"/>
                    <a:pt x="43" y="33"/>
                  </a:cubicBezTo>
                  <a:cubicBezTo>
                    <a:pt x="43" y="32"/>
                    <a:pt x="43" y="31"/>
                    <a:pt x="43" y="30"/>
                  </a:cubicBezTo>
                  <a:cubicBezTo>
                    <a:pt x="45" y="31"/>
                    <a:pt x="46" y="33"/>
                    <a:pt x="48" y="34"/>
                  </a:cubicBezTo>
                  <a:cubicBezTo>
                    <a:pt x="51" y="35"/>
                    <a:pt x="54" y="34"/>
                    <a:pt x="54" y="38"/>
                  </a:cubicBezTo>
                  <a:cubicBezTo>
                    <a:pt x="54" y="43"/>
                    <a:pt x="54" y="46"/>
                    <a:pt x="55" y="50"/>
                  </a:cubicBezTo>
                  <a:cubicBezTo>
                    <a:pt x="55" y="54"/>
                    <a:pt x="57" y="59"/>
                    <a:pt x="53" y="61"/>
                  </a:cubicBezTo>
                  <a:cubicBezTo>
                    <a:pt x="51" y="63"/>
                    <a:pt x="46" y="61"/>
                    <a:pt x="44" y="63"/>
                  </a:cubicBezTo>
                  <a:cubicBezTo>
                    <a:pt x="40" y="65"/>
                    <a:pt x="40" y="70"/>
                    <a:pt x="40" y="74"/>
                  </a:cubicBezTo>
                  <a:cubicBezTo>
                    <a:pt x="40" y="78"/>
                    <a:pt x="39" y="81"/>
                    <a:pt x="39" y="85"/>
                  </a:cubicBezTo>
                  <a:cubicBezTo>
                    <a:pt x="39" y="87"/>
                    <a:pt x="39" y="87"/>
                    <a:pt x="38" y="89"/>
                  </a:cubicBezTo>
                  <a:cubicBezTo>
                    <a:pt x="37" y="91"/>
                    <a:pt x="33" y="93"/>
                    <a:pt x="31" y="95"/>
                  </a:cubicBezTo>
                  <a:cubicBezTo>
                    <a:pt x="28" y="97"/>
                    <a:pt x="27" y="100"/>
                    <a:pt x="25" y="103"/>
                  </a:cubicBezTo>
                  <a:cubicBezTo>
                    <a:pt x="24" y="105"/>
                    <a:pt x="24" y="107"/>
                    <a:pt x="22" y="107"/>
                  </a:cubicBezTo>
                  <a:cubicBezTo>
                    <a:pt x="22" y="107"/>
                    <a:pt x="21" y="106"/>
                    <a:pt x="19" y="104"/>
                  </a:cubicBezTo>
                  <a:cubicBezTo>
                    <a:pt x="19" y="105"/>
                    <a:pt x="19" y="106"/>
                    <a:pt x="19" y="107"/>
                  </a:cubicBezTo>
                  <a:cubicBezTo>
                    <a:pt x="20" y="108"/>
                    <a:pt x="21" y="109"/>
                    <a:pt x="21" y="111"/>
                  </a:cubicBezTo>
                  <a:cubicBezTo>
                    <a:pt x="22" y="116"/>
                    <a:pt x="22" y="120"/>
                    <a:pt x="29" y="121"/>
                  </a:cubicBezTo>
                  <a:cubicBezTo>
                    <a:pt x="35" y="122"/>
                    <a:pt x="42" y="121"/>
                    <a:pt x="48" y="121"/>
                  </a:cubicBezTo>
                  <a:cubicBezTo>
                    <a:pt x="50" y="121"/>
                    <a:pt x="51" y="121"/>
                    <a:pt x="52" y="122"/>
                  </a:cubicBezTo>
                  <a:cubicBezTo>
                    <a:pt x="51" y="121"/>
                    <a:pt x="56" y="124"/>
                    <a:pt x="56" y="123"/>
                  </a:cubicBezTo>
                  <a:cubicBezTo>
                    <a:pt x="57" y="124"/>
                    <a:pt x="57" y="126"/>
                    <a:pt x="58" y="126"/>
                  </a:cubicBezTo>
                  <a:cubicBezTo>
                    <a:pt x="58" y="126"/>
                    <a:pt x="59" y="126"/>
                    <a:pt x="59" y="126"/>
                  </a:cubicBezTo>
                  <a:cubicBezTo>
                    <a:pt x="59" y="126"/>
                    <a:pt x="59" y="126"/>
                    <a:pt x="59" y="125"/>
                  </a:cubicBezTo>
                  <a:cubicBezTo>
                    <a:pt x="59" y="124"/>
                    <a:pt x="58" y="123"/>
                    <a:pt x="59" y="122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60" y="122"/>
                    <a:pt x="60" y="123"/>
                    <a:pt x="61" y="123"/>
                  </a:cubicBezTo>
                  <a:cubicBezTo>
                    <a:pt x="61" y="124"/>
                    <a:pt x="61" y="125"/>
                    <a:pt x="61" y="12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2" y="127"/>
                    <a:pt x="62" y="127"/>
                    <a:pt x="62" y="128"/>
                  </a:cubicBezTo>
                  <a:cubicBezTo>
                    <a:pt x="62" y="128"/>
                    <a:pt x="63" y="128"/>
                    <a:pt x="63" y="128"/>
                  </a:cubicBezTo>
                  <a:cubicBezTo>
                    <a:pt x="64" y="128"/>
                    <a:pt x="64" y="128"/>
                    <a:pt x="65" y="128"/>
                  </a:cubicBezTo>
                  <a:cubicBezTo>
                    <a:pt x="66" y="128"/>
                    <a:pt x="67" y="128"/>
                    <a:pt x="68" y="128"/>
                  </a:cubicBezTo>
                  <a:cubicBezTo>
                    <a:pt x="69" y="127"/>
                    <a:pt x="70" y="126"/>
                    <a:pt x="71" y="126"/>
                  </a:cubicBezTo>
                  <a:cubicBezTo>
                    <a:pt x="72" y="125"/>
                    <a:pt x="73" y="124"/>
                    <a:pt x="74" y="124"/>
                  </a:cubicBezTo>
                  <a:cubicBezTo>
                    <a:pt x="75" y="124"/>
                    <a:pt x="76" y="124"/>
                    <a:pt x="76" y="124"/>
                  </a:cubicBezTo>
                  <a:cubicBezTo>
                    <a:pt x="77" y="123"/>
                    <a:pt x="78" y="122"/>
                    <a:pt x="79" y="121"/>
                  </a:cubicBezTo>
                  <a:cubicBezTo>
                    <a:pt x="81" y="120"/>
                    <a:pt x="84" y="119"/>
                    <a:pt x="85" y="117"/>
                  </a:cubicBezTo>
                  <a:cubicBezTo>
                    <a:pt x="85" y="116"/>
                    <a:pt x="85" y="115"/>
                    <a:pt x="86" y="114"/>
                  </a:cubicBezTo>
                  <a:cubicBezTo>
                    <a:pt x="87" y="113"/>
                    <a:pt x="90" y="112"/>
                    <a:pt x="92" y="112"/>
                  </a:cubicBezTo>
                  <a:cubicBezTo>
                    <a:pt x="93" y="112"/>
                    <a:pt x="94" y="112"/>
                    <a:pt x="95" y="112"/>
                  </a:cubicBezTo>
                  <a:cubicBezTo>
                    <a:pt x="97" y="112"/>
                    <a:pt x="100" y="112"/>
                    <a:pt x="103" y="112"/>
                  </a:cubicBezTo>
                  <a:cubicBezTo>
                    <a:pt x="104" y="112"/>
                    <a:pt x="105" y="112"/>
                    <a:pt x="106" y="112"/>
                  </a:cubicBezTo>
                  <a:cubicBezTo>
                    <a:pt x="107" y="111"/>
                    <a:pt x="107" y="111"/>
                    <a:pt x="108" y="111"/>
                  </a:cubicBezTo>
                  <a:cubicBezTo>
                    <a:pt x="109" y="110"/>
                    <a:pt x="111" y="111"/>
                    <a:pt x="113" y="111"/>
                  </a:cubicBezTo>
                  <a:cubicBezTo>
                    <a:pt x="113" y="111"/>
                    <a:pt x="114" y="111"/>
                    <a:pt x="115" y="111"/>
                  </a:cubicBezTo>
                  <a:cubicBezTo>
                    <a:pt x="117" y="113"/>
                    <a:pt x="119" y="114"/>
                    <a:pt x="121" y="115"/>
                  </a:cubicBezTo>
                  <a:cubicBezTo>
                    <a:pt x="124" y="116"/>
                    <a:pt x="127" y="117"/>
                    <a:pt x="129" y="114"/>
                  </a:cubicBezTo>
                  <a:cubicBezTo>
                    <a:pt x="130" y="112"/>
                    <a:pt x="132" y="109"/>
                    <a:pt x="132" y="107"/>
                  </a:cubicBezTo>
                  <a:cubicBezTo>
                    <a:pt x="131" y="106"/>
                    <a:pt x="130" y="105"/>
                    <a:pt x="129" y="104"/>
                  </a:cubicBezTo>
                  <a:cubicBezTo>
                    <a:pt x="128" y="104"/>
                    <a:pt x="128" y="103"/>
                    <a:pt x="127" y="102"/>
                  </a:cubicBezTo>
                  <a:cubicBezTo>
                    <a:pt x="126" y="101"/>
                    <a:pt x="125" y="101"/>
                    <a:pt x="124" y="101"/>
                  </a:cubicBezTo>
                  <a:cubicBezTo>
                    <a:pt x="121" y="101"/>
                    <a:pt x="119" y="101"/>
                    <a:pt x="117" y="100"/>
                  </a:cubicBezTo>
                  <a:cubicBezTo>
                    <a:pt x="115" y="100"/>
                    <a:pt x="113" y="99"/>
                    <a:pt x="111" y="98"/>
                  </a:cubicBezTo>
                  <a:cubicBezTo>
                    <a:pt x="109" y="98"/>
                    <a:pt x="105" y="98"/>
                    <a:pt x="104" y="96"/>
                  </a:cubicBezTo>
                  <a:cubicBezTo>
                    <a:pt x="103" y="95"/>
                    <a:pt x="104" y="94"/>
                    <a:pt x="104" y="93"/>
                  </a:cubicBezTo>
                  <a:cubicBezTo>
                    <a:pt x="105" y="92"/>
                    <a:pt x="107" y="92"/>
                    <a:pt x="108" y="92"/>
                  </a:cubicBezTo>
                  <a:cubicBezTo>
                    <a:pt x="110" y="91"/>
                    <a:pt x="112" y="91"/>
                    <a:pt x="114" y="91"/>
                  </a:cubicBezTo>
                  <a:cubicBezTo>
                    <a:pt x="116" y="91"/>
                    <a:pt x="118" y="91"/>
                    <a:pt x="120" y="91"/>
                  </a:cubicBezTo>
                  <a:cubicBezTo>
                    <a:pt x="123" y="91"/>
                    <a:pt x="125" y="92"/>
                    <a:pt x="128" y="92"/>
                  </a:cubicBezTo>
                  <a:cubicBezTo>
                    <a:pt x="129" y="92"/>
                    <a:pt x="129" y="92"/>
                    <a:pt x="130" y="91"/>
                  </a:cubicBezTo>
                  <a:cubicBezTo>
                    <a:pt x="131" y="91"/>
                    <a:pt x="132" y="90"/>
                    <a:pt x="132" y="89"/>
                  </a:cubicBezTo>
                  <a:cubicBezTo>
                    <a:pt x="132" y="88"/>
                    <a:pt x="131" y="87"/>
                    <a:pt x="132" y="87"/>
                  </a:cubicBezTo>
                  <a:cubicBezTo>
                    <a:pt x="133" y="86"/>
                    <a:pt x="135" y="87"/>
                    <a:pt x="136" y="87"/>
                  </a:cubicBezTo>
                  <a:cubicBezTo>
                    <a:pt x="138" y="87"/>
                    <a:pt x="140" y="87"/>
                    <a:pt x="141" y="88"/>
                  </a:cubicBezTo>
                  <a:cubicBezTo>
                    <a:pt x="143" y="88"/>
                    <a:pt x="145" y="88"/>
                    <a:pt x="146" y="88"/>
                  </a:cubicBezTo>
                  <a:cubicBezTo>
                    <a:pt x="150" y="87"/>
                    <a:pt x="153" y="87"/>
                    <a:pt x="156" y="88"/>
                  </a:cubicBezTo>
                  <a:cubicBezTo>
                    <a:pt x="157" y="89"/>
                    <a:pt x="158" y="90"/>
                    <a:pt x="159" y="90"/>
                  </a:cubicBezTo>
                  <a:cubicBezTo>
                    <a:pt x="160" y="91"/>
                    <a:pt x="161" y="91"/>
                    <a:pt x="162" y="92"/>
                  </a:cubicBezTo>
                  <a:cubicBezTo>
                    <a:pt x="164" y="92"/>
                    <a:pt x="166" y="93"/>
                    <a:pt x="168" y="94"/>
                  </a:cubicBezTo>
                  <a:cubicBezTo>
                    <a:pt x="171" y="95"/>
                    <a:pt x="173" y="95"/>
                    <a:pt x="175" y="96"/>
                  </a:cubicBezTo>
                  <a:cubicBezTo>
                    <a:pt x="177" y="97"/>
                    <a:pt x="178" y="96"/>
                    <a:pt x="179" y="95"/>
                  </a:cubicBezTo>
                  <a:cubicBezTo>
                    <a:pt x="180" y="95"/>
                    <a:pt x="181" y="94"/>
                    <a:pt x="183" y="94"/>
                  </a:cubicBezTo>
                  <a:cubicBezTo>
                    <a:pt x="183" y="94"/>
                    <a:pt x="184" y="95"/>
                    <a:pt x="185" y="95"/>
                  </a:cubicBezTo>
                  <a:cubicBezTo>
                    <a:pt x="185" y="95"/>
                    <a:pt x="187" y="95"/>
                    <a:pt x="187" y="95"/>
                  </a:cubicBezTo>
                  <a:cubicBezTo>
                    <a:pt x="188" y="95"/>
                    <a:pt x="188" y="94"/>
                    <a:pt x="189" y="94"/>
                  </a:cubicBezTo>
                  <a:cubicBezTo>
                    <a:pt x="189" y="93"/>
                    <a:pt x="190" y="92"/>
                    <a:pt x="191" y="92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2" y="90"/>
                    <a:pt x="191" y="88"/>
                    <a:pt x="191" y="87"/>
                  </a:cubicBezTo>
                  <a:cubicBezTo>
                    <a:pt x="191" y="85"/>
                    <a:pt x="192" y="84"/>
                    <a:pt x="193" y="82"/>
                  </a:cubicBezTo>
                  <a:cubicBezTo>
                    <a:pt x="194" y="80"/>
                    <a:pt x="195" y="77"/>
                    <a:pt x="195" y="75"/>
                  </a:cubicBezTo>
                  <a:cubicBezTo>
                    <a:pt x="195" y="74"/>
                    <a:pt x="196" y="72"/>
                    <a:pt x="197" y="71"/>
                  </a:cubicBezTo>
                  <a:cubicBezTo>
                    <a:pt x="197" y="71"/>
                    <a:pt x="197" y="70"/>
                    <a:pt x="197" y="70"/>
                  </a:cubicBezTo>
                  <a:moveTo>
                    <a:pt x="312" y="435"/>
                  </a:moveTo>
                  <a:cubicBezTo>
                    <a:pt x="312" y="435"/>
                    <a:pt x="311" y="435"/>
                    <a:pt x="311" y="435"/>
                  </a:cubicBezTo>
                  <a:cubicBezTo>
                    <a:pt x="311" y="435"/>
                    <a:pt x="312" y="435"/>
                    <a:pt x="312" y="435"/>
                  </a:cubicBezTo>
                  <a:moveTo>
                    <a:pt x="668" y="97"/>
                  </a:moveTo>
                  <a:cubicBezTo>
                    <a:pt x="669" y="97"/>
                    <a:pt x="670" y="97"/>
                    <a:pt x="671" y="97"/>
                  </a:cubicBezTo>
                  <a:cubicBezTo>
                    <a:pt x="670" y="97"/>
                    <a:pt x="669" y="97"/>
                    <a:pt x="668" y="97"/>
                  </a:cubicBezTo>
                  <a:cubicBezTo>
                    <a:pt x="668" y="97"/>
                    <a:pt x="668" y="97"/>
                    <a:pt x="668" y="97"/>
                  </a:cubicBezTo>
                  <a:moveTo>
                    <a:pt x="1170" y="445"/>
                  </a:moveTo>
                  <a:cubicBezTo>
                    <a:pt x="1169" y="442"/>
                    <a:pt x="1168" y="441"/>
                    <a:pt x="1165" y="439"/>
                  </a:cubicBezTo>
                  <a:cubicBezTo>
                    <a:pt x="1161" y="437"/>
                    <a:pt x="1159" y="436"/>
                    <a:pt x="1156" y="432"/>
                  </a:cubicBezTo>
                  <a:cubicBezTo>
                    <a:pt x="1151" y="428"/>
                    <a:pt x="1148" y="425"/>
                    <a:pt x="1149" y="419"/>
                  </a:cubicBezTo>
                  <a:cubicBezTo>
                    <a:pt x="1149" y="416"/>
                    <a:pt x="1149" y="413"/>
                    <a:pt x="1149" y="410"/>
                  </a:cubicBezTo>
                  <a:cubicBezTo>
                    <a:pt x="1149" y="407"/>
                    <a:pt x="1151" y="399"/>
                    <a:pt x="1149" y="396"/>
                  </a:cubicBezTo>
                  <a:cubicBezTo>
                    <a:pt x="1149" y="396"/>
                    <a:pt x="1145" y="394"/>
                    <a:pt x="1144" y="394"/>
                  </a:cubicBezTo>
                  <a:cubicBezTo>
                    <a:pt x="1142" y="393"/>
                    <a:pt x="1139" y="391"/>
                    <a:pt x="1137" y="390"/>
                  </a:cubicBezTo>
                  <a:cubicBezTo>
                    <a:pt x="1133" y="389"/>
                    <a:pt x="1131" y="391"/>
                    <a:pt x="1130" y="387"/>
                  </a:cubicBezTo>
                  <a:cubicBezTo>
                    <a:pt x="1129" y="384"/>
                    <a:pt x="1130" y="382"/>
                    <a:pt x="1132" y="380"/>
                  </a:cubicBezTo>
                  <a:cubicBezTo>
                    <a:pt x="1134" y="378"/>
                    <a:pt x="1134" y="380"/>
                    <a:pt x="1136" y="376"/>
                  </a:cubicBezTo>
                  <a:cubicBezTo>
                    <a:pt x="1138" y="372"/>
                    <a:pt x="1141" y="368"/>
                    <a:pt x="1142" y="363"/>
                  </a:cubicBezTo>
                  <a:cubicBezTo>
                    <a:pt x="1142" y="361"/>
                    <a:pt x="1143" y="354"/>
                    <a:pt x="1141" y="352"/>
                  </a:cubicBezTo>
                  <a:cubicBezTo>
                    <a:pt x="1140" y="350"/>
                    <a:pt x="1136" y="351"/>
                    <a:pt x="1134" y="351"/>
                  </a:cubicBezTo>
                  <a:cubicBezTo>
                    <a:pt x="1130" y="350"/>
                    <a:pt x="1131" y="347"/>
                    <a:pt x="1131" y="343"/>
                  </a:cubicBezTo>
                  <a:cubicBezTo>
                    <a:pt x="1131" y="339"/>
                    <a:pt x="1131" y="335"/>
                    <a:pt x="1131" y="331"/>
                  </a:cubicBezTo>
                  <a:cubicBezTo>
                    <a:pt x="1131" y="322"/>
                    <a:pt x="1128" y="312"/>
                    <a:pt x="1124" y="302"/>
                  </a:cubicBezTo>
                  <a:cubicBezTo>
                    <a:pt x="1123" y="299"/>
                    <a:pt x="1120" y="295"/>
                    <a:pt x="1119" y="291"/>
                  </a:cubicBezTo>
                  <a:cubicBezTo>
                    <a:pt x="1116" y="283"/>
                    <a:pt x="1122" y="275"/>
                    <a:pt x="1120" y="268"/>
                  </a:cubicBezTo>
                  <a:cubicBezTo>
                    <a:pt x="1118" y="267"/>
                    <a:pt x="1114" y="268"/>
                    <a:pt x="1111" y="266"/>
                  </a:cubicBezTo>
                  <a:cubicBezTo>
                    <a:pt x="1106" y="263"/>
                    <a:pt x="1111" y="262"/>
                    <a:pt x="1115" y="261"/>
                  </a:cubicBezTo>
                  <a:cubicBezTo>
                    <a:pt x="1119" y="261"/>
                    <a:pt x="1126" y="261"/>
                    <a:pt x="1128" y="257"/>
                  </a:cubicBezTo>
                  <a:cubicBezTo>
                    <a:pt x="1129" y="256"/>
                    <a:pt x="1129" y="255"/>
                    <a:pt x="1129" y="253"/>
                  </a:cubicBezTo>
                  <a:cubicBezTo>
                    <a:pt x="1130" y="252"/>
                    <a:pt x="1132" y="250"/>
                    <a:pt x="1133" y="248"/>
                  </a:cubicBezTo>
                  <a:cubicBezTo>
                    <a:pt x="1135" y="245"/>
                    <a:pt x="1136" y="241"/>
                    <a:pt x="1139" y="238"/>
                  </a:cubicBezTo>
                  <a:cubicBezTo>
                    <a:pt x="1140" y="237"/>
                    <a:pt x="1142" y="236"/>
                    <a:pt x="1144" y="235"/>
                  </a:cubicBezTo>
                  <a:cubicBezTo>
                    <a:pt x="1146" y="234"/>
                    <a:pt x="1149" y="232"/>
                    <a:pt x="1151" y="230"/>
                  </a:cubicBezTo>
                  <a:cubicBezTo>
                    <a:pt x="1147" y="228"/>
                    <a:pt x="1144" y="226"/>
                    <a:pt x="1140" y="224"/>
                  </a:cubicBezTo>
                  <a:cubicBezTo>
                    <a:pt x="1140" y="224"/>
                    <a:pt x="1133" y="222"/>
                    <a:pt x="1133" y="221"/>
                  </a:cubicBezTo>
                  <a:cubicBezTo>
                    <a:pt x="1131" y="220"/>
                    <a:pt x="1131" y="218"/>
                    <a:pt x="1130" y="216"/>
                  </a:cubicBezTo>
                  <a:cubicBezTo>
                    <a:pt x="1125" y="213"/>
                    <a:pt x="1119" y="214"/>
                    <a:pt x="1113" y="214"/>
                  </a:cubicBezTo>
                  <a:cubicBezTo>
                    <a:pt x="1104" y="213"/>
                    <a:pt x="1096" y="206"/>
                    <a:pt x="1090" y="201"/>
                  </a:cubicBezTo>
                  <a:cubicBezTo>
                    <a:pt x="1084" y="195"/>
                    <a:pt x="1083" y="190"/>
                    <a:pt x="1081" y="181"/>
                  </a:cubicBezTo>
                  <a:cubicBezTo>
                    <a:pt x="1080" y="178"/>
                    <a:pt x="1079" y="177"/>
                    <a:pt x="1078" y="175"/>
                  </a:cubicBezTo>
                  <a:cubicBezTo>
                    <a:pt x="1077" y="172"/>
                    <a:pt x="1078" y="169"/>
                    <a:pt x="1079" y="167"/>
                  </a:cubicBezTo>
                  <a:cubicBezTo>
                    <a:pt x="1081" y="161"/>
                    <a:pt x="1085" y="154"/>
                    <a:pt x="1084" y="148"/>
                  </a:cubicBezTo>
                  <a:cubicBezTo>
                    <a:pt x="1084" y="146"/>
                    <a:pt x="1083" y="144"/>
                    <a:pt x="1082" y="142"/>
                  </a:cubicBezTo>
                  <a:cubicBezTo>
                    <a:pt x="1082" y="141"/>
                    <a:pt x="1079" y="138"/>
                    <a:pt x="1078" y="136"/>
                  </a:cubicBezTo>
                  <a:cubicBezTo>
                    <a:pt x="1077" y="134"/>
                    <a:pt x="1072" y="133"/>
                    <a:pt x="1072" y="131"/>
                  </a:cubicBezTo>
                  <a:cubicBezTo>
                    <a:pt x="1068" y="125"/>
                    <a:pt x="1082" y="122"/>
                    <a:pt x="1080" y="116"/>
                  </a:cubicBezTo>
                  <a:cubicBezTo>
                    <a:pt x="1072" y="114"/>
                    <a:pt x="1065" y="111"/>
                    <a:pt x="1057" y="108"/>
                  </a:cubicBezTo>
                  <a:cubicBezTo>
                    <a:pt x="1056" y="107"/>
                    <a:pt x="1054" y="107"/>
                    <a:pt x="1052" y="107"/>
                  </a:cubicBezTo>
                  <a:cubicBezTo>
                    <a:pt x="1051" y="106"/>
                    <a:pt x="1051" y="106"/>
                    <a:pt x="1049" y="105"/>
                  </a:cubicBezTo>
                  <a:cubicBezTo>
                    <a:pt x="1047" y="104"/>
                    <a:pt x="1045" y="104"/>
                    <a:pt x="1045" y="101"/>
                  </a:cubicBezTo>
                  <a:cubicBezTo>
                    <a:pt x="1045" y="98"/>
                    <a:pt x="1047" y="96"/>
                    <a:pt x="1047" y="94"/>
                  </a:cubicBezTo>
                  <a:cubicBezTo>
                    <a:pt x="1044" y="93"/>
                    <a:pt x="1039" y="96"/>
                    <a:pt x="1037" y="94"/>
                  </a:cubicBezTo>
                  <a:cubicBezTo>
                    <a:pt x="1036" y="93"/>
                    <a:pt x="1035" y="90"/>
                    <a:pt x="1034" y="89"/>
                  </a:cubicBezTo>
                  <a:cubicBezTo>
                    <a:pt x="1032" y="87"/>
                    <a:pt x="1028" y="87"/>
                    <a:pt x="1027" y="85"/>
                  </a:cubicBezTo>
                  <a:cubicBezTo>
                    <a:pt x="1025" y="84"/>
                    <a:pt x="1026" y="82"/>
                    <a:pt x="1025" y="80"/>
                  </a:cubicBezTo>
                  <a:cubicBezTo>
                    <a:pt x="1023" y="77"/>
                    <a:pt x="1017" y="76"/>
                    <a:pt x="1014" y="75"/>
                  </a:cubicBezTo>
                  <a:cubicBezTo>
                    <a:pt x="1012" y="74"/>
                    <a:pt x="1008" y="72"/>
                    <a:pt x="1006" y="73"/>
                  </a:cubicBezTo>
                  <a:cubicBezTo>
                    <a:pt x="1005" y="75"/>
                    <a:pt x="1006" y="80"/>
                    <a:pt x="1006" y="81"/>
                  </a:cubicBezTo>
                  <a:cubicBezTo>
                    <a:pt x="1003" y="82"/>
                    <a:pt x="1000" y="81"/>
                    <a:pt x="996" y="81"/>
                  </a:cubicBezTo>
                  <a:cubicBezTo>
                    <a:pt x="995" y="81"/>
                    <a:pt x="992" y="81"/>
                    <a:pt x="990" y="81"/>
                  </a:cubicBezTo>
                  <a:cubicBezTo>
                    <a:pt x="988" y="82"/>
                    <a:pt x="988" y="83"/>
                    <a:pt x="986" y="83"/>
                  </a:cubicBezTo>
                  <a:cubicBezTo>
                    <a:pt x="985" y="82"/>
                    <a:pt x="983" y="82"/>
                    <a:pt x="982" y="81"/>
                  </a:cubicBezTo>
                  <a:cubicBezTo>
                    <a:pt x="981" y="81"/>
                    <a:pt x="979" y="79"/>
                    <a:pt x="978" y="79"/>
                  </a:cubicBezTo>
                  <a:cubicBezTo>
                    <a:pt x="976" y="78"/>
                    <a:pt x="973" y="79"/>
                    <a:pt x="970" y="79"/>
                  </a:cubicBezTo>
                  <a:cubicBezTo>
                    <a:pt x="969" y="79"/>
                    <a:pt x="968" y="79"/>
                    <a:pt x="967" y="79"/>
                  </a:cubicBezTo>
                  <a:cubicBezTo>
                    <a:pt x="965" y="79"/>
                    <a:pt x="966" y="80"/>
                    <a:pt x="964" y="80"/>
                  </a:cubicBezTo>
                  <a:cubicBezTo>
                    <a:pt x="962" y="82"/>
                    <a:pt x="959" y="83"/>
                    <a:pt x="955" y="83"/>
                  </a:cubicBezTo>
                  <a:cubicBezTo>
                    <a:pt x="953" y="82"/>
                    <a:pt x="951" y="81"/>
                    <a:pt x="949" y="81"/>
                  </a:cubicBezTo>
                  <a:cubicBezTo>
                    <a:pt x="945" y="80"/>
                    <a:pt x="942" y="81"/>
                    <a:pt x="938" y="81"/>
                  </a:cubicBezTo>
                  <a:cubicBezTo>
                    <a:pt x="939" y="86"/>
                    <a:pt x="930" y="93"/>
                    <a:pt x="926" y="96"/>
                  </a:cubicBezTo>
                  <a:cubicBezTo>
                    <a:pt x="926" y="97"/>
                    <a:pt x="926" y="97"/>
                    <a:pt x="925" y="97"/>
                  </a:cubicBezTo>
                  <a:cubicBezTo>
                    <a:pt x="923" y="98"/>
                    <a:pt x="921" y="98"/>
                    <a:pt x="920" y="99"/>
                  </a:cubicBezTo>
                  <a:cubicBezTo>
                    <a:pt x="919" y="99"/>
                    <a:pt x="918" y="101"/>
                    <a:pt x="917" y="102"/>
                  </a:cubicBezTo>
                  <a:cubicBezTo>
                    <a:pt x="916" y="102"/>
                    <a:pt x="914" y="103"/>
                    <a:pt x="913" y="104"/>
                  </a:cubicBezTo>
                  <a:cubicBezTo>
                    <a:pt x="910" y="105"/>
                    <a:pt x="907" y="106"/>
                    <a:pt x="904" y="107"/>
                  </a:cubicBezTo>
                  <a:cubicBezTo>
                    <a:pt x="901" y="109"/>
                    <a:pt x="897" y="110"/>
                    <a:pt x="893" y="110"/>
                  </a:cubicBezTo>
                  <a:cubicBezTo>
                    <a:pt x="886" y="110"/>
                    <a:pt x="879" y="110"/>
                    <a:pt x="874" y="115"/>
                  </a:cubicBezTo>
                  <a:cubicBezTo>
                    <a:pt x="870" y="119"/>
                    <a:pt x="866" y="120"/>
                    <a:pt x="862" y="122"/>
                  </a:cubicBezTo>
                  <a:cubicBezTo>
                    <a:pt x="854" y="125"/>
                    <a:pt x="848" y="121"/>
                    <a:pt x="841" y="118"/>
                  </a:cubicBezTo>
                  <a:cubicBezTo>
                    <a:pt x="833" y="115"/>
                    <a:pt x="824" y="117"/>
                    <a:pt x="816" y="115"/>
                  </a:cubicBezTo>
                  <a:cubicBezTo>
                    <a:pt x="814" y="114"/>
                    <a:pt x="813" y="113"/>
                    <a:pt x="812" y="112"/>
                  </a:cubicBezTo>
                  <a:cubicBezTo>
                    <a:pt x="810" y="112"/>
                    <a:pt x="809" y="113"/>
                    <a:pt x="808" y="113"/>
                  </a:cubicBezTo>
                  <a:cubicBezTo>
                    <a:pt x="806" y="112"/>
                    <a:pt x="804" y="111"/>
                    <a:pt x="802" y="111"/>
                  </a:cubicBezTo>
                  <a:cubicBezTo>
                    <a:pt x="801" y="111"/>
                    <a:pt x="800" y="111"/>
                    <a:pt x="799" y="111"/>
                  </a:cubicBezTo>
                  <a:cubicBezTo>
                    <a:pt x="798" y="111"/>
                    <a:pt x="798" y="113"/>
                    <a:pt x="796" y="113"/>
                  </a:cubicBezTo>
                  <a:cubicBezTo>
                    <a:pt x="794" y="114"/>
                    <a:pt x="789" y="113"/>
                    <a:pt x="786" y="113"/>
                  </a:cubicBezTo>
                  <a:cubicBezTo>
                    <a:pt x="780" y="113"/>
                    <a:pt x="777" y="114"/>
                    <a:pt x="771" y="116"/>
                  </a:cubicBezTo>
                  <a:cubicBezTo>
                    <a:pt x="768" y="118"/>
                    <a:pt x="765" y="117"/>
                    <a:pt x="762" y="118"/>
                  </a:cubicBezTo>
                  <a:cubicBezTo>
                    <a:pt x="759" y="118"/>
                    <a:pt x="757" y="121"/>
                    <a:pt x="754" y="121"/>
                  </a:cubicBezTo>
                  <a:cubicBezTo>
                    <a:pt x="753" y="121"/>
                    <a:pt x="752" y="121"/>
                    <a:pt x="752" y="121"/>
                  </a:cubicBezTo>
                  <a:cubicBezTo>
                    <a:pt x="748" y="120"/>
                    <a:pt x="743" y="119"/>
                    <a:pt x="739" y="118"/>
                  </a:cubicBezTo>
                  <a:cubicBezTo>
                    <a:pt x="736" y="116"/>
                    <a:pt x="735" y="114"/>
                    <a:pt x="731" y="113"/>
                  </a:cubicBezTo>
                  <a:cubicBezTo>
                    <a:pt x="729" y="112"/>
                    <a:pt x="726" y="113"/>
                    <a:pt x="723" y="112"/>
                  </a:cubicBezTo>
                  <a:cubicBezTo>
                    <a:pt x="720" y="112"/>
                    <a:pt x="719" y="111"/>
                    <a:pt x="717" y="108"/>
                  </a:cubicBezTo>
                  <a:cubicBezTo>
                    <a:pt x="714" y="105"/>
                    <a:pt x="710" y="100"/>
                    <a:pt x="706" y="99"/>
                  </a:cubicBezTo>
                  <a:cubicBezTo>
                    <a:pt x="704" y="98"/>
                    <a:pt x="701" y="99"/>
                    <a:pt x="698" y="99"/>
                  </a:cubicBezTo>
                  <a:cubicBezTo>
                    <a:pt x="695" y="98"/>
                    <a:pt x="692" y="97"/>
                    <a:pt x="689" y="97"/>
                  </a:cubicBezTo>
                  <a:cubicBezTo>
                    <a:pt x="683" y="97"/>
                    <a:pt x="677" y="97"/>
                    <a:pt x="671" y="97"/>
                  </a:cubicBezTo>
                  <a:cubicBezTo>
                    <a:pt x="672" y="98"/>
                    <a:pt x="673" y="98"/>
                    <a:pt x="674" y="99"/>
                  </a:cubicBezTo>
                  <a:cubicBezTo>
                    <a:pt x="672" y="99"/>
                    <a:pt x="670" y="98"/>
                    <a:pt x="668" y="97"/>
                  </a:cubicBezTo>
                  <a:cubicBezTo>
                    <a:pt x="666" y="97"/>
                    <a:pt x="665" y="97"/>
                    <a:pt x="663" y="97"/>
                  </a:cubicBezTo>
                  <a:cubicBezTo>
                    <a:pt x="665" y="97"/>
                    <a:pt x="666" y="97"/>
                    <a:pt x="668" y="97"/>
                  </a:cubicBezTo>
                  <a:cubicBezTo>
                    <a:pt x="665" y="96"/>
                    <a:pt x="662" y="94"/>
                    <a:pt x="659" y="92"/>
                  </a:cubicBezTo>
                  <a:cubicBezTo>
                    <a:pt x="655" y="90"/>
                    <a:pt x="653" y="89"/>
                    <a:pt x="653" y="84"/>
                  </a:cubicBezTo>
                  <a:cubicBezTo>
                    <a:pt x="652" y="80"/>
                    <a:pt x="652" y="80"/>
                    <a:pt x="648" y="81"/>
                  </a:cubicBezTo>
                  <a:cubicBezTo>
                    <a:pt x="646" y="81"/>
                    <a:pt x="640" y="81"/>
                    <a:pt x="640" y="84"/>
                  </a:cubicBezTo>
                  <a:cubicBezTo>
                    <a:pt x="638" y="84"/>
                    <a:pt x="634" y="84"/>
                    <a:pt x="632" y="84"/>
                  </a:cubicBezTo>
                  <a:cubicBezTo>
                    <a:pt x="629" y="83"/>
                    <a:pt x="625" y="81"/>
                    <a:pt x="623" y="80"/>
                  </a:cubicBezTo>
                  <a:cubicBezTo>
                    <a:pt x="618" y="79"/>
                    <a:pt x="620" y="80"/>
                    <a:pt x="619" y="78"/>
                  </a:cubicBezTo>
                  <a:cubicBezTo>
                    <a:pt x="617" y="76"/>
                    <a:pt x="618" y="71"/>
                    <a:pt x="616" y="69"/>
                  </a:cubicBezTo>
                  <a:cubicBezTo>
                    <a:pt x="615" y="67"/>
                    <a:pt x="613" y="68"/>
                    <a:pt x="612" y="65"/>
                  </a:cubicBezTo>
                  <a:cubicBezTo>
                    <a:pt x="611" y="64"/>
                    <a:pt x="610" y="62"/>
                    <a:pt x="610" y="60"/>
                  </a:cubicBezTo>
                  <a:cubicBezTo>
                    <a:pt x="610" y="55"/>
                    <a:pt x="612" y="46"/>
                    <a:pt x="609" y="41"/>
                  </a:cubicBezTo>
                  <a:cubicBezTo>
                    <a:pt x="606" y="38"/>
                    <a:pt x="602" y="38"/>
                    <a:pt x="598" y="38"/>
                  </a:cubicBezTo>
                  <a:cubicBezTo>
                    <a:pt x="596" y="39"/>
                    <a:pt x="596" y="39"/>
                    <a:pt x="594" y="40"/>
                  </a:cubicBezTo>
                  <a:cubicBezTo>
                    <a:pt x="592" y="41"/>
                    <a:pt x="591" y="42"/>
                    <a:pt x="589" y="43"/>
                  </a:cubicBezTo>
                  <a:cubicBezTo>
                    <a:pt x="588" y="44"/>
                    <a:pt x="587" y="45"/>
                    <a:pt x="586" y="46"/>
                  </a:cubicBezTo>
                  <a:cubicBezTo>
                    <a:pt x="582" y="49"/>
                    <a:pt x="571" y="46"/>
                    <a:pt x="566" y="46"/>
                  </a:cubicBezTo>
                  <a:cubicBezTo>
                    <a:pt x="564" y="46"/>
                    <a:pt x="563" y="46"/>
                    <a:pt x="561" y="46"/>
                  </a:cubicBezTo>
                  <a:cubicBezTo>
                    <a:pt x="559" y="44"/>
                    <a:pt x="557" y="38"/>
                    <a:pt x="555" y="36"/>
                  </a:cubicBezTo>
                  <a:cubicBezTo>
                    <a:pt x="552" y="33"/>
                    <a:pt x="549" y="32"/>
                    <a:pt x="550" y="27"/>
                  </a:cubicBezTo>
                  <a:cubicBezTo>
                    <a:pt x="550" y="24"/>
                    <a:pt x="552" y="22"/>
                    <a:pt x="550" y="20"/>
                  </a:cubicBezTo>
                  <a:cubicBezTo>
                    <a:pt x="548" y="19"/>
                    <a:pt x="543" y="19"/>
                    <a:pt x="541" y="19"/>
                  </a:cubicBezTo>
                  <a:cubicBezTo>
                    <a:pt x="539" y="20"/>
                    <a:pt x="538" y="23"/>
                    <a:pt x="536" y="24"/>
                  </a:cubicBezTo>
                  <a:cubicBezTo>
                    <a:pt x="533" y="25"/>
                    <a:pt x="527" y="27"/>
                    <a:pt x="523" y="27"/>
                  </a:cubicBezTo>
                  <a:cubicBezTo>
                    <a:pt x="520" y="27"/>
                    <a:pt x="519" y="26"/>
                    <a:pt x="516" y="25"/>
                  </a:cubicBezTo>
                  <a:cubicBezTo>
                    <a:pt x="513" y="25"/>
                    <a:pt x="510" y="25"/>
                    <a:pt x="508" y="24"/>
                  </a:cubicBezTo>
                  <a:cubicBezTo>
                    <a:pt x="505" y="24"/>
                    <a:pt x="502" y="22"/>
                    <a:pt x="499" y="23"/>
                  </a:cubicBezTo>
                  <a:cubicBezTo>
                    <a:pt x="496" y="23"/>
                    <a:pt x="495" y="24"/>
                    <a:pt x="491" y="25"/>
                  </a:cubicBezTo>
                  <a:cubicBezTo>
                    <a:pt x="490" y="25"/>
                    <a:pt x="487" y="25"/>
                    <a:pt x="486" y="25"/>
                  </a:cubicBezTo>
                  <a:cubicBezTo>
                    <a:pt x="482" y="25"/>
                    <a:pt x="480" y="23"/>
                    <a:pt x="477" y="22"/>
                  </a:cubicBezTo>
                  <a:cubicBezTo>
                    <a:pt x="469" y="21"/>
                    <a:pt x="462" y="20"/>
                    <a:pt x="454" y="20"/>
                  </a:cubicBezTo>
                  <a:cubicBezTo>
                    <a:pt x="447" y="20"/>
                    <a:pt x="437" y="19"/>
                    <a:pt x="430" y="21"/>
                  </a:cubicBezTo>
                  <a:cubicBezTo>
                    <a:pt x="426" y="22"/>
                    <a:pt x="422" y="23"/>
                    <a:pt x="418" y="25"/>
                  </a:cubicBezTo>
                  <a:cubicBezTo>
                    <a:pt x="416" y="27"/>
                    <a:pt x="413" y="27"/>
                    <a:pt x="411" y="28"/>
                  </a:cubicBezTo>
                  <a:cubicBezTo>
                    <a:pt x="411" y="28"/>
                    <a:pt x="408" y="29"/>
                    <a:pt x="408" y="29"/>
                  </a:cubicBezTo>
                  <a:cubicBezTo>
                    <a:pt x="406" y="30"/>
                    <a:pt x="403" y="30"/>
                    <a:pt x="400" y="30"/>
                  </a:cubicBezTo>
                  <a:cubicBezTo>
                    <a:pt x="398" y="31"/>
                    <a:pt x="395" y="30"/>
                    <a:pt x="393" y="31"/>
                  </a:cubicBezTo>
                  <a:cubicBezTo>
                    <a:pt x="389" y="32"/>
                    <a:pt x="386" y="34"/>
                    <a:pt x="383" y="35"/>
                  </a:cubicBezTo>
                  <a:cubicBezTo>
                    <a:pt x="380" y="36"/>
                    <a:pt x="378" y="37"/>
                    <a:pt x="375" y="39"/>
                  </a:cubicBezTo>
                  <a:cubicBezTo>
                    <a:pt x="373" y="41"/>
                    <a:pt x="370" y="41"/>
                    <a:pt x="367" y="43"/>
                  </a:cubicBezTo>
                  <a:cubicBezTo>
                    <a:pt x="365" y="45"/>
                    <a:pt x="365" y="45"/>
                    <a:pt x="362" y="46"/>
                  </a:cubicBezTo>
                  <a:cubicBezTo>
                    <a:pt x="361" y="46"/>
                    <a:pt x="360" y="46"/>
                    <a:pt x="358" y="46"/>
                  </a:cubicBezTo>
                  <a:cubicBezTo>
                    <a:pt x="355" y="47"/>
                    <a:pt x="356" y="47"/>
                    <a:pt x="354" y="49"/>
                  </a:cubicBezTo>
                  <a:cubicBezTo>
                    <a:pt x="353" y="51"/>
                    <a:pt x="351" y="52"/>
                    <a:pt x="350" y="55"/>
                  </a:cubicBezTo>
                  <a:cubicBezTo>
                    <a:pt x="348" y="59"/>
                    <a:pt x="351" y="63"/>
                    <a:pt x="347" y="66"/>
                  </a:cubicBezTo>
                  <a:cubicBezTo>
                    <a:pt x="346" y="67"/>
                    <a:pt x="343" y="67"/>
                    <a:pt x="341" y="68"/>
                  </a:cubicBezTo>
                  <a:cubicBezTo>
                    <a:pt x="340" y="69"/>
                    <a:pt x="340" y="71"/>
                    <a:pt x="339" y="72"/>
                  </a:cubicBezTo>
                  <a:cubicBezTo>
                    <a:pt x="338" y="74"/>
                    <a:pt x="336" y="74"/>
                    <a:pt x="335" y="76"/>
                  </a:cubicBezTo>
                  <a:cubicBezTo>
                    <a:pt x="333" y="78"/>
                    <a:pt x="335" y="81"/>
                    <a:pt x="334" y="84"/>
                  </a:cubicBezTo>
                  <a:cubicBezTo>
                    <a:pt x="332" y="88"/>
                    <a:pt x="324" y="86"/>
                    <a:pt x="321" y="86"/>
                  </a:cubicBezTo>
                  <a:cubicBezTo>
                    <a:pt x="319" y="86"/>
                    <a:pt x="314" y="85"/>
                    <a:pt x="312" y="86"/>
                  </a:cubicBezTo>
                  <a:cubicBezTo>
                    <a:pt x="310" y="87"/>
                    <a:pt x="309" y="89"/>
                    <a:pt x="307" y="89"/>
                  </a:cubicBezTo>
                  <a:cubicBezTo>
                    <a:pt x="304" y="91"/>
                    <a:pt x="302" y="91"/>
                    <a:pt x="299" y="90"/>
                  </a:cubicBezTo>
                  <a:cubicBezTo>
                    <a:pt x="295" y="88"/>
                    <a:pt x="292" y="86"/>
                    <a:pt x="288" y="85"/>
                  </a:cubicBezTo>
                  <a:cubicBezTo>
                    <a:pt x="282" y="83"/>
                    <a:pt x="274" y="85"/>
                    <a:pt x="269" y="81"/>
                  </a:cubicBezTo>
                  <a:cubicBezTo>
                    <a:pt x="266" y="79"/>
                    <a:pt x="266" y="78"/>
                    <a:pt x="262" y="80"/>
                  </a:cubicBezTo>
                  <a:cubicBezTo>
                    <a:pt x="259" y="82"/>
                    <a:pt x="255" y="81"/>
                    <a:pt x="251" y="81"/>
                  </a:cubicBezTo>
                  <a:cubicBezTo>
                    <a:pt x="243" y="81"/>
                    <a:pt x="234" y="83"/>
                    <a:pt x="226" y="81"/>
                  </a:cubicBezTo>
                  <a:cubicBezTo>
                    <a:pt x="223" y="81"/>
                    <a:pt x="221" y="79"/>
                    <a:pt x="218" y="77"/>
                  </a:cubicBezTo>
                  <a:cubicBezTo>
                    <a:pt x="214" y="76"/>
                    <a:pt x="211" y="76"/>
                    <a:pt x="208" y="75"/>
                  </a:cubicBezTo>
                  <a:cubicBezTo>
                    <a:pt x="205" y="74"/>
                    <a:pt x="202" y="72"/>
                    <a:pt x="200" y="71"/>
                  </a:cubicBezTo>
                  <a:cubicBezTo>
                    <a:pt x="200" y="71"/>
                    <a:pt x="200" y="71"/>
                    <a:pt x="200" y="72"/>
                  </a:cubicBezTo>
                  <a:cubicBezTo>
                    <a:pt x="200" y="72"/>
                    <a:pt x="199" y="73"/>
                    <a:pt x="199" y="74"/>
                  </a:cubicBezTo>
                  <a:cubicBezTo>
                    <a:pt x="198" y="74"/>
                    <a:pt x="198" y="75"/>
                    <a:pt x="198" y="76"/>
                  </a:cubicBezTo>
                  <a:cubicBezTo>
                    <a:pt x="197" y="78"/>
                    <a:pt x="197" y="80"/>
                    <a:pt x="195" y="82"/>
                  </a:cubicBezTo>
                  <a:cubicBezTo>
                    <a:pt x="195" y="82"/>
                    <a:pt x="195" y="82"/>
                    <a:pt x="194" y="83"/>
                  </a:cubicBezTo>
                  <a:cubicBezTo>
                    <a:pt x="194" y="83"/>
                    <a:pt x="195" y="83"/>
                    <a:pt x="195" y="83"/>
                  </a:cubicBezTo>
                  <a:cubicBezTo>
                    <a:pt x="194" y="84"/>
                    <a:pt x="194" y="84"/>
                    <a:pt x="194" y="84"/>
                  </a:cubicBezTo>
                  <a:cubicBezTo>
                    <a:pt x="194" y="85"/>
                    <a:pt x="194" y="85"/>
                    <a:pt x="194" y="86"/>
                  </a:cubicBezTo>
                  <a:cubicBezTo>
                    <a:pt x="194" y="87"/>
                    <a:pt x="194" y="87"/>
                    <a:pt x="194" y="88"/>
                  </a:cubicBezTo>
                  <a:cubicBezTo>
                    <a:pt x="194" y="90"/>
                    <a:pt x="194" y="92"/>
                    <a:pt x="194" y="94"/>
                  </a:cubicBezTo>
                  <a:cubicBezTo>
                    <a:pt x="194" y="95"/>
                    <a:pt x="194" y="96"/>
                    <a:pt x="194" y="96"/>
                  </a:cubicBezTo>
                  <a:cubicBezTo>
                    <a:pt x="195" y="98"/>
                    <a:pt x="198" y="99"/>
                    <a:pt x="199" y="100"/>
                  </a:cubicBezTo>
                  <a:cubicBezTo>
                    <a:pt x="199" y="100"/>
                    <a:pt x="200" y="100"/>
                    <a:pt x="201" y="101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199" y="99"/>
                    <a:pt x="199" y="99"/>
                    <a:pt x="198" y="99"/>
                  </a:cubicBezTo>
                  <a:cubicBezTo>
                    <a:pt x="198" y="99"/>
                    <a:pt x="198" y="99"/>
                    <a:pt x="197" y="98"/>
                  </a:cubicBezTo>
                  <a:cubicBezTo>
                    <a:pt x="197" y="98"/>
                    <a:pt x="196" y="98"/>
                    <a:pt x="196" y="97"/>
                  </a:cubicBezTo>
                  <a:cubicBezTo>
                    <a:pt x="196" y="97"/>
                    <a:pt x="196" y="97"/>
                    <a:pt x="195" y="97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200" y="100"/>
                    <a:pt x="200" y="100"/>
                    <a:pt x="201" y="100"/>
                  </a:cubicBezTo>
                  <a:cubicBezTo>
                    <a:pt x="204" y="100"/>
                    <a:pt x="206" y="103"/>
                    <a:pt x="209" y="105"/>
                  </a:cubicBezTo>
                  <a:cubicBezTo>
                    <a:pt x="209" y="106"/>
                    <a:pt x="210" y="106"/>
                    <a:pt x="211" y="106"/>
                  </a:cubicBezTo>
                  <a:cubicBezTo>
                    <a:pt x="212" y="106"/>
                    <a:pt x="213" y="106"/>
                    <a:pt x="215" y="107"/>
                  </a:cubicBezTo>
                  <a:cubicBezTo>
                    <a:pt x="216" y="107"/>
                    <a:pt x="218" y="108"/>
                    <a:pt x="219" y="108"/>
                  </a:cubicBezTo>
                  <a:cubicBezTo>
                    <a:pt x="222" y="110"/>
                    <a:pt x="225" y="112"/>
                    <a:pt x="228" y="113"/>
                  </a:cubicBezTo>
                  <a:cubicBezTo>
                    <a:pt x="230" y="114"/>
                    <a:pt x="231" y="114"/>
                    <a:pt x="233" y="114"/>
                  </a:cubicBezTo>
                  <a:cubicBezTo>
                    <a:pt x="237" y="114"/>
                    <a:pt x="241" y="113"/>
                    <a:pt x="245" y="113"/>
                  </a:cubicBezTo>
                  <a:cubicBezTo>
                    <a:pt x="246" y="114"/>
                    <a:pt x="247" y="114"/>
                    <a:pt x="248" y="115"/>
                  </a:cubicBezTo>
                  <a:cubicBezTo>
                    <a:pt x="246" y="115"/>
                    <a:pt x="244" y="115"/>
                    <a:pt x="242" y="115"/>
                  </a:cubicBezTo>
                  <a:cubicBezTo>
                    <a:pt x="241" y="115"/>
                    <a:pt x="240" y="115"/>
                    <a:pt x="239" y="115"/>
                  </a:cubicBezTo>
                  <a:cubicBezTo>
                    <a:pt x="237" y="115"/>
                    <a:pt x="235" y="115"/>
                    <a:pt x="233" y="116"/>
                  </a:cubicBezTo>
                  <a:cubicBezTo>
                    <a:pt x="232" y="117"/>
                    <a:pt x="232" y="118"/>
                    <a:pt x="232" y="119"/>
                  </a:cubicBezTo>
                  <a:cubicBezTo>
                    <a:pt x="231" y="122"/>
                    <a:pt x="227" y="119"/>
                    <a:pt x="225" y="118"/>
                  </a:cubicBezTo>
                  <a:cubicBezTo>
                    <a:pt x="225" y="118"/>
                    <a:pt x="224" y="117"/>
                    <a:pt x="224" y="117"/>
                  </a:cubicBezTo>
                  <a:cubicBezTo>
                    <a:pt x="223" y="118"/>
                    <a:pt x="222" y="118"/>
                    <a:pt x="222" y="118"/>
                  </a:cubicBezTo>
                  <a:cubicBezTo>
                    <a:pt x="221" y="118"/>
                    <a:pt x="220" y="119"/>
                    <a:pt x="219" y="118"/>
                  </a:cubicBezTo>
                  <a:cubicBezTo>
                    <a:pt x="217" y="118"/>
                    <a:pt x="216" y="118"/>
                    <a:pt x="214" y="118"/>
                  </a:cubicBezTo>
                  <a:cubicBezTo>
                    <a:pt x="212" y="117"/>
                    <a:pt x="212" y="116"/>
                    <a:pt x="210" y="117"/>
                  </a:cubicBezTo>
                  <a:cubicBezTo>
                    <a:pt x="210" y="117"/>
                    <a:pt x="208" y="118"/>
                    <a:pt x="208" y="119"/>
                  </a:cubicBezTo>
                  <a:cubicBezTo>
                    <a:pt x="208" y="119"/>
                    <a:pt x="208" y="120"/>
                    <a:pt x="208" y="120"/>
                  </a:cubicBezTo>
                  <a:cubicBezTo>
                    <a:pt x="207" y="121"/>
                    <a:pt x="208" y="121"/>
                    <a:pt x="207" y="121"/>
                  </a:cubicBezTo>
                  <a:cubicBezTo>
                    <a:pt x="206" y="121"/>
                    <a:pt x="206" y="121"/>
                    <a:pt x="205" y="121"/>
                  </a:cubicBezTo>
                  <a:cubicBezTo>
                    <a:pt x="201" y="120"/>
                    <a:pt x="195" y="119"/>
                    <a:pt x="191" y="122"/>
                  </a:cubicBezTo>
                  <a:cubicBezTo>
                    <a:pt x="191" y="122"/>
                    <a:pt x="191" y="122"/>
                    <a:pt x="191" y="122"/>
                  </a:cubicBezTo>
                  <a:cubicBezTo>
                    <a:pt x="192" y="123"/>
                    <a:pt x="191" y="124"/>
                    <a:pt x="191" y="125"/>
                  </a:cubicBezTo>
                  <a:cubicBezTo>
                    <a:pt x="191" y="126"/>
                    <a:pt x="189" y="126"/>
                    <a:pt x="188" y="126"/>
                  </a:cubicBezTo>
                  <a:cubicBezTo>
                    <a:pt x="186" y="127"/>
                    <a:pt x="183" y="126"/>
                    <a:pt x="181" y="127"/>
                  </a:cubicBezTo>
                  <a:cubicBezTo>
                    <a:pt x="178" y="128"/>
                    <a:pt x="182" y="131"/>
                    <a:pt x="183" y="132"/>
                  </a:cubicBezTo>
                  <a:cubicBezTo>
                    <a:pt x="183" y="134"/>
                    <a:pt x="179" y="135"/>
                    <a:pt x="178" y="135"/>
                  </a:cubicBezTo>
                  <a:cubicBezTo>
                    <a:pt x="176" y="135"/>
                    <a:pt x="176" y="134"/>
                    <a:pt x="175" y="134"/>
                  </a:cubicBezTo>
                  <a:cubicBezTo>
                    <a:pt x="173" y="133"/>
                    <a:pt x="170" y="134"/>
                    <a:pt x="168" y="133"/>
                  </a:cubicBezTo>
                  <a:cubicBezTo>
                    <a:pt x="167" y="132"/>
                    <a:pt x="166" y="131"/>
                    <a:pt x="166" y="130"/>
                  </a:cubicBezTo>
                  <a:cubicBezTo>
                    <a:pt x="166" y="130"/>
                    <a:pt x="164" y="127"/>
                    <a:pt x="163" y="127"/>
                  </a:cubicBezTo>
                  <a:cubicBezTo>
                    <a:pt x="163" y="127"/>
                    <a:pt x="161" y="128"/>
                    <a:pt x="161" y="129"/>
                  </a:cubicBezTo>
                  <a:cubicBezTo>
                    <a:pt x="159" y="130"/>
                    <a:pt x="157" y="131"/>
                    <a:pt x="156" y="133"/>
                  </a:cubicBezTo>
                  <a:cubicBezTo>
                    <a:pt x="153" y="134"/>
                    <a:pt x="152" y="136"/>
                    <a:pt x="150" y="137"/>
                  </a:cubicBezTo>
                  <a:cubicBezTo>
                    <a:pt x="149" y="138"/>
                    <a:pt x="148" y="138"/>
                    <a:pt x="148" y="138"/>
                  </a:cubicBezTo>
                  <a:cubicBezTo>
                    <a:pt x="147" y="139"/>
                    <a:pt x="146" y="139"/>
                    <a:pt x="145" y="140"/>
                  </a:cubicBezTo>
                  <a:cubicBezTo>
                    <a:pt x="143" y="140"/>
                    <a:pt x="143" y="140"/>
                    <a:pt x="141" y="140"/>
                  </a:cubicBezTo>
                  <a:cubicBezTo>
                    <a:pt x="140" y="139"/>
                    <a:pt x="140" y="139"/>
                    <a:pt x="138" y="140"/>
                  </a:cubicBezTo>
                  <a:cubicBezTo>
                    <a:pt x="137" y="140"/>
                    <a:pt x="136" y="140"/>
                    <a:pt x="134" y="140"/>
                  </a:cubicBezTo>
                  <a:cubicBezTo>
                    <a:pt x="134" y="140"/>
                    <a:pt x="133" y="140"/>
                    <a:pt x="133" y="140"/>
                  </a:cubicBezTo>
                  <a:cubicBezTo>
                    <a:pt x="132" y="140"/>
                    <a:pt x="132" y="138"/>
                    <a:pt x="132" y="138"/>
                  </a:cubicBezTo>
                  <a:cubicBezTo>
                    <a:pt x="133" y="136"/>
                    <a:pt x="134" y="134"/>
                    <a:pt x="133" y="132"/>
                  </a:cubicBezTo>
                  <a:cubicBezTo>
                    <a:pt x="133" y="130"/>
                    <a:pt x="131" y="129"/>
                    <a:pt x="129" y="129"/>
                  </a:cubicBezTo>
                  <a:cubicBezTo>
                    <a:pt x="127" y="129"/>
                    <a:pt x="126" y="129"/>
                    <a:pt x="125" y="129"/>
                  </a:cubicBezTo>
                  <a:cubicBezTo>
                    <a:pt x="122" y="129"/>
                    <a:pt x="118" y="127"/>
                    <a:pt x="115" y="128"/>
                  </a:cubicBezTo>
                  <a:cubicBezTo>
                    <a:pt x="113" y="129"/>
                    <a:pt x="113" y="132"/>
                    <a:pt x="114" y="134"/>
                  </a:cubicBezTo>
                  <a:cubicBezTo>
                    <a:pt x="115" y="136"/>
                    <a:pt x="116" y="136"/>
                    <a:pt x="119" y="137"/>
                  </a:cubicBezTo>
                  <a:cubicBezTo>
                    <a:pt x="121" y="137"/>
                    <a:pt x="125" y="140"/>
                    <a:pt x="126" y="143"/>
                  </a:cubicBezTo>
                  <a:cubicBezTo>
                    <a:pt x="126" y="145"/>
                    <a:pt x="123" y="146"/>
                    <a:pt x="121" y="147"/>
                  </a:cubicBezTo>
                  <a:cubicBezTo>
                    <a:pt x="118" y="147"/>
                    <a:pt x="114" y="145"/>
                    <a:pt x="111" y="144"/>
                  </a:cubicBezTo>
                  <a:cubicBezTo>
                    <a:pt x="110" y="144"/>
                    <a:pt x="109" y="143"/>
                    <a:pt x="107" y="143"/>
                  </a:cubicBezTo>
                  <a:cubicBezTo>
                    <a:pt x="105" y="143"/>
                    <a:pt x="102" y="144"/>
                    <a:pt x="100" y="143"/>
                  </a:cubicBezTo>
                  <a:cubicBezTo>
                    <a:pt x="98" y="143"/>
                    <a:pt x="95" y="141"/>
                    <a:pt x="93" y="140"/>
                  </a:cubicBezTo>
                  <a:cubicBezTo>
                    <a:pt x="93" y="139"/>
                    <a:pt x="92" y="138"/>
                    <a:pt x="92" y="137"/>
                  </a:cubicBezTo>
                  <a:cubicBezTo>
                    <a:pt x="91" y="136"/>
                    <a:pt x="92" y="136"/>
                    <a:pt x="91" y="135"/>
                  </a:cubicBezTo>
                  <a:cubicBezTo>
                    <a:pt x="91" y="135"/>
                    <a:pt x="90" y="133"/>
                    <a:pt x="89" y="132"/>
                  </a:cubicBezTo>
                  <a:cubicBezTo>
                    <a:pt x="88" y="132"/>
                    <a:pt x="87" y="134"/>
                    <a:pt x="86" y="135"/>
                  </a:cubicBezTo>
                  <a:cubicBezTo>
                    <a:pt x="86" y="135"/>
                    <a:pt x="85" y="135"/>
                    <a:pt x="85" y="135"/>
                  </a:cubicBezTo>
                  <a:cubicBezTo>
                    <a:pt x="84" y="135"/>
                    <a:pt x="84" y="135"/>
                    <a:pt x="83" y="135"/>
                  </a:cubicBezTo>
                  <a:cubicBezTo>
                    <a:pt x="81" y="136"/>
                    <a:pt x="78" y="136"/>
                    <a:pt x="76" y="136"/>
                  </a:cubicBezTo>
                  <a:cubicBezTo>
                    <a:pt x="74" y="135"/>
                    <a:pt x="72" y="135"/>
                    <a:pt x="71" y="135"/>
                  </a:cubicBezTo>
                  <a:cubicBezTo>
                    <a:pt x="69" y="135"/>
                    <a:pt x="68" y="136"/>
                    <a:pt x="66" y="136"/>
                  </a:cubicBezTo>
                  <a:cubicBezTo>
                    <a:pt x="64" y="137"/>
                    <a:pt x="63" y="138"/>
                    <a:pt x="60" y="137"/>
                  </a:cubicBezTo>
                  <a:cubicBezTo>
                    <a:pt x="59" y="137"/>
                    <a:pt x="58" y="138"/>
                    <a:pt x="58" y="136"/>
                  </a:cubicBezTo>
                  <a:cubicBezTo>
                    <a:pt x="58" y="136"/>
                    <a:pt x="58" y="135"/>
                    <a:pt x="58" y="134"/>
                  </a:cubicBezTo>
                  <a:cubicBezTo>
                    <a:pt x="58" y="134"/>
                    <a:pt x="59" y="133"/>
                    <a:pt x="59" y="132"/>
                  </a:cubicBezTo>
                  <a:cubicBezTo>
                    <a:pt x="59" y="132"/>
                    <a:pt x="59" y="131"/>
                    <a:pt x="59" y="130"/>
                  </a:cubicBezTo>
                  <a:cubicBezTo>
                    <a:pt x="59" y="130"/>
                    <a:pt x="59" y="130"/>
                    <a:pt x="59" y="129"/>
                  </a:cubicBezTo>
                  <a:cubicBezTo>
                    <a:pt x="57" y="130"/>
                    <a:pt x="55" y="130"/>
                    <a:pt x="54" y="131"/>
                  </a:cubicBezTo>
                  <a:cubicBezTo>
                    <a:pt x="52" y="132"/>
                    <a:pt x="51" y="132"/>
                    <a:pt x="49" y="133"/>
                  </a:cubicBezTo>
                  <a:cubicBezTo>
                    <a:pt x="48" y="134"/>
                    <a:pt x="47" y="136"/>
                    <a:pt x="46" y="136"/>
                  </a:cubicBezTo>
                  <a:cubicBezTo>
                    <a:pt x="42" y="138"/>
                    <a:pt x="34" y="136"/>
                    <a:pt x="30" y="136"/>
                  </a:cubicBezTo>
                  <a:cubicBezTo>
                    <a:pt x="27" y="136"/>
                    <a:pt x="20" y="135"/>
                    <a:pt x="17" y="137"/>
                  </a:cubicBezTo>
                  <a:cubicBezTo>
                    <a:pt x="15" y="138"/>
                    <a:pt x="16" y="139"/>
                    <a:pt x="16" y="140"/>
                  </a:cubicBezTo>
                  <a:cubicBezTo>
                    <a:pt x="15" y="142"/>
                    <a:pt x="15" y="145"/>
                    <a:pt x="14" y="147"/>
                  </a:cubicBezTo>
                  <a:cubicBezTo>
                    <a:pt x="11" y="150"/>
                    <a:pt x="8" y="150"/>
                    <a:pt x="5" y="151"/>
                  </a:cubicBezTo>
                  <a:cubicBezTo>
                    <a:pt x="2" y="152"/>
                    <a:pt x="0" y="155"/>
                    <a:pt x="1" y="158"/>
                  </a:cubicBezTo>
                  <a:cubicBezTo>
                    <a:pt x="4" y="164"/>
                    <a:pt x="6" y="158"/>
                    <a:pt x="8" y="156"/>
                  </a:cubicBezTo>
                  <a:cubicBezTo>
                    <a:pt x="9" y="155"/>
                    <a:pt x="11" y="154"/>
                    <a:pt x="12" y="154"/>
                  </a:cubicBezTo>
                  <a:cubicBezTo>
                    <a:pt x="14" y="153"/>
                    <a:pt x="19" y="150"/>
                    <a:pt x="21" y="150"/>
                  </a:cubicBezTo>
                  <a:cubicBezTo>
                    <a:pt x="21" y="151"/>
                    <a:pt x="23" y="152"/>
                    <a:pt x="25" y="153"/>
                  </a:cubicBezTo>
                  <a:cubicBezTo>
                    <a:pt x="26" y="153"/>
                    <a:pt x="29" y="153"/>
                    <a:pt x="30" y="154"/>
                  </a:cubicBezTo>
                  <a:cubicBezTo>
                    <a:pt x="32" y="156"/>
                    <a:pt x="28" y="161"/>
                    <a:pt x="29" y="163"/>
                  </a:cubicBezTo>
                  <a:cubicBezTo>
                    <a:pt x="32" y="165"/>
                    <a:pt x="39" y="157"/>
                    <a:pt x="38" y="166"/>
                  </a:cubicBezTo>
                  <a:cubicBezTo>
                    <a:pt x="37" y="169"/>
                    <a:pt x="37" y="167"/>
                    <a:pt x="34" y="168"/>
                  </a:cubicBezTo>
                  <a:cubicBezTo>
                    <a:pt x="33" y="169"/>
                    <a:pt x="32" y="169"/>
                    <a:pt x="32" y="170"/>
                  </a:cubicBezTo>
                  <a:cubicBezTo>
                    <a:pt x="31" y="171"/>
                    <a:pt x="30" y="171"/>
                    <a:pt x="29" y="171"/>
                  </a:cubicBezTo>
                  <a:cubicBezTo>
                    <a:pt x="27" y="172"/>
                    <a:pt x="27" y="170"/>
                    <a:pt x="26" y="173"/>
                  </a:cubicBezTo>
                  <a:cubicBezTo>
                    <a:pt x="26" y="175"/>
                    <a:pt x="26" y="180"/>
                    <a:pt x="27" y="182"/>
                  </a:cubicBezTo>
                  <a:cubicBezTo>
                    <a:pt x="27" y="187"/>
                    <a:pt x="29" y="194"/>
                    <a:pt x="26" y="198"/>
                  </a:cubicBezTo>
                  <a:cubicBezTo>
                    <a:pt x="25" y="201"/>
                    <a:pt x="25" y="201"/>
                    <a:pt x="24" y="204"/>
                  </a:cubicBezTo>
                  <a:cubicBezTo>
                    <a:pt x="24" y="205"/>
                    <a:pt x="25" y="207"/>
                    <a:pt x="24" y="208"/>
                  </a:cubicBezTo>
                  <a:cubicBezTo>
                    <a:pt x="26" y="209"/>
                    <a:pt x="29" y="209"/>
                    <a:pt x="31" y="209"/>
                  </a:cubicBezTo>
                  <a:cubicBezTo>
                    <a:pt x="34" y="210"/>
                    <a:pt x="35" y="211"/>
                    <a:pt x="38" y="211"/>
                  </a:cubicBezTo>
                  <a:cubicBezTo>
                    <a:pt x="41" y="211"/>
                    <a:pt x="46" y="212"/>
                    <a:pt x="48" y="211"/>
                  </a:cubicBezTo>
                  <a:cubicBezTo>
                    <a:pt x="51" y="210"/>
                    <a:pt x="51" y="209"/>
                    <a:pt x="53" y="208"/>
                  </a:cubicBezTo>
                  <a:cubicBezTo>
                    <a:pt x="55" y="208"/>
                    <a:pt x="58" y="208"/>
                    <a:pt x="60" y="208"/>
                  </a:cubicBezTo>
                  <a:cubicBezTo>
                    <a:pt x="64" y="208"/>
                    <a:pt x="68" y="208"/>
                    <a:pt x="73" y="208"/>
                  </a:cubicBezTo>
                  <a:cubicBezTo>
                    <a:pt x="74" y="213"/>
                    <a:pt x="61" y="217"/>
                    <a:pt x="58" y="220"/>
                  </a:cubicBezTo>
                  <a:cubicBezTo>
                    <a:pt x="55" y="222"/>
                    <a:pt x="52" y="226"/>
                    <a:pt x="54" y="229"/>
                  </a:cubicBezTo>
                  <a:cubicBezTo>
                    <a:pt x="55" y="232"/>
                    <a:pt x="60" y="233"/>
                    <a:pt x="61" y="235"/>
                  </a:cubicBezTo>
                  <a:cubicBezTo>
                    <a:pt x="62" y="237"/>
                    <a:pt x="63" y="239"/>
                    <a:pt x="63" y="241"/>
                  </a:cubicBezTo>
                  <a:cubicBezTo>
                    <a:pt x="65" y="244"/>
                    <a:pt x="63" y="248"/>
                    <a:pt x="64" y="252"/>
                  </a:cubicBezTo>
                  <a:cubicBezTo>
                    <a:pt x="65" y="253"/>
                    <a:pt x="66" y="256"/>
                    <a:pt x="66" y="256"/>
                  </a:cubicBezTo>
                  <a:cubicBezTo>
                    <a:pt x="68" y="257"/>
                    <a:pt x="69" y="256"/>
                    <a:pt x="70" y="257"/>
                  </a:cubicBezTo>
                  <a:cubicBezTo>
                    <a:pt x="71" y="258"/>
                    <a:pt x="72" y="259"/>
                    <a:pt x="72" y="261"/>
                  </a:cubicBezTo>
                  <a:cubicBezTo>
                    <a:pt x="72" y="265"/>
                    <a:pt x="70" y="264"/>
                    <a:pt x="67" y="265"/>
                  </a:cubicBezTo>
                  <a:cubicBezTo>
                    <a:pt x="66" y="266"/>
                    <a:pt x="65" y="268"/>
                    <a:pt x="64" y="269"/>
                  </a:cubicBezTo>
                  <a:cubicBezTo>
                    <a:pt x="62" y="270"/>
                    <a:pt x="60" y="270"/>
                    <a:pt x="59" y="273"/>
                  </a:cubicBezTo>
                  <a:cubicBezTo>
                    <a:pt x="58" y="277"/>
                    <a:pt x="64" y="286"/>
                    <a:pt x="66" y="288"/>
                  </a:cubicBezTo>
                  <a:cubicBezTo>
                    <a:pt x="68" y="290"/>
                    <a:pt x="69" y="290"/>
                    <a:pt x="70" y="291"/>
                  </a:cubicBezTo>
                  <a:cubicBezTo>
                    <a:pt x="70" y="292"/>
                    <a:pt x="72" y="296"/>
                    <a:pt x="72" y="297"/>
                  </a:cubicBezTo>
                  <a:cubicBezTo>
                    <a:pt x="72" y="303"/>
                    <a:pt x="60" y="299"/>
                    <a:pt x="57" y="299"/>
                  </a:cubicBezTo>
                  <a:cubicBezTo>
                    <a:pt x="52" y="299"/>
                    <a:pt x="50" y="298"/>
                    <a:pt x="49" y="293"/>
                  </a:cubicBezTo>
                  <a:cubicBezTo>
                    <a:pt x="48" y="291"/>
                    <a:pt x="49" y="289"/>
                    <a:pt x="49" y="287"/>
                  </a:cubicBezTo>
                  <a:cubicBezTo>
                    <a:pt x="48" y="285"/>
                    <a:pt x="47" y="284"/>
                    <a:pt x="46" y="283"/>
                  </a:cubicBezTo>
                  <a:cubicBezTo>
                    <a:pt x="45" y="280"/>
                    <a:pt x="46" y="275"/>
                    <a:pt x="41" y="277"/>
                  </a:cubicBezTo>
                  <a:cubicBezTo>
                    <a:pt x="35" y="280"/>
                    <a:pt x="37" y="289"/>
                    <a:pt x="39" y="293"/>
                  </a:cubicBezTo>
                  <a:cubicBezTo>
                    <a:pt x="40" y="295"/>
                    <a:pt x="41" y="297"/>
                    <a:pt x="40" y="299"/>
                  </a:cubicBezTo>
                  <a:cubicBezTo>
                    <a:pt x="40" y="302"/>
                    <a:pt x="36" y="301"/>
                    <a:pt x="35" y="302"/>
                  </a:cubicBezTo>
                  <a:cubicBezTo>
                    <a:pt x="34" y="305"/>
                    <a:pt x="37" y="310"/>
                    <a:pt x="40" y="310"/>
                  </a:cubicBezTo>
                  <a:cubicBezTo>
                    <a:pt x="40" y="314"/>
                    <a:pt x="48" y="315"/>
                    <a:pt x="51" y="315"/>
                  </a:cubicBezTo>
                  <a:cubicBezTo>
                    <a:pt x="54" y="315"/>
                    <a:pt x="56" y="315"/>
                    <a:pt x="58" y="316"/>
                  </a:cubicBezTo>
                  <a:cubicBezTo>
                    <a:pt x="60" y="317"/>
                    <a:pt x="60" y="320"/>
                    <a:pt x="62" y="320"/>
                  </a:cubicBezTo>
                  <a:cubicBezTo>
                    <a:pt x="67" y="322"/>
                    <a:pt x="71" y="321"/>
                    <a:pt x="75" y="326"/>
                  </a:cubicBezTo>
                  <a:cubicBezTo>
                    <a:pt x="78" y="329"/>
                    <a:pt x="81" y="332"/>
                    <a:pt x="82" y="336"/>
                  </a:cubicBezTo>
                  <a:cubicBezTo>
                    <a:pt x="85" y="336"/>
                    <a:pt x="85" y="337"/>
                    <a:pt x="86" y="340"/>
                  </a:cubicBezTo>
                  <a:cubicBezTo>
                    <a:pt x="87" y="343"/>
                    <a:pt x="90" y="347"/>
                    <a:pt x="89" y="350"/>
                  </a:cubicBezTo>
                  <a:cubicBezTo>
                    <a:pt x="86" y="357"/>
                    <a:pt x="73" y="350"/>
                    <a:pt x="70" y="348"/>
                  </a:cubicBezTo>
                  <a:cubicBezTo>
                    <a:pt x="67" y="346"/>
                    <a:pt x="68" y="344"/>
                    <a:pt x="63" y="344"/>
                  </a:cubicBezTo>
                  <a:cubicBezTo>
                    <a:pt x="62" y="344"/>
                    <a:pt x="59" y="344"/>
                    <a:pt x="57" y="344"/>
                  </a:cubicBezTo>
                  <a:cubicBezTo>
                    <a:pt x="57" y="345"/>
                    <a:pt x="56" y="346"/>
                    <a:pt x="55" y="347"/>
                  </a:cubicBezTo>
                  <a:cubicBezTo>
                    <a:pt x="55" y="347"/>
                    <a:pt x="53" y="348"/>
                    <a:pt x="52" y="348"/>
                  </a:cubicBezTo>
                  <a:cubicBezTo>
                    <a:pt x="51" y="349"/>
                    <a:pt x="47" y="351"/>
                    <a:pt x="48" y="353"/>
                  </a:cubicBezTo>
                  <a:cubicBezTo>
                    <a:pt x="50" y="356"/>
                    <a:pt x="52" y="354"/>
                    <a:pt x="54" y="355"/>
                  </a:cubicBezTo>
                  <a:cubicBezTo>
                    <a:pt x="56" y="355"/>
                    <a:pt x="57" y="358"/>
                    <a:pt x="59" y="359"/>
                  </a:cubicBezTo>
                  <a:cubicBezTo>
                    <a:pt x="61" y="360"/>
                    <a:pt x="62" y="361"/>
                    <a:pt x="65" y="361"/>
                  </a:cubicBezTo>
                  <a:cubicBezTo>
                    <a:pt x="68" y="362"/>
                    <a:pt x="69" y="362"/>
                    <a:pt x="71" y="364"/>
                  </a:cubicBezTo>
                  <a:cubicBezTo>
                    <a:pt x="73" y="365"/>
                    <a:pt x="74" y="366"/>
                    <a:pt x="75" y="367"/>
                  </a:cubicBezTo>
                  <a:cubicBezTo>
                    <a:pt x="77" y="368"/>
                    <a:pt x="78" y="370"/>
                    <a:pt x="79" y="371"/>
                  </a:cubicBezTo>
                  <a:cubicBezTo>
                    <a:pt x="80" y="371"/>
                    <a:pt x="81" y="371"/>
                    <a:pt x="82" y="371"/>
                  </a:cubicBezTo>
                  <a:cubicBezTo>
                    <a:pt x="83" y="371"/>
                    <a:pt x="84" y="374"/>
                    <a:pt x="84" y="375"/>
                  </a:cubicBezTo>
                  <a:cubicBezTo>
                    <a:pt x="86" y="380"/>
                    <a:pt x="82" y="386"/>
                    <a:pt x="89" y="387"/>
                  </a:cubicBezTo>
                  <a:cubicBezTo>
                    <a:pt x="94" y="388"/>
                    <a:pt x="96" y="382"/>
                    <a:pt x="101" y="384"/>
                  </a:cubicBezTo>
                  <a:cubicBezTo>
                    <a:pt x="104" y="385"/>
                    <a:pt x="108" y="392"/>
                    <a:pt x="108" y="396"/>
                  </a:cubicBezTo>
                  <a:cubicBezTo>
                    <a:pt x="107" y="400"/>
                    <a:pt x="102" y="405"/>
                    <a:pt x="98" y="402"/>
                  </a:cubicBezTo>
                  <a:cubicBezTo>
                    <a:pt x="98" y="402"/>
                    <a:pt x="98" y="401"/>
                    <a:pt x="98" y="400"/>
                  </a:cubicBezTo>
                  <a:cubicBezTo>
                    <a:pt x="97" y="399"/>
                    <a:pt x="95" y="401"/>
                    <a:pt x="94" y="400"/>
                  </a:cubicBezTo>
                  <a:cubicBezTo>
                    <a:pt x="93" y="400"/>
                    <a:pt x="93" y="399"/>
                    <a:pt x="93" y="398"/>
                  </a:cubicBezTo>
                  <a:cubicBezTo>
                    <a:pt x="91" y="397"/>
                    <a:pt x="90" y="397"/>
                    <a:pt x="88" y="398"/>
                  </a:cubicBezTo>
                  <a:cubicBezTo>
                    <a:pt x="85" y="399"/>
                    <a:pt x="86" y="401"/>
                    <a:pt x="85" y="403"/>
                  </a:cubicBezTo>
                  <a:cubicBezTo>
                    <a:pt x="84" y="406"/>
                    <a:pt x="82" y="404"/>
                    <a:pt x="85" y="407"/>
                  </a:cubicBezTo>
                  <a:cubicBezTo>
                    <a:pt x="88" y="410"/>
                    <a:pt x="92" y="412"/>
                    <a:pt x="96" y="412"/>
                  </a:cubicBezTo>
                  <a:cubicBezTo>
                    <a:pt x="105" y="412"/>
                    <a:pt x="114" y="411"/>
                    <a:pt x="123" y="412"/>
                  </a:cubicBezTo>
                  <a:cubicBezTo>
                    <a:pt x="125" y="412"/>
                    <a:pt x="128" y="412"/>
                    <a:pt x="130" y="413"/>
                  </a:cubicBezTo>
                  <a:cubicBezTo>
                    <a:pt x="133" y="413"/>
                    <a:pt x="137" y="412"/>
                    <a:pt x="140" y="413"/>
                  </a:cubicBezTo>
                  <a:cubicBezTo>
                    <a:pt x="142" y="414"/>
                    <a:pt x="144" y="416"/>
                    <a:pt x="146" y="416"/>
                  </a:cubicBezTo>
                  <a:cubicBezTo>
                    <a:pt x="147" y="417"/>
                    <a:pt x="149" y="416"/>
                    <a:pt x="150" y="416"/>
                  </a:cubicBezTo>
                  <a:cubicBezTo>
                    <a:pt x="149" y="422"/>
                    <a:pt x="139" y="415"/>
                    <a:pt x="139" y="423"/>
                  </a:cubicBezTo>
                  <a:cubicBezTo>
                    <a:pt x="138" y="423"/>
                    <a:pt x="138" y="424"/>
                    <a:pt x="137" y="424"/>
                  </a:cubicBezTo>
                  <a:cubicBezTo>
                    <a:pt x="135" y="425"/>
                    <a:pt x="134" y="425"/>
                    <a:pt x="132" y="425"/>
                  </a:cubicBezTo>
                  <a:cubicBezTo>
                    <a:pt x="129" y="426"/>
                    <a:pt x="126" y="425"/>
                    <a:pt x="124" y="425"/>
                  </a:cubicBezTo>
                  <a:cubicBezTo>
                    <a:pt x="121" y="426"/>
                    <a:pt x="121" y="428"/>
                    <a:pt x="118" y="429"/>
                  </a:cubicBezTo>
                  <a:cubicBezTo>
                    <a:pt x="112" y="432"/>
                    <a:pt x="106" y="425"/>
                    <a:pt x="101" y="427"/>
                  </a:cubicBezTo>
                  <a:cubicBezTo>
                    <a:pt x="98" y="428"/>
                    <a:pt x="96" y="431"/>
                    <a:pt x="96" y="433"/>
                  </a:cubicBezTo>
                  <a:cubicBezTo>
                    <a:pt x="97" y="439"/>
                    <a:pt x="102" y="438"/>
                    <a:pt x="106" y="438"/>
                  </a:cubicBezTo>
                  <a:cubicBezTo>
                    <a:pt x="113" y="438"/>
                    <a:pt x="119" y="440"/>
                    <a:pt x="125" y="439"/>
                  </a:cubicBezTo>
                  <a:cubicBezTo>
                    <a:pt x="127" y="438"/>
                    <a:pt x="134" y="436"/>
                    <a:pt x="134" y="440"/>
                  </a:cubicBezTo>
                  <a:cubicBezTo>
                    <a:pt x="133" y="442"/>
                    <a:pt x="130" y="442"/>
                    <a:pt x="128" y="444"/>
                  </a:cubicBezTo>
                  <a:cubicBezTo>
                    <a:pt x="130" y="448"/>
                    <a:pt x="143" y="452"/>
                    <a:pt x="147" y="448"/>
                  </a:cubicBezTo>
                  <a:cubicBezTo>
                    <a:pt x="150" y="444"/>
                    <a:pt x="144" y="435"/>
                    <a:pt x="149" y="433"/>
                  </a:cubicBezTo>
                  <a:cubicBezTo>
                    <a:pt x="150" y="432"/>
                    <a:pt x="156" y="433"/>
                    <a:pt x="157" y="434"/>
                  </a:cubicBezTo>
                  <a:cubicBezTo>
                    <a:pt x="159" y="434"/>
                    <a:pt x="160" y="436"/>
                    <a:pt x="162" y="436"/>
                  </a:cubicBezTo>
                  <a:cubicBezTo>
                    <a:pt x="164" y="436"/>
                    <a:pt x="165" y="435"/>
                    <a:pt x="166" y="436"/>
                  </a:cubicBezTo>
                  <a:cubicBezTo>
                    <a:pt x="170" y="438"/>
                    <a:pt x="169" y="443"/>
                    <a:pt x="174" y="443"/>
                  </a:cubicBezTo>
                  <a:cubicBezTo>
                    <a:pt x="176" y="443"/>
                    <a:pt x="180" y="441"/>
                    <a:pt x="181" y="439"/>
                  </a:cubicBezTo>
                  <a:cubicBezTo>
                    <a:pt x="183" y="439"/>
                    <a:pt x="186" y="441"/>
                    <a:pt x="187" y="443"/>
                  </a:cubicBezTo>
                  <a:cubicBezTo>
                    <a:pt x="190" y="445"/>
                    <a:pt x="189" y="446"/>
                    <a:pt x="190" y="449"/>
                  </a:cubicBezTo>
                  <a:cubicBezTo>
                    <a:pt x="191" y="456"/>
                    <a:pt x="195" y="458"/>
                    <a:pt x="200" y="462"/>
                  </a:cubicBezTo>
                  <a:cubicBezTo>
                    <a:pt x="202" y="463"/>
                    <a:pt x="204" y="464"/>
                    <a:pt x="206" y="466"/>
                  </a:cubicBezTo>
                  <a:cubicBezTo>
                    <a:pt x="207" y="467"/>
                    <a:pt x="207" y="468"/>
                    <a:pt x="208" y="470"/>
                  </a:cubicBezTo>
                  <a:cubicBezTo>
                    <a:pt x="211" y="475"/>
                    <a:pt x="213" y="481"/>
                    <a:pt x="217" y="486"/>
                  </a:cubicBezTo>
                  <a:cubicBezTo>
                    <a:pt x="221" y="492"/>
                    <a:pt x="225" y="494"/>
                    <a:pt x="232" y="495"/>
                  </a:cubicBezTo>
                  <a:cubicBezTo>
                    <a:pt x="236" y="495"/>
                    <a:pt x="240" y="495"/>
                    <a:pt x="243" y="495"/>
                  </a:cubicBezTo>
                  <a:cubicBezTo>
                    <a:pt x="248" y="494"/>
                    <a:pt x="250" y="491"/>
                    <a:pt x="254" y="489"/>
                  </a:cubicBezTo>
                  <a:cubicBezTo>
                    <a:pt x="257" y="487"/>
                    <a:pt x="259" y="485"/>
                    <a:pt x="262" y="483"/>
                  </a:cubicBezTo>
                  <a:cubicBezTo>
                    <a:pt x="265" y="481"/>
                    <a:pt x="269" y="479"/>
                    <a:pt x="272" y="477"/>
                  </a:cubicBezTo>
                  <a:cubicBezTo>
                    <a:pt x="274" y="476"/>
                    <a:pt x="272" y="474"/>
                    <a:pt x="275" y="475"/>
                  </a:cubicBezTo>
                  <a:cubicBezTo>
                    <a:pt x="277" y="475"/>
                    <a:pt x="279" y="480"/>
                    <a:pt x="282" y="477"/>
                  </a:cubicBezTo>
                  <a:cubicBezTo>
                    <a:pt x="286" y="475"/>
                    <a:pt x="283" y="463"/>
                    <a:pt x="283" y="459"/>
                  </a:cubicBezTo>
                  <a:cubicBezTo>
                    <a:pt x="284" y="452"/>
                    <a:pt x="288" y="444"/>
                    <a:pt x="291" y="438"/>
                  </a:cubicBezTo>
                  <a:cubicBezTo>
                    <a:pt x="293" y="433"/>
                    <a:pt x="295" y="431"/>
                    <a:pt x="300" y="433"/>
                  </a:cubicBezTo>
                  <a:cubicBezTo>
                    <a:pt x="304" y="435"/>
                    <a:pt x="307" y="435"/>
                    <a:pt x="311" y="435"/>
                  </a:cubicBezTo>
                  <a:cubicBezTo>
                    <a:pt x="309" y="435"/>
                    <a:pt x="307" y="434"/>
                    <a:pt x="307" y="432"/>
                  </a:cubicBezTo>
                  <a:cubicBezTo>
                    <a:pt x="312" y="431"/>
                    <a:pt x="313" y="433"/>
                    <a:pt x="316" y="436"/>
                  </a:cubicBezTo>
                  <a:cubicBezTo>
                    <a:pt x="319" y="438"/>
                    <a:pt x="323" y="439"/>
                    <a:pt x="327" y="440"/>
                  </a:cubicBezTo>
                  <a:cubicBezTo>
                    <a:pt x="333" y="441"/>
                    <a:pt x="339" y="444"/>
                    <a:pt x="345" y="445"/>
                  </a:cubicBezTo>
                  <a:cubicBezTo>
                    <a:pt x="349" y="447"/>
                    <a:pt x="351" y="449"/>
                    <a:pt x="355" y="451"/>
                  </a:cubicBezTo>
                  <a:cubicBezTo>
                    <a:pt x="359" y="453"/>
                    <a:pt x="362" y="454"/>
                    <a:pt x="365" y="457"/>
                  </a:cubicBezTo>
                  <a:cubicBezTo>
                    <a:pt x="368" y="459"/>
                    <a:pt x="368" y="461"/>
                    <a:pt x="369" y="464"/>
                  </a:cubicBezTo>
                  <a:cubicBezTo>
                    <a:pt x="369" y="464"/>
                    <a:pt x="371" y="466"/>
                    <a:pt x="371" y="467"/>
                  </a:cubicBezTo>
                  <a:cubicBezTo>
                    <a:pt x="371" y="467"/>
                    <a:pt x="371" y="468"/>
                    <a:pt x="371" y="468"/>
                  </a:cubicBezTo>
                  <a:cubicBezTo>
                    <a:pt x="371" y="470"/>
                    <a:pt x="372" y="470"/>
                    <a:pt x="373" y="471"/>
                  </a:cubicBezTo>
                  <a:cubicBezTo>
                    <a:pt x="372" y="470"/>
                    <a:pt x="375" y="474"/>
                    <a:pt x="374" y="473"/>
                  </a:cubicBezTo>
                  <a:cubicBezTo>
                    <a:pt x="375" y="475"/>
                    <a:pt x="377" y="474"/>
                    <a:pt x="378" y="476"/>
                  </a:cubicBezTo>
                  <a:cubicBezTo>
                    <a:pt x="378" y="476"/>
                    <a:pt x="378" y="477"/>
                    <a:pt x="379" y="478"/>
                  </a:cubicBezTo>
                  <a:cubicBezTo>
                    <a:pt x="379" y="479"/>
                    <a:pt x="380" y="480"/>
                    <a:pt x="381" y="481"/>
                  </a:cubicBezTo>
                  <a:cubicBezTo>
                    <a:pt x="383" y="483"/>
                    <a:pt x="384" y="484"/>
                    <a:pt x="385" y="486"/>
                  </a:cubicBezTo>
                  <a:cubicBezTo>
                    <a:pt x="387" y="487"/>
                    <a:pt x="390" y="489"/>
                    <a:pt x="392" y="491"/>
                  </a:cubicBezTo>
                  <a:cubicBezTo>
                    <a:pt x="394" y="493"/>
                    <a:pt x="394" y="496"/>
                    <a:pt x="398" y="497"/>
                  </a:cubicBezTo>
                  <a:cubicBezTo>
                    <a:pt x="403" y="499"/>
                    <a:pt x="408" y="501"/>
                    <a:pt x="413" y="502"/>
                  </a:cubicBezTo>
                  <a:cubicBezTo>
                    <a:pt x="417" y="504"/>
                    <a:pt x="419" y="504"/>
                    <a:pt x="424" y="503"/>
                  </a:cubicBezTo>
                  <a:cubicBezTo>
                    <a:pt x="429" y="502"/>
                    <a:pt x="433" y="500"/>
                    <a:pt x="438" y="500"/>
                  </a:cubicBezTo>
                  <a:cubicBezTo>
                    <a:pt x="447" y="500"/>
                    <a:pt x="456" y="500"/>
                    <a:pt x="465" y="500"/>
                  </a:cubicBezTo>
                  <a:cubicBezTo>
                    <a:pt x="472" y="500"/>
                    <a:pt x="479" y="501"/>
                    <a:pt x="486" y="500"/>
                  </a:cubicBezTo>
                  <a:cubicBezTo>
                    <a:pt x="490" y="500"/>
                    <a:pt x="490" y="498"/>
                    <a:pt x="491" y="495"/>
                  </a:cubicBezTo>
                  <a:cubicBezTo>
                    <a:pt x="492" y="493"/>
                    <a:pt x="491" y="493"/>
                    <a:pt x="492" y="491"/>
                  </a:cubicBezTo>
                  <a:cubicBezTo>
                    <a:pt x="492" y="490"/>
                    <a:pt x="495" y="489"/>
                    <a:pt x="496" y="488"/>
                  </a:cubicBezTo>
                  <a:cubicBezTo>
                    <a:pt x="498" y="485"/>
                    <a:pt x="500" y="483"/>
                    <a:pt x="501" y="480"/>
                  </a:cubicBezTo>
                  <a:cubicBezTo>
                    <a:pt x="503" y="478"/>
                    <a:pt x="502" y="479"/>
                    <a:pt x="504" y="477"/>
                  </a:cubicBezTo>
                  <a:cubicBezTo>
                    <a:pt x="505" y="476"/>
                    <a:pt x="507" y="474"/>
                    <a:pt x="508" y="473"/>
                  </a:cubicBezTo>
                  <a:cubicBezTo>
                    <a:pt x="512" y="470"/>
                    <a:pt x="519" y="473"/>
                    <a:pt x="520" y="465"/>
                  </a:cubicBezTo>
                  <a:cubicBezTo>
                    <a:pt x="520" y="463"/>
                    <a:pt x="519" y="459"/>
                    <a:pt x="521" y="457"/>
                  </a:cubicBezTo>
                  <a:cubicBezTo>
                    <a:pt x="522" y="455"/>
                    <a:pt x="523" y="455"/>
                    <a:pt x="525" y="454"/>
                  </a:cubicBezTo>
                  <a:cubicBezTo>
                    <a:pt x="527" y="453"/>
                    <a:pt x="526" y="452"/>
                    <a:pt x="528" y="451"/>
                  </a:cubicBezTo>
                  <a:cubicBezTo>
                    <a:pt x="531" y="450"/>
                    <a:pt x="535" y="452"/>
                    <a:pt x="537" y="454"/>
                  </a:cubicBezTo>
                  <a:cubicBezTo>
                    <a:pt x="539" y="455"/>
                    <a:pt x="540" y="456"/>
                    <a:pt x="542" y="456"/>
                  </a:cubicBezTo>
                  <a:cubicBezTo>
                    <a:pt x="544" y="457"/>
                    <a:pt x="546" y="456"/>
                    <a:pt x="547" y="456"/>
                  </a:cubicBezTo>
                  <a:cubicBezTo>
                    <a:pt x="550" y="457"/>
                    <a:pt x="551" y="459"/>
                    <a:pt x="554" y="461"/>
                  </a:cubicBezTo>
                  <a:cubicBezTo>
                    <a:pt x="558" y="464"/>
                    <a:pt x="561" y="464"/>
                    <a:pt x="565" y="466"/>
                  </a:cubicBezTo>
                  <a:cubicBezTo>
                    <a:pt x="565" y="466"/>
                    <a:pt x="568" y="467"/>
                    <a:pt x="568" y="467"/>
                  </a:cubicBezTo>
                  <a:cubicBezTo>
                    <a:pt x="570" y="468"/>
                    <a:pt x="571" y="468"/>
                    <a:pt x="573" y="469"/>
                  </a:cubicBezTo>
                  <a:cubicBezTo>
                    <a:pt x="574" y="469"/>
                    <a:pt x="575" y="470"/>
                    <a:pt x="576" y="470"/>
                  </a:cubicBezTo>
                  <a:cubicBezTo>
                    <a:pt x="579" y="471"/>
                    <a:pt x="582" y="470"/>
                    <a:pt x="585" y="470"/>
                  </a:cubicBezTo>
                  <a:cubicBezTo>
                    <a:pt x="588" y="470"/>
                    <a:pt x="589" y="470"/>
                    <a:pt x="591" y="468"/>
                  </a:cubicBezTo>
                  <a:cubicBezTo>
                    <a:pt x="592" y="467"/>
                    <a:pt x="591" y="465"/>
                    <a:pt x="592" y="464"/>
                  </a:cubicBezTo>
                  <a:cubicBezTo>
                    <a:pt x="593" y="462"/>
                    <a:pt x="594" y="463"/>
                    <a:pt x="595" y="462"/>
                  </a:cubicBezTo>
                  <a:cubicBezTo>
                    <a:pt x="598" y="462"/>
                    <a:pt x="600" y="461"/>
                    <a:pt x="602" y="459"/>
                  </a:cubicBezTo>
                  <a:cubicBezTo>
                    <a:pt x="605" y="458"/>
                    <a:pt x="607" y="457"/>
                    <a:pt x="610" y="456"/>
                  </a:cubicBezTo>
                  <a:cubicBezTo>
                    <a:pt x="614" y="455"/>
                    <a:pt x="621" y="451"/>
                    <a:pt x="624" y="457"/>
                  </a:cubicBezTo>
                  <a:cubicBezTo>
                    <a:pt x="625" y="460"/>
                    <a:pt x="623" y="462"/>
                    <a:pt x="621" y="464"/>
                  </a:cubicBezTo>
                  <a:cubicBezTo>
                    <a:pt x="619" y="467"/>
                    <a:pt x="619" y="470"/>
                    <a:pt x="616" y="472"/>
                  </a:cubicBezTo>
                  <a:cubicBezTo>
                    <a:pt x="612" y="474"/>
                    <a:pt x="608" y="475"/>
                    <a:pt x="605" y="477"/>
                  </a:cubicBezTo>
                  <a:cubicBezTo>
                    <a:pt x="601" y="479"/>
                    <a:pt x="601" y="480"/>
                    <a:pt x="601" y="484"/>
                  </a:cubicBezTo>
                  <a:cubicBezTo>
                    <a:pt x="601" y="491"/>
                    <a:pt x="605" y="495"/>
                    <a:pt x="608" y="500"/>
                  </a:cubicBezTo>
                  <a:cubicBezTo>
                    <a:pt x="609" y="503"/>
                    <a:pt x="611" y="507"/>
                    <a:pt x="613" y="510"/>
                  </a:cubicBezTo>
                  <a:cubicBezTo>
                    <a:pt x="614" y="512"/>
                    <a:pt x="614" y="515"/>
                    <a:pt x="617" y="517"/>
                  </a:cubicBezTo>
                  <a:cubicBezTo>
                    <a:pt x="619" y="518"/>
                    <a:pt x="624" y="518"/>
                    <a:pt x="627" y="518"/>
                  </a:cubicBezTo>
                  <a:cubicBezTo>
                    <a:pt x="631" y="518"/>
                    <a:pt x="632" y="514"/>
                    <a:pt x="634" y="511"/>
                  </a:cubicBezTo>
                  <a:cubicBezTo>
                    <a:pt x="636" y="508"/>
                    <a:pt x="637" y="504"/>
                    <a:pt x="640" y="503"/>
                  </a:cubicBezTo>
                  <a:cubicBezTo>
                    <a:pt x="643" y="502"/>
                    <a:pt x="646" y="503"/>
                    <a:pt x="648" y="503"/>
                  </a:cubicBezTo>
                  <a:cubicBezTo>
                    <a:pt x="650" y="502"/>
                    <a:pt x="654" y="502"/>
                    <a:pt x="655" y="500"/>
                  </a:cubicBezTo>
                  <a:cubicBezTo>
                    <a:pt x="657" y="497"/>
                    <a:pt x="652" y="493"/>
                    <a:pt x="651" y="490"/>
                  </a:cubicBezTo>
                  <a:cubicBezTo>
                    <a:pt x="650" y="488"/>
                    <a:pt x="650" y="483"/>
                    <a:pt x="651" y="481"/>
                  </a:cubicBezTo>
                  <a:cubicBezTo>
                    <a:pt x="651" y="477"/>
                    <a:pt x="654" y="475"/>
                    <a:pt x="655" y="472"/>
                  </a:cubicBezTo>
                  <a:cubicBezTo>
                    <a:pt x="657" y="469"/>
                    <a:pt x="657" y="466"/>
                    <a:pt x="661" y="464"/>
                  </a:cubicBezTo>
                  <a:cubicBezTo>
                    <a:pt x="663" y="463"/>
                    <a:pt x="666" y="462"/>
                    <a:pt x="669" y="462"/>
                  </a:cubicBezTo>
                  <a:cubicBezTo>
                    <a:pt x="672" y="462"/>
                    <a:pt x="675" y="462"/>
                    <a:pt x="678" y="462"/>
                  </a:cubicBezTo>
                  <a:cubicBezTo>
                    <a:pt x="679" y="463"/>
                    <a:pt x="680" y="464"/>
                    <a:pt x="682" y="464"/>
                  </a:cubicBezTo>
                  <a:cubicBezTo>
                    <a:pt x="683" y="465"/>
                    <a:pt x="685" y="464"/>
                    <a:pt x="686" y="464"/>
                  </a:cubicBezTo>
                  <a:cubicBezTo>
                    <a:pt x="689" y="465"/>
                    <a:pt x="691" y="465"/>
                    <a:pt x="694" y="466"/>
                  </a:cubicBezTo>
                  <a:cubicBezTo>
                    <a:pt x="696" y="466"/>
                    <a:pt x="698" y="467"/>
                    <a:pt x="701" y="467"/>
                  </a:cubicBezTo>
                  <a:cubicBezTo>
                    <a:pt x="703" y="467"/>
                    <a:pt x="706" y="467"/>
                    <a:pt x="708" y="467"/>
                  </a:cubicBezTo>
                  <a:cubicBezTo>
                    <a:pt x="714" y="467"/>
                    <a:pt x="719" y="465"/>
                    <a:pt x="724" y="464"/>
                  </a:cubicBezTo>
                  <a:cubicBezTo>
                    <a:pt x="730" y="464"/>
                    <a:pt x="735" y="460"/>
                    <a:pt x="741" y="459"/>
                  </a:cubicBezTo>
                  <a:cubicBezTo>
                    <a:pt x="744" y="457"/>
                    <a:pt x="749" y="457"/>
                    <a:pt x="752" y="456"/>
                  </a:cubicBezTo>
                  <a:cubicBezTo>
                    <a:pt x="756" y="455"/>
                    <a:pt x="759" y="453"/>
                    <a:pt x="764" y="454"/>
                  </a:cubicBezTo>
                  <a:cubicBezTo>
                    <a:pt x="767" y="454"/>
                    <a:pt x="771" y="457"/>
                    <a:pt x="774" y="459"/>
                  </a:cubicBezTo>
                  <a:cubicBezTo>
                    <a:pt x="780" y="462"/>
                    <a:pt x="786" y="466"/>
                    <a:pt x="793" y="467"/>
                  </a:cubicBezTo>
                  <a:cubicBezTo>
                    <a:pt x="799" y="468"/>
                    <a:pt x="806" y="468"/>
                    <a:pt x="813" y="468"/>
                  </a:cubicBezTo>
                  <a:cubicBezTo>
                    <a:pt x="824" y="468"/>
                    <a:pt x="834" y="467"/>
                    <a:pt x="845" y="467"/>
                  </a:cubicBezTo>
                  <a:cubicBezTo>
                    <a:pt x="850" y="467"/>
                    <a:pt x="852" y="466"/>
                    <a:pt x="857" y="465"/>
                  </a:cubicBezTo>
                  <a:cubicBezTo>
                    <a:pt x="859" y="464"/>
                    <a:pt x="861" y="463"/>
                    <a:pt x="863" y="462"/>
                  </a:cubicBezTo>
                  <a:cubicBezTo>
                    <a:pt x="865" y="462"/>
                    <a:pt x="866" y="462"/>
                    <a:pt x="868" y="462"/>
                  </a:cubicBezTo>
                  <a:cubicBezTo>
                    <a:pt x="869" y="462"/>
                    <a:pt x="871" y="461"/>
                    <a:pt x="872" y="460"/>
                  </a:cubicBezTo>
                  <a:cubicBezTo>
                    <a:pt x="873" y="459"/>
                    <a:pt x="874" y="459"/>
                    <a:pt x="875" y="459"/>
                  </a:cubicBezTo>
                  <a:cubicBezTo>
                    <a:pt x="878" y="458"/>
                    <a:pt x="880" y="456"/>
                    <a:pt x="882" y="455"/>
                  </a:cubicBezTo>
                  <a:cubicBezTo>
                    <a:pt x="886" y="452"/>
                    <a:pt x="888" y="449"/>
                    <a:pt x="893" y="449"/>
                  </a:cubicBezTo>
                  <a:cubicBezTo>
                    <a:pt x="901" y="449"/>
                    <a:pt x="909" y="449"/>
                    <a:pt x="917" y="448"/>
                  </a:cubicBezTo>
                  <a:cubicBezTo>
                    <a:pt x="925" y="448"/>
                    <a:pt x="937" y="447"/>
                    <a:pt x="945" y="448"/>
                  </a:cubicBezTo>
                  <a:cubicBezTo>
                    <a:pt x="947" y="449"/>
                    <a:pt x="948" y="450"/>
                    <a:pt x="950" y="451"/>
                  </a:cubicBezTo>
                  <a:cubicBezTo>
                    <a:pt x="952" y="452"/>
                    <a:pt x="954" y="451"/>
                    <a:pt x="957" y="451"/>
                  </a:cubicBezTo>
                  <a:cubicBezTo>
                    <a:pt x="959" y="451"/>
                    <a:pt x="961" y="451"/>
                    <a:pt x="962" y="451"/>
                  </a:cubicBezTo>
                  <a:cubicBezTo>
                    <a:pt x="963" y="449"/>
                    <a:pt x="964" y="449"/>
                    <a:pt x="965" y="449"/>
                  </a:cubicBezTo>
                  <a:cubicBezTo>
                    <a:pt x="964" y="450"/>
                    <a:pt x="963" y="450"/>
                    <a:pt x="962" y="451"/>
                  </a:cubicBezTo>
                  <a:cubicBezTo>
                    <a:pt x="962" y="452"/>
                    <a:pt x="962" y="455"/>
                    <a:pt x="963" y="456"/>
                  </a:cubicBezTo>
                  <a:cubicBezTo>
                    <a:pt x="970" y="455"/>
                    <a:pt x="976" y="450"/>
                    <a:pt x="983" y="447"/>
                  </a:cubicBezTo>
                  <a:cubicBezTo>
                    <a:pt x="985" y="446"/>
                    <a:pt x="988" y="445"/>
                    <a:pt x="990" y="444"/>
                  </a:cubicBezTo>
                  <a:cubicBezTo>
                    <a:pt x="992" y="443"/>
                    <a:pt x="994" y="441"/>
                    <a:pt x="996" y="441"/>
                  </a:cubicBezTo>
                  <a:cubicBezTo>
                    <a:pt x="1001" y="440"/>
                    <a:pt x="999" y="442"/>
                    <a:pt x="1001" y="445"/>
                  </a:cubicBezTo>
                  <a:cubicBezTo>
                    <a:pt x="1003" y="448"/>
                    <a:pt x="1008" y="448"/>
                    <a:pt x="1011" y="449"/>
                  </a:cubicBezTo>
                  <a:cubicBezTo>
                    <a:pt x="1013" y="449"/>
                    <a:pt x="1016" y="450"/>
                    <a:pt x="1018" y="449"/>
                  </a:cubicBezTo>
                  <a:cubicBezTo>
                    <a:pt x="1021" y="448"/>
                    <a:pt x="1026" y="444"/>
                    <a:pt x="1026" y="441"/>
                  </a:cubicBezTo>
                  <a:cubicBezTo>
                    <a:pt x="1029" y="441"/>
                    <a:pt x="1032" y="439"/>
                    <a:pt x="1035" y="437"/>
                  </a:cubicBezTo>
                  <a:cubicBezTo>
                    <a:pt x="1038" y="436"/>
                    <a:pt x="1039" y="435"/>
                    <a:pt x="1043" y="435"/>
                  </a:cubicBezTo>
                  <a:cubicBezTo>
                    <a:pt x="1050" y="435"/>
                    <a:pt x="1057" y="435"/>
                    <a:pt x="1064" y="435"/>
                  </a:cubicBezTo>
                  <a:cubicBezTo>
                    <a:pt x="1068" y="435"/>
                    <a:pt x="1074" y="435"/>
                    <a:pt x="1079" y="436"/>
                  </a:cubicBezTo>
                  <a:cubicBezTo>
                    <a:pt x="1081" y="436"/>
                    <a:pt x="1082" y="438"/>
                    <a:pt x="1084" y="439"/>
                  </a:cubicBezTo>
                  <a:cubicBezTo>
                    <a:pt x="1087" y="441"/>
                    <a:pt x="1089" y="441"/>
                    <a:pt x="1092" y="441"/>
                  </a:cubicBezTo>
                  <a:cubicBezTo>
                    <a:pt x="1098" y="440"/>
                    <a:pt x="1103" y="441"/>
                    <a:pt x="1109" y="441"/>
                  </a:cubicBezTo>
                  <a:cubicBezTo>
                    <a:pt x="1113" y="441"/>
                    <a:pt x="1118" y="440"/>
                    <a:pt x="1122" y="441"/>
                  </a:cubicBezTo>
                  <a:cubicBezTo>
                    <a:pt x="1128" y="442"/>
                    <a:pt x="1130" y="447"/>
                    <a:pt x="1132" y="452"/>
                  </a:cubicBezTo>
                  <a:cubicBezTo>
                    <a:pt x="1135" y="457"/>
                    <a:pt x="1137" y="469"/>
                    <a:pt x="1144" y="468"/>
                  </a:cubicBezTo>
                  <a:cubicBezTo>
                    <a:pt x="1149" y="467"/>
                    <a:pt x="1151" y="462"/>
                    <a:pt x="1154" y="459"/>
                  </a:cubicBezTo>
                  <a:cubicBezTo>
                    <a:pt x="1157" y="457"/>
                    <a:pt x="1159" y="455"/>
                    <a:pt x="1162" y="453"/>
                  </a:cubicBezTo>
                  <a:cubicBezTo>
                    <a:pt x="1167" y="451"/>
                    <a:pt x="1171" y="453"/>
                    <a:pt x="1170" y="44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8" name="Freeform 60">
              <a:extLst>
                <a:ext uri="{FF2B5EF4-FFF2-40B4-BE49-F238E27FC236}">
                  <a16:creationId xmlns:a16="http://schemas.microsoft.com/office/drawing/2014/main" id="{1A917B70-F24D-4CBD-85F5-785FDC499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623888"/>
              <a:ext cx="1301750" cy="3043238"/>
            </a:xfrm>
            <a:custGeom>
              <a:avLst/>
              <a:gdLst/>
              <a:ahLst/>
              <a:cxnLst>
                <a:cxn ang="0">
                  <a:pos x="16" y="1348"/>
                </a:cxn>
                <a:cxn ang="0">
                  <a:pos x="39" y="1406"/>
                </a:cxn>
                <a:cxn ang="0">
                  <a:pos x="65" y="1460"/>
                </a:cxn>
                <a:cxn ang="0">
                  <a:pos x="92" y="1509"/>
                </a:cxn>
                <a:cxn ang="0">
                  <a:pos x="77" y="1543"/>
                </a:cxn>
                <a:cxn ang="0">
                  <a:pos x="98" y="1574"/>
                </a:cxn>
                <a:cxn ang="0">
                  <a:pos x="94" y="1619"/>
                </a:cxn>
                <a:cxn ang="0">
                  <a:pos x="174" y="1598"/>
                </a:cxn>
                <a:cxn ang="0">
                  <a:pos x="197" y="1550"/>
                </a:cxn>
                <a:cxn ang="0">
                  <a:pos x="256" y="1552"/>
                </a:cxn>
                <a:cxn ang="0">
                  <a:pos x="290" y="1530"/>
                </a:cxn>
                <a:cxn ang="0">
                  <a:pos x="323" y="1440"/>
                </a:cxn>
                <a:cxn ang="0">
                  <a:pos x="291" y="1465"/>
                </a:cxn>
                <a:cxn ang="0">
                  <a:pos x="306" y="1384"/>
                </a:cxn>
                <a:cxn ang="0">
                  <a:pos x="313" y="1309"/>
                </a:cxn>
                <a:cxn ang="0">
                  <a:pos x="368" y="1274"/>
                </a:cxn>
                <a:cxn ang="0">
                  <a:pos x="405" y="1223"/>
                </a:cxn>
                <a:cxn ang="0">
                  <a:pos x="423" y="1177"/>
                </a:cxn>
                <a:cxn ang="0">
                  <a:pos x="411" y="1135"/>
                </a:cxn>
                <a:cxn ang="0">
                  <a:pos x="374" y="1103"/>
                </a:cxn>
                <a:cxn ang="0">
                  <a:pos x="335" y="1060"/>
                </a:cxn>
                <a:cxn ang="0">
                  <a:pos x="330" y="993"/>
                </a:cxn>
                <a:cxn ang="0">
                  <a:pos x="343" y="889"/>
                </a:cxn>
                <a:cxn ang="0">
                  <a:pos x="385" y="832"/>
                </a:cxn>
                <a:cxn ang="0">
                  <a:pos x="390" y="802"/>
                </a:cxn>
                <a:cxn ang="0">
                  <a:pos x="466" y="744"/>
                </a:cxn>
                <a:cxn ang="0">
                  <a:pos x="529" y="678"/>
                </a:cxn>
                <a:cxn ang="0">
                  <a:pos x="535" y="588"/>
                </a:cxn>
                <a:cxn ang="0">
                  <a:pos x="570" y="518"/>
                </a:cxn>
                <a:cxn ang="0">
                  <a:pos x="603" y="480"/>
                </a:cxn>
                <a:cxn ang="0">
                  <a:pos x="665" y="465"/>
                </a:cxn>
                <a:cxn ang="0">
                  <a:pos x="684" y="410"/>
                </a:cxn>
                <a:cxn ang="0">
                  <a:pos x="669" y="276"/>
                </a:cxn>
                <a:cxn ang="0">
                  <a:pos x="664" y="221"/>
                </a:cxn>
                <a:cxn ang="0">
                  <a:pos x="642" y="140"/>
                </a:cxn>
                <a:cxn ang="0">
                  <a:pos x="591" y="84"/>
                </a:cxn>
                <a:cxn ang="0">
                  <a:pos x="525" y="28"/>
                </a:cxn>
                <a:cxn ang="0">
                  <a:pos x="485" y="12"/>
                </a:cxn>
                <a:cxn ang="0">
                  <a:pos x="478" y="95"/>
                </a:cxn>
                <a:cxn ang="0">
                  <a:pos x="379" y="78"/>
                </a:cxn>
                <a:cxn ang="0">
                  <a:pos x="349" y="151"/>
                </a:cxn>
                <a:cxn ang="0">
                  <a:pos x="288" y="188"/>
                </a:cxn>
                <a:cxn ang="0">
                  <a:pos x="267" y="249"/>
                </a:cxn>
                <a:cxn ang="0">
                  <a:pos x="250" y="327"/>
                </a:cxn>
                <a:cxn ang="0">
                  <a:pos x="178" y="415"/>
                </a:cxn>
                <a:cxn ang="0">
                  <a:pos x="174" y="490"/>
                </a:cxn>
                <a:cxn ang="0">
                  <a:pos x="151" y="582"/>
                </a:cxn>
                <a:cxn ang="0">
                  <a:pos x="155" y="665"/>
                </a:cxn>
                <a:cxn ang="0">
                  <a:pos x="76" y="696"/>
                </a:cxn>
                <a:cxn ang="0">
                  <a:pos x="46" y="775"/>
                </a:cxn>
                <a:cxn ang="0">
                  <a:pos x="45" y="822"/>
                </a:cxn>
                <a:cxn ang="0">
                  <a:pos x="54" y="944"/>
                </a:cxn>
                <a:cxn ang="0">
                  <a:pos x="90" y="1011"/>
                </a:cxn>
                <a:cxn ang="0">
                  <a:pos x="61" y="1039"/>
                </a:cxn>
                <a:cxn ang="0">
                  <a:pos x="70" y="1128"/>
                </a:cxn>
                <a:cxn ang="0">
                  <a:pos x="36" y="1187"/>
                </a:cxn>
                <a:cxn ang="0">
                  <a:pos x="16" y="1270"/>
                </a:cxn>
              </a:cxnLst>
              <a:rect l="0" t="0" r="r" b="b"/>
              <a:pathLst>
                <a:path w="696" h="1628">
                  <a:moveTo>
                    <a:pt x="2" y="1255"/>
                  </a:moveTo>
                  <a:cubicBezTo>
                    <a:pt x="1" y="1264"/>
                    <a:pt x="0" y="1275"/>
                    <a:pt x="2" y="1284"/>
                  </a:cubicBezTo>
                  <a:cubicBezTo>
                    <a:pt x="3" y="1292"/>
                    <a:pt x="5" y="1298"/>
                    <a:pt x="4" y="1306"/>
                  </a:cubicBezTo>
                  <a:cubicBezTo>
                    <a:pt x="4" y="1308"/>
                    <a:pt x="4" y="1310"/>
                    <a:pt x="5" y="1312"/>
                  </a:cubicBezTo>
                  <a:cubicBezTo>
                    <a:pt x="6" y="1314"/>
                    <a:pt x="8" y="1315"/>
                    <a:pt x="9" y="1317"/>
                  </a:cubicBezTo>
                  <a:cubicBezTo>
                    <a:pt x="10" y="1319"/>
                    <a:pt x="9" y="1321"/>
                    <a:pt x="8" y="1324"/>
                  </a:cubicBezTo>
                  <a:cubicBezTo>
                    <a:pt x="8" y="1327"/>
                    <a:pt x="8" y="1330"/>
                    <a:pt x="8" y="1333"/>
                  </a:cubicBezTo>
                  <a:cubicBezTo>
                    <a:pt x="9" y="1339"/>
                    <a:pt x="14" y="1342"/>
                    <a:pt x="16" y="1348"/>
                  </a:cubicBezTo>
                  <a:cubicBezTo>
                    <a:pt x="18" y="1350"/>
                    <a:pt x="19" y="1357"/>
                    <a:pt x="20" y="1359"/>
                  </a:cubicBezTo>
                  <a:cubicBezTo>
                    <a:pt x="20" y="1357"/>
                    <a:pt x="20" y="1356"/>
                    <a:pt x="21" y="1354"/>
                  </a:cubicBezTo>
                  <a:cubicBezTo>
                    <a:pt x="23" y="1353"/>
                    <a:pt x="30" y="1355"/>
                    <a:pt x="32" y="1356"/>
                  </a:cubicBezTo>
                  <a:cubicBezTo>
                    <a:pt x="36" y="1358"/>
                    <a:pt x="33" y="1360"/>
                    <a:pt x="30" y="1361"/>
                  </a:cubicBezTo>
                  <a:cubicBezTo>
                    <a:pt x="28" y="1362"/>
                    <a:pt x="27" y="1362"/>
                    <a:pt x="27" y="1365"/>
                  </a:cubicBezTo>
                  <a:cubicBezTo>
                    <a:pt x="25" y="1372"/>
                    <a:pt x="27" y="1379"/>
                    <a:pt x="31" y="1384"/>
                  </a:cubicBezTo>
                  <a:cubicBezTo>
                    <a:pt x="34" y="1388"/>
                    <a:pt x="34" y="1394"/>
                    <a:pt x="35" y="1398"/>
                  </a:cubicBezTo>
                  <a:cubicBezTo>
                    <a:pt x="36" y="1401"/>
                    <a:pt x="37" y="1404"/>
                    <a:pt x="39" y="1406"/>
                  </a:cubicBezTo>
                  <a:cubicBezTo>
                    <a:pt x="40" y="1407"/>
                    <a:pt x="40" y="1407"/>
                    <a:pt x="41" y="1407"/>
                  </a:cubicBezTo>
                  <a:cubicBezTo>
                    <a:pt x="43" y="1408"/>
                    <a:pt x="44" y="1410"/>
                    <a:pt x="47" y="1410"/>
                  </a:cubicBezTo>
                  <a:cubicBezTo>
                    <a:pt x="48" y="1415"/>
                    <a:pt x="49" y="1420"/>
                    <a:pt x="49" y="1425"/>
                  </a:cubicBezTo>
                  <a:cubicBezTo>
                    <a:pt x="51" y="1426"/>
                    <a:pt x="54" y="1426"/>
                    <a:pt x="55" y="1427"/>
                  </a:cubicBezTo>
                  <a:cubicBezTo>
                    <a:pt x="57" y="1429"/>
                    <a:pt x="56" y="1432"/>
                    <a:pt x="57" y="1434"/>
                  </a:cubicBezTo>
                  <a:cubicBezTo>
                    <a:pt x="57" y="1438"/>
                    <a:pt x="59" y="1441"/>
                    <a:pt x="60" y="1445"/>
                  </a:cubicBezTo>
                  <a:cubicBezTo>
                    <a:pt x="61" y="1448"/>
                    <a:pt x="60" y="1452"/>
                    <a:pt x="62" y="1455"/>
                  </a:cubicBezTo>
                  <a:cubicBezTo>
                    <a:pt x="63" y="1457"/>
                    <a:pt x="64" y="1459"/>
                    <a:pt x="65" y="1460"/>
                  </a:cubicBezTo>
                  <a:cubicBezTo>
                    <a:pt x="67" y="1462"/>
                    <a:pt x="67" y="1464"/>
                    <a:pt x="68" y="1466"/>
                  </a:cubicBezTo>
                  <a:cubicBezTo>
                    <a:pt x="70" y="1470"/>
                    <a:pt x="73" y="1474"/>
                    <a:pt x="75" y="1479"/>
                  </a:cubicBezTo>
                  <a:cubicBezTo>
                    <a:pt x="75" y="1474"/>
                    <a:pt x="79" y="1474"/>
                    <a:pt x="81" y="1478"/>
                  </a:cubicBezTo>
                  <a:cubicBezTo>
                    <a:pt x="82" y="1479"/>
                    <a:pt x="82" y="1483"/>
                    <a:pt x="83" y="1484"/>
                  </a:cubicBezTo>
                  <a:cubicBezTo>
                    <a:pt x="83" y="1487"/>
                    <a:pt x="83" y="1490"/>
                    <a:pt x="85" y="1493"/>
                  </a:cubicBezTo>
                  <a:cubicBezTo>
                    <a:pt x="86" y="1495"/>
                    <a:pt x="88" y="1497"/>
                    <a:pt x="89" y="1498"/>
                  </a:cubicBezTo>
                  <a:cubicBezTo>
                    <a:pt x="91" y="1501"/>
                    <a:pt x="89" y="1500"/>
                    <a:pt x="91" y="1500"/>
                  </a:cubicBezTo>
                  <a:cubicBezTo>
                    <a:pt x="91" y="1503"/>
                    <a:pt x="90" y="1507"/>
                    <a:pt x="92" y="1509"/>
                  </a:cubicBezTo>
                  <a:cubicBezTo>
                    <a:pt x="93" y="1510"/>
                    <a:pt x="101" y="1514"/>
                    <a:pt x="97" y="1517"/>
                  </a:cubicBezTo>
                  <a:cubicBezTo>
                    <a:pt x="93" y="1512"/>
                    <a:pt x="87" y="1515"/>
                    <a:pt x="85" y="1521"/>
                  </a:cubicBezTo>
                  <a:cubicBezTo>
                    <a:pt x="84" y="1523"/>
                    <a:pt x="84" y="1525"/>
                    <a:pt x="85" y="1527"/>
                  </a:cubicBezTo>
                  <a:cubicBezTo>
                    <a:pt x="86" y="1531"/>
                    <a:pt x="95" y="1535"/>
                    <a:pt x="92" y="1540"/>
                  </a:cubicBezTo>
                  <a:cubicBezTo>
                    <a:pt x="90" y="1540"/>
                    <a:pt x="87" y="1541"/>
                    <a:pt x="85" y="1540"/>
                  </a:cubicBezTo>
                  <a:cubicBezTo>
                    <a:pt x="82" y="1539"/>
                    <a:pt x="83" y="1537"/>
                    <a:pt x="82" y="1534"/>
                  </a:cubicBezTo>
                  <a:cubicBezTo>
                    <a:pt x="81" y="1533"/>
                    <a:pt x="76" y="1535"/>
                    <a:pt x="75" y="1537"/>
                  </a:cubicBezTo>
                  <a:cubicBezTo>
                    <a:pt x="74" y="1539"/>
                    <a:pt x="76" y="1541"/>
                    <a:pt x="77" y="1543"/>
                  </a:cubicBezTo>
                  <a:cubicBezTo>
                    <a:pt x="78" y="1545"/>
                    <a:pt x="79" y="1547"/>
                    <a:pt x="81" y="1549"/>
                  </a:cubicBezTo>
                  <a:cubicBezTo>
                    <a:pt x="82" y="1550"/>
                    <a:pt x="83" y="1551"/>
                    <a:pt x="83" y="1551"/>
                  </a:cubicBezTo>
                  <a:cubicBezTo>
                    <a:pt x="84" y="1553"/>
                    <a:pt x="85" y="1554"/>
                    <a:pt x="86" y="1555"/>
                  </a:cubicBezTo>
                  <a:cubicBezTo>
                    <a:pt x="88" y="1556"/>
                    <a:pt x="92" y="1554"/>
                    <a:pt x="91" y="1558"/>
                  </a:cubicBezTo>
                  <a:cubicBezTo>
                    <a:pt x="90" y="1560"/>
                    <a:pt x="88" y="1559"/>
                    <a:pt x="88" y="1562"/>
                  </a:cubicBezTo>
                  <a:cubicBezTo>
                    <a:pt x="87" y="1563"/>
                    <a:pt x="88" y="1566"/>
                    <a:pt x="89" y="1568"/>
                  </a:cubicBezTo>
                  <a:cubicBezTo>
                    <a:pt x="90" y="1570"/>
                    <a:pt x="88" y="1569"/>
                    <a:pt x="91" y="1571"/>
                  </a:cubicBezTo>
                  <a:cubicBezTo>
                    <a:pt x="93" y="1572"/>
                    <a:pt x="96" y="1573"/>
                    <a:pt x="98" y="1574"/>
                  </a:cubicBezTo>
                  <a:cubicBezTo>
                    <a:pt x="104" y="1578"/>
                    <a:pt x="99" y="1583"/>
                    <a:pt x="98" y="1589"/>
                  </a:cubicBezTo>
                  <a:cubicBezTo>
                    <a:pt x="98" y="1591"/>
                    <a:pt x="98" y="1594"/>
                    <a:pt x="99" y="1596"/>
                  </a:cubicBezTo>
                  <a:cubicBezTo>
                    <a:pt x="100" y="1598"/>
                    <a:pt x="101" y="1598"/>
                    <a:pt x="102" y="1601"/>
                  </a:cubicBezTo>
                  <a:cubicBezTo>
                    <a:pt x="103" y="1606"/>
                    <a:pt x="98" y="1606"/>
                    <a:pt x="94" y="1606"/>
                  </a:cubicBezTo>
                  <a:cubicBezTo>
                    <a:pt x="91" y="1606"/>
                    <a:pt x="89" y="1605"/>
                    <a:pt x="88" y="1609"/>
                  </a:cubicBezTo>
                  <a:cubicBezTo>
                    <a:pt x="87" y="1611"/>
                    <a:pt x="87" y="1615"/>
                    <a:pt x="89" y="1617"/>
                  </a:cubicBezTo>
                  <a:cubicBezTo>
                    <a:pt x="90" y="1617"/>
                    <a:pt x="91" y="1617"/>
                    <a:pt x="92" y="1617"/>
                  </a:cubicBezTo>
                  <a:cubicBezTo>
                    <a:pt x="93" y="1617"/>
                    <a:pt x="93" y="1618"/>
                    <a:pt x="94" y="1619"/>
                  </a:cubicBezTo>
                  <a:cubicBezTo>
                    <a:pt x="95" y="1620"/>
                    <a:pt x="99" y="1620"/>
                    <a:pt x="100" y="1621"/>
                  </a:cubicBezTo>
                  <a:cubicBezTo>
                    <a:pt x="107" y="1623"/>
                    <a:pt x="114" y="1624"/>
                    <a:pt x="121" y="1626"/>
                  </a:cubicBezTo>
                  <a:cubicBezTo>
                    <a:pt x="123" y="1627"/>
                    <a:pt x="125" y="1628"/>
                    <a:pt x="127" y="1627"/>
                  </a:cubicBezTo>
                  <a:cubicBezTo>
                    <a:pt x="131" y="1626"/>
                    <a:pt x="133" y="1624"/>
                    <a:pt x="138" y="1624"/>
                  </a:cubicBezTo>
                  <a:cubicBezTo>
                    <a:pt x="143" y="1624"/>
                    <a:pt x="148" y="1625"/>
                    <a:pt x="153" y="1624"/>
                  </a:cubicBezTo>
                  <a:cubicBezTo>
                    <a:pt x="157" y="1624"/>
                    <a:pt x="160" y="1622"/>
                    <a:pt x="163" y="1619"/>
                  </a:cubicBezTo>
                  <a:cubicBezTo>
                    <a:pt x="167" y="1616"/>
                    <a:pt x="172" y="1611"/>
                    <a:pt x="173" y="1606"/>
                  </a:cubicBezTo>
                  <a:cubicBezTo>
                    <a:pt x="174" y="1605"/>
                    <a:pt x="174" y="1599"/>
                    <a:pt x="174" y="1598"/>
                  </a:cubicBezTo>
                  <a:cubicBezTo>
                    <a:pt x="173" y="1595"/>
                    <a:pt x="172" y="1595"/>
                    <a:pt x="170" y="1594"/>
                  </a:cubicBezTo>
                  <a:cubicBezTo>
                    <a:pt x="166" y="1592"/>
                    <a:pt x="162" y="1591"/>
                    <a:pt x="164" y="1585"/>
                  </a:cubicBezTo>
                  <a:cubicBezTo>
                    <a:pt x="165" y="1581"/>
                    <a:pt x="168" y="1577"/>
                    <a:pt x="171" y="1575"/>
                  </a:cubicBezTo>
                  <a:cubicBezTo>
                    <a:pt x="174" y="1572"/>
                    <a:pt x="179" y="1572"/>
                    <a:pt x="180" y="1568"/>
                  </a:cubicBezTo>
                  <a:cubicBezTo>
                    <a:pt x="181" y="1566"/>
                    <a:pt x="180" y="1564"/>
                    <a:pt x="180" y="1562"/>
                  </a:cubicBezTo>
                  <a:cubicBezTo>
                    <a:pt x="180" y="1560"/>
                    <a:pt x="183" y="1553"/>
                    <a:pt x="185" y="1553"/>
                  </a:cubicBezTo>
                  <a:cubicBezTo>
                    <a:pt x="185" y="1556"/>
                    <a:pt x="196" y="1562"/>
                    <a:pt x="198" y="1559"/>
                  </a:cubicBezTo>
                  <a:cubicBezTo>
                    <a:pt x="200" y="1556"/>
                    <a:pt x="195" y="1553"/>
                    <a:pt x="197" y="1550"/>
                  </a:cubicBezTo>
                  <a:cubicBezTo>
                    <a:pt x="199" y="1547"/>
                    <a:pt x="203" y="1547"/>
                    <a:pt x="206" y="1546"/>
                  </a:cubicBezTo>
                  <a:cubicBezTo>
                    <a:pt x="206" y="1545"/>
                    <a:pt x="206" y="1545"/>
                    <a:pt x="207" y="1545"/>
                  </a:cubicBezTo>
                  <a:cubicBezTo>
                    <a:pt x="208" y="1545"/>
                    <a:pt x="209" y="1545"/>
                    <a:pt x="209" y="1545"/>
                  </a:cubicBezTo>
                  <a:cubicBezTo>
                    <a:pt x="212" y="1545"/>
                    <a:pt x="213" y="1545"/>
                    <a:pt x="216" y="1544"/>
                  </a:cubicBezTo>
                  <a:cubicBezTo>
                    <a:pt x="220" y="1543"/>
                    <a:pt x="224" y="1543"/>
                    <a:pt x="228" y="1542"/>
                  </a:cubicBezTo>
                  <a:cubicBezTo>
                    <a:pt x="233" y="1540"/>
                    <a:pt x="236" y="1539"/>
                    <a:pt x="240" y="1544"/>
                  </a:cubicBezTo>
                  <a:cubicBezTo>
                    <a:pt x="243" y="1549"/>
                    <a:pt x="243" y="1556"/>
                    <a:pt x="250" y="1554"/>
                  </a:cubicBezTo>
                  <a:cubicBezTo>
                    <a:pt x="252" y="1554"/>
                    <a:pt x="254" y="1553"/>
                    <a:pt x="256" y="1552"/>
                  </a:cubicBezTo>
                  <a:cubicBezTo>
                    <a:pt x="257" y="1552"/>
                    <a:pt x="259" y="1553"/>
                    <a:pt x="261" y="1552"/>
                  </a:cubicBezTo>
                  <a:cubicBezTo>
                    <a:pt x="261" y="1550"/>
                    <a:pt x="263" y="1548"/>
                    <a:pt x="264" y="1546"/>
                  </a:cubicBezTo>
                  <a:cubicBezTo>
                    <a:pt x="265" y="1545"/>
                    <a:pt x="267" y="1543"/>
                    <a:pt x="268" y="1540"/>
                  </a:cubicBezTo>
                  <a:cubicBezTo>
                    <a:pt x="270" y="1536"/>
                    <a:pt x="272" y="1533"/>
                    <a:pt x="274" y="1529"/>
                  </a:cubicBezTo>
                  <a:cubicBezTo>
                    <a:pt x="276" y="1524"/>
                    <a:pt x="277" y="1519"/>
                    <a:pt x="278" y="1515"/>
                  </a:cubicBezTo>
                  <a:cubicBezTo>
                    <a:pt x="279" y="1512"/>
                    <a:pt x="282" y="1502"/>
                    <a:pt x="286" y="1502"/>
                  </a:cubicBezTo>
                  <a:cubicBezTo>
                    <a:pt x="289" y="1503"/>
                    <a:pt x="289" y="1512"/>
                    <a:pt x="290" y="1515"/>
                  </a:cubicBezTo>
                  <a:cubicBezTo>
                    <a:pt x="291" y="1520"/>
                    <a:pt x="291" y="1524"/>
                    <a:pt x="290" y="1530"/>
                  </a:cubicBezTo>
                  <a:cubicBezTo>
                    <a:pt x="290" y="1533"/>
                    <a:pt x="288" y="1543"/>
                    <a:pt x="290" y="1545"/>
                  </a:cubicBezTo>
                  <a:cubicBezTo>
                    <a:pt x="292" y="1543"/>
                    <a:pt x="294" y="1541"/>
                    <a:pt x="295" y="1539"/>
                  </a:cubicBezTo>
                  <a:cubicBezTo>
                    <a:pt x="296" y="1536"/>
                    <a:pt x="296" y="1533"/>
                    <a:pt x="297" y="1530"/>
                  </a:cubicBezTo>
                  <a:cubicBezTo>
                    <a:pt x="298" y="1524"/>
                    <a:pt x="300" y="1520"/>
                    <a:pt x="301" y="1514"/>
                  </a:cubicBezTo>
                  <a:cubicBezTo>
                    <a:pt x="303" y="1507"/>
                    <a:pt x="306" y="1500"/>
                    <a:pt x="309" y="1493"/>
                  </a:cubicBezTo>
                  <a:cubicBezTo>
                    <a:pt x="313" y="1485"/>
                    <a:pt x="317" y="1476"/>
                    <a:pt x="320" y="1467"/>
                  </a:cubicBezTo>
                  <a:cubicBezTo>
                    <a:pt x="321" y="1462"/>
                    <a:pt x="322" y="1456"/>
                    <a:pt x="323" y="1451"/>
                  </a:cubicBezTo>
                  <a:cubicBezTo>
                    <a:pt x="323" y="1448"/>
                    <a:pt x="323" y="1444"/>
                    <a:pt x="323" y="1440"/>
                  </a:cubicBezTo>
                  <a:cubicBezTo>
                    <a:pt x="323" y="1438"/>
                    <a:pt x="324" y="1430"/>
                    <a:pt x="320" y="1433"/>
                  </a:cubicBezTo>
                  <a:cubicBezTo>
                    <a:pt x="318" y="1434"/>
                    <a:pt x="317" y="1439"/>
                    <a:pt x="316" y="1441"/>
                  </a:cubicBezTo>
                  <a:cubicBezTo>
                    <a:pt x="315" y="1444"/>
                    <a:pt x="314" y="1446"/>
                    <a:pt x="312" y="1449"/>
                  </a:cubicBezTo>
                  <a:cubicBezTo>
                    <a:pt x="310" y="1454"/>
                    <a:pt x="308" y="1458"/>
                    <a:pt x="306" y="1462"/>
                  </a:cubicBezTo>
                  <a:cubicBezTo>
                    <a:pt x="304" y="1465"/>
                    <a:pt x="303" y="1469"/>
                    <a:pt x="303" y="1473"/>
                  </a:cubicBezTo>
                  <a:cubicBezTo>
                    <a:pt x="302" y="1475"/>
                    <a:pt x="302" y="1480"/>
                    <a:pt x="300" y="1482"/>
                  </a:cubicBezTo>
                  <a:cubicBezTo>
                    <a:pt x="299" y="1483"/>
                    <a:pt x="294" y="1486"/>
                    <a:pt x="293" y="1485"/>
                  </a:cubicBezTo>
                  <a:cubicBezTo>
                    <a:pt x="289" y="1484"/>
                    <a:pt x="290" y="1469"/>
                    <a:pt x="291" y="1465"/>
                  </a:cubicBezTo>
                  <a:cubicBezTo>
                    <a:pt x="292" y="1460"/>
                    <a:pt x="293" y="1456"/>
                    <a:pt x="293" y="1451"/>
                  </a:cubicBezTo>
                  <a:cubicBezTo>
                    <a:pt x="292" y="1450"/>
                    <a:pt x="292" y="1449"/>
                    <a:pt x="292" y="1447"/>
                  </a:cubicBezTo>
                  <a:cubicBezTo>
                    <a:pt x="292" y="1444"/>
                    <a:pt x="293" y="1440"/>
                    <a:pt x="295" y="1437"/>
                  </a:cubicBezTo>
                  <a:cubicBezTo>
                    <a:pt x="297" y="1435"/>
                    <a:pt x="299" y="1436"/>
                    <a:pt x="300" y="1433"/>
                  </a:cubicBezTo>
                  <a:cubicBezTo>
                    <a:pt x="301" y="1430"/>
                    <a:pt x="301" y="1426"/>
                    <a:pt x="302" y="1423"/>
                  </a:cubicBezTo>
                  <a:cubicBezTo>
                    <a:pt x="302" y="1414"/>
                    <a:pt x="301" y="1406"/>
                    <a:pt x="302" y="1397"/>
                  </a:cubicBezTo>
                  <a:cubicBezTo>
                    <a:pt x="303" y="1394"/>
                    <a:pt x="303" y="1391"/>
                    <a:pt x="304" y="1388"/>
                  </a:cubicBezTo>
                  <a:cubicBezTo>
                    <a:pt x="304" y="1387"/>
                    <a:pt x="305" y="1386"/>
                    <a:pt x="306" y="1384"/>
                  </a:cubicBezTo>
                  <a:cubicBezTo>
                    <a:pt x="306" y="1382"/>
                    <a:pt x="306" y="1379"/>
                    <a:pt x="307" y="1376"/>
                  </a:cubicBezTo>
                  <a:cubicBezTo>
                    <a:pt x="308" y="1369"/>
                    <a:pt x="310" y="1363"/>
                    <a:pt x="309" y="1356"/>
                  </a:cubicBezTo>
                  <a:cubicBezTo>
                    <a:pt x="309" y="1353"/>
                    <a:pt x="308" y="1349"/>
                    <a:pt x="309" y="1345"/>
                  </a:cubicBezTo>
                  <a:cubicBezTo>
                    <a:pt x="310" y="1341"/>
                    <a:pt x="317" y="1337"/>
                    <a:pt x="312" y="1332"/>
                  </a:cubicBezTo>
                  <a:cubicBezTo>
                    <a:pt x="310" y="1329"/>
                    <a:pt x="308" y="1330"/>
                    <a:pt x="309" y="1326"/>
                  </a:cubicBezTo>
                  <a:cubicBezTo>
                    <a:pt x="309" y="1325"/>
                    <a:pt x="310" y="1322"/>
                    <a:pt x="311" y="1321"/>
                  </a:cubicBezTo>
                  <a:cubicBezTo>
                    <a:pt x="313" y="1318"/>
                    <a:pt x="318" y="1317"/>
                    <a:pt x="316" y="1313"/>
                  </a:cubicBezTo>
                  <a:cubicBezTo>
                    <a:pt x="315" y="1311"/>
                    <a:pt x="313" y="1310"/>
                    <a:pt x="313" y="1309"/>
                  </a:cubicBezTo>
                  <a:cubicBezTo>
                    <a:pt x="312" y="1307"/>
                    <a:pt x="314" y="1306"/>
                    <a:pt x="314" y="1304"/>
                  </a:cubicBezTo>
                  <a:cubicBezTo>
                    <a:pt x="316" y="1300"/>
                    <a:pt x="315" y="1298"/>
                    <a:pt x="319" y="1298"/>
                  </a:cubicBezTo>
                  <a:cubicBezTo>
                    <a:pt x="322" y="1297"/>
                    <a:pt x="323" y="1297"/>
                    <a:pt x="325" y="1296"/>
                  </a:cubicBezTo>
                  <a:cubicBezTo>
                    <a:pt x="328" y="1294"/>
                    <a:pt x="330" y="1290"/>
                    <a:pt x="333" y="1288"/>
                  </a:cubicBezTo>
                  <a:cubicBezTo>
                    <a:pt x="336" y="1285"/>
                    <a:pt x="342" y="1286"/>
                    <a:pt x="346" y="1283"/>
                  </a:cubicBezTo>
                  <a:cubicBezTo>
                    <a:pt x="351" y="1280"/>
                    <a:pt x="352" y="1271"/>
                    <a:pt x="357" y="1268"/>
                  </a:cubicBezTo>
                  <a:cubicBezTo>
                    <a:pt x="357" y="1271"/>
                    <a:pt x="357" y="1277"/>
                    <a:pt x="361" y="1278"/>
                  </a:cubicBezTo>
                  <a:cubicBezTo>
                    <a:pt x="363" y="1278"/>
                    <a:pt x="367" y="1275"/>
                    <a:pt x="368" y="1274"/>
                  </a:cubicBezTo>
                  <a:cubicBezTo>
                    <a:pt x="369" y="1271"/>
                    <a:pt x="367" y="1267"/>
                    <a:pt x="368" y="1264"/>
                  </a:cubicBezTo>
                  <a:cubicBezTo>
                    <a:pt x="376" y="1264"/>
                    <a:pt x="387" y="1267"/>
                    <a:pt x="393" y="1262"/>
                  </a:cubicBezTo>
                  <a:cubicBezTo>
                    <a:pt x="394" y="1262"/>
                    <a:pt x="394" y="1260"/>
                    <a:pt x="395" y="1260"/>
                  </a:cubicBezTo>
                  <a:cubicBezTo>
                    <a:pt x="397" y="1259"/>
                    <a:pt x="399" y="1258"/>
                    <a:pt x="401" y="1257"/>
                  </a:cubicBezTo>
                  <a:cubicBezTo>
                    <a:pt x="403" y="1256"/>
                    <a:pt x="409" y="1254"/>
                    <a:pt x="407" y="1250"/>
                  </a:cubicBezTo>
                  <a:cubicBezTo>
                    <a:pt x="403" y="1249"/>
                    <a:pt x="399" y="1250"/>
                    <a:pt x="395" y="1248"/>
                  </a:cubicBezTo>
                  <a:cubicBezTo>
                    <a:pt x="395" y="1240"/>
                    <a:pt x="386" y="1235"/>
                    <a:pt x="388" y="1226"/>
                  </a:cubicBezTo>
                  <a:cubicBezTo>
                    <a:pt x="392" y="1225"/>
                    <a:pt x="407" y="1233"/>
                    <a:pt x="405" y="1223"/>
                  </a:cubicBezTo>
                  <a:cubicBezTo>
                    <a:pt x="398" y="1220"/>
                    <a:pt x="389" y="1218"/>
                    <a:pt x="392" y="1208"/>
                  </a:cubicBezTo>
                  <a:cubicBezTo>
                    <a:pt x="393" y="1204"/>
                    <a:pt x="401" y="1205"/>
                    <a:pt x="405" y="1206"/>
                  </a:cubicBezTo>
                  <a:cubicBezTo>
                    <a:pt x="412" y="1207"/>
                    <a:pt x="408" y="1204"/>
                    <a:pt x="410" y="1199"/>
                  </a:cubicBezTo>
                  <a:cubicBezTo>
                    <a:pt x="411" y="1196"/>
                    <a:pt x="411" y="1196"/>
                    <a:pt x="414" y="1195"/>
                  </a:cubicBezTo>
                  <a:cubicBezTo>
                    <a:pt x="416" y="1194"/>
                    <a:pt x="420" y="1194"/>
                    <a:pt x="423" y="1192"/>
                  </a:cubicBezTo>
                  <a:cubicBezTo>
                    <a:pt x="425" y="1190"/>
                    <a:pt x="426" y="1190"/>
                    <a:pt x="424" y="1187"/>
                  </a:cubicBezTo>
                  <a:cubicBezTo>
                    <a:pt x="424" y="1186"/>
                    <a:pt x="422" y="1185"/>
                    <a:pt x="421" y="1185"/>
                  </a:cubicBezTo>
                  <a:cubicBezTo>
                    <a:pt x="421" y="1183"/>
                    <a:pt x="422" y="1178"/>
                    <a:pt x="423" y="1177"/>
                  </a:cubicBezTo>
                  <a:cubicBezTo>
                    <a:pt x="425" y="1176"/>
                    <a:pt x="428" y="1178"/>
                    <a:pt x="430" y="1176"/>
                  </a:cubicBezTo>
                  <a:cubicBezTo>
                    <a:pt x="434" y="1174"/>
                    <a:pt x="433" y="1169"/>
                    <a:pt x="432" y="1166"/>
                  </a:cubicBezTo>
                  <a:cubicBezTo>
                    <a:pt x="431" y="1163"/>
                    <a:pt x="430" y="1161"/>
                    <a:pt x="428" y="1159"/>
                  </a:cubicBezTo>
                  <a:cubicBezTo>
                    <a:pt x="427" y="1159"/>
                    <a:pt x="426" y="1158"/>
                    <a:pt x="426" y="1157"/>
                  </a:cubicBezTo>
                  <a:cubicBezTo>
                    <a:pt x="422" y="1155"/>
                    <a:pt x="419" y="1155"/>
                    <a:pt x="417" y="1151"/>
                  </a:cubicBezTo>
                  <a:cubicBezTo>
                    <a:pt x="416" y="1148"/>
                    <a:pt x="417" y="1145"/>
                    <a:pt x="416" y="1143"/>
                  </a:cubicBezTo>
                  <a:cubicBezTo>
                    <a:pt x="416" y="1142"/>
                    <a:pt x="414" y="1141"/>
                    <a:pt x="413" y="1140"/>
                  </a:cubicBezTo>
                  <a:cubicBezTo>
                    <a:pt x="412" y="1139"/>
                    <a:pt x="412" y="1137"/>
                    <a:pt x="411" y="1135"/>
                  </a:cubicBezTo>
                  <a:cubicBezTo>
                    <a:pt x="410" y="1134"/>
                    <a:pt x="408" y="1134"/>
                    <a:pt x="408" y="1133"/>
                  </a:cubicBezTo>
                  <a:cubicBezTo>
                    <a:pt x="407" y="1131"/>
                    <a:pt x="408" y="1127"/>
                    <a:pt x="407" y="1125"/>
                  </a:cubicBezTo>
                  <a:cubicBezTo>
                    <a:pt x="407" y="1122"/>
                    <a:pt x="406" y="1122"/>
                    <a:pt x="404" y="1120"/>
                  </a:cubicBezTo>
                  <a:cubicBezTo>
                    <a:pt x="403" y="1119"/>
                    <a:pt x="400" y="1118"/>
                    <a:pt x="399" y="1117"/>
                  </a:cubicBezTo>
                  <a:cubicBezTo>
                    <a:pt x="399" y="1116"/>
                    <a:pt x="399" y="1114"/>
                    <a:pt x="399" y="1113"/>
                  </a:cubicBezTo>
                  <a:cubicBezTo>
                    <a:pt x="398" y="1108"/>
                    <a:pt x="394" y="1099"/>
                    <a:pt x="389" y="1098"/>
                  </a:cubicBezTo>
                  <a:cubicBezTo>
                    <a:pt x="389" y="1102"/>
                    <a:pt x="390" y="1109"/>
                    <a:pt x="385" y="1110"/>
                  </a:cubicBezTo>
                  <a:cubicBezTo>
                    <a:pt x="381" y="1111"/>
                    <a:pt x="377" y="1106"/>
                    <a:pt x="374" y="1103"/>
                  </a:cubicBezTo>
                  <a:cubicBezTo>
                    <a:pt x="371" y="1099"/>
                    <a:pt x="368" y="1096"/>
                    <a:pt x="366" y="1091"/>
                  </a:cubicBezTo>
                  <a:cubicBezTo>
                    <a:pt x="365" y="1089"/>
                    <a:pt x="364" y="1087"/>
                    <a:pt x="361" y="1088"/>
                  </a:cubicBezTo>
                  <a:cubicBezTo>
                    <a:pt x="361" y="1089"/>
                    <a:pt x="361" y="1093"/>
                    <a:pt x="360" y="1094"/>
                  </a:cubicBezTo>
                  <a:cubicBezTo>
                    <a:pt x="357" y="1095"/>
                    <a:pt x="354" y="1089"/>
                    <a:pt x="353" y="1088"/>
                  </a:cubicBezTo>
                  <a:cubicBezTo>
                    <a:pt x="351" y="1084"/>
                    <a:pt x="353" y="1083"/>
                    <a:pt x="348" y="1083"/>
                  </a:cubicBezTo>
                  <a:cubicBezTo>
                    <a:pt x="344" y="1083"/>
                    <a:pt x="338" y="1081"/>
                    <a:pt x="336" y="1076"/>
                  </a:cubicBezTo>
                  <a:cubicBezTo>
                    <a:pt x="334" y="1070"/>
                    <a:pt x="341" y="1072"/>
                    <a:pt x="341" y="1068"/>
                  </a:cubicBezTo>
                  <a:cubicBezTo>
                    <a:pt x="341" y="1064"/>
                    <a:pt x="336" y="1063"/>
                    <a:pt x="335" y="1060"/>
                  </a:cubicBezTo>
                  <a:cubicBezTo>
                    <a:pt x="334" y="1057"/>
                    <a:pt x="334" y="1054"/>
                    <a:pt x="334" y="1051"/>
                  </a:cubicBezTo>
                  <a:cubicBezTo>
                    <a:pt x="334" y="1047"/>
                    <a:pt x="333" y="1044"/>
                    <a:pt x="332" y="1041"/>
                  </a:cubicBezTo>
                  <a:cubicBezTo>
                    <a:pt x="331" y="1040"/>
                    <a:pt x="331" y="1040"/>
                    <a:pt x="330" y="1039"/>
                  </a:cubicBezTo>
                  <a:cubicBezTo>
                    <a:pt x="330" y="1038"/>
                    <a:pt x="330" y="1037"/>
                    <a:pt x="330" y="1036"/>
                  </a:cubicBezTo>
                  <a:cubicBezTo>
                    <a:pt x="330" y="1034"/>
                    <a:pt x="330" y="1032"/>
                    <a:pt x="330" y="1029"/>
                  </a:cubicBezTo>
                  <a:cubicBezTo>
                    <a:pt x="330" y="1024"/>
                    <a:pt x="330" y="1018"/>
                    <a:pt x="330" y="1013"/>
                  </a:cubicBezTo>
                  <a:cubicBezTo>
                    <a:pt x="330" y="1009"/>
                    <a:pt x="330" y="1006"/>
                    <a:pt x="329" y="1003"/>
                  </a:cubicBezTo>
                  <a:cubicBezTo>
                    <a:pt x="329" y="1000"/>
                    <a:pt x="330" y="996"/>
                    <a:pt x="330" y="993"/>
                  </a:cubicBezTo>
                  <a:cubicBezTo>
                    <a:pt x="331" y="988"/>
                    <a:pt x="330" y="983"/>
                    <a:pt x="330" y="979"/>
                  </a:cubicBezTo>
                  <a:cubicBezTo>
                    <a:pt x="330" y="977"/>
                    <a:pt x="330" y="974"/>
                    <a:pt x="330" y="973"/>
                  </a:cubicBezTo>
                  <a:cubicBezTo>
                    <a:pt x="331" y="969"/>
                    <a:pt x="336" y="969"/>
                    <a:pt x="338" y="966"/>
                  </a:cubicBezTo>
                  <a:cubicBezTo>
                    <a:pt x="343" y="960"/>
                    <a:pt x="342" y="946"/>
                    <a:pt x="342" y="938"/>
                  </a:cubicBezTo>
                  <a:cubicBezTo>
                    <a:pt x="342" y="930"/>
                    <a:pt x="340" y="920"/>
                    <a:pt x="342" y="912"/>
                  </a:cubicBezTo>
                  <a:cubicBezTo>
                    <a:pt x="343" y="909"/>
                    <a:pt x="344" y="907"/>
                    <a:pt x="344" y="903"/>
                  </a:cubicBezTo>
                  <a:cubicBezTo>
                    <a:pt x="344" y="901"/>
                    <a:pt x="343" y="899"/>
                    <a:pt x="342" y="897"/>
                  </a:cubicBezTo>
                  <a:cubicBezTo>
                    <a:pt x="342" y="895"/>
                    <a:pt x="342" y="890"/>
                    <a:pt x="343" y="889"/>
                  </a:cubicBezTo>
                  <a:cubicBezTo>
                    <a:pt x="345" y="887"/>
                    <a:pt x="350" y="888"/>
                    <a:pt x="352" y="888"/>
                  </a:cubicBezTo>
                  <a:cubicBezTo>
                    <a:pt x="356" y="887"/>
                    <a:pt x="356" y="886"/>
                    <a:pt x="358" y="882"/>
                  </a:cubicBezTo>
                  <a:cubicBezTo>
                    <a:pt x="360" y="877"/>
                    <a:pt x="362" y="872"/>
                    <a:pt x="365" y="867"/>
                  </a:cubicBezTo>
                  <a:cubicBezTo>
                    <a:pt x="365" y="865"/>
                    <a:pt x="366" y="861"/>
                    <a:pt x="368" y="860"/>
                  </a:cubicBezTo>
                  <a:cubicBezTo>
                    <a:pt x="368" y="859"/>
                    <a:pt x="369" y="859"/>
                    <a:pt x="370" y="858"/>
                  </a:cubicBezTo>
                  <a:cubicBezTo>
                    <a:pt x="372" y="857"/>
                    <a:pt x="374" y="853"/>
                    <a:pt x="374" y="851"/>
                  </a:cubicBezTo>
                  <a:cubicBezTo>
                    <a:pt x="375" y="848"/>
                    <a:pt x="375" y="845"/>
                    <a:pt x="377" y="841"/>
                  </a:cubicBezTo>
                  <a:cubicBezTo>
                    <a:pt x="378" y="839"/>
                    <a:pt x="382" y="834"/>
                    <a:pt x="385" y="832"/>
                  </a:cubicBezTo>
                  <a:cubicBezTo>
                    <a:pt x="387" y="832"/>
                    <a:pt x="388" y="833"/>
                    <a:pt x="389" y="832"/>
                  </a:cubicBezTo>
                  <a:cubicBezTo>
                    <a:pt x="389" y="831"/>
                    <a:pt x="391" y="828"/>
                    <a:pt x="391" y="827"/>
                  </a:cubicBezTo>
                  <a:cubicBezTo>
                    <a:pt x="392" y="825"/>
                    <a:pt x="393" y="822"/>
                    <a:pt x="393" y="819"/>
                  </a:cubicBezTo>
                  <a:cubicBezTo>
                    <a:pt x="393" y="817"/>
                    <a:pt x="391" y="815"/>
                    <a:pt x="392" y="812"/>
                  </a:cubicBezTo>
                  <a:cubicBezTo>
                    <a:pt x="392" y="811"/>
                    <a:pt x="393" y="812"/>
                    <a:pt x="393" y="811"/>
                  </a:cubicBezTo>
                  <a:cubicBezTo>
                    <a:pt x="393" y="809"/>
                    <a:pt x="393" y="809"/>
                    <a:pt x="393" y="808"/>
                  </a:cubicBezTo>
                  <a:cubicBezTo>
                    <a:pt x="392" y="806"/>
                    <a:pt x="392" y="804"/>
                    <a:pt x="391" y="803"/>
                  </a:cubicBezTo>
                  <a:cubicBezTo>
                    <a:pt x="391" y="802"/>
                    <a:pt x="390" y="802"/>
                    <a:pt x="390" y="802"/>
                  </a:cubicBezTo>
                  <a:cubicBezTo>
                    <a:pt x="395" y="801"/>
                    <a:pt x="400" y="800"/>
                    <a:pt x="404" y="798"/>
                  </a:cubicBezTo>
                  <a:cubicBezTo>
                    <a:pt x="407" y="796"/>
                    <a:pt x="407" y="795"/>
                    <a:pt x="409" y="793"/>
                  </a:cubicBezTo>
                  <a:cubicBezTo>
                    <a:pt x="415" y="783"/>
                    <a:pt x="422" y="775"/>
                    <a:pt x="431" y="768"/>
                  </a:cubicBezTo>
                  <a:cubicBezTo>
                    <a:pt x="434" y="766"/>
                    <a:pt x="437" y="764"/>
                    <a:pt x="440" y="761"/>
                  </a:cubicBezTo>
                  <a:cubicBezTo>
                    <a:pt x="443" y="759"/>
                    <a:pt x="445" y="756"/>
                    <a:pt x="448" y="753"/>
                  </a:cubicBezTo>
                  <a:cubicBezTo>
                    <a:pt x="451" y="750"/>
                    <a:pt x="452" y="750"/>
                    <a:pt x="456" y="752"/>
                  </a:cubicBezTo>
                  <a:cubicBezTo>
                    <a:pt x="458" y="752"/>
                    <a:pt x="459" y="753"/>
                    <a:pt x="461" y="753"/>
                  </a:cubicBezTo>
                  <a:cubicBezTo>
                    <a:pt x="464" y="752"/>
                    <a:pt x="464" y="746"/>
                    <a:pt x="466" y="744"/>
                  </a:cubicBezTo>
                  <a:cubicBezTo>
                    <a:pt x="471" y="740"/>
                    <a:pt x="476" y="739"/>
                    <a:pt x="481" y="736"/>
                  </a:cubicBezTo>
                  <a:cubicBezTo>
                    <a:pt x="484" y="735"/>
                    <a:pt x="487" y="731"/>
                    <a:pt x="490" y="730"/>
                  </a:cubicBezTo>
                  <a:cubicBezTo>
                    <a:pt x="493" y="729"/>
                    <a:pt x="497" y="731"/>
                    <a:pt x="500" y="732"/>
                  </a:cubicBezTo>
                  <a:cubicBezTo>
                    <a:pt x="503" y="732"/>
                    <a:pt x="507" y="732"/>
                    <a:pt x="510" y="732"/>
                  </a:cubicBezTo>
                  <a:cubicBezTo>
                    <a:pt x="513" y="732"/>
                    <a:pt x="514" y="733"/>
                    <a:pt x="515" y="729"/>
                  </a:cubicBezTo>
                  <a:cubicBezTo>
                    <a:pt x="517" y="725"/>
                    <a:pt x="518" y="719"/>
                    <a:pt x="518" y="715"/>
                  </a:cubicBezTo>
                  <a:cubicBezTo>
                    <a:pt x="519" y="706"/>
                    <a:pt x="520" y="697"/>
                    <a:pt x="523" y="689"/>
                  </a:cubicBezTo>
                  <a:cubicBezTo>
                    <a:pt x="525" y="685"/>
                    <a:pt x="527" y="681"/>
                    <a:pt x="529" y="678"/>
                  </a:cubicBezTo>
                  <a:cubicBezTo>
                    <a:pt x="530" y="675"/>
                    <a:pt x="530" y="672"/>
                    <a:pt x="532" y="670"/>
                  </a:cubicBezTo>
                  <a:cubicBezTo>
                    <a:pt x="533" y="668"/>
                    <a:pt x="535" y="667"/>
                    <a:pt x="536" y="665"/>
                  </a:cubicBezTo>
                  <a:cubicBezTo>
                    <a:pt x="538" y="663"/>
                    <a:pt x="538" y="661"/>
                    <a:pt x="540" y="659"/>
                  </a:cubicBezTo>
                  <a:cubicBezTo>
                    <a:pt x="544" y="655"/>
                    <a:pt x="548" y="651"/>
                    <a:pt x="552" y="647"/>
                  </a:cubicBezTo>
                  <a:cubicBezTo>
                    <a:pt x="557" y="641"/>
                    <a:pt x="556" y="634"/>
                    <a:pt x="554" y="627"/>
                  </a:cubicBezTo>
                  <a:cubicBezTo>
                    <a:pt x="553" y="624"/>
                    <a:pt x="551" y="618"/>
                    <a:pt x="547" y="619"/>
                  </a:cubicBezTo>
                  <a:cubicBezTo>
                    <a:pt x="546" y="612"/>
                    <a:pt x="540" y="605"/>
                    <a:pt x="537" y="599"/>
                  </a:cubicBezTo>
                  <a:cubicBezTo>
                    <a:pt x="536" y="595"/>
                    <a:pt x="535" y="592"/>
                    <a:pt x="535" y="588"/>
                  </a:cubicBezTo>
                  <a:cubicBezTo>
                    <a:pt x="536" y="581"/>
                    <a:pt x="541" y="575"/>
                    <a:pt x="544" y="569"/>
                  </a:cubicBezTo>
                  <a:cubicBezTo>
                    <a:pt x="546" y="566"/>
                    <a:pt x="551" y="563"/>
                    <a:pt x="551" y="559"/>
                  </a:cubicBezTo>
                  <a:cubicBezTo>
                    <a:pt x="552" y="558"/>
                    <a:pt x="551" y="556"/>
                    <a:pt x="552" y="555"/>
                  </a:cubicBezTo>
                  <a:cubicBezTo>
                    <a:pt x="552" y="551"/>
                    <a:pt x="553" y="547"/>
                    <a:pt x="554" y="543"/>
                  </a:cubicBezTo>
                  <a:cubicBezTo>
                    <a:pt x="556" y="540"/>
                    <a:pt x="558" y="537"/>
                    <a:pt x="558" y="533"/>
                  </a:cubicBezTo>
                  <a:cubicBezTo>
                    <a:pt x="558" y="531"/>
                    <a:pt x="558" y="529"/>
                    <a:pt x="559" y="527"/>
                  </a:cubicBezTo>
                  <a:cubicBezTo>
                    <a:pt x="559" y="526"/>
                    <a:pt x="562" y="524"/>
                    <a:pt x="563" y="523"/>
                  </a:cubicBezTo>
                  <a:cubicBezTo>
                    <a:pt x="565" y="521"/>
                    <a:pt x="566" y="518"/>
                    <a:pt x="570" y="518"/>
                  </a:cubicBezTo>
                  <a:cubicBezTo>
                    <a:pt x="571" y="518"/>
                    <a:pt x="572" y="518"/>
                    <a:pt x="573" y="518"/>
                  </a:cubicBezTo>
                  <a:cubicBezTo>
                    <a:pt x="576" y="517"/>
                    <a:pt x="582" y="517"/>
                    <a:pt x="584" y="516"/>
                  </a:cubicBezTo>
                  <a:cubicBezTo>
                    <a:pt x="586" y="514"/>
                    <a:pt x="584" y="509"/>
                    <a:pt x="587" y="507"/>
                  </a:cubicBezTo>
                  <a:cubicBezTo>
                    <a:pt x="588" y="506"/>
                    <a:pt x="589" y="507"/>
                    <a:pt x="590" y="507"/>
                  </a:cubicBezTo>
                  <a:cubicBezTo>
                    <a:pt x="592" y="507"/>
                    <a:pt x="592" y="506"/>
                    <a:pt x="593" y="505"/>
                  </a:cubicBezTo>
                  <a:cubicBezTo>
                    <a:pt x="596" y="503"/>
                    <a:pt x="598" y="502"/>
                    <a:pt x="599" y="499"/>
                  </a:cubicBezTo>
                  <a:cubicBezTo>
                    <a:pt x="599" y="498"/>
                    <a:pt x="599" y="495"/>
                    <a:pt x="600" y="494"/>
                  </a:cubicBezTo>
                  <a:cubicBezTo>
                    <a:pt x="601" y="489"/>
                    <a:pt x="603" y="485"/>
                    <a:pt x="603" y="480"/>
                  </a:cubicBezTo>
                  <a:cubicBezTo>
                    <a:pt x="604" y="474"/>
                    <a:pt x="602" y="468"/>
                    <a:pt x="603" y="462"/>
                  </a:cubicBezTo>
                  <a:cubicBezTo>
                    <a:pt x="606" y="461"/>
                    <a:pt x="607" y="465"/>
                    <a:pt x="610" y="465"/>
                  </a:cubicBezTo>
                  <a:cubicBezTo>
                    <a:pt x="615" y="465"/>
                    <a:pt x="612" y="460"/>
                    <a:pt x="615" y="460"/>
                  </a:cubicBezTo>
                  <a:cubicBezTo>
                    <a:pt x="621" y="469"/>
                    <a:pt x="632" y="472"/>
                    <a:pt x="642" y="467"/>
                  </a:cubicBezTo>
                  <a:cubicBezTo>
                    <a:pt x="643" y="467"/>
                    <a:pt x="643" y="467"/>
                    <a:pt x="644" y="467"/>
                  </a:cubicBezTo>
                  <a:cubicBezTo>
                    <a:pt x="645" y="466"/>
                    <a:pt x="645" y="465"/>
                    <a:pt x="646" y="464"/>
                  </a:cubicBezTo>
                  <a:cubicBezTo>
                    <a:pt x="648" y="462"/>
                    <a:pt x="651" y="463"/>
                    <a:pt x="653" y="463"/>
                  </a:cubicBezTo>
                  <a:cubicBezTo>
                    <a:pt x="657" y="463"/>
                    <a:pt x="661" y="464"/>
                    <a:pt x="665" y="465"/>
                  </a:cubicBezTo>
                  <a:cubicBezTo>
                    <a:pt x="668" y="466"/>
                    <a:pt x="670" y="467"/>
                    <a:pt x="672" y="468"/>
                  </a:cubicBezTo>
                  <a:cubicBezTo>
                    <a:pt x="676" y="468"/>
                    <a:pt x="675" y="467"/>
                    <a:pt x="677" y="465"/>
                  </a:cubicBezTo>
                  <a:cubicBezTo>
                    <a:pt x="676" y="465"/>
                    <a:pt x="680" y="463"/>
                    <a:pt x="680" y="463"/>
                  </a:cubicBezTo>
                  <a:cubicBezTo>
                    <a:pt x="682" y="462"/>
                    <a:pt x="685" y="460"/>
                    <a:pt x="687" y="460"/>
                  </a:cubicBezTo>
                  <a:cubicBezTo>
                    <a:pt x="690" y="459"/>
                    <a:pt x="692" y="460"/>
                    <a:pt x="694" y="459"/>
                  </a:cubicBezTo>
                  <a:cubicBezTo>
                    <a:pt x="694" y="458"/>
                    <a:pt x="695" y="456"/>
                    <a:pt x="695" y="455"/>
                  </a:cubicBezTo>
                  <a:cubicBezTo>
                    <a:pt x="696" y="450"/>
                    <a:pt x="695" y="444"/>
                    <a:pt x="694" y="439"/>
                  </a:cubicBezTo>
                  <a:cubicBezTo>
                    <a:pt x="691" y="429"/>
                    <a:pt x="690" y="419"/>
                    <a:pt x="684" y="410"/>
                  </a:cubicBezTo>
                  <a:cubicBezTo>
                    <a:pt x="682" y="406"/>
                    <a:pt x="679" y="405"/>
                    <a:pt x="677" y="401"/>
                  </a:cubicBezTo>
                  <a:cubicBezTo>
                    <a:pt x="676" y="398"/>
                    <a:pt x="677" y="394"/>
                    <a:pt x="677" y="391"/>
                  </a:cubicBezTo>
                  <a:cubicBezTo>
                    <a:pt x="677" y="387"/>
                    <a:pt x="676" y="384"/>
                    <a:pt x="677" y="380"/>
                  </a:cubicBezTo>
                  <a:cubicBezTo>
                    <a:pt x="677" y="376"/>
                    <a:pt x="679" y="374"/>
                    <a:pt x="681" y="371"/>
                  </a:cubicBezTo>
                  <a:cubicBezTo>
                    <a:pt x="684" y="365"/>
                    <a:pt x="683" y="359"/>
                    <a:pt x="684" y="353"/>
                  </a:cubicBezTo>
                  <a:cubicBezTo>
                    <a:pt x="686" y="345"/>
                    <a:pt x="689" y="337"/>
                    <a:pt x="687" y="328"/>
                  </a:cubicBezTo>
                  <a:cubicBezTo>
                    <a:pt x="686" y="320"/>
                    <a:pt x="682" y="312"/>
                    <a:pt x="677" y="305"/>
                  </a:cubicBezTo>
                  <a:cubicBezTo>
                    <a:pt x="672" y="296"/>
                    <a:pt x="669" y="286"/>
                    <a:pt x="669" y="276"/>
                  </a:cubicBezTo>
                  <a:cubicBezTo>
                    <a:pt x="669" y="273"/>
                    <a:pt x="668" y="267"/>
                    <a:pt x="670" y="265"/>
                  </a:cubicBezTo>
                  <a:cubicBezTo>
                    <a:pt x="671" y="263"/>
                    <a:pt x="673" y="264"/>
                    <a:pt x="673" y="262"/>
                  </a:cubicBezTo>
                  <a:cubicBezTo>
                    <a:pt x="674" y="259"/>
                    <a:pt x="673" y="255"/>
                    <a:pt x="672" y="253"/>
                  </a:cubicBezTo>
                  <a:cubicBezTo>
                    <a:pt x="672" y="249"/>
                    <a:pt x="671" y="246"/>
                    <a:pt x="670" y="243"/>
                  </a:cubicBezTo>
                  <a:cubicBezTo>
                    <a:pt x="670" y="241"/>
                    <a:pt x="670" y="240"/>
                    <a:pt x="669" y="239"/>
                  </a:cubicBezTo>
                  <a:cubicBezTo>
                    <a:pt x="667" y="238"/>
                    <a:pt x="663" y="239"/>
                    <a:pt x="661" y="237"/>
                  </a:cubicBezTo>
                  <a:cubicBezTo>
                    <a:pt x="659" y="236"/>
                    <a:pt x="658" y="233"/>
                    <a:pt x="657" y="230"/>
                  </a:cubicBezTo>
                  <a:cubicBezTo>
                    <a:pt x="656" y="225"/>
                    <a:pt x="661" y="224"/>
                    <a:pt x="664" y="221"/>
                  </a:cubicBezTo>
                  <a:cubicBezTo>
                    <a:pt x="666" y="218"/>
                    <a:pt x="666" y="214"/>
                    <a:pt x="666" y="211"/>
                  </a:cubicBezTo>
                  <a:cubicBezTo>
                    <a:pt x="665" y="204"/>
                    <a:pt x="662" y="199"/>
                    <a:pt x="662" y="192"/>
                  </a:cubicBezTo>
                  <a:cubicBezTo>
                    <a:pt x="662" y="188"/>
                    <a:pt x="662" y="184"/>
                    <a:pt x="662" y="180"/>
                  </a:cubicBezTo>
                  <a:cubicBezTo>
                    <a:pt x="662" y="178"/>
                    <a:pt x="663" y="176"/>
                    <a:pt x="663" y="174"/>
                  </a:cubicBezTo>
                  <a:cubicBezTo>
                    <a:pt x="665" y="169"/>
                    <a:pt x="668" y="167"/>
                    <a:pt x="667" y="162"/>
                  </a:cubicBezTo>
                  <a:cubicBezTo>
                    <a:pt x="660" y="161"/>
                    <a:pt x="659" y="153"/>
                    <a:pt x="656" y="148"/>
                  </a:cubicBezTo>
                  <a:cubicBezTo>
                    <a:pt x="654" y="145"/>
                    <a:pt x="653" y="143"/>
                    <a:pt x="649" y="142"/>
                  </a:cubicBezTo>
                  <a:cubicBezTo>
                    <a:pt x="647" y="141"/>
                    <a:pt x="645" y="140"/>
                    <a:pt x="642" y="140"/>
                  </a:cubicBezTo>
                  <a:cubicBezTo>
                    <a:pt x="641" y="137"/>
                    <a:pt x="642" y="133"/>
                    <a:pt x="641" y="129"/>
                  </a:cubicBezTo>
                  <a:cubicBezTo>
                    <a:pt x="641" y="128"/>
                    <a:pt x="642" y="125"/>
                    <a:pt x="641" y="123"/>
                  </a:cubicBezTo>
                  <a:cubicBezTo>
                    <a:pt x="639" y="122"/>
                    <a:pt x="634" y="121"/>
                    <a:pt x="632" y="120"/>
                  </a:cubicBezTo>
                  <a:cubicBezTo>
                    <a:pt x="629" y="119"/>
                    <a:pt x="628" y="120"/>
                    <a:pt x="627" y="117"/>
                  </a:cubicBezTo>
                  <a:cubicBezTo>
                    <a:pt x="626" y="115"/>
                    <a:pt x="625" y="114"/>
                    <a:pt x="624" y="112"/>
                  </a:cubicBezTo>
                  <a:cubicBezTo>
                    <a:pt x="621" y="106"/>
                    <a:pt x="616" y="100"/>
                    <a:pt x="613" y="95"/>
                  </a:cubicBezTo>
                  <a:cubicBezTo>
                    <a:pt x="609" y="90"/>
                    <a:pt x="607" y="89"/>
                    <a:pt x="602" y="86"/>
                  </a:cubicBezTo>
                  <a:cubicBezTo>
                    <a:pt x="598" y="85"/>
                    <a:pt x="595" y="84"/>
                    <a:pt x="591" y="84"/>
                  </a:cubicBezTo>
                  <a:cubicBezTo>
                    <a:pt x="589" y="84"/>
                    <a:pt x="588" y="84"/>
                    <a:pt x="587" y="83"/>
                  </a:cubicBezTo>
                  <a:cubicBezTo>
                    <a:pt x="585" y="82"/>
                    <a:pt x="583" y="80"/>
                    <a:pt x="582" y="78"/>
                  </a:cubicBezTo>
                  <a:cubicBezTo>
                    <a:pt x="579" y="76"/>
                    <a:pt x="577" y="74"/>
                    <a:pt x="574" y="72"/>
                  </a:cubicBezTo>
                  <a:cubicBezTo>
                    <a:pt x="570" y="69"/>
                    <a:pt x="568" y="69"/>
                    <a:pt x="563" y="68"/>
                  </a:cubicBezTo>
                  <a:cubicBezTo>
                    <a:pt x="559" y="67"/>
                    <a:pt x="555" y="62"/>
                    <a:pt x="552" y="59"/>
                  </a:cubicBezTo>
                  <a:cubicBezTo>
                    <a:pt x="549" y="54"/>
                    <a:pt x="547" y="50"/>
                    <a:pt x="542" y="47"/>
                  </a:cubicBezTo>
                  <a:cubicBezTo>
                    <a:pt x="538" y="44"/>
                    <a:pt x="537" y="39"/>
                    <a:pt x="534" y="35"/>
                  </a:cubicBezTo>
                  <a:cubicBezTo>
                    <a:pt x="531" y="32"/>
                    <a:pt x="528" y="30"/>
                    <a:pt x="525" y="28"/>
                  </a:cubicBezTo>
                  <a:cubicBezTo>
                    <a:pt x="523" y="26"/>
                    <a:pt x="522" y="24"/>
                    <a:pt x="519" y="22"/>
                  </a:cubicBezTo>
                  <a:cubicBezTo>
                    <a:pt x="516" y="19"/>
                    <a:pt x="513" y="17"/>
                    <a:pt x="510" y="14"/>
                  </a:cubicBezTo>
                  <a:cubicBezTo>
                    <a:pt x="508" y="11"/>
                    <a:pt x="505" y="8"/>
                    <a:pt x="504" y="5"/>
                  </a:cubicBezTo>
                  <a:cubicBezTo>
                    <a:pt x="503" y="4"/>
                    <a:pt x="503" y="2"/>
                    <a:pt x="502" y="1"/>
                  </a:cubicBezTo>
                  <a:cubicBezTo>
                    <a:pt x="502" y="1"/>
                    <a:pt x="502" y="0"/>
                    <a:pt x="502" y="0"/>
                  </a:cubicBezTo>
                  <a:cubicBezTo>
                    <a:pt x="500" y="0"/>
                    <a:pt x="498" y="0"/>
                    <a:pt x="497" y="1"/>
                  </a:cubicBezTo>
                  <a:cubicBezTo>
                    <a:pt x="494" y="1"/>
                    <a:pt x="481" y="1"/>
                    <a:pt x="480" y="4"/>
                  </a:cubicBezTo>
                  <a:cubicBezTo>
                    <a:pt x="482" y="6"/>
                    <a:pt x="483" y="10"/>
                    <a:pt x="485" y="12"/>
                  </a:cubicBezTo>
                  <a:cubicBezTo>
                    <a:pt x="487" y="17"/>
                    <a:pt x="490" y="22"/>
                    <a:pt x="493" y="26"/>
                  </a:cubicBezTo>
                  <a:cubicBezTo>
                    <a:pt x="498" y="33"/>
                    <a:pt x="500" y="39"/>
                    <a:pt x="500" y="47"/>
                  </a:cubicBezTo>
                  <a:cubicBezTo>
                    <a:pt x="500" y="54"/>
                    <a:pt x="497" y="56"/>
                    <a:pt x="492" y="60"/>
                  </a:cubicBezTo>
                  <a:cubicBezTo>
                    <a:pt x="487" y="64"/>
                    <a:pt x="483" y="67"/>
                    <a:pt x="478" y="70"/>
                  </a:cubicBezTo>
                  <a:cubicBezTo>
                    <a:pt x="475" y="72"/>
                    <a:pt x="470" y="73"/>
                    <a:pt x="468" y="76"/>
                  </a:cubicBezTo>
                  <a:cubicBezTo>
                    <a:pt x="471" y="78"/>
                    <a:pt x="484" y="81"/>
                    <a:pt x="484" y="85"/>
                  </a:cubicBezTo>
                  <a:cubicBezTo>
                    <a:pt x="484" y="86"/>
                    <a:pt x="481" y="88"/>
                    <a:pt x="481" y="89"/>
                  </a:cubicBezTo>
                  <a:cubicBezTo>
                    <a:pt x="480" y="91"/>
                    <a:pt x="480" y="92"/>
                    <a:pt x="478" y="95"/>
                  </a:cubicBezTo>
                  <a:cubicBezTo>
                    <a:pt x="478" y="96"/>
                    <a:pt x="475" y="100"/>
                    <a:pt x="474" y="101"/>
                  </a:cubicBezTo>
                  <a:cubicBezTo>
                    <a:pt x="472" y="102"/>
                    <a:pt x="471" y="101"/>
                    <a:pt x="469" y="101"/>
                  </a:cubicBezTo>
                  <a:cubicBezTo>
                    <a:pt x="462" y="100"/>
                    <a:pt x="456" y="98"/>
                    <a:pt x="449" y="94"/>
                  </a:cubicBezTo>
                  <a:cubicBezTo>
                    <a:pt x="444" y="91"/>
                    <a:pt x="438" y="92"/>
                    <a:pt x="432" y="91"/>
                  </a:cubicBezTo>
                  <a:cubicBezTo>
                    <a:pt x="423" y="89"/>
                    <a:pt x="414" y="87"/>
                    <a:pt x="405" y="84"/>
                  </a:cubicBezTo>
                  <a:cubicBezTo>
                    <a:pt x="403" y="83"/>
                    <a:pt x="399" y="83"/>
                    <a:pt x="397" y="82"/>
                  </a:cubicBezTo>
                  <a:cubicBezTo>
                    <a:pt x="394" y="81"/>
                    <a:pt x="393" y="80"/>
                    <a:pt x="391" y="80"/>
                  </a:cubicBezTo>
                  <a:cubicBezTo>
                    <a:pt x="387" y="80"/>
                    <a:pt x="382" y="81"/>
                    <a:pt x="379" y="78"/>
                  </a:cubicBezTo>
                  <a:cubicBezTo>
                    <a:pt x="380" y="83"/>
                    <a:pt x="380" y="89"/>
                    <a:pt x="380" y="94"/>
                  </a:cubicBezTo>
                  <a:cubicBezTo>
                    <a:pt x="380" y="117"/>
                    <a:pt x="380" y="117"/>
                    <a:pt x="380" y="117"/>
                  </a:cubicBezTo>
                  <a:cubicBezTo>
                    <a:pt x="380" y="119"/>
                    <a:pt x="380" y="123"/>
                    <a:pt x="380" y="124"/>
                  </a:cubicBezTo>
                  <a:cubicBezTo>
                    <a:pt x="379" y="126"/>
                    <a:pt x="378" y="128"/>
                    <a:pt x="378" y="129"/>
                  </a:cubicBezTo>
                  <a:cubicBezTo>
                    <a:pt x="377" y="132"/>
                    <a:pt x="375" y="134"/>
                    <a:pt x="373" y="137"/>
                  </a:cubicBezTo>
                  <a:cubicBezTo>
                    <a:pt x="371" y="142"/>
                    <a:pt x="368" y="147"/>
                    <a:pt x="366" y="151"/>
                  </a:cubicBezTo>
                  <a:cubicBezTo>
                    <a:pt x="365" y="153"/>
                    <a:pt x="365" y="155"/>
                    <a:pt x="364" y="157"/>
                  </a:cubicBezTo>
                  <a:cubicBezTo>
                    <a:pt x="359" y="155"/>
                    <a:pt x="354" y="152"/>
                    <a:pt x="349" y="151"/>
                  </a:cubicBezTo>
                  <a:cubicBezTo>
                    <a:pt x="345" y="149"/>
                    <a:pt x="343" y="147"/>
                    <a:pt x="340" y="146"/>
                  </a:cubicBezTo>
                  <a:cubicBezTo>
                    <a:pt x="336" y="144"/>
                    <a:pt x="329" y="144"/>
                    <a:pt x="325" y="145"/>
                  </a:cubicBezTo>
                  <a:cubicBezTo>
                    <a:pt x="322" y="146"/>
                    <a:pt x="319" y="149"/>
                    <a:pt x="317" y="151"/>
                  </a:cubicBezTo>
                  <a:cubicBezTo>
                    <a:pt x="313" y="153"/>
                    <a:pt x="311" y="155"/>
                    <a:pt x="308" y="159"/>
                  </a:cubicBezTo>
                  <a:cubicBezTo>
                    <a:pt x="305" y="163"/>
                    <a:pt x="302" y="168"/>
                    <a:pt x="299" y="172"/>
                  </a:cubicBezTo>
                  <a:cubicBezTo>
                    <a:pt x="298" y="173"/>
                    <a:pt x="295" y="175"/>
                    <a:pt x="295" y="177"/>
                  </a:cubicBezTo>
                  <a:cubicBezTo>
                    <a:pt x="292" y="178"/>
                    <a:pt x="292" y="181"/>
                    <a:pt x="291" y="183"/>
                  </a:cubicBezTo>
                  <a:cubicBezTo>
                    <a:pt x="290" y="185"/>
                    <a:pt x="289" y="186"/>
                    <a:pt x="288" y="188"/>
                  </a:cubicBezTo>
                  <a:cubicBezTo>
                    <a:pt x="289" y="187"/>
                    <a:pt x="290" y="187"/>
                    <a:pt x="290" y="187"/>
                  </a:cubicBezTo>
                  <a:cubicBezTo>
                    <a:pt x="289" y="188"/>
                    <a:pt x="289" y="190"/>
                    <a:pt x="288" y="192"/>
                  </a:cubicBezTo>
                  <a:cubicBezTo>
                    <a:pt x="287" y="195"/>
                    <a:pt x="285" y="199"/>
                    <a:pt x="284" y="202"/>
                  </a:cubicBezTo>
                  <a:cubicBezTo>
                    <a:pt x="282" y="207"/>
                    <a:pt x="280" y="211"/>
                    <a:pt x="279" y="216"/>
                  </a:cubicBezTo>
                  <a:cubicBezTo>
                    <a:pt x="279" y="220"/>
                    <a:pt x="278" y="223"/>
                    <a:pt x="274" y="224"/>
                  </a:cubicBezTo>
                  <a:cubicBezTo>
                    <a:pt x="269" y="227"/>
                    <a:pt x="268" y="229"/>
                    <a:pt x="267" y="234"/>
                  </a:cubicBezTo>
                  <a:cubicBezTo>
                    <a:pt x="266" y="237"/>
                    <a:pt x="266" y="239"/>
                    <a:pt x="266" y="243"/>
                  </a:cubicBezTo>
                  <a:cubicBezTo>
                    <a:pt x="266" y="245"/>
                    <a:pt x="266" y="247"/>
                    <a:pt x="267" y="249"/>
                  </a:cubicBezTo>
                  <a:cubicBezTo>
                    <a:pt x="268" y="253"/>
                    <a:pt x="268" y="256"/>
                    <a:pt x="269" y="259"/>
                  </a:cubicBezTo>
                  <a:cubicBezTo>
                    <a:pt x="269" y="261"/>
                    <a:pt x="271" y="263"/>
                    <a:pt x="272" y="265"/>
                  </a:cubicBezTo>
                  <a:cubicBezTo>
                    <a:pt x="272" y="266"/>
                    <a:pt x="272" y="268"/>
                    <a:pt x="272" y="270"/>
                  </a:cubicBezTo>
                  <a:cubicBezTo>
                    <a:pt x="272" y="272"/>
                    <a:pt x="274" y="275"/>
                    <a:pt x="275" y="278"/>
                  </a:cubicBezTo>
                  <a:cubicBezTo>
                    <a:pt x="276" y="282"/>
                    <a:pt x="277" y="294"/>
                    <a:pt x="273" y="297"/>
                  </a:cubicBezTo>
                  <a:cubicBezTo>
                    <a:pt x="269" y="299"/>
                    <a:pt x="265" y="300"/>
                    <a:pt x="261" y="303"/>
                  </a:cubicBezTo>
                  <a:cubicBezTo>
                    <a:pt x="258" y="306"/>
                    <a:pt x="256" y="310"/>
                    <a:pt x="256" y="314"/>
                  </a:cubicBezTo>
                  <a:cubicBezTo>
                    <a:pt x="255" y="319"/>
                    <a:pt x="252" y="323"/>
                    <a:pt x="250" y="327"/>
                  </a:cubicBezTo>
                  <a:cubicBezTo>
                    <a:pt x="247" y="335"/>
                    <a:pt x="243" y="344"/>
                    <a:pt x="239" y="352"/>
                  </a:cubicBezTo>
                  <a:cubicBezTo>
                    <a:pt x="237" y="357"/>
                    <a:pt x="236" y="360"/>
                    <a:pt x="231" y="363"/>
                  </a:cubicBezTo>
                  <a:cubicBezTo>
                    <a:pt x="227" y="366"/>
                    <a:pt x="224" y="368"/>
                    <a:pt x="225" y="374"/>
                  </a:cubicBezTo>
                  <a:cubicBezTo>
                    <a:pt x="225" y="379"/>
                    <a:pt x="233" y="388"/>
                    <a:pt x="230" y="394"/>
                  </a:cubicBezTo>
                  <a:cubicBezTo>
                    <a:pt x="228" y="397"/>
                    <a:pt x="223" y="396"/>
                    <a:pt x="220" y="398"/>
                  </a:cubicBezTo>
                  <a:cubicBezTo>
                    <a:pt x="215" y="401"/>
                    <a:pt x="215" y="408"/>
                    <a:pt x="209" y="410"/>
                  </a:cubicBezTo>
                  <a:cubicBezTo>
                    <a:pt x="206" y="412"/>
                    <a:pt x="201" y="413"/>
                    <a:pt x="197" y="414"/>
                  </a:cubicBezTo>
                  <a:cubicBezTo>
                    <a:pt x="193" y="415"/>
                    <a:pt x="181" y="412"/>
                    <a:pt x="178" y="415"/>
                  </a:cubicBezTo>
                  <a:cubicBezTo>
                    <a:pt x="178" y="415"/>
                    <a:pt x="178" y="416"/>
                    <a:pt x="178" y="416"/>
                  </a:cubicBezTo>
                  <a:cubicBezTo>
                    <a:pt x="178" y="418"/>
                    <a:pt x="178" y="422"/>
                    <a:pt x="178" y="422"/>
                  </a:cubicBezTo>
                  <a:cubicBezTo>
                    <a:pt x="179" y="428"/>
                    <a:pt x="180" y="435"/>
                    <a:pt x="181" y="441"/>
                  </a:cubicBezTo>
                  <a:cubicBezTo>
                    <a:pt x="182" y="449"/>
                    <a:pt x="186" y="456"/>
                    <a:pt x="184" y="463"/>
                  </a:cubicBezTo>
                  <a:cubicBezTo>
                    <a:pt x="184" y="466"/>
                    <a:pt x="184" y="467"/>
                    <a:pt x="183" y="469"/>
                  </a:cubicBezTo>
                  <a:cubicBezTo>
                    <a:pt x="182" y="470"/>
                    <a:pt x="181" y="471"/>
                    <a:pt x="180" y="471"/>
                  </a:cubicBezTo>
                  <a:cubicBezTo>
                    <a:pt x="179" y="473"/>
                    <a:pt x="179" y="475"/>
                    <a:pt x="178" y="477"/>
                  </a:cubicBezTo>
                  <a:cubicBezTo>
                    <a:pt x="177" y="481"/>
                    <a:pt x="174" y="485"/>
                    <a:pt x="174" y="490"/>
                  </a:cubicBezTo>
                  <a:cubicBezTo>
                    <a:pt x="173" y="496"/>
                    <a:pt x="174" y="502"/>
                    <a:pt x="175" y="508"/>
                  </a:cubicBezTo>
                  <a:cubicBezTo>
                    <a:pt x="175" y="513"/>
                    <a:pt x="175" y="518"/>
                    <a:pt x="175" y="524"/>
                  </a:cubicBezTo>
                  <a:cubicBezTo>
                    <a:pt x="175" y="530"/>
                    <a:pt x="175" y="531"/>
                    <a:pt x="171" y="534"/>
                  </a:cubicBezTo>
                  <a:cubicBezTo>
                    <a:pt x="168" y="536"/>
                    <a:pt x="166" y="540"/>
                    <a:pt x="165" y="543"/>
                  </a:cubicBezTo>
                  <a:cubicBezTo>
                    <a:pt x="163" y="547"/>
                    <a:pt x="162" y="552"/>
                    <a:pt x="160" y="556"/>
                  </a:cubicBezTo>
                  <a:cubicBezTo>
                    <a:pt x="157" y="561"/>
                    <a:pt x="157" y="567"/>
                    <a:pt x="154" y="570"/>
                  </a:cubicBezTo>
                  <a:cubicBezTo>
                    <a:pt x="153" y="572"/>
                    <a:pt x="153" y="574"/>
                    <a:pt x="152" y="576"/>
                  </a:cubicBezTo>
                  <a:cubicBezTo>
                    <a:pt x="151" y="578"/>
                    <a:pt x="151" y="580"/>
                    <a:pt x="151" y="582"/>
                  </a:cubicBezTo>
                  <a:cubicBezTo>
                    <a:pt x="150" y="586"/>
                    <a:pt x="149" y="590"/>
                    <a:pt x="147" y="593"/>
                  </a:cubicBezTo>
                  <a:cubicBezTo>
                    <a:pt x="145" y="598"/>
                    <a:pt x="142" y="602"/>
                    <a:pt x="139" y="606"/>
                  </a:cubicBezTo>
                  <a:cubicBezTo>
                    <a:pt x="137" y="609"/>
                    <a:pt x="135" y="612"/>
                    <a:pt x="134" y="615"/>
                  </a:cubicBezTo>
                  <a:cubicBezTo>
                    <a:pt x="137" y="616"/>
                    <a:pt x="138" y="618"/>
                    <a:pt x="140" y="620"/>
                  </a:cubicBezTo>
                  <a:cubicBezTo>
                    <a:pt x="143" y="621"/>
                    <a:pt x="145" y="622"/>
                    <a:pt x="148" y="624"/>
                  </a:cubicBezTo>
                  <a:cubicBezTo>
                    <a:pt x="153" y="628"/>
                    <a:pt x="151" y="636"/>
                    <a:pt x="151" y="642"/>
                  </a:cubicBezTo>
                  <a:cubicBezTo>
                    <a:pt x="151" y="646"/>
                    <a:pt x="151" y="650"/>
                    <a:pt x="151" y="653"/>
                  </a:cubicBezTo>
                  <a:cubicBezTo>
                    <a:pt x="152" y="657"/>
                    <a:pt x="154" y="661"/>
                    <a:pt x="155" y="665"/>
                  </a:cubicBezTo>
                  <a:cubicBezTo>
                    <a:pt x="155" y="669"/>
                    <a:pt x="154" y="672"/>
                    <a:pt x="152" y="676"/>
                  </a:cubicBezTo>
                  <a:cubicBezTo>
                    <a:pt x="151" y="679"/>
                    <a:pt x="150" y="684"/>
                    <a:pt x="148" y="687"/>
                  </a:cubicBezTo>
                  <a:cubicBezTo>
                    <a:pt x="144" y="685"/>
                    <a:pt x="138" y="685"/>
                    <a:pt x="134" y="684"/>
                  </a:cubicBezTo>
                  <a:cubicBezTo>
                    <a:pt x="128" y="684"/>
                    <a:pt x="123" y="683"/>
                    <a:pt x="117" y="682"/>
                  </a:cubicBezTo>
                  <a:cubicBezTo>
                    <a:pt x="112" y="682"/>
                    <a:pt x="108" y="683"/>
                    <a:pt x="103" y="683"/>
                  </a:cubicBezTo>
                  <a:cubicBezTo>
                    <a:pt x="98" y="683"/>
                    <a:pt x="94" y="684"/>
                    <a:pt x="89" y="686"/>
                  </a:cubicBezTo>
                  <a:cubicBezTo>
                    <a:pt x="85" y="688"/>
                    <a:pt x="84" y="692"/>
                    <a:pt x="81" y="694"/>
                  </a:cubicBezTo>
                  <a:cubicBezTo>
                    <a:pt x="80" y="695"/>
                    <a:pt x="78" y="695"/>
                    <a:pt x="76" y="696"/>
                  </a:cubicBezTo>
                  <a:cubicBezTo>
                    <a:pt x="74" y="697"/>
                    <a:pt x="73" y="699"/>
                    <a:pt x="71" y="700"/>
                  </a:cubicBezTo>
                  <a:cubicBezTo>
                    <a:pt x="70" y="702"/>
                    <a:pt x="70" y="703"/>
                    <a:pt x="68" y="705"/>
                  </a:cubicBezTo>
                  <a:cubicBezTo>
                    <a:pt x="67" y="706"/>
                    <a:pt x="67" y="708"/>
                    <a:pt x="67" y="710"/>
                  </a:cubicBezTo>
                  <a:cubicBezTo>
                    <a:pt x="66" y="712"/>
                    <a:pt x="65" y="715"/>
                    <a:pt x="64" y="718"/>
                  </a:cubicBezTo>
                  <a:cubicBezTo>
                    <a:pt x="63" y="722"/>
                    <a:pt x="60" y="727"/>
                    <a:pt x="57" y="731"/>
                  </a:cubicBezTo>
                  <a:cubicBezTo>
                    <a:pt x="54" y="736"/>
                    <a:pt x="49" y="738"/>
                    <a:pt x="48" y="745"/>
                  </a:cubicBezTo>
                  <a:cubicBezTo>
                    <a:pt x="48" y="749"/>
                    <a:pt x="48" y="753"/>
                    <a:pt x="48" y="757"/>
                  </a:cubicBezTo>
                  <a:cubicBezTo>
                    <a:pt x="48" y="762"/>
                    <a:pt x="49" y="770"/>
                    <a:pt x="46" y="775"/>
                  </a:cubicBezTo>
                  <a:cubicBezTo>
                    <a:pt x="45" y="777"/>
                    <a:pt x="44" y="778"/>
                    <a:pt x="44" y="780"/>
                  </a:cubicBezTo>
                  <a:cubicBezTo>
                    <a:pt x="44" y="782"/>
                    <a:pt x="45" y="784"/>
                    <a:pt x="45" y="786"/>
                  </a:cubicBezTo>
                  <a:cubicBezTo>
                    <a:pt x="47" y="789"/>
                    <a:pt x="48" y="792"/>
                    <a:pt x="49" y="795"/>
                  </a:cubicBezTo>
                  <a:cubicBezTo>
                    <a:pt x="50" y="799"/>
                    <a:pt x="50" y="803"/>
                    <a:pt x="52" y="807"/>
                  </a:cubicBezTo>
                  <a:cubicBezTo>
                    <a:pt x="53" y="809"/>
                    <a:pt x="54" y="810"/>
                    <a:pt x="53" y="812"/>
                  </a:cubicBezTo>
                  <a:cubicBezTo>
                    <a:pt x="53" y="814"/>
                    <a:pt x="50" y="816"/>
                    <a:pt x="49" y="817"/>
                  </a:cubicBezTo>
                  <a:cubicBezTo>
                    <a:pt x="48" y="818"/>
                    <a:pt x="48" y="820"/>
                    <a:pt x="47" y="821"/>
                  </a:cubicBezTo>
                  <a:cubicBezTo>
                    <a:pt x="47" y="822"/>
                    <a:pt x="45" y="821"/>
                    <a:pt x="45" y="822"/>
                  </a:cubicBezTo>
                  <a:cubicBezTo>
                    <a:pt x="44" y="824"/>
                    <a:pt x="45" y="828"/>
                    <a:pt x="45" y="830"/>
                  </a:cubicBezTo>
                  <a:cubicBezTo>
                    <a:pt x="45" y="836"/>
                    <a:pt x="45" y="841"/>
                    <a:pt x="45" y="847"/>
                  </a:cubicBezTo>
                  <a:cubicBezTo>
                    <a:pt x="45" y="851"/>
                    <a:pt x="44" y="855"/>
                    <a:pt x="43" y="860"/>
                  </a:cubicBezTo>
                  <a:cubicBezTo>
                    <a:pt x="43" y="863"/>
                    <a:pt x="44" y="863"/>
                    <a:pt x="45" y="866"/>
                  </a:cubicBezTo>
                  <a:cubicBezTo>
                    <a:pt x="49" y="872"/>
                    <a:pt x="52" y="879"/>
                    <a:pt x="55" y="886"/>
                  </a:cubicBezTo>
                  <a:cubicBezTo>
                    <a:pt x="56" y="888"/>
                    <a:pt x="57" y="890"/>
                    <a:pt x="57" y="892"/>
                  </a:cubicBezTo>
                  <a:cubicBezTo>
                    <a:pt x="58" y="896"/>
                    <a:pt x="57" y="900"/>
                    <a:pt x="57" y="904"/>
                  </a:cubicBezTo>
                  <a:cubicBezTo>
                    <a:pt x="57" y="918"/>
                    <a:pt x="57" y="931"/>
                    <a:pt x="54" y="944"/>
                  </a:cubicBezTo>
                  <a:cubicBezTo>
                    <a:pt x="53" y="950"/>
                    <a:pt x="48" y="958"/>
                    <a:pt x="51" y="964"/>
                  </a:cubicBezTo>
                  <a:cubicBezTo>
                    <a:pt x="53" y="968"/>
                    <a:pt x="58" y="969"/>
                    <a:pt x="61" y="971"/>
                  </a:cubicBezTo>
                  <a:cubicBezTo>
                    <a:pt x="64" y="973"/>
                    <a:pt x="65" y="976"/>
                    <a:pt x="68" y="979"/>
                  </a:cubicBezTo>
                  <a:cubicBezTo>
                    <a:pt x="72" y="983"/>
                    <a:pt x="80" y="979"/>
                    <a:pt x="84" y="985"/>
                  </a:cubicBezTo>
                  <a:cubicBezTo>
                    <a:pt x="85" y="985"/>
                    <a:pt x="84" y="987"/>
                    <a:pt x="85" y="987"/>
                  </a:cubicBezTo>
                  <a:cubicBezTo>
                    <a:pt x="86" y="989"/>
                    <a:pt x="87" y="989"/>
                    <a:pt x="88" y="990"/>
                  </a:cubicBezTo>
                  <a:cubicBezTo>
                    <a:pt x="90" y="992"/>
                    <a:pt x="93" y="998"/>
                    <a:pt x="96" y="999"/>
                  </a:cubicBezTo>
                  <a:cubicBezTo>
                    <a:pt x="97" y="1003"/>
                    <a:pt x="92" y="1008"/>
                    <a:pt x="90" y="1011"/>
                  </a:cubicBezTo>
                  <a:cubicBezTo>
                    <a:pt x="88" y="1016"/>
                    <a:pt x="86" y="1021"/>
                    <a:pt x="84" y="1026"/>
                  </a:cubicBezTo>
                  <a:cubicBezTo>
                    <a:pt x="82" y="1029"/>
                    <a:pt x="82" y="1028"/>
                    <a:pt x="82" y="1030"/>
                  </a:cubicBezTo>
                  <a:cubicBezTo>
                    <a:pt x="81" y="1032"/>
                    <a:pt x="82" y="1032"/>
                    <a:pt x="81" y="1034"/>
                  </a:cubicBezTo>
                  <a:cubicBezTo>
                    <a:pt x="80" y="1034"/>
                    <a:pt x="79" y="1035"/>
                    <a:pt x="77" y="1035"/>
                  </a:cubicBezTo>
                  <a:cubicBezTo>
                    <a:pt x="76" y="1035"/>
                    <a:pt x="76" y="1035"/>
                    <a:pt x="76" y="1036"/>
                  </a:cubicBezTo>
                  <a:cubicBezTo>
                    <a:pt x="75" y="1036"/>
                    <a:pt x="74" y="1036"/>
                    <a:pt x="73" y="1037"/>
                  </a:cubicBezTo>
                  <a:cubicBezTo>
                    <a:pt x="71" y="1038"/>
                    <a:pt x="69" y="1039"/>
                    <a:pt x="66" y="1039"/>
                  </a:cubicBezTo>
                  <a:cubicBezTo>
                    <a:pt x="64" y="1040"/>
                    <a:pt x="63" y="1039"/>
                    <a:pt x="61" y="1039"/>
                  </a:cubicBezTo>
                  <a:cubicBezTo>
                    <a:pt x="60" y="1042"/>
                    <a:pt x="62" y="1048"/>
                    <a:pt x="62" y="1051"/>
                  </a:cubicBezTo>
                  <a:cubicBezTo>
                    <a:pt x="63" y="1055"/>
                    <a:pt x="64" y="1059"/>
                    <a:pt x="65" y="1063"/>
                  </a:cubicBezTo>
                  <a:cubicBezTo>
                    <a:pt x="68" y="1075"/>
                    <a:pt x="76" y="1084"/>
                    <a:pt x="78" y="1096"/>
                  </a:cubicBezTo>
                  <a:cubicBezTo>
                    <a:pt x="78" y="1099"/>
                    <a:pt x="79" y="1102"/>
                    <a:pt x="78" y="1105"/>
                  </a:cubicBezTo>
                  <a:cubicBezTo>
                    <a:pt x="78" y="1107"/>
                    <a:pt x="77" y="1108"/>
                    <a:pt x="75" y="1111"/>
                  </a:cubicBezTo>
                  <a:cubicBezTo>
                    <a:pt x="72" y="1116"/>
                    <a:pt x="67" y="1122"/>
                    <a:pt x="65" y="1129"/>
                  </a:cubicBezTo>
                  <a:cubicBezTo>
                    <a:pt x="66" y="1128"/>
                    <a:pt x="67" y="1128"/>
                    <a:pt x="67" y="1128"/>
                  </a:cubicBezTo>
                  <a:cubicBezTo>
                    <a:pt x="68" y="1127"/>
                    <a:pt x="69" y="1126"/>
                    <a:pt x="70" y="1128"/>
                  </a:cubicBezTo>
                  <a:cubicBezTo>
                    <a:pt x="69" y="1128"/>
                    <a:pt x="68" y="1128"/>
                    <a:pt x="67" y="1128"/>
                  </a:cubicBezTo>
                  <a:cubicBezTo>
                    <a:pt x="67" y="1129"/>
                    <a:pt x="67" y="1131"/>
                    <a:pt x="67" y="1131"/>
                  </a:cubicBezTo>
                  <a:cubicBezTo>
                    <a:pt x="66" y="1134"/>
                    <a:pt x="64" y="1135"/>
                    <a:pt x="63" y="1138"/>
                  </a:cubicBezTo>
                  <a:cubicBezTo>
                    <a:pt x="61" y="1143"/>
                    <a:pt x="62" y="1150"/>
                    <a:pt x="60" y="1154"/>
                  </a:cubicBezTo>
                  <a:cubicBezTo>
                    <a:pt x="57" y="1158"/>
                    <a:pt x="52" y="1161"/>
                    <a:pt x="49" y="1162"/>
                  </a:cubicBezTo>
                  <a:cubicBezTo>
                    <a:pt x="44" y="1164"/>
                    <a:pt x="41" y="1169"/>
                    <a:pt x="35" y="1169"/>
                  </a:cubicBezTo>
                  <a:cubicBezTo>
                    <a:pt x="34" y="1173"/>
                    <a:pt x="39" y="1177"/>
                    <a:pt x="39" y="1181"/>
                  </a:cubicBezTo>
                  <a:cubicBezTo>
                    <a:pt x="38" y="1184"/>
                    <a:pt x="38" y="1185"/>
                    <a:pt x="36" y="1187"/>
                  </a:cubicBezTo>
                  <a:cubicBezTo>
                    <a:pt x="35" y="1189"/>
                    <a:pt x="31" y="1192"/>
                    <a:pt x="30" y="1195"/>
                  </a:cubicBezTo>
                  <a:cubicBezTo>
                    <a:pt x="30" y="1197"/>
                    <a:pt x="30" y="1200"/>
                    <a:pt x="30" y="1202"/>
                  </a:cubicBezTo>
                  <a:cubicBezTo>
                    <a:pt x="30" y="1210"/>
                    <a:pt x="33" y="1218"/>
                    <a:pt x="33" y="1226"/>
                  </a:cubicBezTo>
                  <a:cubicBezTo>
                    <a:pt x="33" y="1235"/>
                    <a:pt x="33" y="1244"/>
                    <a:pt x="30" y="1253"/>
                  </a:cubicBezTo>
                  <a:cubicBezTo>
                    <a:pt x="29" y="1258"/>
                    <a:pt x="30" y="1262"/>
                    <a:pt x="29" y="1266"/>
                  </a:cubicBezTo>
                  <a:cubicBezTo>
                    <a:pt x="28" y="1270"/>
                    <a:pt x="26" y="1274"/>
                    <a:pt x="21" y="1273"/>
                  </a:cubicBezTo>
                  <a:cubicBezTo>
                    <a:pt x="20" y="1273"/>
                    <a:pt x="21" y="1271"/>
                    <a:pt x="19" y="1271"/>
                  </a:cubicBezTo>
                  <a:cubicBezTo>
                    <a:pt x="18" y="1270"/>
                    <a:pt x="17" y="1270"/>
                    <a:pt x="16" y="1270"/>
                  </a:cubicBezTo>
                  <a:cubicBezTo>
                    <a:pt x="13" y="1268"/>
                    <a:pt x="13" y="1265"/>
                    <a:pt x="12" y="1262"/>
                  </a:cubicBezTo>
                  <a:cubicBezTo>
                    <a:pt x="11" y="1259"/>
                    <a:pt x="11" y="1253"/>
                    <a:pt x="8" y="1252"/>
                  </a:cubicBezTo>
                  <a:cubicBezTo>
                    <a:pt x="6" y="1251"/>
                    <a:pt x="3" y="1253"/>
                    <a:pt x="2" y="1254"/>
                  </a:cubicBezTo>
                  <a:cubicBezTo>
                    <a:pt x="2" y="1254"/>
                    <a:pt x="2" y="1255"/>
                    <a:pt x="2" y="125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9" name="Freeform 61">
              <a:extLst>
                <a:ext uri="{FF2B5EF4-FFF2-40B4-BE49-F238E27FC236}">
                  <a16:creationId xmlns:a16="http://schemas.microsoft.com/office/drawing/2014/main" id="{E5514EFE-A304-4B2D-8C7B-D7391928F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0188" y="3175000"/>
              <a:ext cx="106363" cy="204788"/>
            </a:xfrm>
            <a:custGeom>
              <a:avLst/>
              <a:gdLst/>
              <a:ahLst/>
              <a:cxnLst>
                <a:cxn ang="0">
                  <a:pos x="55" y="10"/>
                </a:cxn>
                <a:cxn ang="0">
                  <a:pos x="55" y="23"/>
                </a:cxn>
                <a:cxn ang="0">
                  <a:pos x="49" y="25"/>
                </a:cxn>
                <a:cxn ang="0">
                  <a:pos x="46" y="27"/>
                </a:cxn>
                <a:cxn ang="0">
                  <a:pos x="43" y="28"/>
                </a:cxn>
                <a:cxn ang="0">
                  <a:pos x="42" y="39"/>
                </a:cxn>
                <a:cxn ang="0">
                  <a:pos x="42" y="51"/>
                </a:cxn>
                <a:cxn ang="0">
                  <a:pos x="46" y="54"/>
                </a:cxn>
                <a:cxn ang="0">
                  <a:pos x="44" y="61"/>
                </a:cxn>
                <a:cxn ang="0">
                  <a:pos x="39" y="64"/>
                </a:cxn>
                <a:cxn ang="0">
                  <a:pos x="39" y="68"/>
                </a:cxn>
                <a:cxn ang="0">
                  <a:pos x="38" y="72"/>
                </a:cxn>
                <a:cxn ang="0">
                  <a:pos x="35" y="79"/>
                </a:cxn>
                <a:cxn ang="0">
                  <a:pos x="29" y="84"/>
                </a:cxn>
                <a:cxn ang="0">
                  <a:pos x="24" y="87"/>
                </a:cxn>
                <a:cxn ang="0">
                  <a:pos x="18" y="92"/>
                </a:cxn>
                <a:cxn ang="0">
                  <a:pos x="15" y="98"/>
                </a:cxn>
                <a:cxn ang="0">
                  <a:pos x="6" y="107"/>
                </a:cxn>
                <a:cxn ang="0">
                  <a:pos x="4" y="105"/>
                </a:cxn>
                <a:cxn ang="0">
                  <a:pos x="5" y="101"/>
                </a:cxn>
                <a:cxn ang="0">
                  <a:pos x="7" y="94"/>
                </a:cxn>
                <a:cxn ang="0">
                  <a:pos x="4" y="86"/>
                </a:cxn>
                <a:cxn ang="0">
                  <a:pos x="1" y="77"/>
                </a:cxn>
                <a:cxn ang="0">
                  <a:pos x="1" y="67"/>
                </a:cxn>
                <a:cxn ang="0">
                  <a:pos x="3" y="59"/>
                </a:cxn>
                <a:cxn ang="0">
                  <a:pos x="2" y="45"/>
                </a:cxn>
                <a:cxn ang="0">
                  <a:pos x="7" y="41"/>
                </a:cxn>
                <a:cxn ang="0">
                  <a:pos x="13" y="35"/>
                </a:cxn>
                <a:cxn ang="0">
                  <a:pos x="13" y="22"/>
                </a:cxn>
                <a:cxn ang="0">
                  <a:pos x="37" y="5"/>
                </a:cxn>
                <a:cxn ang="0">
                  <a:pos x="42" y="6"/>
                </a:cxn>
                <a:cxn ang="0">
                  <a:pos x="47" y="3"/>
                </a:cxn>
                <a:cxn ang="0">
                  <a:pos x="55" y="6"/>
                </a:cxn>
                <a:cxn ang="0">
                  <a:pos x="55" y="10"/>
                </a:cxn>
              </a:cxnLst>
              <a:rect l="0" t="0" r="r" b="b"/>
              <a:pathLst>
                <a:path w="57" h="109">
                  <a:moveTo>
                    <a:pt x="55" y="10"/>
                  </a:moveTo>
                  <a:cubicBezTo>
                    <a:pt x="55" y="13"/>
                    <a:pt x="57" y="20"/>
                    <a:pt x="55" y="23"/>
                  </a:cubicBezTo>
                  <a:cubicBezTo>
                    <a:pt x="54" y="26"/>
                    <a:pt x="51" y="24"/>
                    <a:pt x="49" y="25"/>
                  </a:cubicBezTo>
                  <a:cubicBezTo>
                    <a:pt x="48" y="26"/>
                    <a:pt x="46" y="27"/>
                    <a:pt x="46" y="27"/>
                  </a:cubicBezTo>
                  <a:cubicBezTo>
                    <a:pt x="44" y="27"/>
                    <a:pt x="45" y="26"/>
                    <a:pt x="43" y="28"/>
                  </a:cubicBezTo>
                  <a:cubicBezTo>
                    <a:pt x="39" y="31"/>
                    <a:pt x="42" y="36"/>
                    <a:pt x="42" y="39"/>
                  </a:cubicBezTo>
                  <a:cubicBezTo>
                    <a:pt x="42" y="43"/>
                    <a:pt x="40" y="47"/>
                    <a:pt x="42" y="51"/>
                  </a:cubicBezTo>
                  <a:cubicBezTo>
                    <a:pt x="43" y="53"/>
                    <a:pt x="45" y="52"/>
                    <a:pt x="46" y="54"/>
                  </a:cubicBezTo>
                  <a:cubicBezTo>
                    <a:pt x="48" y="55"/>
                    <a:pt x="45" y="59"/>
                    <a:pt x="44" y="61"/>
                  </a:cubicBezTo>
                  <a:cubicBezTo>
                    <a:pt x="43" y="62"/>
                    <a:pt x="40" y="62"/>
                    <a:pt x="39" y="64"/>
                  </a:cubicBezTo>
                  <a:cubicBezTo>
                    <a:pt x="38" y="65"/>
                    <a:pt x="39" y="67"/>
                    <a:pt x="39" y="68"/>
                  </a:cubicBezTo>
                  <a:cubicBezTo>
                    <a:pt x="39" y="69"/>
                    <a:pt x="38" y="70"/>
                    <a:pt x="38" y="72"/>
                  </a:cubicBezTo>
                  <a:cubicBezTo>
                    <a:pt x="37" y="74"/>
                    <a:pt x="37" y="77"/>
                    <a:pt x="35" y="79"/>
                  </a:cubicBezTo>
                  <a:cubicBezTo>
                    <a:pt x="34" y="81"/>
                    <a:pt x="31" y="83"/>
                    <a:pt x="29" y="84"/>
                  </a:cubicBezTo>
                  <a:cubicBezTo>
                    <a:pt x="27" y="86"/>
                    <a:pt x="26" y="86"/>
                    <a:pt x="24" y="87"/>
                  </a:cubicBezTo>
                  <a:cubicBezTo>
                    <a:pt x="21" y="88"/>
                    <a:pt x="20" y="90"/>
                    <a:pt x="18" y="92"/>
                  </a:cubicBezTo>
                  <a:cubicBezTo>
                    <a:pt x="14" y="94"/>
                    <a:pt x="15" y="94"/>
                    <a:pt x="15" y="98"/>
                  </a:cubicBezTo>
                  <a:cubicBezTo>
                    <a:pt x="15" y="102"/>
                    <a:pt x="12" y="109"/>
                    <a:pt x="6" y="107"/>
                  </a:cubicBezTo>
                  <a:cubicBezTo>
                    <a:pt x="4" y="106"/>
                    <a:pt x="5" y="108"/>
                    <a:pt x="4" y="105"/>
                  </a:cubicBezTo>
                  <a:cubicBezTo>
                    <a:pt x="3" y="103"/>
                    <a:pt x="4" y="102"/>
                    <a:pt x="5" y="101"/>
                  </a:cubicBezTo>
                  <a:cubicBezTo>
                    <a:pt x="6" y="98"/>
                    <a:pt x="7" y="97"/>
                    <a:pt x="7" y="94"/>
                  </a:cubicBezTo>
                  <a:cubicBezTo>
                    <a:pt x="8" y="91"/>
                    <a:pt x="6" y="89"/>
                    <a:pt x="4" y="86"/>
                  </a:cubicBezTo>
                  <a:cubicBezTo>
                    <a:pt x="3" y="83"/>
                    <a:pt x="2" y="80"/>
                    <a:pt x="1" y="77"/>
                  </a:cubicBezTo>
                  <a:cubicBezTo>
                    <a:pt x="1" y="74"/>
                    <a:pt x="0" y="71"/>
                    <a:pt x="1" y="67"/>
                  </a:cubicBezTo>
                  <a:cubicBezTo>
                    <a:pt x="1" y="64"/>
                    <a:pt x="3" y="62"/>
                    <a:pt x="3" y="59"/>
                  </a:cubicBezTo>
                  <a:cubicBezTo>
                    <a:pt x="2" y="55"/>
                    <a:pt x="0" y="48"/>
                    <a:pt x="2" y="45"/>
                  </a:cubicBezTo>
                  <a:cubicBezTo>
                    <a:pt x="4" y="43"/>
                    <a:pt x="6" y="42"/>
                    <a:pt x="7" y="41"/>
                  </a:cubicBezTo>
                  <a:cubicBezTo>
                    <a:pt x="9" y="39"/>
                    <a:pt x="11" y="37"/>
                    <a:pt x="13" y="35"/>
                  </a:cubicBezTo>
                  <a:cubicBezTo>
                    <a:pt x="16" y="32"/>
                    <a:pt x="14" y="27"/>
                    <a:pt x="13" y="22"/>
                  </a:cubicBezTo>
                  <a:cubicBezTo>
                    <a:pt x="7" y="8"/>
                    <a:pt x="37" y="17"/>
                    <a:pt x="37" y="5"/>
                  </a:cubicBezTo>
                  <a:cubicBezTo>
                    <a:pt x="39" y="4"/>
                    <a:pt x="40" y="6"/>
                    <a:pt x="42" y="6"/>
                  </a:cubicBezTo>
                  <a:cubicBezTo>
                    <a:pt x="45" y="6"/>
                    <a:pt x="45" y="5"/>
                    <a:pt x="47" y="3"/>
                  </a:cubicBezTo>
                  <a:cubicBezTo>
                    <a:pt x="51" y="0"/>
                    <a:pt x="55" y="1"/>
                    <a:pt x="55" y="6"/>
                  </a:cubicBezTo>
                  <a:lnTo>
                    <a:pt x="55" y="1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0" name="Freeform 62">
              <a:extLst>
                <a:ext uri="{FF2B5EF4-FFF2-40B4-BE49-F238E27FC236}">
                  <a16:creationId xmlns:a16="http://schemas.microsoft.com/office/drawing/2014/main" id="{EFD36191-E863-4ADB-972B-4092C7B53F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4025" y="330200"/>
              <a:ext cx="1131888" cy="2497138"/>
            </a:xfrm>
            <a:custGeom>
              <a:avLst/>
              <a:gdLst/>
              <a:ahLst/>
              <a:cxnLst>
                <a:cxn ang="0">
                  <a:pos x="479" y="128"/>
                </a:cxn>
                <a:cxn ang="0">
                  <a:pos x="589" y="963"/>
                </a:cxn>
                <a:cxn ang="0">
                  <a:pos x="528" y="880"/>
                </a:cxn>
                <a:cxn ang="0">
                  <a:pos x="530" y="815"/>
                </a:cxn>
                <a:cxn ang="0">
                  <a:pos x="520" y="761"/>
                </a:cxn>
                <a:cxn ang="0">
                  <a:pos x="501" y="712"/>
                </a:cxn>
                <a:cxn ang="0">
                  <a:pos x="502" y="654"/>
                </a:cxn>
                <a:cxn ang="0">
                  <a:pos x="513" y="378"/>
                </a:cxn>
                <a:cxn ang="0">
                  <a:pos x="491" y="323"/>
                </a:cxn>
                <a:cxn ang="0">
                  <a:pos x="441" y="261"/>
                </a:cxn>
                <a:cxn ang="0">
                  <a:pos x="437" y="185"/>
                </a:cxn>
                <a:cxn ang="0">
                  <a:pos x="458" y="162"/>
                </a:cxn>
                <a:cxn ang="0">
                  <a:pos x="452" y="133"/>
                </a:cxn>
                <a:cxn ang="0">
                  <a:pos x="471" y="84"/>
                </a:cxn>
                <a:cxn ang="0">
                  <a:pos x="434" y="45"/>
                </a:cxn>
                <a:cxn ang="0">
                  <a:pos x="414" y="17"/>
                </a:cxn>
                <a:cxn ang="0">
                  <a:pos x="393" y="3"/>
                </a:cxn>
                <a:cxn ang="0">
                  <a:pos x="374" y="14"/>
                </a:cxn>
                <a:cxn ang="0">
                  <a:pos x="339" y="26"/>
                </a:cxn>
                <a:cxn ang="0">
                  <a:pos x="306" y="64"/>
                </a:cxn>
                <a:cxn ang="0">
                  <a:pos x="292" y="86"/>
                </a:cxn>
                <a:cxn ang="0">
                  <a:pos x="287" y="167"/>
                </a:cxn>
                <a:cxn ang="0">
                  <a:pos x="271" y="186"/>
                </a:cxn>
                <a:cxn ang="0">
                  <a:pos x="256" y="203"/>
                </a:cxn>
                <a:cxn ang="0">
                  <a:pos x="248" y="210"/>
                </a:cxn>
                <a:cxn ang="0">
                  <a:pos x="232" y="220"/>
                </a:cxn>
                <a:cxn ang="0">
                  <a:pos x="200" y="203"/>
                </a:cxn>
                <a:cxn ang="0">
                  <a:pos x="172" y="215"/>
                </a:cxn>
                <a:cxn ang="0">
                  <a:pos x="142" y="217"/>
                </a:cxn>
                <a:cxn ang="0">
                  <a:pos x="105" y="211"/>
                </a:cxn>
                <a:cxn ang="0">
                  <a:pos x="93" y="174"/>
                </a:cxn>
                <a:cxn ang="0">
                  <a:pos x="67" y="135"/>
                </a:cxn>
                <a:cxn ang="0">
                  <a:pos x="34" y="151"/>
                </a:cxn>
                <a:cxn ang="0">
                  <a:pos x="0" y="158"/>
                </a:cxn>
                <a:cxn ang="0">
                  <a:pos x="22" y="179"/>
                </a:cxn>
                <a:cxn ang="0">
                  <a:pos x="66" y="225"/>
                </a:cxn>
                <a:cxn ang="0">
                  <a:pos x="105" y="243"/>
                </a:cxn>
                <a:cxn ang="0">
                  <a:pos x="144" y="280"/>
                </a:cxn>
                <a:cxn ang="0">
                  <a:pos x="170" y="319"/>
                </a:cxn>
                <a:cxn ang="0">
                  <a:pos x="167" y="378"/>
                </a:cxn>
                <a:cxn ang="0">
                  <a:pos x="175" y="410"/>
                </a:cxn>
                <a:cxn ang="0">
                  <a:pos x="190" y="485"/>
                </a:cxn>
                <a:cxn ang="0">
                  <a:pos x="180" y="558"/>
                </a:cxn>
                <a:cxn ang="0">
                  <a:pos x="196" y="616"/>
                </a:cxn>
                <a:cxn ang="0">
                  <a:pos x="262" y="666"/>
                </a:cxn>
                <a:cxn ang="0">
                  <a:pos x="261" y="726"/>
                </a:cxn>
                <a:cxn ang="0">
                  <a:pos x="222" y="758"/>
                </a:cxn>
                <a:cxn ang="0">
                  <a:pos x="164" y="841"/>
                </a:cxn>
                <a:cxn ang="0">
                  <a:pos x="124" y="871"/>
                </a:cxn>
                <a:cxn ang="0">
                  <a:pos x="96" y="932"/>
                </a:cxn>
                <a:cxn ang="0">
                  <a:pos x="50" y="969"/>
                </a:cxn>
                <a:cxn ang="0">
                  <a:pos x="43" y="1013"/>
                </a:cxn>
                <a:cxn ang="0">
                  <a:pos x="60" y="1098"/>
                </a:cxn>
                <a:cxn ang="0">
                  <a:pos x="61" y="1178"/>
                </a:cxn>
                <a:cxn ang="0">
                  <a:pos x="50" y="1251"/>
                </a:cxn>
                <a:cxn ang="0">
                  <a:pos x="87" y="1294"/>
                </a:cxn>
                <a:cxn ang="0">
                  <a:pos x="130" y="1311"/>
                </a:cxn>
                <a:cxn ang="0">
                  <a:pos x="167" y="1328"/>
                </a:cxn>
                <a:cxn ang="0">
                  <a:pos x="210" y="1302"/>
                </a:cxn>
                <a:cxn ang="0">
                  <a:pos x="282" y="1292"/>
                </a:cxn>
                <a:cxn ang="0">
                  <a:pos x="347" y="1265"/>
                </a:cxn>
                <a:cxn ang="0">
                  <a:pos x="401" y="1244"/>
                </a:cxn>
                <a:cxn ang="0">
                  <a:pos x="494" y="1162"/>
                </a:cxn>
              </a:cxnLst>
              <a:rect l="0" t="0" r="r" b="b"/>
              <a:pathLst>
                <a:path w="605" h="1336">
                  <a:moveTo>
                    <a:pt x="477" y="135"/>
                  </a:moveTo>
                  <a:cubicBezTo>
                    <a:pt x="480" y="130"/>
                    <a:pt x="483" y="125"/>
                    <a:pt x="486" y="120"/>
                  </a:cubicBezTo>
                  <a:cubicBezTo>
                    <a:pt x="484" y="120"/>
                    <a:pt x="483" y="120"/>
                    <a:pt x="481" y="121"/>
                  </a:cubicBezTo>
                  <a:cubicBezTo>
                    <a:pt x="480" y="122"/>
                    <a:pt x="479" y="123"/>
                    <a:pt x="478" y="124"/>
                  </a:cubicBezTo>
                  <a:cubicBezTo>
                    <a:pt x="478" y="125"/>
                    <a:pt x="479" y="127"/>
                    <a:pt x="479" y="128"/>
                  </a:cubicBezTo>
                  <a:cubicBezTo>
                    <a:pt x="478" y="130"/>
                    <a:pt x="478" y="133"/>
                    <a:pt x="477" y="135"/>
                  </a:cubicBezTo>
                  <a:moveTo>
                    <a:pt x="603" y="991"/>
                  </a:moveTo>
                  <a:cubicBezTo>
                    <a:pt x="603" y="988"/>
                    <a:pt x="602" y="986"/>
                    <a:pt x="600" y="983"/>
                  </a:cubicBezTo>
                  <a:cubicBezTo>
                    <a:pt x="598" y="979"/>
                    <a:pt x="595" y="976"/>
                    <a:pt x="594" y="972"/>
                  </a:cubicBezTo>
                  <a:cubicBezTo>
                    <a:pt x="592" y="968"/>
                    <a:pt x="592" y="967"/>
                    <a:pt x="589" y="963"/>
                  </a:cubicBezTo>
                  <a:cubicBezTo>
                    <a:pt x="586" y="959"/>
                    <a:pt x="584" y="953"/>
                    <a:pt x="583" y="949"/>
                  </a:cubicBezTo>
                  <a:cubicBezTo>
                    <a:pt x="580" y="942"/>
                    <a:pt x="576" y="936"/>
                    <a:pt x="573" y="929"/>
                  </a:cubicBezTo>
                  <a:cubicBezTo>
                    <a:pt x="566" y="917"/>
                    <a:pt x="553" y="908"/>
                    <a:pt x="544" y="898"/>
                  </a:cubicBezTo>
                  <a:cubicBezTo>
                    <a:pt x="541" y="893"/>
                    <a:pt x="537" y="891"/>
                    <a:pt x="533" y="887"/>
                  </a:cubicBezTo>
                  <a:cubicBezTo>
                    <a:pt x="530" y="885"/>
                    <a:pt x="528" y="884"/>
                    <a:pt x="528" y="880"/>
                  </a:cubicBezTo>
                  <a:cubicBezTo>
                    <a:pt x="527" y="878"/>
                    <a:pt x="529" y="874"/>
                    <a:pt x="529" y="872"/>
                  </a:cubicBezTo>
                  <a:cubicBezTo>
                    <a:pt x="529" y="868"/>
                    <a:pt x="529" y="865"/>
                    <a:pt x="530" y="862"/>
                  </a:cubicBezTo>
                  <a:cubicBezTo>
                    <a:pt x="533" y="852"/>
                    <a:pt x="530" y="841"/>
                    <a:pt x="535" y="832"/>
                  </a:cubicBezTo>
                  <a:cubicBezTo>
                    <a:pt x="540" y="821"/>
                    <a:pt x="535" y="834"/>
                    <a:pt x="532" y="823"/>
                  </a:cubicBezTo>
                  <a:cubicBezTo>
                    <a:pt x="531" y="821"/>
                    <a:pt x="531" y="818"/>
                    <a:pt x="530" y="815"/>
                  </a:cubicBezTo>
                  <a:cubicBezTo>
                    <a:pt x="526" y="806"/>
                    <a:pt x="519" y="800"/>
                    <a:pt x="514" y="792"/>
                  </a:cubicBezTo>
                  <a:cubicBezTo>
                    <a:pt x="513" y="791"/>
                    <a:pt x="513" y="789"/>
                    <a:pt x="512" y="788"/>
                  </a:cubicBezTo>
                  <a:cubicBezTo>
                    <a:pt x="511" y="786"/>
                    <a:pt x="510" y="789"/>
                    <a:pt x="510" y="786"/>
                  </a:cubicBezTo>
                  <a:cubicBezTo>
                    <a:pt x="509" y="783"/>
                    <a:pt x="513" y="780"/>
                    <a:pt x="514" y="778"/>
                  </a:cubicBezTo>
                  <a:cubicBezTo>
                    <a:pt x="517" y="772"/>
                    <a:pt x="518" y="766"/>
                    <a:pt x="520" y="761"/>
                  </a:cubicBezTo>
                  <a:cubicBezTo>
                    <a:pt x="521" y="759"/>
                    <a:pt x="524" y="758"/>
                    <a:pt x="522" y="755"/>
                  </a:cubicBezTo>
                  <a:cubicBezTo>
                    <a:pt x="519" y="750"/>
                    <a:pt x="509" y="749"/>
                    <a:pt x="504" y="746"/>
                  </a:cubicBezTo>
                  <a:cubicBezTo>
                    <a:pt x="500" y="742"/>
                    <a:pt x="497" y="738"/>
                    <a:pt x="495" y="733"/>
                  </a:cubicBezTo>
                  <a:cubicBezTo>
                    <a:pt x="493" y="729"/>
                    <a:pt x="492" y="719"/>
                    <a:pt x="494" y="714"/>
                  </a:cubicBezTo>
                  <a:cubicBezTo>
                    <a:pt x="495" y="710"/>
                    <a:pt x="497" y="713"/>
                    <a:pt x="501" y="712"/>
                  </a:cubicBezTo>
                  <a:cubicBezTo>
                    <a:pt x="505" y="711"/>
                    <a:pt x="503" y="710"/>
                    <a:pt x="505" y="708"/>
                  </a:cubicBezTo>
                  <a:cubicBezTo>
                    <a:pt x="509" y="703"/>
                    <a:pt x="510" y="699"/>
                    <a:pt x="505" y="693"/>
                  </a:cubicBezTo>
                  <a:cubicBezTo>
                    <a:pt x="502" y="691"/>
                    <a:pt x="500" y="691"/>
                    <a:pt x="499" y="688"/>
                  </a:cubicBezTo>
                  <a:cubicBezTo>
                    <a:pt x="497" y="685"/>
                    <a:pt x="499" y="679"/>
                    <a:pt x="499" y="676"/>
                  </a:cubicBezTo>
                  <a:cubicBezTo>
                    <a:pt x="499" y="668"/>
                    <a:pt x="498" y="661"/>
                    <a:pt x="502" y="654"/>
                  </a:cubicBezTo>
                  <a:cubicBezTo>
                    <a:pt x="504" y="651"/>
                    <a:pt x="504" y="652"/>
                    <a:pt x="505" y="649"/>
                  </a:cubicBezTo>
                  <a:cubicBezTo>
                    <a:pt x="505" y="646"/>
                    <a:pt x="504" y="643"/>
                    <a:pt x="506" y="640"/>
                  </a:cubicBezTo>
                  <a:cubicBezTo>
                    <a:pt x="512" y="633"/>
                    <a:pt x="530" y="647"/>
                    <a:pt x="516" y="607"/>
                  </a:cubicBezTo>
                  <a:cubicBezTo>
                    <a:pt x="514" y="599"/>
                    <a:pt x="460" y="469"/>
                    <a:pt x="462" y="461"/>
                  </a:cubicBezTo>
                  <a:cubicBezTo>
                    <a:pt x="464" y="455"/>
                    <a:pt x="508" y="393"/>
                    <a:pt x="513" y="378"/>
                  </a:cubicBezTo>
                  <a:cubicBezTo>
                    <a:pt x="515" y="372"/>
                    <a:pt x="519" y="366"/>
                    <a:pt x="515" y="359"/>
                  </a:cubicBezTo>
                  <a:cubicBezTo>
                    <a:pt x="514" y="357"/>
                    <a:pt x="511" y="355"/>
                    <a:pt x="509" y="353"/>
                  </a:cubicBezTo>
                  <a:cubicBezTo>
                    <a:pt x="507" y="351"/>
                    <a:pt x="506" y="349"/>
                    <a:pt x="504" y="346"/>
                  </a:cubicBezTo>
                  <a:cubicBezTo>
                    <a:pt x="503" y="343"/>
                    <a:pt x="500" y="340"/>
                    <a:pt x="498" y="337"/>
                  </a:cubicBezTo>
                  <a:cubicBezTo>
                    <a:pt x="496" y="332"/>
                    <a:pt x="493" y="327"/>
                    <a:pt x="491" y="323"/>
                  </a:cubicBezTo>
                  <a:cubicBezTo>
                    <a:pt x="488" y="316"/>
                    <a:pt x="484" y="312"/>
                    <a:pt x="479" y="307"/>
                  </a:cubicBezTo>
                  <a:cubicBezTo>
                    <a:pt x="476" y="304"/>
                    <a:pt x="477" y="304"/>
                    <a:pt x="472" y="302"/>
                  </a:cubicBezTo>
                  <a:cubicBezTo>
                    <a:pt x="470" y="301"/>
                    <a:pt x="468" y="299"/>
                    <a:pt x="466" y="297"/>
                  </a:cubicBezTo>
                  <a:cubicBezTo>
                    <a:pt x="458" y="292"/>
                    <a:pt x="449" y="293"/>
                    <a:pt x="444" y="284"/>
                  </a:cubicBezTo>
                  <a:cubicBezTo>
                    <a:pt x="440" y="277"/>
                    <a:pt x="441" y="269"/>
                    <a:pt x="441" y="261"/>
                  </a:cubicBezTo>
                  <a:cubicBezTo>
                    <a:pt x="441" y="252"/>
                    <a:pt x="441" y="243"/>
                    <a:pt x="441" y="235"/>
                  </a:cubicBezTo>
                  <a:cubicBezTo>
                    <a:pt x="441" y="226"/>
                    <a:pt x="443" y="219"/>
                    <a:pt x="444" y="211"/>
                  </a:cubicBezTo>
                  <a:cubicBezTo>
                    <a:pt x="446" y="203"/>
                    <a:pt x="445" y="194"/>
                    <a:pt x="449" y="188"/>
                  </a:cubicBezTo>
                  <a:cubicBezTo>
                    <a:pt x="447" y="188"/>
                    <a:pt x="447" y="188"/>
                    <a:pt x="447" y="188"/>
                  </a:cubicBezTo>
                  <a:cubicBezTo>
                    <a:pt x="443" y="188"/>
                    <a:pt x="434" y="189"/>
                    <a:pt x="437" y="185"/>
                  </a:cubicBezTo>
                  <a:cubicBezTo>
                    <a:pt x="436" y="185"/>
                    <a:pt x="442" y="181"/>
                    <a:pt x="442" y="181"/>
                  </a:cubicBezTo>
                  <a:cubicBezTo>
                    <a:pt x="446" y="180"/>
                    <a:pt x="445" y="182"/>
                    <a:pt x="448" y="178"/>
                  </a:cubicBezTo>
                  <a:cubicBezTo>
                    <a:pt x="452" y="174"/>
                    <a:pt x="457" y="171"/>
                    <a:pt x="460" y="166"/>
                  </a:cubicBezTo>
                  <a:cubicBezTo>
                    <a:pt x="461" y="165"/>
                    <a:pt x="462" y="164"/>
                    <a:pt x="462" y="163"/>
                  </a:cubicBezTo>
                  <a:cubicBezTo>
                    <a:pt x="461" y="163"/>
                    <a:pt x="459" y="164"/>
                    <a:pt x="458" y="162"/>
                  </a:cubicBezTo>
                  <a:cubicBezTo>
                    <a:pt x="456" y="161"/>
                    <a:pt x="455" y="159"/>
                    <a:pt x="454" y="158"/>
                  </a:cubicBezTo>
                  <a:cubicBezTo>
                    <a:pt x="453" y="156"/>
                    <a:pt x="452" y="154"/>
                    <a:pt x="451" y="152"/>
                  </a:cubicBezTo>
                  <a:cubicBezTo>
                    <a:pt x="450" y="150"/>
                    <a:pt x="450" y="148"/>
                    <a:pt x="449" y="147"/>
                  </a:cubicBezTo>
                  <a:cubicBezTo>
                    <a:pt x="447" y="143"/>
                    <a:pt x="448" y="140"/>
                    <a:pt x="450" y="136"/>
                  </a:cubicBezTo>
                  <a:cubicBezTo>
                    <a:pt x="450" y="135"/>
                    <a:pt x="451" y="134"/>
                    <a:pt x="452" y="133"/>
                  </a:cubicBezTo>
                  <a:cubicBezTo>
                    <a:pt x="454" y="130"/>
                    <a:pt x="455" y="127"/>
                    <a:pt x="456" y="125"/>
                  </a:cubicBezTo>
                  <a:cubicBezTo>
                    <a:pt x="460" y="118"/>
                    <a:pt x="463" y="112"/>
                    <a:pt x="467" y="107"/>
                  </a:cubicBezTo>
                  <a:cubicBezTo>
                    <a:pt x="469" y="104"/>
                    <a:pt x="470" y="102"/>
                    <a:pt x="472" y="100"/>
                  </a:cubicBezTo>
                  <a:cubicBezTo>
                    <a:pt x="473" y="98"/>
                    <a:pt x="474" y="96"/>
                    <a:pt x="474" y="94"/>
                  </a:cubicBezTo>
                  <a:cubicBezTo>
                    <a:pt x="474" y="91"/>
                    <a:pt x="472" y="87"/>
                    <a:pt x="471" y="84"/>
                  </a:cubicBezTo>
                  <a:cubicBezTo>
                    <a:pt x="469" y="80"/>
                    <a:pt x="468" y="77"/>
                    <a:pt x="467" y="73"/>
                  </a:cubicBezTo>
                  <a:cubicBezTo>
                    <a:pt x="466" y="72"/>
                    <a:pt x="466" y="70"/>
                    <a:pt x="466" y="69"/>
                  </a:cubicBezTo>
                  <a:cubicBezTo>
                    <a:pt x="465" y="67"/>
                    <a:pt x="464" y="66"/>
                    <a:pt x="462" y="65"/>
                  </a:cubicBezTo>
                  <a:cubicBezTo>
                    <a:pt x="458" y="63"/>
                    <a:pt x="456" y="59"/>
                    <a:pt x="452" y="56"/>
                  </a:cubicBezTo>
                  <a:cubicBezTo>
                    <a:pt x="447" y="51"/>
                    <a:pt x="441" y="48"/>
                    <a:pt x="434" y="45"/>
                  </a:cubicBezTo>
                  <a:cubicBezTo>
                    <a:pt x="432" y="43"/>
                    <a:pt x="431" y="42"/>
                    <a:pt x="430" y="40"/>
                  </a:cubicBezTo>
                  <a:cubicBezTo>
                    <a:pt x="429" y="39"/>
                    <a:pt x="428" y="37"/>
                    <a:pt x="428" y="36"/>
                  </a:cubicBezTo>
                  <a:cubicBezTo>
                    <a:pt x="426" y="34"/>
                    <a:pt x="425" y="32"/>
                    <a:pt x="423" y="29"/>
                  </a:cubicBezTo>
                  <a:cubicBezTo>
                    <a:pt x="422" y="26"/>
                    <a:pt x="419" y="24"/>
                    <a:pt x="417" y="21"/>
                  </a:cubicBezTo>
                  <a:cubicBezTo>
                    <a:pt x="417" y="21"/>
                    <a:pt x="415" y="18"/>
                    <a:pt x="414" y="17"/>
                  </a:cubicBezTo>
                  <a:cubicBezTo>
                    <a:pt x="412" y="16"/>
                    <a:pt x="410" y="17"/>
                    <a:pt x="409" y="14"/>
                  </a:cubicBezTo>
                  <a:cubicBezTo>
                    <a:pt x="408" y="13"/>
                    <a:pt x="409" y="10"/>
                    <a:pt x="409" y="9"/>
                  </a:cubicBezTo>
                  <a:cubicBezTo>
                    <a:pt x="409" y="8"/>
                    <a:pt x="408" y="5"/>
                    <a:pt x="407" y="5"/>
                  </a:cubicBezTo>
                  <a:cubicBezTo>
                    <a:pt x="405" y="2"/>
                    <a:pt x="408" y="4"/>
                    <a:pt x="404" y="3"/>
                  </a:cubicBezTo>
                  <a:cubicBezTo>
                    <a:pt x="401" y="3"/>
                    <a:pt x="397" y="5"/>
                    <a:pt x="393" y="3"/>
                  </a:cubicBezTo>
                  <a:cubicBezTo>
                    <a:pt x="392" y="2"/>
                    <a:pt x="392" y="1"/>
                    <a:pt x="390" y="0"/>
                  </a:cubicBezTo>
                  <a:cubicBezTo>
                    <a:pt x="389" y="1"/>
                    <a:pt x="388" y="1"/>
                    <a:pt x="387" y="1"/>
                  </a:cubicBezTo>
                  <a:cubicBezTo>
                    <a:pt x="386" y="1"/>
                    <a:pt x="385" y="2"/>
                    <a:pt x="385" y="2"/>
                  </a:cubicBezTo>
                  <a:cubicBezTo>
                    <a:pt x="382" y="4"/>
                    <a:pt x="381" y="7"/>
                    <a:pt x="379" y="9"/>
                  </a:cubicBezTo>
                  <a:cubicBezTo>
                    <a:pt x="377" y="11"/>
                    <a:pt x="375" y="12"/>
                    <a:pt x="374" y="14"/>
                  </a:cubicBezTo>
                  <a:cubicBezTo>
                    <a:pt x="371" y="17"/>
                    <a:pt x="372" y="21"/>
                    <a:pt x="371" y="25"/>
                  </a:cubicBezTo>
                  <a:cubicBezTo>
                    <a:pt x="368" y="26"/>
                    <a:pt x="365" y="26"/>
                    <a:pt x="362" y="27"/>
                  </a:cubicBezTo>
                  <a:cubicBezTo>
                    <a:pt x="359" y="27"/>
                    <a:pt x="355" y="29"/>
                    <a:pt x="352" y="28"/>
                  </a:cubicBezTo>
                  <a:cubicBezTo>
                    <a:pt x="352" y="28"/>
                    <a:pt x="352" y="26"/>
                    <a:pt x="352" y="26"/>
                  </a:cubicBezTo>
                  <a:cubicBezTo>
                    <a:pt x="348" y="25"/>
                    <a:pt x="343" y="26"/>
                    <a:pt x="339" y="26"/>
                  </a:cubicBezTo>
                  <a:cubicBezTo>
                    <a:pt x="335" y="26"/>
                    <a:pt x="330" y="25"/>
                    <a:pt x="326" y="27"/>
                  </a:cubicBezTo>
                  <a:cubicBezTo>
                    <a:pt x="321" y="30"/>
                    <a:pt x="315" y="36"/>
                    <a:pt x="312" y="41"/>
                  </a:cubicBezTo>
                  <a:cubicBezTo>
                    <a:pt x="311" y="43"/>
                    <a:pt x="311" y="46"/>
                    <a:pt x="309" y="48"/>
                  </a:cubicBezTo>
                  <a:cubicBezTo>
                    <a:pt x="308" y="49"/>
                    <a:pt x="307" y="50"/>
                    <a:pt x="307" y="52"/>
                  </a:cubicBezTo>
                  <a:cubicBezTo>
                    <a:pt x="306" y="56"/>
                    <a:pt x="309" y="61"/>
                    <a:pt x="306" y="64"/>
                  </a:cubicBezTo>
                  <a:cubicBezTo>
                    <a:pt x="303" y="67"/>
                    <a:pt x="297" y="65"/>
                    <a:pt x="295" y="69"/>
                  </a:cubicBezTo>
                  <a:cubicBezTo>
                    <a:pt x="294" y="70"/>
                    <a:pt x="294" y="71"/>
                    <a:pt x="294" y="72"/>
                  </a:cubicBezTo>
                  <a:cubicBezTo>
                    <a:pt x="293" y="73"/>
                    <a:pt x="293" y="73"/>
                    <a:pt x="293" y="74"/>
                  </a:cubicBezTo>
                  <a:cubicBezTo>
                    <a:pt x="292" y="75"/>
                    <a:pt x="293" y="77"/>
                    <a:pt x="293" y="78"/>
                  </a:cubicBezTo>
                  <a:cubicBezTo>
                    <a:pt x="293" y="80"/>
                    <a:pt x="292" y="83"/>
                    <a:pt x="292" y="86"/>
                  </a:cubicBezTo>
                  <a:cubicBezTo>
                    <a:pt x="291" y="91"/>
                    <a:pt x="292" y="97"/>
                    <a:pt x="290" y="102"/>
                  </a:cubicBezTo>
                  <a:cubicBezTo>
                    <a:pt x="289" y="107"/>
                    <a:pt x="288" y="110"/>
                    <a:pt x="288" y="115"/>
                  </a:cubicBezTo>
                  <a:cubicBezTo>
                    <a:pt x="288" y="121"/>
                    <a:pt x="288" y="128"/>
                    <a:pt x="288" y="135"/>
                  </a:cubicBezTo>
                  <a:cubicBezTo>
                    <a:pt x="288" y="143"/>
                    <a:pt x="288" y="152"/>
                    <a:pt x="288" y="160"/>
                  </a:cubicBezTo>
                  <a:cubicBezTo>
                    <a:pt x="288" y="164"/>
                    <a:pt x="288" y="165"/>
                    <a:pt x="287" y="167"/>
                  </a:cubicBezTo>
                  <a:cubicBezTo>
                    <a:pt x="286" y="169"/>
                    <a:pt x="285" y="169"/>
                    <a:pt x="284" y="170"/>
                  </a:cubicBezTo>
                  <a:cubicBezTo>
                    <a:pt x="283" y="172"/>
                    <a:pt x="282" y="175"/>
                    <a:pt x="281" y="177"/>
                  </a:cubicBezTo>
                  <a:cubicBezTo>
                    <a:pt x="280" y="178"/>
                    <a:pt x="279" y="180"/>
                    <a:pt x="278" y="183"/>
                  </a:cubicBezTo>
                  <a:cubicBezTo>
                    <a:pt x="278" y="184"/>
                    <a:pt x="279" y="185"/>
                    <a:pt x="278" y="187"/>
                  </a:cubicBezTo>
                  <a:cubicBezTo>
                    <a:pt x="275" y="187"/>
                    <a:pt x="274" y="186"/>
                    <a:pt x="271" y="186"/>
                  </a:cubicBezTo>
                  <a:cubicBezTo>
                    <a:pt x="268" y="185"/>
                    <a:pt x="268" y="185"/>
                    <a:pt x="266" y="189"/>
                  </a:cubicBezTo>
                  <a:cubicBezTo>
                    <a:pt x="265" y="192"/>
                    <a:pt x="265" y="194"/>
                    <a:pt x="263" y="196"/>
                  </a:cubicBezTo>
                  <a:cubicBezTo>
                    <a:pt x="263" y="196"/>
                    <a:pt x="260" y="198"/>
                    <a:pt x="260" y="198"/>
                  </a:cubicBezTo>
                  <a:cubicBezTo>
                    <a:pt x="260" y="199"/>
                    <a:pt x="259" y="200"/>
                    <a:pt x="258" y="201"/>
                  </a:cubicBezTo>
                  <a:cubicBezTo>
                    <a:pt x="257" y="202"/>
                    <a:pt x="256" y="201"/>
                    <a:pt x="256" y="203"/>
                  </a:cubicBezTo>
                  <a:cubicBezTo>
                    <a:pt x="255" y="203"/>
                    <a:pt x="255" y="202"/>
                    <a:pt x="255" y="201"/>
                  </a:cubicBezTo>
                  <a:cubicBezTo>
                    <a:pt x="254" y="201"/>
                    <a:pt x="254" y="199"/>
                    <a:pt x="252" y="198"/>
                  </a:cubicBezTo>
                  <a:cubicBezTo>
                    <a:pt x="249" y="195"/>
                    <a:pt x="244" y="196"/>
                    <a:pt x="241" y="195"/>
                  </a:cubicBezTo>
                  <a:cubicBezTo>
                    <a:pt x="243" y="198"/>
                    <a:pt x="250" y="201"/>
                    <a:pt x="254" y="201"/>
                  </a:cubicBezTo>
                  <a:cubicBezTo>
                    <a:pt x="252" y="203"/>
                    <a:pt x="249" y="207"/>
                    <a:pt x="248" y="210"/>
                  </a:cubicBezTo>
                  <a:cubicBezTo>
                    <a:pt x="247" y="214"/>
                    <a:pt x="255" y="224"/>
                    <a:pt x="249" y="227"/>
                  </a:cubicBezTo>
                  <a:cubicBezTo>
                    <a:pt x="247" y="228"/>
                    <a:pt x="245" y="226"/>
                    <a:pt x="243" y="228"/>
                  </a:cubicBezTo>
                  <a:cubicBezTo>
                    <a:pt x="241" y="229"/>
                    <a:pt x="241" y="231"/>
                    <a:pt x="239" y="232"/>
                  </a:cubicBezTo>
                  <a:cubicBezTo>
                    <a:pt x="236" y="232"/>
                    <a:pt x="237" y="226"/>
                    <a:pt x="235" y="224"/>
                  </a:cubicBezTo>
                  <a:cubicBezTo>
                    <a:pt x="234" y="223"/>
                    <a:pt x="234" y="221"/>
                    <a:pt x="232" y="220"/>
                  </a:cubicBezTo>
                  <a:cubicBezTo>
                    <a:pt x="229" y="219"/>
                    <a:pt x="225" y="217"/>
                    <a:pt x="222" y="216"/>
                  </a:cubicBezTo>
                  <a:cubicBezTo>
                    <a:pt x="220" y="215"/>
                    <a:pt x="218" y="215"/>
                    <a:pt x="217" y="214"/>
                  </a:cubicBezTo>
                  <a:cubicBezTo>
                    <a:pt x="216" y="213"/>
                    <a:pt x="215" y="213"/>
                    <a:pt x="214" y="213"/>
                  </a:cubicBezTo>
                  <a:cubicBezTo>
                    <a:pt x="214" y="212"/>
                    <a:pt x="213" y="212"/>
                    <a:pt x="213" y="211"/>
                  </a:cubicBezTo>
                  <a:cubicBezTo>
                    <a:pt x="209" y="208"/>
                    <a:pt x="204" y="206"/>
                    <a:pt x="200" y="203"/>
                  </a:cubicBezTo>
                  <a:cubicBezTo>
                    <a:pt x="195" y="200"/>
                    <a:pt x="190" y="196"/>
                    <a:pt x="184" y="196"/>
                  </a:cubicBezTo>
                  <a:cubicBezTo>
                    <a:pt x="183" y="198"/>
                    <a:pt x="183" y="200"/>
                    <a:pt x="182" y="202"/>
                  </a:cubicBezTo>
                  <a:cubicBezTo>
                    <a:pt x="181" y="203"/>
                    <a:pt x="179" y="205"/>
                    <a:pt x="178" y="206"/>
                  </a:cubicBezTo>
                  <a:cubicBezTo>
                    <a:pt x="176" y="209"/>
                    <a:pt x="176" y="212"/>
                    <a:pt x="175" y="214"/>
                  </a:cubicBezTo>
                  <a:cubicBezTo>
                    <a:pt x="174" y="215"/>
                    <a:pt x="172" y="214"/>
                    <a:pt x="172" y="215"/>
                  </a:cubicBezTo>
                  <a:cubicBezTo>
                    <a:pt x="172" y="216"/>
                    <a:pt x="172" y="217"/>
                    <a:pt x="172" y="217"/>
                  </a:cubicBezTo>
                  <a:cubicBezTo>
                    <a:pt x="170" y="220"/>
                    <a:pt x="172" y="220"/>
                    <a:pt x="169" y="220"/>
                  </a:cubicBezTo>
                  <a:cubicBezTo>
                    <a:pt x="167" y="220"/>
                    <a:pt x="165" y="220"/>
                    <a:pt x="163" y="220"/>
                  </a:cubicBezTo>
                  <a:cubicBezTo>
                    <a:pt x="159" y="220"/>
                    <a:pt x="154" y="224"/>
                    <a:pt x="150" y="223"/>
                  </a:cubicBezTo>
                  <a:cubicBezTo>
                    <a:pt x="146" y="222"/>
                    <a:pt x="146" y="219"/>
                    <a:pt x="142" y="217"/>
                  </a:cubicBezTo>
                  <a:cubicBezTo>
                    <a:pt x="140" y="217"/>
                    <a:pt x="137" y="217"/>
                    <a:pt x="135" y="217"/>
                  </a:cubicBezTo>
                  <a:cubicBezTo>
                    <a:pt x="133" y="217"/>
                    <a:pt x="132" y="216"/>
                    <a:pt x="130" y="215"/>
                  </a:cubicBezTo>
                  <a:cubicBezTo>
                    <a:pt x="125" y="213"/>
                    <a:pt x="121" y="212"/>
                    <a:pt x="115" y="211"/>
                  </a:cubicBezTo>
                  <a:cubicBezTo>
                    <a:pt x="114" y="210"/>
                    <a:pt x="112" y="210"/>
                    <a:pt x="110" y="210"/>
                  </a:cubicBezTo>
                  <a:cubicBezTo>
                    <a:pt x="108" y="210"/>
                    <a:pt x="107" y="211"/>
                    <a:pt x="105" y="211"/>
                  </a:cubicBezTo>
                  <a:cubicBezTo>
                    <a:pt x="104" y="204"/>
                    <a:pt x="105" y="196"/>
                    <a:pt x="104" y="189"/>
                  </a:cubicBezTo>
                  <a:cubicBezTo>
                    <a:pt x="103" y="186"/>
                    <a:pt x="103" y="188"/>
                    <a:pt x="101" y="186"/>
                  </a:cubicBezTo>
                  <a:cubicBezTo>
                    <a:pt x="100" y="185"/>
                    <a:pt x="100" y="184"/>
                    <a:pt x="99" y="183"/>
                  </a:cubicBezTo>
                  <a:cubicBezTo>
                    <a:pt x="99" y="181"/>
                    <a:pt x="97" y="180"/>
                    <a:pt x="96" y="178"/>
                  </a:cubicBezTo>
                  <a:cubicBezTo>
                    <a:pt x="95" y="177"/>
                    <a:pt x="94" y="175"/>
                    <a:pt x="93" y="174"/>
                  </a:cubicBezTo>
                  <a:cubicBezTo>
                    <a:pt x="91" y="171"/>
                    <a:pt x="88" y="167"/>
                    <a:pt x="85" y="164"/>
                  </a:cubicBezTo>
                  <a:cubicBezTo>
                    <a:pt x="83" y="162"/>
                    <a:pt x="81" y="160"/>
                    <a:pt x="79" y="157"/>
                  </a:cubicBezTo>
                  <a:cubicBezTo>
                    <a:pt x="76" y="153"/>
                    <a:pt x="74" y="148"/>
                    <a:pt x="73" y="144"/>
                  </a:cubicBezTo>
                  <a:cubicBezTo>
                    <a:pt x="72" y="142"/>
                    <a:pt x="72" y="141"/>
                    <a:pt x="71" y="139"/>
                  </a:cubicBezTo>
                  <a:cubicBezTo>
                    <a:pt x="70" y="138"/>
                    <a:pt x="68" y="137"/>
                    <a:pt x="67" y="135"/>
                  </a:cubicBezTo>
                  <a:cubicBezTo>
                    <a:pt x="66" y="133"/>
                    <a:pt x="66" y="129"/>
                    <a:pt x="64" y="127"/>
                  </a:cubicBezTo>
                  <a:cubicBezTo>
                    <a:pt x="62" y="125"/>
                    <a:pt x="57" y="126"/>
                    <a:pt x="55" y="126"/>
                  </a:cubicBezTo>
                  <a:cubicBezTo>
                    <a:pt x="49" y="126"/>
                    <a:pt x="44" y="129"/>
                    <a:pt x="39" y="130"/>
                  </a:cubicBezTo>
                  <a:cubicBezTo>
                    <a:pt x="34" y="132"/>
                    <a:pt x="27" y="134"/>
                    <a:pt x="30" y="141"/>
                  </a:cubicBezTo>
                  <a:cubicBezTo>
                    <a:pt x="31" y="144"/>
                    <a:pt x="33" y="146"/>
                    <a:pt x="34" y="151"/>
                  </a:cubicBezTo>
                  <a:cubicBezTo>
                    <a:pt x="34" y="154"/>
                    <a:pt x="34" y="158"/>
                    <a:pt x="34" y="161"/>
                  </a:cubicBezTo>
                  <a:cubicBezTo>
                    <a:pt x="31" y="160"/>
                    <a:pt x="28" y="158"/>
                    <a:pt x="25" y="157"/>
                  </a:cubicBezTo>
                  <a:cubicBezTo>
                    <a:pt x="23" y="156"/>
                    <a:pt x="19" y="153"/>
                    <a:pt x="17" y="154"/>
                  </a:cubicBezTo>
                  <a:cubicBezTo>
                    <a:pt x="17" y="154"/>
                    <a:pt x="17" y="155"/>
                    <a:pt x="17" y="156"/>
                  </a:cubicBezTo>
                  <a:cubicBezTo>
                    <a:pt x="11" y="157"/>
                    <a:pt x="5" y="157"/>
                    <a:pt x="0" y="158"/>
                  </a:cubicBezTo>
                  <a:cubicBezTo>
                    <a:pt x="1" y="157"/>
                    <a:pt x="3" y="157"/>
                    <a:pt x="5" y="157"/>
                  </a:cubicBezTo>
                  <a:cubicBezTo>
                    <a:pt x="5" y="157"/>
                    <a:pt x="5" y="158"/>
                    <a:pt x="5" y="158"/>
                  </a:cubicBezTo>
                  <a:cubicBezTo>
                    <a:pt x="6" y="159"/>
                    <a:pt x="6" y="161"/>
                    <a:pt x="7" y="162"/>
                  </a:cubicBezTo>
                  <a:cubicBezTo>
                    <a:pt x="8" y="165"/>
                    <a:pt x="11" y="168"/>
                    <a:pt x="13" y="171"/>
                  </a:cubicBezTo>
                  <a:cubicBezTo>
                    <a:pt x="16" y="174"/>
                    <a:pt x="19" y="176"/>
                    <a:pt x="22" y="179"/>
                  </a:cubicBezTo>
                  <a:cubicBezTo>
                    <a:pt x="25" y="181"/>
                    <a:pt x="26" y="183"/>
                    <a:pt x="28" y="185"/>
                  </a:cubicBezTo>
                  <a:cubicBezTo>
                    <a:pt x="31" y="187"/>
                    <a:pt x="34" y="189"/>
                    <a:pt x="37" y="192"/>
                  </a:cubicBezTo>
                  <a:cubicBezTo>
                    <a:pt x="40" y="196"/>
                    <a:pt x="41" y="201"/>
                    <a:pt x="45" y="204"/>
                  </a:cubicBezTo>
                  <a:cubicBezTo>
                    <a:pt x="50" y="207"/>
                    <a:pt x="52" y="211"/>
                    <a:pt x="55" y="216"/>
                  </a:cubicBezTo>
                  <a:cubicBezTo>
                    <a:pt x="58" y="219"/>
                    <a:pt x="62" y="224"/>
                    <a:pt x="66" y="225"/>
                  </a:cubicBezTo>
                  <a:cubicBezTo>
                    <a:pt x="71" y="226"/>
                    <a:pt x="73" y="226"/>
                    <a:pt x="77" y="229"/>
                  </a:cubicBezTo>
                  <a:cubicBezTo>
                    <a:pt x="80" y="231"/>
                    <a:pt x="82" y="233"/>
                    <a:pt x="85" y="235"/>
                  </a:cubicBezTo>
                  <a:cubicBezTo>
                    <a:pt x="86" y="237"/>
                    <a:pt x="88" y="239"/>
                    <a:pt x="90" y="240"/>
                  </a:cubicBezTo>
                  <a:cubicBezTo>
                    <a:pt x="91" y="241"/>
                    <a:pt x="92" y="241"/>
                    <a:pt x="94" y="241"/>
                  </a:cubicBezTo>
                  <a:cubicBezTo>
                    <a:pt x="98" y="241"/>
                    <a:pt x="101" y="242"/>
                    <a:pt x="105" y="243"/>
                  </a:cubicBezTo>
                  <a:cubicBezTo>
                    <a:pt x="110" y="246"/>
                    <a:pt x="112" y="247"/>
                    <a:pt x="116" y="252"/>
                  </a:cubicBezTo>
                  <a:cubicBezTo>
                    <a:pt x="119" y="257"/>
                    <a:pt x="124" y="263"/>
                    <a:pt x="127" y="269"/>
                  </a:cubicBezTo>
                  <a:cubicBezTo>
                    <a:pt x="128" y="271"/>
                    <a:pt x="129" y="272"/>
                    <a:pt x="130" y="274"/>
                  </a:cubicBezTo>
                  <a:cubicBezTo>
                    <a:pt x="131" y="277"/>
                    <a:pt x="132" y="276"/>
                    <a:pt x="135" y="277"/>
                  </a:cubicBezTo>
                  <a:cubicBezTo>
                    <a:pt x="137" y="278"/>
                    <a:pt x="142" y="279"/>
                    <a:pt x="144" y="280"/>
                  </a:cubicBezTo>
                  <a:cubicBezTo>
                    <a:pt x="145" y="282"/>
                    <a:pt x="144" y="285"/>
                    <a:pt x="144" y="286"/>
                  </a:cubicBezTo>
                  <a:cubicBezTo>
                    <a:pt x="145" y="290"/>
                    <a:pt x="144" y="294"/>
                    <a:pt x="145" y="297"/>
                  </a:cubicBezTo>
                  <a:cubicBezTo>
                    <a:pt x="148" y="297"/>
                    <a:pt x="150" y="298"/>
                    <a:pt x="152" y="299"/>
                  </a:cubicBezTo>
                  <a:cubicBezTo>
                    <a:pt x="156" y="300"/>
                    <a:pt x="157" y="302"/>
                    <a:pt x="159" y="305"/>
                  </a:cubicBezTo>
                  <a:cubicBezTo>
                    <a:pt x="162" y="310"/>
                    <a:pt x="163" y="318"/>
                    <a:pt x="170" y="319"/>
                  </a:cubicBezTo>
                  <a:cubicBezTo>
                    <a:pt x="171" y="324"/>
                    <a:pt x="168" y="326"/>
                    <a:pt x="166" y="331"/>
                  </a:cubicBezTo>
                  <a:cubicBezTo>
                    <a:pt x="166" y="333"/>
                    <a:pt x="165" y="335"/>
                    <a:pt x="165" y="337"/>
                  </a:cubicBezTo>
                  <a:cubicBezTo>
                    <a:pt x="165" y="341"/>
                    <a:pt x="165" y="345"/>
                    <a:pt x="165" y="349"/>
                  </a:cubicBezTo>
                  <a:cubicBezTo>
                    <a:pt x="165" y="356"/>
                    <a:pt x="168" y="361"/>
                    <a:pt x="169" y="368"/>
                  </a:cubicBezTo>
                  <a:cubicBezTo>
                    <a:pt x="169" y="371"/>
                    <a:pt x="169" y="375"/>
                    <a:pt x="167" y="378"/>
                  </a:cubicBezTo>
                  <a:cubicBezTo>
                    <a:pt x="164" y="381"/>
                    <a:pt x="159" y="382"/>
                    <a:pt x="160" y="387"/>
                  </a:cubicBezTo>
                  <a:cubicBezTo>
                    <a:pt x="161" y="390"/>
                    <a:pt x="162" y="393"/>
                    <a:pt x="164" y="394"/>
                  </a:cubicBezTo>
                  <a:cubicBezTo>
                    <a:pt x="166" y="396"/>
                    <a:pt x="170" y="395"/>
                    <a:pt x="172" y="396"/>
                  </a:cubicBezTo>
                  <a:cubicBezTo>
                    <a:pt x="173" y="397"/>
                    <a:pt x="173" y="398"/>
                    <a:pt x="173" y="400"/>
                  </a:cubicBezTo>
                  <a:cubicBezTo>
                    <a:pt x="174" y="403"/>
                    <a:pt x="175" y="406"/>
                    <a:pt x="175" y="410"/>
                  </a:cubicBezTo>
                  <a:cubicBezTo>
                    <a:pt x="176" y="412"/>
                    <a:pt x="177" y="416"/>
                    <a:pt x="176" y="419"/>
                  </a:cubicBezTo>
                  <a:cubicBezTo>
                    <a:pt x="176" y="421"/>
                    <a:pt x="174" y="420"/>
                    <a:pt x="173" y="422"/>
                  </a:cubicBezTo>
                  <a:cubicBezTo>
                    <a:pt x="171" y="424"/>
                    <a:pt x="172" y="430"/>
                    <a:pt x="172" y="433"/>
                  </a:cubicBezTo>
                  <a:cubicBezTo>
                    <a:pt x="172" y="443"/>
                    <a:pt x="175" y="453"/>
                    <a:pt x="180" y="462"/>
                  </a:cubicBezTo>
                  <a:cubicBezTo>
                    <a:pt x="185" y="469"/>
                    <a:pt x="189" y="477"/>
                    <a:pt x="190" y="485"/>
                  </a:cubicBezTo>
                  <a:cubicBezTo>
                    <a:pt x="192" y="494"/>
                    <a:pt x="189" y="502"/>
                    <a:pt x="187" y="510"/>
                  </a:cubicBezTo>
                  <a:cubicBezTo>
                    <a:pt x="186" y="516"/>
                    <a:pt x="187" y="522"/>
                    <a:pt x="184" y="528"/>
                  </a:cubicBezTo>
                  <a:cubicBezTo>
                    <a:pt x="182" y="531"/>
                    <a:pt x="180" y="533"/>
                    <a:pt x="180" y="537"/>
                  </a:cubicBezTo>
                  <a:cubicBezTo>
                    <a:pt x="179" y="541"/>
                    <a:pt x="180" y="544"/>
                    <a:pt x="180" y="548"/>
                  </a:cubicBezTo>
                  <a:cubicBezTo>
                    <a:pt x="180" y="551"/>
                    <a:pt x="179" y="555"/>
                    <a:pt x="180" y="558"/>
                  </a:cubicBezTo>
                  <a:cubicBezTo>
                    <a:pt x="182" y="562"/>
                    <a:pt x="185" y="563"/>
                    <a:pt x="187" y="567"/>
                  </a:cubicBezTo>
                  <a:cubicBezTo>
                    <a:pt x="193" y="576"/>
                    <a:pt x="194" y="586"/>
                    <a:pt x="197" y="596"/>
                  </a:cubicBezTo>
                  <a:cubicBezTo>
                    <a:pt x="198" y="601"/>
                    <a:pt x="199" y="607"/>
                    <a:pt x="198" y="612"/>
                  </a:cubicBezTo>
                  <a:cubicBezTo>
                    <a:pt x="198" y="613"/>
                    <a:pt x="197" y="615"/>
                    <a:pt x="197" y="616"/>
                  </a:cubicBezTo>
                  <a:cubicBezTo>
                    <a:pt x="197" y="616"/>
                    <a:pt x="197" y="616"/>
                    <a:pt x="196" y="616"/>
                  </a:cubicBezTo>
                  <a:cubicBezTo>
                    <a:pt x="199" y="619"/>
                    <a:pt x="202" y="620"/>
                    <a:pt x="205" y="620"/>
                  </a:cubicBezTo>
                  <a:cubicBezTo>
                    <a:pt x="205" y="630"/>
                    <a:pt x="221" y="632"/>
                    <a:pt x="228" y="634"/>
                  </a:cubicBezTo>
                  <a:cubicBezTo>
                    <a:pt x="234" y="636"/>
                    <a:pt x="242" y="639"/>
                    <a:pt x="247" y="644"/>
                  </a:cubicBezTo>
                  <a:cubicBezTo>
                    <a:pt x="252" y="648"/>
                    <a:pt x="255" y="654"/>
                    <a:pt x="258" y="659"/>
                  </a:cubicBezTo>
                  <a:cubicBezTo>
                    <a:pt x="259" y="661"/>
                    <a:pt x="260" y="664"/>
                    <a:pt x="262" y="666"/>
                  </a:cubicBezTo>
                  <a:cubicBezTo>
                    <a:pt x="263" y="667"/>
                    <a:pt x="265" y="667"/>
                    <a:pt x="266" y="667"/>
                  </a:cubicBezTo>
                  <a:cubicBezTo>
                    <a:pt x="270" y="674"/>
                    <a:pt x="265" y="686"/>
                    <a:pt x="264" y="693"/>
                  </a:cubicBezTo>
                  <a:cubicBezTo>
                    <a:pt x="264" y="698"/>
                    <a:pt x="264" y="702"/>
                    <a:pt x="267" y="706"/>
                  </a:cubicBezTo>
                  <a:cubicBezTo>
                    <a:pt x="269" y="711"/>
                    <a:pt x="276" y="716"/>
                    <a:pt x="274" y="723"/>
                  </a:cubicBezTo>
                  <a:cubicBezTo>
                    <a:pt x="271" y="723"/>
                    <a:pt x="263" y="723"/>
                    <a:pt x="261" y="726"/>
                  </a:cubicBezTo>
                  <a:cubicBezTo>
                    <a:pt x="264" y="728"/>
                    <a:pt x="271" y="735"/>
                    <a:pt x="267" y="738"/>
                  </a:cubicBezTo>
                  <a:cubicBezTo>
                    <a:pt x="263" y="735"/>
                    <a:pt x="261" y="733"/>
                    <a:pt x="256" y="735"/>
                  </a:cubicBezTo>
                  <a:cubicBezTo>
                    <a:pt x="251" y="737"/>
                    <a:pt x="250" y="741"/>
                    <a:pt x="246" y="743"/>
                  </a:cubicBezTo>
                  <a:cubicBezTo>
                    <a:pt x="239" y="746"/>
                    <a:pt x="228" y="739"/>
                    <a:pt x="224" y="749"/>
                  </a:cubicBezTo>
                  <a:cubicBezTo>
                    <a:pt x="223" y="752"/>
                    <a:pt x="224" y="755"/>
                    <a:pt x="222" y="758"/>
                  </a:cubicBezTo>
                  <a:cubicBezTo>
                    <a:pt x="221" y="763"/>
                    <a:pt x="217" y="763"/>
                    <a:pt x="214" y="767"/>
                  </a:cubicBezTo>
                  <a:cubicBezTo>
                    <a:pt x="208" y="774"/>
                    <a:pt x="201" y="783"/>
                    <a:pt x="195" y="791"/>
                  </a:cubicBezTo>
                  <a:cubicBezTo>
                    <a:pt x="187" y="802"/>
                    <a:pt x="180" y="816"/>
                    <a:pt x="171" y="826"/>
                  </a:cubicBezTo>
                  <a:cubicBezTo>
                    <a:pt x="169" y="828"/>
                    <a:pt x="167" y="830"/>
                    <a:pt x="166" y="833"/>
                  </a:cubicBezTo>
                  <a:cubicBezTo>
                    <a:pt x="165" y="836"/>
                    <a:pt x="168" y="840"/>
                    <a:pt x="164" y="841"/>
                  </a:cubicBezTo>
                  <a:cubicBezTo>
                    <a:pt x="160" y="843"/>
                    <a:pt x="158" y="839"/>
                    <a:pt x="155" y="841"/>
                  </a:cubicBezTo>
                  <a:cubicBezTo>
                    <a:pt x="151" y="844"/>
                    <a:pt x="146" y="853"/>
                    <a:pt x="145" y="857"/>
                  </a:cubicBezTo>
                  <a:cubicBezTo>
                    <a:pt x="144" y="862"/>
                    <a:pt x="147" y="868"/>
                    <a:pt x="140" y="869"/>
                  </a:cubicBezTo>
                  <a:cubicBezTo>
                    <a:pt x="134" y="870"/>
                    <a:pt x="133" y="864"/>
                    <a:pt x="128" y="863"/>
                  </a:cubicBezTo>
                  <a:cubicBezTo>
                    <a:pt x="127" y="866"/>
                    <a:pt x="125" y="868"/>
                    <a:pt x="124" y="871"/>
                  </a:cubicBezTo>
                  <a:cubicBezTo>
                    <a:pt x="124" y="874"/>
                    <a:pt x="125" y="877"/>
                    <a:pt x="124" y="881"/>
                  </a:cubicBezTo>
                  <a:cubicBezTo>
                    <a:pt x="124" y="884"/>
                    <a:pt x="124" y="885"/>
                    <a:pt x="122" y="887"/>
                  </a:cubicBezTo>
                  <a:cubicBezTo>
                    <a:pt x="119" y="890"/>
                    <a:pt x="112" y="890"/>
                    <a:pt x="109" y="893"/>
                  </a:cubicBezTo>
                  <a:cubicBezTo>
                    <a:pt x="105" y="898"/>
                    <a:pt x="109" y="905"/>
                    <a:pt x="111" y="910"/>
                  </a:cubicBezTo>
                  <a:cubicBezTo>
                    <a:pt x="116" y="919"/>
                    <a:pt x="105" y="929"/>
                    <a:pt x="96" y="932"/>
                  </a:cubicBezTo>
                  <a:cubicBezTo>
                    <a:pt x="93" y="930"/>
                    <a:pt x="89" y="931"/>
                    <a:pt x="86" y="931"/>
                  </a:cubicBezTo>
                  <a:cubicBezTo>
                    <a:pt x="82" y="931"/>
                    <a:pt x="78" y="929"/>
                    <a:pt x="75" y="929"/>
                  </a:cubicBezTo>
                  <a:cubicBezTo>
                    <a:pt x="65" y="928"/>
                    <a:pt x="66" y="935"/>
                    <a:pt x="66" y="943"/>
                  </a:cubicBezTo>
                  <a:cubicBezTo>
                    <a:pt x="66" y="949"/>
                    <a:pt x="67" y="964"/>
                    <a:pt x="62" y="967"/>
                  </a:cubicBezTo>
                  <a:cubicBezTo>
                    <a:pt x="58" y="970"/>
                    <a:pt x="54" y="967"/>
                    <a:pt x="50" y="969"/>
                  </a:cubicBezTo>
                  <a:cubicBezTo>
                    <a:pt x="43" y="972"/>
                    <a:pt x="42" y="986"/>
                    <a:pt x="43" y="994"/>
                  </a:cubicBezTo>
                  <a:cubicBezTo>
                    <a:pt x="43" y="994"/>
                    <a:pt x="43" y="994"/>
                    <a:pt x="43" y="995"/>
                  </a:cubicBezTo>
                  <a:cubicBezTo>
                    <a:pt x="43" y="994"/>
                    <a:pt x="43" y="994"/>
                    <a:pt x="43" y="994"/>
                  </a:cubicBezTo>
                  <a:cubicBezTo>
                    <a:pt x="43" y="993"/>
                    <a:pt x="42" y="993"/>
                    <a:pt x="42" y="993"/>
                  </a:cubicBezTo>
                  <a:cubicBezTo>
                    <a:pt x="39" y="997"/>
                    <a:pt x="41" y="1008"/>
                    <a:pt x="43" y="1013"/>
                  </a:cubicBezTo>
                  <a:cubicBezTo>
                    <a:pt x="46" y="1025"/>
                    <a:pt x="59" y="1035"/>
                    <a:pt x="55" y="1049"/>
                  </a:cubicBezTo>
                  <a:cubicBezTo>
                    <a:pt x="53" y="1054"/>
                    <a:pt x="51" y="1056"/>
                    <a:pt x="52" y="1061"/>
                  </a:cubicBezTo>
                  <a:cubicBezTo>
                    <a:pt x="53" y="1066"/>
                    <a:pt x="54" y="1070"/>
                    <a:pt x="54" y="1075"/>
                  </a:cubicBezTo>
                  <a:cubicBezTo>
                    <a:pt x="54" y="1082"/>
                    <a:pt x="52" y="1095"/>
                    <a:pt x="56" y="1101"/>
                  </a:cubicBezTo>
                  <a:cubicBezTo>
                    <a:pt x="58" y="1101"/>
                    <a:pt x="60" y="1099"/>
                    <a:pt x="60" y="1098"/>
                  </a:cubicBezTo>
                  <a:cubicBezTo>
                    <a:pt x="58" y="1105"/>
                    <a:pt x="54" y="1112"/>
                    <a:pt x="55" y="1120"/>
                  </a:cubicBezTo>
                  <a:cubicBezTo>
                    <a:pt x="56" y="1127"/>
                    <a:pt x="61" y="1131"/>
                    <a:pt x="64" y="1137"/>
                  </a:cubicBezTo>
                  <a:cubicBezTo>
                    <a:pt x="68" y="1142"/>
                    <a:pt x="70" y="1145"/>
                    <a:pt x="68" y="1152"/>
                  </a:cubicBezTo>
                  <a:cubicBezTo>
                    <a:pt x="67" y="1156"/>
                    <a:pt x="64" y="1158"/>
                    <a:pt x="62" y="1162"/>
                  </a:cubicBezTo>
                  <a:cubicBezTo>
                    <a:pt x="60" y="1166"/>
                    <a:pt x="61" y="1173"/>
                    <a:pt x="61" y="1178"/>
                  </a:cubicBezTo>
                  <a:cubicBezTo>
                    <a:pt x="61" y="1180"/>
                    <a:pt x="62" y="1183"/>
                    <a:pt x="61" y="1185"/>
                  </a:cubicBezTo>
                  <a:cubicBezTo>
                    <a:pt x="60" y="1192"/>
                    <a:pt x="55" y="1197"/>
                    <a:pt x="55" y="1204"/>
                  </a:cubicBezTo>
                  <a:cubicBezTo>
                    <a:pt x="55" y="1210"/>
                    <a:pt x="57" y="1216"/>
                    <a:pt x="56" y="1221"/>
                  </a:cubicBezTo>
                  <a:cubicBezTo>
                    <a:pt x="55" y="1228"/>
                    <a:pt x="49" y="1232"/>
                    <a:pt x="47" y="1238"/>
                  </a:cubicBezTo>
                  <a:cubicBezTo>
                    <a:pt x="46" y="1243"/>
                    <a:pt x="47" y="1247"/>
                    <a:pt x="50" y="1251"/>
                  </a:cubicBezTo>
                  <a:cubicBezTo>
                    <a:pt x="53" y="1257"/>
                    <a:pt x="54" y="1254"/>
                    <a:pt x="59" y="1251"/>
                  </a:cubicBezTo>
                  <a:cubicBezTo>
                    <a:pt x="64" y="1249"/>
                    <a:pt x="68" y="1248"/>
                    <a:pt x="70" y="1253"/>
                  </a:cubicBezTo>
                  <a:cubicBezTo>
                    <a:pt x="73" y="1260"/>
                    <a:pt x="66" y="1266"/>
                    <a:pt x="65" y="1272"/>
                  </a:cubicBezTo>
                  <a:cubicBezTo>
                    <a:pt x="71" y="1275"/>
                    <a:pt x="76" y="1277"/>
                    <a:pt x="80" y="1282"/>
                  </a:cubicBezTo>
                  <a:cubicBezTo>
                    <a:pt x="84" y="1285"/>
                    <a:pt x="84" y="1292"/>
                    <a:pt x="87" y="1294"/>
                  </a:cubicBezTo>
                  <a:cubicBezTo>
                    <a:pt x="92" y="1288"/>
                    <a:pt x="97" y="1281"/>
                    <a:pt x="106" y="1280"/>
                  </a:cubicBezTo>
                  <a:cubicBezTo>
                    <a:pt x="113" y="1279"/>
                    <a:pt x="112" y="1282"/>
                    <a:pt x="114" y="1288"/>
                  </a:cubicBezTo>
                  <a:cubicBezTo>
                    <a:pt x="114" y="1291"/>
                    <a:pt x="117" y="1310"/>
                    <a:pt x="122" y="1309"/>
                  </a:cubicBezTo>
                  <a:cubicBezTo>
                    <a:pt x="125" y="1308"/>
                    <a:pt x="126" y="1302"/>
                    <a:pt x="129" y="1303"/>
                  </a:cubicBezTo>
                  <a:cubicBezTo>
                    <a:pt x="130" y="1306"/>
                    <a:pt x="129" y="1309"/>
                    <a:pt x="130" y="1311"/>
                  </a:cubicBezTo>
                  <a:cubicBezTo>
                    <a:pt x="134" y="1308"/>
                    <a:pt x="141" y="1303"/>
                    <a:pt x="146" y="1303"/>
                  </a:cubicBezTo>
                  <a:cubicBezTo>
                    <a:pt x="144" y="1307"/>
                    <a:pt x="134" y="1311"/>
                    <a:pt x="134" y="1316"/>
                  </a:cubicBezTo>
                  <a:cubicBezTo>
                    <a:pt x="135" y="1318"/>
                    <a:pt x="139" y="1322"/>
                    <a:pt x="140" y="1325"/>
                  </a:cubicBezTo>
                  <a:cubicBezTo>
                    <a:pt x="145" y="1336"/>
                    <a:pt x="151" y="1324"/>
                    <a:pt x="157" y="1319"/>
                  </a:cubicBezTo>
                  <a:cubicBezTo>
                    <a:pt x="161" y="1323"/>
                    <a:pt x="162" y="1327"/>
                    <a:pt x="167" y="1328"/>
                  </a:cubicBezTo>
                  <a:cubicBezTo>
                    <a:pt x="173" y="1328"/>
                    <a:pt x="175" y="1322"/>
                    <a:pt x="180" y="1319"/>
                  </a:cubicBezTo>
                  <a:cubicBezTo>
                    <a:pt x="186" y="1314"/>
                    <a:pt x="191" y="1311"/>
                    <a:pt x="199" y="1310"/>
                  </a:cubicBezTo>
                  <a:cubicBezTo>
                    <a:pt x="203" y="1309"/>
                    <a:pt x="209" y="1306"/>
                    <a:pt x="210" y="1302"/>
                  </a:cubicBezTo>
                  <a:cubicBezTo>
                    <a:pt x="210" y="1301"/>
                    <a:pt x="210" y="1301"/>
                    <a:pt x="211" y="1301"/>
                  </a:cubicBezTo>
                  <a:cubicBezTo>
                    <a:pt x="211" y="1301"/>
                    <a:pt x="210" y="1301"/>
                    <a:pt x="210" y="1302"/>
                  </a:cubicBezTo>
                  <a:cubicBezTo>
                    <a:pt x="213" y="1303"/>
                    <a:pt x="233" y="1303"/>
                    <a:pt x="240" y="1295"/>
                  </a:cubicBezTo>
                  <a:cubicBezTo>
                    <a:pt x="244" y="1296"/>
                    <a:pt x="249" y="1299"/>
                    <a:pt x="253" y="1297"/>
                  </a:cubicBezTo>
                  <a:cubicBezTo>
                    <a:pt x="257" y="1296"/>
                    <a:pt x="259" y="1289"/>
                    <a:pt x="263" y="1288"/>
                  </a:cubicBezTo>
                  <a:cubicBezTo>
                    <a:pt x="265" y="1287"/>
                    <a:pt x="266" y="1289"/>
                    <a:pt x="268" y="1290"/>
                  </a:cubicBezTo>
                  <a:cubicBezTo>
                    <a:pt x="272" y="1291"/>
                    <a:pt x="277" y="1291"/>
                    <a:pt x="282" y="1292"/>
                  </a:cubicBezTo>
                  <a:cubicBezTo>
                    <a:pt x="284" y="1293"/>
                    <a:pt x="291" y="1294"/>
                    <a:pt x="293" y="1291"/>
                  </a:cubicBezTo>
                  <a:cubicBezTo>
                    <a:pt x="295" y="1288"/>
                    <a:pt x="293" y="1275"/>
                    <a:pt x="293" y="1272"/>
                  </a:cubicBezTo>
                  <a:cubicBezTo>
                    <a:pt x="293" y="1267"/>
                    <a:pt x="292" y="1265"/>
                    <a:pt x="297" y="1263"/>
                  </a:cubicBezTo>
                  <a:cubicBezTo>
                    <a:pt x="303" y="1261"/>
                    <a:pt x="309" y="1266"/>
                    <a:pt x="314" y="1268"/>
                  </a:cubicBezTo>
                  <a:cubicBezTo>
                    <a:pt x="323" y="1270"/>
                    <a:pt x="338" y="1269"/>
                    <a:pt x="347" y="1265"/>
                  </a:cubicBezTo>
                  <a:cubicBezTo>
                    <a:pt x="352" y="1264"/>
                    <a:pt x="355" y="1259"/>
                    <a:pt x="359" y="1257"/>
                  </a:cubicBezTo>
                  <a:cubicBezTo>
                    <a:pt x="363" y="1256"/>
                    <a:pt x="370" y="1257"/>
                    <a:pt x="374" y="1257"/>
                  </a:cubicBezTo>
                  <a:cubicBezTo>
                    <a:pt x="382" y="1256"/>
                    <a:pt x="390" y="1255"/>
                    <a:pt x="398" y="1253"/>
                  </a:cubicBezTo>
                  <a:cubicBezTo>
                    <a:pt x="397" y="1251"/>
                    <a:pt x="399" y="1250"/>
                    <a:pt x="400" y="1248"/>
                  </a:cubicBezTo>
                  <a:cubicBezTo>
                    <a:pt x="401" y="1247"/>
                    <a:pt x="400" y="1246"/>
                    <a:pt x="401" y="1244"/>
                  </a:cubicBezTo>
                  <a:cubicBezTo>
                    <a:pt x="404" y="1242"/>
                    <a:pt x="409" y="1240"/>
                    <a:pt x="412" y="1239"/>
                  </a:cubicBezTo>
                  <a:cubicBezTo>
                    <a:pt x="423" y="1233"/>
                    <a:pt x="430" y="1223"/>
                    <a:pt x="439" y="1216"/>
                  </a:cubicBezTo>
                  <a:cubicBezTo>
                    <a:pt x="445" y="1211"/>
                    <a:pt x="451" y="1207"/>
                    <a:pt x="456" y="1201"/>
                  </a:cubicBezTo>
                  <a:cubicBezTo>
                    <a:pt x="462" y="1196"/>
                    <a:pt x="467" y="1190"/>
                    <a:pt x="472" y="1184"/>
                  </a:cubicBezTo>
                  <a:cubicBezTo>
                    <a:pt x="480" y="1177"/>
                    <a:pt x="488" y="1170"/>
                    <a:pt x="494" y="1162"/>
                  </a:cubicBezTo>
                  <a:cubicBezTo>
                    <a:pt x="498" y="1156"/>
                    <a:pt x="501" y="1149"/>
                    <a:pt x="505" y="1143"/>
                  </a:cubicBezTo>
                  <a:cubicBezTo>
                    <a:pt x="520" y="1121"/>
                    <a:pt x="533" y="1097"/>
                    <a:pt x="546" y="1073"/>
                  </a:cubicBezTo>
                  <a:cubicBezTo>
                    <a:pt x="555" y="1054"/>
                    <a:pt x="569" y="1034"/>
                    <a:pt x="586" y="1019"/>
                  </a:cubicBezTo>
                  <a:cubicBezTo>
                    <a:pt x="594" y="1012"/>
                    <a:pt x="605" y="1004"/>
                    <a:pt x="603" y="99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1" name="Freeform 63">
              <a:extLst>
                <a:ext uri="{FF2B5EF4-FFF2-40B4-BE49-F238E27FC236}">
                  <a16:creationId xmlns:a16="http://schemas.microsoft.com/office/drawing/2014/main" id="{A948B7E1-982E-4D37-AAF0-8A50A224A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3097213"/>
              <a:ext cx="850900" cy="1528763"/>
            </a:xfrm>
            <a:custGeom>
              <a:avLst/>
              <a:gdLst/>
              <a:ahLst/>
              <a:cxnLst>
                <a:cxn ang="0">
                  <a:pos x="416" y="555"/>
                </a:cxn>
                <a:cxn ang="0">
                  <a:pos x="363" y="502"/>
                </a:cxn>
                <a:cxn ang="0">
                  <a:pos x="302" y="396"/>
                </a:cxn>
                <a:cxn ang="0">
                  <a:pos x="260" y="298"/>
                </a:cxn>
                <a:cxn ang="0">
                  <a:pos x="170" y="270"/>
                </a:cxn>
                <a:cxn ang="0">
                  <a:pos x="230" y="236"/>
                </a:cxn>
                <a:cxn ang="0">
                  <a:pos x="246" y="155"/>
                </a:cxn>
                <a:cxn ang="0">
                  <a:pos x="184" y="99"/>
                </a:cxn>
                <a:cxn ang="0">
                  <a:pos x="139" y="117"/>
                </a:cxn>
                <a:cxn ang="0">
                  <a:pos x="157" y="88"/>
                </a:cxn>
                <a:cxn ang="0">
                  <a:pos x="158" y="69"/>
                </a:cxn>
                <a:cxn ang="0">
                  <a:pos x="198" y="27"/>
                </a:cxn>
                <a:cxn ang="0">
                  <a:pos x="183" y="3"/>
                </a:cxn>
                <a:cxn ang="0">
                  <a:pos x="136" y="16"/>
                </a:cxn>
                <a:cxn ang="0">
                  <a:pos x="109" y="24"/>
                </a:cxn>
                <a:cxn ang="0">
                  <a:pos x="89" y="25"/>
                </a:cxn>
                <a:cxn ang="0">
                  <a:pos x="78" y="63"/>
                </a:cxn>
                <a:cxn ang="0">
                  <a:pos x="72" y="84"/>
                </a:cxn>
                <a:cxn ang="0">
                  <a:pos x="50" y="91"/>
                </a:cxn>
                <a:cxn ang="0">
                  <a:pos x="59" y="121"/>
                </a:cxn>
                <a:cxn ang="0">
                  <a:pos x="66" y="137"/>
                </a:cxn>
                <a:cxn ang="0">
                  <a:pos x="46" y="148"/>
                </a:cxn>
                <a:cxn ang="0">
                  <a:pos x="33" y="129"/>
                </a:cxn>
                <a:cxn ang="0">
                  <a:pos x="9" y="116"/>
                </a:cxn>
                <a:cxn ang="0">
                  <a:pos x="12" y="136"/>
                </a:cxn>
                <a:cxn ang="0">
                  <a:pos x="42" y="159"/>
                </a:cxn>
                <a:cxn ang="0">
                  <a:pos x="64" y="164"/>
                </a:cxn>
                <a:cxn ang="0">
                  <a:pos x="48" y="183"/>
                </a:cxn>
                <a:cxn ang="0">
                  <a:pos x="32" y="205"/>
                </a:cxn>
                <a:cxn ang="0">
                  <a:pos x="50" y="220"/>
                </a:cxn>
                <a:cxn ang="0">
                  <a:pos x="26" y="221"/>
                </a:cxn>
                <a:cxn ang="0">
                  <a:pos x="18" y="239"/>
                </a:cxn>
                <a:cxn ang="0">
                  <a:pos x="67" y="218"/>
                </a:cxn>
                <a:cxn ang="0">
                  <a:pos x="79" y="206"/>
                </a:cxn>
                <a:cxn ang="0">
                  <a:pos x="64" y="258"/>
                </a:cxn>
                <a:cxn ang="0">
                  <a:pos x="73" y="277"/>
                </a:cxn>
                <a:cxn ang="0">
                  <a:pos x="98" y="290"/>
                </a:cxn>
                <a:cxn ang="0">
                  <a:pos x="84" y="377"/>
                </a:cxn>
                <a:cxn ang="0">
                  <a:pos x="156" y="388"/>
                </a:cxn>
                <a:cxn ang="0">
                  <a:pos x="180" y="380"/>
                </a:cxn>
                <a:cxn ang="0">
                  <a:pos x="195" y="451"/>
                </a:cxn>
                <a:cxn ang="0">
                  <a:pos x="194" y="504"/>
                </a:cxn>
                <a:cxn ang="0">
                  <a:pos x="136" y="525"/>
                </a:cxn>
                <a:cxn ang="0">
                  <a:pos x="107" y="574"/>
                </a:cxn>
                <a:cxn ang="0">
                  <a:pos x="137" y="614"/>
                </a:cxn>
                <a:cxn ang="0">
                  <a:pos x="85" y="655"/>
                </a:cxn>
                <a:cxn ang="0">
                  <a:pos x="134" y="682"/>
                </a:cxn>
                <a:cxn ang="0">
                  <a:pos x="205" y="682"/>
                </a:cxn>
                <a:cxn ang="0">
                  <a:pos x="165" y="708"/>
                </a:cxn>
                <a:cxn ang="0">
                  <a:pos x="91" y="770"/>
                </a:cxn>
                <a:cxn ang="0">
                  <a:pos x="67" y="795"/>
                </a:cxn>
                <a:cxn ang="0">
                  <a:pos x="57" y="810"/>
                </a:cxn>
                <a:cxn ang="0">
                  <a:pos x="86" y="815"/>
                </a:cxn>
                <a:cxn ang="0">
                  <a:pos x="107" y="784"/>
                </a:cxn>
                <a:cxn ang="0">
                  <a:pos x="141" y="787"/>
                </a:cxn>
                <a:cxn ang="0">
                  <a:pos x="172" y="789"/>
                </a:cxn>
                <a:cxn ang="0">
                  <a:pos x="187" y="755"/>
                </a:cxn>
                <a:cxn ang="0">
                  <a:pos x="259" y="751"/>
                </a:cxn>
                <a:cxn ang="0">
                  <a:pos x="341" y="743"/>
                </a:cxn>
                <a:cxn ang="0">
                  <a:pos x="415" y="731"/>
                </a:cxn>
                <a:cxn ang="0">
                  <a:pos x="370" y="685"/>
                </a:cxn>
                <a:cxn ang="0">
                  <a:pos x="444" y="635"/>
                </a:cxn>
              </a:cxnLst>
              <a:rect l="0" t="0" r="r" b="b"/>
              <a:pathLst>
                <a:path w="455" h="818">
                  <a:moveTo>
                    <a:pt x="126" y="139"/>
                  </a:moveTo>
                  <a:cubicBezTo>
                    <a:pt x="126" y="141"/>
                    <a:pt x="126" y="142"/>
                    <a:pt x="125" y="144"/>
                  </a:cubicBezTo>
                  <a:cubicBezTo>
                    <a:pt x="124" y="145"/>
                    <a:pt x="117" y="155"/>
                    <a:pt x="116" y="157"/>
                  </a:cubicBezTo>
                  <a:cubicBezTo>
                    <a:pt x="114" y="159"/>
                    <a:pt x="111" y="160"/>
                    <a:pt x="110" y="163"/>
                  </a:cubicBezTo>
                  <a:cubicBezTo>
                    <a:pt x="106" y="164"/>
                    <a:pt x="109" y="162"/>
                    <a:pt x="109" y="161"/>
                  </a:cubicBezTo>
                  <a:cubicBezTo>
                    <a:pt x="110" y="160"/>
                    <a:pt x="112" y="159"/>
                    <a:pt x="112" y="157"/>
                  </a:cubicBezTo>
                  <a:cubicBezTo>
                    <a:pt x="113" y="154"/>
                    <a:pt x="117" y="148"/>
                    <a:pt x="118" y="147"/>
                  </a:cubicBezTo>
                  <a:cubicBezTo>
                    <a:pt x="119" y="146"/>
                    <a:pt x="119" y="145"/>
                    <a:pt x="120" y="144"/>
                  </a:cubicBezTo>
                  <a:cubicBezTo>
                    <a:pt x="120" y="144"/>
                    <a:pt x="122" y="142"/>
                    <a:pt x="122" y="141"/>
                  </a:cubicBezTo>
                  <a:cubicBezTo>
                    <a:pt x="123" y="140"/>
                    <a:pt x="124" y="139"/>
                    <a:pt x="124" y="138"/>
                  </a:cubicBezTo>
                  <a:cubicBezTo>
                    <a:pt x="126" y="137"/>
                    <a:pt x="126" y="138"/>
                    <a:pt x="126" y="139"/>
                  </a:cubicBezTo>
                  <a:moveTo>
                    <a:pt x="452" y="569"/>
                  </a:moveTo>
                  <a:cubicBezTo>
                    <a:pt x="450" y="566"/>
                    <a:pt x="446" y="568"/>
                    <a:pt x="443" y="567"/>
                  </a:cubicBezTo>
                  <a:cubicBezTo>
                    <a:pt x="441" y="566"/>
                    <a:pt x="441" y="564"/>
                    <a:pt x="440" y="563"/>
                  </a:cubicBezTo>
                  <a:cubicBezTo>
                    <a:pt x="439" y="562"/>
                    <a:pt x="436" y="561"/>
                    <a:pt x="434" y="560"/>
                  </a:cubicBezTo>
                  <a:cubicBezTo>
                    <a:pt x="432" y="559"/>
                    <a:pt x="431" y="559"/>
                    <a:pt x="429" y="558"/>
                  </a:cubicBezTo>
                  <a:cubicBezTo>
                    <a:pt x="427" y="558"/>
                    <a:pt x="425" y="555"/>
                    <a:pt x="422" y="555"/>
                  </a:cubicBezTo>
                  <a:cubicBezTo>
                    <a:pt x="420" y="554"/>
                    <a:pt x="418" y="555"/>
                    <a:pt x="416" y="555"/>
                  </a:cubicBezTo>
                  <a:cubicBezTo>
                    <a:pt x="413" y="556"/>
                    <a:pt x="410" y="555"/>
                    <a:pt x="407" y="555"/>
                  </a:cubicBezTo>
                  <a:cubicBezTo>
                    <a:pt x="402" y="555"/>
                    <a:pt x="398" y="554"/>
                    <a:pt x="393" y="554"/>
                  </a:cubicBezTo>
                  <a:cubicBezTo>
                    <a:pt x="388" y="554"/>
                    <a:pt x="387" y="555"/>
                    <a:pt x="385" y="559"/>
                  </a:cubicBezTo>
                  <a:cubicBezTo>
                    <a:pt x="384" y="561"/>
                    <a:pt x="383" y="562"/>
                    <a:pt x="382" y="563"/>
                  </a:cubicBezTo>
                  <a:cubicBezTo>
                    <a:pt x="380" y="565"/>
                    <a:pt x="380" y="567"/>
                    <a:pt x="378" y="568"/>
                  </a:cubicBezTo>
                  <a:cubicBezTo>
                    <a:pt x="376" y="570"/>
                    <a:pt x="375" y="570"/>
                    <a:pt x="373" y="569"/>
                  </a:cubicBezTo>
                  <a:cubicBezTo>
                    <a:pt x="370" y="568"/>
                    <a:pt x="371" y="565"/>
                    <a:pt x="368" y="563"/>
                  </a:cubicBezTo>
                  <a:cubicBezTo>
                    <a:pt x="366" y="561"/>
                    <a:pt x="364" y="562"/>
                    <a:pt x="364" y="558"/>
                  </a:cubicBezTo>
                  <a:cubicBezTo>
                    <a:pt x="364" y="556"/>
                    <a:pt x="364" y="555"/>
                    <a:pt x="365" y="553"/>
                  </a:cubicBezTo>
                  <a:cubicBezTo>
                    <a:pt x="367" y="550"/>
                    <a:pt x="372" y="551"/>
                    <a:pt x="375" y="549"/>
                  </a:cubicBezTo>
                  <a:cubicBezTo>
                    <a:pt x="377" y="547"/>
                    <a:pt x="377" y="545"/>
                    <a:pt x="378" y="543"/>
                  </a:cubicBezTo>
                  <a:cubicBezTo>
                    <a:pt x="378" y="540"/>
                    <a:pt x="380" y="538"/>
                    <a:pt x="380" y="536"/>
                  </a:cubicBezTo>
                  <a:cubicBezTo>
                    <a:pt x="382" y="532"/>
                    <a:pt x="381" y="528"/>
                    <a:pt x="380" y="524"/>
                  </a:cubicBezTo>
                  <a:cubicBezTo>
                    <a:pt x="379" y="522"/>
                    <a:pt x="379" y="519"/>
                    <a:pt x="378" y="518"/>
                  </a:cubicBezTo>
                  <a:cubicBezTo>
                    <a:pt x="377" y="517"/>
                    <a:pt x="376" y="518"/>
                    <a:pt x="375" y="517"/>
                  </a:cubicBezTo>
                  <a:cubicBezTo>
                    <a:pt x="373" y="517"/>
                    <a:pt x="372" y="514"/>
                    <a:pt x="370" y="513"/>
                  </a:cubicBezTo>
                  <a:cubicBezTo>
                    <a:pt x="368" y="511"/>
                    <a:pt x="368" y="508"/>
                    <a:pt x="367" y="506"/>
                  </a:cubicBezTo>
                  <a:cubicBezTo>
                    <a:pt x="366" y="505"/>
                    <a:pt x="365" y="502"/>
                    <a:pt x="363" y="502"/>
                  </a:cubicBezTo>
                  <a:cubicBezTo>
                    <a:pt x="362" y="501"/>
                    <a:pt x="358" y="501"/>
                    <a:pt x="358" y="499"/>
                  </a:cubicBezTo>
                  <a:cubicBezTo>
                    <a:pt x="360" y="498"/>
                    <a:pt x="365" y="498"/>
                    <a:pt x="367" y="499"/>
                  </a:cubicBezTo>
                  <a:cubicBezTo>
                    <a:pt x="370" y="499"/>
                    <a:pt x="371" y="501"/>
                    <a:pt x="375" y="501"/>
                  </a:cubicBezTo>
                  <a:cubicBezTo>
                    <a:pt x="376" y="498"/>
                    <a:pt x="374" y="498"/>
                    <a:pt x="372" y="497"/>
                  </a:cubicBezTo>
                  <a:cubicBezTo>
                    <a:pt x="371" y="496"/>
                    <a:pt x="370" y="495"/>
                    <a:pt x="369" y="495"/>
                  </a:cubicBezTo>
                  <a:cubicBezTo>
                    <a:pt x="368" y="489"/>
                    <a:pt x="364" y="485"/>
                    <a:pt x="361" y="481"/>
                  </a:cubicBezTo>
                  <a:cubicBezTo>
                    <a:pt x="359" y="476"/>
                    <a:pt x="358" y="470"/>
                    <a:pt x="354" y="466"/>
                  </a:cubicBezTo>
                  <a:cubicBezTo>
                    <a:pt x="352" y="464"/>
                    <a:pt x="350" y="459"/>
                    <a:pt x="349" y="456"/>
                  </a:cubicBezTo>
                  <a:cubicBezTo>
                    <a:pt x="348" y="452"/>
                    <a:pt x="354" y="451"/>
                    <a:pt x="354" y="447"/>
                  </a:cubicBezTo>
                  <a:cubicBezTo>
                    <a:pt x="350" y="445"/>
                    <a:pt x="347" y="443"/>
                    <a:pt x="345" y="439"/>
                  </a:cubicBezTo>
                  <a:cubicBezTo>
                    <a:pt x="344" y="437"/>
                    <a:pt x="343" y="434"/>
                    <a:pt x="341" y="432"/>
                  </a:cubicBezTo>
                  <a:cubicBezTo>
                    <a:pt x="340" y="430"/>
                    <a:pt x="338" y="429"/>
                    <a:pt x="337" y="427"/>
                  </a:cubicBezTo>
                  <a:cubicBezTo>
                    <a:pt x="335" y="424"/>
                    <a:pt x="333" y="419"/>
                    <a:pt x="330" y="417"/>
                  </a:cubicBezTo>
                  <a:cubicBezTo>
                    <a:pt x="327" y="414"/>
                    <a:pt x="323" y="414"/>
                    <a:pt x="319" y="412"/>
                  </a:cubicBezTo>
                  <a:cubicBezTo>
                    <a:pt x="317" y="410"/>
                    <a:pt x="315" y="408"/>
                    <a:pt x="313" y="407"/>
                  </a:cubicBezTo>
                  <a:cubicBezTo>
                    <a:pt x="312" y="406"/>
                    <a:pt x="310" y="406"/>
                    <a:pt x="308" y="405"/>
                  </a:cubicBezTo>
                  <a:cubicBezTo>
                    <a:pt x="306" y="403"/>
                    <a:pt x="304" y="403"/>
                    <a:pt x="304" y="400"/>
                  </a:cubicBezTo>
                  <a:cubicBezTo>
                    <a:pt x="304" y="397"/>
                    <a:pt x="305" y="397"/>
                    <a:pt x="302" y="396"/>
                  </a:cubicBezTo>
                  <a:cubicBezTo>
                    <a:pt x="299" y="396"/>
                    <a:pt x="292" y="397"/>
                    <a:pt x="292" y="392"/>
                  </a:cubicBezTo>
                  <a:cubicBezTo>
                    <a:pt x="291" y="388"/>
                    <a:pt x="293" y="391"/>
                    <a:pt x="295" y="390"/>
                  </a:cubicBezTo>
                  <a:cubicBezTo>
                    <a:pt x="296" y="389"/>
                    <a:pt x="297" y="386"/>
                    <a:pt x="295" y="385"/>
                  </a:cubicBezTo>
                  <a:cubicBezTo>
                    <a:pt x="297" y="385"/>
                    <a:pt x="299" y="382"/>
                    <a:pt x="299" y="380"/>
                  </a:cubicBezTo>
                  <a:cubicBezTo>
                    <a:pt x="299" y="378"/>
                    <a:pt x="297" y="377"/>
                    <a:pt x="295" y="376"/>
                  </a:cubicBezTo>
                  <a:cubicBezTo>
                    <a:pt x="292" y="374"/>
                    <a:pt x="290" y="373"/>
                    <a:pt x="290" y="368"/>
                  </a:cubicBezTo>
                  <a:cubicBezTo>
                    <a:pt x="290" y="364"/>
                    <a:pt x="292" y="360"/>
                    <a:pt x="288" y="357"/>
                  </a:cubicBezTo>
                  <a:cubicBezTo>
                    <a:pt x="286" y="356"/>
                    <a:pt x="284" y="356"/>
                    <a:pt x="282" y="358"/>
                  </a:cubicBezTo>
                  <a:cubicBezTo>
                    <a:pt x="282" y="359"/>
                    <a:pt x="282" y="359"/>
                    <a:pt x="280" y="360"/>
                  </a:cubicBezTo>
                  <a:cubicBezTo>
                    <a:pt x="281" y="359"/>
                    <a:pt x="282" y="358"/>
                    <a:pt x="282" y="358"/>
                  </a:cubicBezTo>
                  <a:cubicBezTo>
                    <a:pt x="284" y="353"/>
                    <a:pt x="279" y="343"/>
                    <a:pt x="278" y="341"/>
                  </a:cubicBezTo>
                  <a:cubicBezTo>
                    <a:pt x="277" y="338"/>
                    <a:pt x="276" y="336"/>
                    <a:pt x="276" y="332"/>
                  </a:cubicBezTo>
                  <a:cubicBezTo>
                    <a:pt x="276" y="327"/>
                    <a:pt x="277" y="324"/>
                    <a:pt x="283" y="328"/>
                  </a:cubicBezTo>
                  <a:cubicBezTo>
                    <a:pt x="279" y="323"/>
                    <a:pt x="277" y="318"/>
                    <a:pt x="274" y="312"/>
                  </a:cubicBezTo>
                  <a:cubicBezTo>
                    <a:pt x="272" y="310"/>
                    <a:pt x="272" y="310"/>
                    <a:pt x="270" y="309"/>
                  </a:cubicBezTo>
                  <a:cubicBezTo>
                    <a:pt x="268" y="308"/>
                    <a:pt x="267" y="308"/>
                    <a:pt x="267" y="306"/>
                  </a:cubicBezTo>
                  <a:cubicBezTo>
                    <a:pt x="266" y="303"/>
                    <a:pt x="269" y="302"/>
                    <a:pt x="266" y="300"/>
                  </a:cubicBezTo>
                  <a:cubicBezTo>
                    <a:pt x="265" y="299"/>
                    <a:pt x="262" y="298"/>
                    <a:pt x="260" y="298"/>
                  </a:cubicBezTo>
                  <a:cubicBezTo>
                    <a:pt x="256" y="297"/>
                    <a:pt x="251" y="294"/>
                    <a:pt x="250" y="290"/>
                  </a:cubicBezTo>
                  <a:cubicBezTo>
                    <a:pt x="249" y="286"/>
                    <a:pt x="252" y="283"/>
                    <a:pt x="252" y="279"/>
                  </a:cubicBezTo>
                  <a:cubicBezTo>
                    <a:pt x="251" y="277"/>
                    <a:pt x="250" y="275"/>
                    <a:pt x="249" y="273"/>
                  </a:cubicBezTo>
                  <a:cubicBezTo>
                    <a:pt x="248" y="273"/>
                    <a:pt x="245" y="271"/>
                    <a:pt x="243" y="271"/>
                  </a:cubicBezTo>
                  <a:cubicBezTo>
                    <a:pt x="239" y="271"/>
                    <a:pt x="239" y="277"/>
                    <a:pt x="233" y="273"/>
                  </a:cubicBezTo>
                  <a:cubicBezTo>
                    <a:pt x="233" y="273"/>
                    <a:pt x="233" y="272"/>
                    <a:pt x="232" y="272"/>
                  </a:cubicBezTo>
                  <a:cubicBezTo>
                    <a:pt x="231" y="271"/>
                    <a:pt x="229" y="271"/>
                    <a:pt x="229" y="271"/>
                  </a:cubicBezTo>
                  <a:cubicBezTo>
                    <a:pt x="227" y="270"/>
                    <a:pt x="227" y="267"/>
                    <a:pt x="224" y="268"/>
                  </a:cubicBezTo>
                  <a:cubicBezTo>
                    <a:pt x="225" y="272"/>
                    <a:pt x="222" y="269"/>
                    <a:pt x="221" y="268"/>
                  </a:cubicBezTo>
                  <a:cubicBezTo>
                    <a:pt x="220" y="266"/>
                    <a:pt x="220" y="266"/>
                    <a:pt x="217" y="266"/>
                  </a:cubicBezTo>
                  <a:cubicBezTo>
                    <a:pt x="214" y="266"/>
                    <a:pt x="209" y="265"/>
                    <a:pt x="207" y="268"/>
                  </a:cubicBezTo>
                  <a:cubicBezTo>
                    <a:pt x="207" y="269"/>
                    <a:pt x="208" y="271"/>
                    <a:pt x="206" y="272"/>
                  </a:cubicBezTo>
                  <a:cubicBezTo>
                    <a:pt x="204" y="273"/>
                    <a:pt x="203" y="271"/>
                    <a:pt x="202" y="270"/>
                  </a:cubicBezTo>
                  <a:cubicBezTo>
                    <a:pt x="198" y="270"/>
                    <a:pt x="195" y="274"/>
                    <a:pt x="192" y="275"/>
                  </a:cubicBezTo>
                  <a:cubicBezTo>
                    <a:pt x="190" y="276"/>
                    <a:pt x="187" y="275"/>
                    <a:pt x="185" y="274"/>
                  </a:cubicBezTo>
                  <a:cubicBezTo>
                    <a:pt x="184" y="274"/>
                    <a:pt x="183" y="274"/>
                    <a:pt x="183" y="274"/>
                  </a:cubicBezTo>
                  <a:cubicBezTo>
                    <a:pt x="182" y="274"/>
                    <a:pt x="181" y="273"/>
                    <a:pt x="180" y="272"/>
                  </a:cubicBezTo>
                  <a:cubicBezTo>
                    <a:pt x="177" y="270"/>
                    <a:pt x="174" y="271"/>
                    <a:pt x="170" y="270"/>
                  </a:cubicBezTo>
                  <a:cubicBezTo>
                    <a:pt x="167" y="270"/>
                    <a:pt x="163" y="270"/>
                    <a:pt x="160" y="269"/>
                  </a:cubicBezTo>
                  <a:cubicBezTo>
                    <a:pt x="158" y="269"/>
                    <a:pt x="156" y="268"/>
                    <a:pt x="154" y="268"/>
                  </a:cubicBezTo>
                  <a:cubicBezTo>
                    <a:pt x="152" y="268"/>
                    <a:pt x="152" y="269"/>
                    <a:pt x="150" y="269"/>
                  </a:cubicBezTo>
                  <a:cubicBezTo>
                    <a:pt x="149" y="268"/>
                    <a:pt x="149" y="268"/>
                    <a:pt x="150" y="267"/>
                  </a:cubicBezTo>
                  <a:cubicBezTo>
                    <a:pt x="156" y="266"/>
                    <a:pt x="163" y="267"/>
                    <a:pt x="170" y="267"/>
                  </a:cubicBezTo>
                  <a:cubicBezTo>
                    <a:pt x="173" y="267"/>
                    <a:pt x="176" y="267"/>
                    <a:pt x="179" y="267"/>
                  </a:cubicBezTo>
                  <a:cubicBezTo>
                    <a:pt x="182" y="267"/>
                    <a:pt x="185" y="268"/>
                    <a:pt x="188" y="268"/>
                  </a:cubicBezTo>
                  <a:cubicBezTo>
                    <a:pt x="188" y="264"/>
                    <a:pt x="191" y="266"/>
                    <a:pt x="193" y="265"/>
                  </a:cubicBezTo>
                  <a:cubicBezTo>
                    <a:pt x="196" y="264"/>
                    <a:pt x="194" y="261"/>
                    <a:pt x="195" y="258"/>
                  </a:cubicBezTo>
                  <a:cubicBezTo>
                    <a:pt x="196" y="256"/>
                    <a:pt x="200" y="256"/>
                    <a:pt x="202" y="255"/>
                  </a:cubicBezTo>
                  <a:cubicBezTo>
                    <a:pt x="204" y="254"/>
                    <a:pt x="205" y="254"/>
                    <a:pt x="206" y="253"/>
                  </a:cubicBezTo>
                  <a:cubicBezTo>
                    <a:pt x="207" y="252"/>
                    <a:pt x="208" y="251"/>
                    <a:pt x="210" y="251"/>
                  </a:cubicBezTo>
                  <a:cubicBezTo>
                    <a:pt x="210" y="252"/>
                    <a:pt x="210" y="253"/>
                    <a:pt x="210" y="254"/>
                  </a:cubicBezTo>
                  <a:cubicBezTo>
                    <a:pt x="212" y="255"/>
                    <a:pt x="214" y="254"/>
                    <a:pt x="216" y="254"/>
                  </a:cubicBezTo>
                  <a:cubicBezTo>
                    <a:pt x="216" y="252"/>
                    <a:pt x="216" y="249"/>
                    <a:pt x="217" y="247"/>
                  </a:cubicBezTo>
                  <a:cubicBezTo>
                    <a:pt x="218" y="243"/>
                    <a:pt x="222" y="243"/>
                    <a:pt x="225" y="243"/>
                  </a:cubicBezTo>
                  <a:cubicBezTo>
                    <a:pt x="228" y="243"/>
                    <a:pt x="230" y="243"/>
                    <a:pt x="232" y="241"/>
                  </a:cubicBezTo>
                  <a:cubicBezTo>
                    <a:pt x="234" y="239"/>
                    <a:pt x="233" y="237"/>
                    <a:pt x="230" y="236"/>
                  </a:cubicBezTo>
                  <a:cubicBezTo>
                    <a:pt x="227" y="236"/>
                    <a:pt x="226" y="237"/>
                    <a:pt x="224" y="237"/>
                  </a:cubicBezTo>
                  <a:cubicBezTo>
                    <a:pt x="221" y="237"/>
                    <a:pt x="219" y="234"/>
                    <a:pt x="217" y="233"/>
                  </a:cubicBezTo>
                  <a:cubicBezTo>
                    <a:pt x="215" y="232"/>
                    <a:pt x="213" y="231"/>
                    <a:pt x="212" y="230"/>
                  </a:cubicBezTo>
                  <a:cubicBezTo>
                    <a:pt x="210" y="228"/>
                    <a:pt x="212" y="225"/>
                    <a:pt x="209" y="224"/>
                  </a:cubicBezTo>
                  <a:cubicBezTo>
                    <a:pt x="213" y="223"/>
                    <a:pt x="215" y="219"/>
                    <a:pt x="220" y="219"/>
                  </a:cubicBezTo>
                  <a:cubicBezTo>
                    <a:pt x="221" y="219"/>
                    <a:pt x="222" y="219"/>
                    <a:pt x="223" y="219"/>
                  </a:cubicBezTo>
                  <a:cubicBezTo>
                    <a:pt x="224" y="219"/>
                    <a:pt x="224" y="217"/>
                    <a:pt x="225" y="217"/>
                  </a:cubicBezTo>
                  <a:cubicBezTo>
                    <a:pt x="225" y="216"/>
                    <a:pt x="226" y="216"/>
                    <a:pt x="227" y="216"/>
                  </a:cubicBezTo>
                  <a:cubicBezTo>
                    <a:pt x="228" y="215"/>
                    <a:pt x="230" y="210"/>
                    <a:pt x="230" y="209"/>
                  </a:cubicBezTo>
                  <a:cubicBezTo>
                    <a:pt x="231" y="205"/>
                    <a:pt x="230" y="202"/>
                    <a:pt x="227" y="201"/>
                  </a:cubicBezTo>
                  <a:cubicBezTo>
                    <a:pt x="227" y="198"/>
                    <a:pt x="228" y="196"/>
                    <a:pt x="230" y="195"/>
                  </a:cubicBezTo>
                  <a:cubicBezTo>
                    <a:pt x="231" y="194"/>
                    <a:pt x="232" y="194"/>
                    <a:pt x="233" y="194"/>
                  </a:cubicBezTo>
                  <a:cubicBezTo>
                    <a:pt x="235" y="193"/>
                    <a:pt x="235" y="192"/>
                    <a:pt x="237" y="191"/>
                  </a:cubicBezTo>
                  <a:cubicBezTo>
                    <a:pt x="239" y="190"/>
                    <a:pt x="240" y="188"/>
                    <a:pt x="242" y="186"/>
                  </a:cubicBezTo>
                  <a:cubicBezTo>
                    <a:pt x="245" y="183"/>
                    <a:pt x="247" y="183"/>
                    <a:pt x="246" y="179"/>
                  </a:cubicBezTo>
                  <a:cubicBezTo>
                    <a:pt x="246" y="177"/>
                    <a:pt x="245" y="174"/>
                    <a:pt x="245" y="172"/>
                  </a:cubicBezTo>
                  <a:cubicBezTo>
                    <a:pt x="246" y="169"/>
                    <a:pt x="248" y="169"/>
                    <a:pt x="250" y="167"/>
                  </a:cubicBezTo>
                  <a:cubicBezTo>
                    <a:pt x="251" y="164"/>
                    <a:pt x="250" y="151"/>
                    <a:pt x="246" y="155"/>
                  </a:cubicBezTo>
                  <a:cubicBezTo>
                    <a:pt x="249" y="154"/>
                    <a:pt x="251" y="151"/>
                    <a:pt x="252" y="149"/>
                  </a:cubicBezTo>
                  <a:cubicBezTo>
                    <a:pt x="253" y="145"/>
                    <a:pt x="255" y="145"/>
                    <a:pt x="258" y="142"/>
                  </a:cubicBezTo>
                  <a:cubicBezTo>
                    <a:pt x="261" y="140"/>
                    <a:pt x="265" y="138"/>
                    <a:pt x="266" y="134"/>
                  </a:cubicBezTo>
                  <a:cubicBezTo>
                    <a:pt x="266" y="130"/>
                    <a:pt x="266" y="126"/>
                    <a:pt x="266" y="123"/>
                  </a:cubicBezTo>
                  <a:cubicBezTo>
                    <a:pt x="266" y="120"/>
                    <a:pt x="267" y="115"/>
                    <a:pt x="266" y="112"/>
                  </a:cubicBezTo>
                  <a:cubicBezTo>
                    <a:pt x="264" y="109"/>
                    <a:pt x="261" y="107"/>
                    <a:pt x="258" y="106"/>
                  </a:cubicBezTo>
                  <a:cubicBezTo>
                    <a:pt x="257" y="106"/>
                    <a:pt x="254" y="104"/>
                    <a:pt x="253" y="104"/>
                  </a:cubicBezTo>
                  <a:cubicBezTo>
                    <a:pt x="252" y="102"/>
                    <a:pt x="252" y="100"/>
                    <a:pt x="250" y="100"/>
                  </a:cubicBezTo>
                  <a:cubicBezTo>
                    <a:pt x="247" y="99"/>
                    <a:pt x="243" y="103"/>
                    <a:pt x="242" y="105"/>
                  </a:cubicBezTo>
                  <a:cubicBezTo>
                    <a:pt x="238" y="106"/>
                    <a:pt x="236" y="104"/>
                    <a:pt x="232" y="106"/>
                  </a:cubicBezTo>
                  <a:cubicBezTo>
                    <a:pt x="231" y="107"/>
                    <a:pt x="230" y="108"/>
                    <a:pt x="228" y="108"/>
                  </a:cubicBezTo>
                  <a:cubicBezTo>
                    <a:pt x="228" y="107"/>
                    <a:pt x="227" y="106"/>
                    <a:pt x="226" y="105"/>
                  </a:cubicBezTo>
                  <a:cubicBezTo>
                    <a:pt x="225" y="105"/>
                    <a:pt x="225" y="105"/>
                    <a:pt x="224" y="105"/>
                  </a:cubicBezTo>
                  <a:cubicBezTo>
                    <a:pt x="222" y="104"/>
                    <a:pt x="222" y="102"/>
                    <a:pt x="220" y="102"/>
                  </a:cubicBezTo>
                  <a:cubicBezTo>
                    <a:pt x="219" y="101"/>
                    <a:pt x="215" y="102"/>
                    <a:pt x="213" y="102"/>
                  </a:cubicBezTo>
                  <a:cubicBezTo>
                    <a:pt x="210" y="102"/>
                    <a:pt x="206" y="101"/>
                    <a:pt x="203" y="102"/>
                  </a:cubicBezTo>
                  <a:cubicBezTo>
                    <a:pt x="202" y="107"/>
                    <a:pt x="197" y="105"/>
                    <a:pt x="194" y="104"/>
                  </a:cubicBezTo>
                  <a:cubicBezTo>
                    <a:pt x="191" y="101"/>
                    <a:pt x="188" y="99"/>
                    <a:pt x="184" y="99"/>
                  </a:cubicBezTo>
                  <a:cubicBezTo>
                    <a:pt x="182" y="99"/>
                    <a:pt x="177" y="99"/>
                    <a:pt x="176" y="101"/>
                  </a:cubicBezTo>
                  <a:cubicBezTo>
                    <a:pt x="174" y="103"/>
                    <a:pt x="175" y="105"/>
                    <a:pt x="174" y="106"/>
                  </a:cubicBezTo>
                  <a:cubicBezTo>
                    <a:pt x="173" y="107"/>
                    <a:pt x="171" y="106"/>
                    <a:pt x="169" y="106"/>
                  </a:cubicBezTo>
                  <a:cubicBezTo>
                    <a:pt x="167" y="107"/>
                    <a:pt x="165" y="108"/>
                    <a:pt x="162" y="109"/>
                  </a:cubicBezTo>
                  <a:cubicBezTo>
                    <a:pt x="161" y="110"/>
                    <a:pt x="159" y="111"/>
                    <a:pt x="157" y="112"/>
                  </a:cubicBezTo>
                  <a:cubicBezTo>
                    <a:pt x="157" y="113"/>
                    <a:pt x="157" y="113"/>
                    <a:pt x="157" y="114"/>
                  </a:cubicBezTo>
                  <a:cubicBezTo>
                    <a:pt x="157" y="114"/>
                    <a:pt x="157" y="115"/>
                    <a:pt x="156" y="115"/>
                  </a:cubicBezTo>
                  <a:cubicBezTo>
                    <a:pt x="156" y="115"/>
                    <a:pt x="153" y="117"/>
                    <a:pt x="153" y="117"/>
                  </a:cubicBezTo>
                  <a:cubicBezTo>
                    <a:pt x="150" y="117"/>
                    <a:pt x="147" y="116"/>
                    <a:pt x="144" y="117"/>
                  </a:cubicBezTo>
                  <a:cubicBezTo>
                    <a:pt x="142" y="118"/>
                    <a:pt x="143" y="118"/>
                    <a:pt x="141" y="120"/>
                  </a:cubicBezTo>
                  <a:cubicBezTo>
                    <a:pt x="140" y="122"/>
                    <a:pt x="139" y="122"/>
                    <a:pt x="136" y="123"/>
                  </a:cubicBezTo>
                  <a:cubicBezTo>
                    <a:pt x="134" y="125"/>
                    <a:pt x="134" y="126"/>
                    <a:pt x="132" y="128"/>
                  </a:cubicBezTo>
                  <a:cubicBezTo>
                    <a:pt x="130" y="129"/>
                    <a:pt x="129" y="132"/>
                    <a:pt x="130" y="128"/>
                  </a:cubicBezTo>
                  <a:cubicBezTo>
                    <a:pt x="131" y="127"/>
                    <a:pt x="132" y="125"/>
                    <a:pt x="131" y="126"/>
                  </a:cubicBezTo>
                  <a:cubicBezTo>
                    <a:pt x="132" y="125"/>
                    <a:pt x="132" y="125"/>
                    <a:pt x="132" y="124"/>
                  </a:cubicBezTo>
                  <a:cubicBezTo>
                    <a:pt x="133" y="123"/>
                    <a:pt x="134" y="122"/>
                    <a:pt x="135" y="121"/>
                  </a:cubicBezTo>
                  <a:cubicBezTo>
                    <a:pt x="136" y="120"/>
                    <a:pt x="136" y="120"/>
                    <a:pt x="137" y="119"/>
                  </a:cubicBezTo>
                  <a:cubicBezTo>
                    <a:pt x="137" y="118"/>
                    <a:pt x="138" y="118"/>
                    <a:pt x="139" y="117"/>
                  </a:cubicBezTo>
                  <a:cubicBezTo>
                    <a:pt x="141" y="115"/>
                    <a:pt x="143" y="111"/>
                    <a:pt x="145" y="109"/>
                  </a:cubicBezTo>
                  <a:cubicBezTo>
                    <a:pt x="145" y="108"/>
                    <a:pt x="146" y="108"/>
                    <a:pt x="146" y="107"/>
                  </a:cubicBezTo>
                  <a:cubicBezTo>
                    <a:pt x="146" y="106"/>
                    <a:pt x="143" y="105"/>
                    <a:pt x="142" y="105"/>
                  </a:cubicBezTo>
                  <a:cubicBezTo>
                    <a:pt x="139" y="104"/>
                    <a:pt x="136" y="107"/>
                    <a:pt x="134" y="108"/>
                  </a:cubicBezTo>
                  <a:cubicBezTo>
                    <a:pt x="132" y="109"/>
                    <a:pt x="130" y="111"/>
                    <a:pt x="128" y="112"/>
                  </a:cubicBezTo>
                  <a:cubicBezTo>
                    <a:pt x="128" y="113"/>
                    <a:pt x="127" y="113"/>
                    <a:pt x="127" y="114"/>
                  </a:cubicBezTo>
                  <a:cubicBezTo>
                    <a:pt x="125" y="114"/>
                    <a:pt x="124" y="114"/>
                    <a:pt x="125" y="112"/>
                  </a:cubicBezTo>
                  <a:cubicBezTo>
                    <a:pt x="126" y="111"/>
                    <a:pt x="127" y="110"/>
                    <a:pt x="128" y="108"/>
                  </a:cubicBezTo>
                  <a:cubicBezTo>
                    <a:pt x="129" y="107"/>
                    <a:pt x="130" y="106"/>
                    <a:pt x="132" y="105"/>
                  </a:cubicBezTo>
                  <a:cubicBezTo>
                    <a:pt x="135" y="103"/>
                    <a:pt x="138" y="102"/>
                    <a:pt x="141" y="101"/>
                  </a:cubicBezTo>
                  <a:cubicBezTo>
                    <a:pt x="142" y="100"/>
                    <a:pt x="143" y="100"/>
                    <a:pt x="144" y="100"/>
                  </a:cubicBezTo>
                  <a:cubicBezTo>
                    <a:pt x="146" y="100"/>
                    <a:pt x="145" y="102"/>
                    <a:pt x="146" y="102"/>
                  </a:cubicBezTo>
                  <a:cubicBezTo>
                    <a:pt x="147" y="103"/>
                    <a:pt x="147" y="103"/>
                    <a:pt x="148" y="103"/>
                  </a:cubicBezTo>
                  <a:cubicBezTo>
                    <a:pt x="149" y="102"/>
                    <a:pt x="150" y="102"/>
                    <a:pt x="150" y="101"/>
                  </a:cubicBezTo>
                  <a:cubicBezTo>
                    <a:pt x="151" y="98"/>
                    <a:pt x="152" y="96"/>
                    <a:pt x="154" y="94"/>
                  </a:cubicBezTo>
                  <a:cubicBezTo>
                    <a:pt x="155" y="92"/>
                    <a:pt x="157" y="90"/>
                    <a:pt x="159" y="88"/>
                  </a:cubicBezTo>
                  <a:cubicBezTo>
                    <a:pt x="160" y="87"/>
                    <a:pt x="161" y="86"/>
                    <a:pt x="161" y="85"/>
                  </a:cubicBezTo>
                  <a:cubicBezTo>
                    <a:pt x="159" y="85"/>
                    <a:pt x="158" y="87"/>
                    <a:pt x="157" y="88"/>
                  </a:cubicBezTo>
                  <a:cubicBezTo>
                    <a:pt x="157" y="89"/>
                    <a:pt x="156" y="89"/>
                    <a:pt x="155" y="89"/>
                  </a:cubicBezTo>
                  <a:cubicBezTo>
                    <a:pt x="154" y="90"/>
                    <a:pt x="153" y="89"/>
                    <a:pt x="152" y="89"/>
                  </a:cubicBezTo>
                  <a:cubicBezTo>
                    <a:pt x="150" y="89"/>
                    <a:pt x="148" y="87"/>
                    <a:pt x="147" y="88"/>
                  </a:cubicBezTo>
                  <a:cubicBezTo>
                    <a:pt x="145" y="88"/>
                    <a:pt x="143" y="90"/>
                    <a:pt x="141" y="89"/>
                  </a:cubicBezTo>
                  <a:cubicBezTo>
                    <a:pt x="139" y="89"/>
                    <a:pt x="138" y="88"/>
                    <a:pt x="136" y="87"/>
                  </a:cubicBezTo>
                  <a:cubicBezTo>
                    <a:pt x="134" y="85"/>
                    <a:pt x="131" y="85"/>
                    <a:pt x="129" y="85"/>
                  </a:cubicBezTo>
                  <a:cubicBezTo>
                    <a:pt x="128" y="85"/>
                    <a:pt x="123" y="86"/>
                    <a:pt x="123" y="84"/>
                  </a:cubicBezTo>
                  <a:cubicBezTo>
                    <a:pt x="124" y="83"/>
                    <a:pt x="128" y="83"/>
                    <a:pt x="130" y="83"/>
                  </a:cubicBezTo>
                  <a:cubicBezTo>
                    <a:pt x="131" y="83"/>
                    <a:pt x="132" y="84"/>
                    <a:pt x="133" y="84"/>
                  </a:cubicBezTo>
                  <a:cubicBezTo>
                    <a:pt x="135" y="84"/>
                    <a:pt x="139" y="83"/>
                    <a:pt x="141" y="84"/>
                  </a:cubicBezTo>
                  <a:cubicBezTo>
                    <a:pt x="143" y="84"/>
                    <a:pt x="144" y="85"/>
                    <a:pt x="146" y="84"/>
                  </a:cubicBezTo>
                  <a:cubicBezTo>
                    <a:pt x="147" y="84"/>
                    <a:pt x="147" y="83"/>
                    <a:pt x="147" y="81"/>
                  </a:cubicBezTo>
                  <a:cubicBezTo>
                    <a:pt x="147" y="80"/>
                    <a:pt x="147" y="79"/>
                    <a:pt x="148" y="78"/>
                  </a:cubicBezTo>
                  <a:cubicBezTo>
                    <a:pt x="148" y="77"/>
                    <a:pt x="149" y="76"/>
                    <a:pt x="150" y="76"/>
                  </a:cubicBezTo>
                  <a:cubicBezTo>
                    <a:pt x="152" y="75"/>
                    <a:pt x="154" y="74"/>
                    <a:pt x="155" y="73"/>
                  </a:cubicBezTo>
                  <a:cubicBezTo>
                    <a:pt x="156" y="72"/>
                    <a:pt x="156" y="73"/>
                    <a:pt x="156" y="72"/>
                  </a:cubicBezTo>
                  <a:cubicBezTo>
                    <a:pt x="157" y="72"/>
                    <a:pt x="157" y="71"/>
                    <a:pt x="157" y="71"/>
                  </a:cubicBezTo>
                  <a:cubicBezTo>
                    <a:pt x="157" y="70"/>
                    <a:pt x="157" y="70"/>
                    <a:pt x="158" y="69"/>
                  </a:cubicBezTo>
                  <a:cubicBezTo>
                    <a:pt x="158" y="68"/>
                    <a:pt x="159" y="68"/>
                    <a:pt x="159" y="68"/>
                  </a:cubicBezTo>
                  <a:cubicBezTo>
                    <a:pt x="160" y="67"/>
                    <a:pt x="161" y="66"/>
                    <a:pt x="161" y="65"/>
                  </a:cubicBezTo>
                  <a:cubicBezTo>
                    <a:pt x="162" y="64"/>
                    <a:pt x="164" y="63"/>
                    <a:pt x="164" y="62"/>
                  </a:cubicBezTo>
                  <a:cubicBezTo>
                    <a:pt x="166" y="61"/>
                    <a:pt x="166" y="59"/>
                    <a:pt x="168" y="58"/>
                  </a:cubicBezTo>
                  <a:cubicBezTo>
                    <a:pt x="168" y="58"/>
                    <a:pt x="169" y="58"/>
                    <a:pt x="169" y="58"/>
                  </a:cubicBezTo>
                  <a:cubicBezTo>
                    <a:pt x="170" y="57"/>
                    <a:pt x="169" y="57"/>
                    <a:pt x="170" y="57"/>
                  </a:cubicBezTo>
                  <a:cubicBezTo>
                    <a:pt x="170" y="56"/>
                    <a:pt x="171" y="56"/>
                    <a:pt x="172" y="56"/>
                  </a:cubicBezTo>
                  <a:cubicBezTo>
                    <a:pt x="175" y="54"/>
                    <a:pt x="177" y="53"/>
                    <a:pt x="179" y="50"/>
                  </a:cubicBezTo>
                  <a:cubicBezTo>
                    <a:pt x="180" y="48"/>
                    <a:pt x="180" y="47"/>
                    <a:pt x="181" y="45"/>
                  </a:cubicBezTo>
                  <a:cubicBezTo>
                    <a:pt x="182" y="45"/>
                    <a:pt x="182" y="44"/>
                    <a:pt x="182" y="43"/>
                  </a:cubicBezTo>
                  <a:cubicBezTo>
                    <a:pt x="183" y="43"/>
                    <a:pt x="186" y="44"/>
                    <a:pt x="187" y="43"/>
                  </a:cubicBezTo>
                  <a:cubicBezTo>
                    <a:pt x="187" y="42"/>
                    <a:pt x="187" y="42"/>
                    <a:pt x="188" y="41"/>
                  </a:cubicBezTo>
                  <a:cubicBezTo>
                    <a:pt x="188" y="40"/>
                    <a:pt x="190" y="40"/>
                    <a:pt x="190" y="39"/>
                  </a:cubicBezTo>
                  <a:cubicBezTo>
                    <a:pt x="191" y="38"/>
                    <a:pt x="191" y="37"/>
                    <a:pt x="192" y="36"/>
                  </a:cubicBezTo>
                  <a:cubicBezTo>
                    <a:pt x="192" y="35"/>
                    <a:pt x="193" y="35"/>
                    <a:pt x="194" y="34"/>
                  </a:cubicBezTo>
                  <a:cubicBezTo>
                    <a:pt x="194" y="33"/>
                    <a:pt x="195" y="32"/>
                    <a:pt x="195" y="31"/>
                  </a:cubicBezTo>
                  <a:cubicBezTo>
                    <a:pt x="196" y="30"/>
                    <a:pt x="197" y="30"/>
                    <a:pt x="197" y="29"/>
                  </a:cubicBezTo>
                  <a:cubicBezTo>
                    <a:pt x="197" y="28"/>
                    <a:pt x="197" y="28"/>
                    <a:pt x="198" y="27"/>
                  </a:cubicBezTo>
                  <a:cubicBezTo>
                    <a:pt x="198" y="26"/>
                    <a:pt x="198" y="26"/>
                    <a:pt x="199" y="25"/>
                  </a:cubicBezTo>
                  <a:cubicBezTo>
                    <a:pt x="199" y="24"/>
                    <a:pt x="199" y="24"/>
                    <a:pt x="199" y="24"/>
                  </a:cubicBezTo>
                  <a:cubicBezTo>
                    <a:pt x="198" y="23"/>
                    <a:pt x="195" y="23"/>
                    <a:pt x="194" y="22"/>
                  </a:cubicBezTo>
                  <a:cubicBezTo>
                    <a:pt x="194" y="22"/>
                    <a:pt x="194" y="21"/>
                    <a:pt x="193" y="21"/>
                  </a:cubicBezTo>
                  <a:cubicBezTo>
                    <a:pt x="193" y="20"/>
                    <a:pt x="193" y="20"/>
                    <a:pt x="192" y="19"/>
                  </a:cubicBezTo>
                  <a:cubicBezTo>
                    <a:pt x="192" y="18"/>
                    <a:pt x="193" y="17"/>
                    <a:pt x="194" y="15"/>
                  </a:cubicBezTo>
                  <a:cubicBezTo>
                    <a:pt x="195" y="15"/>
                    <a:pt x="195" y="14"/>
                    <a:pt x="196" y="13"/>
                  </a:cubicBezTo>
                  <a:cubicBezTo>
                    <a:pt x="196" y="13"/>
                    <a:pt x="197" y="13"/>
                    <a:pt x="198" y="12"/>
                  </a:cubicBezTo>
                  <a:cubicBezTo>
                    <a:pt x="198" y="12"/>
                    <a:pt x="198" y="11"/>
                    <a:pt x="199" y="11"/>
                  </a:cubicBezTo>
                  <a:cubicBezTo>
                    <a:pt x="200" y="9"/>
                    <a:pt x="202" y="8"/>
                    <a:pt x="201" y="6"/>
                  </a:cubicBezTo>
                  <a:cubicBezTo>
                    <a:pt x="201" y="6"/>
                    <a:pt x="199" y="5"/>
                    <a:pt x="199" y="4"/>
                  </a:cubicBezTo>
                  <a:cubicBezTo>
                    <a:pt x="198" y="4"/>
                    <a:pt x="197" y="4"/>
                    <a:pt x="196" y="4"/>
                  </a:cubicBezTo>
                  <a:cubicBezTo>
                    <a:pt x="195" y="4"/>
                    <a:pt x="194" y="3"/>
                    <a:pt x="193" y="4"/>
                  </a:cubicBezTo>
                  <a:cubicBezTo>
                    <a:pt x="193" y="4"/>
                    <a:pt x="192" y="5"/>
                    <a:pt x="191" y="5"/>
                  </a:cubicBezTo>
                  <a:cubicBezTo>
                    <a:pt x="191" y="5"/>
                    <a:pt x="190" y="4"/>
                    <a:pt x="189" y="4"/>
                  </a:cubicBezTo>
                  <a:cubicBezTo>
                    <a:pt x="188" y="4"/>
                    <a:pt x="188" y="4"/>
                    <a:pt x="187" y="4"/>
                  </a:cubicBezTo>
                  <a:cubicBezTo>
                    <a:pt x="186" y="4"/>
                    <a:pt x="186" y="4"/>
                    <a:pt x="185" y="4"/>
                  </a:cubicBezTo>
                  <a:cubicBezTo>
                    <a:pt x="184" y="4"/>
                    <a:pt x="184" y="3"/>
                    <a:pt x="183" y="3"/>
                  </a:cubicBezTo>
                  <a:cubicBezTo>
                    <a:pt x="183" y="3"/>
                    <a:pt x="182" y="3"/>
                    <a:pt x="182" y="3"/>
                  </a:cubicBezTo>
                  <a:cubicBezTo>
                    <a:pt x="182" y="2"/>
                    <a:pt x="181" y="2"/>
                    <a:pt x="181" y="2"/>
                  </a:cubicBezTo>
                  <a:cubicBezTo>
                    <a:pt x="181" y="1"/>
                    <a:pt x="181" y="0"/>
                    <a:pt x="180" y="1"/>
                  </a:cubicBezTo>
                  <a:cubicBezTo>
                    <a:pt x="179" y="1"/>
                    <a:pt x="179" y="4"/>
                    <a:pt x="179" y="5"/>
                  </a:cubicBezTo>
                  <a:cubicBezTo>
                    <a:pt x="180" y="7"/>
                    <a:pt x="182" y="5"/>
                    <a:pt x="183" y="7"/>
                  </a:cubicBezTo>
                  <a:cubicBezTo>
                    <a:pt x="184" y="8"/>
                    <a:pt x="180" y="10"/>
                    <a:pt x="179" y="11"/>
                  </a:cubicBezTo>
                  <a:cubicBezTo>
                    <a:pt x="178" y="11"/>
                    <a:pt x="176" y="11"/>
                    <a:pt x="175" y="11"/>
                  </a:cubicBezTo>
                  <a:cubicBezTo>
                    <a:pt x="173" y="10"/>
                    <a:pt x="169" y="6"/>
                    <a:pt x="167" y="9"/>
                  </a:cubicBezTo>
                  <a:cubicBezTo>
                    <a:pt x="166" y="9"/>
                    <a:pt x="164" y="9"/>
                    <a:pt x="163" y="10"/>
                  </a:cubicBezTo>
                  <a:cubicBezTo>
                    <a:pt x="162" y="11"/>
                    <a:pt x="162" y="12"/>
                    <a:pt x="162" y="12"/>
                  </a:cubicBezTo>
                  <a:cubicBezTo>
                    <a:pt x="160" y="13"/>
                    <a:pt x="157" y="12"/>
                    <a:pt x="156" y="12"/>
                  </a:cubicBezTo>
                  <a:cubicBezTo>
                    <a:pt x="154" y="13"/>
                    <a:pt x="152" y="13"/>
                    <a:pt x="151" y="13"/>
                  </a:cubicBezTo>
                  <a:cubicBezTo>
                    <a:pt x="149" y="13"/>
                    <a:pt x="149" y="11"/>
                    <a:pt x="147" y="11"/>
                  </a:cubicBezTo>
                  <a:cubicBezTo>
                    <a:pt x="146" y="11"/>
                    <a:pt x="146" y="11"/>
                    <a:pt x="145" y="12"/>
                  </a:cubicBezTo>
                  <a:cubicBezTo>
                    <a:pt x="143" y="13"/>
                    <a:pt x="142" y="12"/>
                    <a:pt x="141" y="13"/>
                  </a:cubicBezTo>
                  <a:cubicBezTo>
                    <a:pt x="140" y="13"/>
                    <a:pt x="139" y="13"/>
                    <a:pt x="139" y="13"/>
                  </a:cubicBezTo>
                  <a:cubicBezTo>
                    <a:pt x="139" y="14"/>
                    <a:pt x="139" y="14"/>
                    <a:pt x="139" y="15"/>
                  </a:cubicBezTo>
                  <a:cubicBezTo>
                    <a:pt x="138" y="15"/>
                    <a:pt x="137" y="16"/>
                    <a:pt x="136" y="16"/>
                  </a:cubicBezTo>
                  <a:cubicBezTo>
                    <a:pt x="136" y="17"/>
                    <a:pt x="135" y="17"/>
                    <a:pt x="134" y="17"/>
                  </a:cubicBezTo>
                  <a:cubicBezTo>
                    <a:pt x="134" y="17"/>
                    <a:pt x="133" y="17"/>
                    <a:pt x="132" y="17"/>
                  </a:cubicBezTo>
                  <a:cubicBezTo>
                    <a:pt x="131" y="17"/>
                    <a:pt x="131" y="18"/>
                    <a:pt x="131" y="18"/>
                  </a:cubicBezTo>
                  <a:cubicBezTo>
                    <a:pt x="130" y="19"/>
                    <a:pt x="129" y="18"/>
                    <a:pt x="129" y="18"/>
                  </a:cubicBezTo>
                  <a:cubicBezTo>
                    <a:pt x="129" y="20"/>
                    <a:pt x="127" y="22"/>
                    <a:pt x="126" y="23"/>
                  </a:cubicBezTo>
                  <a:cubicBezTo>
                    <a:pt x="125" y="25"/>
                    <a:pt x="124" y="27"/>
                    <a:pt x="122" y="28"/>
                  </a:cubicBezTo>
                  <a:cubicBezTo>
                    <a:pt x="121" y="27"/>
                    <a:pt x="122" y="25"/>
                    <a:pt x="122" y="24"/>
                  </a:cubicBezTo>
                  <a:cubicBezTo>
                    <a:pt x="122" y="24"/>
                    <a:pt x="122" y="23"/>
                    <a:pt x="122" y="22"/>
                  </a:cubicBezTo>
                  <a:cubicBezTo>
                    <a:pt x="122" y="21"/>
                    <a:pt x="122" y="20"/>
                    <a:pt x="123" y="19"/>
                  </a:cubicBezTo>
                  <a:cubicBezTo>
                    <a:pt x="123" y="18"/>
                    <a:pt x="123" y="17"/>
                    <a:pt x="123" y="16"/>
                  </a:cubicBezTo>
                  <a:cubicBezTo>
                    <a:pt x="123" y="15"/>
                    <a:pt x="123" y="15"/>
                    <a:pt x="123" y="14"/>
                  </a:cubicBezTo>
                  <a:cubicBezTo>
                    <a:pt x="122" y="14"/>
                    <a:pt x="123" y="14"/>
                    <a:pt x="122" y="13"/>
                  </a:cubicBezTo>
                  <a:cubicBezTo>
                    <a:pt x="121" y="12"/>
                    <a:pt x="117" y="13"/>
                    <a:pt x="116" y="14"/>
                  </a:cubicBezTo>
                  <a:cubicBezTo>
                    <a:pt x="115" y="15"/>
                    <a:pt x="115" y="17"/>
                    <a:pt x="115" y="18"/>
                  </a:cubicBezTo>
                  <a:cubicBezTo>
                    <a:pt x="114" y="19"/>
                    <a:pt x="114" y="20"/>
                    <a:pt x="113" y="20"/>
                  </a:cubicBezTo>
                  <a:cubicBezTo>
                    <a:pt x="112" y="21"/>
                    <a:pt x="112" y="21"/>
                    <a:pt x="112" y="21"/>
                  </a:cubicBezTo>
                  <a:cubicBezTo>
                    <a:pt x="111" y="21"/>
                    <a:pt x="111" y="22"/>
                    <a:pt x="111" y="23"/>
                  </a:cubicBezTo>
                  <a:cubicBezTo>
                    <a:pt x="110" y="23"/>
                    <a:pt x="110" y="23"/>
                    <a:pt x="109" y="24"/>
                  </a:cubicBezTo>
                  <a:cubicBezTo>
                    <a:pt x="109" y="24"/>
                    <a:pt x="108" y="25"/>
                    <a:pt x="107" y="25"/>
                  </a:cubicBezTo>
                  <a:cubicBezTo>
                    <a:pt x="105" y="25"/>
                    <a:pt x="107" y="23"/>
                    <a:pt x="108" y="22"/>
                  </a:cubicBezTo>
                  <a:cubicBezTo>
                    <a:pt x="109" y="20"/>
                    <a:pt x="111" y="20"/>
                    <a:pt x="111" y="18"/>
                  </a:cubicBezTo>
                  <a:cubicBezTo>
                    <a:pt x="111" y="16"/>
                    <a:pt x="109" y="14"/>
                    <a:pt x="107" y="13"/>
                  </a:cubicBezTo>
                  <a:cubicBezTo>
                    <a:pt x="106" y="13"/>
                    <a:pt x="106" y="14"/>
                    <a:pt x="106" y="15"/>
                  </a:cubicBezTo>
                  <a:cubicBezTo>
                    <a:pt x="106" y="15"/>
                    <a:pt x="105" y="15"/>
                    <a:pt x="105" y="15"/>
                  </a:cubicBezTo>
                  <a:cubicBezTo>
                    <a:pt x="105" y="15"/>
                    <a:pt x="105" y="16"/>
                    <a:pt x="105" y="16"/>
                  </a:cubicBezTo>
                  <a:cubicBezTo>
                    <a:pt x="105" y="16"/>
                    <a:pt x="105" y="17"/>
                    <a:pt x="105" y="17"/>
                  </a:cubicBezTo>
                  <a:cubicBezTo>
                    <a:pt x="104" y="17"/>
                    <a:pt x="103" y="14"/>
                    <a:pt x="103" y="13"/>
                  </a:cubicBezTo>
                  <a:cubicBezTo>
                    <a:pt x="103" y="11"/>
                    <a:pt x="104" y="10"/>
                    <a:pt x="102" y="9"/>
                  </a:cubicBezTo>
                  <a:cubicBezTo>
                    <a:pt x="101" y="8"/>
                    <a:pt x="100" y="7"/>
                    <a:pt x="98" y="8"/>
                  </a:cubicBezTo>
                  <a:cubicBezTo>
                    <a:pt x="98" y="8"/>
                    <a:pt x="96" y="8"/>
                    <a:pt x="96" y="9"/>
                  </a:cubicBezTo>
                  <a:cubicBezTo>
                    <a:pt x="95" y="10"/>
                    <a:pt x="95" y="12"/>
                    <a:pt x="94" y="13"/>
                  </a:cubicBezTo>
                  <a:cubicBezTo>
                    <a:pt x="94" y="14"/>
                    <a:pt x="93" y="15"/>
                    <a:pt x="92" y="16"/>
                  </a:cubicBezTo>
                  <a:cubicBezTo>
                    <a:pt x="90" y="18"/>
                    <a:pt x="88" y="20"/>
                    <a:pt x="88" y="22"/>
                  </a:cubicBezTo>
                  <a:cubicBezTo>
                    <a:pt x="89" y="22"/>
                    <a:pt x="89" y="23"/>
                    <a:pt x="89" y="23"/>
                  </a:cubicBezTo>
                  <a:cubicBezTo>
                    <a:pt x="90" y="23"/>
                    <a:pt x="90" y="24"/>
                    <a:pt x="90" y="24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7" y="28"/>
                    <a:pt x="92" y="28"/>
                    <a:pt x="89" y="30"/>
                  </a:cubicBezTo>
                  <a:cubicBezTo>
                    <a:pt x="87" y="31"/>
                    <a:pt x="85" y="34"/>
                    <a:pt x="84" y="37"/>
                  </a:cubicBezTo>
                  <a:cubicBezTo>
                    <a:pt x="84" y="38"/>
                    <a:pt x="85" y="38"/>
                    <a:pt x="86" y="39"/>
                  </a:cubicBezTo>
                  <a:cubicBezTo>
                    <a:pt x="87" y="40"/>
                    <a:pt x="87" y="40"/>
                    <a:pt x="87" y="42"/>
                  </a:cubicBezTo>
                  <a:cubicBezTo>
                    <a:pt x="87" y="43"/>
                    <a:pt x="87" y="43"/>
                    <a:pt x="89" y="43"/>
                  </a:cubicBezTo>
                  <a:cubicBezTo>
                    <a:pt x="89" y="43"/>
                    <a:pt x="90" y="43"/>
                    <a:pt x="90" y="44"/>
                  </a:cubicBezTo>
                  <a:cubicBezTo>
                    <a:pt x="91" y="45"/>
                    <a:pt x="89" y="45"/>
                    <a:pt x="89" y="45"/>
                  </a:cubicBezTo>
                  <a:cubicBezTo>
                    <a:pt x="86" y="46"/>
                    <a:pt x="84" y="45"/>
                    <a:pt x="81" y="45"/>
                  </a:cubicBezTo>
                  <a:cubicBezTo>
                    <a:pt x="80" y="45"/>
                    <a:pt x="79" y="45"/>
                    <a:pt x="77" y="46"/>
                  </a:cubicBezTo>
                  <a:cubicBezTo>
                    <a:pt x="76" y="46"/>
                    <a:pt x="75" y="45"/>
                    <a:pt x="74" y="46"/>
                  </a:cubicBezTo>
                  <a:cubicBezTo>
                    <a:pt x="74" y="47"/>
                    <a:pt x="73" y="50"/>
                    <a:pt x="74" y="50"/>
                  </a:cubicBezTo>
                  <a:cubicBezTo>
                    <a:pt x="74" y="51"/>
                    <a:pt x="75" y="52"/>
                    <a:pt x="76" y="52"/>
                  </a:cubicBezTo>
                  <a:cubicBezTo>
                    <a:pt x="76" y="53"/>
                    <a:pt x="76" y="54"/>
                    <a:pt x="76" y="55"/>
                  </a:cubicBezTo>
                  <a:cubicBezTo>
                    <a:pt x="76" y="56"/>
                    <a:pt x="76" y="57"/>
                    <a:pt x="76" y="58"/>
                  </a:cubicBezTo>
                  <a:cubicBezTo>
                    <a:pt x="76" y="60"/>
                    <a:pt x="77" y="61"/>
                    <a:pt x="77" y="62"/>
                  </a:cubicBezTo>
                  <a:cubicBezTo>
                    <a:pt x="78" y="62"/>
                    <a:pt x="77" y="59"/>
                    <a:pt x="78" y="59"/>
                  </a:cubicBezTo>
                  <a:cubicBezTo>
                    <a:pt x="79" y="59"/>
                    <a:pt x="79" y="61"/>
                    <a:pt x="79" y="61"/>
                  </a:cubicBezTo>
                  <a:cubicBezTo>
                    <a:pt x="78" y="62"/>
                    <a:pt x="78" y="62"/>
                    <a:pt x="78" y="63"/>
                  </a:cubicBezTo>
                  <a:cubicBezTo>
                    <a:pt x="77" y="64"/>
                    <a:pt x="77" y="67"/>
                    <a:pt x="78" y="67"/>
                  </a:cubicBezTo>
                  <a:cubicBezTo>
                    <a:pt x="76" y="68"/>
                    <a:pt x="75" y="66"/>
                    <a:pt x="73" y="65"/>
                  </a:cubicBezTo>
                  <a:cubicBezTo>
                    <a:pt x="73" y="65"/>
                    <a:pt x="70" y="63"/>
                    <a:pt x="69" y="64"/>
                  </a:cubicBezTo>
                  <a:cubicBezTo>
                    <a:pt x="67" y="67"/>
                    <a:pt x="72" y="70"/>
                    <a:pt x="73" y="71"/>
                  </a:cubicBezTo>
                  <a:cubicBezTo>
                    <a:pt x="74" y="72"/>
                    <a:pt x="75" y="73"/>
                    <a:pt x="76" y="74"/>
                  </a:cubicBezTo>
                  <a:cubicBezTo>
                    <a:pt x="77" y="74"/>
                    <a:pt x="78" y="74"/>
                    <a:pt x="78" y="75"/>
                  </a:cubicBezTo>
                  <a:cubicBezTo>
                    <a:pt x="79" y="75"/>
                    <a:pt x="79" y="76"/>
                    <a:pt x="80" y="76"/>
                  </a:cubicBezTo>
                  <a:cubicBezTo>
                    <a:pt x="81" y="78"/>
                    <a:pt x="83" y="77"/>
                    <a:pt x="84" y="79"/>
                  </a:cubicBezTo>
                  <a:cubicBezTo>
                    <a:pt x="86" y="80"/>
                    <a:pt x="84" y="82"/>
                    <a:pt x="84" y="84"/>
                  </a:cubicBezTo>
                  <a:cubicBezTo>
                    <a:pt x="84" y="86"/>
                    <a:pt x="86" y="86"/>
                    <a:pt x="87" y="88"/>
                  </a:cubicBezTo>
                  <a:cubicBezTo>
                    <a:pt x="86" y="86"/>
                    <a:pt x="84" y="85"/>
                    <a:pt x="82" y="84"/>
                  </a:cubicBezTo>
                  <a:cubicBezTo>
                    <a:pt x="81" y="84"/>
                    <a:pt x="79" y="83"/>
                    <a:pt x="77" y="82"/>
                  </a:cubicBezTo>
                  <a:cubicBezTo>
                    <a:pt x="76" y="81"/>
                    <a:pt x="75" y="81"/>
                    <a:pt x="75" y="81"/>
                  </a:cubicBezTo>
                  <a:cubicBezTo>
                    <a:pt x="74" y="83"/>
                    <a:pt x="76" y="84"/>
                    <a:pt x="77" y="85"/>
                  </a:cubicBezTo>
                  <a:cubicBezTo>
                    <a:pt x="78" y="86"/>
                    <a:pt x="79" y="87"/>
                    <a:pt x="80" y="89"/>
                  </a:cubicBezTo>
                  <a:cubicBezTo>
                    <a:pt x="78" y="88"/>
                    <a:pt x="77" y="87"/>
                    <a:pt x="75" y="86"/>
                  </a:cubicBezTo>
                  <a:cubicBezTo>
                    <a:pt x="75" y="85"/>
                    <a:pt x="74" y="85"/>
                    <a:pt x="74" y="84"/>
                  </a:cubicBezTo>
                  <a:cubicBezTo>
                    <a:pt x="73" y="84"/>
                    <a:pt x="73" y="84"/>
                    <a:pt x="72" y="84"/>
                  </a:cubicBezTo>
                  <a:cubicBezTo>
                    <a:pt x="72" y="83"/>
                    <a:pt x="71" y="82"/>
                    <a:pt x="70" y="83"/>
                  </a:cubicBezTo>
                  <a:cubicBezTo>
                    <a:pt x="70" y="83"/>
                    <a:pt x="69" y="85"/>
                    <a:pt x="69" y="86"/>
                  </a:cubicBezTo>
                  <a:cubicBezTo>
                    <a:pt x="69" y="86"/>
                    <a:pt x="68" y="88"/>
                    <a:pt x="67" y="87"/>
                  </a:cubicBezTo>
                  <a:cubicBezTo>
                    <a:pt x="66" y="87"/>
                    <a:pt x="66" y="86"/>
                    <a:pt x="66" y="85"/>
                  </a:cubicBezTo>
                  <a:cubicBezTo>
                    <a:pt x="65" y="84"/>
                    <a:pt x="66" y="84"/>
                    <a:pt x="65" y="83"/>
                  </a:cubicBezTo>
                  <a:cubicBezTo>
                    <a:pt x="65" y="83"/>
                    <a:pt x="64" y="83"/>
                    <a:pt x="64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2" y="82"/>
                    <a:pt x="62" y="82"/>
                  </a:cubicBezTo>
                  <a:cubicBezTo>
                    <a:pt x="61" y="82"/>
                    <a:pt x="60" y="82"/>
                    <a:pt x="60" y="83"/>
                  </a:cubicBezTo>
                  <a:cubicBezTo>
                    <a:pt x="60" y="84"/>
                    <a:pt x="60" y="86"/>
                    <a:pt x="60" y="86"/>
                  </a:cubicBezTo>
                  <a:cubicBezTo>
                    <a:pt x="60" y="89"/>
                    <a:pt x="60" y="91"/>
                    <a:pt x="60" y="93"/>
                  </a:cubicBezTo>
                  <a:cubicBezTo>
                    <a:pt x="60" y="94"/>
                    <a:pt x="60" y="96"/>
                    <a:pt x="59" y="96"/>
                  </a:cubicBezTo>
                  <a:cubicBezTo>
                    <a:pt x="58" y="96"/>
                    <a:pt x="57" y="92"/>
                    <a:pt x="57" y="91"/>
                  </a:cubicBezTo>
                  <a:cubicBezTo>
                    <a:pt x="57" y="90"/>
                    <a:pt x="57" y="88"/>
                    <a:pt x="56" y="87"/>
                  </a:cubicBezTo>
                  <a:cubicBezTo>
                    <a:pt x="54" y="85"/>
                    <a:pt x="52" y="87"/>
                    <a:pt x="51" y="88"/>
                  </a:cubicBezTo>
                  <a:cubicBezTo>
                    <a:pt x="50" y="88"/>
                    <a:pt x="49" y="89"/>
                    <a:pt x="49" y="90"/>
                  </a:cubicBezTo>
                  <a:cubicBezTo>
                    <a:pt x="49" y="90"/>
                    <a:pt x="50" y="90"/>
                    <a:pt x="50" y="90"/>
                  </a:cubicBezTo>
                  <a:cubicBezTo>
                    <a:pt x="50" y="90"/>
                    <a:pt x="50" y="91"/>
                    <a:pt x="50" y="91"/>
                  </a:cubicBezTo>
                  <a:cubicBezTo>
                    <a:pt x="50" y="92"/>
                    <a:pt x="50" y="92"/>
                    <a:pt x="50" y="93"/>
                  </a:cubicBezTo>
                  <a:cubicBezTo>
                    <a:pt x="50" y="95"/>
                    <a:pt x="50" y="97"/>
                    <a:pt x="51" y="100"/>
                  </a:cubicBezTo>
                  <a:cubicBezTo>
                    <a:pt x="51" y="101"/>
                    <a:pt x="52" y="101"/>
                    <a:pt x="52" y="101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54" y="102"/>
                    <a:pt x="56" y="103"/>
                    <a:pt x="55" y="104"/>
                  </a:cubicBezTo>
                  <a:cubicBezTo>
                    <a:pt x="54" y="104"/>
                    <a:pt x="52" y="104"/>
                    <a:pt x="51" y="105"/>
                  </a:cubicBezTo>
                  <a:cubicBezTo>
                    <a:pt x="52" y="105"/>
                    <a:pt x="53" y="106"/>
                    <a:pt x="53" y="106"/>
                  </a:cubicBezTo>
                  <a:cubicBezTo>
                    <a:pt x="53" y="106"/>
                    <a:pt x="53" y="107"/>
                    <a:pt x="52" y="107"/>
                  </a:cubicBezTo>
                  <a:cubicBezTo>
                    <a:pt x="52" y="108"/>
                    <a:pt x="51" y="107"/>
                    <a:pt x="51" y="108"/>
                  </a:cubicBezTo>
                  <a:cubicBezTo>
                    <a:pt x="51" y="109"/>
                    <a:pt x="50" y="109"/>
                    <a:pt x="50" y="110"/>
                  </a:cubicBezTo>
                  <a:cubicBezTo>
                    <a:pt x="51" y="111"/>
                    <a:pt x="51" y="110"/>
                    <a:pt x="52" y="111"/>
                  </a:cubicBezTo>
                  <a:cubicBezTo>
                    <a:pt x="52" y="111"/>
                    <a:pt x="53" y="112"/>
                    <a:pt x="54" y="112"/>
                  </a:cubicBezTo>
                  <a:cubicBezTo>
                    <a:pt x="54" y="113"/>
                    <a:pt x="54" y="114"/>
                    <a:pt x="55" y="114"/>
                  </a:cubicBezTo>
                  <a:cubicBezTo>
                    <a:pt x="55" y="115"/>
                    <a:pt x="56" y="116"/>
                    <a:pt x="57" y="117"/>
                  </a:cubicBezTo>
                  <a:cubicBezTo>
                    <a:pt x="57" y="117"/>
                    <a:pt x="57" y="118"/>
                    <a:pt x="57" y="119"/>
                  </a:cubicBezTo>
                  <a:cubicBezTo>
                    <a:pt x="59" y="120"/>
                    <a:pt x="61" y="117"/>
                    <a:pt x="62" y="118"/>
                  </a:cubicBezTo>
                  <a:cubicBezTo>
                    <a:pt x="63" y="118"/>
                    <a:pt x="64" y="119"/>
                    <a:pt x="64" y="120"/>
                  </a:cubicBezTo>
                  <a:cubicBezTo>
                    <a:pt x="63" y="121"/>
                    <a:pt x="60" y="121"/>
                    <a:pt x="59" y="121"/>
                  </a:cubicBezTo>
                  <a:cubicBezTo>
                    <a:pt x="58" y="121"/>
                    <a:pt x="58" y="121"/>
                    <a:pt x="58" y="122"/>
                  </a:cubicBezTo>
                  <a:cubicBezTo>
                    <a:pt x="55" y="121"/>
                    <a:pt x="53" y="118"/>
                    <a:pt x="50" y="117"/>
                  </a:cubicBezTo>
                  <a:cubicBezTo>
                    <a:pt x="50" y="117"/>
                    <a:pt x="48" y="117"/>
                    <a:pt x="48" y="117"/>
                  </a:cubicBezTo>
                  <a:cubicBezTo>
                    <a:pt x="47" y="118"/>
                    <a:pt x="47" y="121"/>
                    <a:pt x="47" y="122"/>
                  </a:cubicBezTo>
                  <a:cubicBezTo>
                    <a:pt x="47" y="123"/>
                    <a:pt x="47" y="124"/>
                    <a:pt x="47" y="125"/>
                  </a:cubicBezTo>
                  <a:cubicBezTo>
                    <a:pt x="48" y="126"/>
                    <a:pt x="48" y="127"/>
                    <a:pt x="49" y="129"/>
                  </a:cubicBezTo>
                  <a:cubicBezTo>
                    <a:pt x="49" y="130"/>
                    <a:pt x="49" y="131"/>
                    <a:pt x="49" y="132"/>
                  </a:cubicBezTo>
                  <a:cubicBezTo>
                    <a:pt x="49" y="133"/>
                    <a:pt x="49" y="133"/>
                    <a:pt x="49" y="134"/>
                  </a:cubicBezTo>
                  <a:cubicBezTo>
                    <a:pt x="49" y="135"/>
                    <a:pt x="49" y="136"/>
                    <a:pt x="49" y="137"/>
                  </a:cubicBezTo>
                  <a:cubicBezTo>
                    <a:pt x="49" y="139"/>
                    <a:pt x="50" y="140"/>
                    <a:pt x="51" y="140"/>
                  </a:cubicBezTo>
                  <a:cubicBezTo>
                    <a:pt x="51" y="140"/>
                    <a:pt x="52" y="140"/>
                    <a:pt x="52" y="140"/>
                  </a:cubicBezTo>
                  <a:cubicBezTo>
                    <a:pt x="53" y="139"/>
                    <a:pt x="53" y="139"/>
                    <a:pt x="53" y="138"/>
                  </a:cubicBezTo>
                  <a:cubicBezTo>
                    <a:pt x="54" y="137"/>
                    <a:pt x="55" y="137"/>
                    <a:pt x="56" y="136"/>
                  </a:cubicBezTo>
                  <a:cubicBezTo>
                    <a:pt x="57" y="136"/>
                    <a:pt x="59" y="135"/>
                    <a:pt x="60" y="135"/>
                  </a:cubicBezTo>
                  <a:cubicBezTo>
                    <a:pt x="61" y="135"/>
                    <a:pt x="61" y="135"/>
                    <a:pt x="61" y="136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8"/>
                    <a:pt x="63" y="138"/>
                    <a:pt x="63" y="138"/>
                  </a:cubicBezTo>
                  <a:cubicBezTo>
                    <a:pt x="65" y="138"/>
                    <a:pt x="65" y="138"/>
                    <a:pt x="66" y="137"/>
                  </a:cubicBezTo>
                  <a:cubicBezTo>
                    <a:pt x="67" y="136"/>
                    <a:pt x="66" y="135"/>
                    <a:pt x="67" y="134"/>
                  </a:cubicBezTo>
                  <a:cubicBezTo>
                    <a:pt x="68" y="134"/>
                    <a:pt x="70" y="134"/>
                    <a:pt x="71" y="134"/>
                  </a:cubicBezTo>
                  <a:cubicBezTo>
                    <a:pt x="72" y="136"/>
                    <a:pt x="70" y="137"/>
                    <a:pt x="69" y="138"/>
                  </a:cubicBezTo>
                  <a:cubicBezTo>
                    <a:pt x="68" y="139"/>
                    <a:pt x="67" y="140"/>
                    <a:pt x="66" y="140"/>
                  </a:cubicBezTo>
                  <a:cubicBezTo>
                    <a:pt x="64" y="141"/>
                    <a:pt x="62" y="141"/>
                    <a:pt x="61" y="142"/>
                  </a:cubicBezTo>
                  <a:cubicBezTo>
                    <a:pt x="60" y="142"/>
                    <a:pt x="58" y="141"/>
                    <a:pt x="57" y="142"/>
                  </a:cubicBezTo>
                  <a:cubicBezTo>
                    <a:pt x="56" y="142"/>
                    <a:pt x="56" y="144"/>
                    <a:pt x="55" y="144"/>
                  </a:cubicBezTo>
                  <a:cubicBezTo>
                    <a:pt x="56" y="144"/>
                    <a:pt x="58" y="145"/>
                    <a:pt x="59" y="145"/>
                  </a:cubicBezTo>
                  <a:cubicBezTo>
                    <a:pt x="59" y="146"/>
                    <a:pt x="61" y="146"/>
                    <a:pt x="62" y="146"/>
                  </a:cubicBezTo>
                  <a:cubicBezTo>
                    <a:pt x="63" y="146"/>
                    <a:pt x="65" y="146"/>
                    <a:pt x="64" y="147"/>
                  </a:cubicBezTo>
                  <a:cubicBezTo>
                    <a:pt x="64" y="148"/>
                    <a:pt x="62" y="148"/>
                    <a:pt x="61" y="149"/>
                  </a:cubicBezTo>
                  <a:cubicBezTo>
                    <a:pt x="60" y="149"/>
                    <a:pt x="60" y="150"/>
                    <a:pt x="60" y="151"/>
                  </a:cubicBezTo>
                  <a:cubicBezTo>
                    <a:pt x="59" y="152"/>
                    <a:pt x="59" y="151"/>
                    <a:pt x="59" y="150"/>
                  </a:cubicBezTo>
                  <a:cubicBezTo>
                    <a:pt x="58" y="150"/>
                    <a:pt x="58" y="149"/>
                    <a:pt x="58" y="148"/>
                  </a:cubicBezTo>
                  <a:cubicBezTo>
                    <a:pt x="58" y="147"/>
                    <a:pt x="55" y="147"/>
                    <a:pt x="55" y="148"/>
                  </a:cubicBezTo>
                  <a:cubicBezTo>
                    <a:pt x="54" y="148"/>
                    <a:pt x="54" y="149"/>
                    <a:pt x="54" y="149"/>
                  </a:cubicBezTo>
                  <a:cubicBezTo>
                    <a:pt x="53" y="149"/>
                    <a:pt x="52" y="149"/>
                    <a:pt x="51" y="149"/>
                  </a:cubicBezTo>
                  <a:cubicBezTo>
                    <a:pt x="49" y="149"/>
                    <a:pt x="48" y="149"/>
                    <a:pt x="46" y="148"/>
                  </a:cubicBezTo>
                  <a:cubicBezTo>
                    <a:pt x="46" y="148"/>
                    <a:pt x="46" y="147"/>
                    <a:pt x="45" y="146"/>
                  </a:cubicBezTo>
                  <a:cubicBezTo>
                    <a:pt x="45" y="146"/>
                    <a:pt x="45" y="144"/>
                    <a:pt x="45" y="143"/>
                  </a:cubicBezTo>
                  <a:cubicBezTo>
                    <a:pt x="44" y="142"/>
                    <a:pt x="42" y="141"/>
                    <a:pt x="41" y="141"/>
                  </a:cubicBezTo>
                  <a:cubicBezTo>
                    <a:pt x="41" y="141"/>
                    <a:pt x="40" y="141"/>
                    <a:pt x="40" y="141"/>
                  </a:cubicBezTo>
                  <a:cubicBezTo>
                    <a:pt x="39" y="140"/>
                    <a:pt x="39" y="139"/>
                    <a:pt x="39" y="138"/>
                  </a:cubicBezTo>
                  <a:cubicBezTo>
                    <a:pt x="39" y="137"/>
                    <a:pt x="39" y="136"/>
                    <a:pt x="39" y="134"/>
                  </a:cubicBezTo>
                  <a:cubicBezTo>
                    <a:pt x="40" y="133"/>
                    <a:pt x="40" y="131"/>
                    <a:pt x="41" y="130"/>
                  </a:cubicBezTo>
                  <a:cubicBezTo>
                    <a:pt x="41" y="129"/>
                    <a:pt x="41" y="128"/>
                    <a:pt x="42" y="126"/>
                  </a:cubicBezTo>
                  <a:cubicBezTo>
                    <a:pt x="43" y="124"/>
                    <a:pt x="43" y="122"/>
                    <a:pt x="43" y="119"/>
                  </a:cubicBezTo>
                  <a:cubicBezTo>
                    <a:pt x="43" y="119"/>
                    <a:pt x="43" y="118"/>
                    <a:pt x="43" y="117"/>
                  </a:cubicBezTo>
                  <a:cubicBezTo>
                    <a:pt x="42" y="115"/>
                    <a:pt x="40" y="116"/>
                    <a:pt x="40" y="117"/>
                  </a:cubicBezTo>
                  <a:cubicBezTo>
                    <a:pt x="39" y="119"/>
                    <a:pt x="39" y="121"/>
                    <a:pt x="39" y="122"/>
                  </a:cubicBezTo>
                  <a:cubicBezTo>
                    <a:pt x="40" y="124"/>
                    <a:pt x="39" y="124"/>
                    <a:pt x="38" y="125"/>
                  </a:cubicBezTo>
                  <a:cubicBezTo>
                    <a:pt x="37" y="127"/>
                    <a:pt x="37" y="130"/>
                    <a:pt x="36" y="132"/>
                  </a:cubicBezTo>
                  <a:cubicBezTo>
                    <a:pt x="36" y="134"/>
                    <a:pt x="36" y="134"/>
                    <a:pt x="36" y="136"/>
                  </a:cubicBezTo>
                  <a:cubicBezTo>
                    <a:pt x="36" y="136"/>
                    <a:pt x="37" y="138"/>
                    <a:pt x="36" y="139"/>
                  </a:cubicBezTo>
                  <a:cubicBezTo>
                    <a:pt x="35" y="138"/>
                    <a:pt x="34" y="135"/>
                    <a:pt x="33" y="133"/>
                  </a:cubicBezTo>
                  <a:cubicBezTo>
                    <a:pt x="33" y="132"/>
                    <a:pt x="33" y="130"/>
                    <a:pt x="33" y="129"/>
                  </a:cubicBezTo>
                  <a:cubicBezTo>
                    <a:pt x="33" y="126"/>
                    <a:pt x="33" y="124"/>
                    <a:pt x="33" y="121"/>
                  </a:cubicBezTo>
                  <a:cubicBezTo>
                    <a:pt x="33" y="118"/>
                    <a:pt x="31" y="114"/>
                    <a:pt x="30" y="112"/>
                  </a:cubicBezTo>
                  <a:cubicBezTo>
                    <a:pt x="29" y="111"/>
                    <a:pt x="28" y="110"/>
                    <a:pt x="28" y="109"/>
                  </a:cubicBezTo>
                  <a:cubicBezTo>
                    <a:pt x="27" y="108"/>
                    <a:pt x="26" y="107"/>
                    <a:pt x="26" y="106"/>
                  </a:cubicBezTo>
                  <a:cubicBezTo>
                    <a:pt x="24" y="104"/>
                    <a:pt x="22" y="103"/>
                    <a:pt x="20" y="105"/>
                  </a:cubicBezTo>
                  <a:cubicBezTo>
                    <a:pt x="19" y="107"/>
                    <a:pt x="18" y="109"/>
                    <a:pt x="17" y="110"/>
                  </a:cubicBezTo>
                  <a:cubicBezTo>
                    <a:pt x="17" y="112"/>
                    <a:pt x="18" y="114"/>
                    <a:pt x="18" y="115"/>
                  </a:cubicBezTo>
                  <a:cubicBezTo>
                    <a:pt x="18" y="117"/>
                    <a:pt x="18" y="118"/>
                    <a:pt x="20" y="119"/>
                  </a:cubicBezTo>
                  <a:cubicBezTo>
                    <a:pt x="20" y="119"/>
                    <a:pt x="21" y="120"/>
                    <a:pt x="21" y="121"/>
                  </a:cubicBezTo>
                  <a:cubicBezTo>
                    <a:pt x="21" y="121"/>
                    <a:pt x="21" y="122"/>
                    <a:pt x="21" y="123"/>
                  </a:cubicBezTo>
                  <a:cubicBezTo>
                    <a:pt x="21" y="123"/>
                    <a:pt x="23" y="124"/>
                    <a:pt x="22" y="125"/>
                  </a:cubicBezTo>
                  <a:cubicBezTo>
                    <a:pt x="22" y="125"/>
                    <a:pt x="21" y="124"/>
                    <a:pt x="20" y="123"/>
                  </a:cubicBezTo>
                  <a:cubicBezTo>
                    <a:pt x="20" y="123"/>
                    <a:pt x="20" y="123"/>
                    <a:pt x="19" y="123"/>
                  </a:cubicBezTo>
                  <a:cubicBezTo>
                    <a:pt x="18" y="123"/>
                    <a:pt x="17" y="124"/>
                    <a:pt x="16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3" y="120"/>
                    <a:pt x="12" y="120"/>
                    <a:pt x="11" y="119"/>
                  </a:cubicBezTo>
                  <a:cubicBezTo>
                    <a:pt x="11" y="119"/>
                    <a:pt x="10" y="118"/>
                    <a:pt x="10" y="118"/>
                  </a:cubicBezTo>
                  <a:cubicBezTo>
                    <a:pt x="9" y="117"/>
                    <a:pt x="9" y="117"/>
                    <a:pt x="9" y="116"/>
                  </a:cubicBezTo>
                  <a:cubicBezTo>
                    <a:pt x="8" y="115"/>
                    <a:pt x="8" y="113"/>
                    <a:pt x="7" y="113"/>
                  </a:cubicBezTo>
                  <a:cubicBezTo>
                    <a:pt x="6" y="114"/>
                    <a:pt x="6" y="116"/>
                    <a:pt x="6" y="117"/>
                  </a:cubicBezTo>
                  <a:cubicBezTo>
                    <a:pt x="7" y="118"/>
                    <a:pt x="7" y="119"/>
                    <a:pt x="8" y="120"/>
                  </a:cubicBezTo>
                  <a:cubicBezTo>
                    <a:pt x="8" y="121"/>
                    <a:pt x="7" y="123"/>
                    <a:pt x="8" y="123"/>
                  </a:cubicBezTo>
                  <a:cubicBezTo>
                    <a:pt x="8" y="123"/>
                    <a:pt x="8" y="123"/>
                    <a:pt x="8" y="123"/>
                  </a:cubicBezTo>
                  <a:cubicBezTo>
                    <a:pt x="7" y="124"/>
                    <a:pt x="8" y="126"/>
                    <a:pt x="8" y="127"/>
                  </a:cubicBezTo>
                  <a:cubicBezTo>
                    <a:pt x="8" y="127"/>
                    <a:pt x="8" y="128"/>
                    <a:pt x="8" y="129"/>
                  </a:cubicBezTo>
                  <a:cubicBezTo>
                    <a:pt x="8" y="129"/>
                    <a:pt x="9" y="130"/>
                    <a:pt x="8" y="131"/>
                  </a:cubicBezTo>
                  <a:cubicBezTo>
                    <a:pt x="7" y="132"/>
                    <a:pt x="5" y="128"/>
                    <a:pt x="4" y="127"/>
                  </a:cubicBezTo>
                  <a:cubicBezTo>
                    <a:pt x="4" y="126"/>
                    <a:pt x="3" y="123"/>
                    <a:pt x="1" y="123"/>
                  </a:cubicBezTo>
                  <a:cubicBezTo>
                    <a:pt x="1" y="124"/>
                    <a:pt x="1" y="124"/>
                    <a:pt x="1" y="125"/>
                  </a:cubicBezTo>
                  <a:cubicBezTo>
                    <a:pt x="1" y="125"/>
                    <a:pt x="0" y="126"/>
                    <a:pt x="0" y="126"/>
                  </a:cubicBezTo>
                  <a:cubicBezTo>
                    <a:pt x="0" y="129"/>
                    <a:pt x="0" y="131"/>
                    <a:pt x="0" y="133"/>
                  </a:cubicBezTo>
                  <a:cubicBezTo>
                    <a:pt x="0" y="135"/>
                    <a:pt x="0" y="136"/>
                    <a:pt x="2" y="137"/>
                  </a:cubicBezTo>
                  <a:cubicBezTo>
                    <a:pt x="2" y="138"/>
                    <a:pt x="3" y="139"/>
                    <a:pt x="4" y="139"/>
                  </a:cubicBezTo>
                  <a:cubicBezTo>
                    <a:pt x="5" y="140"/>
                    <a:pt x="6" y="140"/>
                    <a:pt x="7" y="140"/>
                  </a:cubicBezTo>
                  <a:cubicBezTo>
                    <a:pt x="8" y="140"/>
                    <a:pt x="8" y="140"/>
                    <a:pt x="9" y="139"/>
                  </a:cubicBezTo>
                  <a:cubicBezTo>
                    <a:pt x="9" y="138"/>
                    <a:pt x="10" y="136"/>
                    <a:pt x="12" y="136"/>
                  </a:cubicBezTo>
                  <a:cubicBezTo>
                    <a:pt x="13" y="136"/>
                    <a:pt x="15" y="137"/>
                    <a:pt x="16" y="138"/>
                  </a:cubicBezTo>
                  <a:cubicBezTo>
                    <a:pt x="16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8" y="140"/>
                  </a:cubicBezTo>
                  <a:cubicBezTo>
                    <a:pt x="19" y="141"/>
                    <a:pt x="21" y="142"/>
                    <a:pt x="22" y="144"/>
                  </a:cubicBezTo>
                  <a:cubicBezTo>
                    <a:pt x="20" y="144"/>
                    <a:pt x="19" y="143"/>
                    <a:pt x="17" y="143"/>
                  </a:cubicBezTo>
                  <a:cubicBezTo>
                    <a:pt x="17" y="143"/>
                    <a:pt x="14" y="141"/>
                    <a:pt x="13" y="141"/>
                  </a:cubicBezTo>
                  <a:cubicBezTo>
                    <a:pt x="12" y="141"/>
                    <a:pt x="12" y="143"/>
                    <a:pt x="12" y="144"/>
                  </a:cubicBezTo>
                  <a:cubicBezTo>
                    <a:pt x="11" y="148"/>
                    <a:pt x="14" y="150"/>
                    <a:pt x="17" y="153"/>
                  </a:cubicBezTo>
                  <a:cubicBezTo>
                    <a:pt x="18" y="154"/>
                    <a:pt x="19" y="155"/>
                    <a:pt x="20" y="156"/>
                  </a:cubicBezTo>
                  <a:cubicBezTo>
                    <a:pt x="20" y="157"/>
                    <a:pt x="21" y="157"/>
                    <a:pt x="21" y="158"/>
                  </a:cubicBezTo>
                  <a:cubicBezTo>
                    <a:pt x="22" y="159"/>
                    <a:pt x="23" y="160"/>
                    <a:pt x="26" y="160"/>
                  </a:cubicBezTo>
                  <a:cubicBezTo>
                    <a:pt x="27" y="160"/>
                    <a:pt x="27" y="160"/>
                    <a:pt x="28" y="159"/>
                  </a:cubicBezTo>
                  <a:cubicBezTo>
                    <a:pt x="28" y="159"/>
                    <a:pt x="29" y="159"/>
                    <a:pt x="30" y="159"/>
                  </a:cubicBezTo>
                  <a:cubicBezTo>
                    <a:pt x="30" y="159"/>
                    <a:pt x="30" y="158"/>
                    <a:pt x="31" y="158"/>
                  </a:cubicBezTo>
                  <a:cubicBezTo>
                    <a:pt x="32" y="158"/>
                    <a:pt x="32" y="158"/>
                    <a:pt x="33" y="159"/>
                  </a:cubicBezTo>
                  <a:cubicBezTo>
                    <a:pt x="33" y="159"/>
                    <a:pt x="33" y="160"/>
                    <a:pt x="33" y="160"/>
                  </a:cubicBezTo>
                  <a:cubicBezTo>
                    <a:pt x="34" y="160"/>
                    <a:pt x="35" y="160"/>
                    <a:pt x="36" y="160"/>
                  </a:cubicBezTo>
                  <a:cubicBezTo>
                    <a:pt x="37" y="159"/>
                    <a:pt x="40" y="158"/>
                    <a:pt x="42" y="159"/>
                  </a:cubicBezTo>
                  <a:cubicBezTo>
                    <a:pt x="44" y="160"/>
                    <a:pt x="38" y="165"/>
                    <a:pt x="38" y="167"/>
                  </a:cubicBezTo>
                  <a:cubicBezTo>
                    <a:pt x="38" y="168"/>
                    <a:pt x="38" y="169"/>
                    <a:pt x="39" y="170"/>
                  </a:cubicBezTo>
                  <a:cubicBezTo>
                    <a:pt x="40" y="170"/>
                    <a:pt x="40" y="171"/>
                    <a:pt x="41" y="171"/>
                  </a:cubicBezTo>
                  <a:cubicBezTo>
                    <a:pt x="42" y="172"/>
                    <a:pt x="43" y="171"/>
                    <a:pt x="44" y="171"/>
                  </a:cubicBezTo>
                  <a:cubicBezTo>
                    <a:pt x="46" y="170"/>
                    <a:pt x="47" y="169"/>
                    <a:pt x="48" y="168"/>
                  </a:cubicBezTo>
                  <a:cubicBezTo>
                    <a:pt x="50" y="167"/>
                    <a:pt x="49" y="166"/>
                    <a:pt x="50" y="164"/>
                  </a:cubicBezTo>
                  <a:cubicBezTo>
                    <a:pt x="50" y="163"/>
                    <a:pt x="51" y="161"/>
                    <a:pt x="52" y="160"/>
                  </a:cubicBezTo>
                  <a:cubicBezTo>
                    <a:pt x="53" y="159"/>
                    <a:pt x="53" y="159"/>
                    <a:pt x="54" y="158"/>
                  </a:cubicBezTo>
                  <a:cubicBezTo>
                    <a:pt x="54" y="158"/>
                    <a:pt x="55" y="157"/>
                    <a:pt x="55" y="156"/>
                  </a:cubicBezTo>
                  <a:cubicBezTo>
                    <a:pt x="56" y="155"/>
                    <a:pt x="58" y="154"/>
                    <a:pt x="59" y="154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60" y="156"/>
                    <a:pt x="56" y="157"/>
                    <a:pt x="58" y="159"/>
                  </a:cubicBezTo>
                  <a:cubicBezTo>
                    <a:pt x="59" y="159"/>
                    <a:pt x="60" y="159"/>
                    <a:pt x="60" y="160"/>
                  </a:cubicBezTo>
                  <a:cubicBezTo>
                    <a:pt x="61" y="160"/>
                    <a:pt x="61" y="161"/>
                    <a:pt x="62" y="162"/>
                  </a:cubicBezTo>
                  <a:cubicBezTo>
                    <a:pt x="63" y="163"/>
                    <a:pt x="64" y="163"/>
                    <a:pt x="66" y="163"/>
                  </a:cubicBezTo>
                  <a:cubicBezTo>
                    <a:pt x="67" y="163"/>
                    <a:pt x="67" y="163"/>
                    <a:pt x="68" y="164"/>
                  </a:cubicBezTo>
                  <a:cubicBezTo>
                    <a:pt x="69" y="166"/>
                    <a:pt x="66" y="165"/>
                    <a:pt x="65" y="165"/>
                  </a:cubicBezTo>
                  <a:cubicBezTo>
                    <a:pt x="64" y="165"/>
                    <a:pt x="64" y="165"/>
                    <a:pt x="64" y="164"/>
                  </a:cubicBezTo>
                  <a:cubicBezTo>
                    <a:pt x="62" y="164"/>
                    <a:pt x="62" y="163"/>
                    <a:pt x="60" y="163"/>
                  </a:cubicBezTo>
                  <a:cubicBezTo>
                    <a:pt x="60" y="163"/>
                    <a:pt x="59" y="163"/>
                    <a:pt x="59" y="163"/>
                  </a:cubicBezTo>
                  <a:cubicBezTo>
                    <a:pt x="58" y="163"/>
                    <a:pt x="57" y="162"/>
                    <a:pt x="56" y="162"/>
                  </a:cubicBezTo>
                  <a:cubicBezTo>
                    <a:pt x="56" y="163"/>
                    <a:pt x="55" y="164"/>
                    <a:pt x="55" y="165"/>
                  </a:cubicBezTo>
                  <a:cubicBezTo>
                    <a:pt x="54" y="166"/>
                    <a:pt x="54" y="167"/>
                    <a:pt x="54" y="168"/>
                  </a:cubicBezTo>
                  <a:cubicBezTo>
                    <a:pt x="54" y="171"/>
                    <a:pt x="57" y="171"/>
                    <a:pt x="59" y="172"/>
                  </a:cubicBezTo>
                  <a:cubicBezTo>
                    <a:pt x="59" y="173"/>
                    <a:pt x="60" y="173"/>
                    <a:pt x="60" y="174"/>
                  </a:cubicBezTo>
                  <a:cubicBezTo>
                    <a:pt x="61" y="174"/>
                    <a:pt x="61" y="175"/>
                    <a:pt x="61" y="175"/>
                  </a:cubicBezTo>
                  <a:cubicBezTo>
                    <a:pt x="60" y="175"/>
                    <a:pt x="59" y="175"/>
                    <a:pt x="58" y="175"/>
                  </a:cubicBezTo>
                  <a:cubicBezTo>
                    <a:pt x="57" y="174"/>
                    <a:pt x="57" y="173"/>
                    <a:pt x="55" y="173"/>
                  </a:cubicBezTo>
                  <a:cubicBezTo>
                    <a:pt x="53" y="173"/>
                    <a:pt x="51" y="174"/>
                    <a:pt x="49" y="174"/>
                  </a:cubicBezTo>
                  <a:cubicBezTo>
                    <a:pt x="49" y="175"/>
                    <a:pt x="48" y="175"/>
                    <a:pt x="48" y="176"/>
                  </a:cubicBezTo>
                  <a:cubicBezTo>
                    <a:pt x="47" y="177"/>
                    <a:pt x="48" y="177"/>
                    <a:pt x="49" y="178"/>
                  </a:cubicBezTo>
                  <a:cubicBezTo>
                    <a:pt x="50" y="178"/>
                    <a:pt x="52" y="179"/>
                    <a:pt x="50" y="180"/>
                  </a:cubicBezTo>
                  <a:cubicBezTo>
                    <a:pt x="50" y="180"/>
                    <a:pt x="49" y="179"/>
                    <a:pt x="49" y="180"/>
                  </a:cubicBezTo>
                  <a:cubicBezTo>
                    <a:pt x="49" y="180"/>
                    <a:pt x="49" y="180"/>
                    <a:pt x="49" y="181"/>
                  </a:cubicBezTo>
                  <a:cubicBezTo>
                    <a:pt x="48" y="181"/>
                    <a:pt x="48" y="181"/>
                    <a:pt x="48" y="182"/>
                  </a:cubicBezTo>
                  <a:cubicBezTo>
                    <a:pt x="48" y="182"/>
                    <a:pt x="48" y="182"/>
                    <a:pt x="48" y="183"/>
                  </a:cubicBezTo>
                  <a:cubicBezTo>
                    <a:pt x="48" y="184"/>
                    <a:pt x="47" y="183"/>
                    <a:pt x="46" y="183"/>
                  </a:cubicBezTo>
                  <a:cubicBezTo>
                    <a:pt x="45" y="184"/>
                    <a:pt x="43" y="186"/>
                    <a:pt x="44" y="187"/>
                  </a:cubicBezTo>
                  <a:cubicBezTo>
                    <a:pt x="45" y="188"/>
                    <a:pt x="47" y="186"/>
                    <a:pt x="47" y="186"/>
                  </a:cubicBezTo>
                  <a:cubicBezTo>
                    <a:pt x="48" y="186"/>
                    <a:pt x="50" y="185"/>
                    <a:pt x="51" y="185"/>
                  </a:cubicBezTo>
                  <a:cubicBezTo>
                    <a:pt x="53" y="186"/>
                    <a:pt x="54" y="188"/>
                    <a:pt x="54" y="189"/>
                  </a:cubicBezTo>
                  <a:cubicBezTo>
                    <a:pt x="52" y="190"/>
                    <a:pt x="49" y="189"/>
                    <a:pt x="48" y="190"/>
                  </a:cubicBezTo>
                  <a:cubicBezTo>
                    <a:pt x="47" y="191"/>
                    <a:pt x="47" y="192"/>
                    <a:pt x="47" y="192"/>
                  </a:cubicBezTo>
                  <a:cubicBezTo>
                    <a:pt x="46" y="194"/>
                    <a:pt x="47" y="195"/>
                    <a:pt x="46" y="196"/>
                  </a:cubicBezTo>
                  <a:cubicBezTo>
                    <a:pt x="45" y="196"/>
                    <a:pt x="44" y="197"/>
                    <a:pt x="44" y="198"/>
                  </a:cubicBezTo>
                  <a:cubicBezTo>
                    <a:pt x="44" y="198"/>
                    <a:pt x="44" y="196"/>
                    <a:pt x="43" y="196"/>
                  </a:cubicBezTo>
                  <a:cubicBezTo>
                    <a:pt x="42" y="196"/>
                    <a:pt x="42" y="197"/>
                    <a:pt x="41" y="197"/>
                  </a:cubicBezTo>
                  <a:cubicBezTo>
                    <a:pt x="40" y="197"/>
                    <a:pt x="39" y="197"/>
                    <a:pt x="39" y="197"/>
                  </a:cubicBezTo>
                  <a:cubicBezTo>
                    <a:pt x="38" y="198"/>
                    <a:pt x="38" y="198"/>
                    <a:pt x="38" y="198"/>
                  </a:cubicBezTo>
                  <a:cubicBezTo>
                    <a:pt x="37" y="198"/>
                    <a:pt x="35" y="198"/>
                    <a:pt x="34" y="198"/>
                  </a:cubicBezTo>
                  <a:cubicBezTo>
                    <a:pt x="33" y="198"/>
                    <a:pt x="33" y="198"/>
                    <a:pt x="32" y="198"/>
                  </a:cubicBezTo>
                  <a:cubicBezTo>
                    <a:pt x="30" y="197"/>
                    <a:pt x="28" y="200"/>
                    <a:pt x="26" y="201"/>
                  </a:cubicBezTo>
                  <a:cubicBezTo>
                    <a:pt x="24" y="203"/>
                    <a:pt x="24" y="203"/>
                    <a:pt x="26" y="204"/>
                  </a:cubicBezTo>
                  <a:cubicBezTo>
                    <a:pt x="28" y="204"/>
                    <a:pt x="30" y="204"/>
                    <a:pt x="32" y="205"/>
                  </a:cubicBezTo>
                  <a:cubicBezTo>
                    <a:pt x="32" y="207"/>
                    <a:pt x="35" y="205"/>
                    <a:pt x="36" y="205"/>
                  </a:cubicBezTo>
                  <a:cubicBezTo>
                    <a:pt x="36" y="207"/>
                    <a:pt x="39" y="207"/>
                    <a:pt x="40" y="207"/>
                  </a:cubicBezTo>
                  <a:cubicBezTo>
                    <a:pt x="42" y="207"/>
                    <a:pt x="44" y="207"/>
                    <a:pt x="45" y="207"/>
                  </a:cubicBezTo>
                  <a:cubicBezTo>
                    <a:pt x="46" y="206"/>
                    <a:pt x="46" y="206"/>
                    <a:pt x="47" y="206"/>
                  </a:cubicBezTo>
                  <a:cubicBezTo>
                    <a:pt x="49" y="207"/>
                    <a:pt x="51" y="206"/>
                    <a:pt x="52" y="206"/>
                  </a:cubicBezTo>
                  <a:cubicBezTo>
                    <a:pt x="55" y="206"/>
                    <a:pt x="57" y="207"/>
                    <a:pt x="59" y="207"/>
                  </a:cubicBezTo>
                  <a:cubicBezTo>
                    <a:pt x="58" y="209"/>
                    <a:pt x="52" y="208"/>
                    <a:pt x="50" y="208"/>
                  </a:cubicBezTo>
                  <a:cubicBezTo>
                    <a:pt x="49" y="208"/>
                    <a:pt x="48" y="207"/>
                    <a:pt x="46" y="207"/>
                  </a:cubicBezTo>
                  <a:cubicBezTo>
                    <a:pt x="45" y="208"/>
                    <a:pt x="44" y="209"/>
                    <a:pt x="43" y="209"/>
                  </a:cubicBezTo>
                  <a:cubicBezTo>
                    <a:pt x="43" y="210"/>
                    <a:pt x="42" y="210"/>
                    <a:pt x="42" y="210"/>
                  </a:cubicBezTo>
                  <a:cubicBezTo>
                    <a:pt x="41" y="211"/>
                    <a:pt x="40" y="210"/>
                    <a:pt x="39" y="210"/>
                  </a:cubicBezTo>
                  <a:cubicBezTo>
                    <a:pt x="38" y="211"/>
                    <a:pt x="38" y="213"/>
                    <a:pt x="39" y="213"/>
                  </a:cubicBezTo>
                  <a:cubicBezTo>
                    <a:pt x="40" y="214"/>
                    <a:pt x="40" y="214"/>
                    <a:pt x="41" y="214"/>
                  </a:cubicBezTo>
                  <a:cubicBezTo>
                    <a:pt x="42" y="215"/>
                    <a:pt x="42" y="214"/>
                    <a:pt x="42" y="216"/>
                  </a:cubicBezTo>
                  <a:cubicBezTo>
                    <a:pt x="42" y="216"/>
                    <a:pt x="42" y="217"/>
                    <a:pt x="43" y="217"/>
                  </a:cubicBezTo>
                  <a:cubicBezTo>
                    <a:pt x="44" y="218"/>
                    <a:pt x="44" y="218"/>
                    <a:pt x="45" y="218"/>
                  </a:cubicBezTo>
                  <a:cubicBezTo>
                    <a:pt x="46" y="218"/>
                    <a:pt x="47" y="219"/>
                    <a:pt x="48" y="219"/>
                  </a:cubicBezTo>
                  <a:cubicBezTo>
                    <a:pt x="49" y="220"/>
                    <a:pt x="50" y="220"/>
                    <a:pt x="50" y="220"/>
                  </a:cubicBezTo>
                  <a:cubicBezTo>
                    <a:pt x="51" y="220"/>
                    <a:pt x="52" y="221"/>
                    <a:pt x="52" y="220"/>
                  </a:cubicBezTo>
                  <a:cubicBezTo>
                    <a:pt x="54" y="221"/>
                    <a:pt x="54" y="222"/>
                    <a:pt x="56" y="222"/>
                  </a:cubicBezTo>
                  <a:cubicBezTo>
                    <a:pt x="57" y="222"/>
                    <a:pt x="58" y="222"/>
                    <a:pt x="58" y="223"/>
                  </a:cubicBezTo>
                  <a:cubicBezTo>
                    <a:pt x="59" y="224"/>
                    <a:pt x="59" y="225"/>
                    <a:pt x="57" y="225"/>
                  </a:cubicBezTo>
                  <a:cubicBezTo>
                    <a:pt x="57" y="225"/>
                    <a:pt x="56" y="225"/>
                    <a:pt x="55" y="224"/>
                  </a:cubicBezTo>
                  <a:cubicBezTo>
                    <a:pt x="54" y="224"/>
                    <a:pt x="54" y="224"/>
                    <a:pt x="53" y="223"/>
                  </a:cubicBezTo>
                  <a:cubicBezTo>
                    <a:pt x="52" y="222"/>
                    <a:pt x="50" y="222"/>
                    <a:pt x="49" y="221"/>
                  </a:cubicBezTo>
                  <a:cubicBezTo>
                    <a:pt x="47" y="220"/>
                    <a:pt x="46" y="220"/>
                    <a:pt x="44" y="219"/>
                  </a:cubicBezTo>
                  <a:cubicBezTo>
                    <a:pt x="43" y="218"/>
                    <a:pt x="43" y="218"/>
                    <a:pt x="42" y="218"/>
                  </a:cubicBezTo>
                  <a:cubicBezTo>
                    <a:pt x="41" y="217"/>
                    <a:pt x="41" y="217"/>
                    <a:pt x="41" y="217"/>
                  </a:cubicBezTo>
                  <a:cubicBezTo>
                    <a:pt x="41" y="217"/>
                    <a:pt x="41" y="216"/>
                    <a:pt x="40" y="215"/>
                  </a:cubicBezTo>
                  <a:cubicBezTo>
                    <a:pt x="39" y="214"/>
                    <a:pt x="38" y="214"/>
                    <a:pt x="38" y="213"/>
                  </a:cubicBezTo>
                  <a:cubicBezTo>
                    <a:pt x="37" y="212"/>
                    <a:pt x="37" y="211"/>
                    <a:pt x="36" y="211"/>
                  </a:cubicBezTo>
                  <a:cubicBezTo>
                    <a:pt x="35" y="210"/>
                    <a:pt x="34" y="210"/>
                    <a:pt x="33" y="210"/>
                  </a:cubicBezTo>
                  <a:cubicBezTo>
                    <a:pt x="30" y="209"/>
                    <a:pt x="28" y="212"/>
                    <a:pt x="26" y="213"/>
                  </a:cubicBezTo>
                  <a:cubicBezTo>
                    <a:pt x="25" y="214"/>
                    <a:pt x="24" y="215"/>
                    <a:pt x="23" y="216"/>
                  </a:cubicBezTo>
                  <a:cubicBezTo>
                    <a:pt x="23" y="216"/>
                    <a:pt x="22" y="218"/>
                    <a:pt x="23" y="219"/>
                  </a:cubicBezTo>
                  <a:cubicBezTo>
                    <a:pt x="23" y="220"/>
                    <a:pt x="25" y="221"/>
                    <a:pt x="26" y="221"/>
                  </a:cubicBezTo>
                  <a:cubicBezTo>
                    <a:pt x="27" y="222"/>
                    <a:pt x="29" y="221"/>
                    <a:pt x="30" y="222"/>
                  </a:cubicBezTo>
                  <a:cubicBezTo>
                    <a:pt x="31" y="222"/>
                    <a:pt x="30" y="223"/>
                    <a:pt x="31" y="222"/>
                  </a:cubicBezTo>
                  <a:cubicBezTo>
                    <a:pt x="31" y="223"/>
                    <a:pt x="31" y="225"/>
                    <a:pt x="30" y="225"/>
                  </a:cubicBezTo>
                  <a:cubicBezTo>
                    <a:pt x="30" y="225"/>
                    <a:pt x="28" y="225"/>
                    <a:pt x="27" y="225"/>
                  </a:cubicBezTo>
                  <a:cubicBezTo>
                    <a:pt x="25" y="225"/>
                    <a:pt x="22" y="225"/>
                    <a:pt x="22" y="228"/>
                  </a:cubicBezTo>
                  <a:cubicBezTo>
                    <a:pt x="23" y="228"/>
                    <a:pt x="25" y="228"/>
                    <a:pt x="26" y="228"/>
                  </a:cubicBezTo>
                  <a:cubicBezTo>
                    <a:pt x="26" y="228"/>
                    <a:pt x="26" y="228"/>
                    <a:pt x="27" y="229"/>
                  </a:cubicBezTo>
                  <a:cubicBezTo>
                    <a:pt x="27" y="229"/>
                    <a:pt x="28" y="229"/>
                    <a:pt x="28" y="229"/>
                  </a:cubicBezTo>
                  <a:cubicBezTo>
                    <a:pt x="29" y="229"/>
                    <a:pt x="30" y="229"/>
                    <a:pt x="31" y="229"/>
                  </a:cubicBezTo>
                  <a:cubicBezTo>
                    <a:pt x="33" y="228"/>
                    <a:pt x="34" y="227"/>
                    <a:pt x="35" y="226"/>
                  </a:cubicBezTo>
                  <a:cubicBezTo>
                    <a:pt x="36" y="226"/>
                    <a:pt x="39" y="225"/>
                    <a:pt x="39" y="226"/>
                  </a:cubicBezTo>
                  <a:cubicBezTo>
                    <a:pt x="40" y="229"/>
                    <a:pt x="35" y="231"/>
                    <a:pt x="33" y="232"/>
                  </a:cubicBezTo>
                  <a:cubicBezTo>
                    <a:pt x="32" y="233"/>
                    <a:pt x="26" y="237"/>
                    <a:pt x="30" y="238"/>
                  </a:cubicBezTo>
                  <a:cubicBezTo>
                    <a:pt x="31" y="238"/>
                    <a:pt x="34" y="238"/>
                    <a:pt x="36" y="238"/>
                  </a:cubicBezTo>
                  <a:cubicBezTo>
                    <a:pt x="38" y="238"/>
                    <a:pt x="39" y="236"/>
                    <a:pt x="41" y="236"/>
                  </a:cubicBezTo>
                  <a:cubicBezTo>
                    <a:pt x="42" y="240"/>
                    <a:pt x="35" y="240"/>
                    <a:pt x="33" y="240"/>
                  </a:cubicBezTo>
                  <a:cubicBezTo>
                    <a:pt x="30" y="240"/>
                    <a:pt x="26" y="240"/>
                    <a:pt x="23" y="239"/>
                  </a:cubicBezTo>
                  <a:cubicBezTo>
                    <a:pt x="22" y="239"/>
                    <a:pt x="20" y="239"/>
                    <a:pt x="18" y="239"/>
                  </a:cubicBezTo>
                  <a:cubicBezTo>
                    <a:pt x="17" y="240"/>
                    <a:pt x="17" y="242"/>
                    <a:pt x="18" y="243"/>
                  </a:cubicBezTo>
                  <a:cubicBezTo>
                    <a:pt x="22" y="245"/>
                    <a:pt x="25" y="247"/>
                    <a:pt x="29" y="247"/>
                  </a:cubicBezTo>
                  <a:cubicBezTo>
                    <a:pt x="30" y="247"/>
                    <a:pt x="32" y="247"/>
                    <a:pt x="34" y="247"/>
                  </a:cubicBezTo>
                  <a:cubicBezTo>
                    <a:pt x="34" y="247"/>
                    <a:pt x="35" y="246"/>
                    <a:pt x="35" y="246"/>
                  </a:cubicBezTo>
                  <a:cubicBezTo>
                    <a:pt x="37" y="245"/>
                    <a:pt x="39" y="245"/>
                    <a:pt x="40" y="244"/>
                  </a:cubicBezTo>
                  <a:cubicBezTo>
                    <a:pt x="43" y="243"/>
                    <a:pt x="47" y="244"/>
                    <a:pt x="50" y="243"/>
                  </a:cubicBezTo>
                  <a:cubicBezTo>
                    <a:pt x="51" y="242"/>
                    <a:pt x="53" y="241"/>
                    <a:pt x="54" y="241"/>
                  </a:cubicBezTo>
                  <a:cubicBezTo>
                    <a:pt x="56" y="240"/>
                    <a:pt x="58" y="239"/>
                    <a:pt x="59" y="236"/>
                  </a:cubicBezTo>
                  <a:cubicBezTo>
                    <a:pt x="59" y="234"/>
                    <a:pt x="58" y="233"/>
                    <a:pt x="58" y="231"/>
                  </a:cubicBezTo>
                  <a:cubicBezTo>
                    <a:pt x="58" y="230"/>
                    <a:pt x="58" y="228"/>
                    <a:pt x="57" y="228"/>
                  </a:cubicBezTo>
                  <a:cubicBezTo>
                    <a:pt x="57" y="228"/>
                    <a:pt x="56" y="227"/>
                    <a:pt x="56" y="227"/>
                  </a:cubicBezTo>
                  <a:cubicBezTo>
                    <a:pt x="57" y="227"/>
                    <a:pt x="57" y="227"/>
                    <a:pt x="58" y="226"/>
                  </a:cubicBezTo>
                  <a:cubicBezTo>
                    <a:pt x="58" y="226"/>
                    <a:pt x="60" y="226"/>
                    <a:pt x="60" y="226"/>
                  </a:cubicBezTo>
                  <a:cubicBezTo>
                    <a:pt x="60" y="226"/>
                    <a:pt x="61" y="225"/>
                    <a:pt x="61" y="225"/>
                  </a:cubicBezTo>
                  <a:cubicBezTo>
                    <a:pt x="62" y="224"/>
                    <a:pt x="62" y="223"/>
                    <a:pt x="62" y="223"/>
                  </a:cubicBezTo>
                  <a:cubicBezTo>
                    <a:pt x="62" y="222"/>
                    <a:pt x="62" y="222"/>
                    <a:pt x="63" y="221"/>
                  </a:cubicBezTo>
                  <a:cubicBezTo>
                    <a:pt x="64" y="221"/>
                    <a:pt x="64" y="220"/>
                    <a:pt x="64" y="220"/>
                  </a:cubicBezTo>
                  <a:cubicBezTo>
                    <a:pt x="65" y="219"/>
                    <a:pt x="66" y="219"/>
                    <a:pt x="67" y="218"/>
                  </a:cubicBezTo>
                  <a:cubicBezTo>
                    <a:pt x="67" y="217"/>
                    <a:pt x="67" y="215"/>
                    <a:pt x="68" y="214"/>
                  </a:cubicBezTo>
                  <a:cubicBezTo>
                    <a:pt x="69" y="213"/>
                    <a:pt x="70" y="213"/>
                    <a:pt x="71" y="212"/>
                  </a:cubicBezTo>
                  <a:cubicBezTo>
                    <a:pt x="71" y="211"/>
                    <a:pt x="72" y="211"/>
                    <a:pt x="72" y="210"/>
                  </a:cubicBezTo>
                  <a:cubicBezTo>
                    <a:pt x="72" y="210"/>
                    <a:pt x="73" y="209"/>
                    <a:pt x="73" y="209"/>
                  </a:cubicBezTo>
                  <a:cubicBezTo>
                    <a:pt x="73" y="209"/>
                    <a:pt x="73" y="209"/>
                    <a:pt x="74" y="208"/>
                  </a:cubicBezTo>
                  <a:cubicBezTo>
                    <a:pt x="74" y="208"/>
                    <a:pt x="74" y="208"/>
                    <a:pt x="74" y="208"/>
                  </a:cubicBezTo>
                  <a:cubicBezTo>
                    <a:pt x="75" y="207"/>
                    <a:pt x="76" y="207"/>
                    <a:pt x="76" y="206"/>
                  </a:cubicBezTo>
                  <a:cubicBezTo>
                    <a:pt x="78" y="204"/>
                    <a:pt x="84" y="196"/>
                    <a:pt x="85" y="195"/>
                  </a:cubicBezTo>
                  <a:cubicBezTo>
                    <a:pt x="85" y="194"/>
                    <a:pt x="86" y="193"/>
                    <a:pt x="86" y="193"/>
                  </a:cubicBezTo>
                  <a:cubicBezTo>
                    <a:pt x="86" y="193"/>
                    <a:pt x="87" y="193"/>
                    <a:pt x="87" y="192"/>
                  </a:cubicBezTo>
                  <a:cubicBezTo>
                    <a:pt x="87" y="192"/>
                    <a:pt x="87" y="191"/>
                    <a:pt x="87" y="191"/>
                  </a:cubicBezTo>
                  <a:cubicBezTo>
                    <a:pt x="88" y="189"/>
                    <a:pt x="98" y="179"/>
                    <a:pt x="99" y="177"/>
                  </a:cubicBezTo>
                  <a:cubicBezTo>
                    <a:pt x="99" y="176"/>
                    <a:pt x="100" y="176"/>
                    <a:pt x="100" y="175"/>
                  </a:cubicBezTo>
                  <a:cubicBezTo>
                    <a:pt x="101" y="174"/>
                    <a:pt x="102" y="172"/>
                    <a:pt x="101" y="175"/>
                  </a:cubicBezTo>
                  <a:cubicBezTo>
                    <a:pt x="100" y="177"/>
                    <a:pt x="92" y="189"/>
                    <a:pt x="92" y="189"/>
                  </a:cubicBezTo>
                  <a:cubicBezTo>
                    <a:pt x="90" y="190"/>
                    <a:pt x="90" y="191"/>
                    <a:pt x="89" y="192"/>
                  </a:cubicBezTo>
                  <a:cubicBezTo>
                    <a:pt x="86" y="195"/>
                    <a:pt x="85" y="198"/>
                    <a:pt x="82" y="202"/>
                  </a:cubicBezTo>
                  <a:cubicBezTo>
                    <a:pt x="81" y="203"/>
                    <a:pt x="81" y="204"/>
                    <a:pt x="79" y="206"/>
                  </a:cubicBezTo>
                  <a:cubicBezTo>
                    <a:pt x="78" y="208"/>
                    <a:pt x="76" y="209"/>
                    <a:pt x="75" y="211"/>
                  </a:cubicBezTo>
                  <a:cubicBezTo>
                    <a:pt x="72" y="214"/>
                    <a:pt x="72" y="218"/>
                    <a:pt x="70" y="222"/>
                  </a:cubicBezTo>
                  <a:cubicBezTo>
                    <a:pt x="70" y="223"/>
                    <a:pt x="69" y="222"/>
                    <a:pt x="69" y="223"/>
                  </a:cubicBezTo>
                  <a:cubicBezTo>
                    <a:pt x="68" y="224"/>
                    <a:pt x="69" y="226"/>
                    <a:pt x="68" y="226"/>
                  </a:cubicBezTo>
                  <a:cubicBezTo>
                    <a:pt x="68" y="227"/>
                    <a:pt x="68" y="229"/>
                    <a:pt x="68" y="230"/>
                  </a:cubicBezTo>
                  <a:cubicBezTo>
                    <a:pt x="70" y="229"/>
                    <a:pt x="73" y="229"/>
                    <a:pt x="75" y="229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2"/>
                    <a:pt x="68" y="232"/>
                  </a:cubicBezTo>
                  <a:cubicBezTo>
                    <a:pt x="67" y="232"/>
                    <a:pt x="67" y="232"/>
                    <a:pt x="66" y="232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0"/>
                    <a:pt x="68" y="230"/>
                  </a:cubicBezTo>
                  <a:cubicBezTo>
                    <a:pt x="68" y="230"/>
                    <a:pt x="67" y="230"/>
                    <a:pt x="67" y="231"/>
                  </a:cubicBezTo>
                  <a:cubicBezTo>
                    <a:pt x="65" y="232"/>
                    <a:pt x="66" y="233"/>
                    <a:pt x="66" y="236"/>
                  </a:cubicBezTo>
                  <a:cubicBezTo>
                    <a:pt x="62" y="237"/>
                    <a:pt x="63" y="239"/>
                    <a:pt x="61" y="243"/>
                  </a:cubicBezTo>
                  <a:cubicBezTo>
                    <a:pt x="60" y="245"/>
                    <a:pt x="59" y="245"/>
                    <a:pt x="59" y="248"/>
                  </a:cubicBezTo>
                  <a:cubicBezTo>
                    <a:pt x="59" y="250"/>
                    <a:pt x="59" y="252"/>
                    <a:pt x="59" y="254"/>
                  </a:cubicBezTo>
                  <a:cubicBezTo>
                    <a:pt x="60" y="254"/>
                    <a:pt x="64" y="244"/>
                    <a:pt x="67" y="250"/>
                  </a:cubicBezTo>
                  <a:cubicBezTo>
                    <a:pt x="63" y="252"/>
                    <a:pt x="65" y="255"/>
                    <a:pt x="64" y="258"/>
                  </a:cubicBezTo>
                  <a:cubicBezTo>
                    <a:pt x="64" y="258"/>
                    <a:pt x="63" y="258"/>
                    <a:pt x="63" y="258"/>
                  </a:cubicBezTo>
                  <a:cubicBezTo>
                    <a:pt x="62" y="259"/>
                    <a:pt x="62" y="260"/>
                    <a:pt x="63" y="261"/>
                  </a:cubicBezTo>
                  <a:cubicBezTo>
                    <a:pt x="63" y="262"/>
                    <a:pt x="64" y="262"/>
                    <a:pt x="64" y="262"/>
                  </a:cubicBezTo>
                  <a:cubicBezTo>
                    <a:pt x="64" y="262"/>
                    <a:pt x="64" y="263"/>
                    <a:pt x="64" y="264"/>
                  </a:cubicBezTo>
                  <a:cubicBezTo>
                    <a:pt x="61" y="263"/>
                    <a:pt x="62" y="270"/>
                    <a:pt x="62" y="272"/>
                  </a:cubicBezTo>
                  <a:cubicBezTo>
                    <a:pt x="62" y="275"/>
                    <a:pt x="60" y="277"/>
                    <a:pt x="60" y="280"/>
                  </a:cubicBezTo>
                  <a:cubicBezTo>
                    <a:pt x="60" y="283"/>
                    <a:pt x="60" y="286"/>
                    <a:pt x="60" y="288"/>
                  </a:cubicBezTo>
                  <a:cubicBezTo>
                    <a:pt x="59" y="289"/>
                    <a:pt x="60" y="291"/>
                    <a:pt x="60" y="291"/>
                  </a:cubicBezTo>
                  <a:cubicBezTo>
                    <a:pt x="59" y="292"/>
                    <a:pt x="58" y="292"/>
                    <a:pt x="58" y="293"/>
                  </a:cubicBezTo>
                  <a:cubicBezTo>
                    <a:pt x="57" y="294"/>
                    <a:pt x="57" y="294"/>
                    <a:pt x="57" y="296"/>
                  </a:cubicBezTo>
                  <a:cubicBezTo>
                    <a:pt x="62" y="297"/>
                    <a:pt x="63" y="295"/>
                    <a:pt x="65" y="291"/>
                  </a:cubicBezTo>
                  <a:cubicBezTo>
                    <a:pt x="68" y="287"/>
                    <a:pt x="71" y="285"/>
                    <a:pt x="71" y="280"/>
                  </a:cubicBezTo>
                  <a:cubicBezTo>
                    <a:pt x="71" y="277"/>
                    <a:pt x="70" y="271"/>
                    <a:pt x="71" y="268"/>
                  </a:cubicBezTo>
                  <a:cubicBezTo>
                    <a:pt x="73" y="267"/>
                    <a:pt x="75" y="268"/>
                    <a:pt x="77" y="267"/>
                  </a:cubicBezTo>
                  <a:cubicBezTo>
                    <a:pt x="78" y="267"/>
                    <a:pt x="80" y="266"/>
                    <a:pt x="81" y="265"/>
                  </a:cubicBezTo>
                  <a:cubicBezTo>
                    <a:pt x="83" y="269"/>
                    <a:pt x="78" y="270"/>
                    <a:pt x="76" y="273"/>
                  </a:cubicBezTo>
                  <a:cubicBezTo>
                    <a:pt x="75" y="274"/>
                    <a:pt x="76" y="275"/>
                    <a:pt x="75" y="275"/>
                  </a:cubicBezTo>
                  <a:cubicBezTo>
                    <a:pt x="75" y="276"/>
                    <a:pt x="73" y="276"/>
                    <a:pt x="73" y="277"/>
                  </a:cubicBezTo>
                  <a:cubicBezTo>
                    <a:pt x="72" y="278"/>
                    <a:pt x="72" y="281"/>
                    <a:pt x="72" y="282"/>
                  </a:cubicBezTo>
                  <a:cubicBezTo>
                    <a:pt x="73" y="286"/>
                    <a:pt x="75" y="291"/>
                    <a:pt x="79" y="290"/>
                  </a:cubicBezTo>
                  <a:cubicBezTo>
                    <a:pt x="82" y="289"/>
                    <a:pt x="81" y="290"/>
                    <a:pt x="81" y="286"/>
                  </a:cubicBezTo>
                  <a:cubicBezTo>
                    <a:pt x="82" y="284"/>
                    <a:pt x="83" y="283"/>
                    <a:pt x="86" y="284"/>
                  </a:cubicBezTo>
                  <a:cubicBezTo>
                    <a:pt x="86" y="287"/>
                    <a:pt x="86" y="288"/>
                    <a:pt x="88" y="290"/>
                  </a:cubicBezTo>
                  <a:cubicBezTo>
                    <a:pt x="90" y="292"/>
                    <a:pt x="91" y="294"/>
                    <a:pt x="92" y="296"/>
                  </a:cubicBezTo>
                  <a:cubicBezTo>
                    <a:pt x="93" y="298"/>
                    <a:pt x="94" y="301"/>
                    <a:pt x="95" y="298"/>
                  </a:cubicBezTo>
                  <a:cubicBezTo>
                    <a:pt x="95" y="297"/>
                    <a:pt x="95" y="294"/>
                    <a:pt x="95" y="293"/>
                  </a:cubicBezTo>
                  <a:cubicBezTo>
                    <a:pt x="95" y="291"/>
                    <a:pt x="93" y="290"/>
                    <a:pt x="94" y="288"/>
                  </a:cubicBezTo>
                  <a:cubicBezTo>
                    <a:pt x="95" y="288"/>
                    <a:pt x="96" y="288"/>
                    <a:pt x="98" y="288"/>
                  </a:cubicBezTo>
                  <a:cubicBezTo>
                    <a:pt x="98" y="287"/>
                    <a:pt x="98" y="285"/>
                    <a:pt x="98" y="283"/>
                  </a:cubicBezTo>
                  <a:cubicBezTo>
                    <a:pt x="98" y="280"/>
                    <a:pt x="98" y="279"/>
                    <a:pt x="99" y="277"/>
                  </a:cubicBezTo>
                  <a:cubicBezTo>
                    <a:pt x="100" y="276"/>
                    <a:pt x="100" y="273"/>
                    <a:pt x="101" y="272"/>
                  </a:cubicBezTo>
                  <a:cubicBezTo>
                    <a:pt x="104" y="272"/>
                    <a:pt x="103" y="275"/>
                    <a:pt x="103" y="277"/>
                  </a:cubicBezTo>
                  <a:cubicBezTo>
                    <a:pt x="106" y="277"/>
                    <a:pt x="112" y="275"/>
                    <a:pt x="110" y="279"/>
                  </a:cubicBezTo>
                  <a:cubicBezTo>
                    <a:pt x="108" y="280"/>
                    <a:pt x="105" y="279"/>
                    <a:pt x="103" y="280"/>
                  </a:cubicBezTo>
                  <a:cubicBezTo>
                    <a:pt x="101" y="281"/>
                    <a:pt x="102" y="283"/>
                    <a:pt x="102" y="285"/>
                  </a:cubicBezTo>
                  <a:cubicBezTo>
                    <a:pt x="101" y="288"/>
                    <a:pt x="99" y="288"/>
                    <a:pt x="98" y="290"/>
                  </a:cubicBezTo>
                  <a:cubicBezTo>
                    <a:pt x="97" y="292"/>
                    <a:pt x="97" y="294"/>
                    <a:pt x="97" y="296"/>
                  </a:cubicBezTo>
                  <a:cubicBezTo>
                    <a:pt x="98" y="297"/>
                    <a:pt x="98" y="298"/>
                    <a:pt x="99" y="299"/>
                  </a:cubicBezTo>
                  <a:cubicBezTo>
                    <a:pt x="99" y="300"/>
                    <a:pt x="98" y="301"/>
                    <a:pt x="99" y="301"/>
                  </a:cubicBezTo>
                  <a:cubicBezTo>
                    <a:pt x="99" y="302"/>
                    <a:pt x="100" y="302"/>
                    <a:pt x="100" y="302"/>
                  </a:cubicBezTo>
                  <a:cubicBezTo>
                    <a:pt x="101" y="303"/>
                    <a:pt x="102" y="305"/>
                    <a:pt x="103" y="306"/>
                  </a:cubicBezTo>
                  <a:cubicBezTo>
                    <a:pt x="103" y="307"/>
                    <a:pt x="105" y="307"/>
                    <a:pt x="106" y="308"/>
                  </a:cubicBezTo>
                  <a:cubicBezTo>
                    <a:pt x="107" y="308"/>
                    <a:pt x="108" y="310"/>
                    <a:pt x="110" y="310"/>
                  </a:cubicBezTo>
                  <a:cubicBezTo>
                    <a:pt x="111" y="310"/>
                    <a:pt x="112" y="310"/>
                    <a:pt x="113" y="311"/>
                  </a:cubicBezTo>
                  <a:cubicBezTo>
                    <a:pt x="114" y="312"/>
                    <a:pt x="114" y="319"/>
                    <a:pt x="113" y="320"/>
                  </a:cubicBezTo>
                  <a:cubicBezTo>
                    <a:pt x="110" y="320"/>
                    <a:pt x="109" y="324"/>
                    <a:pt x="108" y="327"/>
                  </a:cubicBezTo>
                  <a:cubicBezTo>
                    <a:pt x="107" y="330"/>
                    <a:pt x="107" y="332"/>
                    <a:pt x="106" y="336"/>
                  </a:cubicBezTo>
                  <a:cubicBezTo>
                    <a:pt x="105" y="341"/>
                    <a:pt x="102" y="347"/>
                    <a:pt x="98" y="351"/>
                  </a:cubicBezTo>
                  <a:cubicBezTo>
                    <a:pt x="97" y="353"/>
                    <a:pt x="95" y="355"/>
                    <a:pt x="93" y="356"/>
                  </a:cubicBezTo>
                  <a:cubicBezTo>
                    <a:pt x="91" y="359"/>
                    <a:pt x="91" y="362"/>
                    <a:pt x="91" y="365"/>
                  </a:cubicBezTo>
                  <a:cubicBezTo>
                    <a:pt x="91" y="369"/>
                    <a:pt x="92" y="377"/>
                    <a:pt x="96" y="379"/>
                  </a:cubicBezTo>
                  <a:cubicBezTo>
                    <a:pt x="93" y="380"/>
                    <a:pt x="92" y="373"/>
                    <a:pt x="91" y="372"/>
                  </a:cubicBezTo>
                  <a:cubicBezTo>
                    <a:pt x="90" y="368"/>
                    <a:pt x="88" y="367"/>
                    <a:pt x="84" y="368"/>
                  </a:cubicBezTo>
                  <a:cubicBezTo>
                    <a:pt x="83" y="371"/>
                    <a:pt x="83" y="374"/>
                    <a:pt x="84" y="377"/>
                  </a:cubicBezTo>
                  <a:cubicBezTo>
                    <a:pt x="85" y="380"/>
                    <a:pt x="87" y="383"/>
                    <a:pt x="89" y="385"/>
                  </a:cubicBezTo>
                  <a:cubicBezTo>
                    <a:pt x="90" y="386"/>
                    <a:pt x="92" y="387"/>
                    <a:pt x="93" y="388"/>
                  </a:cubicBezTo>
                  <a:cubicBezTo>
                    <a:pt x="94" y="390"/>
                    <a:pt x="97" y="405"/>
                    <a:pt x="101" y="403"/>
                  </a:cubicBezTo>
                  <a:cubicBezTo>
                    <a:pt x="102" y="398"/>
                    <a:pt x="99" y="392"/>
                    <a:pt x="99" y="387"/>
                  </a:cubicBezTo>
                  <a:cubicBezTo>
                    <a:pt x="99" y="383"/>
                    <a:pt x="98" y="380"/>
                    <a:pt x="102" y="378"/>
                  </a:cubicBezTo>
                  <a:cubicBezTo>
                    <a:pt x="105" y="377"/>
                    <a:pt x="105" y="378"/>
                    <a:pt x="107" y="381"/>
                  </a:cubicBezTo>
                  <a:cubicBezTo>
                    <a:pt x="107" y="382"/>
                    <a:pt x="109" y="382"/>
                    <a:pt x="109" y="382"/>
                  </a:cubicBezTo>
                  <a:cubicBezTo>
                    <a:pt x="110" y="384"/>
                    <a:pt x="111" y="385"/>
                    <a:pt x="112" y="386"/>
                  </a:cubicBezTo>
                  <a:cubicBezTo>
                    <a:pt x="113" y="388"/>
                    <a:pt x="115" y="389"/>
                    <a:pt x="117" y="390"/>
                  </a:cubicBezTo>
                  <a:cubicBezTo>
                    <a:pt x="121" y="394"/>
                    <a:pt x="123" y="399"/>
                    <a:pt x="130" y="399"/>
                  </a:cubicBezTo>
                  <a:cubicBezTo>
                    <a:pt x="131" y="395"/>
                    <a:pt x="130" y="395"/>
                    <a:pt x="128" y="391"/>
                  </a:cubicBezTo>
                  <a:cubicBezTo>
                    <a:pt x="127" y="388"/>
                    <a:pt x="127" y="385"/>
                    <a:pt x="127" y="381"/>
                  </a:cubicBezTo>
                  <a:cubicBezTo>
                    <a:pt x="127" y="376"/>
                    <a:pt x="130" y="380"/>
                    <a:pt x="133" y="382"/>
                  </a:cubicBezTo>
                  <a:cubicBezTo>
                    <a:pt x="137" y="384"/>
                    <a:pt x="136" y="385"/>
                    <a:pt x="137" y="390"/>
                  </a:cubicBezTo>
                  <a:cubicBezTo>
                    <a:pt x="139" y="390"/>
                    <a:pt x="142" y="391"/>
                    <a:pt x="145" y="391"/>
                  </a:cubicBezTo>
                  <a:cubicBezTo>
                    <a:pt x="145" y="391"/>
                    <a:pt x="147" y="392"/>
                    <a:pt x="147" y="392"/>
                  </a:cubicBezTo>
                  <a:cubicBezTo>
                    <a:pt x="148" y="392"/>
                    <a:pt x="149" y="390"/>
                    <a:pt x="150" y="390"/>
                  </a:cubicBezTo>
                  <a:cubicBezTo>
                    <a:pt x="153" y="389"/>
                    <a:pt x="154" y="390"/>
                    <a:pt x="156" y="388"/>
                  </a:cubicBezTo>
                  <a:cubicBezTo>
                    <a:pt x="158" y="386"/>
                    <a:pt x="158" y="385"/>
                    <a:pt x="160" y="383"/>
                  </a:cubicBezTo>
                  <a:cubicBezTo>
                    <a:pt x="162" y="381"/>
                    <a:pt x="162" y="380"/>
                    <a:pt x="165" y="381"/>
                  </a:cubicBezTo>
                  <a:cubicBezTo>
                    <a:pt x="166" y="381"/>
                    <a:pt x="166" y="382"/>
                    <a:pt x="166" y="383"/>
                  </a:cubicBezTo>
                  <a:cubicBezTo>
                    <a:pt x="167" y="383"/>
                    <a:pt x="168" y="382"/>
                    <a:pt x="168" y="383"/>
                  </a:cubicBezTo>
                  <a:cubicBezTo>
                    <a:pt x="169" y="383"/>
                    <a:pt x="170" y="383"/>
                    <a:pt x="171" y="383"/>
                  </a:cubicBezTo>
                  <a:cubicBezTo>
                    <a:pt x="174" y="382"/>
                    <a:pt x="175" y="381"/>
                    <a:pt x="174" y="378"/>
                  </a:cubicBezTo>
                  <a:cubicBezTo>
                    <a:pt x="174" y="377"/>
                    <a:pt x="172" y="376"/>
                    <a:pt x="171" y="375"/>
                  </a:cubicBezTo>
                  <a:cubicBezTo>
                    <a:pt x="171" y="374"/>
                    <a:pt x="171" y="373"/>
                    <a:pt x="172" y="372"/>
                  </a:cubicBezTo>
                  <a:cubicBezTo>
                    <a:pt x="175" y="371"/>
                    <a:pt x="177" y="372"/>
                    <a:pt x="180" y="372"/>
                  </a:cubicBezTo>
                  <a:cubicBezTo>
                    <a:pt x="183" y="372"/>
                    <a:pt x="185" y="372"/>
                    <a:pt x="187" y="372"/>
                  </a:cubicBezTo>
                  <a:cubicBezTo>
                    <a:pt x="189" y="371"/>
                    <a:pt x="191" y="370"/>
                    <a:pt x="193" y="369"/>
                  </a:cubicBezTo>
                  <a:cubicBezTo>
                    <a:pt x="196" y="368"/>
                    <a:pt x="197" y="366"/>
                    <a:pt x="201" y="367"/>
                  </a:cubicBezTo>
                  <a:cubicBezTo>
                    <a:pt x="201" y="368"/>
                    <a:pt x="201" y="369"/>
                    <a:pt x="201" y="371"/>
                  </a:cubicBezTo>
                  <a:cubicBezTo>
                    <a:pt x="197" y="370"/>
                    <a:pt x="195" y="375"/>
                    <a:pt x="192" y="375"/>
                  </a:cubicBezTo>
                  <a:cubicBezTo>
                    <a:pt x="190" y="376"/>
                    <a:pt x="189" y="373"/>
                    <a:pt x="187" y="374"/>
                  </a:cubicBezTo>
                  <a:cubicBezTo>
                    <a:pt x="186" y="375"/>
                    <a:pt x="186" y="377"/>
                    <a:pt x="186" y="378"/>
                  </a:cubicBezTo>
                  <a:cubicBezTo>
                    <a:pt x="185" y="378"/>
                    <a:pt x="183" y="378"/>
                    <a:pt x="182" y="378"/>
                  </a:cubicBezTo>
                  <a:cubicBezTo>
                    <a:pt x="180" y="379"/>
                    <a:pt x="182" y="378"/>
                    <a:pt x="180" y="380"/>
                  </a:cubicBezTo>
                  <a:cubicBezTo>
                    <a:pt x="179" y="382"/>
                    <a:pt x="178" y="385"/>
                    <a:pt x="176" y="388"/>
                  </a:cubicBezTo>
                  <a:cubicBezTo>
                    <a:pt x="175" y="389"/>
                    <a:pt x="175" y="390"/>
                    <a:pt x="174" y="391"/>
                  </a:cubicBezTo>
                  <a:cubicBezTo>
                    <a:pt x="174" y="391"/>
                    <a:pt x="174" y="392"/>
                    <a:pt x="173" y="392"/>
                  </a:cubicBezTo>
                  <a:cubicBezTo>
                    <a:pt x="173" y="392"/>
                    <a:pt x="172" y="392"/>
                    <a:pt x="171" y="392"/>
                  </a:cubicBezTo>
                  <a:cubicBezTo>
                    <a:pt x="170" y="393"/>
                    <a:pt x="170" y="394"/>
                    <a:pt x="169" y="395"/>
                  </a:cubicBezTo>
                  <a:cubicBezTo>
                    <a:pt x="169" y="396"/>
                    <a:pt x="169" y="397"/>
                    <a:pt x="169" y="397"/>
                  </a:cubicBezTo>
                  <a:cubicBezTo>
                    <a:pt x="169" y="398"/>
                    <a:pt x="168" y="398"/>
                    <a:pt x="168" y="399"/>
                  </a:cubicBezTo>
                  <a:cubicBezTo>
                    <a:pt x="165" y="402"/>
                    <a:pt x="164" y="409"/>
                    <a:pt x="165" y="414"/>
                  </a:cubicBezTo>
                  <a:cubicBezTo>
                    <a:pt x="166" y="418"/>
                    <a:pt x="171" y="422"/>
                    <a:pt x="172" y="425"/>
                  </a:cubicBezTo>
                  <a:cubicBezTo>
                    <a:pt x="173" y="427"/>
                    <a:pt x="173" y="429"/>
                    <a:pt x="174" y="430"/>
                  </a:cubicBezTo>
                  <a:cubicBezTo>
                    <a:pt x="174" y="431"/>
                    <a:pt x="175" y="432"/>
                    <a:pt x="176" y="433"/>
                  </a:cubicBezTo>
                  <a:cubicBezTo>
                    <a:pt x="176" y="434"/>
                    <a:pt x="177" y="434"/>
                    <a:pt x="177" y="435"/>
                  </a:cubicBezTo>
                  <a:cubicBezTo>
                    <a:pt x="178" y="435"/>
                    <a:pt x="177" y="436"/>
                    <a:pt x="177" y="437"/>
                  </a:cubicBezTo>
                  <a:cubicBezTo>
                    <a:pt x="180" y="441"/>
                    <a:pt x="186" y="442"/>
                    <a:pt x="185" y="448"/>
                  </a:cubicBezTo>
                  <a:cubicBezTo>
                    <a:pt x="184" y="450"/>
                    <a:pt x="182" y="452"/>
                    <a:pt x="185" y="454"/>
                  </a:cubicBezTo>
                  <a:cubicBezTo>
                    <a:pt x="185" y="455"/>
                    <a:pt x="187" y="456"/>
                    <a:pt x="188" y="456"/>
                  </a:cubicBezTo>
                  <a:cubicBezTo>
                    <a:pt x="190" y="455"/>
                    <a:pt x="189" y="454"/>
                    <a:pt x="190" y="453"/>
                  </a:cubicBezTo>
                  <a:cubicBezTo>
                    <a:pt x="192" y="452"/>
                    <a:pt x="193" y="453"/>
                    <a:pt x="195" y="451"/>
                  </a:cubicBezTo>
                  <a:cubicBezTo>
                    <a:pt x="196" y="449"/>
                    <a:pt x="196" y="447"/>
                    <a:pt x="199" y="448"/>
                  </a:cubicBezTo>
                  <a:cubicBezTo>
                    <a:pt x="202" y="449"/>
                    <a:pt x="203" y="452"/>
                    <a:pt x="205" y="448"/>
                  </a:cubicBezTo>
                  <a:cubicBezTo>
                    <a:pt x="206" y="446"/>
                    <a:pt x="206" y="442"/>
                    <a:pt x="209" y="443"/>
                  </a:cubicBezTo>
                  <a:cubicBezTo>
                    <a:pt x="212" y="443"/>
                    <a:pt x="213" y="447"/>
                    <a:pt x="212" y="449"/>
                  </a:cubicBezTo>
                  <a:cubicBezTo>
                    <a:pt x="212" y="452"/>
                    <a:pt x="209" y="452"/>
                    <a:pt x="208" y="455"/>
                  </a:cubicBezTo>
                  <a:cubicBezTo>
                    <a:pt x="206" y="455"/>
                    <a:pt x="205" y="459"/>
                    <a:pt x="205" y="461"/>
                  </a:cubicBezTo>
                  <a:cubicBezTo>
                    <a:pt x="205" y="461"/>
                    <a:pt x="206" y="462"/>
                    <a:pt x="206" y="462"/>
                  </a:cubicBezTo>
                  <a:cubicBezTo>
                    <a:pt x="206" y="463"/>
                    <a:pt x="206" y="464"/>
                    <a:pt x="206" y="465"/>
                  </a:cubicBezTo>
                  <a:cubicBezTo>
                    <a:pt x="205" y="466"/>
                    <a:pt x="205" y="466"/>
                    <a:pt x="204" y="468"/>
                  </a:cubicBezTo>
                  <a:cubicBezTo>
                    <a:pt x="204" y="468"/>
                    <a:pt x="203" y="467"/>
                    <a:pt x="203" y="467"/>
                  </a:cubicBezTo>
                  <a:cubicBezTo>
                    <a:pt x="202" y="468"/>
                    <a:pt x="202" y="468"/>
                    <a:pt x="202" y="469"/>
                  </a:cubicBezTo>
                  <a:cubicBezTo>
                    <a:pt x="201" y="469"/>
                    <a:pt x="200" y="470"/>
                    <a:pt x="200" y="471"/>
                  </a:cubicBezTo>
                  <a:cubicBezTo>
                    <a:pt x="198" y="473"/>
                    <a:pt x="197" y="474"/>
                    <a:pt x="199" y="476"/>
                  </a:cubicBezTo>
                  <a:cubicBezTo>
                    <a:pt x="198" y="478"/>
                    <a:pt x="196" y="478"/>
                    <a:pt x="195" y="480"/>
                  </a:cubicBezTo>
                  <a:cubicBezTo>
                    <a:pt x="193" y="483"/>
                    <a:pt x="195" y="483"/>
                    <a:pt x="196" y="485"/>
                  </a:cubicBezTo>
                  <a:cubicBezTo>
                    <a:pt x="197" y="487"/>
                    <a:pt x="198" y="490"/>
                    <a:pt x="197" y="492"/>
                  </a:cubicBezTo>
                  <a:cubicBezTo>
                    <a:pt x="196" y="494"/>
                    <a:pt x="194" y="494"/>
                    <a:pt x="194" y="498"/>
                  </a:cubicBezTo>
                  <a:cubicBezTo>
                    <a:pt x="194" y="500"/>
                    <a:pt x="195" y="502"/>
                    <a:pt x="194" y="504"/>
                  </a:cubicBezTo>
                  <a:cubicBezTo>
                    <a:pt x="194" y="506"/>
                    <a:pt x="195" y="510"/>
                    <a:pt x="194" y="511"/>
                  </a:cubicBezTo>
                  <a:cubicBezTo>
                    <a:pt x="193" y="515"/>
                    <a:pt x="187" y="512"/>
                    <a:pt x="188" y="516"/>
                  </a:cubicBezTo>
                  <a:cubicBezTo>
                    <a:pt x="188" y="517"/>
                    <a:pt x="190" y="518"/>
                    <a:pt x="190" y="519"/>
                  </a:cubicBezTo>
                  <a:cubicBezTo>
                    <a:pt x="190" y="520"/>
                    <a:pt x="189" y="521"/>
                    <a:pt x="189" y="522"/>
                  </a:cubicBezTo>
                  <a:cubicBezTo>
                    <a:pt x="187" y="523"/>
                    <a:pt x="186" y="521"/>
                    <a:pt x="185" y="519"/>
                  </a:cubicBezTo>
                  <a:cubicBezTo>
                    <a:pt x="184" y="518"/>
                    <a:pt x="182" y="518"/>
                    <a:pt x="181" y="517"/>
                  </a:cubicBezTo>
                  <a:cubicBezTo>
                    <a:pt x="180" y="516"/>
                    <a:pt x="179" y="514"/>
                    <a:pt x="178" y="514"/>
                  </a:cubicBezTo>
                  <a:cubicBezTo>
                    <a:pt x="176" y="513"/>
                    <a:pt x="173" y="515"/>
                    <a:pt x="174" y="517"/>
                  </a:cubicBezTo>
                  <a:cubicBezTo>
                    <a:pt x="169" y="518"/>
                    <a:pt x="161" y="511"/>
                    <a:pt x="157" y="514"/>
                  </a:cubicBezTo>
                  <a:cubicBezTo>
                    <a:pt x="163" y="515"/>
                    <a:pt x="160" y="523"/>
                    <a:pt x="163" y="525"/>
                  </a:cubicBezTo>
                  <a:cubicBezTo>
                    <a:pt x="160" y="525"/>
                    <a:pt x="155" y="524"/>
                    <a:pt x="152" y="525"/>
                  </a:cubicBezTo>
                  <a:cubicBezTo>
                    <a:pt x="150" y="526"/>
                    <a:pt x="151" y="530"/>
                    <a:pt x="148" y="531"/>
                  </a:cubicBezTo>
                  <a:cubicBezTo>
                    <a:pt x="148" y="531"/>
                    <a:pt x="146" y="532"/>
                    <a:pt x="146" y="532"/>
                  </a:cubicBezTo>
                  <a:cubicBezTo>
                    <a:pt x="144" y="533"/>
                    <a:pt x="143" y="533"/>
                    <a:pt x="142" y="531"/>
                  </a:cubicBezTo>
                  <a:cubicBezTo>
                    <a:pt x="141" y="529"/>
                    <a:pt x="143" y="529"/>
                    <a:pt x="143" y="528"/>
                  </a:cubicBezTo>
                  <a:cubicBezTo>
                    <a:pt x="144" y="526"/>
                    <a:pt x="144" y="526"/>
                    <a:pt x="144" y="523"/>
                  </a:cubicBezTo>
                  <a:cubicBezTo>
                    <a:pt x="142" y="522"/>
                    <a:pt x="142" y="524"/>
                    <a:pt x="141" y="525"/>
                  </a:cubicBezTo>
                  <a:cubicBezTo>
                    <a:pt x="139" y="525"/>
                    <a:pt x="138" y="525"/>
                    <a:pt x="136" y="525"/>
                  </a:cubicBezTo>
                  <a:cubicBezTo>
                    <a:pt x="136" y="523"/>
                    <a:pt x="136" y="522"/>
                    <a:pt x="135" y="520"/>
                  </a:cubicBezTo>
                  <a:cubicBezTo>
                    <a:pt x="134" y="518"/>
                    <a:pt x="132" y="515"/>
                    <a:pt x="130" y="514"/>
                  </a:cubicBezTo>
                  <a:cubicBezTo>
                    <a:pt x="128" y="512"/>
                    <a:pt x="123" y="513"/>
                    <a:pt x="120" y="513"/>
                  </a:cubicBezTo>
                  <a:cubicBezTo>
                    <a:pt x="116" y="513"/>
                    <a:pt x="112" y="516"/>
                    <a:pt x="114" y="521"/>
                  </a:cubicBezTo>
                  <a:cubicBezTo>
                    <a:pt x="115" y="523"/>
                    <a:pt x="119" y="525"/>
                    <a:pt x="118" y="526"/>
                  </a:cubicBezTo>
                  <a:cubicBezTo>
                    <a:pt x="116" y="529"/>
                    <a:pt x="109" y="520"/>
                    <a:pt x="107" y="521"/>
                  </a:cubicBezTo>
                  <a:cubicBezTo>
                    <a:pt x="109" y="525"/>
                    <a:pt x="112" y="529"/>
                    <a:pt x="115" y="531"/>
                  </a:cubicBezTo>
                  <a:cubicBezTo>
                    <a:pt x="118" y="534"/>
                    <a:pt x="121" y="532"/>
                    <a:pt x="122" y="537"/>
                  </a:cubicBezTo>
                  <a:cubicBezTo>
                    <a:pt x="125" y="537"/>
                    <a:pt x="124" y="539"/>
                    <a:pt x="126" y="541"/>
                  </a:cubicBezTo>
                  <a:cubicBezTo>
                    <a:pt x="127" y="543"/>
                    <a:pt x="129" y="543"/>
                    <a:pt x="130" y="545"/>
                  </a:cubicBezTo>
                  <a:cubicBezTo>
                    <a:pt x="129" y="545"/>
                    <a:pt x="128" y="548"/>
                    <a:pt x="127" y="549"/>
                  </a:cubicBezTo>
                  <a:cubicBezTo>
                    <a:pt x="125" y="552"/>
                    <a:pt x="124" y="556"/>
                    <a:pt x="123" y="560"/>
                  </a:cubicBezTo>
                  <a:cubicBezTo>
                    <a:pt x="123" y="559"/>
                    <a:pt x="123" y="559"/>
                    <a:pt x="123" y="558"/>
                  </a:cubicBezTo>
                  <a:cubicBezTo>
                    <a:pt x="122" y="560"/>
                    <a:pt x="120" y="562"/>
                    <a:pt x="118" y="563"/>
                  </a:cubicBezTo>
                  <a:cubicBezTo>
                    <a:pt x="117" y="564"/>
                    <a:pt x="114" y="563"/>
                    <a:pt x="112" y="564"/>
                  </a:cubicBezTo>
                  <a:cubicBezTo>
                    <a:pt x="112" y="564"/>
                    <a:pt x="111" y="565"/>
                    <a:pt x="110" y="566"/>
                  </a:cubicBezTo>
                  <a:cubicBezTo>
                    <a:pt x="109" y="567"/>
                    <a:pt x="109" y="566"/>
                    <a:pt x="108" y="568"/>
                  </a:cubicBezTo>
                  <a:cubicBezTo>
                    <a:pt x="106" y="570"/>
                    <a:pt x="106" y="572"/>
                    <a:pt x="107" y="574"/>
                  </a:cubicBezTo>
                  <a:cubicBezTo>
                    <a:pt x="108" y="574"/>
                    <a:pt x="110" y="574"/>
                    <a:pt x="112" y="574"/>
                  </a:cubicBezTo>
                  <a:cubicBezTo>
                    <a:pt x="113" y="574"/>
                    <a:pt x="112" y="575"/>
                    <a:pt x="113" y="576"/>
                  </a:cubicBezTo>
                  <a:cubicBezTo>
                    <a:pt x="114" y="576"/>
                    <a:pt x="116" y="576"/>
                    <a:pt x="117" y="576"/>
                  </a:cubicBezTo>
                  <a:cubicBezTo>
                    <a:pt x="122" y="577"/>
                    <a:pt x="121" y="570"/>
                    <a:pt x="124" y="567"/>
                  </a:cubicBezTo>
                  <a:cubicBezTo>
                    <a:pt x="126" y="564"/>
                    <a:pt x="129" y="563"/>
                    <a:pt x="132" y="561"/>
                  </a:cubicBezTo>
                  <a:cubicBezTo>
                    <a:pt x="135" y="559"/>
                    <a:pt x="141" y="558"/>
                    <a:pt x="144" y="559"/>
                  </a:cubicBezTo>
                  <a:cubicBezTo>
                    <a:pt x="144" y="561"/>
                    <a:pt x="143" y="562"/>
                    <a:pt x="143" y="563"/>
                  </a:cubicBezTo>
                  <a:cubicBezTo>
                    <a:pt x="142" y="565"/>
                    <a:pt x="142" y="565"/>
                    <a:pt x="142" y="567"/>
                  </a:cubicBezTo>
                  <a:cubicBezTo>
                    <a:pt x="142" y="570"/>
                    <a:pt x="146" y="574"/>
                    <a:pt x="142" y="574"/>
                  </a:cubicBezTo>
                  <a:cubicBezTo>
                    <a:pt x="142" y="576"/>
                    <a:pt x="141" y="577"/>
                    <a:pt x="141" y="578"/>
                  </a:cubicBezTo>
                  <a:cubicBezTo>
                    <a:pt x="141" y="580"/>
                    <a:pt x="143" y="582"/>
                    <a:pt x="143" y="584"/>
                  </a:cubicBezTo>
                  <a:cubicBezTo>
                    <a:pt x="143" y="585"/>
                    <a:pt x="139" y="589"/>
                    <a:pt x="143" y="590"/>
                  </a:cubicBezTo>
                  <a:cubicBezTo>
                    <a:pt x="143" y="592"/>
                    <a:pt x="145" y="595"/>
                    <a:pt x="144" y="597"/>
                  </a:cubicBezTo>
                  <a:cubicBezTo>
                    <a:pt x="144" y="598"/>
                    <a:pt x="143" y="598"/>
                    <a:pt x="142" y="600"/>
                  </a:cubicBezTo>
                  <a:cubicBezTo>
                    <a:pt x="141" y="601"/>
                    <a:pt x="141" y="602"/>
                    <a:pt x="141" y="603"/>
                  </a:cubicBezTo>
                  <a:cubicBezTo>
                    <a:pt x="141" y="605"/>
                    <a:pt x="140" y="606"/>
                    <a:pt x="139" y="608"/>
                  </a:cubicBezTo>
                  <a:cubicBezTo>
                    <a:pt x="139" y="609"/>
                    <a:pt x="140" y="611"/>
                    <a:pt x="139" y="612"/>
                  </a:cubicBezTo>
                  <a:cubicBezTo>
                    <a:pt x="139" y="613"/>
                    <a:pt x="137" y="613"/>
                    <a:pt x="137" y="614"/>
                  </a:cubicBezTo>
                  <a:cubicBezTo>
                    <a:pt x="136" y="615"/>
                    <a:pt x="136" y="616"/>
                    <a:pt x="136" y="617"/>
                  </a:cubicBezTo>
                  <a:cubicBezTo>
                    <a:pt x="134" y="621"/>
                    <a:pt x="134" y="619"/>
                    <a:pt x="132" y="620"/>
                  </a:cubicBezTo>
                  <a:cubicBezTo>
                    <a:pt x="130" y="621"/>
                    <a:pt x="129" y="623"/>
                    <a:pt x="128" y="624"/>
                  </a:cubicBezTo>
                  <a:cubicBezTo>
                    <a:pt x="127" y="624"/>
                    <a:pt x="126" y="625"/>
                    <a:pt x="125" y="625"/>
                  </a:cubicBezTo>
                  <a:cubicBezTo>
                    <a:pt x="125" y="626"/>
                    <a:pt x="124" y="625"/>
                    <a:pt x="123" y="626"/>
                  </a:cubicBezTo>
                  <a:cubicBezTo>
                    <a:pt x="122" y="626"/>
                    <a:pt x="121" y="629"/>
                    <a:pt x="120" y="630"/>
                  </a:cubicBezTo>
                  <a:cubicBezTo>
                    <a:pt x="118" y="631"/>
                    <a:pt x="115" y="629"/>
                    <a:pt x="113" y="630"/>
                  </a:cubicBezTo>
                  <a:cubicBezTo>
                    <a:pt x="113" y="630"/>
                    <a:pt x="112" y="631"/>
                    <a:pt x="112" y="631"/>
                  </a:cubicBezTo>
                  <a:cubicBezTo>
                    <a:pt x="111" y="631"/>
                    <a:pt x="109" y="631"/>
                    <a:pt x="109" y="631"/>
                  </a:cubicBezTo>
                  <a:cubicBezTo>
                    <a:pt x="108" y="632"/>
                    <a:pt x="106" y="633"/>
                    <a:pt x="105" y="634"/>
                  </a:cubicBezTo>
                  <a:cubicBezTo>
                    <a:pt x="104" y="635"/>
                    <a:pt x="104" y="637"/>
                    <a:pt x="103" y="638"/>
                  </a:cubicBezTo>
                  <a:cubicBezTo>
                    <a:pt x="101" y="640"/>
                    <a:pt x="95" y="639"/>
                    <a:pt x="93" y="637"/>
                  </a:cubicBezTo>
                  <a:cubicBezTo>
                    <a:pt x="91" y="636"/>
                    <a:pt x="92" y="635"/>
                    <a:pt x="89" y="636"/>
                  </a:cubicBezTo>
                  <a:cubicBezTo>
                    <a:pt x="87" y="638"/>
                    <a:pt x="88" y="639"/>
                    <a:pt x="87" y="642"/>
                  </a:cubicBezTo>
                  <a:cubicBezTo>
                    <a:pt x="86" y="643"/>
                    <a:pt x="82" y="642"/>
                    <a:pt x="82" y="643"/>
                  </a:cubicBezTo>
                  <a:cubicBezTo>
                    <a:pt x="81" y="644"/>
                    <a:pt x="82" y="648"/>
                    <a:pt x="81" y="650"/>
                  </a:cubicBezTo>
                  <a:cubicBezTo>
                    <a:pt x="79" y="653"/>
                    <a:pt x="76" y="651"/>
                    <a:pt x="75" y="655"/>
                  </a:cubicBezTo>
                  <a:cubicBezTo>
                    <a:pt x="77" y="655"/>
                    <a:pt x="82" y="654"/>
                    <a:pt x="85" y="655"/>
                  </a:cubicBezTo>
                  <a:cubicBezTo>
                    <a:pt x="88" y="656"/>
                    <a:pt x="86" y="658"/>
                    <a:pt x="85" y="660"/>
                  </a:cubicBezTo>
                  <a:cubicBezTo>
                    <a:pt x="83" y="662"/>
                    <a:pt x="82" y="663"/>
                    <a:pt x="79" y="664"/>
                  </a:cubicBezTo>
                  <a:cubicBezTo>
                    <a:pt x="78" y="665"/>
                    <a:pt x="77" y="664"/>
                    <a:pt x="76" y="666"/>
                  </a:cubicBezTo>
                  <a:cubicBezTo>
                    <a:pt x="76" y="669"/>
                    <a:pt x="77" y="669"/>
                    <a:pt x="79" y="670"/>
                  </a:cubicBezTo>
                  <a:cubicBezTo>
                    <a:pt x="82" y="672"/>
                    <a:pt x="84" y="672"/>
                    <a:pt x="87" y="672"/>
                  </a:cubicBezTo>
                  <a:cubicBezTo>
                    <a:pt x="88" y="672"/>
                    <a:pt x="89" y="672"/>
                    <a:pt x="89" y="672"/>
                  </a:cubicBezTo>
                  <a:cubicBezTo>
                    <a:pt x="90" y="673"/>
                    <a:pt x="90" y="674"/>
                    <a:pt x="90" y="674"/>
                  </a:cubicBezTo>
                  <a:cubicBezTo>
                    <a:pt x="92" y="675"/>
                    <a:pt x="93" y="675"/>
                    <a:pt x="95" y="675"/>
                  </a:cubicBezTo>
                  <a:cubicBezTo>
                    <a:pt x="97" y="675"/>
                    <a:pt x="100" y="675"/>
                    <a:pt x="102" y="675"/>
                  </a:cubicBezTo>
                  <a:cubicBezTo>
                    <a:pt x="104" y="676"/>
                    <a:pt x="103" y="676"/>
                    <a:pt x="105" y="677"/>
                  </a:cubicBezTo>
                  <a:cubicBezTo>
                    <a:pt x="105" y="678"/>
                    <a:pt x="105" y="679"/>
                    <a:pt x="107" y="678"/>
                  </a:cubicBezTo>
                  <a:cubicBezTo>
                    <a:pt x="110" y="677"/>
                    <a:pt x="107" y="674"/>
                    <a:pt x="108" y="672"/>
                  </a:cubicBezTo>
                  <a:cubicBezTo>
                    <a:pt x="111" y="671"/>
                    <a:pt x="113" y="671"/>
                    <a:pt x="116" y="671"/>
                  </a:cubicBezTo>
                  <a:cubicBezTo>
                    <a:pt x="119" y="671"/>
                    <a:pt x="119" y="669"/>
                    <a:pt x="122" y="669"/>
                  </a:cubicBezTo>
                  <a:cubicBezTo>
                    <a:pt x="125" y="668"/>
                    <a:pt x="127" y="668"/>
                    <a:pt x="128" y="671"/>
                  </a:cubicBezTo>
                  <a:cubicBezTo>
                    <a:pt x="128" y="673"/>
                    <a:pt x="127" y="677"/>
                    <a:pt x="128" y="678"/>
                  </a:cubicBezTo>
                  <a:cubicBezTo>
                    <a:pt x="129" y="679"/>
                    <a:pt x="131" y="679"/>
                    <a:pt x="131" y="679"/>
                  </a:cubicBezTo>
                  <a:cubicBezTo>
                    <a:pt x="133" y="680"/>
                    <a:pt x="133" y="682"/>
                    <a:pt x="134" y="682"/>
                  </a:cubicBezTo>
                  <a:cubicBezTo>
                    <a:pt x="135" y="683"/>
                    <a:pt x="139" y="682"/>
                    <a:pt x="140" y="682"/>
                  </a:cubicBezTo>
                  <a:cubicBezTo>
                    <a:pt x="143" y="682"/>
                    <a:pt x="143" y="682"/>
                    <a:pt x="145" y="680"/>
                  </a:cubicBezTo>
                  <a:cubicBezTo>
                    <a:pt x="148" y="678"/>
                    <a:pt x="147" y="678"/>
                    <a:pt x="147" y="675"/>
                  </a:cubicBezTo>
                  <a:cubicBezTo>
                    <a:pt x="148" y="672"/>
                    <a:pt x="148" y="671"/>
                    <a:pt x="151" y="672"/>
                  </a:cubicBezTo>
                  <a:cubicBezTo>
                    <a:pt x="153" y="672"/>
                    <a:pt x="154" y="672"/>
                    <a:pt x="155" y="675"/>
                  </a:cubicBezTo>
                  <a:cubicBezTo>
                    <a:pt x="155" y="676"/>
                    <a:pt x="154" y="678"/>
                    <a:pt x="155" y="678"/>
                  </a:cubicBezTo>
                  <a:cubicBezTo>
                    <a:pt x="156" y="680"/>
                    <a:pt x="158" y="680"/>
                    <a:pt x="160" y="681"/>
                  </a:cubicBezTo>
                  <a:cubicBezTo>
                    <a:pt x="162" y="682"/>
                    <a:pt x="163" y="684"/>
                    <a:pt x="165" y="686"/>
                  </a:cubicBezTo>
                  <a:cubicBezTo>
                    <a:pt x="166" y="689"/>
                    <a:pt x="167" y="691"/>
                    <a:pt x="169" y="691"/>
                  </a:cubicBezTo>
                  <a:cubicBezTo>
                    <a:pt x="171" y="692"/>
                    <a:pt x="172" y="691"/>
                    <a:pt x="173" y="692"/>
                  </a:cubicBezTo>
                  <a:cubicBezTo>
                    <a:pt x="176" y="693"/>
                    <a:pt x="176" y="694"/>
                    <a:pt x="179" y="695"/>
                  </a:cubicBezTo>
                  <a:cubicBezTo>
                    <a:pt x="182" y="696"/>
                    <a:pt x="185" y="697"/>
                    <a:pt x="189" y="697"/>
                  </a:cubicBezTo>
                  <a:cubicBezTo>
                    <a:pt x="191" y="697"/>
                    <a:pt x="193" y="696"/>
                    <a:pt x="194" y="694"/>
                  </a:cubicBezTo>
                  <a:cubicBezTo>
                    <a:pt x="195" y="691"/>
                    <a:pt x="192" y="689"/>
                    <a:pt x="194" y="687"/>
                  </a:cubicBezTo>
                  <a:cubicBezTo>
                    <a:pt x="196" y="685"/>
                    <a:pt x="196" y="685"/>
                    <a:pt x="198" y="685"/>
                  </a:cubicBezTo>
                  <a:cubicBezTo>
                    <a:pt x="198" y="685"/>
                    <a:pt x="199" y="685"/>
                    <a:pt x="200" y="685"/>
                  </a:cubicBezTo>
                  <a:cubicBezTo>
                    <a:pt x="201" y="685"/>
                    <a:pt x="201" y="684"/>
                    <a:pt x="202" y="683"/>
                  </a:cubicBezTo>
                  <a:cubicBezTo>
                    <a:pt x="203" y="683"/>
                    <a:pt x="204" y="683"/>
                    <a:pt x="205" y="682"/>
                  </a:cubicBezTo>
                  <a:cubicBezTo>
                    <a:pt x="206" y="682"/>
                    <a:pt x="208" y="680"/>
                    <a:pt x="209" y="679"/>
                  </a:cubicBezTo>
                  <a:cubicBezTo>
                    <a:pt x="211" y="678"/>
                    <a:pt x="214" y="680"/>
                    <a:pt x="216" y="678"/>
                  </a:cubicBezTo>
                  <a:cubicBezTo>
                    <a:pt x="218" y="677"/>
                    <a:pt x="218" y="676"/>
                    <a:pt x="219" y="675"/>
                  </a:cubicBezTo>
                  <a:cubicBezTo>
                    <a:pt x="220" y="674"/>
                    <a:pt x="221" y="675"/>
                    <a:pt x="222" y="675"/>
                  </a:cubicBezTo>
                  <a:cubicBezTo>
                    <a:pt x="223" y="674"/>
                    <a:pt x="223" y="673"/>
                    <a:pt x="224" y="673"/>
                  </a:cubicBezTo>
                  <a:cubicBezTo>
                    <a:pt x="225" y="674"/>
                    <a:pt x="218" y="677"/>
                    <a:pt x="217" y="679"/>
                  </a:cubicBezTo>
                  <a:cubicBezTo>
                    <a:pt x="215" y="680"/>
                    <a:pt x="216" y="682"/>
                    <a:pt x="215" y="683"/>
                  </a:cubicBezTo>
                  <a:cubicBezTo>
                    <a:pt x="214" y="686"/>
                    <a:pt x="212" y="686"/>
                    <a:pt x="210" y="687"/>
                  </a:cubicBezTo>
                  <a:cubicBezTo>
                    <a:pt x="208" y="689"/>
                    <a:pt x="206" y="690"/>
                    <a:pt x="204" y="692"/>
                  </a:cubicBezTo>
                  <a:cubicBezTo>
                    <a:pt x="204" y="693"/>
                    <a:pt x="203" y="695"/>
                    <a:pt x="202" y="696"/>
                  </a:cubicBezTo>
                  <a:cubicBezTo>
                    <a:pt x="202" y="696"/>
                    <a:pt x="202" y="697"/>
                    <a:pt x="202" y="698"/>
                  </a:cubicBezTo>
                  <a:cubicBezTo>
                    <a:pt x="201" y="698"/>
                    <a:pt x="200" y="700"/>
                    <a:pt x="200" y="700"/>
                  </a:cubicBezTo>
                  <a:cubicBezTo>
                    <a:pt x="199" y="704"/>
                    <a:pt x="200" y="708"/>
                    <a:pt x="195" y="709"/>
                  </a:cubicBezTo>
                  <a:cubicBezTo>
                    <a:pt x="193" y="709"/>
                    <a:pt x="192" y="709"/>
                    <a:pt x="190" y="709"/>
                  </a:cubicBezTo>
                  <a:cubicBezTo>
                    <a:pt x="190" y="709"/>
                    <a:pt x="188" y="708"/>
                    <a:pt x="187" y="709"/>
                  </a:cubicBezTo>
                  <a:cubicBezTo>
                    <a:pt x="186" y="709"/>
                    <a:pt x="186" y="710"/>
                    <a:pt x="185" y="711"/>
                  </a:cubicBezTo>
                  <a:cubicBezTo>
                    <a:pt x="182" y="713"/>
                    <a:pt x="179" y="711"/>
                    <a:pt x="177" y="709"/>
                  </a:cubicBezTo>
                  <a:cubicBezTo>
                    <a:pt x="174" y="707"/>
                    <a:pt x="169" y="708"/>
                    <a:pt x="165" y="708"/>
                  </a:cubicBezTo>
                  <a:cubicBezTo>
                    <a:pt x="161" y="708"/>
                    <a:pt x="157" y="707"/>
                    <a:pt x="152" y="707"/>
                  </a:cubicBezTo>
                  <a:cubicBezTo>
                    <a:pt x="149" y="707"/>
                    <a:pt x="145" y="708"/>
                    <a:pt x="141" y="708"/>
                  </a:cubicBezTo>
                  <a:cubicBezTo>
                    <a:pt x="137" y="708"/>
                    <a:pt x="134" y="707"/>
                    <a:pt x="134" y="712"/>
                  </a:cubicBezTo>
                  <a:cubicBezTo>
                    <a:pt x="134" y="714"/>
                    <a:pt x="134" y="715"/>
                    <a:pt x="133" y="717"/>
                  </a:cubicBezTo>
                  <a:cubicBezTo>
                    <a:pt x="133" y="717"/>
                    <a:pt x="132" y="718"/>
                    <a:pt x="132" y="719"/>
                  </a:cubicBezTo>
                  <a:cubicBezTo>
                    <a:pt x="132" y="720"/>
                    <a:pt x="132" y="722"/>
                    <a:pt x="132" y="724"/>
                  </a:cubicBezTo>
                  <a:cubicBezTo>
                    <a:pt x="132" y="726"/>
                    <a:pt x="132" y="727"/>
                    <a:pt x="130" y="728"/>
                  </a:cubicBezTo>
                  <a:cubicBezTo>
                    <a:pt x="129" y="729"/>
                    <a:pt x="125" y="729"/>
                    <a:pt x="124" y="728"/>
                  </a:cubicBezTo>
                  <a:cubicBezTo>
                    <a:pt x="123" y="727"/>
                    <a:pt x="122" y="721"/>
                    <a:pt x="118" y="724"/>
                  </a:cubicBezTo>
                  <a:cubicBezTo>
                    <a:pt x="116" y="727"/>
                    <a:pt x="117" y="733"/>
                    <a:pt x="117" y="736"/>
                  </a:cubicBezTo>
                  <a:cubicBezTo>
                    <a:pt x="117" y="738"/>
                    <a:pt x="117" y="740"/>
                    <a:pt x="116" y="742"/>
                  </a:cubicBezTo>
                  <a:cubicBezTo>
                    <a:pt x="115" y="744"/>
                    <a:pt x="114" y="746"/>
                    <a:pt x="114" y="748"/>
                  </a:cubicBezTo>
                  <a:cubicBezTo>
                    <a:pt x="113" y="749"/>
                    <a:pt x="110" y="750"/>
                    <a:pt x="109" y="751"/>
                  </a:cubicBezTo>
                  <a:cubicBezTo>
                    <a:pt x="108" y="753"/>
                    <a:pt x="107" y="755"/>
                    <a:pt x="106" y="756"/>
                  </a:cubicBezTo>
                  <a:cubicBezTo>
                    <a:pt x="105" y="758"/>
                    <a:pt x="105" y="760"/>
                    <a:pt x="104" y="761"/>
                  </a:cubicBezTo>
                  <a:cubicBezTo>
                    <a:pt x="103" y="763"/>
                    <a:pt x="101" y="762"/>
                    <a:pt x="100" y="762"/>
                  </a:cubicBezTo>
                  <a:cubicBezTo>
                    <a:pt x="96" y="763"/>
                    <a:pt x="96" y="763"/>
                    <a:pt x="94" y="766"/>
                  </a:cubicBezTo>
                  <a:cubicBezTo>
                    <a:pt x="94" y="767"/>
                    <a:pt x="92" y="769"/>
                    <a:pt x="91" y="770"/>
                  </a:cubicBezTo>
                  <a:cubicBezTo>
                    <a:pt x="91" y="771"/>
                    <a:pt x="91" y="771"/>
                    <a:pt x="92" y="772"/>
                  </a:cubicBezTo>
                  <a:cubicBezTo>
                    <a:pt x="91" y="773"/>
                    <a:pt x="91" y="774"/>
                    <a:pt x="90" y="775"/>
                  </a:cubicBezTo>
                  <a:cubicBezTo>
                    <a:pt x="83" y="781"/>
                    <a:pt x="83" y="781"/>
                    <a:pt x="83" y="781"/>
                  </a:cubicBezTo>
                  <a:cubicBezTo>
                    <a:pt x="83" y="782"/>
                    <a:pt x="82" y="782"/>
                    <a:pt x="82" y="783"/>
                  </a:cubicBezTo>
                  <a:cubicBezTo>
                    <a:pt x="82" y="783"/>
                    <a:pt x="82" y="783"/>
                    <a:pt x="81" y="784"/>
                  </a:cubicBezTo>
                  <a:cubicBezTo>
                    <a:pt x="81" y="784"/>
                    <a:pt x="81" y="784"/>
                    <a:pt x="81" y="784"/>
                  </a:cubicBezTo>
                  <a:cubicBezTo>
                    <a:pt x="80" y="784"/>
                    <a:pt x="81" y="785"/>
                    <a:pt x="81" y="785"/>
                  </a:cubicBezTo>
                  <a:cubicBezTo>
                    <a:pt x="81" y="786"/>
                    <a:pt x="81" y="786"/>
                    <a:pt x="81" y="787"/>
                  </a:cubicBezTo>
                  <a:cubicBezTo>
                    <a:pt x="81" y="787"/>
                    <a:pt x="81" y="787"/>
                    <a:pt x="80" y="787"/>
                  </a:cubicBezTo>
                  <a:cubicBezTo>
                    <a:pt x="80" y="787"/>
                    <a:pt x="80" y="788"/>
                    <a:pt x="79" y="788"/>
                  </a:cubicBezTo>
                  <a:cubicBezTo>
                    <a:pt x="79" y="788"/>
                    <a:pt x="78" y="788"/>
                    <a:pt x="78" y="788"/>
                  </a:cubicBezTo>
                  <a:cubicBezTo>
                    <a:pt x="77" y="789"/>
                    <a:pt x="77" y="790"/>
                    <a:pt x="76" y="791"/>
                  </a:cubicBezTo>
                  <a:cubicBezTo>
                    <a:pt x="75" y="792"/>
                    <a:pt x="74" y="793"/>
                    <a:pt x="73" y="793"/>
                  </a:cubicBezTo>
                  <a:cubicBezTo>
                    <a:pt x="73" y="793"/>
                    <a:pt x="73" y="793"/>
                    <a:pt x="73" y="793"/>
                  </a:cubicBezTo>
                  <a:cubicBezTo>
                    <a:pt x="72" y="794"/>
                    <a:pt x="72" y="794"/>
                    <a:pt x="72" y="794"/>
                  </a:cubicBezTo>
                  <a:cubicBezTo>
                    <a:pt x="71" y="795"/>
                    <a:pt x="71" y="795"/>
                    <a:pt x="70" y="796"/>
                  </a:cubicBezTo>
                  <a:cubicBezTo>
                    <a:pt x="70" y="796"/>
                    <a:pt x="70" y="796"/>
                    <a:pt x="70" y="796"/>
                  </a:cubicBezTo>
                  <a:cubicBezTo>
                    <a:pt x="69" y="796"/>
                    <a:pt x="67" y="795"/>
                    <a:pt x="67" y="795"/>
                  </a:cubicBezTo>
                  <a:cubicBezTo>
                    <a:pt x="67" y="795"/>
                    <a:pt x="66" y="794"/>
                    <a:pt x="66" y="794"/>
                  </a:cubicBezTo>
                  <a:cubicBezTo>
                    <a:pt x="66" y="794"/>
                    <a:pt x="66" y="793"/>
                    <a:pt x="65" y="793"/>
                  </a:cubicBezTo>
                  <a:cubicBezTo>
                    <a:pt x="65" y="793"/>
                    <a:pt x="64" y="794"/>
                    <a:pt x="64" y="794"/>
                  </a:cubicBezTo>
                  <a:cubicBezTo>
                    <a:pt x="63" y="794"/>
                    <a:pt x="63" y="794"/>
                    <a:pt x="63" y="795"/>
                  </a:cubicBezTo>
                  <a:cubicBezTo>
                    <a:pt x="62" y="795"/>
                    <a:pt x="62" y="795"/>
                    <a:pt x="62" y="796"/>
                  </a:cubicBezTo>
                  <a:cubicBezTo>
                    <a:pt x="62" y="796"/>
                    <a:pt x="62" y="796"/>
                    <a:pt x="62" y="796"/>
                  </a:cubicBezTo>
                  <a:cubicBezTo>
                    <a:pt x="62" y="796"/>
                    <a:pt x="61" y="796"/>
                    <a:pt x="61" y="796"/>
                  </a:cubicBezTo>
                  <a:cubicBezTo>
                    <a:pt x="60" y="796"/>
                    <a:pt x="59" y="796"/>
                    <a:pt x="59" y="796"/>
                  </a:cubicBezTo>
                  <a:cubicBezTo>
                    <a:pt x="58" y="797"/>
                    <a:pt x="57" y="797"/>
                    <a:pt x="57" y="798"/>
                  </a:cubicBezTo>
                  <a:cubicBezTo>
                    <a:pt x="56" y="799"/>
                    <a:pt x="56" y="800"/>
                    <a:pt x="55" y="801"/>
                  </a:cubicBezTo>
                  <a:cubicBezTo>
                    <a:pt x="55" y="802"/>
                    <a:pt x="54" y="802"/>
                    <a:pt x="54" y="803"/>
                  </a:cubicBezTo>
                  <a:cubicBezTo>
                    <a:pt x="54" y="804"/>
                    <a:pt x="54" y="804"/>
                    <a:pt x="54" y="805"/>
                  </a:cubicBezTo>
                  <a:cubicBezTo>
                    <a:pt x="54" y="805"/>
                    <a:pt x="53" y="806"/>
                    <a:pt x="54" y="806"/>
                  </a:cubicBezTo>
                  <a:cubicBezTo>
                    <a:pt x="54" y="807"/>
                    <a:pt x="54" y="808"/>
                    <a:pt x="55" y="808"/>
                  </a:cubicBezTo>
                  <a:cubicBezTo>
                    <a:pt x="55" y="808"/>
                    <a:pt x="55" y="809"/>
                    <a:pt x="55" y="809"/>
                  </a:cubicBezTo>
                  <a:cubicBezTo>
                    <a:pt x="56" y="809"/>
                    <a:pt x="56" y="809"/>
                    <a:pt x="56" y="809"/>
                  </a:cubicBezTo>
                  <a:cubicBezTo>
                    <a:pt x="56" y="809"/>
                    <a:pt x="56" y="809"/>
                    <a:pt x="57" y="810"/>
                  </a:cubicBezTo>
                  <a:cubicBezTo>
                    <a:pt x="57" y="810"/>
                    <a:pt x="57" y="810"/>
                    <a:pt x="57" y="810"/>
                  </a:cubicBezTo>
                  <a:cubicBezTo>
                    <a:pt x="58" y="810"/>
                    <a:pt x="58" y="810"/>
                    <a:pt x="59" y="811"/>
                  </a:cubicBezTo>
                  <a:cubicBezTo>
                    <a:pt x="60" y="811"/>
                    <a:pt x="60" y="811"/>
                    <a:pt x="61" y="810"/>
                  </a:cubicBezTo>
                  <a:cubicBezTo>
                    <a:pt x="62" y="810"/>
                    <a:pt x="62" y="810"/>
                    <a:pt x="63" y="809"/>
                  </a:cubicBezTo>
                  <a:cubicBezTo>
                    <a:pt x="63" y="809"/>
                    <a:pt x="64" y="809"/>
                    <a:pt x="64" y="808"/>
                  </a:cubicBezTo>
                  <a:cubicBezTo>
                    <a:pt x="65" y="808"/>
                    <a:pt x="65" y="807"/>
                    <a:pt x="65" y="806"/>
                  </a:cubicBezTo>
                  <a:cubicBezTo>
                    <a:pt x="65" y="806"/>
                    <a:pt x="66" y="805"/>
                    <a:pt x="66" y="804"/>
                  </a:cubicBezTo>
                  <a:cubicBezTo>
                    <a:pt x="67" y="804"/>
                    <a:pt x="67" y="804"/>
                    <a:pt x="68" y="804"/>
                  </a:cubicBezTo>
                  <a:cubicBezTo>
                    <a:pt x="69" y="804"/>
                    <a:pt x="70" y="805"/>
                    <a:pt x="70" y="805"/>
                  </a:cubicBezTo>
                  <a:cubicBezTo>
                    <a:pt x="71" y="805"/>
                    <a:pt x="72" y="806"/>
                    <a:pt x="73" y="806"/>
                  </a:cubicBezTo>
                  <a:cubicBezTo>
                    <a:pt x="73" y="806"/>
                    <a:pt x="74" y="807"/>
                    <a:pt x="74" y="807"/>
                  </a:cubicBezTo>
                  <a:cubicBezTo>
                    <a:pt x="74" y="807"/>
                    <a:pt x="74" y="808"/>
                    <a:pt x="74" y="808"/>
                  </a:cubicBezTo>
                  <a:cubicBezTo>
                    <a:pt x="74" y="808"/>
                    <a:pt x="75" y="809"/>
                    <a:pt x="75" y="810"/>
                  </a:cubicBezTo>
                  <a:cubicBezTo>
                    <a:pt x="76" y="811"/>
                    <a:pt x="77" y="811"/>
                    <a:pt x="77" y="812"/>
                  </a:cubicBezTo>
                  <a:cubicBezTo>
                    <a:pt x="78" y="813"/>
                    <a:pt x="78" y="814"/>
                    <a:pt x="78" y="815"/>
                  </a:cubicBezTo>
                  <a:cubicBezTo>
                    <a:pt x="79" y="817"/>
                    <a:pt x="81" y="818"/>
                    <a:pt x="83" y="818"/>
                  </a:cubicBezTo>
                  <a:cubicBezTo>
                    <a:pt x="83" y="818"/>
                    <a:pt x="84" y="818"/>
                    <a:pt x="85" y="817"/>
                  </a:cubicBezTo>
                  <a:cubicBezTo>
                    <a:pt x="85" y="817"/>
                    <a:pt x="85" y="817"/>
                    <a:pt x="85" y="817"/>
                  </a:cubicBezTo>
                  <a:cubicBezTo>
                    <a:pt x="85" y="816"/>
                    <a:pt x="85" y="816"/>
                    <a:pt x="86" y="815"/>
                  </a:cubicBezTo>
                  <a:cubicBezTo>
                    <a:pt x="87" y="814"/>
                    <a:pt x="88" y="813"/>
                    <a:pt x="88" y="811"/>
                  </a:cubicBezTo>
                  <a:cubicBezTo>
                    <a:pt x="89" y="811"/>
                    <a:pt x="89" y="811"/>
                    <a:pt x="89" y="810"/>
                  </a:cubicBezTo>
                  <a:cubicBezTo>
                    <a:pt x="90" y="810"/>
                    <a:pt x="90" y="809"/>
                    <a:pt x="90" y="809"/>
                  </a:cubicBezTo>
                  <a:cubicBezTo>
                    <a:pt x="91" y="807"/>
                    <a:pt x="90" y="806"/>
                    <a:pt x="89" y="805"/>
                  </a:cubicBezTo>
                  <a:cubicBezTo>
                    <a:pt x="89" y="804"/>
                    <a:pt x="89" y="804"/>
                    <a:pt x="89" y="803"/>
                  </a:cubicBezTo>
                  <a:cubicBezTo>
                    <a:pt x="89" y="802"/>
                    <a:pt x="89" y="802"/>
                    <a:pt x="90" y="802"/>
                  </a:cubicBezTo>
                  <a:cubicBezTo>
                    <a:pt x="91" y="802"/>
                    <a:pt x="91" y="802"/>
                    <a:pt x="91" y="802"/>
                  </a:cubicBezTo>
                  <a:cubicBezTo>
                    <a:pt x="91" y="801"/>
                    <a:pt x="92" y="801"/>
                    <a:pt x="92" y="801"/>
                  </a:cubicBezTo>
                  <a:cubicBezTo>
                    <a:pt x="93" y="800"/>
                    <a:pt x="93" y="800"/>
                    <a:pt x="94" y="800"/>
                  </a:cubicBezTo>
                  <a:cubicBezTo>
                    <a:pt x="94" y="799"/>
                    <a:pt x="95" y="799"/>
                    <a:pt x="96" y="799"/>
                  </a:cubicBezTo>
                  <a:cubicBezTo>
                    <a:pt x="97" y="798"/>
                    <a:pt x="98" y="798"/>
                    <a:pt x="99" y="797"/>
                  </a:cubicBezTo>
                  <a:cubicBezTo>
                    <a:pt x="100" y="797"/>
                    <a:pt x="101" y="796"/>
                    <a:pt x="103" y="795"/>
                  </a:cubicBezTo>
                  <a:cubicBezTo>
                    <a:pt x="104" y="794"/>
                    <a:pt x="105" y="793"/>
                    <a:pt x="105" y="792"/>
                  </a:cubicBezTo>
                  <a:cubicBezTo>
                    <a:pt x="105" y="791"/>
                    <a:pt x="105" y="791"/>
                    <a:pt x="105" y="791"/>
                  </a:cubicBezTo>
                  <a:cubicBezTo>
                    <a:pt x="105" y="790"/>
                    <a:pt x="106" y="789"/>
                    <a:pt x="106" y="788"/>
                  </a:cubicBezTo>
                  <a:cubicBezTo>
                    <a:pt x="106" y="788"/>
                    <a:pt x="106" y="787"/>
                    <a:pt x="106" y="786"/>
                  </a:cubicBezTo>
                  <a:cubicBezTo>
                    <a:pt x="106" y="786"/>
                    <a:pt x="106" y="786"/>
                    <a:pt x="106" y="785"/>
                  </a:cubicBezTo>
                  <a:cubicBezTo>
                    <a:pt x="107" y="785"/>
                    <a:pt x="106" y="784"/>
                    <a:pt x="107" y="784"/>
                  </a:cubicBezTo>
                  <a:cubicBezTo>
                    <a:pt x="107" y="783"/>
                    <a:pt x="107" y="783"/>
                    <a:pt x="108" y="783"/>
                  </a:cubicBezTo>
                  <a:cubicBezTo>
                    <a:pt x="108" y="783"/>
                    <a:pt x="108" y="783"/>
                    <a:pt x="109" y="783"/>
                  </a:cubicBezTo>
                  <a:cubicBezTo>
                    <a:pt x="109" y="784"/>
                    <a:pt x="109" y="785"/>
                    <a:pt x="109" y="785"/>
                  </a:cubicBezTo>
                  <a:cubicBezTo>
                    <a:pt x="111" y="787"/>
                    <a:pt x="112" y="787"/>
                    <a:pt x="114" y="786"/>
                  </a:cubicBezTo>
                  <a:cubicBezTo>
                    <a:pt x="115" y="786"/>
                    <a:pt x="116" y="786"/>
                    <a:pt x="117" y="786"/>
                  </a:cubicBezTo>
                  <a:cubicBezTo>
                    <a:pt x="118" y="785"/>
                    <a:pt x="119" y="786"/>
                    <a:pt x="120" y="786"/>
                  </a:cubicBezTo>
                  <a:cubicBezTo>
                    <a:pt x="121" y="785"/>
                    <a:pt x="122" y="785"/>
                    <a:pt x="124" y="784"/>
                  </a:cubicBezTo>
                  <a:cubicBezTo>
                    <a:pt x="124" y="783"/>
                    <a:pt x="124" y="783"/>
                    <a:pt x="125" y="783"/>
                  </a:cubicBezTo>
                  <a:cubicBezTo>
                    <a:pt x="125" y="783"/>
                    <a:pt x="126" y="783"/>
                    <a:pt x="127" y="783"/>
                  </a:cubicBezTo>
                  <a:cubicBezTo>
                    <a:pt x="128" y="782"/>
                    <a:pt x="128" y="782"/>
                    <a:pt x="129" y="781"/>
                  </a:cubicBezTo>
                  <a:cubicBezTo>
                    <a:pt x="129" y="781"/>
                    <a:pt x="130" y="780"/>
                    <a:pt x="130" y="780"/>
                  </a:cubicBezTo>
                  <a:cubicBezTo>
                    <a:pt x="131" y="779"/>
                    <a:pt x="131" y="780"/>
                    <a:pt x="132" y="780"/>
                  </a:cubicBezTo>
                  <a:cubicBezTo>
                    <a:pt x="133" y="780"/>
                    <a:pt x="133" y="780"/>
                    <a:pt x="134" y="781"/>
                  </a:cubicBezTo>
                  <a:cubicBezTo>
                    <a:pt x="134" y="781"/>
                    <a:pt x="134" y="781"/>
                    <a:pt x="134" y="781"/>
                  </a:cubicBezTo>
                  <a:cubicBezTo>
                    <a:pt x="134" y="782"/>
                    <a:pt x="134" y="782"/>
                    <a:pt x="135" y="783"/>
                  </a:cubicBezTo>
                  <a:cubicBezTo>
                    <a:pt x="135" y="784"/>
                    <a:pt x="135" y="785"/>
                    <a:pt x="136" y="786"/>
                  </a:cubicBezTo>
                  <a:cubicBezTo>
                    <a:pt x="136" y="786"/>
                    <a:pt x="138" y="786"/>
                    <a:pt x="138" y="786"/>
                  </a:cubicBezTo>
                  <a:cubicBezTo>
                    <a:pt x="139" y="786"/>
                    <a:pt x="140" y="787"/>
                    <a:pt x="141" y="787"/>
                  </a:cubicBezTo>
                  <a:cubicBezTo>
                    <a:pt x="141" y="788"/>
                    <a:pt x="141" y="787"/>
                    <a:pt x="142" y="788"/>
                  </a:cubicBezTo>
                  <a:cubicBezTo>
                    <a:pt x="142" y="788"/>
                    <a:pt x="143" y="788"/>
                    <a:pt x="144" y="788"/>
                  </a:cubicBezTo>
                  <a:cubicBezTo>
                    <a:pt x="145" y="788"/>
                    <a:pt x="146" y="789"/>
                    <a:pt x="147" y="788"/>
                  </a:cubicBezTo>
                  <a:cubicBezTo>
                    <a:pt x="147" y="787"/>
                    <a:pt x="147" y="787"/>
                    <a:pt x="148" y="787"/>
                  </a:cubicBezTo>
                  <a:cubicBezTo>
                    <a:pt x="148" y="788"/>
                    <a:pt x="149" y="788"/>
                    <a:pt x="149" y="788"/>
                  </a:cubicBezTo>
                  <a:cubicBezTo>
                    <a:pt x="150" y="788"/>
                    <a:pt x="151" y="789"/>
                    <a:pt x="151" y="790"/>
                  </a:cubicBezTo>
                  <a:cubicBezTo>
                    <a:pt x="151" y="791"/>
                    <a:pt x="151" y="791"/>
                    <a:pt x="151" y="792"/>
                  </a:cubicBezTo>
                  <a:cubicBezTo>
                    <a:pt x="152" y="793"/>
                    <a:pt x="152" y="793"/>
                    <a:pt x="153" y="793"/>
                  </a:cubicBezTo>
                  <a:cubicBezTo>
                    <a:pt x="153" y="794"/>
                    <a:pt x="154" y="794"/>
                    <a:pt x="154" y="795"/>
                  </a:cubicBezTo>
                  <a:cubicBezTo>
                    <a:pt x="156" y="795"/>
                    <a:pt x="157" y="796"/>
                    <a:pt x="158" y="796"/>
                  </a:cubicBezTo>
                  <a:cubicBezTo>
                    <a:pt x="159" y="796"/>
                    <a:pt x="160" y="796"/>
                    <a:pt x="160" y="796"/>
                  </a:cubicBezTo>
                  <a:cubicBezTo>
                    <a:pt x="161" y="796"/>
                    <a:pt x="163" y="797"/>
                    <a:pt x="163" y="796"/>
                  </a:cubicBezTo>
                  <a:cubicBezTo>
                    <a:pt x="165" y="796"/>
                    <a:pt x="164" y="795"/>
                    <a:pt x="165" y="794"/>
                  </a:cubicBezTo>
                  <a:cubicBezTo>
                    <a:pt x="165" y="793"/>
                    <a:pt x="165" y="793"/>
                    <a:pt x="165" y="792"/>
                  </a:cubicBezTo>
                  <a:cubicBezTo>
                    <a:pt x="165" y="791"/>
                    <a:pt x="165" y="790"/>
                    <a:pt x="165" y="789"/>
                  </a:cubicBezTo>
                  <a:cubicBezTo>
                    <a:pt x="166" y="789"/>
                    <a:pt x="166" y="789"/>
                    <a:pt x="166" y="789"/>
                  </a:cubicBezTo>
                  <a:cubicBezTo>
                    <a:pt x="167" y="789"/>
                    <a:pt x="168" y="789"/>
                    <a:pt x="169" y="789"/>
                  </a:cubicBezTo>
                  <a:cubicBezTo>
                    <a:pt x="170" y="789"/>
                    <a:pt x="171" y="789"/>
                    <a:pt x="172" y="789"/>
                  </a:cubicBezTo>
                  <a:cubicBezTo>
                    <a:pt x="173" y="789"/>
                    <a:pt x="174" y="789"/>
                    <a:pt x="176" y="789"/>
                  </a:cubicBezTo>
                  <a:cubicBezTo>
                    <a:pt x="176" y="789"/>
                    <a:pt x="177" y="789"/>
                    <a:pt x="178" y="789"/>
                  </a:cubicBezTo>
                  <a:cubicBezTo>
                    <a:pt x="180" y="789"/>
                    <a:pt x="181" y="788"/>
                    <a:pt x="183" y="788"/>
                  </a:cubicBezTo>
                  <a:cubicBezTo>
                    <a:pt x="187" y="787"/>
                    <a:pt x="193" y="788"/>
                    <a:pt x="193" y="786"/>
                  </a:cubicBezTo>
                  <a:cubicBezTo>
                    <a:pt x="195" y="780"/>
                    <a:pt x="191" y="779"/>
                    <a:pt x="191" y="778"/>
                  </a:cubicBezTo>
                  <a:cubicBezTo>
                    <a:pt x="189" y="777"/>
                    <a:pt x="182" y="777"/>
                    <a:pt x="180" y="777"/>
                  </a:cubicBezTo>
                  <a:cubicBezTo>
                    <a:pt x="177" y="777"/>
                    <a:pt x="174" y="777"/>
                    <a:pt x="172" y="777"/>
                  </a:cubicBezTo>
                  <a:cubicBezTo>
                    <a:pt x="171" y="777"/>
                    <a:pt x="169" y="777"/>
                    <a:pt x="169" y="776"/>
                  </a:cubicBezTo>
                  <a:cubicBezTo>
                    <a:pt x="169" y="775"/>
                    <a:pt x="170" y="773"/>
                    <a:pt x="171" y="773"/>
                  </a:cubicBezTo>
                  <a:cubicBezTo>
                    <a:pt x="172" y="771"/>
                    <a:pt x="174" y="769"/>
                    <a:pt x="175" y="767"/>
                  </a:cubicBezTo>
                  <a:cubicBezTo>
                    <a:pt x="176" y="766"/>
                    <a:pt x="176" y="764"/>
                    <a:pt x="177" y="763"/>
                  </a:cubicBezTo>
                  <a:cubicBezTo>
                    <a:pt x="178" y="762"/>
                    <a:pt x="178" y="761"/>
                    <a:pt x="178" y="760"/>
                  </a:cubicBezTo>
                  <a:cubicBezTo>
                    <a:pt x="179" y="760"/>
                    <a:pt x="179" y="760"/>
                    <a:pt x="180" y="759"/>
                  </a:cubicBezTo>
                  <a:cubicBezTo>
                    <a:pt x="181" y="759"/>
                    <a:pt x="181" y="759"/>
                    <a:pt x="181" y="759"/>
                  </a:cubicBezTo>
                  <a:cubicBezTo>
                    <a:pt x="182" y="759"/>
                    <a:pt x="182" y="759"/>
                    <a:pt x="183" y="759"/>
                  </a:cubicBezTo>
                  <a:cubicBezTo>
                    <a:pt x="183" y="759"/>
                    <a:pt x="183" y="759"/>
                    <a:pt x="183" y="759"/>
                  </a:cubicBezTo>
                  <a:cubicBezTo>
                    <a:pt x="184" y="758"/>
                    <a:pt x="184" y="758"/>
                    <a:pt x="185" y="757"/>
                  </a:cubicBezTo>
                  <a:cubicBezTo>
                    <a:pt x="185" y="756"/>
                    <a:pt x="186" y="755"/>
                    <a:pt x="187" y="755"/>
                  </a:cubicBezTo>
                  <a:cubicBezTo>
                    <a:pt x="188" y="755"/>
                    <a:pt x="189" y="754"/>
                    <a:pt x="190" y="754"/>
                  </a:cubicBezTo>
                  <a:cubicBezTo>
                    <a:pt x="191" y="754"/>
                    <a:pt x="192" y="754"/>
                    <a:pt x="192" y="754"/>
                  </a:cubicBezTo>
                  <a:cubicBezTo>
                    <a:pt x="194" y="754"/>
                    <a:pt x="195" y="755"/>
                    <a:pt x="196" y="755"/>
                  </a:cubicBezTo>
                  <a:cubicBezTo>
                    <a:pt x="196" y="755"/>
                    <a:pt x="196" y="755"/>
                    <a:pt x="196" y="755"/>
                  </a:cubicBezTo>
                  <a:cubicBezTo>
                    <a:pt x="198" y="754"/>
                    <a:pt x="199" y="755"/>
                    <a:pt x="200" y="754"/>
                  </a:cubicBezTo>
                  <a:cubicBezTo>
                    <a:pt x="201" y="754"/>
                    <a:pt x="200" y="753"/>
                    <a:pt x="201" y="752"/>
                  </a:cubicBezTo>
                  <a:cubicBezTo>
                    <a:pt x="201" y="752"/>
                    <a:pt x="202" y="751"/>
                    <a:pt x="202" y="751"/>
                  </a:cubicBezTo>
                  <a:cubicBezTo>
                    <a:pt x="203" y="749"/>
                    <a:pt x="202" y="748"/>
                    <a:pt x="204" y="747"/>
                  </a:cubicBezTo>
                  <a:cubicBezTo>
                    <a:pt x="205" y="747"/>
                    <a:pt x="209" y="748"/>
                    <a:pt x="210" y="749"/>
                  </a:cubicBezTo>
                  <a:cubicBezTo>
                    <a:pt x="211" y="750"/>
                    <a:pt x="211" y="752"/>
                    <a:pt x="211" y="754"/>
                  </a:cubicBezTo>
                  <a:cubicBezTo>
                    <a:pt x="213" y="755"/>
                    <a:pt x="216" y="754"/>
                    <a:pt x="218" y="755"/>
                  </a:cubicBezTo>
                  <a:cubicBezTo>
                    <a:pt x="220" y="756"/>
                    <a:pt x="222" y="757"/>
                    <a:pt x="225" y="759"/>
                  </a:cubicBezTo>
                  <a:cubicBezTo>
                    <a:pt x="228" y="760"/>
                    <a:pt x="231" y="763"/>
                    <a:pt x="235" y="763"/>
                  </a:cubicBezTo>
                  <a:cubicBezTo>
                    <a:pt x="238" y="763"/>
                    <a:pt x="240" y="762"/>
                    <a:pt x="243" y="762"/>
                  </a:cubicBezTo>
                  <a:cubicBezTo>
                    <a:pt x="246" y="762"/>
                    <a:pt x="250" y="762"/>
                    <a:pt x="254" y="762"/>
                  </a:cubicBezTo>
                  <a:cubicBezTo>
                    <a:pt x="256" y="762"/>
                    <a:pt x="257" y="763"/>
                    <a:pt x="258" y="760"/>
                  </a:cubicBezTo>
                  <a:cubicBezTo>
                    <a:pt x="258" y="759"/>
                    <a:pt x="255" y="755"/>
                    <a:pt x="253" y="755"/>
                  </a:cubicBezTo>
                  <a:cubicBezTo>
                    <a:pt x="252" y="750"/>
                    <a:pt x="257" y="751"/>
                    <a:pt x="259" y="751"/>
                  </a:cubicBezTo>
                  <a:cubicBezTo>
                    <a:pt x="261" y="752"/>
                    <a:pt x="264" y="752"/>
                    <a:pt x="266" y="753"/>
                  </a:cubicBezTo>
                  <a:cubicBezTo>
                    <a:pt x="268" y="753"/>
                    <a:pt x="268" y="753"/>
                    <a:pt x="269" y="754"/>
                  </a:cubicBezTo>
                  <a:cubicBezTo>
                    <a:pt x="269" y="754"/>
                    <a:pt x="270" y="754"/>
                    <a:pt x="270" y="754"/>
                  </a:cubicBezTo>
                  <a:cubicBezTo>
                    <a:pt x="271" y="753"/>
                    <a:pt x="272" y="752"/>
                    <a:pt x="273" y="752"/>
                  </a:cubicBezTo>
                  <a:cubicBezTo>
                    <a:pt x="274" y="751"/>
                    <a:pt x="274" y="751"/>
                    <a:pt x="275" y="751"/>
                  </a:cubicBezTo>
                  <a:cubicBezTo>
                    <a:pt x="276" y="750"/>
                    <a:pt x="276" y="750"/>
                    <a:pt x="277" y="750"/>
                  </a:cubicBezTo>
                  <a:cubicBezTo>
                    <a:pt x="279" y="750"/>
                    <a:pt x="280" y="750"/>
                    <a:pt x="281" y="749"/>
                  </a:cubicBezTo>
                  <a:cubicBezTo>
                    <a:pt x="282" y="749"/>
                    <a:pt x="282" y="749"/>
                    <a:pt x="282" y="749"/>
                  </a:cubicBezTo>
                  <a:cubicBezTo>
                    <a:pt x="282" y="748"/>
                    <a:pt x="282" y="746"/>
                    <a:pt x="283" y="746"/>
                  </a:cubicBezTo>
                  <a:cubicBezTo>
                    <a:pt x="285" y="742"/>
                    <a:pt x="287" y="744"/>
                    <a:pt x="289" y="745"/>
                  </a:cubicBezTo>
                  <a:cubicBezTo>
                    <a:pt x="290" y="746"/>
                    <a:pt x="292" y="745"/>
                    <a:pt x="293" y="745"/>
                  </a:cubicBezTo>
                  <a:cubicBezTo>
                    <a:pt x="296" y="745"/>
                    <a:pt x="297" y="746"/>
                    <a:pt x="299" y="747"/>
                  </a:cubicBezTo>
                  <a:cubicBezTo>
                    <a:pt x="303" y="749"/>
                    <a:pt x="307" y="746"/>
                    <a:pt x="310" y="748"/>
                  </a:cubicBezTo>
                  <a:cubicBezTo>
                    <a:pt x="312" y="749"/>
                    <a:pt x="312" y="750"/>
                    <a:pt x="314" y="751"/>
                  </a:cubicBezTo>
                  <a:cubicBezTo>
                    <a:pt x="316" y="751"/>
                    <a:pt x="318" y="751"/>
                    <a:pt x="319" y="751"/>
                  </a:cubicBezTo>
                  <a:cubicBezTo>
                    <a:pt x="324" y="751"/>
                    <a:pt x="325" y="748"/>
                    <a:pt x="329" y="748"/>
                  </a:cubicBezTo>
                  <a:cubicBezTo>
                    <a:pt x="332" y="748"/>
                    <a:pt x="334" y="748"/>
                    <a:pt x="336" y="747"/>
                  </a:cubicBezTo>
                  <a:cubicBezTo>
                    <a:pt x="338" y="746"/>
                    <a:pt x="340" y="745"/>
                    <a:pt x="341" y="743"/>
                  </a:cubicBezTo>
                  <a:cubicBezTo>
                    <a:pt x="342" y="743"/>
                    <a:pt x="343" y="743"/>
                    <a:pt x="344" y="743"/>
                  </a:cubicBezTo>
                  <a:cubicBezTo>
                    <a:pt x="344" y="742"/>
                    <a:pt x="344" y="742"/>
                    <a:pt x="345" y="741"/>
                  </a:cubicBezTo>
                  <a:cubicBezTo>
                    <a:pt x="346" y="740"/>
                    <a:pt x="347" y="739"/>
                    <a:pt x="349" y="740"/>
                  </a:cubicBezTo>
                  <a:cubicBezTo>
                    <a:pt x="350" y="740"/>
                    <a:pt x="352" y="742"/>
                    <a:pt x="353" y="743"/>
                  </a:cubicBezTo>
                  <a:cubicBezTo>
                    <a:pt x="355" y="744"/>
                    <a:pt x="356" y="745"/>
                    <a:pt x="358" y="745"/>
                  </a:cubicBezTo>
                  <a:cubicBezTo>
                    <a:pt x="360" y="746"/>
                    <a:pt x="361" y="745"/>
                    <a:pt x="364" y="748"/>
                  </a:cubicBezTo>
                  <a:cubicBezTo>
                    <a:pt x="366" y="750"/>
                    <a:pt x="366" y="751"/>
                    <a:pt x="369" y="750"/>
                  </a:cubicBezTo>
                  <a:cubicBezTo>
                    <a:pt x="371" y="750"/>
                    <a:pt x="372" y="749"/>
                    <a:pt x="374" y="748"/>
                  </a:cubicBezTo>
                  <a:cubicBezTo>
                    <a:pt x="374" y="748"/>
                    <a:pt x="377" y="747"/>
                    <a:pt x="377" y="747"/>
                  </a:cubicBezTo>
                  <a:cubicBezTo>
                    <a:pt x="378" y="746"/>
                    <a:pt x="378" y="744"/>
                    <a:pt x="378" y="743"/>
                  </a:cubicBezTo>
                  <a:cubicBezTo>
                    <a:pt x="380" y="743"/>
                    <a:pt x="383" y="743"/>
                    <a:pt x="385" y="743"/>
                  </a:cubicBezTo>
                  <a:cubicBezTo>
                    <a:pt x="386" y="742"/>
                    <a:pt x="387" y="741"/>
                    <a:pt x="388" y="740"/>
                  </a:cubicBezTo>
                  <a:cubicBezTo>
                    <a:pt x="390" y="738"/>
                    <a:pt x="394" y="738"/>
                    <a:pt x="397" y="737"/>
                  </a:cubicBezTo>
                  <a:cubicBezTo>
                    <a:pt x="400" y="737"/>
                    <a:pt x="403" y="738"/>
                    <a:pt x="406" y="737"/>
                  </a:cubicBezTo>
                  <a:cubicBezTo>
                    <a:pt x="407" y="737"/>
                    <a:pt x="408" y="736"/>
                    <a:pt x="410" y="736"/>
                  </a:cubicBezTo>
                  <a:cubicBezTo>
                    <a:pt x="411" y="736"/>
                    <a:pt x="413" y="736"/>
                    <a:pt x="414" y="736"/>
                  </a:cubicBezTo>
                  <a:cubicBezTo>
                    <a:pt x="415" y="736"/>
                    <a:pt x="417" y="735"/>
                    <a:pt x="417" y="735"/>
                  </a:cubicBezTo>
                  <a:cubicBezTo>
                    <a:pt x="419" y="732"/>
                    <a:pt x="417" y="733"/>
                    <a:pt x="415" y="731"/>
                  </a:cubicBezTo>
                  <a:cubicBezTo>
                    <a:pt x="413" y="728"/>
                    <a:pt x="416" y="726"/>
                    <a:pt x="418" y="724"/>
                  </a:cubicBezTo>
                  <a:cubicBezTo>
                    <a:pt x="420" y="722"/>
                    <a:pt x="423" y="722"/>
                    <a:pt x="426" y="722"/>
                  </a:cubicBezTo>
                  <a:cubicBezTo>
                    <a:pt x="430" y="722"/>
                    <a:pt x="431" y="722"/>
                    <a:pt x="432" y="718"/>
                  </a:cubicBezTo>
                  <a:cubicBezTo>
                    <a:pt x="435" y="717"/>
                    <a:pt x="440" y="719"/>
                    <a:pt x="443" y="717"/>
                  </a:cubicBezTo>
                  <a:cubicBezTo>
                    <a:pt x="445" y="716"/>
                    <a:pt x="446" y="713"/>
                    <a:pt x="447" y="712"/>
                  </a:cubicBezTo>
                  <a:cubicBezTo>
                    <a:pt x="448" y="711"/>
                    <a:pt x="451" y="709"/>
                    <a:pt x="451" y="708"/>
                  </a:cubicBezTo>
                  <a:cubicBezTo>
                    <a:pt x="450" y="707"/>
                    <a:pt x="448" y="707"/>
                    <a:pt x="448" y="706"/>
                  </a:cubicBezTo>
                  <a:cubicBezTo>
                    <a:pt x="446" y="705"/>
                    <a:pt x="444" y="704"/>
                    <a:pt x="442" y="703"/>
                  </a:cubicBezTo>
                  <a:cubicBezTo>
                    <a:pt x="439" y="702"/>
                    <a:pt x="433" y="703"/>
                    <a:pt x="433" y="700"/>
                  </a:cubicBezTo>
                  <a:cubicBezTo>
                    <a:pt x="433" y="698"/>
                    <a:pt x="437" y="697"/>
                    <a:pt x="436" y="694"/>
                  </a:cubicBezTo>
                  <a:cubicBezTo>
                    <a:pt x="434" y="692"/>
                    <a:pt x="424" y="694"/>
                    <a:pt x="422" y="694"/>
                  </a:cubicBezTo>
                  <a:cubicBezTo>
                    <a:pt x="418" y="695"/>
                    <a:pt x="417" y="695"/>
                    <a:pt x="413" y="694"/>
                  </a:cubicBezTo>
                  <a:cubicBezTo>
                    <a:pt x="412" y="693"/>
                    <a:pt x="410" y="692"/>
                    <a:pt x="408" y="691"/>
                  </a:cubicBezTo>
                  <a:cubicBezTo>
                    <a:pt x="405" y="690"/>
                    <a:pt x="403" y="693"/>
                    <a:pt x="401" y="693"/>
                  </a:cubicBezTo>
                  <a:cubicBezTo>
                    <a:pt x="399" y="693"/>
                    <a:pt x="397" y="690"/>
                    <a:pt x="395" y="690"/>
                  </a:cubicBezTo>
                  <a:cubicBezTo>
                    <a:pt x="391" y="689"/>
                    <a:pt x="387" y="690"/>
                    <a:pt x="383" y="690"/>
                  </a:cubicBezTo>
                  <a:cubicBezTo>
                    <a:pt x="381" y="689"/>
                    <a:pt x="378" y="689"/>
                    <a:pt x="375" y="688"/>
                  </a:cubicBezTo>
                  <a:cubicBezTo>
                    <a:pt x="373" y="688"/>
                    <a:pt x="371" y="687"/>
                    <a:pt x="370" y="685"/>
                  </a:cubicBezTo>
                  <a:cubicBezTo>
                    <a:pt x="375" y="684"/>
                    <a:pt x="381" y="685"/>
                    <a:pt x="385" y="685"/>
                  </a:cubicBezTo>
                  <a:cubicBezTo>
                    <a:pt x="391" y="685"/>
                    <a:pt x="399" y="687"/>
                    <a:pt x="403" y="682"/>
                  </a:cubicBezTo>
                  <a:cubicBezTo>
                    <a:pt x="404" y="681"/>
                    <a:pt x="405" y="679"/>
                    <a:pt x="406" y="677"/>
                  </a:cubicBezTo>
                  <a:cubicBezTo>
                    <a:pt x="406" y="676"/>
                    <a:pt x="406" y="675"/>
                    <a:pt x="407" y="674"/>
                  </a:cubicBezTo>
                  <a:cubicBezTo>
                    <a:pt x="409" y="672"/>
                    <a:pt x="412" y="674"/>
                    <a:pt x="413" y="672"/>
                  </a:cubicBezTo>
                  <a:cubicBezTo>
                    <a:pt x="414" y="669"/>
                    <a:pt x="412" y="665"/>
                    <a:pt x="410" y="664"/>
                  </a:cubicBezTo>
                  <a:cubicBezTo>
                    <a:pt x="408" y="663"/>
                    <a:pt x="405" y="663"/>
                    <a:pt x="403" y="664"/>
                  </a:cubicBezTo>
                  <a:cubicBezTo>
                    <a:pt x="403" y="660"/>
                    <a:pt x="407" y="661"/>
                    <a:pt x="410" y="661"/>
                  </a:cubicBezTo>
                  <a:cubicBezTo>
                    <a:pt x="411" y="660"/>
                    <a:pt x="413" y="660"/>
                    <a:pt x="414" y="660"/>
                  </a:cubicBezTo>
                  <a:cubicBezTo>
                    <a:pt x="417" y="660"/>
                    <a:pt x="415" y="661"/>
                    <a:pt x="417" y="661"/>
                  </a:cubicBezTo>
                  <a:cubicBezTo>
                    <a:pt x="419" y="662"/>
                    <a:pt x="420" y="662"/>
                    <a:pt x="422" y="661"/>
                  </a:cubicBezTo>
                  <a:cubicBezTo>
                    <a:pt x="423" y="661"/>
                    <a:pt x="424" y="659"/>
                    <a:pt x="425" y="658"/>
                  </a:cubicBezTo>
                  <a:cubicBezTo>
                    <a:pt x="426" y="657"/>
                    <a:pt x="426" y="657"/>
                    <a:pt x="427" y="656"/>
                  </a:cubicBezTo>
                  <a:cubicBezTo>
                    <a:pt x="427" y="655"/>
                    <a:pt x="429" y="655"/>
                    <a:pt x="429" y="655"/>
                  </a:cubicBezTo>
                  <a:cubicBezTo>
                    <a:pt x="431" y="654"/>
                    <a:pt x="433" y="651"/>
                    <a:pt x="434" y="649"/>
                  </a:cubicBezTo>
                  <a:cubicBezTo>
                    <a:pt x="434" y="648"/>
                    <a:pt x="433" y="644"/>
                    <a:pt x="432" y="644"/>
                  </a:cubicBezTo>
                  <a:cubicBezTo>
                    <a:pt x="433" y="640"/>
                    <a:pt x="435" y="640"/>
                    <a:pt x="439" y="639"/>
                  </a:cubicBezTo>
                  <a:cubicBezTo>
                    <a:pt x="442" y="639"/>
                    <a:pt x="443" y="638"/>
                    <a:pt x="444" y="635"/>
                  </a:cubicBezTo>
                  <a:cubicBezTo>
                    <a:pt x="445" y="631"/>
                    <a:pt x="447" y="627"/>
                    <a:pt x="447" y="622"/>
                  </a:cubicBezTo>
                  <a:cubicBezTo>
                    <a:pt x="448" y="620"/>
                    <a:pt x="448" y="619"/>
                    <a:pt x="449" y="617"/>
                  </a:cubicBezTo>
                  <a:cubicBezTo>
                    <a:pt x="450" y="614"/>
                    <a:pt x="451" y="613"/>
                    <a:pt x="451" y="611"/>
                  </a:cubicBezTo>
                  <a:cubicBezTo>
                    <a:pt x="451" y="609"/>
                    <a:pt x="452" y="607"/>
                    <a:pt x="452" y="604"/>
                  </a:cubicBezTo>
                  <a:cubicBezTo>
                    <a:pt x="452" y="601"/>
                    <a:pt x="453" y="599"/>
                    <a:pt x="453" y="596"/>
                  </a:cubicBezTo>
                  <a:cubicBezTo>
                    <a:pt x="454" y="592"/>
                    <a:pt x="453" y="587"/>
                    <a:pt x="453" y="583"/>
                  </a:cubicBezTo>
                  <a:cubicBezTo>
                    <a:pt x="453" y="579"/>
                    <a:pt x="455" y="572"/>
                    <a:pt x="452" y="569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2" name="Freeform 64">
              <a:extLst>
                <a:ext uri="{FF2B5EF4-FFF2-40B4-BE49-F238E27FC236}">
                  <a16:creationId xmlns:a16="http://schemas.microsoft.com/office/drawing/2014/main" id="{1C1555D4-0519-4F8A-8004-1ACA39B93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3584575"/>
              <a:ext cx="41275" cy="63500"/>
            </a:xfrm>
            <a:custGeom>
              <a:avLst/>
              <a:gdLst/>
              <a:ahLst/>
              <a:cxnLst>
                <a:cxn ang="0">
                  <a:pos x="18" y="2"/>
                </a:cxn>
                <a:cxn ang="0">
                  <a:pos x="22" y="1"/>
                </a:cxn>
                <a:cxn ang="0">
                  <a:pos x="17" y="10"/>
                </a:cxn>
                <a:cxn ang="0">
                  <a:pos x="12" y="15"/>
                </a:cxn>
                <a:cxn ang="0">
                  <a:pos x="10" y="19"/>
                </a:cxn>
                <a:cxn ang="0">
                  <a:pos x="10" y="23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2" y="32"/>
                </a:cxn>
                <a:cxn ang="0">
                  <a:pos x="1" y="25"/>
                </a:cxn>
                <a:cxn ang="0">
                  <a:pos x="1" y="21"/>
                </a:cxn>
                <a:cxn ang="0">
                  <a:pos x="3" y="19"/>
                </a:cxn>
                <a:cxn ang="0">
                  <a:pos x="9" y="15"/>
                </a:cxn>
                <a:cxn ang="0">
                  <a:pos x="3" y="14"/>
                </a:cxn>
                <a:cxn ang="0">
                  <a:pos x="5" y="13"/>
                </a:cxn>
                <a:cxn ang="0">
                  <a:pos x="6" y="9"/>
                </a:cxn>
                <a:cxn ang="0">
                  <a:pos x="10" y="5"/>
                </a:cxn>
                <a:cxn ang="0">
                  <a:pos x="18" y="0"/>
                </a:cxn>
                <a:cxn ang="0">
                  <a:pos x="18" y="2"/>
                </a:cxn>
              </a:cxnLst>
              <a:rect l="0" t="0" r="r" b="b"/>
              <a:pathLst>
                <a:path w="22" h="34">
                  <a:moveTo>
                    <a:pt x="18" y="2"/>
                  </a:moveTo>
                  <a:cubicBezTo>
                    <a:pt x="19" y="1"/>
                    <a:pt x="21" y="1"/>
                    <a:pt x="22" y="1"/>
                  </a:cubicBezTo>
                  <a:cubicBezTo>
                    <a:pt x="22" y="4"/>
                    <a:pt x="19" y="7"/>
                    <a:pt x="17" y="10"/>
                  </a:cubicBezTo>
                  <a:cubicBezTo>
                    <a:pt x="16" y="11"/>
                    <a:pt x="14" y="13"/>
                    <a:pt x="12" y="15"/>
                  </a:cubicBezTo>
                  <a:cubicBezTo>
                    <a:pt x="12" y="16"/>
                    <a:pt x="11" y="17"/>
                    <a:pt x="10" y="19"/>
                  </a:cubicBezTo>
                  <a:cubicBezTo>
                    <a:pt x="10" y="20"/>
                    <a:pt x="10" y="21"/>
                    <a:pt x="10" y="23"/>
                  </a:cubicBezTo>
                  <a:cubicBezTo>
                    <a:pt x="10" y="26"/>
                    <a:pt x="8" y="29"/>
                    <a:pt x="6" y="32"/>
                  </a:cubicBezTo>
                  <a:cubicBezTo>
                    <a:pt x="6" y="32"/>
                    <a:pt x="6" y="33"/>
                    <a:pt x="5" y="34"/>
                  </a:cubicBezTo>
                  <a:cubicBezTo>
                    <a:pt x="4" y="34"/>
                    <a:pt x="3" y="32"/>
                    <a:pt x="2" y="32"/>
                  </a:cubicBezTo>
                  <a:cubicBezTo>
                    <a:pt x="1" y="29"/>
                    <a:pt x="2" y="27"/>
                    <a:pt x="1" y="25"/>
                  </a:cubicBezTo>
                  <a:cubicBezTo>
                    <a:pt x="1" y="23"/>
                    <a:pt x="0" y="23"/>
                    <a:pt x="1" y="21"/>
                  </a:cubicBezTo>
                  <a:cubicBezTo>
                    <a:pt x="1" y="20"/>
                    <a:pt x="2" y="19"/>
                    <a:pt x="3" y="19"/>
                  </a:cubicBezTo>
                  <a:cubicBezTo>
                    <a:pt x="5" y="17"/>
                    <a:pt x="8" y="17"/>
                    <a:pt x="9" y="15"/>
                  </a:cubicBezTo>
                  <a:cubicBezTo>
                    <a:pt x="8" y="13"/>
                    <a:pt x="2" y="18"/>
                    <a:pt x="3" y="14"/>
                  </a:cubicBezTo>
                  <a:cubicBezTo>
                    <a:pt x="3" y="14"/>
                    <a:pt x="4" y="13"/>
                    <a:pt x="5" y="13"/>
                  </a:cubicBezTo>
                  <a:cubicBezTo>
                    <a:pt x="5" y="12"/>
                    <a:pt x="5" y="10"/>
                    <a:pt x="6" y="9"/>
                  </a:cubicBezTo>
                  <a:cubicBezTo>
                    <a:pt x="7" y="7"/>
                    <a:pt x="8" y="7"/>
                    <a:pt x="10" y="5"/>
                  </a:cubicBezTo>
                  <a:cubicBezTo>
                    <a:pt x="13" y="4"/>
                    <a:pt x="15" y="0"/>
                    <a:pt x="18" y="0"/>
                  </a:cubicBezTo>
                  <a:lnTo>
                    <a:pt x="18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3" name="Freeform 65">
              <a:extLst>
                <a:ext uri="{FF2B5EF4-FFF2-40B4-BE49-F238E27FC236}">
                  <a16:creationId xmlns:a16="http://schemas.microsoft.com/office/drawing/2014/main" id="{EC64F4DB-4C78-40D8-88B4-E69BAD2609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2100" y="3638550"/>
              <a:ext cx="44450" cy="92075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9" y="11"/>
                </a:cxn>
                <a:cxn ang="0">
                  <a:pos x="6" y="13"/>
                </a:cxn>
                <a:cxn ang="0">
                  <a:pos x="5" y="13"/>
                </a:cxn>
                <a:cxn ang="0">
                  <a:pos x="3" y="16"/>
                </a:cxn>
                <a:cxn ang="0">
                  <a:pos x="3" y="23"/>
                </a:cxn>
                <a:cxn ang="0">
                  <a:pos x="4" y="28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6" y="38"/>
                </a:cxn>
                <a:cxn ang="0">
                  <a:pos x="7" y="38"/>
                </a:cxn>
                <a:cxn ang="0">
                  <a:pos x="8" y="40"/>
                </a:cxn>
                <a:cxn ang="0">
                  <a:pos x="1" y="40"/>
                </a:cxn>
                <a:cxn ang="0">
                  <a:pos x="0" y="44"/>
                </a:cxn>
                <a:cxn ang="0">
                  <a:pos x="2" y="48"/>
                </a:cxn>
                <a:cxn ang="0">
                  <a:pos x="7" y="47"/>
                </a:cxn>
                <a:cxn ang="0">
                  <a:pos x="11" y="44"/>
                </a:cxn>
                <a:cxn ang="0">
                  <a:pos x="12" y="41"/>
                </a:cxn>
                <a:cxn ang="0">
                  <a:pos x="10" y="37"/>
                </a:cxn>
                <a:cxn ang="0">
                  <a:pos x="11" y="34"/>
                </a:cxn>
                <a:cxn ang="0">
                  <a:pos x="12" y="31"/>
                </a:cxn>
                <a:cxn ang="0">
                  <a:pos x="14" y="29"/>
                </a:cxn>
                <a:cxn ang="0">
                  <a:pos x="13" y="25"/>
                </a:cxn>
                <a:cxn ang="0">
                  <a:pos x="13" y="19"/>
                </a:cxn>
                <a:cxn ang="0">
                  <a:pos x="14" y="13"/>
                </a:cxn>
                <a:cxn ang="0">
                  <a:pos x="17" y="9"/>
                </a:cxn>
                <a:cxn ang="0">
                  <a:pos x="22" y="6"/>
                </a:cxn>
                <a:cxn ang="0">
                  <a:pos x="19" y="2"/>
                </a:cxn>
                <a:cxn ang="0">
                  <a:pos x="19" y="0"/>
                </a:cxn>
              </a:cxnLst>
              <a:rect l="0" t="0" r="r" b="b"/>
              <a:pathLst>
                <a:path w="24" h="49">
                  <a:moveTo>
                    <a:pt x="19" y="0"/>
                  </a:moveTo>
                  <a:cubicBezTo>
                    <a:pt x="15" y="3"/>
                    <a:pt x="12" y="7"/>
                    <a:pt x="9" y="11"/>
                  </a:cubicBezTo>
                  <a:cubicBezTo>
                    <a:pt x="8" y="12"/>
                    <a:pt x="7" y="12"/>
                    <a:pt x="6" y="13"/>
                  </a:cubicBezTo>
                  <a:cubicBezTo>
                    <a:pt x="6" y="13"/>
                    <a:pt x="5" y="13"/>
                    <a:pt x="5" y="13"/>
                  </a:cubicBezTo>
                  <a:cubicBezTo>
                    <a:pt x="4" y="13"/>
                    <a:pt x="3" y="15"/>
                    <a:pt x="3" y="16"/>
                  </a:cubicBezTo>
                  <a:cubicBezTo>
                    <a:pt x="3" y="18"/>
                    <a:pt x="3" y="20"/>
                    <a:pt x="3" y="23"/>
                  </a:cubicBezTo>
                  <a:cubicBezTo>
                    <a:pt x="3" y="25"/>
                    <a:pt x="3" y="26"/>
                    <a:pt x="4" y="28"/>
                  </a:cubicBezTo>
                  <a:cubicBezTo>
                    <a:pt x="4" y="29"/>
                    <a:pt x="6" y="30"/>
                    <a:pt x="6" y="32"/>
                  </a:cubicBezTo>
                  <a:cubicBezTo>
                    <a:pt x="6" y="32"/>
                    <a:pt x="5" y="33"/>
                    <a:pt x="5" y="34"/>
                  </a:cubicBezTo>
                  <a:cubicBezTo>
                    <a:pt x="4" y="35"/>
                    <a:pt x="4" y="36"/>
                    <a:pt x="6" y="38"/>
                  </a:cubicBezTo>
                  <a:cubicBezTo>
                    <a:pt x="6" y="38"/>
                    <a:pt x="7" y="38"/>
                    <a:pt x="7" y="38"/>
                  </a:cubicBezTo>
                  <a:cubicBezTo>
                    <a:pt x="8" y="39"/>
                    <a:pt x="8" y="40"/>
                    <a:pt x="8" y="40"/>
                  </a:cubicBezTo>
                  <a:cubicBezTo>
                    <a:pt x="6" y="40"/>
                    <a:pt x="3" y="39"/>
                    <a:pt x="1" y="40"/>
                  </a:cubicBezTo>
                  <a:cubicBezTo>
                    <a:pt x="1" y="41"/>
                    <a:pt x="0" y="42"/>
                    <a:pt x="0" y="44"/>
                  </a:cubicBezTo>
                  <a:cubicBezTo>
                    <a:pt x="0" y="45"/>
                    <a:pt x="1" y="47"/>
                    <a:pt x="2" y="48"/>
                  </a:cubicBezTo>
                  <a:cubicBezTo>
                    <a:pt x="4" y="49"/>
                    <a:pt x="5" y="48"/>
                    <a:pt x="7" y="47"/>
                  </a:cubicBezTo>
                  <a:cubicBezTo>
                    <a:pt x="8" y="46"/>
                    <a:pt x="9" y="45"/>
                    <a:pt x="11" y="44"/>
                  </a:cubicBezTo>
                  <a:cubicBezTo>
                    <a:pt x="11" y="43"/>
                    <a:pt x="12" y="42"/>
                    <a:pt x="12" y="41"/>
                  </a:cubicBezTo>
                  <a:cubicBezTo>
                    <a:pt x="10" y="41"/>
                    <a:pt x="10" y="38"/>
                    <a:pt x="10" y="37"/>
                  </a:cubicBezTo>
                  <a:cubicBezTo>
                    <a:pt x="10" y="35"/>
                    <a:pt x="11" y="35"/>
                    <a:pt x="11" y="34"/>
                  </a:cubicBezTo>
                  <a:cubicBezTo>
                    <a:pt x="12" y="33"/>
                    <a:pt x="12" y="32"/>
                    <a:pt x="12" y="31"/>
                  </a:cubicBezTo>
                  <a:cubicBezTo>
                    <a:pt x="12" y="30"/>
                    <a:pt x="13" y="29"/>
                    <a:pt x="14" y="29"/>
                  </a:cubicBezTo>
                  <a:cubicBezTo>
                    <a:pt x="14" y="28"/>
                    <a:pt x="13" y="26"/>
                    <a:pt x="13" y="25"/>
                  </a:cubicBezTo>
                  <a:cubicBezTo>
                    <a:pt x="13" y="23"/>
                    <a:pt x="13" y="21"/>
                    <a:pt x="13" y="19"/>
                  </a:cubicBezTo>
                  <a:cubicBezTo>
                    <a:pt x="14" y="17"/>
                    <a:pt x="14" y="15"/>
                    <a:pt x="14" y="13"/>
                  </a:cubicBezTo>
                  <a:cubicBezTo>
                    <a:pt x="14" y="10"/>
                    <a:pt x="14" y="10"/>
                    <a:pt x="17" y="9"/>
                  </a:cubicBezTo>
                  <a:cubicBezTo>
                    <a:pt x="19" y="8"/>
                    <a:pt x="21" y="8"/>
                    <a:pt x="22" y="6"/>
                  </a:cubicBezTo>
                  <a:cubicBezTo>
                    <a:pt x="24" y="2"/>
                    <a:pt x="20" y="4"/>
                    <a:pt x="19" y="2"/>
                  </a:cubicBezTo>
                  <a:lnTo>
                    <a:pt x="19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4" name="Freeform 66">
              <a:extLst>
                <a:ext uri="{FF2B5EF4-FFF2-40B4-BE49-F238E27FC236}">
                  <a16:creationId xmlns:a16="http://schemas.microsoft.com/office/drawing/2014/main" id="{2CA16966-2E5D-456C-B07C-A8C70D288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3850" y="3654425"/>
              <a:ext cx="36513" cy="60325"/>
            </a:xfrm>
            <a:custGeom>
              <a:avLst/>
              <a:gdLst/>
              <a:ahLst/>
              <a:cxnLst>
                <a:cxn ang="0">
                  <a:pos x="13" y="5"/>
                </a:cxn>
                <a:cxn ang="0">
                  <a:pos x="0" y="5"/>
                </a:cxn>
                <a:cxn ang="0">
                  <a:pos x="2" y="14"/>
                </a:cxn>
                <a:cxn ang="0">
                  <a:pos x="4" y="17"/>
                </a:cxn>
                <a:cxn ang="0">
                  <a:pos x="4" y="20"/>
                </a:cxn>
                <a:cxn ang="0">
                  <a:pos x="6" y="26"/>
                </a:cxn>
                <a:cxn ang="0">
                  <a:pos x="13" y="30"/>
                </a:cxn>
                <a:cxn ang="0">
                  <a:pos x="16" y="31"/>
                </a:cxn>
                <a:cxn ang="0">
                  <a:pos x="19" y="25"/>
                </a:cxn>
                <a:cxn ang="0">
                  <a:pos x="13" y="19"/>
                </a:cxn>
                <a:cxn ang="0">
                  <a:pos x="15" y="16"/>
                </a:cxn>
                <a:cxn ang="0">
                  <a:pos x="16" y="13"/>
                </a:cxn>
                <a:cxn ang="0">
                  <a:pos x="16" y="11"/>
                </a:cxn>
                <a:cxn ang="0">
                  <a:pos x="16" y="9"/>
                </a:cxn>
                <a:cxn ang="0">
                  <a:pos x="13" y="7"/>
                </a:cxn>
                <a:cxn ang="0">
                  <a:pos x="13" y="5"/>
                </a:cxn>
              </a:cxnLst>
              <a:rect l="0" t="0" r="r" b="b"/>
              <a:pathLst>
                <a:path w="20" h="32">
                  <a:moveTo>
                    <a:pt x="13" y="5"/>
                  </a:moveTo>
                  <a:cubicBezTo>
                    <a:pt x="11" y="1"/>
                    <a:pt x="2" y="0"/>
                    <a:pt x="0" y="5"/>
                  </a:cubicBezTo>
                  <a:cubicBezTo>
                    <a:pt x="0" y="8"/>
                    <a:pt x="1" y="11"/>
                    <a:pt x="2" y="14"/>
                  </a:cubicBezTo>
                  <a:cubicBezTo>
                    <a:pt x="3" y="15"/>
                    <a:pt x="4" y="16"/>
                    <a:pt x="4" y="17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2"/>
                    <a:pt x="4" y="24"/>
                    <a:pt x="6" y="26"/>
                  </a:cubicBezTo>
                  <a:cubicBezTo>
                    <a:pt x="8" y="28"/>
                    <a:pt x="10" y="29"/>
                    <a:pt x="13" y="30"/>
                  </a:cubicBezTo>
                  <a:cubicBezTo>
                    <a:pt x="14" y="30"/>
                    <a:pt x="15" y="31"/>
                    <a:pt x="16" y="31"/>
                  </a:cubicBezTo>
                  <a:cubicBezTo>
                    <a:pt x="20" y="32"/>
                    <a:pt x="19" y="27"/>
                    <a:pt x="19" y="25"/>
                  </a:cubicBezTo>
                  <a:cubicBezTo>
                    <a:pt x="19" y="21"/>
                    <a:pt x="16" y="19"/>
                    <a:pt x="13" y="19"/>
                  </a:cubicBezTo>
                  <a:cubicBezTo>
                    <a:pt x="15" y="20"/>
                    <a:pt x="15" y="18"/>
                    <a:pt x="15" y="16"/>
                  </a:cubicBezTo>
                  <a:cubicBezTo>
                    <a:pt x="16" y="15"/>
                    <a:pt x="16" y="14"/>
                    <a:pt x="16" y="13"/>
                  </a:cubicBezTo>
                  <a:cubicBezTo>
                    <a:pt x="16" y="13"/>
                    <a:pt x="16" y="12"/>
                    <a:pt x="16" y="11"/>
                  </a:cubicBezTo>
                  <a:cubicBezTo>
                    <a:pt x="16" y="11"/>
                    <a:pt x="16" y="10"/>
                    <a:pt x="16" y="9"/>
                  </a:cubicBezTo>
                  <a:cubicBezTo>
                    <a:pt x="15" y="7"/>
                    <a:pt x="14" y="8"/>
                    <a:pt x="13" y="7"/>
                  </a:cubicBezTo>
                  <a:lnTo>
                    <a:pt x="13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5" name="Freeform 67">
              <a:extLst>
                <a:ext uri="{FF2B5EF4-FFF2-40B4-BE49-F238E27FC236}">
                  <a16:creationId xmlns:a16="http://schemas.microsoft.com/office/drawing/2014/main" id="{F258C61B-8DF8-4BBF-94CA-2E56468EE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7488" y="3619500"/>
              <a:ext cx="46038" cy="6508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7" y="1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6"/>
                </a:cxn>
                <a:cxn ang="0">
                  <a:pos x="4" y="11"/>
                </a:cxn>
                <a:cxn ang="0">
                  <a:pos x="3" y="12"/>
                </a:cxn>
                <a:cxn ang="0">
                  <a:pos x="1" y="13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3" y="24"/>
                </a:cxn>
                <a:cxn ang="0">
                  <a:pos x="4" y="21"/>
                </a:cxn>
                <a:cxn ang="0">
                  <a:pos x="6" y="19"/>
                </a:cxn>
                <a:cxn ang="0">
                  <a:pos x="7" y="18"/>
                </a:cxn>
                <a:cxn ang="0">
                  <a:pos x="10" y="17"/>
                </a:cxn>
                <a:cxn ang="0">
                  <a:pos x="15" y="14"/>
                </a:cxn>
                <a:cxn ang="0">
                  <a:pos x="11" y="19"/>
                </a:cxn>
                <a:cxn ang="0">
                  <a:pos x="8" y="21"/>
                </a:cxn>
                <a:cxn ang="0">
                  <a:pos x="11" y="24"/>
                </a:cxn>
                <a:cxn ang="0">
                  <a:pos x="9" y="27"/>
                </a:cxn>
                <a:cxn ang="0">
                  <a:pos x="11" y="31"/>
                </a:cxn>
                <a:cxn ang="0">
                  <a:pos x="10" y="34"/>
                </a:cxn>
                <a:cxn ang="0">
                  <a:pos x="15" y="30"/>
                </a:cxn>
                <a:cxn ang="0">
                  <a:pos x="22" y="30"/>
                </a:cxn>
                <a:cxn ang="0">
                  <a:pos x="24" y="26"/>
                </a:cxn>
                <a:cxn ang="0">
                  <a:pos x="21" y="16"/>
                </a:cxn>
                <a:cxn ang="0">
                  <a:pos x="19" y="16"/>
                </a:cxn>
                <a:cxn ang="0">
                  <a:pos x="19" y="14"/>
                </a:cxn>
                <a:cxn ang="0">
                  <a:pos x="19" y="9"/>
                </a:cxn>
                <a:cxn ang="0">
                  <a:pos x="18" y="2"/>
                </a:cxn>
                <a:cxn ang="0">
                  <a:pos x="18" y="0"/>
                </a:cxn>
              </a:cxnLst>
              <a:rect l="0" t="0" r="r" b="b"/>
              <a:pathLst>
                <a:path w="25" h="35">
                  <a:moveTo>
                    <a:pt x="18" y="0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5" y="2"/>
                    <a:pt x="13" y="1"/>
                    <a:pt x="12" y="4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2" y="6"/>
                    <a:pt x="11" y="6"/>
                    <a:pt x="11" y="7"/>
                  </a:cubicBezTo>
                  <a:cubicBezTo>
                    <a:pt x="10" y="8"/>
                    <a:pt x="10" y="9"/>
                    <a:pt x="10" y="10"/>
                  </a:cubicBezTo>
                  <a:cubicBezTo>
                    <a:pt x="9" y="9"/>
                    <a:pt x="8" y="5"/>
                    <a:pt x="6" y="6"/>
                  </a:cubicBezTo>
                  <a:cubicBezTo>
                    <a:pt x="5" y="6"/>
                    <a:pt x="5" y="10"/>
                    <a:pt x="4" y="11"/>
                  </a:cubicBezTo>
                  <a:cubicBezTo>
                    <a:pt x="3" y="12"/>
                    <a:pt x="4" y="12"/>
                    <a:pt x="3" y="12"/>
                  </a:cubicBezTo>
                  <a:cubicBezTo>
                    <a:pt x="2" y="13"/>
                    <a:pt x="1" y="12"/>
                    <a:pt x="1" y="13"/>
                  </a:cubicBezTo>
                  <a:cubicBezTo>
                    <a:pt x="0" y="15"/>
                    <a:pt x="1" y="17"/>
                    <a:pt x="1" y="19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0" y="24"/>
                    <a:pt x="2" y="25"/>
                    <a:pt x="3" y="24"/>
                  </a:cubicBezTo>
                  <a:cubicBezTo>
                    <a:pt x="5" y="23"/>
                    <a:pt x="4" y="23"/>
                    <a:pt x="4" y="21"/>
                  </a:cubicBezTo>
                  <a:cubicBezTo>
                    <a:pt x="5" y="20"/>
                    <a:pt x="5" y="20"/>
                    <a:pt x="6" y="19"/>
                  </a:cubicBezTo>
                  <a:cubicBezTo>
                    <a:pt x="6" y="19"/>
                    <a:pt x="6" y="18"/>
                    <a:pt x="7" y="18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1" y="16"/>
                    <a:pt x="13" y="15"/>
                    <a:pt x="15" y="14"/>
                  </a:cubicBezTo>
                  <a:cubicBezTo>
                    <a:pt x="15" y="17"/>
                    <a:pt x="12" y="18"/>
                    <a:pt x="11" y="19"/>
                  </a:cubicBezTo>
                  <a:cubicBezTo>
                    <a:pt x="10" y="20"/>
                    <a:pt x="9" y="21"/>
                    <a:pt x="8" y="21"/>
                  </a:cubicBezTo>
                  <a:cubicBezTo>
                    <a:pt x="9" y="22"/>
                    <a:pt x="10" y="23"/>
                    <a:pt x="11" y="24"/>
                  </a:cubicBezTo>
                  <a:cubicBezTo>
                    <a:pt x="11" y="25"/>
                    <a:pt x="9" y="26"/>
                    <a:pt x="9" y="27"/>
                  </a:cubicBezTo>
                  <a:cubicBezTo>
                    <a:pt x="8" y="29"/>
                    <a:pt x="11" y="29"/>
                    <a:pt x="11" y="31"/>
                  </a:cubicBezTo>
                  <a:cubicBezTo>
                    <a:pt x="10" y="32"/>
                    <a:pt x="10" y="33"/>
                    <a:pt x="10" y="34"/>
                  </a:cubicBezTo>
                  <a:cubicBezTo>
                    <a:pt x="14" y="35"/>
                    <a:pt x="15" y="33"/>
                    <a:pt x="15" y="30"/>
                  </a:cubicBezTo>
                  <a:cubicBezTo>
                    <a:pt x="16" y="32"/>
                    <a:pt x="20" y="31"/>
                    <a:pt x="22" y="30"/>
                  </a:cubicBezTo>
                  <a:cubicBezTo>
                    <a:pt x="23" y="29"/>
                    <a:pt x="24" y="27"/>
                    <a:pt x="24" y="26"/>
                  </a:cubicBezTo>
                  <a:cubicBezTo>
                    <a:pt x="25" y="23"/>
                    <a:pt x="23" y="18"/>
                    <a:pt x="21" y="16"/>
                  </a:cubicBezTo>
                  <a:cubicBezTo>
                    <a:pt x="20" y="16"/>
                    <a:pt x="20" y="16"/>
                    <a:pt x="19" y="16"/>
                  </a:cubicBezTo>
                  <a:cubicBezTo>
                    <a:pt x="19" y="15"/>
                    <a:pt x="19" y="14"/>
                    <a:pt x="19" y="14"/>
                  </a:cubicBezTo>
                  <a:cubicBezTo>
                    <a:pt x="19" y="12"/>
                    <a:pt x="19" y="11"/>
                    <a:pt x="19" y="9"/>
                  </a:cubicBezTo>
                  <a:cubicBezTo>
                    <a:pt x="19" y="7"/>
                    <a:pt x="20" y="2"/>
                    <a:pt x="18" y="2"/>
                  </a:cubicBezTo>
                  <a:lnTo>
                    <a:pt x="18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6" name="Freeform 68">
              <a:extLst>
                <a:ext uri="{FF2B5EF4-FFF2-40B4-BE49-F238E27FC236}">
                  <a16:creationId xmlns:a16="http://schemas.microsoft.com/office/drawing/2014/main" id="{AE7DDB66-34FF-406D-B659-8F7790D2E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6538" y="3581400"/>
              <a:ext cx="14288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" y="4"/>
                </a:cxn>
                <a:cxn ang="0">
                  <a:pos x="0" y="10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6" y="6"/>
                </a:cxn>
                <a:cxn ang="0">
                  <a:pos x="8" y="3"/>
                </a:cxn>
                <a:cxn ang="0">
                  <a:pos x="8" y="0"/>
                </a:cxn>
              </a:cxnLst>
              <a:rect l="0" t="0" r="r" b="b"/>
              <a:pathLst>
                <a:path w="8" h="13">
                  <a:moveTo>
                    <a:pt x="8" y="0"/>
                  </a:moveTo>
                  <a:cubicBezTo>
                    <a:pt x="5" y="0"/>
                    <a:pt x="3" y="3"/>
                    <a:pt x="2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1" y="11"/>
                    <a:pt x="0" y="12"/>
                    <a:pt x="1" y="12"/>
                  </a:cubicBezTo>
                  <a:cubicBezTo>
                    <a:pt x="1" y="13"/>
                    <a:pt x="3" y="12"/>
                    <a:pt x="3" y="12"/>
                  </a:cubicBezTo>
                  <a:cubicBezTo>
                    <a:pt x="5" y="11"/>
                    <a:pt x="5" y="8"/>
                    <a:pt x="6" y="6"/>
                  </a:cubicBezTo>
                  <a:cubicBezTo>
                    <a:pt x="7" y="5"/>
                    <a:pt x="8" y="4"/>
                    <a:pt x="8" y="3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7" name="Freeform 69">
              <a:extLst>
                <a:ext uri="{FF2B5EF4-FFF2-40B4-BE49-F238E27FC236}">
                  <a16:creationId xmlns:a16="http://schemas.microsoft.com/office/drawing/2014/main" id="{E1D0E04F-787C-4C5E-B00C-6EB1B39FA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8275" y="3482975"/>
              <a:ext cx="58738" cy="39688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0" y="7"/>
                </a:cxn>
                <a:cxn ang="0">
                  <a:pos x="19" y="9"/>
                </a:cxn>
                <a:cxn ang="0">
                  <a:pos x="16" y="10"/>
                </a:cxn>
                <a:cxn ang="0">
                  <a:pos x="15" y="12"/>
                </a:cxn>
                <a:cxn ang="0">
                  <a:pos x="13" y="13"/>
                </a:cxn>
                <a:cxn ang="0">
                  <a:pos x="9" y="15"/>
                </a:cxn>
                <a:cxn ang="0">
                  <a:pos x="4" y="15"/>
                </a:cxn>
                <a:cxn ang="0">
                  <a:pos x="0" y="19"/>
                </a:cxn>
                <a:cxn ang="0">
                  <a:pos x="3" y="22"/>
                </a:cxn>
                <a:cxn ang="0">
                  <a:pos x="5" y="18"/>
                </a:cxn>
                <a:cxn ang="0">
                  <a:pos x="10" y="18"/>
                </a:cxn>
                <a:cxn ang="0">
                  <a:pos x="14" y="15"/>
                </a:cxn>
                <a:cxn ang="0">
                  <a:pos x="15" y="12"/>
                </a:cxn>
                <a:cxn ang="0">
                  <a:pos x="21" y="11"/>
                </a:cxn>
                <a:cxn ang="0">
                  <a:pos x="23" y="10"/>
                </a:cxn>
                <a:cxn ang="0">
                  <a:pos x="28" y="6"/>
                </a:cxn>
                <a:cxn ang="0">
                  <a:pos x="31" y="1"/>
                </a:cxn>
                <a:cxn ang="0">
                  <a:pos x="27" y="0"/>
                </a:cxn>
              </a:cxnLst>
              <a:rect l="0" t="0" r="r" b="b"/>
              <a:pathLst>
                <a:path w="31" h="22">
                  <a:moveTo>
                    <a:pt x="27" y="0"/>
                  </a:moveTo>
                  <a:cubicBezTo>
                    <a:pt x="24" y="2"/>
                    <a:pt x="21" y="4"/>
                    <a:pt x="20" y="7"/>
                  </a:cubicBezTo>
                  <a:cubicBezTo>
                    <a:pt x="19" y="8"/>
                    <a:pt x="19" y="9"/>
                    <a:pt x="19" y="9"/>
                  </a:cubicBezTo>
                  <a:cubicBezTo>
                    <a:pt x="18" y="11"/>
                    <a:pt x="17" y="9"/>
                    <a:pt x="16" y="10"/>
                  </a:cubicBezTo>
                  <a:cubicBezTo>
                    <a:pt x="14" y="11"/>
                    <a:pt x="15" y="11"/>
                    <a:pt x="15" y="12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2" y="13"/>
                    <a:pt x="8" y="14"/>
                    <a:pt x="9" y="15"/>
                  </a:cubicBezTo>
                  <a:cubicBezTo>
                    <a:pt x="7" y="16"/>
                    <a:pt x="6" y="15"/>
                    <a:pt x="4" y="15"/>
                  </a:cubicBezTo>
                  <a:cubicBezTo>
                    <a:pt x="2" y="15"/>
                    <a:pt x="1" y="16"/>
                    <a:pt x="0" y="19"/>
                  </a:cubicBezTo>
                  <a:cubicBezTo>
                    <a:pt x="0" y="21"/>
                    <a:pt x="1" y="21"/>
                    <a:pt x="3" y="22"/>
                  </a:cubicBezTo>
                  <a:cubicBezTo>
                    <a:pt x="6" y="22"/>
                    <a:pt x="4" y="20"/>
                    <a:pt x="5" y="18"/>
                  </a:cubicBezTo>
                  <a:cubicBezTo>
                    <a:pt x="8" y="20"/>
                    <a:pt x="7" y="19"/>
                    <a:pt x="10" y="18"/>
                  </a:cubicBezTo>
                  <a:cubicBezTo>
                    <a:pt x="12" y="18"/>
                    <a:pt x="14" y="18"/>
                    <a:pt x="14" y="15"/>
                  </a:cubicBezTo>
                  <a:cubicBezTo>
                    <a:pt x="14" y="13"/>
                    <a:pt x="15" y="13"/>
                    <a:pt x="15" y="12"/>
                  </a:cubicBezTo>
                  <a:cubicBezTo>
                    <a:pt x="17" y="11"/>
                    <a:pt x="19" y="11"/>
                    <a:pt x="21" y="11"/>
                  </a:cubicBezTo>
                  <a:cubicBezTo>
                    <a:pt x="22" y="11"/>
                    <a:pt x="22" y="11"/>
                    <a:pt x="23" y="10"/>
                  </a:cubicBezTo>
                  <a:cubicBezTo>
                    <a:pt x="25" y="9"/>
                    <a:pt x="27" y="8"/>
                    <a:pt x="28" y="6"/>
                  </a:cubicBezTo>
                  <a:cubicBezTo>
                    <a:pt x="29" y="5"/>
                    <a:pt x="30" y="2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8" name="Freeform 70">
              <a:extLst>
                <a:ext uri="{FF2B5EF4-FFF2-40B4-BE49-F238E27FC236}">
                  <a16:creationId xmlns:a16="http://schemas.microsoft.com/office/drawing/2014/main" id="{E2E79EAE-4126-46F6-952D-955FF015D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9238" y="3435350"/>
              <a:ext cx="7938" cy="952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0" y="5"/>
                </a:cxn>
                <a:cxn ang="0">
                  <a:pos x="2" y="1"/>
                </a:cxn>
                <a:cxn ang="0">
                  <a:pos x="3" y="2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4" y="4"/>
                    <a:pt x="2" y="5"/>
                    <a:pt x="0" y="5"/>
                  </a:cubicBezTo>
                  <a:cubicBezTo>
                    <a:pt x="0" y="4"/>
                    <a:pt x="0" y="0"/>
                    <a:pt x="2" y="1"/>
                  </a:cubicBezTo>
                  <a:cubicBezTo>
                    <a:pt x="2" y="1"/>
                    <a:pt x="2" y="2"/>
                    <a:pt x="3" y="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9" name="Freeform 71">
              <a:extLst>
                <a:ext uri="{FF2B5EF4-FFF2-40B4-BE49-F238E27FC236}">
                  <a16:creationId xmlns:a16="http://schemas.microsoft.com/office/drawing/2014/main" id="{E4CF504F-5977-4157-B1AD-C5AEE8D55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538" y="3416300"/>
              <a:ext cx="22225" cy="26988"/>
            </a:xfrm>
            <a:custGeom>
              <a:avLst/>
              <a:gdLst/>
              <a:ahLst/>
              <a:cxnLst>
                <a:cxn ang="0">
                  <a:pos x="12" y="5"/>
                </a:cxn>
                <a:cxn ang="0">
                  <a:pos x="10" y="0"/>
                </a:cxn>
                <a:cxn ang="0">
                  <a:pos x="7" y="3"/>
                </a:cxn>
                <a:cxn ang="0">
                  <a:pos x="1" y="9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9"/>
                </a:cxn>
                <a:cxn ang="0">
                  <a:pos x="8" y="7"/>
                </a:cxn>
                <a:cxn ang="0">
                  <a:pos x="11" y="4"/>
                </a:cxn>
                <a:cxn ang="0">
                  <a:pos x="12" y="5"/>
                </a:cxn>
              </a:cxnLst>
              <a:rect l="0" t="0" r="r" b="b"/>
              <a:pathLst>
                <a:path w="12" h="14">
                  <a:moveTo>
                    <a:pt x="12" y="5"/>
                  </a:moveTo>
                  <a:cubicBezTo>
                    <a:pt x="12" y="3"/>
                    <a:pt x="12" y="1"/>
                    <a:pt x="10" y="0"/>
                  </a:cubicBezTo>
                  <a:cubicBezTo>
                    <a:pt x="7" y="0"/>
                    <a:pt x="8" y="2"/>
                    <a:pt x="7" y="3"/>
                  </a:cubicBezTo>
                  <a:cubicBezTo>
                    <a:pt x="6" y="6"/>
                    <a:pt x="2" y="6"/>
                    <a:pt x="1" y="9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1" y="14"/>
                    <a:pt x="4" y="14"/>
                    <a:pt x="4" y="12"/>
                  </a:cubicBezTo>
                  <a:cubicBezTo>
                    <a:pt x="4" y="11"/>
                    <a:pt x="3" y="10"/>
                    <a:pt x="4" y="9"/>
                  </a:cubicBezTo>
                  <a:cubicBezTo>
                    <a:pt x="4" y="8"/>
                    <a:pt x="7" y="7"/>
                    <a:pt x="8" y="7"/>
                  </a:cubicBezTo>
                  <a:cubicBezTo>
                    <a:pt x="9" y="6"/>
                    <a:pt x="11" y="6"/>
                    <a:pt x="11" y="4"/>
                  </a:cubicBezTo>
                  <a:lnTo>
                    <a:pt x="12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0" name="Freeform 72">
              <a:extLst>
                <a:ext uri="{FF2B5EF4-FFF2-40B4-BE49-F238E27FC236}">
                  <a16:creationId xmlns:a16="http://schemas.microsoft.com/office/drawing/2014/main" id="{24D0F934-976A-4845-ADE8-A1C89C88F8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3455988"/>
              <a:ext cx="6350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2" y="3"/>
                    <a:pt x="3" y="2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1" name="Freeform 73">
              <a:extLst>
                <a:ext uri="{FF2B5EF4-FFF2-40B4-BE49-F238E27FC236}">
                  <a16:creationId xmlns:a16="http://schemas.microsoft.com/office/drawing/2014/main" id="{128D0053-03A8-44F1-8547-B1BEA64D4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300" y="3294063"/>
              <a:ext cx="42863" cy="120650"/>
            </a:xfrm>
            <a:custGeom>
              <a:avLst/>
              <a:gdLst/>
              <a:ahLst/>
              <a:cxnLst>
                <a:cxn ang="0">
                  <a:pos x="7" y="61"/>
                </a:cxn>
                <a:cxn ang="0">
                  <a:pos x="12" y="62"/>
                </a:cxn>
                <a:cxn ang="0">
                  <a:pos x="12" y="65"/>
                </a:cxn>
                <a:cxn ang="0">
                  <a:pos x="14" y="61"/>
                </a:cxn>
                <a:cxn ang="0">
                  <a:pos x="15" y="58"/>
                </a:cxn>
                <a:cxn ang="0">
                  <a:pos x="17" y="58"/>
                </a:cxn>
                <a:cxn ang="0">
                  <a:pos x="14" y="57"/>
                </a:cxn>
                <a:cxn ang="0">
                  <a:pos x="14" y="55"/>
                </a:cxn>
                <a:cxn ang="0">
                  <a:pos x="13" y="50"/>
                </a:cxn>
                <a:cxn ang="0">
                  <a:pos x="16" y="47"/>
                </a:cxn>
                <a:cxn ang="0">
                  <a:pos x="13" y="41"/>
                </a:cxn>
                <a:cxn ang="0">
                  <a:pos x="14" y="38"/>
                </a:cxn>
                <a:cxn ang="0">
                  <a:pos x="12" y="37"/>
                </a:cxn>
                <a:cxn ang="0">
                  <a:pos x="13" y="33"/>
                </a:cxn>
                <a:cxn ang="0">
                  <a:pos x="12" y="31"/>
                </a:cxn>
                <a:cxn ang="0">
                  <a:pos x="16" y="30"/>
                </a:cxn>
                <a:cxn ang="0">
                  <a:pos x="13" y="25"/>
                </a:cxn>
                <a:cxn ang="0">
                  <a:pos x="20" y="22"/>
                </a:cxn>
                <a:cxn ang="0">
                  <a:pos x="20" y="18"/>
                </a:cxn>
                <a:cxn ang="0">
                  <a:pos x="20" y="17"/>
                </a:cxn>
                <a:cxn ang="0">
                  <a:pos x="19" y="13"/>
                </a:cxn>
                <a:cxn ang="0">
                  <a:pos x="22" y="12"/>
                </a:cxn>
                <a:cxn ang="0">
                  <a:pos x="23" y="6"/>
                </a:cxn>
                <a:cxn ang="0">
                  <a:pos x="20" y="4"/>
                </a:cxn>
                <a:cxn ang="0">
                  <a:pos x="20" y="5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7" y="5"/>
                </a:cxn>
                <a:cxn ang="0">
                  <a:pos x="2" y="2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6" y="14"/>
                </a:cxn>
                <a:cxn ang="0">
                  <a:pos x="6" y="17"/>
                </a:cxn>
                <a:cxn ang="0">
                  <a:pos x="8" y="17"/>
                </a:cxn>
                <a:cxn ang="0">
                  <a:pos x="8" y="20"/>
                </a:cxn>
                <a:cxn ang="0">
                  <a:pos x="9" y="20"/>
                </a:cxn>
                <a:cxn ang="0">
                  <a:pos x="4" y="23"/>
                </a:cxn>
                <a:cxn ang="0">
                  <a:pos x="8" y="27"/>
                </a:cxn>
                <a:cxn ang="0">
                  <a:pos x="2" y="32"/>
                </a:cxn>
                <a:cxn ang="0">
                  <a:pos x="3" y="33"/>
                </a:cxn>
                <a:cxn ang="0">
                  <a:pos x="4" y="34"/>
                </a:cxn>
                <a:cxn ang="0">
                  <a:pos x="5" y="39"/>
                </a:cxn>
                <a:cxn ang="0">
                  <a:pos x="6" y="41"/>
                </a:cxn>
                <a:cxn ang="0">
                  <a:pos x="5" y="41"/>
                </a:cxn>
                <a:cxn ang="0">
                  <a:pos x="4" y="44"/>
                </a:cxn>
                <a:cxn ang="0">
                  <a:pos x="6" y="55"/>
                </a:cxn>
                <a:cxn ang="0">
                  <a:pos x="6" y="58"/>
                </a:cxn>
                <a:cxn ang="0">
                  <a:pos x="9" y="61"/>
                </a:cxn>
                <a:cxn ang="0">
                  <a:pos x="10" y="61"/>
                </a:cxn>
                <a:cxn ang="0">
                  <a:pos x="7" y="61"/>
                </a:cxn>
              </a:cxnLst>
              <a:rect l="0" t="0" r="r" b="b"/>
              <a:pathLst>
                <a:path w="23" h="65">
                  <a:moveTo>
                    <a:pt x="7" y="61"/>
                  </a:moveTo>
                  <a:cubicBezTo>
                    <a:pt x="9" y="62"/>
                    <a:pt x="10" y="62"/>
                    <a:pt x="12" y="62"/>
                  </a:cubicBezTo>
                  <a:cubicBezTo>
                    <a:pt x="13" y="63"/>
                    <a:pt x="12" y="64"/>
                    <a:pt x="12" y="65"/>
                  </a:cubicBezTo>
                  <a:cubicBezTo>
                    <a:pt x="13" y="64"/>
                    <a:pt x="14" y="63"/>
                    <a:pt x="14" y="61"/>
                  </a:cubicBezTo>
                  <a:cubicBezTo>
                    <a:pt x="15" y="60"/>
                    <a:pt x="14" y="59"/>
                    <a:pt x="15" y="58"/>
                  </a:cubicBezTo>
                  <a:cubicBezTo>
                    <a:pt x="15" y="58"/>
                    <a:pt x="16" y="58"/>
                    <a:pt x="17" y="58"/>
                  </a:cubicBezTo>
                  <a:cubicBezTo>
                    <a:pt x="17" y="57"/>
                    <a:pt x="15" y="57"/>
                    <a:pt x="14" y="57"/>
                  </a:cubicBezTo>
                  <a:cubicBezTo>
                    <a:pt x="13" y="56"/>
                    <a:pt x="14" y="56"/>
                    <a:pt x="14" y="55"/>
                  </a:cubicBezTo>
                  <a:cubicBezTo>
                    <a:pt x="13" y="53"/>
                    <a:pt x="15" y="52"/>
                    <a:pt x="13" y="50"/>
                  </a:cubicBezTo>
                  <a:cubicBezTo>
                    <a:pt x="14" y="49"/>
                    <a:pt x="15" y="47"/>
                    <a:pt x="16" y="47"/>
                  </a:cubicBezTo>
                  <a:cubicBezTo>
                    <a:pt x="17" y="44"/>
                    <a:pt x="14" y="43"/>
                    <a:pt x="13" y="41"/>
                  </a:cubicBezTo>
                  <a:cubicBezTo>
                    <a:pt x="13" y="40"/>
                    <a:pt x="15" y="39"/>
                    <a:pt x="14" y="38"/>
                  </a:cubicBezTo>
                  <a:cubicBezTo>
                    <a:pt x="14" y="37"/>
                    <a:pt x="13" y="38"/>
                    <a:pt x="12" y="37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32"/>
                    <a:pt x="12" y="32"/>
                    <a:pt x="12" y="31"/>
                  </a:cubicBezTo>
                  <a:cubicBezTo>
                    <a:pt x="13" y="30"/>
                    <a:pt x="16" y="32"/>
                    <a:pt x="16" y="30"/>
                  </a:cubicBezTo>
                  <a:cubicBezTo>
                    <a:pt x="17" y="28"/>
                    <a:pt x="11" y="28"/>
                    <a:pt x="13" y="25"/>
                  </a:cubicBezTo>
                  <a:cubicBezTo>
                    <a:pt x="15" y="25"/>
                    <a:pt x="17" y="22"/>
                    <a:pt x="20" y="22"/>
                  </a:cubicBezTo>
                  <a:cubicBezTo>
                    <a:pt x="20" y="20"/>
                    <a:pt x="20" y="20"/>
                    <a:pt x="20" y="18"/>
                  </a:cubicBezTo>
                  <a:cubicBezTo>
                    <a:pt x="21" y="19"/>
                    <a:pt x="21" y="17"/>
                    <a:pt x="20" y="17"/>
                  </a:cubicBezTo>
                  <a:cubicBezTo>
                    <a:pt x="19" y="15"/>
                    <a:pt x="18" y="14"/>
                    <a:pt x="19" y="13"/>
                  </a:cubicBezTo>
                  <a:cubicBezTo>
                    <a:pt x="20" y="12"/>
                    <a:pt x="22" y="14"/>
                    <a:pt x="22" y="12"/>
                  </a:cubicBezTo>
                  <a:cubicBezTo>
                    <a:pt x="23" y="10"/>
                    <a:pt x="23" y="8"/>
                    <a:pt x="23" y="6"/>
                  </a:cubicBezTo>
                  <a:cubicBezTo>
                    <a:pt x="23" y="5"/>
                    <a:pt x="22" y="3"/>
                    <a:pt x="20" y="4"/>
                  </a:cubicBezTo>
                  <a:cubicBezTo>
                    <a:pt x="20" y="4"/>
                    <a:pt x="21" y="5"/>
                    <a:pt x="20" y="5"/>
                  </a:cubicBezTo>
                  <a:cubicBezTo>
                    <a:pt x="19" y="6"/>
                    <a:pt x="17" y="2"/>
                    <a:pt x="16" y="2"/>
                  </a:cubicBezTo>
                  <a:cubicBezTo>
                    <a:pt x="15" y="0"/>
                    <a:pt x="14" y="1"/>
                    <a:pt x="13" y="2"/>
                  </a:cubicBezTo>
                  <a:cubicBezTo>
                    <a:pt x="11" y="4"/>
                    <a:pt x="10" y="6"/>
                    <a:pt x="7" y="5"/>
                  </a:cubicBezTo>
                  <a:cubicBezTo>
                    <a:pt x="5" y="4"/>
                    <a:pt x="4" y="2"/>
                    <a:pt x="2" y="2"/>
                  </a:cubicBezTo>
                  <a:cubicBezTo>
                    <a:pt x="0" y="3"/>
                    <a:pt x="0" y="10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4"/>
                    <a:pt x="7" y="15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8" y="18"/>
                    <a:pt x="8" y="19"/>
                    <a:pt x="8" y="20"/>
                  </a:cubicBezTo>
                  <a:cubicBezTo>
                    <a:pt x="8" y="20"/>
                    <a:pt x="8" y="20"/>
                    <a:pt x="9" y="20"/>
                  </a:cubicBezTo>
                  <a:cubicBezTo>
                    <a:pt x="7" y="21"/>
                    <a:pt x="5" y="22"/>
                    <a:pt x="4" y="23"/>
                  </a:cubicBezTo>
                  <a:cubicBezTo>
                    <a:pt x="3" y="27"/>
                    <a:pt x="6" y="25"/>
                    <a:pt x="8" y="27"/>
                  </a:cubicBezTo>
                  <a:cubicBezTo>
                    <a:pt x="7" y="29"/>
                    <a:pt x="2" y="29"/>
                    <a:pt x="2" y="32"/>
                  </a:cubicBezTo>
                  <a:cubicBezTo>
                    <a:pt x="2" y="32"/>
                    <a:pt x="3" y="32"/>
                    <a:pt x="3" y="33"/>
                  </a:cubicBezTo>
                  <a:cubicBezTo>
                    <a:pt x="4" y="33"/>
                    <a:pt x="4" y="34"/>
                    <a:pt x="4" y="34"/>
                  </a:cubicBezTo>
                  <a:cubicBezTo>
                    <a:pt x="5" y="36"/>
                    <a:pt x="5" y="37"/>
                    <a:pt x="5" y="39"/>
                  </a:cubicBezTo>
                  <a:cubicBezTo>
                    <a:pt x="6" y="39"/>
                    <a:pt x="6" y="40"/>
                    <a:pt x="6" y="41"/>
                  </a:cubicBezTo>
                  <a:cubicBezTo>
                    <a:pt x="6" y="41"/>
                    <a:pt x="6" y="41"/>
                    <a:pt x="5" y="41"/>
                  </a:cubicBezTo>
                  <a:cubicBezTo>
                    <a:pt x="5" y="42"/>
                    <a:pt x="4" y="43"/>
                    <a:pt x="4" y="44"/>
                  </a:cubicBezTo>
                  <a:cubicBezTo>
                    <a:pt x="3" y="48"/>
                    <a:pt x="5" y="51"/>
                    <a:pt x="6" y="55"/>
                  </a:cubicBezTo>
                  <a:cubicBezTo>
                    <a:pt x="6" y="55"/>
                    <a:pt x="6" y="57"/>
                    <a:pt x="6" y="58"/>
                  </a:cubicBezTo>
                  <a:cubicBezTo>
                    <a:pt x="7" y="59"/>
                    <a:pt x="9" y="59"/>
                    <a:pt x="9" y="61"/>
                  </a:cubicBezTo>
                  <a:cubicBezTo>
                    <a:pt x="10" y="61"/>
                    <a:pt x="10" y="61"/>
                    <a:pt x="10" y="61"/>
                  </a:cubicBezTo>
                  <a:lnTo>
                    <a:pt x="7" y="6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2" name="Freeform 74">
              <a:extLst>
                <a:ext uri="{FF2B5EF4-FFF2-40B4-BE49-F238E27FC236}">
                  <a16:creationId xmlns:a16="http://schemas.microsoft.com/office/drawing/2014/main" id="{33EED2A0-BCE4-4F8B-92A3-A734941AE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713" y="3184525"/>
              <a:ext cx="17463" cy="1746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7" y="6"/>
                </a:cxn>
                <a:cxn ang="0">
                  <a:pos x="8" y="2"/>
                </a:cxn>
                <a:cxn ang="0">
                  <a:pos x="3" y="3"/>
                </a:cxn>
                <a:cxn ang="0">
                  <a:pos x="0" y="7"/>
                </a:cxn>
              </a:cxnLst>
              <a:rect l="0" t="0" r="r" b="b"/>
              <a:pathLst>
                <a:path w="9" h="9">
                  <a:moveTo>
                    <a:pt x="0" y="7"/>
                  </a:moveTo>
                  <a:cubicBezTo>
                    <a:pt x="0" y="9"/>
                    <a:pt x="6" y="7"/>
                    <a:pt x="7" y="6"/>
                  </a:cubicBezTo>
                  <a:cubicBezTo>
                    <a:pt x="8" y="5"/>
                    <a:pt x="9" y="3"/>
                    <a:pt x="8" y="2"/>
                  </a:cubicBezTo>
                  <a:cubicBezTo>
                    <a:pt x="7" y="0"/>
                    <a:pt x="4" y="2"/>
                    <a:pt x="3" y="3"/>
                  </a:cubicBezTo>
                  <a:cubicBezTo>
                    <a:pt x="1" y="5"/>
                    <a:pt x="0" y="7"/>
                    <a:pt x="0" y="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3" name="Freeform 75">
              <a:extLst>
                <a:ext uri="{FF2B5EF4-FFF2-40B4-BE49-F238E27FC236}">
                  <a16:creationId xmlns:a16="http://schemas.microsoft.com/office/drawing/2014/main" id="{A8242174-376A-4B72-8123-CF1761141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136900"/>
              <a:ext cx="100013" cy="147638"/>
            </a:xfrm>
            <a:custGeom>
              <a:avLst/>
              <a:gdLst/>
              <a:ahLst/>
              <a:cxnLst>
                <a:cxn ang="0">
                  <a:pos x="51" y="15"/>
                </a:cxn>
                <a:cxn ang="0">
                  <a:pos x="52" y="10"/>
                </a:cxn>
                <a:cxn ang="0">
                  <a:pos x="52" y="6"/>
                </a:cxn>
                <a:cxn ang="0">
                  <a:pos x="51" y="2"/>
                </a:cxn>
                <a:cxn ang="0">
                  <a:pos x="44" y="7"/>
                </a:cxn>
                <a:cxn ang="0">
                  <a:pos x="41" y="8"/>
                </a:cxn>
                <a:cxn ang="0">
                  <a:pos x="38" y="10"/>
                </a:cxn>
                <a:cxn ang="0">
                  <a:pos x="38" y="11"/>
                </a:cxn>
                <a:cxn ang="0">
                  <a:pos x="34" y="11"/>
                </a:cxn>
                <a:cxn ang="0">
                  <a:pos x="32" y="15"/>
                </a:cxn>
                <a:cxn ang="0">
                  <a:pos x="21" y="19"/>
                </a:cxn>
                <a:cxn ang="0">
                  <a:pos x="18" y="24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14" y="29"/>
                </a:cxn>
                <a:cxn ang="0">
                  <a:pos x="12" y="30"/>
                </a:cxn>
                <a:cxn ang="0">
                  <a:pos x="13" y="32"/>
                </a:cxn>
                <a:cxn ang="0">
                  <a:pos x="8" y="29"/>
                </a:cxn>
                <a:cxn ang="0">
                  <a:pos x="5" y="32"/>
                </a:cxn>
                <a:cxn ang="0">
                  <a:pos x="4" y="36"/>
                </a:cxn>
                <a:cxn ang="0">
                  <a:pos x="5" y="39"/>
                </a:cxn>
                <a:cxn ang="0">
                  <a:pos x="3" y="42"/>
                </a:cxn>
                <a:cxn ang="0">
                  <a:pos x="9" y="50"/>
                </a:cxn>
                <a:cxn ang="0">
                  <a:pos x="1" y="52"/>
                </a:cxn>
                <a:cxn ang="0">
                  <a:pos x="3" y="58"/>
                </a:cxn>
                <a:cxn ang="0">
                  <a:pos x="14" y="63"/>
                </a:cxn>
                <a:cxn ang="0">
                  <a:pos x="8" y="65"/>
                </a:cxn>
                <a:cxn ang="0">
                  <a:pos x="9" y="67"/>
                </a:cxn>
                <a:cxn ang="0">
                  <a:pos x="8" y="68"/>
                </a:cxn>
                <a:cxn ang="0">
                  <a:pos x="7" y="70"/>
                </a:cxn>
                <a:cxn ang="0">
                  <a:pos x="4" y="72"/>
                </a:cxn>
                <a:cxn ang="0">
                  <a:pos x="5" y="75"/>
                </a:cxn>
                <a:cxn ang="0">
                  <a:pos x="6" y="77"/>
                </a:cxn>
                <a:cxn ang="0">
                  <a:pos x="10" y="79"/>
                </a:cxn>
                <a:cxn ang="0">
                  <a:pos x="13" y="75"/>
                </a:cxn>
                <a:cxn ang="0">
                  <a:pos x="23" y="75"/>
                </a:cxn>
                <a:cxn ang="0">
                  <a:pos x="20" y="66"/>
                </a:cxn>
                <a:cxn ang="0">
                  <a:pos x="23" y="67"/>
                </a:cxn>
                <a:cxn ang="0">
                  <a:pos x="28" y="68"/>
                </a:cxn>
                <a:cxn ang="0">
                  <a:pos x="26" y="61"/>
                </a:cxn>
                <a:cxn ang="0">
                  <a:pos x="31" y="61"/>
                </a:cxn>
                <a:cxn ang="0">
                  <a:pos x="34" y="59"/>
                </a:cxn>
                <a:cxn ang="0">
                  <a:pos x="37" y="57"/>
                </a:cxn>
                <a:cxn ang="0">
                  <a:pos x="31" y="54"/>
                </a:cxn>
                <a:cxn ang="0">
                  <a:pos x="42" y="49"/>
                </a:cxn>
                <a:cxn ang="0">
                  <a:pos x="38" y="41"/>
                </a:cxn>
                <a:cxn ang="0">
                  <a:pos x="42" y="39"/>
                </a:cxn>
                <a:cxn ang="0">
                  <a:pos x="41" y="37"/>
                </a:cxn>
                <a:cxn ang="0">
                  <a:pos x="41" y="34"/>
                </a:cxn>
                <a:cxn ang="0">
                  <a:pos x="42" y="32"/>
                </a:cxn>
                <a:cxn ang="0">
                  <a:pos x="41" y="30"/>
                </a:cxn>
                <a:cxn ang="0">
                  <a:pos x="45" y="25"/>
                </a:cxn>
                <a:cxn ang="0">
                  <a:pos x="49" y="21"/>
                </a:cxn>
                <a:cxn ang="0">
                  <a:pos x="51" y="15"/>
                </a:cxn>
              </a:cxnLst>
              <a:rect l="0" t="0" r="r" b="b"/>
              <a:pathLst>
                <a:path w="54" h="79">
                  <a:moveTo>
                    <a:pt x="51" y="15"/>
                  </a:moveTo>
                  <a:cubicBezTo>
                    <a:pt x="54" y="11"/>
                    <a:pt x="53" y="15"/>
                    <a:pt x="52" y="10"/>
                  </a:cubicBezTo>
                  <a:cubicBezTo>
                    <a:pt x="52" y="8"/>
                    <a:pt x="52" y="7"/>
                    <a:pt x="52" y="6"/>
                  </a:cubicBezTo>
                  <a:cubicBezTo>
                    <a:pt x="52" y="4"/>
                    <a:pt x="52" y="3"/>
                    <a:pt x="51" y="2"/>
                  </a:cubicBezTo>
                  <a:cubicBezTo>
                    <a:pt x="47" y="0"/>
                    <a:pt x="46" y="4"/>
                    <a:pt x="44" y="7"/>
                  </a:cubicBezTo>
                  <a:cubicBezTo>
                    <a:pt x="43" y="7"/>
                    <a:pt x="42" y="8"/>
                    <a:pt x="41" y="8"/>
                  </a:cubicBezTo>
                  <a:cubicBezTo>
                    <a:pt x="40" y="9"/>
                    <a:pt x="39" y="9"/>
                    <a:pt x="38" y="10"/>
                  </a:cubicBezTo>
                  <a:cubicBezTo>
                    <a:pt x="38" y="10"/>
                    <a:pt x="38" y="10"/>
                    <a:pt x="38" y="11"/>
                  </a:cubicBezTo>
                  <a:cubicBezTo>
                    <a:pt x="37" y="11"/>
                    <a:pt x="35" y="10"/>
                    <a:pt x="34" y="11"/>
                  </a:cubicBezTo>
                  <a:cubicBezTo>
                    <a:pt x="33" y="11"/>
                    <a:pt x="32" y="14"/>
                    <a:pt x="32" y="15"/>
                  </a:cubicBezTo>
                  <a:cubicBezTo>
                    <a:pt x="29" y="19"/>
                    <a:pt x="25" y="19"/>
                    <a:pt x="21" y="19"/>
                  </a:cubicBezTo>
                  <a:cubicBezTo>
                    <a:pt x="19" y="19"/>
                    <a:pt x="19" y="22"/>
                    <a:pt x="18" y="24"/>
                  </a:cubicBezTo>
                  <a:cubicBezTo>
                    <a:pt x="18" y="26"/>
                    <a:pt x="17" y="29"/>
                    <a:pt x="17" y="30"/>
                  </a:cubicBezTo>
                  <a:cubicBezTo>
                    <a:pt x="17" y="32"/>
                    <a:pt x="19" y="31"/>
                    <a:pt x="19" y="32"/>
                  </a:cubicBezTo>
                  <a:cubicBezTo>
                    <a:pt x="18" y="31"/>
                    <a:pt x="16" y="30"/>
                    <a:pt x="14" y="29"/>
                  </a:cubicBezTo>
                  <a:cubicBezTo>
                    <a:pt x="13" y="29"/>
                    <a:pt x="13" y="28"/>
                    <a:pt x="12" y="30"/>
                  </a:cubicBezTo>
                  <a:cubicBezTo>
                    <a:pt x="12" y="30"/>
                    <a:pt x="12" y="31"/>
                    <a:pt x="13" y="32"/>
                  </a:cubicBezTo>
                  <a:cubicBezTo>
                    <a:pt x="10" y="32"/>
                    <a:pt x="8" y="31"/>
                    <a:pt x="8" y="29"/>
                  </a:cubicBezTo>
                  <a:cubicBezTo>
                    <a:pt x="7" y="29"/>
                    <a:pt x="6" y="31"/>
                    <a:pt x="5" y="32"/>
                  </a:cubicBezTo>
                  <a:cubicBezTo>
                    <a:pt x="4" y="33"/>
                    <a:pt x="4" y="35"/>
                    <a:pt x="4" y="36"/>
                  </a:cubicBezTo>
                  <a:cubicBezTo>
                    <a:pt x="5" y="37"/>
                    <a:pt x="5" y="38"/>
                    <a:pt x="5" y="39"/>
                  </a:cubicBezTo>
                  <a:cubicBezTo>
                    <a:pt x="5" y="40"/>
                    <a:pt x="3" y="41"/>
                    <a:pt x="3" y="42"/>
                  </a:cubicBezTo>
                  <a:cubicBezTo>
                    <a:pt x="3" y="45"/>
                    <a:pt x="9" y="46"/>
                    <a:pt x="9" y="50"/>
                  </a:cubicBezTo>
                  <a:cubicBezTo>
                    <a:pt x="7" y="50"/>
                    <a:pt x="2" y="50"/>
                    <a:pt x="1" y="52"/>
                  </a:cubicBezTo>
                  <a:cubicBezTo>
                    <a:pt x="0" y="53"/>
                    <a:pt x="2" y="57"/>
                    <a:pt x="3" y="58"/>
                  </a:cubicBezTo>
                  <a:cubicBezTo>
                    <a:pt x="5" y="59"/>
                    <a:pt x="15" y="60"/>
                    <a:pt x="14" y="63"/>
                  </a:cubicBezTo>
                  <a:cubicBezTo>
                    <a:pt x="13" y="63"/>
                    <a:pt x="9" y="62"/>
                    <a:pt x="8" y="65"/>
                  </a:cubicBezTo>
                  <a:cubicBezTo>
                    <a:pt x="8" y="65"/>
                    <a:pt x="9" y="66"/>
                    <a:pt x="9" y="67"/>
                  </a:cubicBezTo>
                  <a:cubicBezTo>
                    <a:pt x="9" y="67"/>
                    <a:pt x="8" y="67"/>
                    <a:pt x="8" y="68"/>
                  </a:cubicBezTo>
                  <a:cubicBezTo>
                    <a:pt x="7" y="69"/>
                    <a:pt x="7" y="69"/>
                    <a:pt x="7" y="70"/>
                  </a:cubicBezTo>
                  <a:cubicBezTo>
                    <a:pt x="5" y="71"/>
                    <a:pt x="5" y="71"/>
                    <a:pt x="4" y="72"/>
                  </a:cubicBezTo>
                  <a:cubicBezTo>
                    <a:pt x="4" y="73"/>
                    <a:pt x="4" y="74"/>
                    <a:pt x="5" y="75"/>
                  </a:cubicBezTo>
                  <a:cubicBezTo>
                    <a:pt x="5" y="76"/>
                    <a:pt x="6" y="76"/>
                    <a:pt x="6" y="77"/>
                  </a:cubicBezTo>
                  <a:cubicBezTo>
                    <a:pt x="7" y="77"/>
                    <a:pt x="8" y="79"/>
                    <a:pt x="10" y="79"/>
                  </a:cubicBezTo>
                  <a:cubicBezTo>
                    <a:pt x="12" y="79"/>
                    <a:pt x="13" y="77"/>
                    <a:pt x="13" y="75"/>
                  </a:cubicBezTo>
                  <a:cubicBezTo>
                    <a:pt x="16" y="74"/>
                    <a:pt x="20" y="75"/>
                    <a:pt x="23" y="75"/>
                  </a:cubicBezTo>
                  <a:cubicBezTo>
                    <a:pt x="24" y="71"/>
                    <a:pt x="22" y="69"/>
                    <a:pt x="20" y="66"/>
                  </a:cubicBezTo>
                  <a:cubicBezTo>
                    <a:pt x="21" y="65"/>
                    <a:pt x="22" y="66"/>
                    <a:pt x="23" y="67"/>
                  </a:cubicBezTo>
                  <a:cubicBezTo>
                    <a:pt x="25" y="69"/>
                    <a:pt x="26" y="69"/>
                    <a:pt x="28" y="68"/>
                  </a:cubicBezTo>
                  <a:cubicBezTo>
                    <a:pt x="31" y="65"/>
                    <a:pt x="29" y="63"/>
                    <a:pt x="26" y="61"/>
                  </a:cubicBezTo>
                  <a:cubicBezTo>
                    <a:pt x="27" y="60"/>
                    <a:pt x="29" y="61"/>
                    <a:pt x="31" y="61"/>
                  </a:cubicBezTo>
                  <a:cubicBezTo>
                    <a:pt x="33" y="61"/>
                    <a:pt x="33" y="60"/>
                    <a:pt x="34" y="59"/>
                  </a:cubicBezTo>
                  <a:cubicBezTo>
                    <a:pt x="35" y="59"/>
                    <a:pt x="37" y="58"/>
                    <a:pt x="37" y="57"/>
                  </a:cubicBezTo>
                  <a:cubicBezTo>
                    <a:pt x="37" y="56"/>
                    <a:pt x="33" y="54"/>
                    <a:pt x="31" y="54"/>
                  </a:cubicBezTo>
                  <a:cubicBezTo>
                    <a:pt x="34" y="54"/>
                    <a:pt x="42" y="52"/>
                    <a:pt x="42" y="49"/>
                  </a:cubicBezTo>
                  <a:cubicBezTo>
                    <a:pt x="42" y="46"/>
                    <a:pt x="35" y="43"/>
                    <a:pt x="38" y="41"/>
                  </a:cubicBezTo>
                  <a:cubicBezTo>
                    <a:pt x="39" y="40"/>
                    <a:pt x="41" y="41"/>
                    <a:pt x="42" y="39"/>
                  </a:cubicBezTo>
                  <a:cubicBezTo>
                    <a:pt x="44" y="38"/>
                    <a:pt x="42" y="38"/>
                    <a:pt x="41" y="37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1" y="33"/>
                    <a:pt x="42" y="33"/>
                    <a:pt x="42" y="32"/>
                  </a:cubicBezTo>
                  <a:cubicBezTo>
                    <a:pt x="42" y="32"/>
                    <a:pt x="41" y="31"/>
                    <a:pt x="41" y="30"/>
                  </a:cubicBezTo>
                  <a:cubicBezTo>
                    <a:pt x="41" y="28"/>
                    <a:pt x="43" y="26"/>
                    <a:pt x="45" y="25"/>
                  </a:cubicBezTo>
                  <a:cubicBezTo>
                    <a:pt x="47" y="24"/>
                    <a:pt x="49" y="24"/>
                    <a:pt x="49" y="21"/>
                  </a:cubicBezTo>
                  <a:lnTo>
                    <a:pt x="51" y="1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4" name="Freeform 76">
              <a:extLst>
                <a:ext uri="{FF2B5EF4-FFF2-40B4-BE49-F238E27FC236}">
                  <a16:creationId xmlns:a16="http://schemas.microsoft.com/office/drawing/2014/main" id="{E3A8E4D2-0416-461D-8636-3700F02F4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463" y="3005138"/>
              <a:ext cx="69850" cy="53975"/>
            </a:xfrm>
            <a:custGeom>
              <a:avLst/>
              <a:gdLst/>
              <a:ahLst/>
              <a:cxnLst>
                <a:cxn ang="0">
                  <a:pos x="20" y="7"/>
                </a:cxn>
                <a:cxn ang="0">
                  <a:pos x="13" y="2"/>
                </a:cxn>
                <a:cxn ang="0">
                  <a:pos x="9" y="1"/>
                </a:cxn>
                <a:cxn ang="0">
                  <a:pos x="5" y="11"/>
                </a:cxn>
                <a:cxn ang="0">
                  <a:pos x="3" y="21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0" y="13"/>
                </a:cxn>
                <a:cxn ang="0">
                  <a:pos x="12" y="19"/>
                </a:cxn>
                <a:cxn ang="0">
                  <a:pos x="11" y="24"/>
                </a:cxn>
                <a:cxn ang="0">
                  <a:pos x="19" y="22"/>
                </a:cxn>
                <a:cxn ang="0">
                  <a:pos x="23" y="25"/>
                </a:cxn>
                <a:cxn ang="0">
                  <a:pos x="26" y="26"/>
                </a:cxn>
                <a:cxn ang="0">
                  <a:pos x="28" y="27"/>
                </a:cxn>
                <a:cxn ang="0">
                  <a:pos x="33" y="28"/>
                </a:cxn>
                <a:cxn ang="0">
                  <a:pos x="37" y="23"/>
                </a:cxn>
                <a:cxn ang="0">
                  <a:pos x="31" y="22"/>
                </a:cxn>
                <a:cxn ang="0">
                  <a:pos x="31" y="19"/>
                </a:cxn>
                <a:cxn ang="0">
                  <a:pos x="23" y="15"/>
                </a:cxn>
                <a:cxn ang="0">
                  <a:pos x="20" y="15"/>
                </a:cxn>
                <a:cxn ang="0">
                  <a:pos x="19" y="7"/>
                </a:cxn>
                <a:cxn ang="0">
                  <a:pos x="20" y="7"/>
                </a:cxn>
              </a:cxnLst>
              <a:rect l="0" t="0" r="r" b="b"/>
              <a:pathLst>
                <a:path w="37" h="29">
                  <a:moveTo>
                    <a:pt x="20" y="7"/>
                  </a:moveTo>
                  <a:cubicBezTo>
                    <a:pt x="20" y="5"/>
                    <a:pt x="15" y="3"/>
                    <a:pt x="13" y="2"/>
                  </a:cubicBezTo>
                  <a:cubicBezTo>
                    <a:pt x="12" y="1"/>
                    <a:pt x="10" y="0"/>
                    <a:pt x="9" y="1"/>
                  </a:cubicBezTo>
                  <a:cubicBezTo>
                    <a:pt x="8" y="5"/>
                    <a:pt x="6" y="7"/>
                    <a:pt x="5" y="11"/>
                  </a:cubicBezTo>
                  <a:cubicBezTo>
                    <a:pt x="3" y="14"/>
                    <a:pt x="0" y="17"/>
                    <a:pt x="3" y="21"/>
                  </a:cubicBezTo>
                  <a:cubicBezTo>
                    <a:pt x="5" y="24"/>
                    <a:pt x="8" y="23"/>
                    <a:pt x="8" y="20"/>
                  </a:cubicBezTo>
                  <a:cubicBezTo>
                    <a:pt x="9" y="19"/>
                    <a:pt x="8" y="17"/>
                    <a:pt x="8" y="16"/>
                  </a:cubicBezTo>
                  <a:cubicBezTo>
                    <a:pt x="9" y="15"/>
                    <a:pt x="10" y="14"/>
                    <a:pt x="10" y="13"/>
                  </a:cubicBezTo>
                  <a:cubicBezTo>
                    <a:pt x="12" y="13"/>
                    <a:pt x="13" y="17"/>
                    <a:pt x="12" y="19"/>
                  </a:cubicBezTo>
                  <a:cubicBezTo>
                    <a:pt x="12" y="20"/>
                    <a:pt x="10" y="22"/>
                    <a:pt x="11" y="24"/>
                  </a:cubicBezTo>
                  <a:cubicBezTo>
                    <a:pt x="12" y="26"/>
                    <a:pt x="17" y="23"/>
                    <a:pt x="19" y="22"/>
                  </a:cubicBezTo>
                  <a:cubicBezTo>
                    <a:pt x="21" y="22"/>
                    <a:pt x="22" y="24"/>
                    <a:pt x="23" y="25"/>
                  </a:cubicBezTo>
                  <a:cubicBezTo>
                    <a:pt x="24" y="25"/>
                    <a:pt x="25" y="25"/>
                    <a:pt x="26" y="26"/>
                  </a:cubicBezTo>
                  <a:cubicBezTo>
                    <a:pt x="28" y="26"/>
                    <a:pt x="27" y="26"/>
                    <a:pt x="28" y="27"/>
                  </a:cubicBezTo>
                  <a:cubicBezTo>
                    <a:pt x="30" y="28"/>
                    <a:pt x="31" y="29"/>
                    <a:pt x="33" y="28"/>
                  </a:cubicBezTo>
                  <a:cubicBezTo>
                    <a:pt x="34" y="28"/>
                    <a:pt x="37" y="24"/>
                    <a:pt x="37" y="23"/>
                  </a:cubicBezTo>
                  <a:cubicBezTo>
                    <a:pt x="36" y="22"/>
                    <a:pt x="33" y="23"/>
                    <a:pt x="31" y="22"/>
                  </a:cubicBezTo>
                  <a:cubicBezTo>
                    <a:pt x="31" y="22"/>
                    <a:pt x="31" y="20"/>
                    <a:pt x="31" y="19"/>
                  </a:cubicBezTo>
                  <a:cubicBezTo>
                    <a:pt x="29" y="18"/>
                    <a:pt x="22" y="18"/>
                    <a:pt x="23" y="15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20" y="14"/>
                    <a:pt x="25" y="6"/>
                    <a:pt x="19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5" name="Freeform 77">
              <a:extLst>
                <a:ext uri="{FF2B5EF4-FFF2-40B4-BE49-F238E27FC236}">
                  <a16:creationId xmlns:a16="http://schemas.microsoft.com/office/drawing/2014/main" id="{A4CFE8BE-8214-4A33-BA3C-9AA38BDFB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2994025"/>
              <a:ext cx="25400" cy="26988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2"/>
                </a:cxn>
                <a:cxn ang="0">
                  <a:pos x="8" y="9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4" y="11"/>
                </a:cxn>
                <a:cxn ang="0">
                  <a:pos x="10" y="6"/>
                </a:cxn>
                <a:cxn ang="0">
                  <a:pos x="10" y="3"/>
                </a:cxn>
              </a:cxnLst>
              <a:rect l="0" t="0" r="r" b="b"/>
              <a:pathLst>
                <a:path w="14" h="14">
                  <a:moveTo>
                    <a:pt x="10" y="3"/>
                  </a:moveTo>
                  <a:cubicBezTo>
                    <a:pt x="8" y="3"/>
                    <a:pt x="3" y="0"/>
                    <a:pt x="1" y="2"/>
                  </a:cubicBezTo>
                  <a:cubicBezTo>
                    <a:pt x="0" y="5"/>
                    <a:pt x="6" y="7"/>
                    <a:pt x="8" y="9"/>
                  </a:cubicBezTo>
                  <a:cubicBezTo>
                    <a:pt x="9" y="10"/>
                    <a:pt x="10" y="11"/>
                    <a:pt x="11" y="12"/>
                  </a:cubicBezTo>
                  <a:cubicBezTo>
                    <a:pt x="11" y="13"/>
                    <a:pt x="11" y="14"/>
                    <a:pt x="12" y="14"/>
                  </a:cubicBezTo>
                  <a:cubicBezTo>
                    <a:pt x="14" y="14"/>
                    <a:pt x="14" y="12"/>
                    <a:pt x="14" y="11"/>
                  </a:cubicBezTo>
                  <a:cubicBezTo>
                    <a:pt x="14" y="8"/>
                    <a:pt x="13" y="7"/>
                    <a:pt x="10" y="6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6" name="Freeform 78">
              <a:extLst>
                <a:ext uri="{FF2B5EF4-FFF2-40B4-BE49-F238E27FC236}">
                  <a16:creationId xmlns:a16="http://schemas.microsoft.com/office/drawing/2014/main" id="{C0185737-86B8-44BA-832B-824FAA81A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150" y="2962275"/>
              <a:ext cx="23813" cy="285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7"/>
                </a:cxn>
                <a:cxn ang="0">
                  <a:pos x="4" y="9"/>
                </a:cxn>
                <a:cxn ang="0">
                  <a:pos x="4" y="12"/>
                </a:cxn>
                <a:cxn ang="0">
                  <a:pos x="11" y="14"/>
                </a:cxn>
                <a:cxn ang="0">
                  <a:pos x="5" y="8"/>
                </a:cxn>
                <a:cxn ang="0">
                  <a:pos x="11" y="5"/>
                </a:cxn>
                <a:cxn ang="0">
                  <a:pos x="7" y="0"/>
                </a:cxn>
              </a:cxnLst>
              <a:rect l="0" t="0" r="r" b="b"/>
              <a:pathLst>
                <a:path w="13" h="15">
                  <a:moveTo>
                    <a:pt x="7" y="0"/>
                  </a:moveTo>
                  <a:cubicBezTo>
                    <a:pt x="4" y="0"/>
                    <a:pt x="0" y="3"/>
                    <a:pt x="0" y="7"/>
                  </a:cubicBezTo>
                  <a:cubicBezTo>
                    <a:pt x="0" y="9"/>
                    <a:pt x="2" y="8"/>
                    <a:pt x="4" y="9"/>
                  </a:cubicBezTo>
                  <a:cubicBezTo>
                    <a:pt x="4" y="10"/>
                    <a:pt x="4" y="11"/>
                    <a:pt x="4" y="12"/>
                  </a:cubicBezTo>
                  <a:cubicBezTo>
                    <a:pt x="5" y="14"/>
                    <a:pt x="9" y="15"/>
                    <a:pt x="11" y="14"/>
                  </a:cubicBezTo>
                  <a:cubicBezTo>
                    <a:pt x="11" y="11"/>
                    <a:pt x="8" y="8"/>
                    <a:pt x="5" y="8"/>
                  </a:cubicBezTo>
                  <a:cubicBezTo>
                    <a:pt x="6" y="6"/>
                    <a:pt x="10" y="6"/>
                    <a:pt x="11" y="5"/>
                  </a:cubicBezTo>
                  <a:cubicBezTo>
                    <a:pt x="13" y="2"/>
                    <a:pt x="9" y="0"/>
                    <a:pt x="7" y="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7" name="Freeform 79">
              <a:extLst>
                <a:ext uri="{FF2B5EF4-FFF2-40B4-BE49-F238E27FC236}">
                  <a16:creationId xmlns:a16="http://schemas.microsoft.com/office/drawing/2014/main" id="{7F092377-0F56-4796-9ADE-41A28F65C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138" y="2974975"/>
              <a:ext cx="36513" cy="26988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1" y="11"/>
                </a:cxn>
                <a:cxn ang="0">
                  <a:pos x="8" y="13"/>
                </a:cxn>
                <a:cxn ang="0">
                  <a:pos x="10" y="10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5" y="7"/>
                </a:cxn>
                <a:cxn ang="0">
                  <a:pos x="19" y="1"/>
                </a:cxn>
                <a:cxn ang="0">
                  <a:pos x="11" y="3"/>
                </a:cxn>
                <a:cxn ang="0">
                  <a:pos x="10" y="1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10"/>
                </a:cxn>
                <a:cxn ang="0">
                  <a:pos x="0" y="8"/>
                </a:cxn>
                <a:cxn ang="0">
                  <a:pos x="2" y="9"/>
                </a:cxn>
              </a:cxnLst>
              <a:rect l="0" t="0" r="r" b="b"/>
              <a:pathLst>
                <a:path w="19" h="14">
                  <a:moveTo>
                    <a:pt x="2" y="9"/>
                  </a:moveTo>
                  <a:cubicBezTo>
                    <a:pt x="1" y="8"/>
                    <a:pt x="0" y="10"/>
                    <a:pt x="1" y="11"/>
                  </a:cubicBezTo>
                  <a:cubicBezTo>
                    <a:pt x="2" y="13"/>
                    <a:pt x="6" y="14"/>
                    <a:pt x="8" y="13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9"/>
                    <a:pt x="9" y="7"/>
                    <a:pt x="10" y="7"/>
                  </a:cubicBezTo>
                  <a:cubicBezTo>
                    <a:pt x="11" y="6"/>
                    <a:pt x="13" y="7"/>
                    <a:pt x="13" y="7"/>
                  </a:cubicBezTo>
                  <a:cubicBezTo>
                    <a:pt x="15" y="7"/>
                    <a:pt x="14" y="8"/>
                    <a:pt x="15" y="7"/>
                  </a:cubicBezTo>
                  <a:cubicBezTo>
                    <a:pt x="17" y="5"/>
                    <a:pt x="17" y="3"/>
                    <a:pt x="19" y="1"/>
                  </a:cubicBezTo>
                  <a:cubicBezTo>
                    <a:pt x="17" y="1"/>
                    <a:pt x="10" y="0"/>
                    <a:pt x="11" y="3"/>
                  </a:cubicBezTo>
                  <a:cubicBezTo>
                    <a:pt x="11" y="3"/>
                    <a:pt x="11" y="1"/>
                    <a:pt x="10" y="1"/>
                  </a:cubicBezTo>
                  <a:cubicBezTo>
                    <a:pt x="8" y="0"/>
                    <a:pt x="8" y="3"/>
                    <a:pt x="8" y="4"/>
                  </a:cubicBezTo>
                  <a:cubicBezTo>
                    <a:pt x="8" y="6"/>
                    <a:pt x="7" y="5"/>
                    <a:pt x="6" y="6"/>
                  </a:cubicBezTo>
                  <a:cubicBezTo>
                    <a:pt x="5" y="7"/>
                    <a:pt x="5" y="9"/>
                    <a:pt x="4" y="10"/>
                  </a:cubicBezTo>
                  <a:cubicBezTo>
                    <a:pt x="3" y="9"/>
                    <a:pt x="2" y="8"/>
                    <a:pt x="0" y="8"/>
                  </a:cubicBezTo>
                  <a:lnTo>
                    <a:pt x="2" y="9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8" name="Freeform 80">
              <a:extLst>
                <a:ext uri="{FF2B5EF4-FFF2-40B4-BE49-F238E27FC236}">
                  <a16:creationId xmlns:a16="http://schemas.microsoft.com/office/drawing/2014/main" id="{872E9A8F-73A9-491F-8DE4-75277E758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663" y="3013075"/>
              <a:ext cx="17463" cy="11113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5" y="6"/>
                </a:cxn>
                <a:cxn ang="0">
                  <a:pos x="1" y="1"/>
                </a:cxn>
                <a:cxn ang="0">
                  <a:pos x="3" y="1"/>
                </a:cxn>
              </a:cxnLst>
              <a:rect l="0" t="0" r="r" b="b"/>
              <a:pathLst>
                <a:path w="9" h="6">
                  <a:moveTo>
                    <a:pt x="3" y="1"/>
                  </a:moveTo>
                  <a:cubicBezTo>
                    <a:pt x="3" y="1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4" y="6"/>
                    <a:pt x="5" y="6"/>
                  </a:cubicBezTo>
                  <a:cubicBezTo>
                    <a:pt x="9" y="5"/>
                    <a:pt x="4" y="0"/>
                    <a:pt x="1" y="1"/>
                  </a:cubicBezTo>
                  <a:lnTo>
                    <a:pt x="3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9" name="Freeform 81">
              <a:extLst>
                <a:ext uri="{FF2B5EF4-FFF2-40B4-BE49-F238E27FC236}">
                  <a16:creationId xmlns:a16="http://schemas.microsoft.com/office/drawing/2014/main" id="{298C2A04-7B8B-4328-BAA8-C8EA716D17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463" y="3054350"/>
              <a:ext cx="30163" cy="31750"/>
            </a:xfrm>
            <a:custGeom>
              <a:avLst/>
              <a:gdLst/>
              <a:ahLst/>
              <a:cxnLst>
                <a:cxn ang="0">
                  <a:pos x="11" y="6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9" y="15"/>
                </a:cxn>
                <a:cxn ang="0">
                  <a:pos x="13" y="16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8" y="5"/>
                </a:cxn>
                <a:cxn ang="0">
                  <a:pos x="11" y="6"/>
                </a:cxn>
              </a:cxnLst>
              <a:rect l="0" t="0" r="r" b="b"/>
              <a:pathLst>
                <a:path w="16" h="17">
                  <a:moveTo>
                    <a:pt x="11" y="6"/>
                  </a:moveTo>
                  <a:cubicBezTo>
                    <a:pt x="12" y="3"/>
                    <a:pt x="7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0" y="0"/>
                    <a:pt x="0" y="3"/>
                  </a:cubicBezTo>
                  <a:cubicBezTo>
                    <a:pt x="0" y="8"/>
                    <a:pt x="4" y="13"/>
                    <a:pt x="9" y="15"/>
                  </a:cubicBezTo>
                  <a:cubicBezTo>
                    <a:pt x="10" y="16"/>
                    <a:pt x="12" y="17"/>
                    <a:pt x="13" y="16"/>
                  </a:cubicBezTo>
                  <a:cubicBezTo>
                    <a:pt x="14" y="15"/>
                    <a:pt x="12" y="12"/>
                    <a:pt x="13" y="11"/>
                  </a:cubicBezTo>
                  <a:cubicBezTo>
                    <a:pt x="13" y="11"/>
                    <a:pt x="14" y="11"/>
                    <a:pt x="15" y="11"/>
                  </a:cubicBezTo>
                  <a:cubicBezTo>
                    <a:pt x="16" y="9"/>
                    <a:pt x="9" y="6"/>
                    <a:pt x="8" y="5"/>
                  </a:cubicBezTo>
                  <a:lnTo>
                    <a:pt x="11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0" name="Freeform 82">
              <a:extLst>
                <a:ext uri="{FF2B5EF4-FFF2-40B4-BE49-F238E27FC236}">
                  <a16:creationId xmlns:a16="http://schemas.microsoft.com/office/drawing/2014/main" id="{F85BEFA0-F47D-4E47-8C48-461EAE23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6738" y="3063875"/>
              <a:ext cx="14288" cy="26988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3" y="2"/>
                </a:cxn>
                <a:cxn ang="0">
                  <a:pos x="1" y="6"/>
                </a:cxn>
                <a:cxn ang="0">
                  <a:pos x="0" y="11"/>
                </a:cxn>
                <a:cxn ang="0">
                  <a:pos x="5" y="12"/>
                </a:cxn>
                <a:cxn ang="0">
                  <a:pos x="4" y="5"/>
                </a:cxn>
                <a:cxn ang="0">
                  <a:pos x="5" y="0"/>
                </a:cxn>
                <a:cxn ang="0">
                  <a:pos x="6" y="3"/>
                </a:cxn>
              </a:cxnLst>
              <a:rect l="0" t="0" r="r" b="b"/>
              <a:pathLst>
                <a:path w="8" h="15">
                  <a:moveTo>
                    <a:pt x="6" y="3"/>
                  </a:moveTo>
                  <a:cubicBezTo>
                    <a:pt x="6" y="2"/>
                    <a:pt x="4" y="2"/>
                    <a:pt x="3" y="2"/>
                  </a:cubicBezTo>
                  <a:cubicBezTo>
                    <a:pt x="2" y="3"/>
                    <a:pt x="1" y="4"/>
                    <a:pt x="1" y="6"/>
                  </a:cubicBezTo>
                  <a:cubicBezTo>
                    <a:pt x="1" y="7"/>
                    <a:pt x="0" y="9"/>
                    <a:pt x="0" y="11"/>
                  </a:cubicBezTo>
                  <a:cubicBezTo>
                    <a:pt x="0" y="14"/>
                    <a:pt x="4" y="15"/>
                    <a:pt x="5" y="12"/>
                  </a:cubicBezTo>
                  <a:cubicBezTo>
                    <a:pt x="6" y="9"/>
                    <a:pt x="3" y="7"/>
                    <a:pt x="4" y="5"/>
                  </a:cubicBezTo>
                  <a:cubicBezTo>
                    <a:pt x="8" y="4"/>
                    <a:pt x="7" y="3"/>
                    <a:pt x="5" y="0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1" name="Freeform 83">
              <a:extLst>
                <a:ext uri="{FF2B5EF4-FFF2-40B4-BE49-F238E27FC236}">
                  <a16:creationId xmlns:a16="http://schemas.microsoft.com/office/drawing/2014/main" id="{C9EBF09B-33D9-477A-BE19-CFEAE2C2D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8825" y="2697163"/>
              <a:ext cx="28575" cy="60325"/>
            </a:xfrm>
            <a:custGeom>
              <a:avLst/>
              <a:gdLst/>
              <a:ahLst/>
              <a:cxnLst>
                <a:cxn ang="0">
                  <a:pos x="11" y="5"/>
                </a:cxn>
                <a:cxn ang="0">
                  <a:pos x="10" y="1"/>
                </a:cxn>
                <a:cxn ang="0">
                  <a:pos x="1" y="8"/>
                </a:cxn>
                <a:cxn ang="0">
                  <a:pos x="3" y="11"/>
                </a:cxn>
                <a:cxn ang="0">
                  <a:pos x="1" y="14"/>
                </a:cxn>
                <a:cxn ang="0">
                  <a:pos x="2" y="21"/>
                </a:cxn>
                <a:cxn ang="0">
                  <a:pos x="3" y="27"/>
                </a:cxn>
                <a:cxn ang="0">
                  <a:pos x="4" y="29"/>
                </a:cxn>
                <a:cxn ang="0">
                  <a:pos x="8" y="32"/>
                </a:cxn>
                <a:cxn ang="0">
                  <a:pos x="11" y="29"/>
                </a:cxn>
                <a:cxn ang="0">
                  <a:pos x="11" y="24"/>
                </a:cxn>
                <a:cxn ang="0">
                  <a:pos x="12" y="20"/>
                </a:cxn>
                <a:cxn ang="0">
                  <a:pos x="11" y="16"/>
                </a:cxn>
                <a:cxn ang="0">
                  <a:pos x="10" y="12"/>
                </a:cxn>
                <a:cxn ang="0">
                  <a:pos x="14" y="6"/>
                </a:cxn>
                <a:cxn ang="0">
                  <a:pos x="9" y="1"/>
                </a:cxn>
                <a:cxn ang="0">
                  <a:pos x="11" y="5"/>
                </a:cxn>
              </a:cxnLst>
              <a:rect l="0" t="0" r="r" b="b"/>
              <a:pathLst>
                <a:path w="15" h="32">
                  <a:moveTo>
                    <a:pt x="11" y="5"/>
                  </a:moveTo>
                  <a:cubicBezTo>
                    <a:pt x="13" y="4"/>
                    <a:pt x="12" y="2"/>
                    <a:pt x="10" y="1"/>
                  </a:cubicBezTo>
                  <a:cubicBezTo>
                    <a:pt x="6" y="0"/>
                    <a:pt x="1" y="4"/>
                    <a:pt x="1" y="8"/>
                  </a:cubicBezTo>
                  <a:cubicBezTo>
                    <a:pt x="0" y="10"/>
                    <a:pt x="2" y="9"/>
                    <a:pt x="3" y="11"/>
                  </a:cubicBezTo>
                  <a:cubicBezTo>
                    <a:pt x="3" y="12"/>
                    <a:pt x="2" y="14"/>
                    <a:pt x="1" y="14"/>
                  </a:cubicBezTo>
                  <a:cubicBezTo>
                    <a:pt x="0" y="16"/>
                    <a:pt x="1" y="19"/>
                    <a:pt x="2" y="21"/>
                  </a:cubicBezTo>
                  <a:cubicBezTo>
                    <a:pt x="2" y="23"/>
                    <a:pt x="3" y="25"/>
                    <a:pt x="3" y="27"/>
                  </a:cubicBezTo>
                  <a:cubicBezTo>
                    <a:pt x="4" y="29"/>
                    <a:pt x="3" y="28"/>
                    <a:pt x="4" y="29"/>
                  </a:cubicBezTo>
                  <a:cubicBezTo>
                    <a:pt x="5" y="30"/>
                    <a:pt x="7" y="31"/>
                    <a:pt x="8" y="32"/>
                  </a:cubicBezTo>
                  <a:cubicBezTo>
                    <a:pt x="10" y="32"/>
                    <a:pt x="10" y="31"/>
                    <a:pt x="11" y="29"/>
                  </a:cubicBezTo>
                  <a:cubicBezTo>
                    <a:pt x="11" y="27"/>
                    <a:pt x="11" y="25"/>
                    <a:pt x="11" y="24"/>
                  </a:cubicBezTo>
                  <a:cubicBezTo>
                    <a:pt x="11" y="23"/>
                    <a:pt x="12" y="22"/>
                    <a:pt x="12" y="20"/>
                  </a:cubicBezTo>
                  <a:cubicBezTo>
                    <a:pt x="12" y="18"/>
                    <a:pt x="12" y="17"/>
                    <a:pt x="11" y="16"/>
                  </a:cubicBezTo>
                  <a:cubicBezTo>
                    <a:pt x="11" y="15"/>
                    <a:pt x="10" y="13"/>
                    <a:pt x="10" y="12"/>
                  </a:cubicBezTo>
                  <a:cubicBezTo>
                    <a:pt x="10" y="10"/>
                    <a:pt x="13" y="8"/>
                    <a:pt x="14" y="6"/>
                  </a:cubicBezTo>
                  <a:cubicBezTo>
                    <a:pt x="15" y="3"/>
                    <a:pt x="10" y="3"/>
                    <a:pt x="9" y="1"/>
                  </a:cubicBezTo>
                  <a:lnTo>
                    <a:pt x="11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2" name="Freeform 84">
              <a:extLst>
                <a:ext uri="{FF2B5EF4-FFF2-40B4-BE49-F238E27FC236}">
                  <a16:creationId xmlns:a16="http://schemas.microsoft.com/office/drawing/2014/main" id="{72139424-878D-40AE-BDBE-F0AA08975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575" y="2724150"/>
              <a:ext cx="11113" cy="1270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5" y="6"/>
                </a:cxn>
                <a:cxn ang="0">
                  <a:pos x="3" y="7"/>
                </a:cxn>
                <a:cxn ang="0">
                  <a:pos x="1" y="5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6" y="0"/>
                    <a:pt x="6" y="4"/>
                    <a:pt x="5" y="6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2" y="7"/>
                    <a:pt x="1" y="6"/>
                    <a:pt x="1" y="5"/>
                  </a:cubicBezTo>
                  <a:cubicBezTo>
                    <a:pt x="0" y="3"/>
                    <a:pt x="2" y="0"/>
                    <a:pt x="5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3" name="Freeform 85">
              <a:extLst>
                <a:ext uri="{FF2B5EF4-FFF2-40B4-BE49-F238E27FC236}">
                  <a16:creationId xmlns:a16="http://schemas.microsoft.com/office/drawing/2014/main" id="{0AD7E486-B2D5-4539-9E22-520A7D637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8025" y="2706688"/>
              <a:ext cx="82550" cy="173038"/>
            </a:xfrm>
            <a:custGeom>
              <a:avLst/>
              <a:gdLst/>
              <a:ahLst/>
              <a:cxnLst>
                <a:cxn ang="0">
                  <a:pos x="36" y="35"/>
                </a:cxn>
                <a:cxn ang="0">
                  <a:pos x="44" y="37"/>
                </a:cxn>
                <a:cxn ang="0">
                  <a:pos x="41" y="34"/>
                </a:cxn>
                <a:cxn ang="0">
                  <a:pos x="33" y="33"/>
                </a:cxn>
                <a:cxn ang="0">
                  <a:pos x="30" y="32"/>
                </a:cxn>
                <a:cxn ang="0">
                  <a:pos x="28" y="26"/>
                </a:cxn>
                <a:cxn ang="0">
                  <a:pos x="20" y="26"/>
                </a:cxn>
                <a:cxn ang="0">
                  <a:pos x="20" y="16"/>
                </a:cxn>
                <a:cxn ang="0">
                  <a:pos x="21" y="12"/>
                </a:cxn>
                <a:cxn ang="0">
                  <a:pos x="6" y="20"/>
                </a:cxn>
                <a:cxn ang="0">
                  <a:pos x="9" y="25"/>
                </a:cxn>
                <a:cxn ang="0">
                  <a:pos x="12" y="28"/>
                </a:cxn>
                <a:cxn ang="0">
                  <a:pos x="13" y="32"/>
                </a:cxn>
                <a:cxn ang="0">
                  <a:pos x="16" y="36"/>
                </a:cxn>
                <a:cxn ang="0">
                  <a:pos x="13" y="41"/>
                </a:cxn>
                <a:cxn ang="0">
                  <a:pos x="11" y="44"/>
                </a:cxn>
                <a:cxn ang="0">
                  <a:pos x="4" y="41"/>
                </a:cxn>
                <a:cxn ang="0">
                  <a:pos x="0" y="44"/>
                </a:cxn>
                <a:cxn ang="0">
                  <a:pos x="3" y="48"/>
                </a:cxn>
                <a:cxn ang="0">
                  <a:pos x="6" y="54"/>
                </a:cxn>
                <a:cxn ang="0">
                  <a:pos x="21" y="54"/>
                </a:cxn>
                <a:cxn ang="0">
                  <a:pos x="21" y="67"/>
                </a:cxn>
                <a:cxn ang="0">
                  <a:pos x="20" y="80"/>
                </a:cxn>
                <a:cxn ang="0">
                  <a:pos x="20" y="92"/>
                </a:cxn>
                <a:cxn ang="0">
                  <a:pos x="25" y="82"/>
                </a:cxn>
                <a:cxn ang="0">
                  <a:pos x="28" y="68"/>
                </a:cxn>
                <a:cxn ang="0">
                  <a:pos x="30" y="61"/>
                </a:cxn>
                <a:cxn ang="0">
                  <a:pos x="36" y="62"/>
                </a:cxn>
                <a:cxn ang="0">
                  <a:pos x="33" y="58"/>
                </a:cxn>
                <a:cxn ang="0">
                  <a:pos x="29" y="52"/>
                </a:cxn>
                <a:cxn ang="0">
                  <a:pos x="34" y="44"/>
                </a:cxn>
                <a:cxn ang="0">
                  <a:pos x="33" y="38"/>
                </a:cxn>
                <a:cxn ang="0">
                  <a:pos x="37" y="34"/>
                </a:cxn>
              </a:cxnLst>
              <a:rect l="0" t="0" r="r" b="b"/>
              <a:pathLst>
                <a:path w="44" h="93">
                  <a:moveTo>
                    <a:pt x="37" y="34"/>
                  </a:moveTo>
                  <a:cubicBezTo>
                    <a:pt x="37" y="35"/>
                    <a:pt x="37" y="35"/>
                    <a:pt x="36" y="35"/>
                  </a:cubicBezTo>
                  <a:cubicBezTo>
                    <a:pt x="36" y="35"/>
                    <a:pt x="36" y="37"/>
                    <a:pt x="36" y="38"/>
                  </a:cubicBezTo>
                  <a:cubicBezTo>
                    <a:pt x="38" y="38"/>
                    <a:pt x="43" y="39"/>
                    <a:pt x="44" y="37"/>
                  </a:cubicBezTo>
                  <a:cubicBezTo>
                    <a:pt x="43" y="37"/>
                    <a:pt x="42" y="37"/>
                    <a:pt x="42" y="36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0" y="33"/>
                    <a:pt x="35" y="32"/>
                    <a:pt x="35" y="35"/>
                  </a:cubicBezTo>
                  <a:cubicBezTo>
                    <a:pt x="34" y="35"/>
                    <a:pt x="33" y="34"/>
                    <a:pt x="33" y="33"/>
                  </a:cubicBezTo>
                  <a:cubicBezTo>
                    <a:pt x="32" y="32"/>
                    <a:pt x="33" y="32"/>
                    <a:pt x="33" y="31"/>
                  </a:cubicBezTo>
                  <a:cubicBezTo>
                    <a:pt x="32" y="31"/>
                    <a:pt x="29" y="30"/>
                    <a:pt x="30" y="32"/>
                  </a:cubicBezTo>
                  <a:cubicBezTo>
                    <a:pt x="30" y="31"/>
                    <a:pt x="30" y="30"/>
                    <a:pt x="30" y="29"/>
                  </a:cubicBezTo>
                  <a:cubicBezTo>
                    <a:pt x="30" y="27"/>
                    <a:pt x="30" y="27"/>
                    <a:pt x="28" y="26"/>
                  </a:cubicBezTo>
                  <a:cubicBezTo>
                    <a:pt x="24" y="25"/>
                    <a:pt x="22" y="25"/>
                    <a:pt x="22" y="30"/>
                  </a:cubicBezTo>
                  <a:cubicBezTo>
                    <a:pt x="22" y="28"/>
                    <a:pt x="20" y="27"/>
                    <a:pt x="20" y="26"/>
                  </a:cubicBezTo>
                  <a:cubicBezTo>
                    <a:pt x="19" y="25"/>
                    <a:pt x="20" y="22"/>
                    <a:pt x="20" y="21"/>
                  </a:cubicBezTo>
                  <a:cubicBezTo>
                    <a:pt x="20" y="19"/>
                    <a:pt x="19" y="18"/>
                    <a:pt x="20" y="16"/>
                  </a:cubicBezTo>
                  <a:cubicBezTo>
                    <a:pt x="20" y="16"/>
                    <a:pt x="20" y="16"/>
                    <a:pt x="21" y="15"/>
                  </a:cubicBezTo>
                  <a:cubicBezTo>
                    <a:pt x="21" y="14"/>
                    <a:pt x="21" y="13"/>
                    <a:pt x="21" y="12"/>
                  </a:cubicBezTo>
                  <a:cubicBezTo>
                    <a:pt x="21" y="0"/>
                    <a:pt x="8" y="20"/>
                    <a:pt x="10" y="21"/>
                  </a:cubicBezTo>
                  <a:cubicBezTo>
                    <a:pt x="9" y="21"/>
                    <a:pt x="7" y="20"/>
                    <a:pt x="6" y="20"/>
                  </a:cubicBezTo>
                  <a:cubicBezTo>
                    <a:pt x="6" y="21"/>
                    <a:pt x="6" y="22"/>
                    <a:pt x="6" y="22"/>
                  </a:cubicBezTo>
                  <a:cubicBezTo>
                    <a:pt x="6" y="24"/>
                    <a:pt x="8" y="24"/>
                    <a:pt x="9" y="25"/>
                  </a:cubicBezTo>
                  <a:cubicBezTo>
                    <a:pt x="9" y="25"/>
                    <a:pt x="8" y="26"/>
                    <a:pt x="9" y="26"/>
                  </a:cubicBezTo>
                  <a:cubicBezTo>
                    <a:pt x="10" y="28"/>
                    <a:pt x="10" y="27"/>
                    <a:pt x="12" y="28"/>
                  </a:cubicBezTo>
                  <a:cubicBezTo>
                    <a:pt x="14" y="28"/>
                    <a:pt x="13" y="28"/>
                    <a:pt x="14" y="29"/>
                  </a:cubicBezTo>
                  <a:cubicBezTo>
                    <a:pt x="14" y="30"/>
                    <a:pt x="13" y="31"/>
                    <a:pt x="13" y="32"/>
                  </a:cubicBezTo>
                  <a:cubicBezTo>
                    <a:pt x="14" y="33"/>
                    <a:pt x="14" y="33"/>
                    <a:pt x="15" y="35"/>
                  </a:cubicBezTo>
                  <a:cubicBezTo>
                    <a:pt x="16" y="35"/>
                    <a:pt x="16" y="35"/>
                    <a:pt x="16" y="36"/>
                  </a:cubicBezTo>
                  <a:cubicBezTo>
                    <a:pt x="15" y="36"/>
                    <a:pt x="12" y="35"/>
                    <a:pt x="11" y="36"/>
                  </a:cubicBezTo>
                  <a:cubicBezTo>
                    <a:pt x="11" y="37"/>
                    <a:pt x="12" y="40"/>
                    <a:pt x="13" y="41"/>
                  </a:cubicBezTo>
                  <a:cubicBezTo>
                    <a:pt x="12" y="42"/>
                    <a:pt x="11" y="41"/>
                    <a:pt x="11" y="42"/>
                  </a:cubicBezTo>
                  <a:cubicBezTo>
                    <a:pt x="10" y="42"/>
                    <a:pt x="11" y="43"/>
                    <a:pt x="11" y="44"/>
                  </a:cubicBezTo>
                  <a:cubicBezTo>
                    <a:pt x="9" y="44"/>
                    <a:pt x="6" y="45"/>
                    <a:pt x="5" y="44"/>
                  </a:cubicBezTo>
                  <a:cubicBezTo>
                    <a:pt x="3" y="44"/>
                    <a:pt x="4" y="43"/>
                    <a:pt x="4" y="41"/>
                  </a:cubicBezTo>
                  <a:cubicBezTo>
                    <a:pt x="4" y="40"/>
                    <a:pt x="2" y="38"/>
                    <a:pt x="0" y="40"/>
                  </a:cubicBezTo>
                  <a:cubicBezTo>
                    <a:pt x="0" y="40"/>
                    <a:pt x="0" y="43"/>
                    <a:pt x="0" y="44"/>
                  </a:cubicBezTo>
                  <a:cubicBezTo>
                    <a:pt x="0" y="45"/>
                    <a:pt x="0" y="47"/>
                    <a:pt x="0" y="47"/>
                  </a:cubicBezTo>
                  <a:cubicBezTo>
                    <a:pt x="1" y="48"/>
                    <a:pt x="2" y="47"/>
                    <a:pt x="3" y="48"/>
                  </a:cubicBezTo>
                  <a:cubicBezTo>
                    <a:pt x="5" y="49"/>
                    <a:pt x="4" y="50"/>
                    <a:pt x="4" y="51"/>
                  </a:cubicBezTo>
                  <a:cubicBezTo>
                    <a:pt x="4" y="52"/>
                    <a:pt x="5" y="53"/>
                    <a:pt x="6" y="54"/>
                  </a:cubicBezTo>
                  <a:cubicBezTo>
                    <a:pt x="9" y="56"/>
                    <a:pt x="11" y="54"/>
                    <a:pt x="14" y="55"/>
                  </a:cubicBezTo>
                  <a:cubicBezTo>
                    <a:pt x="14" y="60"/>
                    <a:pt x="20" y="57"/>
                    <a:pt x="21" y="54"/>
                  </a:cubicBezTo>
                  <a:cubicBezTo>
                    <a:pt x="21" y="57"/>
                    <a:pt x="20" y="60"/>
                    <a:pt x="20" y="63"/>
                  </a:cubicBezTo>
                  <a:cubicBezTo>
                    <a:pt x="20" y="64"/>
                    <a:pt x="21" y="66"/>
                    <a:pt x="21" y="67"/>
                  </a:cubicBezTo>
                  <a:cubicBezTo>
                    <a:pt x="20" y="69"/>
                    <a:pt x="18" y="70"/>
                    <a:pt x="17" y="72"/>
                  </a:cubicBezTo>
                  <a:cubicBezTo>
                    <a:pt x="17" y="76"/>
                    <a:pt x="20" y="77"/>
                    <a:pt x="20" y="80"/>
                  </a:cubicBezTo>
                  <a:cubicBezTo>
                    <a:pt x="19" y="83"/>
                    <a:pt x="19" y="86"/>
                    <a:pt x="19" y="89"/>
                  </a:cubicBezTo>
                  <a:cubicBezTo>
                    <a:pt x="19" y="90"/>
                    <a:pt x="19" y="91"/>
                    <a:pt x="20" y="92"/>
                  </a:cubicBezTo>
                  <a:cubicBezTo>
                    <a:pt x="21" y="93"/>
                    <a:pt x="22" y="92"/>
                    <a:pt x="23" y="91"/>
                  </a:cubicBezTo>
                  <a:cubicBezTo>
                    <a:pt x="25" y="88"/>
                    <a:pt x="26" y="86"/>
                    <a:pt x="25" y="82"/>
                  </a:cubicBezTo>
                  <a:cubicBezTo>
                    <a:pt x="24" y="80"/>
                    <a:pt x="25" y="78"/>
                    <a:pt x="25" y="76"/>
                  </a:cubicBezTo>
                  <a:cubicBezTo>
                    <a:pt x="25" y="73"/>
                    <a:pt x="25" y="70"/>
                    <a:pt x="28" y="68"/>
                  </a:cubicBezTo>
                  <a:cubicBezTo>
                    <a:pt x="29" y="68"/>
                    <a:pt x="31" y="67"/>
                    <a:pt x="31" y="65"/>
                  </a:cubicBezTo>
                  <a:cubicBezTo>
                    <a:pt x="30" y="64"/>
                    <a:pt x="29" y="63"/>
                    <a:pt x="30" y="61"/>
                  </a:cubicBezTo>
                  <a:cubicBezTo>
                    <a:pt x="32" y="61"/>
                    <a:pt x="31" y="63"/>
                    <a:pt x="32" y="64"/>
                  </a:cubicBezTo>
                  <a:cubicBezTo>
                    <a:pt x="33" y="65"/>
                    <a:pt x="35" y="63"/>
                    <a:pt x="36" y="62"/>
                  </a:cubicBezTo>
                  <a:cubicBezTo>
                    <a:pt x="37" y="60"/>
                    <a:pt x="39" y="58"/>
                    <a:pt x="37" y="57"/>
                  </a:cubicBezTo>
                  <a:cubicBezTo>
                    <a:pt x="36" y="56"/>
                    <a:pt x="33" y="56"/>
                    <a:pt x="33" y="58"/>
                  </a:cubicBezTo>
                  <a:cubicBezTo>
                    <a:pt x="32" y="58"/>
                    <a:pt x="32" y="57"/>
                    <a:pt x="31" y="56"/>
                  </a:cubicBezTo>
                  <a:cubicBezTo>
                    <a:pt x="31" y="55"/>
                    <a:pt x="28" y="53"/>
                    <a:pt x="29" y="52"/>
                  </a:cubicBezTo>
                  <a:cubicBezTo>
                    <a:pt x="31" y="51"/>
                    <a:pt x="34" y="52"/>
                    <a:pt x="36" y="50"/>
                  </a:cubicBezTo>
                  <a:cubicBezTo>
                    <a:pt x="37" y="48"/>
                    <a:pt x="33" y="46"/>
                    <a:pt x="34" y="44"/>
                  </a:cubicBezTo>
                  <a:cubicBezTo>
                    <a:pt x="34" y="43"/>
                    <a:pt x="34" y="43"/>
                    <a:pt x="34" y="42"/>
                  </a:cubicBezTo>
                  <a:cubicBezTo>
                    <a:pt x="35" y="40"/>
                    <a:pt x="34" y="39"/>
                    <a:pt x="33" y="38"/>
                  </a:cubicBezTo>
                  <a:cubicBezTo>
                    <a:pt x="33" y="38"/>
                    <a:pt x="34" y="37"/>
                    <a:pt x="35" y="37"/>
                  </a:cubicBezTo>
                  <a:lnTo>
                    <a:pt x="37" y="34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4" name="Freeform 86">
              <a:extLst>
                <a:ext uri="{FF2B5EF4-FFF2-40B4-BE49-F238E27FC236}">
                  <a16:creationId xmlns:a16="http://schemas.microsoft.com/office/drawing/2014/main" id="{E34F8EDA-3637-4172-A8D6-79FF2AC74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813" y="2676525"/>
              <a:ext cx="20638" cy="39688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1" y="11"/>
                </a:cxn>
                <a:cxn ang="0">
                  <a:pos x="1" y="18"/>
                </a:cxn>
                <a:cxn ang="0">
                  <a:pos x="8" y="15"/>
                </a:cxn>
                <a:cxn ang="0">
                  <a:pos x="9" y="0"/>
                </a:cxn>
                <a:cxn ang="0">
                  <a:pos x="9" y="2"/>
                </a:cxn>
              </a:cxnLst>
              <a:rect l="0" t="0" r="r" b="b"/>
              <a:pathLst>
                <a:path w="11" h="21">
                  <a:moveTo>
                    <a:pt x="9" y="2"/>
                  </a:moveTo>
                  <a:cubicBezTo>
                    <a:pt x="4" y="2"/>
                    <a:pt x="1" y="7"/>
                    <a:pt x="1" y="11"/>
                  </a:cubicBezTo>
                  <a:cubicBezTo>
                    <a:pt x="1" y="13"/>
                    <a:pt x="0" y="17"/>
                    <a:pt x="1" y="18"/>
                  </a:cubicBezTo>
                  <a:cubicBezTo>
                    <a:pt x="3" y="21"/>
                    <a:pt x="7" y="17"/>
                    <a:pt x="8" y="15"/>
                  </a:cubicBezTo>
                  <a:cubicBezTo>
                    <a:pt x="10" y="11"/>
                    <a:pt x="11" y="6"/>
                    <a:pt x="9" y="0"/>
                  </a:cubicBezTo>
                  <a:lnTo>
                    <a:pt x="9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5" name="Line 87">
              <a:extLst>
                <a:ext uri="{FF2B5EF4-FFF2-40B4-BE49-F238E27FC236}">
                  <a16:creationId xmlns:a16="http://schemas.microsoft.com/office/drawing/2014/main" id="{04C2DCEB-49B5-4110-8078-150DD0C736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6" name="Line 88">
              <a:extLst>
                <a:ext uri="{FF2B5EF4-FFF2-40B4-BE49-F238E27FC236}">
                  <a16:creationId xmlns:a16="http://schemas.microsoft.com/office/drawing/2014/main" id="{2A2125BA-08C4-4814-8124-75DAC913BC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7" name="Freeform 89">
              <a:extLst>
                <a:ext uri="{FF2B5EF4-FFF2-40B4-BE49-F238E27FC236}">
                  <a16:creationId xmlns:a16="http://schemas.microsoft.com/office/drawing/2014/main" id="{B801CEB9-1910-427A-B5F7-79D9B8428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8738" y="3735388"/>
              <a:ext cx="263525" cy="222250"/>
            </a:xfrm>
            <a:custGeom>
              <a:avLst/>
              <a:gdLst/>
              <a:ahLst/>
              <a:cxnLst>
                <a:cxn ang="0">
                  <a:pos x="140" y="68"/>
                </a:cxn>
                <a:cxn ang="0">
                  <a:pos x="135" y="48"/>
                </a:cxn>
                <a:cxn ang="0">
                  <a:pos x="127" y="45"/>
                </a:cxn>
                <a:cxn ang="0">
                  <a:pos x="118" y="42"/>
                </a:cxn>
                <a:cxn ang="0">
                  <a:pos x="107" y="16"/>
                </a:cxn>
                <a:cxn ang="0">
                  <a:pos x="90" y="6"/>
                </a:cxn>
                <a:cxn ang="0">
                  <a:pos x="78" y="1"/>
                </a:cxn>
                <a:cxn ang="0">
                  <a:pos x="73" y="0"/>
                </a:cxn>
                <a:cxn ang="0">
                  <a:pos x="61" y="6"/>
                </a:cxn>
                <a:cxn ang="0">
                  <a:pos x="58" y="13"/>
                </a:cxn>
                <a:cxn ang="0">
                  <a:pos x="55" y="16"/>
                </a:cxn>
                <a:cxn ang="0">
                  <a:pos x="50" y="21"/>
                </a:cxn>
                <a:cxn ang="0">
                  <a:pos x="41" y="26"/>
                </a:cxn>
                <a:cxn ang="0">
                  <a:pos x="35" y="36"/>
                </a:cxn>
                <a:cxn ang="0">
                  <a:pos x="31" y="44"/>
                </a:cxn>
                <a:cxn ang="0">
                  <a:pos x="24" y="53"/>
                </a:cxn>
                <a:cxn ang="0">
                  <a:pos x="11" y="55"/>
                </a:cxn>
                <a:cxn ang="0">
                  <a:pos x="11" y="61"/>
                </a:cxn>
                <a:cxn ang="0">
                  <a:pos x="19" y="63"/>
                </a:cxn>
                <a:cxn ang="0">
                  <a:pos x="14" y="68"/>
                </a:cxn>
                <a:cxn ang="0">
                  <a:pos x="3" y="76"/>
                </a:cxn>
                <a:cxn ang="0">
                  <a:pos x="1" y="86"/>
                </a:cxn>
                <a:cxn ang="0">
                  <a:pos x="6" y="90"/>
                </a:cxn>
                <a:cxn ang="0">
                  <a:pos x="7" y="94"/>
                </a:cxn>
                <a:cxn ang="0">
                  <a:pos x="11" y="100"/>
                </a:cxn>
                <a:cxn ang="0">
                  <a:pos x="22" y="103"/>
                </a:cxn>
                <a:cxn ang="0">
                  <a:pos x="25" y="106"/>
                </a:cxn>
                <a:cxn ang="0">
                  <a:pos x="35" y="109"/>
                </a:cxn>
                <a:cxn ang="0">
                  <a:pos x="42" y="104"/>
                </a:cxn>
                <a:cxn ang="0">
                  <a:pos x="49" y="97"/>
                </a:cxn>
                <a:cxn ang="0">
                  <a:pos x="50" y="89"/>
                </a:cxn>
                <a:cxn ang="0">
                  <a:pos x="58" y="84"/>
                </a:cxn>
                <a:cxn ang="0">
                  <a:pos x="66" y="95"/>
                </a:cxn>
                <a:cxn ang="0">
                  <a:pos x="71" y="102"/>
                </a:cxn>
                <a:cxn ang="0">
                  <a:pos x="76" y="113"/>
                </a:cxn>
                <a:cxn ang="0">
                  <a:pos x="85" y="116"/>
                </a:cxn>
                <a:cxn ang="0">
                  <a:pos x="89" y="113"/>
                </a:cxn>
                <a:cxn ang="0">
                  <a:pos x="95" y="112"/>
                </a:cxn>
                <a:cxn ang="0">
                  <a:pos x="104" y="116"/>
                </a:cxn>
                <a:cxn ang="0">
                  <a:pos x="110" y="117"/>
                </a:cxn>
                <a:cxn ang="0">
                  <a:pos x="117" y="99"/>
                </a:cxn>
                <a:cxn ang="0">
                  <a:pos x="132" y="94"/>
                </a:cxn>
                <a:cxn ang="0">
                  <a:pos x="140" y="77"/>
                </a:cxn>
              </a:cxnLst>
              <a:rect l="0" t="0" r="r" b="b"/>
              <a:pathLst>
                <a:path w="141" h="119">
                  <a:moveTo>
                    <a:pt x="140" y="77"/>
                  </a:moveTo>
                  <a:cubicBezTo>
                    <a:pt x="140" y="74"/>
                    <a:pt x="141" y="71"/>
                    <a:pt x="140" y="68"/>
                  </a:cubicBezTo>
                  <a:cubicBezTo>
                    <a:pt x="139" y="65"/>
                    <a:pt x="135" y="62"/>
                    <a:pt x="133" y="62"/>
                  </a:cubicBezTo>
                  <a:cubicBezTo>
                    <a:pt x="132" y="57"/>
                    <a:pt x="137" y="53"/>
                    <a:pt x="135" y="48"/>
                  </a:cubicBezTo>
                  <a:cubicBezTo>
                    <a:pt x="134" y="48"/>
                    <a:pt x="132" y="48"/>
                    <a:pt x="131" y="47"/>
                  </a:cubicBezTo>
                  <a:cubicBezTo>
                    <a:pt x="128" y="46"/>
                    <a:pt x="129" y="47"/>
                    <a:pt x="127" y="45"/>
                  </a:cubicBezTo>
                  <a:cubicBezTo>
                    <a:pt x="126" y="43"/>
                    <a:pt x="125" y="41"/>
                    <a:pt x="122" y="41"/>
                  </a:cubicBezTo>
                  <a:cubicBezTo>
                    <a:pt x="120" y="41"/>
                    <a:pt x="120" y="43"/>
                    <a:pt x="118" y="42"/>
                  </a:cubicBezTo>
                  <a:cubicBezTo>
                    <a:pt x="118" y="38"/>
                    <a:pt x="114" y="34"/>
                    <a:pt x="112" y="30"/>
                  </a:cubicBezTo>
                  <a:cubicBezTo>
                    <a:pt x="109" y="25"/>
                    <a:pt x="107" y="22"/>
                    <a:pt x="107" y="16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06" y="6"/>
                    <a:pt x="97" y="5"/>
                    <a:pt x="90" y="6"/>
                  </a:cubicBezTo>
                  <a:cubicBezTo>
                    <a:pt x="86" y="6"/>
                    <a:pt x="85" y="8"/>
                    <a:pt x="82" y="8"/>
                  </a:cubicBezTo>
                  <a:cubicBezTo>
                    <a:pt x="77" y="9"/>
                    <a:pt x="78" y="4"/>
                    <a:pt x="78" y="1"/>
                  </a:cubicBezTo>
                  <a:cubicBezTo>
                    <a:pt x="76" y="0"/>
                    <a:pt x="75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2"/>
                    <a:pt x="68" y="2"/>
                    <a:pt x="66" y="3"/>
                  </a:cubicBezTo>
                  <a:cubicBezTo>
                    <a:pt x="64" y="3"/>
                    <a:pt x="63" y="5"/>
                    <a:pt x="61" y="6"/>
                  </a:cubicBezTo>
                  <a:cubicBezTo>
                    <a:pt x="60" y="7"/>
                    <a:pt x="58" y="9"/>
                    <a:pt x="58" y="10"/>
                  </a:cubicBezTo>
                  <a:cubicBezTo>
                    <a:pt x="58" y="11"/>
                    <a:pt x="58" y="12"/>
                    <a:pt x="58" y="13"/>
                  </a:cubicBezTo>
                  <a:cubicBezTo>
                    <a:pt x="57" y="13"/>
                    <a:pt x="57" y="13"/>
                    <a:pt x="56" y="13"/>
                  </a:cubicBezTo>
                  <a:cubicBezTo>
                    <a:pt x="56" y="14"/>
                    <a:pt x="56" y="15"/>
                    <a:pt x="55" y="16"/>
                  </a:cubicBezTo>
                  <a:cubicBezTo>
                    <a:pt x="55" y="16"/>
                    <a:pt x="54" y="18"/>
                    <a:pt x="54" y="18"/>
                  </a:cubicBezTo>
                  <a:cubicBezTo>
                    <a:pt x="53" y="19"/>
                    <a:pt x="51" y="20"/>
                    <a:pt x="50" y="21"/>
                  </a:cubicBezTo>
                  <a:cubicBezTo>
                    <a:pt x="48" y="22"/>
                    <a:pt x="48" y="23"/>
                    <a:pt x="46" y="23"/>
                  </a:cubicBezTo>
                  <a:cubicBezTo>
                    <a:pt x="43" y="24"/>
                    <a:pt x="42" y="22"/>
                    <a:pt x="41" y="26"/>
                  </a:cubicBezTo>
                  <a:cubicBezTo>
                    <a:pt x="41" y="29"/>
                    <a:pt x="40" y="29"/>
                    <a:pt x="38" y="31"/>
                  </a:cubicBezTo>
                  <a:cubicBezTo>
                    <a:pt x="37" y="33"/>
                    <a:pt x="36" y="34"/>
                    <a:pt x="35" y="36"/>
                  </a:cubicBezTo>
                  <a:cubicBezTo>
                    <a:pt x="34" y="38"/>
                    <a:pt x="34" y="40"/>
                    <a:pt x="33" y="41"/>
                  </a:cubicBezTo>
                  <a:cubicBezTo>
                    <a:pt x="33" y="43"/>
                    <a:pt x="32" y="43"/>
                    <a:pt x="31" y="44"/>
                  </a:cubicBezTo>
                  <a:cubicBezTo>
                    <a:pt x="29" y="46"/>
                    <a:pt x="28" y="49"/>
                    <a:pt x="28" y="51"/>
                  </a:cubicBezTo>
                  <a:cubicBezTo>
                    <a:pt x="27" y="53"/>
                    <a:pt x="27" y="53"/>
                    <a:pt x="24" y="53"/>
                  </a:cubicBezTo>
                  <a:cubicBezTo>
                    <a:pt x="22" y="53"/>
                    <a:pt x="20" y="53"/>
                    <a:pt x="17" y="53"/>
                  </a:cubicBezTo>
                  <a:cubicBezTo>
                    <a:pt x="15" y="53"/>
                    <a:pt x="12" y="53"/>
                    <a:pt x="11" y="55"/>
                  </a:cubicBezTo>
                  <a:cubicBezTo>
                    <a:pt x="11" y="56"/>
                    <a:pt x="10" y="58"/>
                    <a:pt x="10" y="59"/>
                  </a:cubicBezTo>
                  <a:cubicBezTo>
                    <a:pt x="10" y="60"/>
                    <a:pt x="10" y="60"/>
                    <a:pt x="11" y="61"/>
                  </a:cubicBezTo>
                  <a:cubicBezTo>
                    <a:pt x="13" y="62"/>
                    <a:pt x="14" y="62"/>
                    <a:pt x="16" y="62"/>
                  </a:cubicBezTo>
                  <a:cubicBezTo>
                    <a:pt x="17" y="62"/>
                    <a:pt x="18" y="63"/>
                    <a:pt x="19" y="63"/>
                  </a:cubicBezTo>
                  <a:cubicBezTo>
                    <a:pt x="18" y="63"/>
                    <a:pt x="17" y="64"/>
                    <a:pt x="16" y="65"/>
                  </a:cubicBezTo>
                  <a:cubicBezTo>
                    <a:pt x="16" y="66"/>
                    <a:pt x="15" y="67"/>
                    <a:pt x="14" y="68"/>
                  </a:cubicBezTo>
                  <a:cubicBezTo>
                    <a:pt x="13" y="69"/>
                    <a:pt x="10" y="71"/>
                    <a:pt x="8" y="72"/>
                  </a:cubicBezTo>
                  <a:cubicBezTo>
                    <a:pt x="6" y="73"/>
                    <a:pt x="5" y="74"/>
                    <a:pt x="3" y="76"/>
                  </a:cubicBezTo>
                  <a:cubicBezTo>
                    <a:pt x="2" y="78"/>
                    <a:pt x="0" y="78"/>
                    <a:pt x="0" y="80"/>
                  </a:cubicBezTo>
                  <a:cubicBezTo>
                    <a:pt x="0" y="82"/>
                    <a:pt x="0" y="84"/>
                    <a:pt x="1" y="86"/>
                  </a:cubicBezTo>
                  <a:cubicBezTo>
                    <a:pt x="2" y="87"/>
                    <a:pt x="3" y="88"/>
                    <a:pt x="5" y="89"/>
                  </a:cubicBezTo>
                  <a:cubicBezTo>
                    <a:pt x="5" y="89"/>
                    <a:pt x="6" y="90"/>
                    <a:pt x="6" y="90"/>
                  </a:cubicBezTo>
                  <a:cubicBezTo>
                    <a:pt x="7" y="91"/>
                    <a:pt x="6" y="91"/>
                    <a:pt x="6" y="92"/>
                  </a:cubicBezTo>
                  <a:cubicBezTo>
                    <a:pt x="7" y="92"/>
                    <a:pt x="7" y="93"/>
                    <a:pt x="7" y="94"/>
                  </a:cubicBezTo>
                  <a:cubicBezTo>
                    <a:pt x="8" y="95"/>
                    <a:pt x="9" y="95"/>
                    <a:pt x="10" y="97"/>
                  </a:cubicBezTo>
                  <a:cubicBezTo>
                    <a:pt x="10" y="98"/>
                    <a:pt x="10" y="99"/>
                    <a:pt x="11" y="100"/>
                  </a:cubicBezTo>
                  <a:cubicBezTo>
                    <a:pt x="12" y="101"/>
                    <a:pt x="15" y="102"/>
                    <a:pt x="17" y="102"/>
                  </a:cubicBezTo>
                  <a:cubicBezTo>
                    <a:pt x="18" y="102"/>
                    <a:pt x="21" y="102"/>
                    <a:pt x="22" y="103"/>
                  </a:cubicBezTo>
                  <a:cubicBezTo>
                    <a:pt x="23" y="104"/>
                    <a:pt x="22" y="104"/>
                    <a:pt x="23" y="104"/>
                  </a:cubicBezTo>
                  <a:cubicBezTo>
                    <a:pt x="24" y="105"/>
                    <a:pt x="24" y="105"/>
                    <a:pt x="25" y="106"/>
                  </a:cubicBezTo>
                  <a:cubicBezTo>
                    <a:pt x="26" y="106"/>
                    <a:pt x="27" y="107"/>
                    <a:pt x="28" y="108"/>
                  </a:cubicBezTo>
                  <a:cubicBezTo>
                    <a:pt x="30" y="109"/>
                    <a:pt x="33" y="108"/>
                    <a:pt x="35" y="109"/>
                  </a:cubicBezTo>
                  <a:cubicBezTo>
                    <a:pt x="36" y="109"/>
                    <a:pt x="39" y="110"/>
                    <a:pt x="41" y="110"/>
                  </a:cubicBezTo>
                  <a:cubicBezTo>
                    <a:pt x="43" y="109"/>
                    <a:pt x="41" y="106"/>
                    <a:pt x="42" y="104"/>
                  </a:cubicBezTo>
                  <a:cubicBezTo>
                    <a:pt x="43" y="102"/>
                    <a:pt x="47" y="104"/>
                    <a:pt x="48" y="103"/>
                  </a:cubicBezTo>
                  <a:cubicBezTo>
                    <a:pt x="50" y="102"/>
                    <a:pt x="50" y="99"/>
                    <a:pt x="49" y="97"/>
                  </a:cubicBezTo>
                  <a:cubicBezTo>
                    <a:pt x="48" y="96"/>
                    <a:pt x="48" y="95"/>
                    <a:pt x="48" y="94"/>
                  </a:cubicBezTo>
                  <a:cubicBezTo>
                    <a:pt x="48" y="92"/>
                    <a:pt x="49" y="91"/>
                    <a:pt x="50" y="89"/>
                  </a:cubicBezTo>
                  <a:cubicBezTo>
                    <a:pt x="51" y="88"/>
                    <a:pt x="52" y="85"/>
                    <a:pt x="54" y="85"/>
                  </a:cubicBezTo>
                  <a:cubicBezTo>
                    <a:pt x="55" y="84"/>
                    <a:pt x="57" y="85"/>
                    <a:pt x="58" y="84"/>
                  </a:cubicBezTo>
                  <a:cubicBezTo>
                    <a:pt x="60" y="86"/>
                    <a:pt x="61" y="88"/>
                    <a:pt x="62" y="90"/>
                  </a:cubicBezTo>
                  <a:cubicBezTo>
                    <a:pt x="64" y="92"/>
                    <a:pt x="65" y="93"/>
                    <a:pt x="66" y="95"/>
                  </a:cubicBezTo>
                  <a:cubicBezTo>
                    <a:pt x="67" y="97"/>
                    <a:pt x="66" y="98"/>
                    <a:pt x="66" y="100"/>
                  </a:cubicBezTo>
                  <a:cubicBezTo>
                    <a:pt x="66" y="102"/>
                    <a:pt x="69" y="102"/>
                    <a:pt x="71" y="102"/>
                  </a:cubicBezTo>
                  <a:cubicBezTo>
                    <a:pt x="73" y="103"/>
                    <a:pt x="74" y="104"/>
                    <a:pt x="74" y="105"/>
                  </a:cubicBezTo>
                  <a:cubicBezTo>
                    <a:pt x="75" y="108"/>
                    <a:pt x="76" y="110"/>
                    <a:pt x="76" y="113"/>
                  </a:cubicBezTo>
                  <a:cubicBezTo>
                    <a:pt x="76" y="115"/>
                    <a:pt x="76" y="117"/>
                    <a:pt x="79" y="117"/>
                  </a:cubicBezTo>
                  <a:cubicBezTo>
                    <a:pt x="81" y="117"/>
                    <a:pt x="83" y="117"/>
                    <a:pt x="85" y="116"/>
                  </a:cubicBezTo>
                  <a:cubicBezTo>
                    <a:pt x="86" y="115"/>
                    <a:pt x="87" y="115"/>
                    <a:pt x="88" y="113"/>
                  </a:cubicBezTo>
                  <a:cubicBezTo>
                    <a:pt x="88" y="113"/>
                    <a:pt x="88" y="113"/>
                    <a:pt x="89" y="113"/>
                  </a:cubicBezTo>
                  <a:cubicBezTo>
                    <a:pt x="89" y="112"/>
                    <a:pt x="89" y="111"/>
                    <a:pt x="90" y="110"/>
                  </a:cubicBezTo>
                  <a:cubicBezTo>
                    <a:pt x="92" y="111"/>
                    <a:pt x="93" y="111"/>
                    <a:pt x="95" y="112"/>
                  </a:cubicBezTo>
                  <a:cubicBezTo>
                    <a:pt x="97" y="113"/>
                    <a:pt x="98" y="115"/>
                    <a:pt x="100" y="115"/>
                  </a:cubicBezTo>
                  <a:cubicBezTo>
                    <a:pt x="102" y="115"/>
                    <a:pt x="102" y="115"/>
                    <a:pt x="104" y="116"/>
                  </a:cubicBezTo>
                  <a:cubicBezTo>
                    <a:pt x="106" y="117"/>
                    <a:pt x="108" y="118"/>
                    <a:pt x="109" y="119"/>
                  </a:cubicBezTo>
                  <a:cubicBezTo>
                    <a:pt x="110" y="118"/>
                    <a:pt x="110" y="118"/>
                    <a:pt x="110" y="117"/>
                  </a:cubicBezTo>
                  <a:cubicBezTo>
                    <a:pt x="113" y="114"/>
                    <a:pt x="114" y="111"/>
                    <a:pt x="114" y="107"/>
                  </a:cubicBezTo>
                  <a:cubicBezTo>
                    <a:pt x="114" y="103"/>
                    <a:pt x="113" y="100"/>
                    <a:pt x="117" y="99"/>
                  </a:cubicBezTo>
                  <a:cubicBezTo>
                    <a:pt x="120" y="99"/>
                    <a:pt x="123" y="99"/>
                    <a:pt x="125" y="99"/>
                  </a:cubicBezTo>
                  <a:cubicBezTo>
                    <a:pt x="130" y="99"/>
                    <a:pt x="130" y="98"/>
                    <a:pt x="132" y="94"/>
                  </a:cubicBezTo>
                  <a:cubicBezTo>
                    <a:pt x="134" y="92"/>
                    <a:pt x="136" y="90"/>
                    <a:pt x="138" y="87"/>
                  </a:cubicBezTo>
                  <a:cubicBezTo>
                    <a:pt x="139" y="84"/>
                    <a:pt x="139" y="80"/>
                    <a:pt x="140" y="7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8" name="Freeform 90">
              <a:extLst>
                <a:ext uri="{FF2B5EF4-FFF2-40B4-BE49-F238E27FC236}">
                  <a16:creationId xmlns:a16="http://schemas.microsoft.com/office/drawing/2014/main" id="{90A5A3F9-0828-4273-982D-591E82916B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0525" y="3887788"/>
              <a:ext cx="46038" cy="53975"/>
            </a:xfrm>
            <a:custGeom>
              <a:avLst/>
              <a:gdLst/>
              <a:ahLst/>
              <a:cxnLst>
                <a:cxn ang="0">
                  <a:pos x="21" y="1"/>
                </a:cxn>
                <a:cxn ang="0">
                  <a:pos x="21" y="1"/>
                </a:cxn>
                <a:cxn ang="0">
                  <a:pos x="19" y="0"/>
                </a:cxn>
                <a:cxn ang="0">
                  <a:pos x="11" y="3"/>
                </a:cxn>
                <a:cxn ang="0">
                  <a:pos x="8" y="7"/>
                </a:cxn>
                <a:cxn ang="0">
                  <a:pos x="6" y="10"/>
                </a:cxn>
                <a:cxn ang="0">
                  <a:pos x="1" y="19"/>
                </a:cxn>
                <a:cxn ang="0">
                  <a:pos x="1" y="25"/>
                </a:cxn>
                <a:cxn ang="0">
                  <a:pos x="2" y="27"/>
                </a:cxn>
                <a:cxn ang="0">
                  <a:pos x="4" y="28"/>
                </a:cxn>
                <a:cxn ang="0">
                  <a:pos x="10" y="28"/>
                </a:cxn>
                <a:cxn ang="0">
                  <a:pos x="15" y="27"/>
                </a:cxn>
                <a:cxn ang="0">
                  <a:pos x="18" y="24"/>
                </a:cxn>
                <a:cxn ang="0">
                  <a:pos x="21" y="21"/>
                </a:cxn>
                <a:cxn ang="0">
                  <a:pos x="24" y="14"/>
                </a:cxn>
                <a:cxn ang="0">
                  <a:pos x="22" y="6"/>
                </a:cxn>
                <a:cxn ang="0">
                  <a:pos x="20" y="4"/>
                </a:cxn>
                <a:cxn ang="0">
                  <a:pos x="18" y="2"/>
                </a:cxn>
                <a:cxn ang="0">
                  <a:pos x="21" y="1"/>
                </a:cxn>
              </a:cxnLst>
              <a:rect l="0" t="0" r="r" b="b"/>
              <a:pathLst>
                <a:path w="24" h="29">
                  <a:moveTo>
                    <a:pt x="21" y="1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6" y="0"/>
                    <a:pt x="13" y="0"/>
                    <a:pt x="11" y="3"/>
                  </a:cubicBezTo>
                  <a:cubicBezTo>
                    <a:pt x="10" y="4"/>
                    <a:pt x="9" y="6"/>
                    <a:pt x="8" y="7"/>
                  </a:cubicBezTo>
                  <a:cubicBezTo>
                    <a:pt x="8" y="8"/>
                    <a:pt x="7" y="9"/>
                    <a:pt x="6" y="10"/>
                  </a:cubicBezTo>
                  <a:cubicBezTo>
                    <a:pt x="4" y="13"/>
                    <a:pt x="2" y="16"/>
                    <a:pt x="1" y="19"/>
                  </a:cubicBezTo>
                  <a:cubicBezTo>
                    <a:pt x="0" y="21"/>
                    <a:pt x="0" y="23"/>
                    <a:pt x="1" y="25"/>
                  </a:cubicBezTo>
                  <a:cubicBezTo>
                    <a:pt x="1" y="26"/>
                    <a:pt x="1" y="27"/>
                    <a:pt x="2" y="27"/>
                  </a:cubicBezTo>
                  <a:cubicBezTo>
                    <a:pt x="2" y="28"/>
                    <a:pt x="3" y="28"/>
                    <a:pt x="4" y="28"/>
                  </a:cubicBezTo>
                  <a:cubicBezTo>
                    <a:pt x="6" y="28"/>
                    <a:pt x="8" y="29"/>
                    <a:pt x="10" y="28"/>
                  </a:cubicBezTo>
                  <a:cubicBezTo>
                    <a:pt x="12" y="28"/>
                    <a:pt x="13" y="28"/>
                    <a:pt x="15" y="27"/>
                  </a:cubicBezTo>
                  <a:cubicBezTo>
                    <a:pt x="16" y="26"/>
                    <a:pt x="17" y="25"/>
                    <a:pt x="18" y="24"/>
                  </a:cubicBezTo>
                  <a:cubicBezTo>
                    <a:pt x="19" y="23"/>
                    <a:pt x="20" y="22"/>
                    <a:pt x="21" y="21"/>
                  </a:cubicBezTo>
                  <a:cubicBezTo>
                    <a:pt x="23" y="19"/>
                    <a:pt x="23" y="16"/>
                    <a:pt x="24" y="14"/>
                  </a:cubicBezTo>
                  <a:cubicBezTo>
                    <a:pt x="24" y="11"/>
                    <a:pt x="24" y="9"/>
                    <a:pt x="22" y="6"/>
                  </a:cubicBezTo>
                  <a:cubicBezTo>
                    <a:pt x="21" y="6"/>
                    <a:pt x="20" y="5"/>
                    <a:pt x="20" y="4"/>
                  </a:cubicBezTo>
                  <a:cubicBezTo>
                    <a:pt x="19" y="4"/>
                    <a:pt x="18" y="3"/>
                    <a:pt x="18" y="2"/>
                  </a:cubicBezTo>
                  <a:lnTo>
                    <a:pt x="21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9" name="Freeform 91">
              <a:extLst>
                <a:ext uri="{FF2B5EF4-FFF2-40B4-BE49-F238E27FC236}">
                  <a16:creationId xmlns:a16="http://schemas.microsoft.com/office/drawing/2014/main" id="{5F9947EF-F7B2-4130-BB57-A814A940A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3263" y="4511675"/>
              <a:ext cx="71438" cy="30163"/>
            </a:xfrm>
            <a:custGeom>
              <a:avLst/>
              <a:gdLst/>
              <a:ahLst/>
              <a:cxnLst>
                <a:cxn ang="0">
                  <a:pos x="29" y="3"/>
                </a:cxn>
                <a:cxn ang="0">
                  <a:pos x="29" y="3"/>
                </a:cxn>
                <a:cxn ang="0">
                  <a:pos x="24" y="1"/>
                </a:cxn>
                <a:cxn ang="0">
                  <a:pos x="13" y="1"/>
                </a:cxn>
                <a:cxn ang="0">
                  <a:pos x="9" y="3"/>
                </a:cxn>
                <a:cxn ang="0">
                  <a:pos x="4" y="4"/>
                </a:cxn>
                <a:cxn ang="0">
                  <a:pos x="1" y="6"/>
                </a:cxn>
                <a:cxn ang="0">
                  <a:pos x="0" y="9"/>
                </a:cxn>
                <a:cxn ang="0">
                  <a:pos x="2" y="12"/>
                </a:cxn>
                <a:cxn ang="0">
                  <a:pos x="6" y="14"/>
                </a:cxn>
                <a:cxn ang="0">
                  <a:pos x="13" y="16"/>
                </a:cxn>
                <a:cxn ang="0">
                  <a:pos x="21" y="16"/>
                </a:cxn>
                <a:cxn ang="0">
                  <a:pos x="29" y="15"/>
                </a:cxn>
                <a:cxn ang="0">
                  <a:pos x="34" y="13"/>
                </a:cxn>
                <a:cxn ang="0">
                  <a:pos x="38" y="10"/>
                </a:cxn>
                <a:cxn ang="0">
                  <a:pos x="36" y="5"/>
                </a:cxn>
                <a:cxn ang="0">
                  <a:pos x="29" y="3"/>
                </a:cxn>
              </a:cxnLst>
              <a:rect l="0" t="0" r="r" b="b"/>
              <a:pathLst>
                <a:path w="38" h="16">
                  <a:moveTo>
                    <a:pt x="29" y="3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8" y="2"/>
                    <a:pt x="26" y="1"/>
                    <a:pt x="24" y="1"/>
                  </a:cubicBezTo>
                  <a:cubicBezTo>
                    <a:pt x="21" y="0"/>
                    <a:pt x="17" y="0"/>
                    <a:pt x="13" y="1"/>
                  </a:cubicBezTo>
                  <a:cubicBezTo>
                    <a:pt x="12" y="1"/>
                    <a:pt x="10" y="2"/>
                    <a:pt x="9" y="3"/>
                  </a:cubicBezTo>
                  <a:cubicBezTo>
                    <a:pt x="7" y="3"/>
                    <a:pt x="6" y="4"/>
                    <a:pt x="4" y="4"/>
                  </a:cubicBezTo>
                  <a:cubicBezTo>
                    <a:pt x="3" y="5"/>
                    <a:pt x="2" y="6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cubicBezTo>
                    <a:pt x="3" y="13"/>
                    <a:pt x="4" y="14"/>
                    <a:pt x="6" y="14"/>
                  </a:cubicBezTo>
                  <a:cubicBezTo>
                    <a:pt x="8" y="15"/>
                    <a:pt x="10" y="16"/>
                    <a:pt x="13" y="16"/>
                  </a:cubicBezTo>
                  <a:cubicBezTo>
                    <a:pt x="16" y="16"/>
                    <a:pt x="19" y="16"/>
                    <a:pt x="21" y="16"/>
                  </a:cubicBezTo>
                  <a:cubicBezTo>
                    <a:pt x="24" y="16"/>
                    <a:pt x="27" y="16"/>
                    <a:pt x="29" y="15"/>
                  </a:cubicBezTo>
                  <a:cubicBezTo>
                    <a:pt x="31" y="15"/>
                    <a:pt x="33" y="14"/>
                    <a:pt x="34" y="13"/>
                  </a:cubicBezTo>
                  <a:cubicBezTo>
                    <a:pt x="36" y="12"/>
                    <a:pt x="37" y="11"/>
                    <a:pt x="38" y="10"/>
                  </a:cubicBezTo>
                  <a:cubicBezTo>
                    <a:pt x="38" y="8"/>
                    <a:pt x="37" y="6"/>
                    <a:pt x="36" y="5"/>
                  </a:cubicBezTo>
                  <a:lnTo>
                    <a:pt x="29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0" name="Freeform 92">
              <a:extLst>
                <a:ext uri="{FF2B5EF4-FFF2-40B4-BE49-F238E27FC236}">
                  <a16:creationId xmlns:a16="http://schemas.microsoft.com/office/drawing/2014/main" id="{567F1D41-BEC1-43BA-9670-E77F428E6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2838" y="5722938"/>
              <a:ext cx="365125" cy="711200"/>
            </a:xfrm>
            <a:custGeom>
              <a:avLst/>
              <a:gdLst/>
              <a:ahLst/>
              <a:cxnLst>
                <a:cxn ang="0">
                  <a:pos x="9" y="214"/>
                </a:cxn>
                <a:cxn ang="0">
                  <a:pos x="1" y="233"/>
                </a:cxn>
                <a:cxn ang="0">
                  <a:pos x="0" y="251"/>
                </a:cxn>
                <a:cxn ang="0">
                  <a:pos x="9" y="267"/>
                </a:cxn>
                <a:cxn ang="0">
                  <a:pos x="25" y="280"/>
                </a:cxn>
                <a:cxn ang="0">
                  <a:pos x="36" y="293"/>
                </a:cxn>
                <a:cxn ang="0">
                  <a:pos x="30" y="317"/>
                </a:cxn>
                <a:cxn ang="0">
                  <a:pos x="35" y="341"/>
                </a:cxn>
                <a:cxn ang="0">
                  <a:pos x="34" y="354"/>
                </a:cxn>
                <a:cxn ang="0">
                  <a:pos x="29" y="365"/>
                </a:cxn>
                <a:cxn ang="0">
                  <a:pos x="54" y="374"/>
                </a:cxn>
                <a:cxn ang="0">
                  <a:pos x="67" y="374"/>
                </a:cxn>
                <a:cxn ang="0">
                  <a:pos x="81" y="378"/>
                </a:cxn>
                <a:cxn ang="0">
                  <a:pos x="98" y="375"/>
                </a:cxn>
                <a:cxn ang="0">
                  <a:pos x="105" y="374"/>
                </a:cxn>
                <a:cxn ang="0">
                  <a:pos x="109" y="356"/>
                </a:cxn>
                <a:cxn ang="0">
                  <a:pos x="108" y="349"/>
                </a:cxn>
                <a:cxn ang="0">
                  <a:pos x="110" y="331"/>
                </a:cxn>
                <a:cxn ang="0">
                  <a:pos x="116" y="322"/>
                </a:cxn>
                <a:cxn ang="0">
                  <a:pos x="118" y="315"/>
                </a:cxn>
                <a:cxn ang="0">
                  <a:pos x="129" y="309"/>
                </a:cxn>
                <a:cxn ang="0">
                  <a:pos x="135" y="298"/>
                </a:cxn>
                <a:cxn ang="0">
                  <a:pos x="125" y="290"/>
                </a:cxn>
                <a:cxn ang="0">
                  <a:pos x="122" y="283"/>
                </a:cxn>
                <a:cxn ang="0">
                  <a:pos x="128" y="254"/>
                </a:cxn>
                <a:cxn ang="0">
                  <a:pos x="133" y="234"/>
                </a:cxn>
                <a:cxn ang="0">
                  <a:pos x="123" y="229"/>
                </a:cxn>
                <a:cxn ang="0">
                  <a:pos x="119" y="209"/>
                </a:cxn>
                <a:cxn ang="0">
                  <a:pos x="115" y="206"/>
                </a:cxn>
                <a:cxn ang="0">
                  <a:pos x="117" y="196"/>
                </a:cxn>
                <a:cxn ang="0">
                  <a:pos x="137" y="180"/>
                </a:cxn>
                <a:cxn ang="0">
                  <a:pos x="139" y="156"/>
                </a:cxn>
                <a:cxn ang="0">
                  <a:pos x="145" y="131"/>
                </a:cxn>
                <a:cxn ang="0">
                  <a:pos x="144" y="102"/>
                </a:cxn>
                <a:cxn ang="0">
                  <a:pos x="149" y="85"/>
                </a:cxn>
                <a:cxn ang="0">
                  <a:pos x="166" y="75"/>
                </a:cxn>
                <a:cxn ang="0">
                  <a:pos x="180" y="65"/>
                </a:cxn>
                <a:cxn ang="0">
                  <a:pos x="194" y="46"/>
                </a:cxn>
                <a:cxn ang="0">
                  <a:pos x="177" y="38"/>
                </a:cxn>
                <a:cxn ang="0">
                  <a:pos x="172" y="29"/>
                </a:cxn>
                <a:cxn ang="0">
                  <a:pos x="169" y="18"/>
                </a:cxn>
                <a:cxn ang="0">
                  <a:pos x="155" y="16"/>
                </a:cxn>
                <a:cxn ang="0">
                  <a:pos x="142" y="19"/>
                </a:cxn>
                <a:cxn ang="0">
                  <a:pos x="122" y="29"/>
                </a:cxn>
                <a:cxn ang="0">
                  <a:pos x="112" y="25"/>
                </a:cxn>
                <a:cxn ang="0">
                  <a:pos x="98" y="22"/>
                </a:cxn>
                <a:cxn ang="0">
                  <a:pos x="84" y="30"/>
                </a:cxn>
                <a:cxn ang="0">
                  <a:pos x="86" y="12"/>
                </a:cxn>
                <a:cxn ang="0">
                  <a:pos x="82" y="1"/>
                </a:cxn>
                <a:cxn ang="0">
                  <a:pos x="73" y="7"/>
                </a:cxn>
                <a:cxn ang="0">
                  <a:pos x="47" y="19"/>
                </a:cxn>
                <a:cxn ang="0">
                  <a:pos x="42" y="29"/>
                </a:cxn>
                <a:cxn ang="0">
                  <a:pos x="44" y="42"/>
                </a:cxn>
                <a:cxn ang="0">
                  <a:pos x="44" y="61"/>
                </a:cxn>
                <a:cxn ang="0">
                  <a:pos x="39" y="72"/>
                </a:cxn>
                <a:cxn ang="0">
                  <a:pos x="44" y="90"/>
                </a:cxn>
                <a:cxn ang="0">
                  <a:pos x="44" y="127"/>
                </a:cxn>
                <a:cxn ang="0">
                  <a:pos x="39" y="139"/>
                </a:cxn>
                <a:cxn ang="0">
                  <a:pos x="37" y="147"/>
                </a:cxn>
                <a:cxn ang="0">
                  <a:pos x="38" y="159"/>
                </a:cxn>
                <a:cxn ang="0">
                  <a:pos x="28" y="171"/>
                </a:cxn>
                <a:cxn ang="0">
                  <a:pos x="26" y="186"/>
                </a:cxn>
              </a:cxnLst>
              <a:rect l="0" t="0" r="r" b="b"/>
              <a:pathLst>
                <a:path w="195" h="380">
                  <a:moveTo>
                    <a:pt x="26" y="188"/>
                  </a:moveTo>
                  <a:cubicBezTo>
                    <a:pt x="25" y="192"/>
                    <a:pt x="23" y="197"/>
                    <a:pt x="20" y="200"/>
                  </a:cubicBezTo>
                  <a:cubicBezTo>
                    <a:pt x="17" y="205"/>
                    <a:pt x="13" y="210"/>
                    <a:pt x="9" y="214"/>
                  </a:cubicBezTo>
                  <a:cubicBezTo>
                    <a:pt x="7" y="216"/>
                    <a:pt x="6" y="218"/>
                    <a:pt x="5" y="220"/>
                  </a:cubicBezTo>
                  <a:cubicBezTo>
                    <a:pt x="4" y="222"/>
                    <a:pt x="5" y="224"/>
                    <a:pt x="4" y="226"/>
                  </a:cubicBezTo>
                  <a:cubicBezTo>
                    <a:pt x="4" y="228"/>
                    <a:pt x="2" y="231"/>
                    <a:pt x="1" y="233"/>
                  </a:cubicBezTo>
                  <a:cubicBezTo>
                    <a:pt x="1" y="237"/>
                    <a:pt x="0" y="241"/>
                    <a:pt x="0" y="245"/>
                  </a:cubicBezTo>
                  <a:cubicBezTo>
                    <a:pt x="0" y="246"/>
                    <a:pt x="0" y="247"/>
                    <a:pt x="0" y="249"/>
                  </a:cubicBezTo>
                  <a:cubicBezTo>
                    <a:pt x="0" y="249"/>
                    <a:pt x="0" y="250"/>
                    <a:pt x="0" y="251"/>
                  </a:cubicBezTo>
                  <a:cubicBezTo>
                    <a:pt x="0" y="252"/>
                    <a:pt x="0" y="253"/>
                    <a:pt x="1" y="254"/>
                  </a:cubicBezTo>
                  <a:cubicBezTo>
                    <a:pt x="3" y="255"/>
                    <a:pt x="7" y="253"/>
                    <a:pt x="9" y="256"/>
                  </a:cubicBezTo>
                  <a:cubicBezTo>
                    <a:pt x="10" y="259"/>
                    <a:pt x="8" y="264"/>
                    <a:pt x="9" y="267"/>
                  </a:cubicBezTo>
                  <a:cubicBezTo>
                    <a:pt x="11" y="272"/>
                    <a:pt x="17" y="271"/>
                    <a:pt x="16" y="277"/>
                  </a:cubicBezTo>
                  <a:cubicBezTo>
                    <a:pt x="16" y="280"/>
                    <a:pt x="15" y="278"/>
                    <a:pt x="14" y="281"/>
                  </a:cubicBezTo>
                  <a:cubicBezTo>
                    <a:pt x="12" y="285"/>
                    <a:pt x="22" y="282"/>
                    <a:pt x="25" y="280"/>
                  </a:cubicBezTo>
                  <a:cubicBezTo>
                    <a:pt x="26" y="279"/>
                    <a:pt x="30" y="277"/>
                    <a:pt x="32" y="279"/>
                  </a:cubicBezTo>
                  <a:cubicBezTo>
                    <a:pt x="33" y="279"/>
                    <a:pt x="37" y="284"/>
                    <a:pt x="37" y="285"/>
                  </a:cubicBezTo>
                  <a:cubicBezTo>
                    <a:pt x="38" y="287"/>
                    <a:pt x="36" y="290"/>
                    <a:pt x="36" y="293"/>
                  </a:cubicBezTo>
                  <a:cubicBezTo>
                    <a:pt x="35" y="296"/>
                    <a:pt x="35" y="300"/>
                    <a:pt x="35" y="303"/>
                  </a:cubicBezTo>
                  <a:cubicBezTo>
                    <a:pt x="35" y="306"/>
                    <a:pt x="35" y="307"/>
                    <a:pt x="34" y="310"/>
                  </a:cubicBezTo>
                  <a:cubicBezTo>
                    <a:pt x="33" y="312"/>
                    <a:pt x="30" y="315"/>
                    <a:pt x="30" y="317"/>
                  </a:cubicBezTo>
                  <a:cubicBezTo>
                    <a:pt x="30" y="321"/>
                    <a:pt x="36" y="322"/>
                    <a:pt x="38" y="325"/>
                  </a:cubicBezTo>
                  <a:cubicBezTo>
                    <a:pt x="39" y="327"/>
                    <a:pt x="40" y="330"/>
                    <a:pt x="39" y="332"/>
                  </a:cubicBezTo>
                  <a:cubicBezTo>
                    <a:pt x="38" y="335"/>
                    <a:pt x="36" y="338"/>
                    <a:pt x="35" y="341"/>
                  </a:cubicBezTo>
                  <a:cubicBezTo>
                    <a:pt x="34" y="343"/>
                    <a:pt x="34" y="345"/>
                    <a:pt x="34" y="347"/>
                  </a:cubicBezTo>
                  <a:cubicBezTo>
                    <a:pt x="34" y="348"/>
                    <a:pt x="34" y="348"/>
                    <a:pt x="34" y="349"/>
                  </a:cubicBezTo>
                  <a:cubicBezTo>
                    <a:pt x="34" y="351"/>
                    <a:pt x="34" y="353"/>
                    <a:pt x="34" y="354"/>
                  </a:cubicBezTo>
                  <a:cubicBezTo>
                    <a:pt x="34" y="355"/>
                    <a:pt x="33" y="356"/>
                    <a:pt x="33" y="357"/>
                  </a:cubicBezTo>
                  <a:cubicBezTo>
                    <a:pt x="33" y="358"/>
                    <a:pt x="32" y="360"/>
                    <a:pt x="31" y="361"/>
                  </a:cubicBezTo>
                  <a:cubicBezTo>
                    <a:pt x="30" y="362"/>
                    <a:pt x="30" y="364"/>
                    <a:pt x="29" y="365"/>
                  </a:cubicBezTo>
                  <a:cubicBezTo>
                    <a:pt x="28" y="370"/>
                    <a:pt x="29" y="375"/>
                    <a:pt x="26" y="379"/>
                  </a:cubicBezTo>
                  <a:cubicBezTo>
                    <a:pt x="31" y="380"/>
                    <a:pt x="37" y="375"/>
                    <a:pt x="41" y="374"/>
                  </a:cubicBezTo>
                  <a:cubicBezTo>
                    <a:pt x="45" y="373"/>
                    <a:pt x="50" y="373"/>
                    <a:pt x="54" y="374"/>
                  </a:cubicBezTo>
                  <a:cubicBezTo>
                    <a:pt x="56" y="374"/>
                    <a:pt x="57" y="374"/>
                    <a:pt x="59" y="374"/>
                  </a:cubicBezTo>
                  <a:cubicBezTo>
                    <a:pt x="60" y="374"/>
                    <a:pt x="62" y="374"/>
                    <a:pt x="63" y="374"/>
                  </a:cubicBezTo>
                  <a:cubicBezTo>
                    <a:pt x="65" y="374"/>
                    <a:pt x="66" y="374"/>
                    <a:pt x="67" y="374"/>
                  </a:cubicBezTo>
                  <a:cubicBezTo>
                    <a:pt x="69" y="375"/>
                    <a:pt x="70" y="376"/>
                    <a:pt x="72" y="376"/>
                  </a:cubicBezTo>
                  <a:cubicBezTo>
                    <a:pt x="74" y="377"/>
                    <a:pt x="76" y="378"/>
                    <a:pt x="78" y="379"/>
                  </a:cubicBezTo>
                  <a:cubicBezTo>
                    <a:pt x="80" y="379"/>
                    <a:pt x="80" y="379"/>
                    <a:pt x="81" y="378"/>
                  </a:cubicBezTo>
                  <a:cubicBezTo>
                    <a:pt x="84" y="378"/>
                    <a:pt x="84" y="377"/>
                    <a:pt x="85" y="377"/>
                  </a:cubicBezTo>
                  <a:cubicBezTo>
                    <a:pt x="89" y="375"/>
                    <a:pt x="92" y="375"/>
                    <a:pt x="95" y="375"/>
                  </a:cubicBezTo>
                  <a:cubicBezTo>
                    <a:pt x="96" y="375"/>
                    <a:pt x="97" y="375"/>
                    <a:pt x="98" y="375"/>
                  </a:cubicBezTo>
                  <a:cubicBezTo>
                    <a:pt x="98" y="375"/>
                    <a:pt x="99" y="375"/>
                    <a:pt x="99" y="375"/>
                  </a:cubicBezTo>
                  <a:cubicBezTo>
                    <a:pt x="101" y="375"/>
                    <a:pt x="103" y="374"/>
                    <a:pt x="105" y="374"/>
                  </a:cubicBezTo>
                  <a:cubicBezTo>
                    <a:pt x="105" y="374"/>
                    <a:pt x="105" y="374"/>
                    <a:pt x="105" y="374"/>
                  </a:cubicBezTo>
                  <a:cubicBezTo>
                    <a:pt x="106" y="374"/>
                    <a:pt x="107" y="373"/>
                    <a:pt x="108" y="373"/>
                  </a:cubicBezTo>
                  <a:cubicBezTo>
                    <a:pt x="108" y="371"/>
                    <a:pt x="108" y="369"/>
                    <a:pt x="108" y="367"/>
                  </a:cubicBezTo>
                  <a:cubicBezTo>
                    <a:pt x="109" y="363"/>
                    <a:pt x="109" y="360"/>
                    <a:pt x="109" y="356"/>
                  </a:cubicBezTo>
                  <a:cubicBezTo>
                    <a:pt x="109" y="355"/>
                    <a:pt x="109" y="353"/>
                    <a:pt x="109" y="351"/>
                  </a:cubicBezTo>
                  <a:cubicBezTo>
                    <a:pt x="109" y="351"/>
                    <a:pt x="109" y="351"/>
                    <a:pt x="108" y="351"/>
                  </a:cubicBezTo>
                  <a:cubicBezTo>
                    <a:pt x="108" y="350"/>
                    <a:pt x="108" y="350"/>
                    <a:pt x="108" y="349"/>
                  </a:cubicBezTo>
                  <a:cubicBezTo>
                    <a:pt x="107" y="348"/>
                    <a:pt x="107" y="346"/>
                    <a:pt x="107" y="345"/>
                  </a:cubicBezTo>
                  <a:cubicBezTo>
                    <a:pt x="107" y="344"/>
                    <a:pt x="106" y="343"/>
                    <a:pt x="106" y="341"/>
                  </a:cubicBezTo>
                  <a:cubicBezTo>
                    <a:pt x="106" y="338"/>
                    <a:pt x="108" y="334"/>
                    <a:pt x="110" y="331"/>
                  </a:cubicBezTo>
                  <a:cubicBezTo>
                    <a:pt x="110" y="331"/>
                    <a:pt x="111" y="330"/>
                    <a:pt x="111" y="329"/>
                  </a:cubicBezTo>
                  <a:cubicBezTo>
                    <a:pt x="112" y="328"/>
                    <a:pt x="113" y="326"/>
                    <a:pt x="114" y="325"/>
                  </a:cubicBezTo>
                  <a:cubicBezTo>
                    <a:pt x="115" y="324"/>
                    <a:pt x="116" y="323"/>
                    <a:pt x="116" y="322"/>
                  </a:cubicBezTo>
                  <a:cubicBezTo>
                    <a:pt x="117" y="321"/>
                    <a:pt x="117" y="321"/>
                    <a:pt x="117" y="321"/>
                  </a:cubicBezTo>
                  <a:cubicBezTo>
                    <a:pt x="117" y="320"/>
                    <a:pt x="118" y="319"/>
                    <a:pt x="118" y="318"/>
                  </a:cubicBezTo>
                  <a:cubicBezTo>
                    <a:pt x="119" y="317"/>
                    <a:pt x="118" y="316"/>
                    <a:pt x="118" y="315"/>
                  </a:cubicBezTo>
                  <a:cubicBezTo>
                    <a:pt x="118" y="311"/>
                    <a:pt x="121" y="313"/>
                    <a:pt x="124" y="312"/>
                  </a:cubicBezTo>
                  <a:cubicBezTo>
                    <a:pt x="125" y="312"/>
                    <a:pt x="127" y="312"/>
                    <a:pt x="128" y="311"/>
                  </a:cubicBezTo>
                  <a:cubicBezTo>
                    <a:pt x="128" y="311"/>
                    <a:pt x="129" y="310"/>
                    <a:pt x="129" y="309"/>
                  </a:cubicBezTo>
                  <a:cubicBezTo>
                    <a:pt x="130" y="309"/>
                    <a:pt x="130" y="309"/>
                    <a:pt x="131" y="309"/>
                  </a:cubicBezTo>
                  <a:cubicBezTo>
                    <a:pt x="134" y="308"/>
                    <a:pt x="136" y="307"/>
                    <a:pt x="136" y="304"/>
                  </a:cubicBezTo>
                  <a:cubicBezTo>
                    <a:pt x="136" y="302"/>
                    <a:pt x="137" y="299"/>
                    <a:pt x="135" y="298"/>
                  </a:cubicBezTo>
                  <a:cubicBezTo>
                    <a:pt x="134" y="299"/>
                    <a:pt x="132" y="300"/>
                    <a:pt x="130" y="299"/>
                  </a:cubicBezTo>
                  <a:cubicBezTo>
                    <a:pt x="128" y="298"/>
                    <a:pt x="129" y="297"/>
                    <a:pt x="128" y="295"/>
                  </a:cubicBezTo>
                  <a:cubicBezTo>
                    <a:pt x="128" y="293"/>
                    <a:pt x="126" y="291"/>
                    <a:pt x="125" y="290"/>
                  </a:cubicBezTo>
                  <a:cubicBezTo>
                    <a:pt x="125" y="289"/>
                    <a:pt x="124" y="288"/>
                    <a:pt x="124" y="287"/>
                  </a:cubicBezTo>
                  <a:cubicBezTo>
                    <a:pt x="123" y="286"/>
                    <a:pt x="123" y="285"/>
                    <a:pt x="123" y="284"/>
                  </a:cubicBezTo>
                  <a:cubicBezTo>
                    <a:pt x="123" y="284"/>
                    <a:pt x="122" y="283"/>
                    <a:pt x="122" y="283"/>
                  </a:cubicBezTo>
                  <a:cubicBezTo>
                    <a:pt x="120" y="279"/>
                    <a:pt x="118" y="275"/>
                    <a:pt x="118" y="271"/>
                  </a:cubicBezTo>
                  <a:cubicBezTo>
                    <a:pt x="119" y="267"/>
                    <a:pt x="122" y="264"/>
                    <a:pt x="123" y="261"/>
                  </a:cubicBezTo>
                  <a:cubicBezTo>
                    <a:pt x="124" y="257"/>
                    <a:pt x="125" y="256"/>
                    <a:pt x="128" y="254"/>
                  </a:cubicBezTo>
                  <a:cubicBezTo>
                    <a:pt x="130" y="253"/>
                    <a:pt x="132" y="253"/>
                    <a:pt x="134" y="252"/>
                  </a:cubicBezTo>
                  <a:cubicBezTo>
                    <a:pt x="138" y="248"/>
                    <a:pt x="136" y="241"/>
                    <a:pt x="134" y="237"/>
                  </a:cubicBezTo>
                  <a:cubicBezTo>
                    <a:pt x="134" y="236"/>
                    <a:pt x="134" y="235"/>
                    <a:pt x="133" y="234"/>
                  </a:cubicBezTo>
                  <a:cubicBezTo>
                    <a:pt x="133" y="234"/>
                    <a:pt x="132" y="233"/>
                    <a:pt x="131" y="233"/>
                  </a:cubicBezTo>
                  <a:cubicBezTo>
                    <a:pt x="130" y="232"/>
                    <a:pt x="129" y="232"/>
                    <a:pt x="127" y="231"/>
                  </a:cubicBezTo>
                  <a:cubicBezTo>
                    <a:pt x="126" y="231"/>
                    <a:pt x="124" y="231"/>
                    <a:pt x="123" y="229"/>
                  </a:cubicBezTo>
                  <a:cubicBezTo>
                    <a:pt x="123" y="227"/>
                    <a:pt x="124" y="226"/>
                    <a:pt x="123" y="224"/>
                  </a:cubicBezTo>
                  <a:cubicBezTo>
                    <a:pt x="122" y="223"/>
                    <a:pt x="120" y="222"/>
                    <a:pt x="119" y="223"/>
                  </a:cubicBezTo>
                  <a:cubicBezTo>
                    <a:pt x="119" y="219"/>
                    <a:pt x="120" y="213"/>
                    <a:pt x="119" y="209"/>
                  </a:cubicBezTo>
                  <a:cubicBezTo>
                    <a:pt x="119" y="209"/>
                    <a:pt x="118" y="208"/>
                    <a:pt x="118" y="207"/>
                  </a:cubicBezTo>
                  <a:cubicBezTo>
                    <a:pt x="118" y="207"/>
                    <a:pt x="117" y="207"/>
                    <a:pt x="117" y="207"/>
                  </a:cubicBezTo>
                  <a:cubicBezTo>
                    <a:pt x="116" y="208"/>
                    <a:pt x="115" y="207"/>
                    <a:pt x="115" y="206"/>
                  </a:cubicBezTo>
                  <a:cubicBezTo>
                    <a:pt x="114" y="206"/>
                    <a:pt x="113" y="203"/>
                    <a:pt x="112" y="202"/>
                  </a:cubicBezTo>
                  <a:cubicBezTo>
                    <a:pt x="111" y="201"/>
                    <a:pt x="109" y="199"/>
                    <a:pt x="110" y="197"/>
                  </a:cubicBezTo>
                  <a:cubicBezTo>
                    <a:pt x="110" y="195"/>
                    <a:pt x="115" y="196"/>
                    <a:pt x="117" y="196"/>
                  </a:cubicBezTo>
                  <a:cubicBezTo>
                    <a:pt x="122" y="196"/>
                    <a:pt x="132" y="197"/>
                    <a:pt x="133" y="191"/>
                  </a:cubicBezTo>
                  <a:cubicBezTo>
                    <a:pt x="133" y="189"/>
                    <a:pt x="132" y="186"/>
                    <a:pt x="133" y="184"/>
                  </a:cubicBezTo>
                  <a:cubicBezTo>
                    <a:pt x="133" y="183"/>
                    <a:pt x="136" y="180"/>
                    <a:pt x="137" y="180"/>
                  </a:cubicBezTo>
                  <a:cubicBezTo>
                    <a:pt x="139" y="177"/>
                    <a:pt x="141" y="174"/>
                    <a:pt x="141" y="171"/>
                  </a:cubicBezTo>
                  <a:cubicBezTo>
                    <a:pt x="140" y="166"/>
                    <a:pt x="135" y="164"/>
                    <a:pt x="134" y="159"/>
                  </a:cubicBezTo>
                  <a:cubicBezTo>
                    <a:pt x="136" y="159"/>
                    <a:pt x="137" y="157"/>
                    <a:pt x="139" y="156"/>
                  </a:cubicBezTo>
                  <a:cubicBezTo>
                    <a:pt x="141" y="155"/>
                    <a:pt x="143" y="154"/>
                    <a:pt x="144" y="152"/>
                  </a:cubicBezTo>
                  <a:cubicBezTo>
                    <a:pt x="145" y="149"/>
                    <a:pt x="144" y="143"/>
                    <a:pt x="144" y="140"/>
                  </a:cubicBezTo>
                  <a:cubicBezTo>
                    <a:pt x="144" y="137"/>
                    <a:pt x="145" y="134"/>
                    <a:pt x="145" y="131"/>
                  </a:cubicBezTo>
                  <a:cubicBezTo>
                    <a:pt x="146" y="125"/>
                    <a:pt x="144" y="119"/>
                    <a:pt x="144" y="113"/>
                  </a:cubicBezTo>
                  <a:cubicBezTo>
                    <a:pt x="144" y="110"/>
                    <a:pt x="144" y="107"/>
                    <a:pt x="144" y="105"/>
                  </a:cubicBezTo>
                  <a:cubicBezTo>
                    <a:pt x="144" y="104"/>
                    <a:pt x="144" y="103"/>
                    <a:pt x="144" y="102"/>
                  </a:cubicBezTo>
                  <a:cubicBezTo>
                    <a:pt x="143" y="102"/>
                    <a:pt x="141" y="101"/>
                    <a:pt x="141" y="101"/>
                  </a:cubicBezTo>
                  <a:cubicBezTo>
                    <a:pt x="139" y="98"/>
                    <a:pt x="141" y="97"/>
                    <a:pt x="144" y="96"/>
                  </a:cubicBezTo>
                  <a:cubicBezTo>
                    <a:pt x="144" y="92"/>
                    <a:pt x="147" y="88"/>
                    <a:pt x="149" y="85"/>
                  </a:cubicBezTo>
                  <a:cubicBezTo>
                    <a:pt x="151" y="82"/>
                    <a:pt x="152" y="83"/>
                    <a:pt x="155" y="82"/>
                  </a:cubicBezTo>
                  <a:cubicBezTo>
                    <a:pt x="158" y="82"/>
                    <a:pt x="161" y="81"/>
                    <a:pt x="163" y="79"/>
                  </a:cubicBezTo>
                  <a:cubicBezTo>
                    <a:pt x="164" y="78"/>
                    <a:pt x="165" y="76"/>
                    <a:pt x="166" y="75"/>
                  </a:cubicBezTo>
                  <a:cubicBezTo>
                    <a:pt x="168" y="74"/>
                    <a:pt x="169" y="72"/>
                    <a:pt x="170" y="72"/>
                  </a:cubicBezTo>
                  <a:cubicBezTo>
                    <a:pt x="172" y="70"/>
                    <a:pt x="174" y="69"/>
                    <a:pt x="176" y="67"/>
                  </a:cubicBezTo>
                  <a:cubicBezTo>
                    <a:pt x="177" y="66"/>
                    <a:pt x="178" y="66"/>
                    <a:pt x="180" y="65"/>
                  </a:cubicBezTo>
                  <a:cubicBezTo>
                    <a:pt x="182" y="64"/>
                    <a:pt x="183" y="64"/>
                    <a:pt x="184" y="62"/>
                  </a:cubicBezTo>
                  <a:cubicBezTo>
                    <a:pt x="186" y="60"/>
                    <a:pt x="186" y="58"/>
                    <a:pt x="188" y="56"/>
                  </a:cubicBezTo>
                  <a:cubicBezTo>
                    <a:pt x="191" y="53"/>
                    <a:pt x="194" y="50"/>
                    <a:pt x="194" y="46"/>
                  </a:cubicBezTo>
                  <a:cubicBezTo>
                    <a:pt x="195" y="44"/>
                    <a:pt x="194" y="44"/>
                    <a:pt x="192" y="43"/>
                  </a:cubicBezTo>
                  <a:cubicBezTo>
                    <a:pt x="189" y="42"/>
                    <a:pt x="186" y="40"/>
                    <a:pt x="183" y="39"/>
                  </a:cubicBezTo>
                  <a:cubicBezTo>
                    <a:pt x="181" y="38"/>
                    <a:pt x="179" y="38"/>
                    <a:pt x="177" y="38"/>
                  </a:cubicBezTo>
                  <a:cubicBezTo>
                    <a:pt x="176" y="38"/>
                    <a:pt x="177" y="39"/>
                    <a:pt x="175" y="38"/>
                  </a:cubicBezTo>
                  <a:cubicBezTo>
                    <a:pt x="174" y="38"/>
                    <a:pt x="173" y="35"/>
                    <a:pt x="172" y="34"/>
                  </a:cubicBezTo>
                  <a:cubicBezTo>
                    <a:pt x="171" y="32"/>
                    <a:pt x="171" y="30"/>
                    <a:pt x="172" y="29"/>
                  </a:cubicBezTo>
                  <a:cubicBezTo>
                    <a:pt x="173" y="27"/>
                    <a:pt x="176" y="25"/>
                    <a:pt x="175" y="23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4" y="17"/>
                    <a:pt x="172" y="18"/>
                    <a:pt x="169" y="18"/>
                  </a:cubicBezTo>
                  <a:cubicBezTo>
                    <a:pt x="167" y="18"/>
                    <a:pt x="163" y="19"/>
                    <a:pt x="161" y="17"/>
                  </a:cubicBezTo>
                  <a:cubicBezTo>
                    <a:pt x="160" y="15"/>
                    <a:pt x="162" y="14"/>
                    <a:pt x="160" y="14"/>
                  </a:cubicBezTo>
                  <a:cubicBezTo>
                    <a:pt x="159" y="14"/>
                    <a:pt x="157" y="16"/>
                    <a:pt x="155" y="16"/>
                  </a:cubicBezTo>
                  <a:cubicBezTo>
                    <a:pt x="153" y="16"/>
                    <a:pt x="145" y="15"/>
                    <a:pt x="145" y="17"/>
                  </a:cubicBezTo>
                  <a:cubicBezTo>
                    <a:pt x="145" y="17"/>
                    <a:pt x="144" y="16"/>
                    <a:pt x="143" y="16"/>
                  </a:cubicBezTo>
                  <a:cubicBezTo>
                    <a:pt x="142" y="17"/>
                    <a:pt x="143" y="18"/>
                    <a:pt x="142" y="19"/>
                  </a:cubicBezTo>
                  <a:cubicBezTo>
                    <a:pt x="141" y="20"/>
                    <a:pt x="140" y="21"/>
                    <a:pt x="139" y="22"/>
                  </a:cubicBezTo>
                  <a:cubicBezTo>
                    <a:pt x="137" y="24"/>
                    <a:pt x="137" y="25"/>
                    <a:pt x="134" y="26"/>
                  </a:cubicBezTo>
                  <a:cubicBezTo>
                    <a:pt x="130" y="28"/>
                    <a:pt x="122" y="23"/>
                    <a:pt x="122" y="29"/>
                  </a:cubicBezTo>
                  <a:cubicBezTo>
                    <a:pt x="119" y="30"/>
                    <a:pt x="117" y="28"/>
                    <a:pt x="115" y="27"/>
                  </a:cubicBezTo>
                  <a:cubicBezTo>
                    <a:pt x="114" y="27"/>
                    <a:pt x="114" y="29"/>
                    <a:pt x="112" y="28"/>
                  </a:cubicBezTo>
                  <a:cubicBezTo>
                    <a:pt x="112" y="27"/>
                    <a:pt x="112" y="25"/>
                    <a:pt x="112" y="25"/>
                  </a:cubicBezTo>
                  <a:cubicBezTo>
                    <a:pt x="110" y="24"/>
                    <a:pt x="107" y="23"/>
                    <a:pt x="105" y="24"/>
                  </a:cubicBezTo>
                  <a:cubicBezTo>
                    <a:pt x="104" y="25"/>
                    <a:pt x="103" y="27"/>
                    <a:pt x="101" y="26"/>
                  </a:cubicBezTo>
                  <a:cubicBezTo>
                    <a:pt x="99" y="25"/>
                    <a:pt x="99" y="23"/>
                    <a:pt x="98" y="22"/>
                  </a:cubicBezTo>
                  <a:cubicBezTo>
                    <a:pt x="94" y="18"/>
                    <a:pt x="94" y="24"/>
                    <a:pt x="93" y="26"/>
                  </a:cubicBezTo>
                  <a:cubicBezTo>
                    <a:pt x="91" y="28"/>
                    <a:pt x="90" y="27"/>
                    <a:pt x="88" y="28"/>
                  </a:cubicBezTo>
                  <a:cubicBezTo>
                    <a:pt x="87" y="28"/>
                    <a:pt x="85" y="30"/>
                    <a:pt x="84" y="30"/>
                  </a:cubicBezTo>
                  <a:cubicBezTo>
                    <a:pt x="82" y="30"/>
                    <a:pt x="81" y="22"/>
                    <a:pt x="81" y="21"/>
                  </a:cubicBezTo>
                  <a:cubicBezTo>
                    <a:pt x="82" y="19"/>
                    <a:pt x="84" y="19"/>
                    <a:pt x="85" y="17"/>
                  </a:cubicBezTo>
                  <a:cubicBezTo>
                    <a:pt x="86" y="16"/>
                    <a:pt x="86" y="14"/>
                    <a:pt x="86" y="12"/>
                  </a:cubicBezTo>
                  <a:cubicBezTo>
                    <a:pt x="85" y="11"/>
                    <a:pt x="83" y="12"/>
                    <a:pt x="82" y="11"/>
                  </a:cubicBezTo>
                  <a:cubicBezTo>
                    <a:pt x="81" y="10"/>
                    <a:pt x="81" y="7"/>
                    <a:pt x="81" y="6"/>
                  </a:cubicBezTo>
                  <a:cubicBezTo>
                    <a:pt x="82" y="4"/>
                    <a:pt x="84" y="2"/>
                    <a:pt x="82" y="1"/>
                  </a:cubicBezTo>
                  <a:cubicBezTo>
                    <a:pt x="80" y="0"/>
                    <a:pt x="79" y="2"/>
                    <a:pt x="78" y="3"/>
                  </a:cubicBezTo>
                  <a:cubicBezTo>
                    <a:pt x="78" y="4"/>
                    <a:pt x="77" y="6"/>
                    <a:pt x="77" y="6"/>
                  </a:cubicBezTo>
                  <a:cubicBezTo>
                    <a:pt x="76" y="7"/>
                    <a:pt x="74" y="7"/>
                    <a:pt x="73" y="7"/>
                  </a:cubicBezTo>
                  <a:cubicBezTo>
                    <a:pt x="69" y="8"/>
                    <a:pt x="66" y="10"/>
                    <a:pt x="63" y="11"/>
                  </a:cubicBezTo>
                  <a:cubicBezTo>
                    <a:pt x="60" y="13"/>
                    <a:pt x="56" y="15"/>
                    <a:pt x="53" y="16"/>
                  </a:cubicBezTo>
                  <a:cubicBezTo>
                    <a:pt x="51" y="17"/>
                    <a:pt x="48" y="18"/>
                    <a:pt x="47" y="19"/>
                  </a:cubicBezTo>
                  <a:cubicBezTo>
                    <a:pt x="46" y="20"/>
                    <a:pt x="46" y="23"/>
                    <a:pt x="45" y="24"/>
                  </a:cubicBezTo>
                  <a:cubicBezTo>
                    <a:pt x="45" y="24"/>
                    <a:pt x="43" y="26"/>
                    <a:pt x="42" y="26"/>
                  </a:cubicBezTo>
                  <a:cubicBezTo>
                    <a:pt x="42" y="27"/>
                    <a:pt x="42" y="28"/>
                    <a:pt x="42" y="29"/>
                  </a:cubicBezTo>
                  <a:cubicBezTo>
                    <a:pt x="42" y="30"/>
                    <a:pt x="42" y="31"/>
                    <a:pt x="41" y="31"/>
                  </a:cubicBezTo>
                  <a:cubicBezTo>
                    <a:pt x="41" y="33"/>
                    <a:pt x="41" y="35"/>
                    <a:pt x="41" y="36"/>
                  </a:cubicBezTo>
                  <a:cubicBezTo>
                    <a:pt x="42" y="39"/>
                    <a:pt x="43" y="40"/>
                    <a:pt x="44" y="42"/>
                  </a:cubicBezTo>
                  <a:cubicBezTo>
                    <a:pt x="46" y="45"/>
                    <a:pt x="46" y="51"/>
                    <a:pt x="45" y="54"/>
                  </a:cubicBezTo>
                  <a:cubicBezTo>
                    <a:pt x="44" y="55"/>
                    <a:pt x="43" y="56"/>
                    <a:pt x="43" y="57"/>
                  </a:cubicBezTo>
                  <a:cubicBezTo>
                    <a:pt x="42" y="59"/>
                    <a:pt x="44" y="60"/>
                    <a:pt x="44" y="61"/>
                  </a:cubicBezTo>
                  <a:cubicBezTo>
                    <a:pt x="45" y="62"/>
                    <a:pt x="46" y="65"/>
                    <a:pt x="46" y="66"/>
                  </a:cubicBezTo>
                  <a:cubicBezTo>
                    <a:pt x="46" y="69"/>
                    <a:pt x="45" y="68"/>
                    <a:pt x="43" y="69"/>
                  </a:cubicBezTo>
                  <a:cubicBezTo>
                    <a:pt x="42" y="70"/>
                    <a:pt x="39" y="71"/>
                    <a:pt x="39" y="72"/>
                  </a:cubicBezTo>
                  <a:cubicBezTo>
                    <a:pt x="38" y="73"/>
                    <a:pt x="38" y="75"/>
                    <a:pt x="38" y="76"/>
                  </a:cubicBezTo>
                  <a:cubicBezTo>
                    <a:pt x="38" y="81"/>
                    <a:pt x="40" y="83"/>
                    <a:pt x="42" y="87"/>
                  </a:cubicBezTo>
                  <a:cubicBezTo>
                    <a:pt x="43" y="88"/>
                    <a:pt x="44" y="88"/>
                    <a:pt x="44" y="90"/>
                  </a:cubicBezTo>
                  <a:cubicBezTo>
                    <a:pt x="44" y="95"/>
                    <a:pt x="46" y="99"/>
                    <a:pt x="47" y="103"/>
                  </a:cubicBezTo>
                  <a:cubicBezTo>
                    <a:pt x="47" y="108"/>
                    <a:pt x="47" y="113"/>
                    <a:pt x="47" y="118"/>
                  </a:cubicBezTo>
                  <a:cubicBezTo>
                    <a:pt x="47" y="121"/>
                    <a:pt x="46" y="124"/>
                    <a:pt x="44" y="127"/>
                  </a:cubicBezTo>
                  <a:cubicBezTo>
                    <a:pt x="43" y="129"/>
                    <a:pt x="42" y="132"/>
                    <a:pt x="41" y="134"/>
                  </a:cubicBezTo>
                  <a:cubicBezTo>
                    <a:pt x="41" y="134"/>
                    <a:pt x="40" y="135"/>
                    <a:pt x="40" y="136"/>
                  </a:cubicBezTo>
                  <a:cubicBezTo>
                    <a:pt x="40" y="137"/>
                    <a:pt x="39" y="138"/>
                    <a:pt x="39" y="139"/>
                  </a:cubicBezTo>
                  <a:cubicBezTo>
                    <a:pt x="38" y="140"/>
                    <a:pt x="38" y="140"/>
                    <a:pt x="38" y="141"/>
                  </a:cubicBezTo>
                  <a:cubicBezTo>
                    <a:pt x="38" y="142"/>
                    <a:pt x="37" y="143"/>
                    <a:pt x="37" y="145"/>
                  </a:cubicBezTo>
                  <a:cubicBezTo>
                    <a:pt x="37" y="145"/>
                    <a:pt x="37" y="146"/>
                    <a:pt x="37" y="147"/>
                  </a:cubicBezTo>
                  <a:cubicBezTo>
                    <a:pt x="37" y="149"/>
                    <a:pt x="37" y="151"/>
                    <a:pt x="38" y="153"/>
                  </a:cubicBezTo>
                  <a:cubicBezTo>
                    <a:pt x="38" y="154"/>
                    <a:pt x="39" y="156"/>
                    <a:pt x="38" y="157"/>
                  </a:cubicBezTo>
                  <a:cubicBezTo>
                    <a:pt x="38" y="158"/>
                    <a:pt x="38" y="158"/>
                    <a:pt x="38" y="159"/>
                  </a:cubicBezTo>
                  <a:cubicBezTo>
                    <a:pt x="38" y="159"/>
                    <a:pt x="37" y="160"/>
                    <a:pt x="37" y="161"/>
                  </a:cubicBezTo>
                  <a:cubicBezTo>
                    <a:pt x="36" y="162"/>
                    <a:pt x="34" y="163"/>
                    <a:pt x="33" y="164"/>
                  </a:cubicBezTo>
                  <a:cubicBezTo>
                    <a:pt x="32" y="166"/>
                    <a:pt x="30" y="168"/>
                    <a:pt x="28" y="171"/>
                  </a:cubicBezTo>
                  <a:cubicBezTo>
                    <a:pt x="26" y="174"/>
                    <a:pt x="26" y="177"/>
                    <a:pt x="26" y="181"/>
                  </a:cubicBezTo>
                  <a:cubicBezTo>
                    <a:pt x="26" y="182"/>
                    <a:pt x="26" y="183"/>
                    <a:pt x="26" y="184"/>
                  </a:cubicBezTo>
                  <a:cubicBezTo>
                    <a:pt x="26" y="185"/>
                    <a:pt x="26" y="186"/>
                    <a:pt x="26" y="186"/>
                  </a:cubicBezTo>
                  <a:cubicBezTo>
                    <a:pt x="26" y="187"/>
                    <a:pt x="26" y="188"/>
                    <a:pt x="26" y="188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1" name="Freeform 93">
              <a:extLst>
                <a:ext uri="{FF2B5EF4-FFF2-40B4-BE49-F238E27FC236}">
                  <a16:creationId xmlns:a16="http://schemas.microsoft.com/office/drawing/2014/main" id="{7000CFB9-88E7-4EC1-BC0D-A9292A8D83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2838" y="5495925"/>
              <a:ext cx="1368425" cy="1063625"/>
            </a:xfrm>
            <a:custGeom>
              <a:avLst/>
              <a:gdLst/>
              <a:ahLst/>
              <a:cxnLst>
                <a:cxn ang="0">
                  <a:pos x="99" y="497"/>
                </a:cxn>
                <a:cxn ang="0">
                  <a:pos x="34" y="469"/>
                </a:cxn>
                <a:cxn ang="0">
                  <a:pos x="34" y="466"/>
                </a:cxn>
                <a:cxn ang="0">
                  <a:pos x="33" y="479"/>
                </a:cxn>
                <a:cxn ang="0">
                  <a:pos x="35" y="465"/>
                </a:cxn>
                <a:cxn ang="0">
                  <a:pos x="37" y="282"/>
                </a:cxn>
                <a:cxn ang="0">
                  <a:pos x="38" y="276"/>
                </a:cxn>
                <a:cxn ang="0">
                  <a:pos x="38" y="457"/>
                </a:cxn>
                <a:cxn ang="0">
                  <a:pos x="26" y="306"/>
                </a:cxn>
                <a:cxn ang="0">
                  <a:pos x="34" y="285"/>
                </a:cxn>
                <a:cxn ang="0">
                  <a:pos x="40" y="258"/>
                </a:cxn>
                <a:cxn ang="0">
                  <a:pos x="45" y="246"/>
                </a:cxn>
                <a:cxn ang="0">
                  <a:pos x="48" y="495"/>
                </a:cxn>
                <a:cxn ang="0">
                  <a:pos x="52" y="496"/>
                </a:cxn>
                <a:cxn ang="0">
                  <a:pos x="0" y="373"/>
                </a:cxn>
                <a:cxn ang="0">
                  <a:pos x="0" y="375"/>
                </a:cxn>
                <a:cxn ang="0">
                  <a:pos x="1" y="359"/>
                </a:cxn>
                <a:cxn ang="0">
                  <a:pos x="499" y="314"/>
                </a:cxn>
                <a:cxn ang="0">
                  <a:pos x="672" y="99"/>
                </a:cxn>
                <a:cxn ang="0">
                  <a:pos x="648" y="101"/>
                </a:cxn>
                <a:cxn ang="0">
                  <a:pos x="621" y="96"/>
                </a:cxn>
                <a:cxn ang="0">
                  <a:pos x="617" y="77"/>
                </a:cxn>
                <a:cxn ang="0">
                  <a:pos x="577" y="77"/>
                </a:cxn>
                <a:cxn ang="0">
                  <a:pos x="490" y="58"/>
                </a:cxn>
                <a:cxn ang="0">
                  <a:pos x="456" y="31"/>
                </a:cxn>
                <a:cxn ang="0">
                  <a:pos x="373" y="28"/>
                </a:cxn>
                <a:cxn ang="0">
                  <a:pos x="285" y="25"/>
                </a:cxn>
                <a:cxn ang="0">
                  <a:pos x="205" y="15"/>
                </a:cxn>
                <a:cxn ang="0">
                  <a:pos x="83" y="15"/>
                </a:cxn>
                <a:cxn ang="0">
                  <a:pos x="63" y="39"/>
                </a:cxn>
                <a:cxn ang="0">
                  <a:pos x="27" y="69"/>
                </a:cxn>
                <a:cxn ang="0">
                  <a:pos x="53" y="92"/>
                </a:cxn>
                <a:cxn ang="0">
                  <a:pos x="24" y="129"/>
                </a:cxn>
                <a:cxn ang="0">
                  <a:pos x="47" y="141"/>
                </a:cxn>
                <a:cxn ang="0">
                  <a:pos x="82" y="133"/>
                </a:cxn>
                <a:cxn ang="0">
                  <a:pos x="101" y="148"/>
                </a:cxn>
                <a:cxn ang="0">
                  <a:pos x="142" y="141"/>
                </a:cxn>
                <a:cxn ang="0">
                  <a:pos x="175" y="145"/>
                </a:cxn>
                <a:cxn ang="0">
                  <a:pos x="188" y="178"/>
                </a:cxn>
                <a:cxn ang="0">
                  <a:pos x="149" y="207"/>
                </a:cxn>
                <a:cxn ang="0">
                  <a:pos x="144" y="274"/>
                </a:cxn>
                <a:cxn ang="0">
                  <a:pos x="110" y="319"/>
                </a:cxn>
                <a:cxn ang="0">
                  <a:pos x="123" y="351"/>
                </a:cxn>
                <a:cxn ang="0">
                  <a:pos x="118" y="393"/>
                </a:cxn>
                <a:cxn ang="0">
                  <a:pos x="136" y="426"/>
                </a:cxn>
                <a:cxn ang="0">
                  <a:pos x="116" y="444"/>
                </a:cxn>
                <a:cxn ang="0">
                  <a:pos x="109" y="473"/>
                </a:cxn>
                <a:cxn ang="0">
                  <a:pos x="159" y="506"/>
                </a:cxn>
                <a:cxn ang="0">
                  <a:pos x="205" y="564"/>
                </a:cxn>
                <a:cxn ang="0">
                  <a:pos x="263" y="534"/>
                </a:cxn>
                <a:cxn ang="0">
                  <a:pos x="351" y="521"/>
                </a:cxn>
                <a:cxn ang="0">
                  <a:pos x="399" y="517"/>
                </a:cxn>
                <a:cxn ang="0">
                  <a:pos x="438" y="466"/>
                </a:cxn>
                <a:cxn ang="0">
                  <a:pos x="472" y="442"/>
                </a:cxn>
                <a:cxn ang="0">
                  <a:pos x="513" y="394"/>
                </a:cxn>
                <a:cxn ang="0">
                  <a:pos x="493" y="328"/>
                </a:cxn>
                <a:cxn ang="0">
                  <a:pos x="547" y="255"/>
                </a:cxn>
                <a:cxn ang="0">
                  <a:pos x="619" y="203"/>
                </a:cxn>
                <a:cxn ang="0">
                  <a:pos x="671" y="178"/>
                </a:cxn>
                <a:cxn ang="0">
                  <a:pos x="731" y="134"/>
                </a:cxn>
              </a:cxnLst>
              <a:rect l="0" t="0" r="r" b="b"/>
              <a:pathLst>
                <a:path w="732" h="569">
                  <a:moveTo>
                    <a:pt x="108" y="495"/>
                  </a:moveTo>
                  <a:cubicBezTo>
                    <a:pt x="107" y="495"/>
                    <a:pt x="106" y="496"/>
                    <a:pt x="105" y="496"/>
                  </a:cubicBezTo>
                  <a:cubicBezTo>
                    <a:pt x="106" y="496"/>
                    <a:pt x="107" y="495"/>
                    <a:pt x="108" y="495"/>
                  </a:cubicBezTo>
                  <a:moveTo>
                    <a:pt x="98" y="497"/>
                  </a:moveTo>
                  <a:cubicBezTo>
                    <a:pt x="97" y="497"/>
                    <a:pt x="96" y="497"/>
                    <a:pt x="95" y="497"/>
                  </a:cubicBezTo>
                  <a:cubicBezTo>
                    <a:pt x="99" y="497"/>
                    <a:pt x="102" y="497"/>
                    <a:pt x="105" y="496"/>
                  </a:cubicBezTo>
                  <a:cubicBezTo>
                    <a:pt x="105" y="496"/>
                    <a:pt x="105" y="496"/>
                    <a:pt x="105" y="496"/>
                  </a:cubicBezTo>
                  <a:cubicBezTo>
                    <a:pt x="103" y="496"/>
                    <a:pt x="101" y="497"/>
                    <a:pt x="99" y="497"/>
                  </a:cubicBezTo>
                  <a:cubicBezTo>
                    <a:pt x="99" y="497"/>
                    <a:pt x="98" y="497"/>
                    <a:pt x="98" y="497"/>
                  </a:cubicBezTo>
                  <a:moveTo>
                    <a:pt x="59" y="496"/>
                  </a:moveTo>
                  <a:cubicBezTo>
                    <a:pt x="57" y="496"/>
                    <a:pt x="56" y="496"/>
                    <a:pt x="54" y="496"/>
                  </a:cubicBezTo>
                  <a:cubicBezTo>
                    <a:pt x="56" y="496"/>
                    <a:pt x="57" y="496"/>
                    <a:pt x="59" y="496"/>
                  </a:cubicBezTo>
                  <a:cubicBezTo>
                    <a:pt x="60" y="496"/>
                    <a:pt x="60" y="496"/>
                    <a:pt x="61" y="496"/>
                  </a:cubicBezTo>
                  <a:cubicBezTo>
                    <a:pt x="60" y="496"/>
                    <a:pt x="60" y="496"/>
                    <a:pt x="59" y="496"/>
                  </a:cubicBezTo>
                  <a:moveTo>
                    <a:pt x="34" y="471"/>
                  </a:moveTo>
                  <a:cubicBezTo>
                    <a:pt x="34" y="470"/>
                    <a:pt x="34" y="470"/>
                    <a:pt x="34" y="469"/>
                  </a:cubicBezTo>
                  <a:cubicBezTo>
                    <a:pt x="34" y="470"/>
                    <a:pt x="34" y="470"/>
                    <a:pt x="34" y="471"/>
                  </a:cubicBezTo>
                  <a:moveTo>
                    <a:pt x="34" y="472"/>
                  </a:moveTo>
                  <a:cubicBezTo>
                    <a:pt x="34" y="472"/>
                    <a:pt x="34" y="471"/>
                    <a:pt x="34" y="471"/>
                  </a:cubicBezTo>
                  <a:cubicBezTo>
                    <a:pt x="34" y="471"/>
                    <a:pt x="34" y="472"/>
                    <a:pt x="34" y="472"/>
                  </a:cubicBezTo>
                  <a:moveTo>
                    <a:pt x="34" y="473"/>
                  </a:moveTo>
                  <a:cubicBezTo>
                    <a:pt x="34" y="473"/>
                    <a:pt x="34" y="474"/>
                    <a:pt x="34" y="474"/>
                  </a:cubicBezTo>
                  <a:cubicBezTo>
                    <a:pt x="34" y="474"/>
                    <a:pt x="34" y="473"/>
                    <a:pt x="34" y="473"/>
                  </a:cubicBezTo>
                  <a:moveTo>
                    <a:pt x="34" y="466"/>
                  </a:moveTo>
                  <a:cubicBezTo>
                    <a:pt x="34" y="467"/>
                    <a:pt x="34" y="467"/>
                    <a:pt x="34" y="467"/>
                  </a:cubicBezTo>
                  <a:cubicBezTo>
                    <a:pt x="34" y="467"/>
                    <a:pt x="34" y="467"/>
                    <a:pt x="34" y="466"/>
                  </a:cubicBezTo>
                  <a:moveTo>
                    <a:pt x="34" y="476"/>
                  </a:moveTo>
                  <a:cubicBezTo>
                    <a:pt x="34" y="476"/>
                    <a:pt x="34" y="475"/>
                    <a:pt x="34" y="475"/>
                  </a:cubicBezTo>
                  <a:cubicBezTo>
                    <a:pt x="34" y="475"/>
                    <a:pt x="34" y="476"/>
                    <a:pt x="34" y="476"/>
                  </a:cubicBezTo>
                  <a:moveTo>
                    <a:pt x="33" y="479"/>
                  </a:moveTo>
                  <a:cubicBezTo>
                    <a:pt x="33" y="478"/>
                    <a:pt x="34" y="477"/>
                    <a:pt x="34" y="476"/>
                  </a:cubicBezTo>
                  <a:cubicBezTo>
                    <a:pt x="34" y="477"/>
                    <a:pt x="33" y="478"/>
                    <a:pt x="33" y="479"/>
                  </a:cubicBezTo>
                  <a:moveTo>
                    <a:pt x="30" y="485"/>
                  </a:moveTo>
                  <a:cubicBezTo>
                    <a:pt x="31" y="484"/>
                    <a:pt x="31" y="484"/>
                    <a:pt x="31" y="483"/>
                  </a:cubicBezTo>
                  <a:cubicBezTo>
                    <a:pt x="31" y="484"/>
                    <a:pt x="31" y="484"/>
                    <a:pt x="30" y="485"/>
                  </a:cubicBezTo>
                  <a:moveTo>
                    <a:pt x="32" y="481"/>
                  </a:moveTo>
                  <a:cubicBezTo>
                    <a:pt x="32" y="481"/>
                    <a:pt x="32" y="481"/>
                    <a:pt x="32" y="481"/>
                  </a:cubicBezTo>
                  <a:cubicBezTo>
                    <a:pt x="32" y="481"/>
                    <a:pt x="32" y="481"/>
                    <a:pt x="32" y="481"/>
                  </a:cubicBezTo>
                  <a:moveTo>
                    <a:pt x="34" y="465"/>
                  </a:moveTo>
                  <a:cubicBezTo>
                    <a:pt x="34" y="465"/>
                    <a:pt x="35" y="465"/>
                    <a:pt x="35" y="465"/>
                  </a:cubicBezTo>
                  <a:cubicBezTo>
                    <a:pt x="35" y="465"/>
                    <a:pt x="34" y="465"/>
                    <a:pt x="34" y="465"/>
                  </a:cubicBezTo>
                  <a:moveTo>
                    <a:pt x="35" y="463"/>
                  </a:moveTo>
                  <a:cubicBezTo>
                    <a:pt x="35" y="462"/>
                    <a:pt x="36" y="461"/>
                    <a:pt x="36" y="461"/>
                  </a:cubicBezTo>
                  <a:cubicBezTo>
                    <a:pt x="36" y="461"/>
                    <a:pt x="35" y="462"/>
                    <a:pt x="35" y="463"/>
                  </a:cubicBezTo>
                  <a:moveTo>
                    <a:pt x="37" y="460"/>
                  </a:moveTo>
                  <a:cubicBezTo>
                    <a:pt x="37" y="459"/>
                    <a:pt x="37" y="459"/>
                    <a:pt x="37" y="458"/>
                  </a:cubicBezTo>
                  <a:cubicBezTo>
                    <a:pt x="37" y="459"/>
                    <a:pt x="37" y="459"/>
                    <a:pt x="37" y="460"/>
                  </a:cubicBezTo>
                  <a:moveTo>
                    <a:pt x="37" y="282"/>
                  </a:moveTo>
                  <a:cubicBezTo>
                    <a:pt x="38" y="282"/>
                    <a:pt x="38" y="282"/>
                    <a:pt x="38" y="282"/>
                  </a:cubicBezTo>
                  <a:cubicBezTo>
                    <a:pt x="38" y="282"/>
                    <a:pt x="38" y="282"/>
                    <a:pt x="37" y="282"/>
                  </a:cubicBezTo>
                  <a:moveTo>
                    <a:pt x="38" y="281"/>
                  </a:moveTo>
                  <a:cubicBezTo>
                    <a:pt x="38" y="281"/>
                    <a:pt x="38" y="281"/>
                    <a:pt x="38" y="281"/>
                  </a:cubicBezTo>
                  <a:cubicBezTo>
                    <a:pt x="38" y="281"/>
                    <a:pt x="38" y="281"/>
                    <a:pt x="38" y="281"/>
                  </a:cubicBezTo>
                  <a:moveTo>
                    <a:pt x="38" y="275"/>
                  </a:moveTo>
                  <a:cubicBezTo>
                    <a:pt x="38" y="274"/>
                    <a:pt x="38" y="274"/>
                    <a:pt x="37" y="273"/>
                  </a:cubicBezTo>
                  <a:cubicBezTo>
                    <a:pt x="38" y="274"/>
                    <a:pt x="38" y="275"/>
                    <a:pt x="38" y="276"/>
                  </a:cubicBezTo>
                  <a:cubicBezTo>
                    <a:pt x="38" y="276"/>
                    <a:pt x="38" y="275"/>
                    <a:pt x="38" y="275"/>
                  </a:cubicBezTo>
                  <a:moveTo>
                    <a:pt x="38" y="278"/>
                  </a:moveTo>
                  <a:cubicBezTo>
                    <a:pt x="39" y="278"/>
                    <a:pt x="39" y="279"/>
                    <a:pt x="38" y="279"/>
                  </a:cubicBezTo>
                  <a:cubicBezTo>
                    <a:pt x="39" y="279"/>
                    <a:pt x="39" y="278"/>
                    <a:pt x="38" y="278"/>
                  </a:cubicBezTo>
                  <a:moveTo>
                    <a:pt x="38" y="278"/>
                  </a:moveTo>
                  <a:cubicBezTo>
                    <a:pt x="38" y="277"/>
                    <a:pt x="38" y="277"/>
                    <a:pt x="38" y="277"/>
                  </a:cubicBezTo>
                  <a:cubicBezTo>
                    <a:pt x="38" y="277"/>
                    <a:pt x="38" y="277"/>
                    <a:pt x="38" y="278"/>
                  </a:cubicBezTo>
                  <a:moveTo>
                    <a:pt x="38" y="457"/>
                  </a:moveTo>
                  <a:cubicBezTo>
                    <a:pt x="38" y="456"/>
                    <a:pt x="38" y="456"/>
                    <a:pt x="38" y="456"/>
                  </a:cubicBezTo>
                  <a:cubicBezTo>
                    <a:pt x="38" y="456"/>
                    <a:pt x="38" y="456"/>
                    <a:pt x="38" y="457"/>
                  </a:cubicBezTo>
                  <a:moveTo>
                    <a:pt x="30" y="485"/>
                  </a:moveTo>
                  <a:cubicBezTo>
                    <a:pt x="30" y="486"/>
                    <a:pt x="29" y="486"/>
                    <a:pt x="29" y="487"/>
                  </a:cubicBezTo>
                  <a:cubicBezTo>
                    <a:pt x="29" y="486"/>
                    <a:pt x="30" y="486"/>
                    <a:pt x="30" y="485"/>
                  </a:cubicBezTo>
                  <a:moveTo>
                    <a:pt x="26" y="306"/>
                  </a:moveTo>
                  <a:cubicBezTo>
                    <a:pt x="26" y="307"/>
                    <a:pt x="26" y="308"/>
                    <a:pt x="26" y="308"/>
                  </a:cubicBezTo>
                  <a:cubicBezTo>
                    <a:pt x="26" y="308"/>
                    <a:pt x="26" y="307"/>
                    <a:pt x="26" y="306"/>
                  </a:cubicBezTo>
                  <a:moveTo>
                    <a:pt x="26" y="303"/>
                  </a:moveTo>
                  <a:cubicBezTo>
                    <a:pt x="26" y="304"/>
                    <a:pt x="26" y="305"/>
                    <a:pt x="26" y="306"/>
                  </a:cubicBezTo>
                  <a:cubicBezTo>
                    <a:pt x="26" y="305"/>
                    <a:pt x="26" y="304"/>
                    <a:pt x="26" y="303"/>
                  </a:cubicBezTo>
                  <a:moveTo>
                    <a:pt x="36" y="284"/>
                  </a:moveTo>
                  <a:cubicBezTo>
                    <a:pt x="36" y="284"/>
                    <a:pt x="36" y="284"/>
                    <a:pt x="35" y="284"/>
                  </a:cubicBezTo>
                  <a:cubicBezTo>
                    <a:pt x="36" y="284"/>
                    <a:pt x="36" y="284"/>
                    <a:pt x="36" y="284"/>
                  </a:cubicBezTo>
                  <a:moveTo>
                    <a:pt x="35" y="285"/>
                  </a:moveTo>
                  <a:cubicBezTo>
                    <a:pt x="35" y="285"/>
                    <a:pt x="34" y="285"/>
                    <a:pt x="34" y="285"/>
                  </a:cubicBezTo>
                  <a:cubicBezTo>
                    <a:pt x="34" y="285"/>
                    <a:pt x="35" y="285"/>
                    <a:pt x="35" y="285"/>
                  </a:cubicBezTo>
                  <a:moveTo>
                    <a:pt x="33" y="286"/>
                  </a:moveTo>
                  <a:cubicBezTo>
                    <a:pt x="33" y="286"/>
                    <a:pt x="34" y="286"/>
                    <a:pt x="34" y="286"/>
                  </a:cubicBezTo>
                  <a:cubicBezTo>
                    <a:pt x="34" y="286"/>
                    <a:pt x="33" y="286"/>
                    <a:pt x="33" y="286"/>
                  </a:cubicBezTo>
                  <a:moveTo>
                    <a:pt x="37" y="282"/>
                  </a:moveTo>
                  <a:cubicBezTo>
                    <a:pt x="37" y="282"/>
                    <a:pt x="37" y="283"/>
                    <a:pt x="37" y="283"/>
                  </a:cubicBezTo>
                  <a:cubicBezTo>
                    <a:pt x="37" y="283"/>
                    <a:pt x="37" y="282"/>
                    <a:pt x="37" y="282"/>
                  </a:cubicBezTo>
                  <a:moveTo>
                    <a:pt x="40" y="258"/>
                  </a:moveTo>
                  <a:cubicBezTo>
                    <a:pt x="40" y="259"/>
                    <a:pt x="39" y="260"/>
                    <a:pt x="39" y="261"/>
                  </a:cubicBezTo>
                  <a:cubicBezTo>
                    <a:pt x="39" y="260"/>
                    <a:pt x="40" y="259"/>
                    <a:pt x="40" y="258"/>
                  </a:cubicBezTo>
                  <a:moveTo>
                    <a:pt x="41" y="153"/>
                  </a:moveTo>
                  <a:cubicBezTo>
                    <a:pt x="42" y="153"/>
                    <a:pt x="42" y="152"/>
                    <a:pt x="42" y="151"/>
                  </a:cubicBezTo>
                  <a:cubicBezTo>
                    <a:pt x="42" y="151"/>
                    <a:pt x="42" y="151"/>
                    <a:pt x="42" y="151"/>
                  </a:cubicBezTo>
                  <a:cubicBezTo>
                    <a:pt x="42" y="152"/>
                    <a:pt x="42" y="153"/>
                    <a:pt x="41" y="153"/>
                  </a:cubicBezTo>
                  <a:moveTo>
                    <a:pt x="45" y="247"/>
                  </a:moveTo>
                  <a:cubicBezTo>
                    <a:pt x="45" y="247"/>
                    <a:pt x="45" y="247"/>
                    <a:pt x="45" y="246"/>
                  </a:cubicBezTo>
                  <a:cubicBezTo>
                    <a:pt x="45" y="247"/>
                    <a:pt x="45" y="247"/>
                    <a:pt x="45" y="247"/>
                  </a:cubicBezTo>
                  <a:moveTo>
                    <a:pt x="46" y="245"/>
                  </a:moveTo>
                  <a:cubicBezTo>
                    <a:pt x="46" y="245"/>
                    <a:pt x="46" y="244"/>
                    <a:pt x="46" y="244"/>
                  </a:cubicBezTo>
                  <a:cubicBezTo>
                    <a:pt x="46" y="244"/>
                    <a:pt x="46" y="245"/>
                    <a:pt x="46" y="245"/>
                  </a:cubicBezTo>
                  <a:moveTo>
                    <a:pt x="46" y="243"/>
                  </a:moveTo>
                  <a:cubicBezTo>
                    <a:pt x="46" y="243"/>
                    <a:pt x="46" y="242"/>
                    <a:pt x="46" y="242"/>
                  </a:cubicBezTo>
                  <a:cubicBezTo>
                    <a:pt x="46" y="242"/>
                    <a:pt x="46" y="243"/>
                    <a:pt x="46" y="243"/>
                  </a:cubicBezTo>
                  <a:moveTo>
                    <a:pt x="48" y="495"/>
                  </a:moveTo>
                  <a:cubicBezTo>
                    <a:pt x="47" y="495"/>
                    <a:pt x="46" y="495"/>
                    <a:pt x="45" y="495"/>
                  </a:cubicBezTo>
                  <a:cubicBezTo>
                    <a:pt x="46" y="495"/>
                    <a:pt x="47" y="495"/>
                    <a:pt x="48" y="495"/>
                  </a:cubicBezTo>
                  <a:moveTo>
                    <a:pt x="43" y="496"/>
                  </a:moveTo>
                  <a:cubicBezTo>
                    <a:pt x="42" y="496"/>
                    <a:pt x="41" y="496"/>
                    <a:pt x="41" y="496"/>
                  </a:cubicBezTo>
                  <a:cubicBezTo>
                    <a:pt x="41" y="496"/>
                    <a:pt x="42" y="496"/>
                    <a:pt x="43" y="496"/>
                  </a:cubicBezTo>
                  <a:moveTo>
                    <a:pt x="52" y="496"/>
                  </a:moveTo>
                  <a:cubicBezTo>
                    <a:pt x="51" y="496"/>
                    <a:pt x="51" y="496"/>
                    <a:pt x="50" y="495"/>
                  </a:cubicBezTo>
                  <a:cubicBezTo>
                    <a:pt x="51" y="496"/>
                    <a:pt x="51" y="496"/>
                    <a:pt x="52" y="496"/>
                  </a:cubicBezTo>
                  <a:moveTo>
                    <a:pt x="50" y="495"/>
                  </a:moveTo>
                  <a:cubicBezTo>
                    <a:pt x="49" y="495"/>
                    <a:pt x="48" y="495"/>
                    <a:pt x="48" y="495"/>
                  </a:cubicBezTo>
                  <a:cubicBezTo>
                    <a:pt x="48" y="495"/>
                    <a:pt x="49" y="495"/>
                    <a:pt x="50" y="495"/>
                  </a:cubicBezTo>
                  <a:moveTo>
                    <a:pt x="45" y="495"/>
                  </a:moveTo>
                  <a:cubicBezTo>
                    <a:pt x="44" y="495"/>
                    <a:pt x="44" y="495"/>
                    <a:pt x="43" y="495"/>
                  </a:cubicBezTo>
                  <a:cubicBezTo>
                    <a:pt x="44" y="495"/>
                    <a:pt x="44" y="495"/>
                    <a:pt x="45" y="495"/>
                  </a:cubicBezTo>
                  <a:moveTo>
                    <a:pt x="0" y="373"/>
                  </a:moveTo>
                  <a:cubicBezTo>
                    <a:pt x="0" y="373"/>
                    <a:pt x="0" y="373"/>
                    <a:pt x="0" y="373"/>
                  </a:cubicBezTo>
                  <a:cubicBezTo>
                    <a:pt x="0" y="373"/>
                    <a:pt x="0" y="373"/>
                    <a:pt x="0" y="373"/>
                  </a:cubicBezTo>
                  <a:moveTo>
                    <a:pt x="0" y="372"/>
                  </a:moveTo>
                  <a:cubicBezTo>
                    <a:pt x="0" y="372"/>
                    <a:pt x="0" y="372"/>
                    <a:pt x="0" y="373"/>
                  </a:cubicBezTo>
                  <a:cubicBezTo>
                    <a:pt x="0" y="372"/>
                    <a:pt x="0" y="372"/>
                    <a:pt x="0" y="372"/>
                  </a:cubicBezTo>
                  <a:moveTo>
                    <a:pt x="1" y="376"/>
                  </a:moveTo>
                  <a:cubicBezTo>
                    <a:pt x="1" y="375"/>
                    <a:pt x="0" y="375"/>
                    <a:pt x="0" y="375"/>
                  </a:cubicBezTo>
                  <a:cubicBezTo>
                    <a:pt x="0" y="375"/>
                    <a:pt x="1" y="375"/>
                    <a:pt x="1" y="376"/>
                  </a:cubicBezTo>
                  <a:moveTo>
                    <a:pt x="0" y="375"/>
                  </a:moveTo>
                  <a:cubicBezTo>
                    <a:pt x="0" y="375"/>
                    <a:pt x="0" y="375"/>
                    <a:pt x="0" y="374"/>
                  </a:cubicBezTo>
                  <a:cubicBezTo>
                    <a:pt x="0" y="375"/>
                    <a:pt x="0" y="375"/>
                    <a:pt x="0" y="375"/>
                  </a:cubicBezTo>
                  <a:moveTo>
                    <a:pt x="0" y="374"/>
                  </a:moveTo>
                  <a:cubicBezTo>
                    <a:pt x="0" y="374"/>
                    <a:pt x="0" y="374"/>
                    <a:pt x="0" y="374"/>
                  </a:cubicBezTo>
                  <a:cubicBezTo>
                    <a:pt x="0" y="374"/>
                    <a:pt x="0" y="374"/>
                    <a:pt x="0" y="374"/>
                  </a:cubicBezTo>
                  <a:moveTo>
                    <a:pt x="1" y="359"/>
                  </a:moveTo>
                  <a:cubicBezTo>
                    <a:pt x="1" y="359"/>
                    <a:pt x="1" y="360"/>
                    <a:pt x="1" y="360"/>
                  </a:cubicBezTo>
                  <a:cubicBezTo>
                    <a:pt x="1" y="360"/>
                    <a:pt x="1" y="359"/>
                    <a:pt x="1" y="359"/>
                  </a:cubicBezTo>
                  <a:moveTo>
                    <a:pt x="0" y="362"/>
                  </a:moveTo>
                  <a:cubicBezTo>
                    <a:pt x="0" y="363"/>
                    <a:pt x="0" y="363"/>
                    <a:pt x="0" y="363"/>
                  </a:cubicBezTo>
                  <a:cubicBezTo>
                    <a:pt x="0" y="363"/>
                    <a:pt x="0" y="363"/>
                    <a:pt x="0" y="362"/>
                  </a:cubicBezTo>
                  <a:moveTo>
                    <a:pt x="447" y="26"/>
                  </a:moveTo>
                  <a:cubicBezTo>
                    <a:pt x="447" y="26"/>
                    <a:pt x="448" y="26"/>
                    <a:pt x="448" y="26"/>
                  </a:cubicBezTo>
                  <a:cubicBezTo>
                    <a:pt x="448" y="26"/>
                    <a:pt x="448" y="26"/>
                    <a:pt x="448" y="26"/>
                  </a:cubicBezTo>
                  <a:cubicBezTo>
                    <a:pt x="451" y="24"/>
                    <a:pt x="447" y="26"/>
                    <a:pt x="447" y="26"/>
                  </a:cubicBezTo>
                  <a:moveTo>
                    <a:pt x="499" y="314"/>
                  </a:moveTo>
                  <a:cubicBezTo>
                    <a:pt x="499" y="313"/>
                    <a:pt x="500" y="313"/>
                    <a:pt x="500" y="313"/>
                  </a:cubicBezTo>
                  <a:cubicBezTo>
                    <a:pt x="500" y="313"/>
                    <a:pt x="499" y="313"/>
                    <a:pt x="499" y="314"/>
                  </a:cubicBezTo>
                  <a:moveTo>
                    <a:pt x="731" y="104"/>
                  </a:moveTo>
                  <a:cubicBezTo>
                    <a:pt x="732" y="100"/>
                    <a:pt x="727" y="98"/>
                    <a:pt x="724" y="97"/>
                  </a:cubicBezTo>
                  <a:cubicBezTo>
                    <a:pt x="719" y="96"/>
                    <a:pt x="714" y="96"/>
                    <a:pt x="709" y="96"/>
                  </a:cubicBezTo>
                  <a:cubicBezTo>
                    <a:pt x="705" y="96"/>
                    <a:pt x="703" y="97"/>
                    <a:pt x="699" y="98"/>
                  </a:cubicBezTo>
                  <a:cubicBezTo>
                    <a:pt x="695" y="100"/>
                    <a:pt x="694" y="103"/>
                    <a:pt x="689" y="102"/>
                  </a:cubicBezTo>
                  <a:cubicBezTo>
                    <a:pt x="684" y="101"/>
                    <a:pt x="677" y="98"/>
                    <a:pt x="672" y="99"/>
                  </a:cubicBezTo>
                  <a:cubicBezTo>
                    <a:pt x="671" y="99"/>
                    <a:pt x="670" y="100"/>
                    <a:pt x="669" y="100"/>
                  </a:cubicBezTo>
                  <a:cubicBezTo>
                    <a:pt x="669" y="101"/>
                    <a:pt x="669" y="101"/>
                    <a:pt x="668" y="102"/>
                  </a:cubicBezTo>
                  <a:cubicBezTo>
                    <a:pt x="668" y="102"/>
                    <a:pt x="667" y="102"/>
                    <a:pt x="667" y="102"/>
                  </a:cubicBezTo>
                  <a:cubicBezTo>
                    <a:pt x="665" y="103"/>
                    <a:pt x="665" y="104"/>
                    <a:pt x="663" y="104"/>
                  </a:cubicBezTo>
                  <a:cubicBezTo>
                    <a:pt x="661" y="105"/>
                    <a:pt x="661" y="104"/>
                    <a:pt x="659" y="103"/>
                  </a:cubicBezTo>
                  <a:cubicBezTo>
                    <a:pt x="659" y="103"/>
                    <a:pt x="659" y="103"/>
                    <a:pt x="659" y="103"/>
                  </a:cubicBezTo>
                  <a:cubicBezTo>
                    <a:pt x="658" y="104"/>
                    <a:pt x="656" y="104"/>
                    <a:pt x="655" y="103"/>
                  </a:cubicBezTo>
                  <a:cubicBezTo>
                    <a:pt x="652" y="103"/>
                    <a:pt x="650" y="102"/>
                    <a:pt x="648" y="101"/>
                  </a:cubicBezTo>
                  <a:cubicBezTo>
                    <a:pt x="647" y="100"/>
                    <a:pt x="646" y="99"/>
                    <a:pt x="645" y="99"/>
                  </a:cubicBezTo>
                  <a:cubicBezTo>
                    <a:pt x="644" y="99"/>
                    <a:pt x="643" y="98"/>
                    <a:pt x="641" y="98"/>
                  </a:cubicBezTo>
                  <a:cubicBezTo>
                    <a:pt x="640" y="98"/>
                    <a:pt x="639" y="98"/>
                    <a:pt x="638" y="98"/>
                  </a:cubicBezTo>
                  <a:cubicBezTo>
                    <a:pt x="637" y="98"/>
                    <a:pt x="636" y="98"/>
                    <a:pt x="636" y="98"/>
                  </a:cubicBezTo>
                  <a:cubicBezTo>
                    <a:pt x="635" y="99"/>
                    <a:pt x="635" y="99"/>
                    <a:pt x="634" y="99"/>
                  </a:cubicBezTo>
                  <a:cubicBezTo>
                    <a:pt x="633" y="100"/>
                    <a:pt x="632" y="100"/>
                    <a:pt x="631" y="99"/>
                  </a:cubicBezTo>
                  <a:cubicBezTo>
                    <a:pt x="629" y="99"/>
                    <a:pt x="627" y="99"/>
                    <a:pt x="625" y="99"/>
                  </a:cubicBezTo>
                  <a:cubicBezTo>
                    <a:pt x="623" y="98"/>
                    <a:pt x="622" y="97"/>
                    <a:pt x="621" y="96"/>
                  </a:cubicBezTo>
                  <a:cubicBezTo>
                    <a:pt x="619" y="94"/>
                    <a:pt x="617" y="93"/>
                    <a:pt x="617" y="91"/>
                  </a:cubicBezTo>
                  <a:cubicBezTo>
                    <a:pt x="616" y="90"/>
                    <a:pt x="616" y="88"/>
                    <a:pt x="617" y="87"/>
                  </a:cubicBezTo>
                  <a:cubicBezTo>
                    <a:pt x="618" y="85"/>
                    <a:pt x="621" y="85"/>
                    <a:pt x="623" y="84"/>
                  </a:cubicBezTo>
                  <a:cubicBezTo>
                    <a:pt x="623" y="83"/>
                    <a:pt x="623" y="83"/>
                    <a:pt x="623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3" y="80"/>
                    <a:pt x="620" y="78"/>
                    <a:pt x="617" y="77"/>
                  </a:cubicBezTo>
                  <a:cubicBezTo>
                    <a:pt x="615" y="76"/>
                    <a:pt x="614" y="75"/>
                    <a:pt x="611" y="74"/>
                  </a:cubicBezTo>
                  <a:cubicBezTo>
                    <a:pt x="609" y="73"/>
                    <a:pt x="607" y="73"/>
                    <a:pt x="605" y="73"/>
                  </a:cubicBezTo>
                  <a:cubicBezTo>
                    <a:pt x="600" y="72"/>
                    <a:pt x="596" y="69"/>
                    <a:pt x="592" y="68"/>
                  </a:cubicBezTo>
                  <a:cubicBezTo>
                    <a:pt x="589" y="68"/>
                    <a:pt x="587" y="66"/>
                    <a:pt x="584" y="65"/>
                  </a:cubicBezTo>
                  <a:cubicBezTo>
                    <a:pt x="584" y="67"/>
                    <a:pt x="584" y="69"/>
                    <a:pt x="583" y="70"/>
                  </a:cubicBezTo>
                  <a:cubicBezTo>
                    <a:pt x="583" y="71"/>
                    <a:pt x="582" y="71"/>
                    <a:pt x="582" y="73"/>
                  </a:cubicBezTo>
                  <a:cubicBezTo>
                    <a:pt x="581" y="74"/>
                    <a:pt x="582" y="75"/>
                    <a:pt x="581" y="76"/>
                  </a:cubicBezTo>
                  <a:cubicBezTo>
                    <a:pt x="580" y="78"/>
                    <a:pt x="579" y="77"/>
                    <a:pt x="577" y="77"/>
                  </a:cubicBezTo>
                  <a:cubicBezTo>
                    <a:pt x="569" y="78"/>
                    <a:pt x="560" y="77"/>
                    <a:pt x="552" y="77"/>
                  </a:cubicBezTo>
                  <a:cubicBezTo>
                    <a:pt x="549" y="77"/>
                    <a:pt x="547" y="78"/>
                    <a:pt x="545" y="78"/>
                  </a:cubicBezTo>
                  <a:cubicBezTo>
                    <a:pt x="543" y="78"/>
                    <a:pt x="541" y="77"/>
                    <a:pt x="540" y="76"/>
                  </a:cubicBezTo>
                  <a:cubicBezTo>
                    <a:pt x="538" y="75"/>
                    <a:pt x="536" y="74"/>
                    <a:pt x="534" y="73"/>
                  </a:cubicBezTo>
                  <a:cubicBezTo>
                    <a:pt x="534" y="72"/>
                    <a:pt x="532" y="70"/>
                    <a:pt x="531" y="70"/>
                  </a:cubicBezTo>
                  <a:cubicBezTo>
                    <a:pt x="529" y="69"/>
                    <a:pt x="525" y="71"/>
                    <a:pt x="522" y="70"/>
                  </a:cubicBezTo>
                  <a:cubicBezTo>
                    <a:pt x="517" y="70"/>
                    <a:pt x="512" y="68"/>
                    <a:pt x="506" y="67"/>
                  </a:cubicBezTo>
                  <a:cubicBezTo>
                    <a:pt x="504" y="58"/>
                    <a:pt x="497" y="61"/>
                    <a:pt x="490" y="58"/>
                  </a:cubicBezTo>
                  <a:cubicBezTo>
                    <a:pt x="488" y="57"/>
                    <a:pt x="486" y="56"/>
                    <a:pt x="484" y="54"/>
                  </a:cubicBezTo>
                  <a:cubicBezTo>
                    <a:pt x="481" y="52"/>
                    <a:pt x="475" y="50"/>
                    <a:pt x="475" y="46"/>
                  </a:cubicBezTo>
                  <a:cubicBezTo>
                    <a:pt x="472" y="45"/>
                    <a:pt x="471" y="48"/>
                    <a:pt x="469" y="49"/>
                  </a:cubicBezTo>
                  <a:cubicBezTo>
                    <a:pt x="467" y="51"/>
                    <a:pt x="465" y="50"/>
                    <a:pt x="464" y="46"/>
                  </a:cubicBezTo>
                  <a:cubicBezTo>
                    <a:pt x="463" y="42"/>
                    <a:pt x="469" y="39"/>
                    <a:pt x="466" y="35"/>
                  </a:cubicBezTo>
                  <a:cubicBezTo>
                    <a:pt x="465" y="33"/>
                    <a:pt x="463" y="34"/>
                    <a:pt x="462" y="33"/>
                  </a:cubicBezTo>
                  <a:cubicBezTo>
                    <a:pt x="461" y="33"/>
                    <a:pt x="460" y="33"/>
                    <a:pt x="459" y="33"/>
                  </a:cubicBezTo>
                  <a:cubicBezTo>
                    <a:pt x="458" y="32"/>
                    <a:pt x="457" y="32"/>
                    <a:pt x="456" y="31"/>
                  </a:cubicBezTo>
                  <a:cubicBezTo>
                    <a:pt x="456" y="31"/>
                    <a:pt x="455" y="30"/>
                    <a:pt x="453" y="30"/>
                  </a:cubicBezTo>
                  <a:cubicBezTo>
                    <a:pt x="453" y="30"/>
                    <a:pt x="452" y="29"/>
                    <a:pt x="451" y="28"/>
                  </a:cubicBezTo>
                  <a:cubicBezTo>
                    <a:pt x="450" y="27"/>
                    <a:pt x="449" y="27"/>
                    <a:pt x="448" y="26"/>
                  </a:cubicBezTo>
                  <a:cubicBezTo>
                    <a:pt x="444" y="29"/>
                    <a:pt x="439" y="31"/>
                    <a:pt x="434" y="31"/>
                  </a:cubicBezTo>
                  <a:cubicBezTo>
                    <a:pt x="429" y="31"/>
                    <a:pt x="424" y="32"/>
                    <a:pt x="419" y="31"/>
                  </a:cubicBezTo>
                  <a:cubicBezTo>
                    <a:pt x="413" y="31"/>
                    <a:pt x="406" y="29"/>
                    <a:pt x="400" y="28"/>
                  </a:cubicBezTo>
                  <a:cubicBezTo>
                    <a:pt x="393" y="28"/>
                    <a:pt x="386" y="27"/>
                    <a:pt x="379" y="27"/>
                  </a:cubicBezTo>
                  <a:cubicBezTo>
                    <a:pt x="377" y="27"/>
                    <a:pt x="375" y="27"/>
                    <a:pt x="373" y="28"/>
                  </a:cubicBezTo>
                  <a:cubicBezTo>
                    <a:pt x="372" y="29"/>
                    <a:pt x="372" y="31"/>
                    <a:pt x="371" y="31"/>
                  </a:cubicBezTo>
                  <a:cubicBezTo>
                    <a:pt x="369" y="32"/>
                    <a:pt x="367" y="29"/>
                    <a:pt x="365" y="28"/>
                  </a:cubicBezTo>
                  <a:cubicBezTo>
                    <a:pt x="363" y="27"/>
                    <a:pt x="362" y="27"/>
                    <a:pt x="360" y="26"/>
                  </a:cubicBezTo>
                  <a:cubicBezTo>
                    <a:pt x="355" y="24"/>
                    <a:pt x="350" y="24"/>
                    <a:pt x="346" y="24"/>
                  </a:cubicBezTo>
                  <a:cubicBezTo>
                    <a:pt x="340" y="23"/>
                    <a:pt x="334" y="24"/>
                    <a:pt x="328" y="24"/>
                  </a:cubicBezTo>
                  <a:cubicBezTo>
                    <a:pt x="319" y="24"/>
                    <a:pt x="311" y="23"/>
                    <a:pt x="303" y="26"/>
                  </a:cubicBezTo>
                  <a:cubicBezTo>
                    <a:pt x="299" y="28"/>
                    <a:pt x="296" y="27"/>
                    <a:pt x="292" y="27"/>
                  </a:cubicBezTo>
                  <a:cubicBezTo>
                    <a:pt x="288" y="27"/>
                    <a:pt x="288" y="27"/>
                    <a:pt x="285" y="25"/>
                  </a:cubicBezTo>
                  <a:cubicBezTo>
                    <a:pt x="279" y="23"/>
                    <a:pt x="272" y="23"/>
                    <a:pt x="266" y="22"/>
                  </a:cubicBezTo>
                  <a:cubicBezTo>
                    <a:pt x="263" y="22"/>
                    <a:pt x="259" y="21"/>
                    <a:pt x="256" y="21"/>
                  </a:cubicBezTo>
                  <a:cubicBezTo>
                    <a:pt x="252" y="20"/>
                    <a:pt x="249" y="20"/>
                    <a:pt x="246" y="20"/>
                  </a:cubicBezTo>
                  <a:cubicBezTo>
                    <a:pt x="244" y="19"/>
                    <a:pt x="242" y="18"/>
                    <a:pt x="240" y="18"/>
                  </a:cubicBezTo>
                  <a:cubicBezTo>
                    <a:pt x="236" y="16"/>
                    <a:pt x="231" y="17"/>
                    <a:pt x="227" y="16"/>
                  </a:cubicBezTo>
                  <a:cubicBezTo>
                    <a:pt x="226" y="11"/>
                    <a:pt x="220" y="12"/>
                    <a:pt x="216" y="12"/>
                  </a:cubicBezTo>
                  <a:cubicBezTo>
                    <a:pt x="214" y="13"/>
                    <a:pt x="212" y="14"/>
                    <a:pt x="209" y="15"/>
                  </a:cubicBezTo>
                  <a:cubicBezTo>
                    <a:pt x="208" y="15"/>
                    <a:pt x="207" y="15"/>
                    <a:pt x="205" y="15"/>
                  </a:cubicBezTo>
                  <a:cubicBezTo>
                    <a:pt x="204" y="16"/>
                    <a:pt x="203" y="16"/>
                    <a:pt x="201" y="16"/>
                  </a:cubicBezTo>
                  <a:cubicBezTo>
                    <a:pt x="194" y="18"/>
                    <a:pt x="185" y="17"/>
                    <a:pt x="178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3" y="17"/>
                    <a:pt x="148" y="18"/>
                    <a:pt x="144" y="15"/>
                  </a:cubicBezTo>
                  <a:cubicBezTo>
                    <a:pt x="139" y="13"/>
                    <a:pt x="135" y="10"/>
                    <a:pt x="130" y="8"/>
                  </a:cubicBezTo>
                  <a:cubicBezTo>
                    <a:pt x="125" y="5"/>
                    <a:pt x="121" y="4"/>
                    <a:pt x="116" y="3"/>
                  </a:cubicBezTo>
                  <a:cubicBezTo>
                    <a:pt x="109" y="2"/>
                    <a:pt x="101" y="0"/>
                    <a:pt x="95" y="2"/>
                  </a:cubicBezTo>
                  <a:cubicBezTo>
                    <a:pt x="88" y="4"/>
                    <a:pt x="87" y="10"/>
                    <a:pt x="83" y="15"/>
                  </a:cubicBezTo>
                  <a:cubicBezTo>
                    <a:pt x="82" y="17"/>
                    <a:pt x="80" y="17"/>
                    <a:pt x="80" y="19"/>
                  </a:cubicBezTo>
                  <a:cubicBezTo>
                    <a:pt x="80" y="20"/>
                    <a:pt x="81" y="22"/>
                    <a:pt x="81" y="23"/>
                  </a:cubicBezTo>
                  <a:cubicBezTo>
                    <a:pt x="82" y="25"/>
                    <a:pt x="83" y="31"/>
                    <a:pt x="81" y="33"/>
                  </a:cubicBezTo>
                  <a:cubicBezTo>
                    <a:pt x="80" y="33"/>
                    <a:pt x="77" y="33"/>
                    <a:pt x="76" y="33"/>
                  </a:cubicBezTo>
                  <a:cubicBezTo>
                    <a:pt x="73" y="33"/>
                    <a:pt x="73" y="33"/>
                    <a:pt x="72" y="35"/>
                  </a:cubicBezTo>
                  <a:cubicBezTo>
                    <a:pt x="71" y="36"/>
                    <a:pt x="70" y="37"/>
                    <a:pt x="68" y="38"/>
                  </a:cubicBezTo>
                  <a:cubicBezTo>
                    <a:pt x="67" y="38"/>
                    <a:pt x="66" y="38"/>
                    <a:pt x="65" y="38"/>
                  </a:cubicBezTo>
                  <a:cubicBezTo>
                    <a:pt x="64" y="38"/>
                    <a:pt x="64" y="39"/>
                    <a:pt x="63" y="39"/>
                  </a:cubicBezTo>
                  <a:cubicBezTo>
                    <a:pt x="59" y="41"/>
                    <a:pt x="54" y="39"/>
                    <a:pt x="49" y="39"/>
                  </a:cubicBezTo>
                  <a:cubicBezTo>
                    <a:pt x="47" y="39"/>
                    <a:pt x="45" y="39"/>
                    <a:pt x="43" y="40"/>
                  </a:cubicBezTo>
                  <a:cubicBezTo>
                    <a:pt x="41" y="40"/>
                    <a:pt x="39" y="42"/>
                    <a:pt x="37" y="43"/>
                  </a:cubicBezTo>
                  <a:cubicBezTo>
                    <a:pt x="33" y="45"/>
                    <a:pt x="30" y="48"/>
                    <a:pt x="27" y="51"/>
                  </a:cubicBezTo>
                  <a:cubicBezTo>
                    <a:pt x="26" y="52"/>
                    <a:pt x="24" y="54"/>
                    <a:pt x="24" y="55"/>
                  </a:cubicBezTo>
                  <a:cubicBezTo>
                    <a:pt x="23" y="56"/>
                    <a:pt x="23" y="58"/>
                    <a:pt x="23" y="60"/>
                  </a:cubicBezTo>
                  <a:cubicBezTo>
                    <a:pt x="23" y="62"/>
                    <a:pt x="23" y="64"/>
                    <a:pt x="23" y="66"/>
                  </a:cubicBezTo>
                  <a:cubicBezTo>
                    <a:pt x="24" y="69"/>
                    <a:pt x="24" y="68"/>
                    <a:pt x="27" y="69"/>
                  </a:cubicBezTo>
                  <a:cubicBezTo>
                    <a:pt x="29" y="70"/>
                    <a:pt x="29" y="70"/>
                    <a:pt x="29" y="73"/>
                  </a:cubicBezTo>
                  <a:cubicBezTo>
                    <a:pt x="29" y="74"/>
                    <a:pt x="29" y="75"/>
                    <a:pt x="30" y="77"/>
                  </a:cubicBezTo>
                  <a:cubicBezTo>
                    <a:pt x="30" y="78"/>
                    <a:pt x="31" y="82"/>
                    <a:pt x="32" y="82"/>
                  </a:cubicBezTo>
                  <a:cubicBezTo>
                    <a:pt x="34" y="84"/>
                    <a:pt x="34" y="81"/>
                    <a:pt x="35" y="80"/>
                  </a:cubicBezTo>
                  <a:cubicBezTo>
                    <a:pt x="40" y="86"/>
                    <a:pt x="32" y="89"/>
                    <a:pt x="34" y="96"/>
                  </a:cubicBezTo>
                  <a:cubicBezTo>
                    <a:pt x="35" y="101"/>
                    <a:pt x="42" y="98"/>
                    <a:pt x="45" y="96"/>
                  </a:cubicBezTo>
                  <a:cubicBezTo>
                    <a:pt x="46" y="94"/>
                    <a:pt x="46" y="90"/>
                    <a:pt x="48" y="89"/>
                  </a:cubicBezTo>
                  <a:cubicBezTo>
                    <a:pt x="49" y="89"/>
                    <a:pt x="52" y="90"/>
                    <a:pt x="53" y="92"/>
                  </a:cubicBezTo>
                  <a:cubicBezTo>
                    <a:pt x="53" y="93"/>
                    <a:pt x="52" y="93"/>
                    <a:pt x="51" y="95"/>
                  </a:cubicBezTo>
                  <a:cubicBezTo>
                    <a:pt x="51" y="96"/>
                    <a:pt x="51" y="99"/>
                    <a:pt x="51" y="101"/>
                  </a:cubicBezTo>
                  <a:cubicBezTo>
                    <a:pt x="51" y="105"/>
                    <a:pt x="49" y="108"/>
                    <a:pt x="48" y="112"/>
                  </a:cubicBezTo>
                  <a:cubicBezTo>
                    <a:pt x="48" y="114"/>
                    <a:pt x="48" y="114"/>
                    <a:pt x="47" y="116"/>
                  </a:cubicBezTo>
                  <a:cubicBezTo>
                    <a:pt x="47" y="117"/>
                    <a:pt x="45" y="118"/>
                    <a:pt x="44" y="119"/>
                  </a:cubicBezTo>
                  <a:cubicBezTo>
                    <a:pt x="43" y="121"/>
                    <a:pt x="45" y="124"/>
                    <a:pt x="44" y="126"/>
                  </a:cubicBezTo>
                  <a:cubicBezTo>
                    <a:pt x="40" y="127"/>
                    <a:pt x="36" y="127"/>
                    <a:pt x="32" y="127"/>
                  </a:cubicBezTo>
                  <a:cubicBezTo>
                    <a:pt x="30" y="127"/>
                    <a:pt x="26" y="128"/>
                    <a:pt x="24" y="129"/>
                  </a:cubicBezTo>
                  <a:cubicBezTo>
                    <a:pt x="23" y="129"/>
                    <a:pt x="23" y="129"/>
                    <a:pt x="22" y="130"/>
                  </a:cubicBezTo>
                  <a:cubicBezTo>
                    <a:pt x="22" y="132"/>
                    <a:pt x="25" y="135"/>
                    <a:pt x="26" y="136"/>
                  </a:cubicBezTo>
                  <a:cubicBezTo>
                    <a:pt x="27" y="138"/>
                    <a:pt x="28" y="139"/>
                    <a:pt x="31" y="139"/>
                  </a:cubicBezTo>
                  <a:cubicBezTo>
                    <a:pt x="34" y="140"/>
                    <a:pt x="36" y="140"/>
                    <a:pt x="38" y="141"/>
                  </a:cubicBezTo>
                  <a:cubicBezTo>
                    <a:pt x="41" y="142"/>
                    <a:pt x="42" y="142"/>
                    <a:pt x="42" y="145"/>
                  </a:cubicBezTo>
                  <a:cubicBezTo>
                    <a:pt x="42" y="146"/>
                    <a:pt x="42" y="147"/>
                    <a:pt x="42" y="148"/>
                  </a:cubicBezTo>
                  <a:cubicBezTo>
                    <a:pt x="43" y="148"/>
                    <a:pt x="45" y="146"/>
                    <a:pt x="45" y="146"/>
                  </a:cubicBezTo>
                  <a:cubicBezTo>
                    <a:pt x="46" y="145"/>
                    <a:pt x="46" y="142"/>
                    <a:pt x="47" y="141"/>
                  </a:cubicBezTo>
                  <a:cubicBezTo>
                    <a:pt x="48" y="140"/>
                    <a:pt x="51" y="139"/>
                    <a:pt x="53" y="138"/>
                  </a:cubicBezTo>
                  <a:cubicBezTo>
                    <a:pt x="56" y="137"/>
                    <a:pt x="60" y="135"/>
                    <a:pt x="63" y="133"/>
                  </a:cubicBezTo>
                  <a:cubicBezTo>
                    <a:pt x="66" y="132"/>
                    <a:pt x="69" y="130"/>
                    <a:pt x="73" y="129"/>
                  </a:cubicBezTo>
                  <a:cubicBezTo>
                    <a:pt x="74" y="129"/>
                    <a:pt x="76" y="129"/>
                    <a:pt x="77" y="128"/>
                  </a:cubicBezTo>
                  <a:cubicBezTo>
                    <a:pt x="77" y="128"/>
                    <a:pt x="78" y="126"/>
                    <a:pt x="78" y="125"/>
                  </a:cubicBezTo>
                  <a:cubicBezTo>
                    <a:pt x="79" y="124"/>
                    <a:pt x="80" y="122"/>
                    <a:pt x="82" y="123"/>
                  </a:cubicBezTo>
                  <a:cubicBezTo>
                    <a:pt x="84" y="124"/>
                    <a:pt x="82" y="126"/>
                    <a:pt x="81" y="128"/>
                  </a:cubicBezTo>
                  <a:cubicBezTo>
                    <a:pt x="81" y="129"/>
                    <a:pt x="81" y="132"/>
                    <a:pt x="82" y="133"/>
                  </a:cubicBezTo>
                  <a:cubicBezTo>
                    <a:pt x="83" y="134"/>
                    <a:pt x="85" y="133"/>
                    <a:pt x="86" y="134"/>
                  </a:cubicBezTo>
                  <a:cubicBezTo>
                    <a:pt x="86" y="136"/>
                    <a:pt x="86" y="138"/>
                    <a:pt x="85" y="139"/>
                  </a:cubicBezTo>
                  <a:cubicBezTo>
                    <a:pt x="84" y="141"/>
                    <a:pt x="82" y="141"/>
                    <a:pt x="81" y="143"/>
                  </a:cubicBezTo>
                  <a:cubicBezTo>
                    <a:pt x="81" y="144"/>
                    <a:pt x="82" y="152"/>
                    <a:pt x="84" y="152"/>
                  </a:cubicBezTo>
                  <a:cubicBezTo>
                    <a:pt x="85" y="152"/>
                    <a:pt x="87" y="150"/>
                    <a:pt x="88" y="150"/>
                  </a:cubicBezTo>
                  <a:cubicBezTo>
                    <a:pt x="90" y="149"/>
                    <a:pt x="91" y="150"/>
                    <a:pt x="93" y="148"/>
                  </a:cubicBezTo>
                  <a:cubicBezTo>
                    <a:pt x="94" y="146"/>
                    <a:pt x="94" y="140"/>
                    <a:pt x="98" y="144"/>
                  </a:cubicBezTo>
                  <a:cubicBezTo>
                    <a:pt x="99" y="145"/>
                    <a:pt x="99" y="147"/>
                    <a:pt x="101" y="148"/>
                  </a:cubicBezTo>
                  <a:cubicBezTo>
                    <a:pt x="103" y="149"/>
                    <a:pt x="104" y="147"/>
                    <a:pt x="105" y="146"/>
                  </a:cubicBezTo>
                  <a:cubicBezTo>
                    <a:pt x="107" y="145"/>
                    <a:pt x="110" y="146"/>
                    <a:pt x="112" y="147"/>
                  </a:cubicBezTo>
                  <a:cubicBezTo>
                    <a:pt x="112" y="147"/>
                    <a:pt x="112" y="149"/>
                    <a:pt x="112" y="150"/>
                  </a:cubicBezTo>
                  <a:cubicBezTo>
                    <a:pt x="114" y="151"/>
                    <a:pt x="114" y="149"/>
                    <a:pt x="115" y="149"/>
                  </a:cubicBezTo>
                  <a:cubicBezTo>
                    <a:pt x="117" y="150"/>
                    <a:pt x="119" y="152"/>
                    <a:pt x="122" y="151"/>
                  </a:cubicBezTo>
                  <a:cubicBezTo>
                    <a:pt x="122" y="145"/>
                    <a:pt x="130" y="150"/>
                    <a:pt x="134" y="148"/>
                  </a:cubicBezTo>
                  <a:cubicBezTo>
                    <a:pt x="137" y="147"/>
                    <a:pt x="137" y="146"/>
                    <a:pt x="139" y="144"/>
                  </a:cubicBezTo>
                  <a:cubicBezTo>
                    <a:pt x="140" y="143"/>
                    <a:pt x="141" y="142"/>
                    <a:pt x="142" y="141"/>
                  </a:cubicBezTo>
                  <a:cubicBezTo>
                    <a:pt x="143" y="140"/>
                    <a:pt x="142" y="139"/>
                    <a:pt x="143" y="138"/>
                  </a:cubicBezTo>
                  <a:cubicBezTo>
                    <a:pt x="144" y="138"/>
                    <a:pt x="144" y="139"/>
                    <a:pt x="145" y="139"/>
                  </a:cubicBezTo>
                  <a:cubicBezTo>
                    <a:pt x="145" y="137"/>
                    <a:pt x="153" y="138"/>
                    <a:pt x="155" y="138"/>
                  </a:cubicBezTo>
                  <a:cubicBezTo>
                    <a:pt x="157" y="138"/>
                    <a:pt x="159" y="136"/>
                    <a:pt x="160" y="136"/>
                  </a:cubicBezTo>
                  <a:cubicBezTo>
                    <a:pt x="162" y="136"/>
                    <a:pt x="160" y="137"/>
                    <a:pt x="161" y="139"/>
                  </a:cubicBezTo>
                  <a:cubicBezTo>
                    <a:pt x="163" y="141"/>
                    <a:pt x="167" y="140"/>
                    <a:pt x="169" y="140"/>
                  </a:cubicBezTo>
                  <a:cubicBezTo>
                    <a:pt x="172" y="140"/>
                    <a:pt x="174" y="139"/>
                    <a:pt x="177" y="139"/>
                  </a:cubicBezTo>
                  <a:cubicBezTo>
                    <a:pt x="175" y="145"/>
                    <a:pt x="175" y="145"/>
                    <a:pt x="175" y="145"/>
                  </a:cubicBezTo>
                  <a:cubicBezTo>
                    <a:pt x="176" y="147"/>
                    <a:pt x="173" y="149"/>
                    <a:pt x="172" y="151"/>
                  </a:cubicBezTo>
                  <a:cubicBezTo>
                    <a:pt x="171" y="152"/>
                    <a:pt x="171" y="154"/>
                    <a:pt x="172" y="156"/>
                  </a:cubicBezTo>
                  <a:cubicBezTo>
                    <a:pt x="173" y="157"/>
                    <a:pt x="174" y="160"/>
                    <a:pt x="175" y="160"/>
                  </a:cubicBezTo>
                  <a:cubicBezTo>
                    <a:pt x="177" y="161"/>
                    <a:pt x="176" y="160"/>
                    <a:pt x="177" y="160"/>
                  </a:cubicBezTo>
                  <a:cubicBezTo>
                    <a:pt x="179" y="160"/>
                    <a:pt x="181" y="160"/>
                    <a:pt x="183" y="161"/>
                  </a:cubicBezTo>
                  <a:cubicBezTo>
                    <a:pt x="186" y="162"/>
                    <a:pt x="189" y="164"/>
                    <a:pt x="192" y="165"/>
                  </a:cubicBezTo>
                  <a:cubicBezTo>
                    <a:pt x="194" y="166"/>
                    <a:pt x="195" y="166"/>
                    <a:pt x="194" y="168"/>
                  </a:cubicBezTo>
                  <a:cubicBezTo>
                    <a:pt x="194" y="172"/>
                    <a:pt x="191" y="175"/>
                    <a:pt x="188" y="178"/>
                  </a:cubicBezTo>
                  <a:cubicBezTo>
                    <a:pt x="186" y="180"/>
                    <a:pt x="186" y="182"/>
                    <a:pt x="184" y="184"/>
                  </a:cubicBezTo>
                  <a:cubicBezTo>
                    <a:pt x="183" y="186"/>
                    <a:pt x="182" y="186"/>
                    <a:pt x="180" y="187"/>
                  </a:cubicBezTo>
                  <a:cubicBezTo>
                    <a:pt x="178" y="188"/>
                    <a:pt x="177" y="188"/>
                    <a:pt x="176" y="189"/>
                  </a:cubicBezTo>
                  <a:cubicBezTo>
                    <a:pt x="174" y="191"/>
                    <a:pt x="172" y="192"/>
                    <a:pt x="170" y="194"/>
                  </a:cubicBezTo>
                  <a:cubicBezTo>
                    <a:pt x="169" y="194"/>
                    <a:pt x="168" y="196"/>
                    <a:pt x="166" y="197"/>
                  </a:cubicBezTo>
                  <a:cubicBezTo>
                    <a:pt x="165" y="198"/>
                    <a:pt x="164" y="200"/>
                    <a:pt x="163" y="201"/>
                  </a:cubicBezTo>
                  <a:cubicBezTo>
                    <a:pt x="161" y="203"/>
                    <a:pt x="158" y="204"/>
                    <a:pt x="155" y="204"/>
                  </a:cubicBezTo>
                  <a:cubicBezTo>
                    <a:pt x="152" y="205"/>
                    <a:pt x="151" y="204"/>
                    <a:pt x="149" y="207"/>
                  </a:cubicBezTo>
                  <a:cubicBezTo>
                    <a:pt x="147" y="210"/>
                    <a:pt x="144" y="214"/>
                    <a:pt x="144" y="218"/>
                  </a:cubicBezTo>
                  <a:cubicBezTo>
                    <a:pt x="141" y="219"/>
                    <a:pt x="139" y="220"/>
                    <a:pt x="141" y="223"/>
                  </a:cubicBezTo>
                  <a:cubicBezTo>
                    <a:pt x="141" y="223"/>
                    <a:pt x="143" y="224"/>
                    <a:pt x="144" y="224"/>
                  </a:cubicBezTo>
                  <a:cubicBezTo>
                    <a:pt x="144" y="225"/>
                    <a:pt x="144" y="226"/>
                    <a:pt x="144" y="227"/>
                  </a:cubicBezTo>
                  <a:cubicBezTo>
                    <a:pt x="144" y="229"/>
                    <a:pt x="144" y="232"/>
                    <a:pt x="144" y="235"/>
                  </a:cubicBezTo>
                  <a:cubicBezTo>
                    <a:pt x="144" y="241"/>
                    <a:pt x="146" y="247"/>
                    <a:pt x="145" y="253"/>
                  </a:cubicBezTo>
                  <a:cubicBezTo>
                    <a:pt x="145" y="256"/>
                    <a:pt x="144" y="259"/>
                    <a:pt x="144" y="262"/>
                  </a:cubicBezTo>
                  <a:cubicBezTo>
                    <a:pt x="144" y="265"/>
                    <a:pt x="145" y="271"/>
                    <a:pt x="144" y="274"/>
                  </a:cubicBezTo>
                  <a:cubicBezTo>
                    <a:pt x="143" y="276"/>
                    <a:pt x="141" y="277"/>
                    <a:pt x="139" y="278"/>
                  </a:cubicBezTo>
                  <a:cubicBezTo>
                    <a:pt x="137" y="279"/>
                    <a:pt x="136" y="281"/>
                    <a:pt x="134" y="281"/>
                  </a:cubicBezTo>
                  <a:cubicBezTo>
                    <a:pt x="135" y="286"/>
                    <a:pt x="140" y="288"/>
                    <a:pt x="141" y="293"/>
                  </a:cubicBezTo>
                  <a:cubicBezTo>
                    <a:pt x="141" y="296"/>
                    <a:pt x="139" y="299"/>
                    <a:pt x="137" y="302"/>
                  </a:cubicBezTo>
                  <a:cubicBezTo>
                    <a:pt x="136" y="302"/>
                    <a:pt x="133" y="305"/>
                    <a:pt x="133" y="306"/>
                  </a:cubicBezTo>
                  <a:cubicBezTo>
                    <a:pt x="132" y="308"/>
                    <a:pt x="133" y="311"/>
                    <a:pt x="133" y="313"/>
                  </a:cubicBezTo>
                  <a:cubicBezTo>
                    <a:pt x="132" y="319"/>
                    <a:pt x="122" y="318"/>
                    <a:pt x="117" y="318"/>
                  </a:cubicBezTo>
                  <a:cubicBezTo>
                    <a:pt x="115" y="318"/>
                    <a:pt x="110" y="317"/>
                    <a:pt x="110" y="319"/>
                  </a:cubicBezTo>
                  <a:cubicBezTo>
                    <a:pt x="109" y="321"/>
                    <a:pt x="111" y="323"/>
                    <a:pt x="112" y="324"/>
                  </a:cubicBezTo>
                  <a:cubicBezTo>
                    <a:pt x="113" y="325"/>
                    <a:pt x="114" y="328"/>
                    <a:pt x="115" y="328"/>
                  </a:cubicBezTo>
                  <a:cubicBezTo>
                    <a:pt x="115" y="329"/>
                    <a:pt x="116" y="330"/>
                    <a:pt x="117" y="329"/>
                  </a:cubicBezTo>
                  <a:cubicBezTo>
                    <a:pt x="117" y="329"/>
                    <a:pt x="118" y="329"/>
                    <a:pt x="118" y="329"/>
                  </a:cubicBezTo>
                  <a:cubicBezTo>
                    <a:pt x="118" y="330"/>
                    <a:pt x="119" y="331"/>
                    <a:pt x="119" y="331"/>
                  </a:cubicBezTo>
                  <a:cubicBezTo>
                    <a:pt x="120" y="335"/>
                    <a:pt x="119" y="341"/>
                    <a:pt x="119" y="345"/>
                  </a:cubicBezTo>
                  <a:cubicBezTo>
                    <a:pt x="120" y="344"/>
                    <a:pt x="122" y="345"/>
                    <a:pt x="123" y="346"/>
                  </a:cubicBezTo>
                  <a:cubicBezTo>
                    <a:pt x="124" y="348"/>
                    <a:pt x="123" y="349"/>
                    <a:pt x="123" y="351"/>
                  </a:cubicBezTo>
                  <a:cubicBezTo>
                    <a:pt x="124" y="353"/>
                    <a:pt x="126" y="353"/>
                    <a:pt x="127" y="353"/>
                  </a:cubicBezTo>
                  <a:cubicBezTo>
                    <a:pt x="129" y="354"/>
                    <a:pt x="130" y="354"/>
                    <a:pt x="131" y="355"/>
                  </a:cubicBezTo>
                  <a:cubicBezTo>
                    <a:pt x="132" y="355"/>
                    <a:pt x="133" y="356"/>
                    <a:pt x="133" y="356"/>
                  </a:cubicBezTo>
                  <a:cubicBezTo>
                    <a:pt x="134" y="357"/>
                    <a:pt x="134" y="358"/>
                    <a:pt x="134" y="359"/>
                  </a:cubicBezTo>
                  <a:cubicBezTo>
                    <a:pt x="136" y="363"/>
                    <a:pt x="138" y="370"/>
                    <a:pt x="134" y="374"/>
                  </a:cubicBezTo>
                  <a:cubicBezTo>
                    <a:pt x="132" y="375"/>
                    <a:pt x="130" y="375"/>
                    <a:pt x="128" y="376"/>
                  </a:cubicBezTo>
                  <a:cubicBezTo>
                    <a:pt x="125" y="378"/>
                    <a:pt x="124" y="379"/>
                    <a:pt x="123" y="383"/>
                  </a:cubicBezTo>
                  <a:cubicBezTo>
                    <a:pt x="122" y="386"/>
                    <a:pt x="119" y="389"/>
                    <a:pt x="118" y="393"/>
                  </a:cubicBezTo>
                  <a:cubicBezTo>
                    <a:pt x="118" y="397"/>
                    <a:pt x="120" y="401"/>
                    <a:pt x="122" y="405"/>
                  </a:cubicBezTo>
                  <a:cubicBezTo>
                    <a:pt x="122" y="405"/>
                    <a:pt x="123" y="406"/>
                    <a:pt x="123" y="406"/>
                  </a:cubicBezTo>
                  <a:cubicBezTo>
                    <a:pt x="123" y="407"/>
                    <a:pt x="123" y="408"/>
                    <a:pt x="124" y="409"/>
                  </a:cubicBezTo>
                  <a:cubicBezTo>
                    <a:pt x="124" y="410"/>
                    <a:pt x="125" y="411"/>
                    <a:pt x="125" y="412"/>
                  </a:cubicBezTo>
                  <a:cubicBezTo>
                    <a:pt x="126" y="413"/>
                    <a:pt x="128" y="415"/>
                    <a:pt x="128" y="417"/>
                  </a:cubicBezTo>
                  <a:cubicBezTo>
                    <a:pt x="129" y="419"/>
                    <a:pt x="128" y="420"/>
                    <a:pt x="130" y="421"/>
                  </a:cubicBezTo>
                  <a:cubicBezTo>
                    <a:pt x="132" y="422"/>
                    <a:pt x="134" y="421"/>
                    <a:pt x="135" y="420"/>
                  </a:cubicBezTo>
                  <a:cubicBezTo>
                    <a:pt x="137" y="421"/>
                    <a:pt x="136" y="424"/>
                    <a:pt x="136" y="426"/>
                  </a:cubicBezTo>
                  <a:cubicBezTo>
                    <a:pt x="136" y="429"/>
                    <a:pt x="134" y="430"/>
                    <a:pt x="131" y="431"/>
                  </a:cubicBezTo>
                  <a:cubicBezTo>
                    <a:pt x="130" y="431"/>
                    <a:pt x="130" y="431"/>
                    <a:pt x="129" y="431"/>
                  </a:cubicBezTo>
                  <a:cubicBezTo>
                    <a:pt x="129" y="432"/>
                    <a:pt x="128" y="433"/>
                    <a:pt x="128" y="433"/>
                  </a:cubicBezTo>
                  <a:cubicBezTo>
                    <a:pt x="127" y="434"/>
                    <a:pt x="125" y="434"/>
                    <a:pt x="124" y="434"/>
                  </a:cubicBezTo>
                  <a:cubicBezTo>
                    <a:pt x="121" y="435"/>
                    <a:pt x="118" y="433"/>
                    <a:pt x="118" y="437"/>
                  </a:cubicBezTo>
                  <a:cubicBezTo>
                    <a:pt x="118" y="438"/>
                    <a:pt x="119" y="439"/>
                    <a:pt x="118" y="440"/>
                  </a:cubicBezTo>
                  <a:cubicBezTo>
                    <a:pt x="118" y="441"/>
                    <a:pt x="117" y="442"/>
                    <a:pt x="117" y="443"/>
                  </a:cubicBezTo>
                  <a:cubicBezTo>
                    <a:pt x="117" y="443"/>
                    <a:pt x="117" y="443"/>
                    <a:pt x="116" y="444"/>
                  </a:cubicBezTo>
                  <a:cubicBezTo>
                    <a:pt x="116" y="445"/>
                    <a:pt x="115" y="446"/>
                    <a:pt x="114" y="447"/>
                  </a:cubicBezTo>
                  <a:cubicBezTo>
                    <a:pt x="113" y="448"/>
                    <a:pt x="112" y="450"/>
                    <a:pt x="111" y="451"/>
                  </a:cubicBezTo>
                  <a:cubicBezTo>
                    <a:pt x="111" y="452"/>
                    <a:pt x="110" y="453"/>
                    <a:pt x="110" y="453"/>
                  </a:cubicBezTo>
                  <a:cubicBezTo>
                    <a:pt x="108" y="456"/>
                    <a:pt x="106" y="460"/>
                    <a:pt x="106" y="463"/>
                  </a:cubicBezTo>
                  <a:cubicBezTo>
                    <a:pt x="106" y="465"/>
                    <a:pt x="107" y="466"/>
                    <a:pt x="107" y="467"/>
                  </a:cubicBezTo>
                  <a:cubicBezTo>
                    <a:pt x="107" y="468"/>
                    <a:pt x="107" y="470"/>
                    <a:pt x="108" y="471"/>
                  </a:cubicBezTo>
                  <a:cubicBezTo>
                    <a:pt x="108" y="472"/>
                    <a:pt x="108" y="472"/>
                    <a:pt x="108" y="473"/>
                  </a:cubicBezTo>
                  <a:cubicBezTo>
                    <a:pt x="109" y="473"/>
                    <a:pt x="109" y="473"/>
                    <a:pt x="109" y="473"/>
                  </a:cubicBezTo>
                  <a:cubicBezTo>
                    <a:pt x="109" y="475"/>
                    <a:pt x="109" y="477"/>
                    <a:pt x="109" y="478"/>
                  </a:cubicBezTo>
                  <a:cubicBezTo>
                    <a:pt x="109" y="482"/>
                    <a:pt x="109" y="485"/>
                    <a:pt x="108" y="489"/>
                  </a:cubicBezTo>
                  <a:cubicBezTo>
                    <a:pt x="108" y="491"/>
                    <a:pt x="108" y="493"/>
                    <a:pt x="108" y="495"/>
                  </a:cubicBezTo>
                  <a:cubicBezTo>
                    <a:pt x="109" y="495"/>
                    <a:pt x="111" y="494"/>
                    <a:pt x="113" y="493"/>
                  </a:cubicBezTo>
                  <a:cubicBezTo>
                    <a:pt x="118" y="490"/>
                    <a:pt x="124" y="492"/>
                    <a:pt x="130" y="492"/>
                  </a:cubicBezTo>
                  <a:cubicBezTo>
                    <a:pt x="137" y="491"/>
                    <a:pt x="145" y="493"/>
                    <a:pt x="150" y="497"/>
                  </a:cubicBezTo>
                  <a:cubicBezTo>
                    <a:pt x="153" y="499"/>
                    <a:pt x="154" y="501"/>
                    <a:pt x="157" y="503"/>
                  </a:cubicBezTo>
                  <a:cubicBezTo>
                    <a:pt x="158" y="504"/>
                    <a:pt x="159" y="504"/>
                    <a:pt x="159" y="506"/>
                  </a:cubicBezTo>
                  <a:cubicBezTo>
                    <a:pt x="161" y="510"/>
                    <a:pt x="162" y="512"/>
                    <a:pt x="163" y="516"/>
                  </a:cubicBezTo>
                  <a:cubicBezTo>
                    <a:pt x="164" y="519"/>
                    <a:pt x="165" y="523"/>
                    <a:pt x="165" y="526"/>
                  </a:cubicBezTo>
                  <a:cubicBezTo>
                    <a:pt x="165" y="530"/>
                    <a:pt x="165" y="531"/>
                    <a:pt x="169" y="533"/>
                  </a:cubicBezTo>
                  <a:cubicBezTo>
                    <a:pt x="173" y="535"/>
                    <a:pt x="175" y="534"/>
                    <a:pt x="176" y="538"/>
                  </a:cubicBezTo>
                  <a:cubicBezTo>
                    <a:pt x="177" y="541"/>
                    <a:pt x="176" y="540"/>
                    <a:pt x="178" y="542"/>
                  </a:cubicBezTo>
                  <a:cubicBezTo>
                    <a:pt x="179" y="544"/>
                    <a:pt x="181" y="546"/>
                    <a:pt x="182" y="548"/>
                  </a:cubicBezTo>
                  <a:cubicBezTo>
                    <a:pt x="184" y="552"/>
                    <a:pt x="186" y="555"/>
                    <a:pt x="190" y="557"/>
                  </a:cubicBezTo>
                  <a:cubicBezTo>
                    <a:pt x="196" y="560"/>
                    <a:pt x="202" y="559"/>
                    <a:pt x="205" y="564"/>
                  </a:cubicBezTo>
                  <a:cubicBezTo>
                    <a:pt x="208" y="567"/>
                    <a:pt x="208" y="568"/>
                    <a:pt x="212" y="568"/>
                  </a:cubicBezTo>
                  <a:cubicBezTo>
                    <a:pt x="216" y="568"/>
                    <a:pt x="219" y="569"/>
                    <a:pt x="221" y="566"/>
                  </a:cubicBezTo>
                  <a:cubicBezTo>
                    <a:pt x="222" y="564"/>
                    <a:pt x="222" y="563"/>
                    <a:pt x="224" y="562"/>
                  </a:cubicBezTo>
                  <a:cubicBezTo>
                    <a:pt x="225" y="561"/>
                    <a:pt x="226" y="560"/>
                    <a:pt x="227" y="559"/>
                  </a:cubicBezTo>
                  <a:cubicBezTo>
                    <a:pt x="229" y="557"/>
                    <a:pt x="230" y="554"/>
                    <a:pt x="232" y="552"/>
                  </a:cubicBezTo>
                  <a:cubicBezTo>
                    <a:pt x="236" y="548"/>
                    <a:pt x="242" y="546"/>
                    <a:pt x="247" y="543"/>
                  </a:cubicBezTo>
                  <a:cubicBezTo>
                    <a:pt x="249" y="542"/>
                    <a:pt x="250" y="541"/>
                    <a:pt x="252" y="540"/>
                  </a:cubicBezTo>
                  <a:cubicBezTo>
                    <a:pt x="256" y="538"/>
                    <a:pt x="260" y="536"/>
                    <a:pt x="263" y="534"/>
                  </a:cubicBezTo>
                  <a:cubicBezTo>
                    <a:pt x="265" y="532"/>
                    <a:pt x="266" y="531"/>
                    <a:pt x="268" y="530"/>
                  </a:cubicBezTo>
                  <a:cubicBezTo>
                    <a:pt x="272" y="529"/>
                    <a:pt x="275" y="527"/>
                    <a:pt x="279" y="526"/>
                  </a:cubicBezTo>
                  <a:cubicBezTo>
                    <a:pt x="282" y="525"/>
                    <a:pt x="285" y="525"/>
                    <a:pt x="288" y="524"/>
                  </a:cubicBezTo>
                  <a:cubicBezTo>
                    <a:pt x="290" y="523"/>
                    <a:pt x="292" y="522"/>
                    <a:pt x="295" y="522"/>
                  </a:cubicBezTo>
                  <a:cubicBezTo>
                    <a:pt x="298" y="521"/>
                    <a:pt x="302" y="522"/>
                    <a:pt x="305" y="522"/>
                  </a:cubicBezTo>
                  <a:cubicBezTo>
                    <a:pt x="313" y="522"/>
                    <a:pt x="322" y="523"/>
                    <a:pt x="330" y="522"/>
                  </a:cubicBezTo>
                  <a:cubicBezTo>
                    <a:pt x="333" y="521"/>
                    <a:pt x="336" y="521"/>
                    <a:pt x="339" y="521"/>
                  </a:cubicBezTo>
                  <a:cubicBezTo>
                    <a:pt x="341" y="521"/>
                    <a:pt x="348" y="522"/>
                    <a:pt x="351" y="521"/>
                  </a:cubicBezTo>
                  <a:cubicBezTo>
                    <a:pt x="352" y="523"/>
                    <a:pt x="356" y="522"/>
                    <a:pt x="359" y="522"/>
                  </a:cubicBezTo>
                  <a:cubicBezTo>
                    <a:pt x="362" y="522"/>
                    <a:pt x="363" y="523"/>
                    <a:pt x="366" y="524"/>
                  </a:cubicBezTo>
                  <a:cubicBezTo>
                    <a:pt x="367" y="524"/>
                    <a:pt x="368" y="524"/>
                    <a:pt x="369" y="524"/>
                  </a:cubicBezTo>
                  <a:cubicBezTo>
                    <a:pt x="369" y="524"/>
                    <a:pt x="369" y="525"/>
                    <a:pt x="370" y="526"/>
                  </a:cubicBezTo>
                  <a:cubicBezTo>
                    <a:pt x="372" y="526"/>
                    <a:pt x="373" y="525"/>
                    <a:pt x="374" y="523"/>
                  </a:cubicBezTo>
                  <a:cubicBezTo>
                    <a:pt x="376" y="520"/>
                    <a:pt x="373" y="518"/>
                    <a:pt x="378" y="517"/>
                  </a:cubicBezTo>
                  <a:cubicBezTo>
                    <a:pt x="381" y="516"/>
                    <a:pt x="385" y="516"/>
                    <a:pt x="389" y="517"/>
                  </a:cubicBezTo>
                  <a:cubicBezTo>
                    <a:pt x="392" y="517"/>
                    <a:pt x="396" y="518"/>
                    <a:pt x="399" y="517"/>
                  </a:cubicBezTo>
                  <a:cubicBezTo>
                    <a:pt x="401" y="517"/>
                    <a:pt x="405" y="517"/>
                    <a:pt x="406" y="516"/>
                  </a:cubicBezTo>
                  <a:cubicBezTo>
                    <a:pt x="409" y="513"/>
                    <a:pt x="410" y="508"/>
                    <a:pt x="411" y="505"/>
                  </a:cubicBezTo>
                  <a:cubicBezTo>
                    <a:pt x="413" y="499"/>
                    <a:pt x="415" y="494"/>
                    <a:pt x="416" y="488"/>
                  </a:cubicBezTo>
                  <a:cubicBezTo>
                    <a:pt x="416" y="484"/>
                    <a:pt x="418" y="481"/>
                    <a:pt x="421" y="479"/>
                  </a:cubicBezTo>
                  <a:cubicBezTo>
                    <a:pt x="423" y="477"/>
                    <a:pt x="424" y="477"/>
                    <a:pt x="426" y="477"/>
                  </a:cubicBezTo>
                  <a:cubicBezTo>
                    <a:pt x="428" y="477"/>
                    <a:pt x="432" y="477"/>
                    <a:pt x="433" y="476"/>
                  </a:cubicBezTo>
                  <a:cubicBezTo>
                    <a:pt x="434" y="476"/>
                    <a:pt x="437" y="473"/>
                    <a:pt x="437" y="473"/>
                  </a:cubicBezTo>
                  <a:cubicBezTo>
                    <a:pt x="438" y="471"/>
                    <a:pt x="436" y="467"/>
                    <a:pt x="438" y="466"/>
                  </a:cubicBezTo>
                  <a:cubicBezTo>
                    <a:pt x="440" y="463"/>
                    <a:pt x="447" y="463"/>
                    <a:pt x="451" y="463"/>
                  </a:cubicBezTo>
                  <a:cubicBezTo>
                    <a:pt x="453" y="462"/>
                    <a:pt x="455" y="462"/>
                    <a:pt x="458" y="462"/>
                  </a:cubicBezTo>
                  <a:cubicBezTo>
                    <a:pt x="461" y="462"/>
                    <a:pt x="464" y="461"/>
                    <a:pt x="467" y="460"/>
                  </a:cubicBezTo>
                  <a:cubicBezTo>
                    <a:pt x="470" y="458"/>
                    <a:pt x="474" y="457"/>
                    <a:pt x="476" y="455"/>
                  </a:cubicBezTo>
                  <a:cubicBezTo>
                    <a:pt x="479" y="453"/>
                    <a:pt x="477" y="453"/>
                    <a:pt x="475" y="452"/>
                  </a:cubicBezTo>
                  <a:cubicBezTo>
                    <a:pt x="474" y="451"/>
                    <a:pt x="472" y="449"/>
                    <a:pt x="472" y="448"/>
                  </a:cubicBezTo>
                  <a:cubicBezTo>
                    <a:pt x="471" y="446"/>
                    <a:pt x="471" y="446"/>
                    <a:pt x="471" y="445"/>
                  </a:cubicBezTo>
                  <a:cubicBezTo>
                    <a:pt x="471" y="444"/>
                    <a:pt x="471" y="443"/>
                    <a:pt x="472" y="442"/>
                  </a:cubicBezTo>
                  <a:cubicBezTo>
                    <a:pt x="472" y="439"/>
                    <a:pt x="472" y="439"/>
                    <a:pt x="475" y="437"/>
                  </a:cubicBezTo>
                  <a:cubicBezTo>
                    <a:pt x="477" y="435"/>
                    <a:pt x="478" y="432"/>
                    <a:pt x="480" y="429"/>
                  </a:cubicBezTo>
                  <a:cubicBezTo>
                    <a:pt x="481" y="427"/>
                    <a:pt x="483" y="426"/>
                    <a:pt x="484" y="424"/>
                  </a:cubicBezTo>
                  <a:cubicBezTo>
                    <a:pt x="486" y="421"/>
                    <a:pt x="487" y="420"/>
                    <a:pt x="487" y="417"/>
                  </a:cubicBezTo>
                  <a:cubicBezTo>
                    <a:pt x="487" y="414"/>
                    <a:pt x="486" y="412"/>
                    <a:pt x="489" y="409"/>
                  </a:cubicBezTo>
                  <a:cubicBezTo>
                    <a:pt x="493" y="407"/>
                    <a:pt x="497" y="404"/>
                    <a:pt x="502" y="403"/>
                  </a:cubicBezTo>
                  <a:cubicBezTo>
                    <a:pt x="506" y="402"/>
                    <a:pt x="511" y="404"/>
                    <a:pt x="515" y="403"/>
                  </a:cubicBezTo>
                  <a:cubicBezTo>
                    <a:pt x="516" y="400"/>
                    <a:pt x="513" y="397"/>
                    <a:pt x="513" y="394"/>
                  </a:cubicBezTo>
                  <a:cubicBezTo>
                    <a:pt x="513" y="389"/>
                    <a:pt x="518" y="390"/>
                    <a:pt x="521" y="387"/>
                  </a:cubicBezTo>
                  <a:cubicBezTo>
                    <a:pt x="525" y="385"/>
                    <a:pt x="524" y="381"/>
                    <a:pt x="522" y="378"/>
                  </a:cubicBezTo>
                  <a:cubicBezTo>
                    <a:pt x="519" y="373"/>
                    <a:pt x="511" y="373"/>
                    <a:pt x="507" y="369"/>
                  </a:cubicBezTo>
                  <a:cubicBezTo>
                    <a:pt x="506" y="368"/>
                    <a:pt x="506" y="367"/>
                    <a:pt x="505" y="366"/>
                  </a:cubicBezTo>
                  <a:cubicBezTo>
                    <a:pt x="503" y="364"/>
                    <a:pt x="500" y="363"/>
                    <a:pt x="499" y="360"/>
                  </a:cubicBezTo>
                  <a:cubicBezTo>
                    <a:pt x="496" y="356"/>
                    <a:pt x="496" y="351"/>
                    <a:pt x="496" y="346"/>
                  </a:cubicBezTo>
                  <a:cubicBezTo>
                    <a:pt x="497" y="344"/>
                    <a:pt x="496" y="342"/>
                    <a:pt x="496" y="341"/>
                  </a:cubicBezTo>
                  <a:cubicBezTo>
                    <a:pt x="494" y="337"/>
                    <a:pt x="494" y="333"/>
                    <a:pt x="493" y="328"/>
                  </a:cubicBezTo>
                  <a:cubicBezTo>
                    <a:pt x="493" y="326"/>
                    <a:pt x="494" y="323"/>
                    <a:pt x="494" y="321"/>
                  </a:cubicBezTo>
                  <a:cubicBezTo>
                    <a:pt x="495" y="318"/>
                    <a:pt x="498" y="311"/>
                    <a:pt x="500" y="309"/>
                  </a:cubicBezTo>
                  <a:cubicBezTo>
                    <a:pt x="500" y="311"/>
                    <a:pt x="501" y="312"/>
                    <a:pt x="500" y="313"/>
                  </a:cubicBezTo>
                  <a:cubicBezTo>
                    <a:pt x="504" y="310"/>
                    <a:pt x="507" y="306"/>
                    <a:pt x="509" y="301"/>
                  </a:cubicBezTo>
                  <a:cubicBezTo>
                    <a:pt x="510" y="298"/>
                    <a:pt x="512" y="293"/>
                    <a:pt x="514" y="290"/>
                  </a:cubicBezTo>
                  <a:cubicBezTo>
                    <a:pt x="518" y="285"/>
                    <a:pt x="524" y="279"/>
                    <a:pt x="529" y="275"/>
                  </a:cubicBezTo>
                  <a:cubicBezTo>
                    <a:pt x="533" y="272"/>
                    <a:pt x="535" y="269"/>
                    <a:pt x="538" y="265"/>
                  </a:cubicBezTo>
                  <a:cubicBezTo>
                    <a:pt x="541" y="262"/>
                    <a:pt x="545" y="259"/>
                    <a:pt x="547" y="255"/>
                  </a:cubicBezTo>
                  <a:cubicBezTo>
                    <a:pt x="551" y="251"/>
                    <a:pt x="555" y="246"/>
                    <a:pt x="557" y="241"/>
                  </a:cubicBezTo>
                  <a:cubicBezTo>
                    <a:pt x="557" y="240"/>
                    <a:pt x="558" y="240"/>
                    <a:pt x="558" y="238"/>
                  </a:cubicBezTo>
                  <a:cubicBezTo>
                    <a:pt x="558" y="236"/>
                    <a:pt x="556" y="237"/>
                    <a:pt x="555" y="235"/>
                  </a:cubicBezTo>
                  <a:cubicBezTo>
                    <a:pt x="555" y="232"/>
                    <a:pt x="561" y="230"/>
                    <a:pt x="563" y="228"/>
                  </a:cubicBezTo>
                  <a:cubicBezTo>
                    <a:pt x="568" y="226"/>
                    <a:pt x="573" y="223"/>
                    <a:pt x="578" y="221"/>
                  </a:cubicBezTo>
                  <a:cubicBezTo>
                    <a:pt x="583" y="218"/>
                    <a:pt x="588" y="215"/>
                    <a:pt x="593" y="213"/>
                  </a:cubicBezTo>
                  <a:cubicBezTo>
                    <a:pt x="598" y="211"/>
                    <a:pt x="602" y="209"/>
                    <a:pt x="606" y="206"/>
                  </a:cubicBezTo>
                  <a:cubicBezTo>
                    <a:pt x="610" y="204"/>
                    <a:pt x="615" y="204"/>
                    <a:pt x="619" y="203"/>
                  </a:cubicBezTo>
                  <a:cubicBezTo>
                    <a:pt x="623" y="202"/>
                    <a:pt x="627" y="200"/>
                    <a:pt x="631" y="200"/>
                  </a:cubicBezTo>
                  <a:cubicBezTo>
                    <a:pt x="635" y="199"/>
                    <a:pt x="638" y="196"/>
                    <a:pt x="639" y="192"/>
                  </a:cubicBezTo>
                  <a:cubicBezTo>
                    <a:pt x="639" y="191"/>
                    <a:pt x="639" y="187"/>
                    <a:pt x="637" y="187"/>
                  </a:cubicBezTo>
                  <a:cubicBezTo>
                    <a:pt x="640" y="187"/>
                    <a:pt x="643" y="187"/>
                    <a:pt x="646" y="187"/>
                  </a:cubicBezTo>
                  <a:cubicBezTo>
                    <a:pt x="647" y="187"/>
                    <a:pt x="649" y="187"/>
                    <a:pt x="650" y="187"/>
                  </a:cubicBezTo>
                  <a:cubicBezTo>
                    <a:pt x="652" y="187"/>
                    <a:pt x="652" y="186"/>
                    <a:pt x="654" y="186"/>
                  </a:cubicBezTo>
                  <a:cubicBezTo>
                    <a:pt x="657" y="185"/>
                    <a:pt x="661" y="184"/>
                    <a:pt x="664" y="183"/>
                  </a:cubicBezTo>
                  <a:cubicBezTo>
                    <a:pt x="666" y="181"/>
                    <a:pt x="670" y="180"/>
                    <a:pt x="671" y="178"/>
                  </a:cubicBezTo>
                  <a:cubicBezTo>
                    <a:pt x="673" y="175"/>
                    <a:pt x="670" y="172"/>
                    <a:pt x="674" y="171"/>
                  </a:cubicBezTo>
                  <a:cubicBezTo>
                    <a:pt x="677" y="170"/>
                    <a:pt x="681" y="172"/>
                    <a:pt x="684" y="172"/>
                  </a:cubicBezTo>
                  <a:cubicBezTo>
                    <a:pt x="688" y="172"/>
                    <a:pt x="692" y="170"/>
                    <a:pt x="696" y="169"/>
                  </a:cubicBezTo>
                  <a:cubicBezTo>
                    <a:pt x="698" y="169"/>
                    <a:pt x="701" y="169"/>
                    <a:pt x="703" y="169"/>
                  </a:cubicBezTo>
                  <a:cubicBezTo>
                    <a:pt x="704" y="166"/>
                    <a:pt x="703" y="164"/>
                    <a:pt x="703" y="161"/>
                  </a:cubicBezTo>
                  <a:cubicBezTo>
                    <a:pt x="703" y="156"/>
                    <a:pt x="710" y="154"/>
                    <a:pt x="715" y="152"/>
                  </a:cubicBezTo>
                  <a:cubicBezTo>
                    <a:pt x="720" y="149"/>
                    <a:pt x="728" y="146"/>
                    <a:pt x="731" y="142"/>
                  </a:cubicBezTo>
                  <a:cubicBezTo>
                    <a:pt x="732" y="139"/>
                    <a:pt x="731" y="136"/>
                    <a:pt x="731" y="134"/>
                  </a:cubicBezTo>
                  <a:cubicBezTo>
                    <a:pt x="730" y="132"/>
                    <a:pt x="730" y="129"/>
                    <a:pt x="729" y="126"/>
                  </a:cubicBezTo>
                  <a:cubicBezTo>
                    <a:pt x="729" y="125"/>
                    <a:pt x="728" y="123"/>
                    <a:pt x="728" y="122"/>
                  </a:cubicBezTo>
                  <a:cubicBezTo>
                    <a:pt x="727" y="120"/>
                    <a:pt x="726" y="120"/>
                    <a:pt x="725" y="119"/>
                  </a:cubicBezTo>
                  <a:cubicBezTo>
                    <a:pt x="722" y="116"/>
                    <a:pt x="727" y="100"/>
                    <a:pt x="731" y="10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2" name="Freeform 94">
              <a:extLst>
                <a:ext uri="{FF2B5EF4-FFF2-40B4-BE49-F238E27FC236}">
                  <a16:creationId xmlns:a16="http://schemas.microsoft.com/office/drawing/2014/main" id="{DA54E339-E176-4CDF-9DA0-541B4F193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050" y="6048375"/>
              <a:ext cx="119063" cy="93663"/>
            </a:xfrm>
            <a:custGeom>
              <a:avLst/>
              <a:gdLst/>
              <a:ahLst/>
              <a:cxnLst>
                <a:cxn ang="0">
                  <a:pos x="45" y="13"/>
                </a:cxn>
                <a:cxn ang="0">
                  <a:pos x="41" y="6"/>
                </a:cxn>
                <a:cxn ang="0">
                  <a:pos x="40" y="5"/>
                </a:cxn>
                <a:cxn ang="0">
                  <a:pos x="43" y="2"/>
                </a:cxn>
                <a:cxn ang="0">
                  <a:pos x="43" y="1"/>
                </a:cxn>
                <a:cxn ang="0">
                  <a:pos x="32" y="5"/>
                </a:cxn>
                <a:cxn ang="0">
                  <a:pos x="27" y="8"/>
                </a:cxn>
                <a:cxn ang="0">
                  <a:pos x="22" y="10"/>
                </a:cxn>
                <a:cxn ang="0">
                  <a:pos x="17" y="14"/>
                </a:cxn>
                <a:cxn ang="0">
                  <a:pos x="8" y="19"/>
                </a:cxn>
                <a:cxn ang="0">
                  <a:pos x="4" y="22"/>
                </a:cxn>
                <a:cxn ang="0">
                  <a:pos x="1" y="25"/>
                </a:cxn>
                <a:cxn ang="0">
                  <a:pos x="0" y="27"/>
                </a:cxn>
                <a:cxn ang="0">
                  <a:pos x="1" y="30"/>
                </a:cxn>
                <a:cxn ang="0">
                  <a:pos x="5" y="32"/>
                </a:cxn>
                <a:cxn ang="0">
                  <a:pos x="9" y="33"/>
                </a:cxn>
                <a:cxn ang="0">
                  <a:pos x="12" y="29"/>
                </a:cxn>
                <a:cxn ang="0">
                  <a:pos x="13" y="27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20" y="34"/>
                </a:cxn>
                <a:cxn ang="0">
                  <a:pos x="21" y="35"/>
                </a:cxn>
                <a:cxn ang="0">
                  <a:pos x="21" y="38"/>
                </a:cxn>
                <a:cxn ang="0">
                  <a:pos x="23" y="40"/>
                </a:cxn>
                <a:cxn ang="0">
                  <a:pos x="24" y="41"/>
                </a:cxn>
                <a:cxn ang="0">
                  <a:pos x="24" y="41"/>
                </a:cxn>
                <a:cxn ang="0">
                  <a:pos x="27" y="44"/>
                </a:cxn>
                <a:cxn ang="0">
                  <a:pos x="31" y="43"/>
                </a:cxn>
                <a:cxn ang="0">
                  <a:pos x="34" y="44"/>
                </a:cxn>
                <a:cxn ang="0">
                  <a:pos x="35" y="45"/>
                </a:cxn>
                <a:cxn ang="0">
                  <a:pos x="37" y="47"/>
                </a:cxn>
                <a:cxn ang="0">
                  <a:pos x="38" y="49"/>
                </a:cxn>
                <a:cxn ang="0">
                  <a:pos x="39" y="50"/>
                </a:cxn>
                <a:cxn ang="0">
                  <a:pos x="40" y="50"/>
                </a:cxn>
                <a:cxn ang="0">
                  <a:pos x="41" y="47"/>
                </a:cxn>
                <a:cxn ang="0">
                  <a:pos x="45" y="44"/>
                </a:cxn>
                <a:cxn ang="0">
                  <a:pos x="48" y="44"/>
                </a:cxn>
                <a:cxn ang="0">
                  <a:pos x="51" y="42"/>
                </a:cxn>
                <a:cxn ang="0">
                  <a:pos x="51" y="37"/>
                </a:cxn>
                <a:cxn ang="0">
                  <a:pos x="52" y="34"/>
                </a:cxn>
                <a:cxn ang="0">
                  <a:pos x="54" y="30"/>
                </a:cxn>
                <a:cxn ang="0">
                  <a:pos x="58" y="28"/>
                </a:cxn>
                <a:cxn ang="0">
                  <a:pos x="60" y="24"/>
                </a:cxn>
                <a:cxn ang="0">
                  <a:pos x="62" y="18"/>
                </a:cxn>
                <a:cxn ang="0">
                  <a:pos x="53" y="14"/>
                </a:cxn>
                <a:cxn ang="0">
                  <a:pos x="52" y="15"/>
                </a:cxn>
                <a:cxn ang="0">
                  <a:pos x="50" y="16"/>
                </a:cxn>
                <a:cxn ang="0">
                  <a:pos x="49" y="17"/>
                </a:cxn>
                <a:cxn ang="0">
                  <a:pos x="47" y="15"/>
                </a:cxn>
                <a:cxn ang="0">
                  <a:pos x="46" y="13"/>
                </a:cxn>
                <a:cxn ang="0">
                  <a:pos x="45" y="13"/>
                </a:cxn>
              </a:cxnLst>
              <a:rect l="0" t="0" r="r" b="b"/>
              <a:pathLst>
                <a:path w="63" h="50">
                  <a:moveTo>
                    <a:pt x="45" y="13"/>
                  </a:moveTo>
                  <a:cubicBezTo>
                    <a:pt x="45" y="11"/>
                    <a:pt x="45" y="6"/>
                    <a:pt x="41" y="6"/>
                  </a:cubicBezTo>
                  <a:cubicBezTo>
                    <a:pt x="41" y="6"/>
                    <a:pt x="40" y="6"/>
                    <a:pt x="40" y="5"/>
                  </a:cubicBezTo>
                  <a:cubicBezTo>
                    <a:pt x="41" y="3"/>
                    <a:pt x="42" y="3"/>
                    <a:pt x="43" y="2"/>
                  </a:cubicBezTo>
                  <a:cubicBezTo>
                    <a:pt x="43" y="2"/>
                    <a:pt x="44" y="2"/>
                    <a:pt x="43" y="1"/>
                  </a:cubicBezTo>
                  <a:cubicBezTo>
                    <a:pt x="39" y="0"/>
                    <a:pt x="36" y="2"/>
                    <a:pt x="32" y="5"/>
                  </a:cubicBezTo>
                  <a:cubicBezTo>
                    <a:pt x="31" y="6"/>
                    <a:pt x="29" y="7"/>
                    <a:pt x="27" y="8"/>
                  </a:cubicBezTo>
                  <a:cubicBezTo>
                    <a:pt x="25" y="9"/>
                    <a:pt x="23" y="9"/>
                    <a:pt x="22" y="10"/>
                  </a:cubicBezTo>
                  <a:cubicBezTo>
                    <a:pt x="20" y="11"/>
                    <a:pt x="19" y="13"/>
                    <a:pt x="17" y="14"/>
                  </a:cubicBezTo>
                  <a:cubicBezTo>
                    <a:pt x="14" y="15"/>
                    <a:pt x="11" y="17"/>
                    <a:pt x="8" y="19"/>
                  </a:cubicBezTo>
                  <a:cubicBezTo>
                    <a:pt x="6" y="20"/>
                    <a:pt x="5" y="20"/>
                    <a:pt x="4" y="22"/>
                  </a:cubicBezTo>
                  <a:cubicBezTo>
                    <a:pt x="3" y="23"/>
                    <a:pt x="2" y="23"/>
                    <a:pt x="1" y="25"/>
                  </a:cubicBezTo>
                  <a:cubicBezTo>
                    <a:pt x="1" y="26"/>
                    <a:pt x="0" y="26"/>
                    <a:pt x="0" y="27"/>
                  </a:cubicBezTo>
                  <a:cubicBezTo>
                    <a:pt x="0" y="28"/>
                    <a:pt x="1" y="29"/>
                    <a:pt x="1" y="30"/>
                  </a:cubicBezTo>
                  <a:cubicBezTo>
                    <a:pt x="2" y="31"/>
                    <a:pt x="3" y="31"/>
                    <a:pt x="5" y="32"/>
                  </a:cubicBezTo>
                  <a:cubicBezTo>
                    <a:pt x="6" y="32"/>
                    <a:pt x="7" y="34"/>
                    <a:pt x="9" y="33"/>
                  </a:cubicBezTo>
                  <a:cubicBezTo>
                    <a:pt x="10" y="32"/>
                    <a:pt x="11" y="31"/>
                    <a:pt x="12" y="29"/>
                  </a:cubicBezTo>
                  <a:cubicBezTo>
                    <a:pt x="12" y="29"/>
                    <a:pt x="13" y="28"/>
                    <a:pt x="13" y="27"/>
                  </a:cubicBezTo>
                  <a:cubicBezTo>
                    <a:pt x="16" y="26"/>
                    <a:pt x="16" y="28"/>
                    <a:pt x="17" y="30"/>
                  </a:cubicBezTo>
                  <a:cubicBezTo>
                    <a:pt x="18" y="30"/>
                    <a:pt x="18" y="31"/>
                    <a:pt x="19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1" y="34"/>
                    <a:pt x="21" y="35"/>
                    <a:pt x="21" y="35"/>
                  </a:cubicBezTo>
                  <a:cubicBezTo>
                    <a:pt x="21" y="36"/>
                    <a:pt x="21" y="37"/>
                    <a:pt x="21" y="38"/>
                  </a:cubicBezTo>
                  <a:cubicBezTo>
                    <a:pt x="21" y="39"/>
                    <a:pt x="22" y="39"/>
                    <a:pt x="23" y="40"/>
                  </a:cubicBezTo>
                  <a:cubicBezTo>
                    <a:pt x="23" y="40"/>
                    <a:pt x="24" y="40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2"/>
                    <a:pt x="26" y="43"/>
                    <a:pt x="27" y="44"/>
                  </a:cubicBezTo>
                  <a:cubicBezTo>
                    <a:pt x="28" y="44"/>
                    <a:pt x="29" y="43"/>
                    <a:pt x="31" y="43"/>
                  </a:cubicBezTo>
                  <a:cubicBezTo>
                    <a:pt x="32" y="43"/>
                    <a:pt x="33" y="43"/>
                    <a:pt x="34" y="44"/>
                  </a:cubicBezTo>
                  <a:cubicBezTo>
                    <a:pt x="34" y="44"/>
                    <a:pt x="34" y="45"/>
                    <a:pt x="35" y="45"/>
                  </a:cubicBezTo>
                  <a:cubicBezTo>
                    <a:pt x="36" y="46"/>
                    <a:pt x="36" y="46"/>
                    <a:pt x="37" y="47"/>
                  </a:cubicBezTo>
                  <a:cubicBezTo>
                    <a:pt x="37" y="48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39" y="50"/>
                    <a:pt x="40" y="50"/>
                    <a:pt x="40" y="50"/>
                  </a:cubicBezTo>
                  <a:cubicBezTo>
                    <a:pt x="40" y="49"/>
                    <a:pt x="41" y="48"/>
                    <a:pt x="41" y="47"/>
                  </a:cubicBezTo>
                  <a:cubicBezTo>
                    <a:pt x="42" y="46"/>
                    <a:pt x="44" y="45"/>
                    <a:pt x="45" y="44"/>
                  </a:cubicBezTo>
                  <a:cubicBezTo>
                    <a:pt x="46" y="44"/>
                    <a:pt x="47" y="44"/>
                    <a:pt x="48" y="44"/>
                  </a:cubicBezTo>
                  <a:cubicBezTo>
                    <a:pt x="49" y="44"/>
                    <a:pt x="50" y="43"/>
                    <a:pt x="51" y="42"/>
                  </a:cubicBezTo>
                  <a:cubicBezTo>
                    <a:pt x="53" y="41"/>
                    <a:pt x="52" y="39"/>
                    <a:pt x="51" y="37"/>
                  </a:cubicBezTo>
                  <a:cubicBezTo>
                    <a:pt x="50" y="36"/>
                    <a:pt x="51" y="35"/>
                    <a:pt x="52" y="34"/>
                  </a:cubicBezTo>
                  <a:cubicBezTo>
                    <a:pt x="53" y="33"/>
                    <a:pt x="53" y="31"/>
                    <a:pt x="54" y="30"/>
                  </a:cubicBezTo>
                  <a:cubicBezTo>
                    <a:pt x="55" y="29"/>
                    <a:pt x="57" y="29"/>
                    <a:pt x="58" y="28"/>
                  </a:cubicBezTo>
                  <a:cubicBezTo>
                    <a:pt x="59" y="27"/>
                    <a:pt x="59" y="25"/>
                    <a:pt x="60" y="24"/>
                  </a:cubicBezTo>
                  <a:cubicBezTo>
                    <a:pt x="61" y="22"/>
                    <a:pt x="63" y="20"/>
                    <a:pt x="62" y="18"/>
                  </a:cubicBezTo>
                  <a:cubicBezTo>
                    <a:pt x="61" y="14"/>
                    <a:pt x="56" y="12"/>
                    <a:pt x="53" y="14"/>
                  </a:cubicBezTo>
                  <a:cubicBezTo>
                    <a:pt x="53" y="14"/>
                    <a:pt x="53" y="15"/>
                    <a:pt x="52" y="15"/>
                  </a:cubicBezTo>
                  <a:cubicBezTo>
                    <a:pt x="51" y="15"/>
                    <a:pt x="51" y="16"/>
                    <a:pt x="50" y="16"/>
                  </a:cubicBezTo>
                  <a:cubicBezTo>
                    <a:pt x="50" y="17"/>
                    <a:pt x="50" y="17"/>
                    <a:pt x="49" y="17"/>
                  </a:cubicBezTo>
                  <a:cubicBezTo>
                    <a:pt x="48" y="17"/>
                    <a:pt x="48" y="16"/>
                    <a:pt x="47" y="15"/>
                  </a:cubicBezTo>
                  <a:cubicBezTo>
                    <a:pt x="47" y="14"/>
                    <a:pt x="46" y="13"/>
                    <a:pt x="46" y="13"/>
                  </a:cubicBezTo>
                  <a:lnTo>
                    <a:pt x="45" y="1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3" name="Freeform 95">
              <a:extLst>
                <a:ext uri="{FF2B5EF4-FFF2-40B4-BE49-F238E27FC236}">
                  <a16:creationId xmlns:a16="http://schemas.microsoft.com/office/drawing/2014/main" id="{31E0EA2B-C6D6-4B01-BCBD-36C0BDCC1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1100" y="6029325"/>
              <a:ext cx="57150" cy="41275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1" y="13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9" y="12"/>
                </a:cxn>
                <a:cxn ang="0">
                  <a:pos x="12" y="14"/>
                </a:cxn>
                <a:cxn ang="0">
                  <a:pos x="24" y="20"/>
                </a:cxn>
                <a:cxn ang="0">
                  <a:pos x="27" y="21"/>
                </a:cxn>
                <a:cxn ang="0">
                  <a:pos x="28" y="21"/>
                </a:cxn>
                <a:cxn ang="0">
                  <a:pos x="29" y="16"/>
                </a:cxn>
                <a:cxn ang="0">
                  <a:pos x="27" y="12"/>
                </a:cxn>
                <a:cxn ang="0">
                  <a:pos x="25" y="9"/>
                </a:cxn>
                <a:cxn ang="0">
                  <a:pos x="24" y="5"/>
                </a:cxn>
                <a:cxn ang="0">
                  <a:pos x="21" y="3"/>
                </a:cxn>
                <a:cxn ang="0">
                  <a:pos x="16" y="0"/>
                </a:cxn>
                <a:cxn ang="0">
                  <a:pos x="4" y="3"/>
                </a:cxn>
              </a:cxnLst>
              <a:rect l="0" t="0" r="r" b="b"/>
              <a:pathLst>
                <a:path w="30" h="22">
                  <a:moveTo>
                    <a:pt x="4" y="3"/>
                  </a:moveTo>
                  <a:cubicBezTo>
                    <a:pt x="3" y="3"/>
                    <a:pt x="0" y="3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7"/>
                    <a:pt x="1" y="9"/>
                    <a:pt x="1" y="11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2" y="14"/>
                    <a:pt x="3" y="13"/>
                    <a:pt x="4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3"/>
                    <a:pt x="11" y="13"/>
                    <a:pt x="12" y="14"/>
                  </a:cubicBezTo>
                  <a:cubicBezTo>
                    <a:pt x="15" y="18"/>
                    <a:pt x="20" y="18"/>
                    <a:pt x="24" y="20"/>
                  </a:cubicBezTo>
                  <a:cubicBezTo>
                    <a:pt x="25" y="20"/>
                    <a:pt x="26" y="21"/>
                    <a:pt x="27" y="21"/>
                  </a:cubicBezTo>
                  <a:cubicBezTo>
                    <a:pt x="27" y="21"/>
                    <a:pt x="28" y="22"/>
                    <a:pt x="28" y="21"/>
                  </a:cubicBezTo>
                  <a:cubicBezTo>
                    <a:pt x="30" y="21"/>
                    <a:pt x="30" y="17"/>
                    <a:pt x="29" y="16"/>
                  </a:cubicBezTo>
                  <a:cubicBezTo>
                    <a:pt x="29" y="14"/>
                    <a:pt x="28" y="13"/>
                    <a:pt x="27" y="12"/>
                  </a:cubicBezTo>
                  <a:cubicBezTo>
                    <a:pt x="26" y="11"/>
                    <a:pt x="26" y="10"/>
                    <a:pt x="25" y="9"/>
                  </a:cubicBezTo>
                  <a:cubicBezTo>
                    <a:pt x="25" y="8"/>
                    <a:pt x="24" y="7"/>
                    <a:pt x="24" y="5"/>
                  </a:cubicBezTo>
                  <a:cubicBezTo>
                    <a:pt x="23" y="4"/>
                    <a:pt x="22" y="4"/>
                    <a:pt x="21" y="3"/>
                  </a:cubicBezTo>
                  <a:cubicBezTo>
                    <a:pt x="19" y="1"/>
                    <a:pt x="18" y="0"/>
                    <a:pt x="16" y="0"/>
                  </a:cubicBezTo>
                  <a:lnTo>
                    <a:pt x="4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4" name="Freeform 96">
              <a:extLst>
                <a:ext uri="{FF2B5EF4-FFF2-40B4-BE49-F238E27FC236}">
                  <a16:creationId xmlns:a16="http://schemas.microsoft.com/office/drawing/2014/main" id="{9A8F4780-6E2D-4612-892A-F31E42E31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988" y="6162675"/>
              <a:ext cx="47625" cy="38100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4" y="1"/>
                </a:cxn>
                <a:cxn ang="0">
                  <a:pos x="18" y="1"/>
                </a:cxn>
                <a:cxn ang="0">
                  <a:pos x="16" y="2"/>
                </a:cxn>
                <a:cxn ang="0">
                  <a:pos x="13" y="4"/>
                </a:cxn>
                <a:cxn ang="0">
                  <a:pos x="8" y="7"/>
                </a:cxn>
                <a:cxn ang="0">
                  <a:pos x="4" y="10"/>
                </a:cxn>
                <a:cxn ang="0">
                  <a:pos x="1" y="17"/>
                </a:cxn>
                <a:cxn ang="0">
                  <a:pos x="12" y="18"/>
                </a:cxn>
                <a:cxn ang="0">
                  <a:pos x="21" y="13"/>
                </a:cxn>
                <a:cxn ang="0">
                  <a:pos x="24" y="8"/>
                </a:cxn>
                <a:cxn ang="0">
                  <a:pos x="23" y="5"/>
                </a:cxn>
                <a:cxn ang="0">
                  <a:pos x="22" y="2"/>
                </a:cxn>
                <a:cxn ang="0">
                  <a:pos x="25" y="2"/>
                </a:cxn>
              </a:cxnLst>
              <a:rect l="0" t="0" r="r" b="b"/>
              <a:pathLst>
                <a:path w="25" h="20">
                  <a:moveTo>
                    <a:pt x="25" y="2"/>
                  </a:moveTo>
                  <a:cubicBezTo>
                    <a:pt x="25" y="1"/>
                    <a:pt x="25" y="1"/>
                    <a:pt x="24" y="1"/>
                  </a:cubicBezTo>
                  <a:cubicBezTo>
                    <a:pt x="22" y="0"/>
                    <a:pt x="20" y="1"/>
                    <a:pt x="18" y="1"/>
                  </a:cubicBezTo>
                  <a:cubicBezTo>
                    <a:pt x="17" y="1"/>
                    <a:pt x="17" y="1"/>
                    <a:pt x="16" y="2"/>
                  </a:cubicBezTo>
                  <a:cubicBezTo>
                    <a:pt x="15" y="3"/>
                    <a:pt x="14" y="4"/>
                    <a:pt x="13" y="4"/>
                  </a:cubicBezTo>
                  <a:cubicBezTo>
                    <a:pt x="12" y="5"/>
                    <a:pt x="10" y="6"/>
                    <a:pt x="8" y="7"/>
                  </a:cubicBezTo>
                  <a:cubicBezTo>
                    <a:pt x="7" y="8"/>
                    <a:pt x="5" y="9"/>
                    <a:pt x="4" y="10"/>
                  </a:cubicBezTo>
                  <a:cubicBezTo>
                    <a:pt x="2" y="11"/>
                    <a:pt x="0" y="15"/>
                    <a:pt x="1" y="17"/>
                  </a:cubicBezTo>
                  <a:cubicBezTo>
                    <a:pt x="4" y="20"/>
                    <a:pt x="9" y="19"/>
                    <a:pt x="12" y="18"/>
                  </a:cubicBezTo>
                  <a:cubicBezTo>
                    <a:pt x="15" y="16"/>
                    <a:pt x="18" y="16"/>
                    <a:pt x="21" y="13"/>
                  </a:cubicBezTo>
                  <a:cubicBezTo>
                    <a:pt x="22" y="11"/>
                    <a:pt x="24" y="10"/>
                    <a:pt x="24" y="8"/>
                  </a:cubicBezTo>
                  <a:cubicBezTo>
                    <a:pt x="24" y="7"/>
                    <a:pt x="23" y="6"/>
                    <a:pt x="23" y="5"/>
                  </a:cubicBezTo>
                  <a:cubicBezTo>
                    <a:pt x="23" y="4"/>
                    <a:pt x="23" y="3"/>
                    <a:pt x="22" y="2"/>
                  </a:cubicBezTo>
                  <a:lnTo>
                    <a:pt x="25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5" name="Freeform 97">
              <a:extLst>
                <a:ext uri="{FF2B5EF4-FFF2-40B4-BE49-F238E27FC236}">
                  <a16:creationId xmlns:a16="http://schemas.microsoft.com/office/drawing/2014/main" id="{BA41CB8C-0015-43E1-8075-D03E1AEBD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3973513"/>
              <a:ext cx="403225" cy="454025"/>
            </a:xfrm>
            <a:custGeom>
              <a:avLst/>
              <a:gdLst/>
              <a:ahLst/>
              <a:cxnLst>
                <a:cxn ang="0">
                  <a:pos x="180" y="6"/>
                </a:cxn>
                <a:cxn ang="0">
                  <a:pos x="144" y="10"/>
                </a:cxn>
                <a:cxn ang="0">
                  <a:pos x="119" y="23"/>
                </a:cxn>
                <a:cxn ang="0">
                  <a:pos x="116" y="34"/>
                </a:cxn>
                <a:cxn ang="0">
                  <a:pos x="109" y="42"/>
                </a:cxn>
                <a:cxn ang="0">
                  <a:pos x="121" y="55"/>
                </a:cxn>
                <a:cxn ang="0">
                  <a:pos x="126" y="74"/>
                </a:cxn>
                <a:cxn ang="0">
                  <a:pos x="117" y="83"/>
                </a:cxn>
                <a:cxn ang="0">
                  <a:pos x="109" y="93"/>
                </a:cxn>
                <a:cxn ang="0">
                  <a:pos x="114" y="112"/>
                </a:cxn>
                <a:cxn ang="0">
                  <a:pos x="98" y="105"/>
                </a:cxn>
                <a:cxn ang="0">
                  <a:pos x="96" y="89"/>
                </a:cxn>
                <a:cxn ang="0">
                  <a:pos x="97" y="78"/>
                </a:cxn>
                <a:cxn ang="0">
                  <a:pos x="113" y="75"/>
                </a:cxn>
                <a:cxn ang="0">
                  <a:pos x="102" y="58"/>
                </a:cxn>
                <a:cxn ang="0">
                  <a:pos x="100" y="46"/>
                </a:cxn>
                <a:cxn ang="0">
                  <a:pos x="82" y="47"/>
                </a:cxn>
                <a:cxn ang="0">
                  <a:pos x="69" y="71"/>
                </a:cxn>
                <a:cxn ang="0">
                  <a:pos x="70" y="90"/>
                </a:cxn>
                <a:cxn ang="0">
                  <a:pos x="65" y="96"/>
                </a:cxn>
                <a:cxn ang="0">
                  <a:pos x="54" y="122"/>
                </a:cxn>
                <a:cxn ang="0">
                  <a:pos x="39" y="133"/>
                </a:cxn>
                <a:cxn ang="0">
                  <a:pos x="34" y="147"/>
                </a:cxn>
                <a:cxn ang="0">
                  <a:pos x="22" y="158"/>
                </a:cxn>
                <a:cxn ang="0">
                  <a:pos x="29" y="164"/>
                </a:cxn>
                <a:cxn ang="0">
                  <a:pos x="40" y="176"/>
                </a:cxn>
                <a:cxn ang="0">
                  <a:pos x="25" y="167"/>
                </a:cxn>
                <a:cxn ang="0">
                  <a:pos x="6" y="179"/>
                </a:cxn>
                <a:cxn ang="0">
                  <a:pos x="35" y="182"/>
                </a:cxn>
                <a:cxn ang="0">
                  <a:pos x="44" y="190"/>
                </a:cxn>
                <a:cxn ang="0">
                  <a:pos x="11" y="186"/>
                </a:cxn>
                <a:cxn ang="0">
                  <a:pos x="6" y="197"/>
                </a:cxn>
                <a:cxn ang="0">
                  <a:pos x="38" y="203"/>
                </a:cxn>
                <a:cxn ang="0">
                  <a:pos x="49" y="193"/>
                </a:cxn>
                <a:cxn ang="0">
                  <a:pos x="61" y="183"/>
                </a:cxn>
                <a:cxn ang="0">
                  <a:pos x="92" y="184"/>
                </a:cxn>
                <a:cxn ang="0">
                  <a:pos x="97" y="192"/>
                </a:cxn>
                <a:cxn ang="0">
                  <a:pos x="113" y="199"/>
                </a:cxn>
                <a:cxn ang="0">
                  <a:pos x="132" y="204"/>
                </a:cxn>
                <a:cxn ang="0">
                  <a:pos x="132" y="216"/>
                </a:cxn>
                <a:cxn ang="0">
                  <a:pos x="126" y="239"/>
                </a:cxn>
                <a:cxn ang="0">
                  <a:pos x="149" y="239"/>
                </a:cxn>
                <a:cxn ang="0">
                  <a:pos x="151" y="226"/>
                </a:cxn>
                <a:cxn ang="0">
                  <a:pos x="146" y="219"/>
                </a:cxn>
                <a:cxn ang="0">
                  <a:pos x="152" y="205"/>
                </a:cxn>
                <a:cxn ang="0">
                  <a:pos x="158" y="188"/>
                </a:cxn>
                <a:cxn ang="0">
                  <a:pos x="155" y="168"/>
                </a:cxn>
                <a:cxn ang="0">
                  <a:pos x="148" y="146"/>
                </a:cxn>
                <a:cxn ang="0">
                  <a:pos x="171" y="145"/>
                </a:cxn>
                <a:cxn ang="0">
                  <a:pos x="188" y="133"/>
                </a:cxn>
                <a:cxn ang="0">
                  <a:pos x="197" y="117"/>
                </a:cxn>
                <a:cxn ang="0">
                  <a:pos x="204" y="97"/>
                </a:cxn>
                <a:cxn ang="0">
                  <a:pos x="182" y="80"/>
                </a:cxn>
                <a:cxn ang="0">
                  <a:pos x="195" y="72"/>
                </a:cxn>
                <a:cxn ang="0">
                  <a:pos x="209" y="57"/>
                </a:cxn>
                <a:cxn ang="0">
                  <a:pos x="215" y="31"/>
                </a:cxn>
                <a:cxn ang="0">
                  <a:pos x="207" y="10"/>
                </a:cxn>
              </a:cxnLst>
              <a:rect l="0" t="0" r="r" b="b"/>
              <a:pathLst>
                <a:path w="216" h="243">
                  <a:moveTo>
                    <a:pt x="206" y="9"/>
                  </a:moveTo>
                  <a:cubicBezTo>
                    <a:pt x="204" y="9"/>
                    <a:pt x="202" y="9"/>
                    <a:pt x="201" y="9"/>
                  </a:cubicBezTo>
                  <a:cubicBezTo>
                    <a:pt x="199" y="9"/>
                    <a:pt x="199" y="9"/>
                    <a:pt x="198" y="8"/>
                  </a:cubicBezTo>
                  <a:cubicBezTo>
                    <a:pt x="198" y="5"/>
                    <a:pt x="200" y="2"/>
                    <a:pt x="197" y="1"/>
                  </a:cubicBezTo>
                  <a:cubicBezTo>
                    <a:pt x="194" y="0"/>
                    <a:pt x="192" y="2"/>
                    <a:pt x="190" y="2"/>
                  </a:cubicBezTo>
                  <a:cubicBezTo>
                    <a:pt x="187" y="4"/>
                    <a:pt x="183" y="4"/>
                    <a:pt x="180" y="6"/>
                  </a:cubicBezTo>
                  <a:cubicBezTo>
                    <a:pt x="180" y="6"/>
                    <a:pt x="179" y="6"/>
                    <a:pt x="179" y="6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7" y="9"/>
                    <a:pt x="173" y="8"/>
                    <a:pt x="170" y="8"/>
                  </a:cubicBezTo>
                  <a:cubicBezTo>
                    <a:pt x="166" y="8"/>
                    <a:pt x="162" y="5"/>
                    <a:pt x="158" y="5"/>
                  </a:cubicBezTo>
                  <a:cubicBezTo>
                    <a:pt x="154" y="5"/>
                    <a:pt x="153" y="6"/>
                    <a:pt x="150" y="8"/>
                  </a:cubicBezTo>
                  <a:cubicBezTo>
                    <a:pt x="148" y="8"/>
                    <a:pt x="146" y="9"/>
                    <a:pt x="144" y="10"/>
                  </a:cubicBezTo>
                  <a:cubicBezTo>
                    <a:pt x="140" y="10"/>
                    <a:pt x="137" y="10"/>
                    <a:pt x="135" y="12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3" y="14"/>
                    <a:pt x="132" y="14"/>
                    <a:pt x="131" y="15"/>
                  </a:cubicBezTo>
                  <a:cubicBezTo>
                    <a:pt x="129" y="16"/>
                    <a:pt x="127" y="16"/>
                    <a:pt x="125" y="18"/>
                  </a:cubicBezTo>
                  <a:cubicBezTo>
                    <a:pt x="124" y="18"/>
                    <a:pt x="123" y="20"/>
                    <a:pt x="122" y="21"/>
                  </a:cubicBezTo>
                  <a:cubicBezTo>
                    <a:pt x="121" y="21"/>
                    <a:pt x="119" y="22"/>
                    <a:pt x="119" y="23"/>
                  </a:cubicBezTo>
                  <a:cubicBezTo>
                    <a:pt x="119" y="24"/>
                    <a:pt x="119" y="25"/>
                    <a:pt x="119" y="25"/>
                  </a:cubicBezTo>
                  <a:cubicBezTo>
                    <a:pt x="119" y="26"/>
                    <a:pt x="118" y="27"/>
                    <a:pt x="118" y="27"/>
                  </a:cubicBezTo>
                  <a:cubicBezTo>
                    <a:pt x="118" y="27"/>
                    <a:pt x="117" y="28"/>
                    <a:pt x="117" y="29"/>
                  </a:cubicBezTo>
                  <a:cubicBezTo>
                    <a:pt x="117" y="30"/>
                    <a:pt x="117" y="31"/>
                    <a:pt x="117" y="31"/>
                  </a:cubicBezTo>
                  <a:cubicBezTo>
                    <a:pt x="117" y="32"/>
                    <a:pt x="116" y="32"/>
                    <a:pt x="116" y="32"/>
                  </a:cubicBezTo>
                  <a:cubicBezTo>
                    <a:pt x="116" y="33"/>
                    <a:pt x="117" y="33"/>
                    <a:pt x="116" y="34"/>
                  </a:cubicBezTo>
                  <a:cubicBezTo>
                    <a:pt x="116" y="34"/>
                    <a:pt x="114" y="35"/>
                    <a:pt x="113" y="35"/>
                  </a:cubicBezTo>
                  <a:cubicBezTo>
                    <a:pt x="111" y="36"/>
                    <a:pt x="109" y="36"/>
                    <a:pt x="109" y="33"/>
                  </a:cubicBezTo>
                  <a:cubicBezTo>
                    <a:pt x="108" y="32"/>
                    <a:pt x="108" y="31"/>
                    <a:pt x="107" y="30"/>
                  </a:cubicBezTo>
                  <a:cubicBezTo>
                    <a:pt x="105" y="29"/>
                    <a:pt x="103" y="36"/>
                    <a:pt x="103" y="38"/>
                  </a:cubicBezTo>
                  <a:cubicBezTo>
                    <a:pt x="104" y="39"/>
                    <a:pt x="104" y="40"/>
                    <a:pt x="104" y="41"/>
                  </a:cubicBezTo>
                  <a:cubicBezTo>
                    <a:pt x="105" y="43"/>
                    <a:pt x="107" y="43"/>
                    <a:pt x="109" y="42"/>
                  </a:cubicBezTo>
                  <a:cubicBezTo>
                    <a:pt x="110" y="41"/>
                    <a:pt x="110" y="39"/>
                    <a:pt x="112" y="41"/>
                  </a:cubicBezTo>
                  <a:cubicBezTo>
                    <a:pt x="112" y="41"/>
                    <a:pt x="113" y="42"/>
                    <a:pt x="113" y="42"/>
                  </a:cubicBezTo>
                  <a:cubicBezTo>
                    <a:pt x="113" y="43"/>
                    <a:pt x="114" y="43"/>
                    <a:pt x="114" y="43"/>
                  </a:cubicBezTo>
                  <a:cubicBezTo>
                    <a:pt x="116" y="46"/>
                    <a:pt x="115" y="51"/>
                    <a:pt x="115" y="54"/>
                  </a:cubicBezTo>
                  <a:cubicBezTo>
                    <a:pt x="115" y="56"/>
                    <a:pt x="115" y="56"/>
                    <a:pt x="118" y="56"/>
                  </a:cubicBezTo>
                  <a:cubicBezTo>
                    <a:pt x="119" y="56"/>
                    <a:pt x="120" y="55"/>
                    <a:pt x="121" y="55"/>
                  </a:cubicBezTo>
                  <a:cubicBezTo>
                    <a:pt x="123" y="56"/>
                    <a:pt x="124" y="57"/>
                    <a:pt x="125" y="57"/>
                  </a:cubicBezTo>
                  <a:cubicBezTo>
                    <a:pt x="126" y="60"/>
                    <a:pt x="130" y="56"/>
                    <a:pt x="131" y="57"/>
                  </a:cubicBezTo>
                  <a:cubicBezTo>
                    <a:pt x="132" y="58"/>
                    <a:pt x="132" y="59"/>
                    <a:pt x="131" y="60"/>
                  </a:cubicBezTo>
                  <a:cubicBezTo>
                    <a:pt x="129" y="62"/>
                    <a:pt x="126" y="61"/>
                    <a:pt x="125" y="63"/>
                  </a:cubicBezTo>
                  <a:cubicBezTo>
                    <a:pt x="124" y="65"/>
                    <a:pt x="125" y="68"/>
                    <a:pt x="125" y="70"/>
                  </a:cubicBezTo>
                  <a:cubicBezTo>
                    <a:pt x="125" y="72"/>
                    <a:pt x="125" y="72"/>
                    <a:pt x="126" y="74"/>
                  </a:cubicBezTo>
                  <a:cubicBezTo>
                    <a:pt x="126" y="74"/>
                    <a:pt x="127" y="75"/>
                    <a:pt x="127" y="75"/>
                  </a:cubicBezTo>
                  <a:cubicBezTo>
                    <a:pt x="127" y="76"/>
                    <a:pt x="127" y="77"/>
                    <a:pt x="127" y="78"/>
                  </a:cubicBezTo>
                  <a:cubicBezTo>
                    <a:pt x="129" y="78"/>
                    <a:pt x="130" y="77"/>
                    <a:pt x="129" y="80"/>
                  </a:cubicBezTo>
                  <a:cubicBezTo>
                    <a:pt x="129" y="81"/>
                    <a:pt x="129" y="81"/>
                    <a:pt x="127" y="81"/>
                  </a:cubicBezTo>
                  <a:cubicBezTo>
                    <a:pt x="124" y="82"/>
                    <a:pt x="122" y="81"/>
                    <a:pt x="119" y="82"/>
                  </a:cubicBezTo>
                  <a:cubicBezTo>
                    <a:pt x="118" y="82"/>
                    <a:pt x="118" y="83"/>
                    <a:pt x="117" y="83"/>
                  </a:cubicBezTo>
                  <a:cubicBezTo>
                    <a:pt x="116" y="83"/>
                    <a:pt x="116" y="83"/>
                    <a:pt x="115" y="83"/>
                  </a:cubicBezTo>
                  <a:cubicBezTo>
                    <a:pt x="113" y="83"/>
                    <a:pt x="113" y="83"/>
                    <a:pt x="112" y="84"/>
                  </a:cubicBezTo>
                  <a:cubicBezTo>
                    <a:pt x="110" y="85"/>
                    <a:pt x="110" y="85"/>
                    <a:pt x="110" y="87"/>
                  </a:cubicBezTo>
                  <a:cubicBezTo>
                    <a:pt x="110" y="87"/>
                    <a:pt x="109" y="88"/>
                    <a:pt x="109" y="88"/>
                  </a:cubicBezTo>
                  <a:cubicBezTo>
                    <a:pt x="109" y="89"/>
                    <a:pt x="109" y="90"/>
                    <a:pt x="109" y="91"/>
                  </a:cubicBezTo>
                  <a:cubicBezTo>
                    <a:pt x="109" y="92"/>
                    <a:pt x="109" y="92"/>
                    <a:pt x="109" y="93"/>
                  </a:cubicBezTo>
                  <a:cubicBezTo>
                    <a:pt x="110" y="94"/>
                    <a:pt x="110" y="94"/>
                    <a:pt x="110" y="95"/>
                  </a:cubicBezTo>
                  <a:cubicBezTo>
                    <a:pt x="110" y="96"/>
                    <a:pt x="109" y="97"/>
                    <a:pt x="108" y="98"/>
                  </a:cubicBezTo>
                  <a:cubicBezTo>
                    <a:pt x="107" y="101"/>
                    <a:pt x="109" y="101"/>
                    <a:pt x="110" y="104"/>
                  </a:cubicBezTo>
                  <a:cubicBezTo>
                    <a:pt x="110" y="105"/>
                    <a:pt x="110" y="106"/>
                    <a:pt x="111" y="107"/>
                  </a:cubicBezTo>
                  <a:cubicBezTo>
                    <a:pt x="111" y="108"/>
                    <a:pt x="112" y="109"/>
                    <a:pt x="113" y="109"/>
                  </a:cubicBezTo>
                  <a:cubicBezTo>
                    <a:pt x="114" y="110"/>
                    <a:pt x="115" y="111"/>
                    <a:pt x="114" y="112"/>
                  </a:cubicBezTo>
                  <a:cubicBezTo>
                    <a:pt x="114" y="112"/>
                    <a:pt x="114" y="112"/>
                    <a:pt x="113" y="112"/>
                  </a:cubicBezTo>
                  <a:cubicBezTo>
                    <a:pt x="113" y="112"/>
                    <a:pt x="112" y="111"/>
                    <a:pt x="112" y="111"/>
                  </a:cubicBezTo>
                  <a:cubicBezTo>
                    <a:pt x="111" y="110"/>
                    <a:pt x="110" y="109"/>
                    <a:pt x="109" y="108"/>
                  </a:cubicBezTo>
                  <a:cubicBezTo>
                    <a:pt x="108" y="107"/>
                    <a:pt x="108" y="107"/>
                    <a:pt x="107" y="106"/>
                  </a:cubicBezTo>
                  <a:cubicBezTo>
                    <a:pt x="105" y="105"/>
                    <a:pt x="104" y="106"/>
                    <a:pt x="103" y="106"/>
                  </a:cubicBezTo>
                  <a:cubicBezTo>
                    <a:pt x="101" y="106"/>
                    <a:pt x="99" y="105"/>
                    <a:pt x="98" y="105"/>
                  </a:cubicBezTo>
                  <a:cubicBezTo>
                    <a:pt x="96" y="104"/>
                    <a:pt x="95" y="104"/>
                    <a:pt x="94" y="104"/>
                  </a:cubicBezTo>
                  <a:cubicBezTo>
                    <a:pt x="92" y="103"/>
                    <a:pt x="91" y="100"/>
                    <a:pt x="93" y="99"/>
                  </a:cubicBezTo>
                  <a:cubicBezTo>
                    <a:pt x="94" y="98"/>
                    <a:pt x="100" y="100"/>
                    <a:pt x="99" y="97"/>
                  </a:cubicBezTo>
                  <a:cubicBezTo>
                    <a:pt x="98" y="95"/>
                    <a:pt x="97" y="96"/>
                    <a:pt x="97" y="95"/>
                  </a:cubicBezTo>
                  <a:cubicBezTo>
                    <a:pt x="97" y="94"/>
                    <a:pt x="97" y="92"/>
                    <a:pt x="97" y="91"/>
                  </a:cubicBezTo>
                  <a:cubicBezTo>
                    <a:pt x="97" y="90"/>
                    <a:pt x="96" y="90"/>
                    <a:pt x="96" y="89"/>
                  </a:cubicBezTo>
                  <a:cubicBezTo>
                    <a:pt x="96" y="89"/>
                    <a:pt x="97" y="88"/>
                    <a:pt x="97" y="88"/>
                  </a:cubicBezTo>
                  <a:cubicBezTo>
                    <a:pt x="97" y="88"/>
                    <a:pt x="97" y="87"/>
                    <a:pt x="97" y="86"/>
                  </a:cubicBezTo>
                  <a:cubicBezTo>
                    <a:pt x="96" y="84"/>
                    <a:pt x="95" y="83"/>
                    <a:pt x="94" y="82"/>
                  </a:cubicBezTo>
                  <a:cubicBezTo>
                    <a:pt x="94" y="81"/>
                    <a:pt x="94" y="81"/>
                    <a:pt x="94" y="80"/>
                  </a:cubicBezTo>
                  <a:cubicBezTo>
                    <a:pt x="93" y="80"/>
                    <a:pt x="93" y="80"/>
                    <a:pt x="93" y="79"/>
                  </a:cubicBezTo>
                  <a:cubicBezTo>
                    <a:pt x="93" y="77"/>
                    <a:pt x="95" y="78"/>
                    <a:pt x="97" y="78"/>
                  </a:cubicBezTo>
                  <a:cubicBezTo>
                    <a:pt x="98" y="78"/>
                    <a:pt x="98" y="78"/>
                    <a:pt x="100" y="78"/>
                  </a:cubicBezTo>
                  <a:cubicBezTo>
                    <a:pt x="101" y="78"/>
                    <a:pt x="102" y="77"/>
                    <a:pt x="102" y="77"/>
                  </a:cubicBezTo>
                  <a:cubicBezTo>
                    <a:pt x="103" y="77"/>
                    <a:pt x="104" y="77"/>
                    <a:pt x="105" y="77"/>
                  </a:cubicBezTo>
                  <a:cubicBezTo>
                    <a:pt x="107" y="76"/>
                    <a:pt x="106" y="76"/>
                    <a:pt x="107" y="75"/>
                  </a:cubicBezTo>
                  <a:cubicBezTo>
                    <a:pt x="108" y="72"/>
                    <a:pt x="109" y="75"/>
                    <a:pt x="111" y="75"/>
                  </a:cubicBezTo>
                  <a:cubicBezTo>
                    <a:pt x="111" y="75"/>
                    <a:pt x="112" y="75"/>
                    <a:pt x="113" y="75"/>
                  </a:cubicBezTo>
                  <a:cubicBezTo>
                    <a:pt x="113" y="74"/>
                    <a:pt x="113" y="72"/>
                    <a:pt x="112" y="72"/>
                  </a:cubicBezTo>
                  <a:cubicBezTo>
                    <a:pt x="112" y="71"/>
                    <a:pt x="111" y="71"/>
                    <a:pt x="110" y="71"/>
                  </a:cubicBezTo>
                  <a:cubicBezTo>
                    <a:pt x="110" y="70"/>
                    <a:pt x="108" y="69"/>
                    <a:pt x="108" y="68"/>
                  </a:cubicBezTo>
                  <a:cubicBezTo>
                    <a:pt x="107" y="68"/>
                    <a:pt x="108" y="67"/>
                    <a:pt x="108" y="66"/>
                  </a:cubicBezTo>
                  <a:cubicBezTo>
                    <a:pt x="108" y="64"/>
                    <a:pt x="107" y="64"/>
                    <a:pt x="105" y="63"/>
                  </a:cubicBezTo>
                  <a:cubicBezTo>
                    <a:pt x="103" y="62"/>
                    <a:pt x="103" y="60"/>
                    <a:pt x="102" y="58"/>
                  </a:cubicBezTo>
                  <a:cubicBezTo>
                    <a:pt x="101" y="57"/>
                    <a:pt x="99" y="56"/>
                    <a:pt x="98" y="55"/>
                  </a:cubicBezTo>
                  <a:cubicBezTo>
                    <a:pt x="97" y="54"/>
                    <a:pt x="97" y="55"/>
                    <a:pt x="97" y="53"/>
                  </a:cubicBezTo>
                  <a:cubicBezTo>
                    <a:pt x="97" y="52"/>
                    <a:pt x="98" y="51"/>
                    <a:pt x="99" y="50"/>
                  </a:cubicBezTo>
                  <a:cubicBezTo>
                    <a:pt x="100" y="49"/>
                    <a:pt x="101" y="48"/>
                    <a:pt x="102" y="47"/>
                  </a:cubicBezTo>
                  <a:cubicBezTo>
                    <a:pt x="104" y="47"/>
                    <a:pt x="105" y="46"/>
                    <a:pt x="106" y="45"/>
                  </a:cubicBezTo>
                  <a:cubicBezTo>
                    <a:pt x="104" y="45"/>
                    <a:pt x="102" y="45"/>
                    <a:pt x="100" y="46"/>
                  </a:cubicBezTo>
                  <a:cubicBezTo>
                    <a:pt x="99" y="47"/>
                    <a:pt x="98" y="48"/>
                    <a:pt x="97" y="49"/>
                  </a:cubicBezTo>
                  <a:cubicBezTo>
                    <a:pt x="95" y="51"/>
                    <a:pt x="93" y="53"/>
                    <a:pt x="92" y="53"/>
                  </a:cubicBezTo>
                  <a:cubicBezTo>
                    <a:pt x="90" y="53"/>
                    <a:pt x="86" y="53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4" y="50"/>
                    <a:pt x="84" y="49"/>
                  </a:cubicBezTo>
                  <a:cubicBezTo>
                    <a:pt x="84" y="48"/>
                    <a:pt x="83" y="47"/>
                    <a:pt x="82" y="47"/>
                  </a:cubicBezTo>
                  <a:cubicBezTo>
                    <a:pt x="78" y="47"/>
                    <a:pt x="77" y="50"/>
                    <a:pt x="77" y="53"/>
                  </a:cubicBezTo>
                  <a:cubicBezTo>
                    <a:pt x="77" y="56"/>
                    <a:pt x="77" y="57"/>
                    <a:pt x="75" y="60"/>
                  </a:cubicBezTo>
                  <a:cubicBezTo>
                    <a:pt x="75" y="60"/>
                    <a:pt x="74" y="62"/>
                    <a:pt x="73" y="62"/>
                  </a:cubicBezTo>
                  <a:cubicBezTo>
                    <a:pt x="72" y="63"/>
                    <a:pt x="69" y="61"/>
                    <a:pt x="67" y="60"/>
                  </a:cubicBezTo>
                  <a:cubicBezTo>
                    <a:pt x="67" y="61"/>
                    <a:pt x="67" y="62"/>
                    <a:pt x="67" y="63"/>
                  </a:cubicBezTo>
                  <a:cubicBezTo>
                    <a:pt x="66" y="66"/>
                    <a:pt x="68" y="68"/>
                    <a:pt x="69" y="71"/>
                  </a:cubicBezTo>
                  <a:cubicBezTo>
                    <a:pt x="69" y="72"/>
                    <a:pt x="68" y="73"/>
                    <a:pt x="69" y="74"/>
                  </a:cubicBezTo>
                  <a:cubicBezTo>
                    <a:pt x="69" y="75"/>
                    <a:pt x="72" y="75"/>
                    <a:pt x="73" y="77"/>
                  </a:cubicBezTo>
                  <a:cubicBezTo>
                    <a:pt x="73" y="79"/>
                    <a:pt x="72" y="80"/>
                    <a:pt x="72" y="81"/>
                  </a:cubicBezTo>
                  <a:cubicBezTo>
                    <a:pt x="72" y="83"/>
                    <a:pt x="72" y="84"/>
                    <a:pt x="72" y="85"/>
                  </a:cubicBezTo>
                  <a:cubicBezTo>
                    <a:pt x="72" y="86"/>
                    <a:pt x="71" y="87"/>
                    <a:pt x="71" y="88"/>
                  </a:cubicBezTo>
                  <a:cubicBezTo>
                    <a:pt x="71" y="89"/>
                    <a:pt x="70" y="90"/>
                    <a:pt x="70" y="90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92"/>
                    <a:pt x="69" y="93"/>
                    <a:pt x="69" y="93"/>
                  </a:cubicBezTo>
                  <a:cubicBezTo>
                    <a:pt x="69" y="94"/>
                    <a:pt x="68" y="93"/>
                    <a:pt x="68" y="94"/>
                  </a:cubicBezTo>
                  <a:cubicBezTo>
                    <a:pt x="67" y="94"/>
                    <a:pt x="66" y="95"/>
                    <a:pt x="66" y="95"/>
                  </a:cubicBezTo>
                  <a:cubicBezTo>
                    <a:pt x="65" y="95"/>
                    <a:pt x="65" y="95"/>
                    <a:pt x="65" y="96"/>
                  </a:cubicBezTo>
                  <a:cubicBezTo>
                    <a:pt x="64" y="97"/>
                    <a:pt x="65" y="97"/>
                    <a:pt x="65" y="98"/>
                  </a:cubicBezTo>
                  <a:cubicBezTo>
                    <a:pt x="65" y="98"/>
                    <a:pt x="64" y="99"/>
                    <a:pt x="64" y="99"/>
                  </a:cubicBezTo>
                  <a:cubicBezTo>
                    <a:pt x="63" y="100"/>
                    <a:pt x="63" y="102"/>
                    <a:pt x="63" y="103"/>
                  </a:cubicBezTo>
                  <a:cubicBezTo>
                    <a:pt x="63" y="104"/>
                    <a:pt x="63" y="106"/>
                    <a:pt x="62" y="107"/>
                  </a:cubicBezTo>
                  <a:cubicBezTo>
                    <a:pt x="62" y="109"/>
                    <a:pt x="60" y="110"/>
                    <a:pt x="60" y="111"/>
                  </a:cubicBezTo>
                  <a:cubicBezTo>
                    <a:pt x="58" y="114"/>
                    <a:pt x="55" y="117"/>
                    <a:pt x="54" y="122"/>
                  </a:cubicBezTo>
                  <a:cubicBezTo>
                    <a:pt x="53" y="121"/>
                    <a:pt x="51" y="123"/>
                    <a:pt x="50" y="124"/>
                  </a:cubicBezTo>
                  <a:cubicBezTo>
                    <a:pt x="49" y="125"/>
                    <a:pt x="49" y="126"/>
                    <a:pt x="49" y="127"/>
                  </a:cubicBezTo>
                  <a:cubicBezTo>
                    <a:pt x="49" y="127"/>
                    <a:pt x="49" y="128"/>
                    <a:pt x="48" y="128"/>
                  </a:cubicBezTo>
                  <a:cubicBezTo>
                    <a:pt x="48" y="126"/>
                    <a:pt x="43" y="126"/>
                    <a:pt x="42" y="127"/>
                  </a:cubicBezTo>
                  <a:cubicBezTo>
                    <a:pt x="41" y="128"/>
                    <a:pt x="41" y="128"/>
                    <a:pt x="41" y="129"/>
                  </a:cubicBezTo>
                  <a:cubicBezTo>
                    <a:pt x="40" y="130"/>
                    <a:pt x="40" y="131"/>
                    <a:pt x="39" y="133"/>
                  </a:cubicBezTo>
                  <a:cubicBezTo>
                    <a:pt x="39" y="134"/>
                    <a:pt x="38" y="134"/>
                    <a:pt x="38" y="135"/>
                  </a:cubicBezTo>
                  <a:cubicBezTo>
                    <a:pt x="38" y="136"/>
                    <a:pt x="38" y="137"/>
                    <a:pt x="38" y="138"/>
                  </a:cubicBezTo>
                  <a:cubicBezTo>
                    <a:pt x="38" y="140"/>
                    <a:pt x="39" y="140"/>
                    <a:pt x="39" y="141"/>
                  </a:cubicBezTo>
                  <a:cubicBezTo>
                    <a:pt x="40" y="143"/>
                    <a:pt x="39" y="144"/>
                    <a:pt x="40" y="145"/>
                  </a:cubicBezTo>
                  <a:cubicBezTo>
                    <a:pt x="39" y="145"/>
                    <a:pt x="39" y="145"/>
                    <a:pt x="38" y="146"/>
                  </a:cubicBezTo>
                  <a:cubicBezTo>
                    <a:pt x="36" y="146"/>
                    <a:pt x="36" y="146"/>
                    <a:pt x="34" y="147"/>
                  </a:cubicBezTo>
                  <a:cubicBezTo>
                    <a:pt x="34" y="147"/>
                    <a:pt x="33" y="147"/>
                    <a:pt x="32" y="147"/>
                  </a:cubicBezTo>
                  <a:cubicBezTo>
                    <a:pt x="32" y="148"/>
                    <a:pt x="32" y="148"/>
                    <a:pt x="32" y="149"/>
                  </a:cubicBezTo>
                  <a:cubicBezTo>
                    <a:pt x="30" y="150"/>
                    <a:pt x="30" y="149"/>
                    <a:pt x="29" y="151"/>
                  </a:cubicBezTo>
                  <a:cubicBezTo>
                    <a:pt x="29" y="152"/>
                    <a:pt x="29" y="154"/>
                    <a:pt x="29" y="156"/>
                  </a:cubicBezTo>
                  <a:cubicBezTo>
                    <a:pt x="29" y="158"/>
                    <a:pt x="28" y="157"/>
                    <a:pt x="26" y="157"/>
                  </a:cubicBezTo>
                  <a:cubicBezTo>
                    <a:pt x="25" y="157"/>
                    <a:pt x="23" y="158"/>
                    <a:pt x="22" y="158"/>
                  </a:cubicBezTo>
                  <a:cubicBezTo>
                    <a:pt x="20" y="159"/>
                    <a:pt x="15" y="162"/>
                    <a:pt x="16" y="164"/>
                  </a:cubicBezTo>
                  <a:cubicBezTo>
                    <a:pt x="17" y="165"/>
                    <a:pt x="19" y="165"/>
                    <a:pt x="20" y="164"/>
                  </a:cubicBezTo>
                  <a:cubicBezTo>
                    <a:pt x="20" y="164"/>
                    <a:pt x="21" y="163"/>
                    <a:pt x="21" y="163"/>
                  </a:cubicBezTo>
                  <a:cubicBezTo>
                    <a:pt x="22" y="162"/>
                    <a:pt x="24" y="162"/>
                    <a:pt x="24" y="162"/>
                  </a:cubicBezTo>
                  <a:cubicBezTo>
                    <a:pt x="26" y="161"/>
                    <a:pt x="26" y="161"/>
                    <a:pt x="28" y="162"/>
                  </a:cubicBezTo>
                  <a:cubicBezTo>
                    <a:pt x="28" y="162"/>
                    <a:pt x="29" y="163"/>
                    <a:pt x="29" y="164"/>
                  </a:cubicBezTo>
                  <a:cubicBezTo>
                    <a:pt x="30" y="164"/>
                    <a:pt x="32" y="164"/>
                    <a:pt x="33" y="164"/>
                  </a:cubicBezTo>
                  <a:cubicBezTo>
                    <a:pt x="34" y="164"/>
                    <a:pt x="40" y="161"/>
                    <a:pt x="40" y="163"/>
                  </a:cubicBezTo>
                  <a:cubicBezTo>
                    <a:pt x="41" y="164"/>
                    <a:pt x="37" y="167"/>
                    <a:pt x="36" y="167"/>
                  </a:cubicBezTo>
                  <a:cubicBezTo>
                    <a:pt x="35" y="168"/>
                    <a:pt x="35" y="169"/>
                    <a:pt x="35" y="170"/>
                  </a:cubicBezTo>
                  <a:cubicBezTo>
                    <a:pt x="37" y="170"/>
                    <a:pt x="39" y="171"/>
                    <a:pt x="40" y="172"/>
                  </a:cubicBezTo>
                  <a:cubicBezTo>
                    <a:pt x="40" y="173"/>
                    <a:pt x="40" y="175"/>
                    <a:pt x="40" y="176"/>
                  </a:cubicBezTo>
                  <a:cubicBezTo>
                    <a:pt x="41" y="177"/>
                    <a:pt x="44" y="177"/>
                    <a:pt x="44" y="178"/>
                  </a:cubicBezTo>
                  <a:cubicBezTo>
                    <a:pt x="45" y="179"/>
                    <a:pt x="44" y="180"/>
                    <a:pt x="44" y="181"/>
                  </a:cubicBezTo>
                  <a:cubicBezTo>
                    <a:pt x="39" y="181"/>
                    <a:pt x="36" y="176"/>
                    <a:pt x="34" y="172"/>
                  </a:cubicBezTo>
                  <a:cubicBezTo>
                    <a:pt x="33" y="171"/>
                    <a:pt x="31" y="170"/>
                    <a:pt x="30" y="169"/>
                  </a:cubicBezTo>
                  <a:cubicBezTo>
                    <a:pt x="29" y="169"/>
                    <a:pt x="28" y="169"/>
                    <a:pt x="28" y="168"/>
                  </a:cubicBezTo>
                  <a:cubicBezTo>
                    <a:pt x="27" y="167"/>
                    <a:pt x="27" y="167"/>
                    <a:pt x="25" y="167"/>
                  </a:cubicBezTo>
                  <a:cubicBezTo>
                    <a:pt x="23" y="167"/>
                    <a:pt x="23" y="168"/>
                    <a:pt x="22" y="169"/>
                  </a:cubicBezTo>
                  <a:cubicBezTo>
                    <a:pt x="20" y="170"/>
                    <a:pt x="17" y="169"/>
                    <a:pt x="15" y="169"/>
                  </a:cubicBezTo>
                  <a:cubicBezTo>
                    <a:pt x="13" y="169"/>
                    <a:pt x="13" y="169"/>
                    <a:pt x="12" y="169"/>
                  </a:cubicBezTo>
                  <a:cubicBezTo>
                    <a:pt x="12" y="170"/>
                    <a:pt x="11" y="170"/>
                    <a:pt x="11" y="171"/>
                  </a:cubicBezTo>
                  <a:cubicBezTo>
                    <a:pt x="10" y="171"/>
                    <a:pt x="10" y="171"/>
                    <a:pt x="9" y="172"/>
                  </a:cubicBezTo>
                  <a:cubicBezTo>
                    <a:pt x="8" y="173"/>
                    <a:pt x="5" y="177"/>
                    <a:pt x="6" y="179"/>
                  </a:cubicBezTo>
                  <a:cubicBezTo>
                    <a:pt x="8" y="179"/>
                    <a:pt x="12" y="178"/>
                    <a:pt x="13" y="180"/>
                  </a:cubicBezTo>
                  <a:cubicBezTo>
                    <a:pt x="14" y="180"/>
                    <a:pt x="14" y="181"/>
                    <a:pt x="14" y="182"/>
                  </a:cubicBezTo>
                  <a:cubicBezTo>
                    <a:pt x="15" y="183"/>
                    <a:pt x="16" y="183"/>
                    <a:pt x="18" y="184"/>
                  </a:cubicBezTo>
                  <a:cubicBezTo>
                    <a:pt x="22" y="184"/>
                    <a:pt x="23" y="187"/>
                    <a:pt x="27" y="185"/>
                  </a:cubicBezTo>
                  <a:cubicBezTo>
                    <a:pt x="29" y="184"/>
                    <a:pt x="31" y="183"/>
                    <a:pt x="33" y="182"/>
                  </a:cubicBezTo>
                  <a:cubicBezTo>
                    <a:pt x="34" y="182"/>
                    <a:pt x="34" y="182"/>
                    <a:pt x="35" y="182"/>
                  </a:cubicBezTo>
                  <a:cubicBezTo>
                    <a:pt x="36" y="182"/>
                    <a:pt x="37" y="181"/>
                    <a:pt x="37" y="181"/>
                  </a:cubicBezTo>
                  <a:cubicBezTo>
                    <a:pt x="38" y="181"/>
                    <a:pt x="39" y="182"/>
                    <a:pt x="40" y="183"/>
                  </a:cubicBezTo>
                  <a:cubicBezTo>
                    <a:pt x="40" y="185"/>
                    <a:pt x="39" y="186"/>
                    <a:pt x="41" y="186"/>
                  </a:cubicBezTo>
                  <a:cubicBezTo>
                    <a:pt x="42" y="187"/>
                    <a:pt x="46" y="184"/>
                    <a:pt x="47" y="186"/>
                  </a:cubicBezTo>
                  <a:cubicBezTo>
                    <a:pt x="48" y="186"/>
                    <a:pt x="48" y="190"/>
                    <a:pt x="48" y="190"/>
                  </a:cubicBezTo>
                  <a:cubicBezTo>
                    <a:pt x="47" y="191"/>
                    <a:pt x="45" y="190"/>
                    <a:pt x="44" y="190"/>
                  </a:cubicBezTo>
                  <a:cubicBezTo>
                    <a:pt x="41" y="189"/>
                    <a:pt x="39" y="189"/>
                    <a:pt x="36" y="188"/>
                  </a:cubicBezTo>
                  <a:cubicBezTo>
                    <a:pt x="35" y="188"/>
                    <a:pt x="34" y="187"/>
                    <a:pt x="33" y="188"/>
                  </a:cubicBezTo>
                  <a:cubicBezTo>
                    <a:pt x="32" y="188"/>
                    <a:pt x="31" y="188"/>
                    <a:pt x="30" y="188"/>
                  </a:cubicBezTo>
                  <a:cubicBezTo>
                    <a:pt x="27" y="189"/>
                    <a:pt x="24" y="188"/>
                    <a:pt x="21" y="188"/>
                  </a:cubicBezTo>
                  <a:cubicBezTo>
                    <a:pt x="18" y="188"/>
                    <a:pt x="16" y="188"/>
                    <a:pt x="13" y="187"/>
                  </a:cubicBezTo>
                  <a:cubicBezTo>
                    <a:pt x="12" y="187"/>
                    <a:pt x="11" y="186"/>
                    <a:pt x="11" y="186"/>
                  </a:cubicBezTo>
                  <a:cubicBezTo>
                    <a:pt x="9" y="185"/>
                    <a:pt x="8" y="183"/>
                    <a:pt x="6" y="183"/>
                  </a:cubicBezTo>
                  <a:cubicBezTo>
                    <a:pt x="3" y="182"/>
                    <a:pt x="1" y="184"/>
                    <a:pt x="1" y="187"/>
                  </a:cubicBezTo>
                  <a:cubicBezTo>
                    <a:pt x="1" y="188"/>
                    <a:pt x="1" y="189"/>
                    <a:pt x="0" y="190"/>
                  </a:cubicBezTo>
                  <a:cubicBezTo>
                    <a:pt x="0" y="192"/>
                    <a:pt x="1" y="192"/>
                    <a:pt x="1" y="193"/>
                  </a:cubicBezTo>
                  <a:cubicBezTo>
                    <a:pt x="2" y="194"/>
                    <a:pt x="2" y="195"/>
                    <a:pt x="3" y="196"/>
                  </a:cubicBezTo>
                  <a:cubicBezTo>
                    <a:pt x="4" y="197"/>
                    <a:pt x="5" y="197"/>
                    <a:pt x="6" y="197"/>
                  </a:cubicBezTo>
                  <a:cubicBezTo>
                    <a:pt x="7" y="198"/>
                    <a:pt x="9" y="199"/>
                    <a:pt x="11" y="198"/>
                  </a:cubicBezTo>
                  <a:cubicBezTo>
                    <a:pt x="12" y="197"/>
                    <a:pt x="12" y="196"/>
                    <a:pt x="12" y="196"/>
                  </a:cubicBezTo>
                  <a:cubicBezTo>
                    <a:pt x="13" y="195"/>
                    <a:pt x="17" y="194"/>
                    <a:pt x="18" y="194"/>
                  </a:cubicBezTo>
                  <a:cubicBezTo>
                    <a:pt x="21" y="194"/>
                    <a:pt x="22" y="196"/>
                    <a:pt x="23" y="198"/>
                  </a:cubicBezTo>
                  <a:cubicBezTo>
                    <a:pt x="25" y="200"/>
                    <a:pt x="30" y="201"/>
                    <a:pt x="33" y="202"/>
                  </a:cubicBezTo>
                  <a:cubicBezTo>
                    <a:pt x="35" y="203"/>
                    <a:pt x="36" y="204"/>
                    <a:pt x="38" y="203"/>
                  </a:cubicBezTo>
                  <a:cubicBezTo>
                    <a:pt x="39" y="203"/>
                    <a:pt x="40" y="202"/>
                    <a:pt x="41" y="201"/>
                  </a:cubicBezTo>
                  <a:cubicBezTo>
                    <a:pt x="41" y="200"/>
                    <a:pt x="42" y="199"/>
                    <a:pt x="42" y="199"/>
                  </a:cubicBezTo>
                  <a:cubicBezTo>
                    <a:pt x="42" y="198"/>
                    <a:pt x="43" y="197"/>
                    <a:pt x="44" y="196"/>
                  </a:cubicBezTo>
                  <a:cubicBezTo>
                    <a:pt x="44" y="195"/>
                    <a:pt x="44" y="195"/>
                    <a:pt x="46" y="194"/>
                  </a:cubicBezTo>
                  <a:cubicBezTo>
                    <a:pt x="47" y="194"/>
                    <a:pt x="48" y="194"/>
                    <a:pt x="49" y="193"/>
                  </a:cubicBezTo>
                  <a:cubicBezTo>
                    <a:pt x="49" y="193"/>
                    <a:pt x="49" y="193"/>
                    <a:pt x="49" y="193"/>
                  </a:cubicBezTo>
                  <a:cubicBezTo>
                    <a:pt x="49" y="192"/>
                    <a:pt x="49" y="192"/>
                    <a:pt x="50" y="192"/>
                  </a:cubicBezTo>
                  <a:cubicBezTo>
                    <a:pt x="51" y="191"/>
                    <a:pt x="51" y="191"/>
                    <a:pt x="51" y="190"/>
                  </a:cubicBezTo>
                  <a:cubicBezTo>
                    <a:pt x="52" y="189"/>
                    <a:pt x="53" y="188"/>
                    <a:pt x="54" y="188"/>
                  </a:cubicBezTo>
                  <a:cubicBezTo>
                    <a:pt x="55" y="187"/>
                    <a:pt x="55" y="187"/>
                    <a:pt x="56" y="187"/>
                  </a:cubicBezTo>
                  <a:cubicBezTo>
                    <a:pt x="57" y="186"/>
                    <a:pt x="58" y="186"/>
                    <a:pt x="59" y="185"/>
                  </a:cubicBezTo>
                  <a:cubicBezTo>
                    <a:pt x="60" y="185"/>
                    <a:pt x="60" y="184"/>
                    <a:pt x="61" y="183"/>
                  </a:cubicBezTo>
                  <a:cubicBezTo>
                    <a:pt x="62" y="183"/>
                    <a:pt x="63" y="183"/>
                    <a:pt x="64" y="183"/>
                  </a:cubicBezTo>
                  <a:cubicBezTo>
                    <a:pt x="65" y="183"/>
                    <a:pt x="66" y="182"/>
                    <a:pt x="67" y="182"/>
                  </a:cubicBezTo>
                  <a:cubicBezTo>
                    <a:pt x="70" y="182"/>
                    <a:pt x="73" y="182"/>
                    <a:pt x="76" y="182"/>
                  </a:cubicBezTo>
                  <a:cubicBezTo>
                    <a:pt x="79" y="182"/>
                    <a:pt x="80" y="184"/>
                    <a:pt x="82" y="184"/>
                  </a:cubicBezTo>
                  <a:cubicBezTo>
                    <a:pt x="84" y="185"/>
                    <a:pt x="86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3" y="184"/>
                    <a:pt x="94" y="183"/>
                    <a:pt x="96" y="182"/>
                  </a:cubicBezTo>
                  <a:cubicBezTo>
                    <a:pt x="96" y="182"/>
                    <a:pt x="97" y="182"/>
                    <a:pt x="98" y="182"/>
                  </a:cubicBezTo>
                  <a:cubicBezTo>
                    <a:pt x="99" y="182"/>
                    <a:pt x="100" y="182"/>
                    <a:pt x="100" y="182"/>
                  </a:cubicBezTo>
                  <a:cubicBezTo>
                    <a:pt x="103" y="182"/>
                    <a:pt x="104" y="185"/>
                    <a:pt x="103" y="187"/>
                  </a:cubicBezTo>
                  <a:cubicBezTo>
                    <a:pt x="103" y="188"/>
                    <a:pt x="100" y="190"/>
                    <a:pt x="98" y="191"/>
                  </a:cubicBezTo>
                  <a:cubicBezTo>
                    <a:pt x="98" y="191"/>
                    <a:pt x="97" y="191"/>
                    <a:pt x="97" y="192"/>
                  </a:cubicBezTo>
                  <a:cubicBezTo>
                    <a:pt x="97" y="193"/>
                    <a:pt x="98" y="193"/>
                    <a:pt x="99" y="193"/>
                  </a:cubicBezTo>
                  <a:cubicBezTo>
                    <a:pt x="101" y="194"/>
                    <a:pt x="102" y="194"/>
                    <a:pt x="104" y="195"/>
                  </a:cubicBezTo>
                  <a:cubicBezTo>
                    <a:pt x="106" y="196"/>
                    <a:pt x="106" y="196"/>
                    <a:pt x="107" y="197"/>
                  </a:cubicBezTo>
                  <a:cubicBezTo>
                    <a:pt x="107" y="197"/>
                    <a:pt x="108" y="198"/>
                    <a:pt x="108" y="198"/>
                  </a:cubicBezTo>
                  <a:cubicBezTo>
                    <a:pt x="109" y="198"/>
                    <a:pt x="109" y="199"/>
                    <a:pt x="109" y="199"/>
                  </a:cubicBezTo>
                  <a:cubicBezTo>
                    <a:pt x="111" y="200"/>
                    <a:pt x="112" y="200"/>
                    <a:pt x="113" y="199"/>
                  </a:cubicBezTo>
                  <a:cubicBezTo>
                    <a:pt x="116" y="198"/>
                    <a:pt x="118" y="197"/>
                    <a:pt x="121" y="197"/>
                  </a:cubicBezTo>
                  <a:cubicBezTo>
                    <a:pt x="123" y="197"/>
                    <a:pt x="123" y="197"/>
                    <a:pt x="124" y="199"/>
                  </a:cubicBezTo>
                  <a:cubicBezTo>
                    <a:pt x="124" y="199"/>
                    <a:pt x="125" y="200"/>
                    <a:pt x="125" y="200"/>
                  </a:cubicBezTo>
                  <a:cubicBezTo>
                    <a:pt x="126" y="201"/>
                    <a:pt x="126" y="201"/>
                    <a:pt x="127" y="202"/>
                  </a:cubicBezTo>
                  <a:cubicBezTo>
                    <a:pt x="127" y="202"/>
                    <a:pt x="128" y="203"/>
                    <a:pt x="129" y="203"/>
                  </a:cubicBezTo>
                  <a:cubicBezTo>
                    <a:pt x="130" y="204"/>
                    <a:pt x="131" y="204"/>
                    <a:pt x="132" y="204"/>
                  </a:cubicBezTo>
                  <a:cubicBezTo>
                    <a:pt x="133" y="205"/>
                    <a:pt x="135" y="205"/>
                    <a:pt x="136" y="205"/>
                  </a:cubicBezTo>
                  <a:cubicBezTo>
                    <a:pt x="136" y="206"/>
                    <a:pt x="137" y="207"/>
                    <a:pt x="137" y="208"/>
                  </a:cubicBezTo>
                  <a:cubicBezTo>
                    <a:pt x="136" y="209"/>
                    <a:pt x="136" y="209"/>
                    <a:pt x="135" y="210"/>
                  </a:cubicBezTo>
                  <a:cubicBezTo>
                    <a:pt x="135" y="211"/>
                    <a:pt x="134" y="212"/>
                    <a:pt x="134" y="213"/>
                  </a:cubicBezTo>
                  <a:cubicBezTo>
                    <a:pt x="133" y="214"/>
                    <a:pt x="133" y="214"/>
                    <a:pt x="132" y="214"/>
                  </a:cubicBezTo>
                  <a:cubicBezTo>
                    <a:pt x="132" y="215"/>
                    <a:pt x="132" y="215"/>
                    <a:pt x="132" y="216"/>
                  </a:cubicBezTo>
                  <a:cubicBezTo>
                    <a:pt x="131" y="218"/>
                    <a:pt x="130" y="219"/>
                    <a:pt x="129" y="221"/>
                  </a:cubicBezTo>
                  <a:cubicBezTo>
                    <a:pt x="129" y="222"/>
                    <a:pt x="129" y="223"/>
                    <a:pt x="128" y="224"/>
                  </a:cubicBezTo>
                  <a:cubicBezTo>
                    <a:pt x="128" y="226"/>
                    <a:pt x="128" y="227"/>
                    <a:pt x="127" y="228"/>
                  </a:cubicBezTo>
                  <a:cubicBezTo>
                    <a:pt x="126" y="229"/>
                    <a:pt x="126" y="229"/>
                    <a:pt x="126" y="231"/>
                  </a:cubicBezTo>
                  <a:cubicBezTo>
                    <a:pt x="126" y="231"/>
                    <a:pt x="126" y="232"/>
                    <a:pt x="126" y="233"/>
                  </a:cubicBezTo>
                  <a:cubicBezTo>
                    <a:pt x="126" y="234"/>
                    <a:pt x="125" y="238"/>
                    <a:pt x="126" y="239"/>
                  </a:cubicBezTo>
                  <a:cubicBezTo>
                    <a:pt x="127" y="241"/>
                    <a:pt x="131" y="240"/>
                    <a:pt x="133" y="240"/>
                  </a:cubicBezTo>
                  <a:cubicBezTo>
                    <a:pt x="134" y="240"/>
                    <a:pt x="135" y="241"/>
                    <a:pt x="137" y="241"/>
                  </a:cubicBezTo>
                  <a:cubicBezTo>
                    <a:pt x="139" y="243"/>
                    <a:pt x="142" y="243"/>
                    <a:pt x="145" y="243"/>
                  </a:cubicBezTo>
                  <a:cubicBezTo>
                    <a:pt x="145" y="243"/>
                    <a:pt x="145" y="243"/>
                    <a:pt x="145" y="243"/>
                  </a:cubicBezTo>
                  <a:cubicBezTo>
                    <a:pt x="146" y="242"/>
                    <a:pt x="146" y="241"/>
                    <a:pt x="146" y="241"/>
                  </a:cubicBezTo>
                  <a:cubicBezTo>
                    <a:pt x="147" y="240"/>
                    <a:pt x="148" y="240"/>
                    <a:pt x="149" y="239"/>
                  </a:cubicBezTo>
                  <a:cubicBezTo>
                    <a:pt x="149" y="239"/>
                    <a:pt x="148" y="239"/>
                    <a:pt x="148" y="238"/>
                  </a:cubicBezTo>
                  <a:cubicBezTo>
                    <a:pt x="148" y="238"/>
                    <a:pt x="148" y="237"/>
                    <a:pt x="149" y="236"/>
                  </a:cubicBezTo>
                  <a:cubicBezTo>
                    <a:pt x="149" y="235"/>
                    <a:pt x="149" y="235"/>
                    <a:pt x="149" y="233"/>
                  </a:cubicBezTo>
                  <a:cubicBezTo>
                    <a:pt x="149" y="233"/>
                    <a:pt x="149" y="233"/>
                    <a:pt x="149" y="232"/>
                  </a:cubicBezTo>
                  <a:cubicBezTo>
                    <a:pt x="149" y="232"/>
                    <a:pt x="149" y="231"/>
                    <a:pt x="149" y="230"/>
                  </a:cubicBezTo>
                  <a:cubicBezTo>
                    <a:pt x="150" y="229"/>
                    <a:pt x="150" y="227"/>
                    <a:pt x="151" y="226"/>
                  </a:cubicBezTo>
                  <a:cubicBezTo>
                    <a:pt x="151" y="224"/>
                    <a:pt x="151" y="222"/>
                    <a:pt x="151" y="221"/>
                  </a:cubicBezTo>
                  <a:cubicBezTo>
                    <a:pt x="151" y="220"/>
                    <a:pt x="150" y="219"/>
                    <a:pt x="150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8" y="219"/>
                    <a:pt x="147" y="219"/>
                  </a:cubicBezTo>
                  <a:cubicBezTo>
                    <a:pt x="146" y="219"/>
                    <a:pt x="146" y="219"/>
                    <a:pt x="146" y="219"/>
                  </a:cubicBezTo>
                  <a:cubicBezTo>
                    <a:pt x="145" y="217"/>
                    <a:pt x="146" y="215"/>
                    <a:pt x="146" y="213"/>
                  </a:cubicBezTo>
                  <a:cubicBezTo>
                    <a:pt x="147" y="212"/>
                    <a:pt x="146" y="212"/>
                    <a:pt x="148" y="212"/>
                  </a:cubicBezTo>
                  <a:cubicBezTo>
                    <a:pt x="149" y="211"/>
                    <a:pt x="149" y="211"/>
                    <a:pt x="150" y="210"/>
                  </a:cubicBezTo>
                  <a:cubicBezTo>
                    <a:pt x="150" y="209"/>
                    <a:pt x="152" y="209"/>
                    <a:pt x="153" y="208"/>
                  </a:cubicBezTo>
                  <a:cubicBezTo>
                    <a:pt x="152" y="207"/>
                    <a:pt x="152" y="207"/>
                    <a:pt x="152" y="206"/>
                  </a:cubicBezTo>
                  <a:cubicBezTo>
                    <a:pt x="152" y="206"/>
                    <a:pt x="152" y="205"/>
                    <a:pt x="152" y="205"/>
                  </a:cubicBezTo>
                  <a:cubicBezTo>
                    <a:pt x="152" y="204"/>
                    <a:pt x="152" y="204"/>
                    <a:pt x="151" y="204"/>
                  </a:cubicBezTo>
                  <a:cubicBezTo>
                    <a:pt x="151" y="203"/>
                    <a:pt x="152" y="203"/>
                    <a:pt x="153" y="202"/>
                  </a:cubicBezTo>
                  <a:cubicBezTo>
                    <a:pt x="154" y="199"/>
                    <a:pt x="152" y="196"/>
                    <a:pt x="154" y="194"/>
                  </a:cubicBezTo>
                  <a:cubicBezTo>
                    <a:pt x="154" y="193"/>
                    <a:pt x="155" y="193"/>
                    <a:pt x="155" y="192"/>
                  </a:cubicBezTo>
                  <a:cubicBezTo>
                    <a:pt x="156" y="191"/>
                    <a:pt x="157" y="191"/>
                    <a:pt x="157" y="190"/>
                  </a:cubicBezTo>
                  <a:cubicBezTo>
                    <a:pt x="158" y="189"/>
                    <a:pt x="158" y="190"/>
                    <a:pt x="158" y="188"/>
                  </a:cubicBezTo>
                  <a:cubicBezTo>
                    <a:pt x="158" y="187"/>
                    <a:pt x="158" y="185"/>
                    <a:pt x="158" y="184"/>
                  </a:cubicBezTo>
                  <a:cubicBezTo>
                    <a:pt x="157" y="182"/>
                    <a:pt x="157" y="179"/>
                    <a:pt x="157" y="177"/>
                  </a:cubicBezTo>
                  <a:cubicBezTo>
                    <a:pt x="156" y="176"/>
                    <a:pt x="156" y="176"/>
                    <a:pt x="156" y="175"/>
                  </a:cubicBezTo>
                  <a:cubicBezTo>
                    <a:pt x="156" y="174"/>
                    <a:pt x="156" y="173"/>
                    <a:pt x="156" y="172"/>
                  </a:cubicBezTo>
                  <a:cubicBezTo>
                    <a:pt x="156" y="171"/>
                    <a:pt x="155" y="170"/>
                    <a:pt x="155" y="169"/>
                  </a:cubicBezTo>
                  <a:cubicBezTo>
                    <a:pt x="155" y="169"/>
                    <a:pt x="155" y="169"/>
                    <a:pt x="155" y="168"/>
                  </a:cubicBezTo>
                  <a:cubicBezTo>
                    <a:pt x="154" y="167"/>
                    <a:pt x="152" y="167"/>
                    <a:pt x="151" y="165"/>
                  </a:cubicBezTo>
                  <a:cubicBezTo>
                    <a:pt x="150" y="164"/>
                    <a:pt x="151" y="162"/>
                    <a:pt x="150" y="160"/>
                  </a:cubicBezTo>
                  <a:cubicBezTo>
                    <a:pt x="150" y="158"/>
                    <a:pt x="147" y="157"/>
                    <a:pt x="146" y="156"/>
                  </a:cubicBezTo>
                  <a:cubicBezTo>
                    <a:pt x="145" y="155"/>
                    <a:pt x="145" y="155"/>
                    <a:pt x="145" y="153"/>
                  </a:cubicBezTo>
                  <a:cubicBezTo>
                    <a:pt x="145" y="153"/>
                    <a:pt x="145" y="152"/>
                    <a:pt x="145" y="151"/>
                  </a:cubicBezTo>
                  <a:cubicBezTo>
                    <a:pt x="145" y="149"/>
                    <a:pt x="146" y="146"/>
                    <a:pt x="148" y="146"/>
                  </a:cubicBezTo>
                  <a:cubicBezTo>
                    <a:pt x="150" y="146"/>
                    <a:pt x="151" y="146"/>
                    <a:pt x="153" y="146"/>
                  </a:cubicBezTo>
                  <a:cubicBezTo>
                    <a:pt x="153" y="146"/>
                    <a:pt x="153" y="145"/>
                    <a:pt x="153" y="144"/>
                  </a:cubicBezTo>
                  <a:cubicBezTo>
                    <a:pt x="153" y="141"/>
                    <a:pt x="156" y="141"/>
                    <a:pt x="158" y="141"/>
                  </a:cubicBezTo>
                  <a:cubicBezTo>
                    <a:pt x="160" y="142"/>
                    <a:pt x="162" y="143"/>
                    <a:pt x="164" y="144"/>
                  </a:cubicBezTo>
                  <a:cubicBezTo>
                    <a:pt x="165" y="145"/>
                    <a:pt x="166" y="145"/>
                    <a:pt x="167" y="145"/>
                  </a:cubicBezTo>
                  <a:cubicBezTo>
                    <a:pt x="168" y="145"/>
                    <a:pt x="170" y="145"/>
                    <a:pt x="171" y="145"/>
                  </a:cubicBezTo>
                  <a:cubicBezTo>
                    <a:pt x="172" y="145"/>
                    <a:pt x="173" y="144"/>
                    <a:pt x="174" y="144"/>
                  </a:cubicBezTo>
                  <a:cubicBezTo>
                    <a:pt x="176" y="144"/>
                    <a:pt x="175" y="144"/>
                    <a:pt x="176" y="143"/>
                  </a:cubicBezTo>
                  <a:cubicBezTo>
                    <a:pt x="177" y="142"/>
                    <a:pt x="179" y="142"/>
                    <a:pt x="180" y="142"/>
                  </a:cubicBezTo>
                  <a:cubicBezTo>
                    <a:pt x="182" y="141"/>
                    <a:pt x="185" y="139"/>
                    <a:pt x="187" y="138"/>
                  </a:cubicBezTo>
                  <a:cubicBezTo>
                    <a:pt x="188" y="138"/>
                    <a:pt x="189" y="137"/>
                    <a:pt x="189" y="136"/>
                  </a:cubicBezTo>
                  <a:cubicBezTo>
                    <a:pt x="190" y="134"/>
                    <a:pt x="189" y="134"/>
                    <a:pt x="188" y="133"/>
                  </a:cubicBezTo>
                  <a:cubicBezTo>
                    <a:pt x="188" y="132"/>
                    <a:pt x="188" y="130"/>
                    <a:pt x="188" y="129"/>
                  </a:cubicBezTo>
                  <a:cubicBezTo>
                    <a:pt x="188" y="128"/>
                    <a:pt x="188" y="127"/>
                    <a:pt x="188" y="126"/>
                  </a:cubicBezTo>
                  <a:cubicBezTo>
                    <a:pt x="188" y="126"/>
                    <a:pt x="188" y="125"/>
                    <a:pt x="189" y="124"/>
                  </a:cubicBezTo>
                  <a:cubicBezTo>
                    <a:pt x="189" y="124"/>
                    <a:pt x="189" y="124"/>
                    <a:pt x="190" y="124"/>
                  </a:cubicBezTo>
                  <a:cubicBezTo>
                    <a:pt x="190" y="123"/>
                    <a:pt x="191" y="123"/>
                    <a:pt x="191" y="122"/>
                  </a:cubicBezTo>
                  <a:cubicBezTo>
                    <a:pt x="193" y="120"/>
                    <a:pt x="195" y="119"/>
                    <a:pt x="197" y="117"/>
                  </a:cubicBezTo>
                  <a:cubicBezTo>
                    <a:pt x="198" y="116"/>
                    <a:pt x="198" y="115"/>
                    <a:pt x="199" y="114"/>
                  </a:cubicBezTo>
                  <a:cubicBezTo>
                    <a:pt x="201" y="114"/>
                    <a:pt x="202" y="113"/>
                    <a:pt x="203" y="112"/>
                  </a:cubicBezTo>
                  <a:cubicBezTo>
                    <a:pt x="205" y="110"/>
                    <a:pt x="203" y="107"/>
                    <a:pt x="204" y="105"/>
                  </a:cubicBezTo>
                  <a:cubicBezTo>
                    <a:pt x="204" y="104"/>
                    <a:pt x="205" y="104"/>
                    <a:pt x="205" y="103"/>
                  </a:cubicBezTo>
                  <a:cubicBezTo>
                    <a:pt x="206" y="102"/>
                    <a:pt x="206" y="100"/>
                    <a:pt x="206" y="99"/>
                  </a:cubicBezTo>
                  <a:cubicBezTo>
                    <a:pt x="205" y="98"/>
                    <a:pt x="205" y="98"/>
                    <a:pt x="204" y="97"/>
                  </a:cubicBezTo>
                  <a:cubicBezTo>
                    <a:pt x="204" y="97"/>
                    <a:pt x="204" y="96"/>
                    <a:pt x="204" y="96"/>
                  </a:cubicBezTo>
                  <a:cubicBezTo>
                    <a:pt x="204" y="96"/>
                    <a:pt x="204" y="95"/>
                    <a:pt x="203" y="95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199" y="93"/>
                    <a:pt x="182" y="94"/>
                    <a:pt x="185" y="85"/>
                  </a:cubicBezTo>
                  <a:cubicBezTo>
                    <a:pt x="186" y="83"/>
                    <a:pt x="185" y="83"/>
                    <a:pt x="183" y="81"/>
                  </a:cubicBezTo>
                  <a:cubicBezTo>
                    <a:pt x="183" y="81"/>
                    <a:pt x="182" y="80"/>
                    <a:pt x="182" y="80"/>
                  </a:cubicBezTo>
                  <a:cubicBezTo>
                    <a:pt x="181" y="80"/>
                    <a:pt x="180" y="78"/>
                    <a:pt x="180" y="78"/>
                  </a:cubicBezTo>
                  <a:cubicBezTo>
                    <a:pt x="179" y="77"/>
                    <a:pt x="179" y="76"/>
                    <a:pt x="180" y="76"/>
                  </a:cubicBezTo>
                  <a:cubicBezTo>
                    <a:pt x="181" y="76"/>
                    <a:pt x="182" y="74"/>
                    <a:pt x="183" y="74"/>
                  </a:cubicBezTo>
                  <a:cubicBezTo>
                    <a:pt x="184" y="74"/>
                    <a:pt x="186" y="74"/>
                    <a:pt x="187" y="74"/>
                  </a:cubicBezTo>
                  <a:cubicBezTo>
                    <a:pt x="189" y="74"/>
                    <a:pt x="191" y="74"/>
                    <a:pt x="193" y="74"/>
                  </a:cubicBezTo>
                  <a:cubicBezTo>
                    <a:pt x="194" y="73"/>
                    <a:pt x="194" y="73"/>
                    <a:pt x="195" y="72"/>
                  </a:cubicBezTo>
                  <a:cubicBezTo>
                    <a:pt x="195" y="71"/>
                    <a:pt x="195" y="71"/>
                    <a:pt x="197" y="71"/>
                  </a:cubicBezTo>
                  <a:cubicBezTo>
                    <a:pt x="198" y="71"/>
                    <a:pt x="200" y="72"/>
                    <a:pt x="201" y="71"/>
                  </a:cubicBezTo>
                  <a:cubicBezTo>
                    <a:pt x="202" y="71"/>
                    <a:pt x="203" y="69"/>
                    <a:pt x="204" y="68"/>
                  </a:cubicBezTo>
                  <a:cubicBezTo>
                    <a:pt x="205" y="67"/>
                    <a:pt x="208" y="67"/>
                    <a:pt x="209" y="65"/>
                  </a:cubicBezTo>
                  <a:cubicBezTo>
                    <a:pt x="209" y="64"/>
                    <a:pt x="208" y="64"/>
                    <a:pt x="208" y="63"/>
                  </a:cubicBezTo>
                  <a:cubicBezTo>
                    <a:pt x="206" y="60"/>
                    <a:pt x="207" y="59"/>
                    <a:pt x="209" y="57"/>
                  </a:cubicBezTo>
                  <a:cubicBezTo>
                    <a:pt x="209" y="56"/>
                    <a:pt x="210" y="56"/>
                    <a:pt x="210" y="55"/>
                  </a:cubicBezTo>
                  <a:cubicBezTo>
                    <a:pt x="212" y="54"/>
                    <a:pt x="212" y="53"/>
                    <a:pt x="213" y="51"/>
                  </a:cubicBezTo>
                  <a:cubicBezTo>
                    <a:pt x="214" y="49"/>
                    <a:pt x="214" y="47"/>
                    <a:pt x="214" y="44"/>
                  </a:cubicBezTo>
                  <a:cubicBezTo>
                    <a:pt x="214" y="42"/>
                    <a:pt x="213" y="39"/>
                    <a:pt x="214" y="37"/>
                  </a:cubicBezTo>
                  <a:cubicBezTo>
                    <a:pt x="214" y="36"/>
                    <a:pt x="214" y="36"/>
                    <a:pt x="214" y="35"/>
                  </a:cubicBezTo>
                  <a:cubicBezTo>
                    <a:pt x="215" y="33"/>
                    <a:pt x="215" y="32"/>
                    <a:pt x="215" y="31"/>
                  </a:cubicBezTo>
                  <a:cubicBezTo>
                    <a:pt x="215" y="28"/>
                    <a:pt x="215" y="25"/>
                    <a:pt x="215" y="22"/>
                  </a:cubicBezTo>
                  <a:cubicBezTo>
                    <a:pt x="215" y="20"/>
                    <a:pt x="216" y="18"/>
                    <a:pt x="216" y="16"/>
                  </a:cubicBezTo>
                  <a:cubicBezTo>
                    <a:pt x="213" y="14"/>
                    <a:pt x="213" y="14"/>
                    <a:pt x="213" y="14"/>
                  </a:cubicBezTo>
                  <a:cubicBezTo>
                    <a:pt x="212" y="14"/>
                    <a:pt x="212" y="14"/>
                    <a:pt x="211" y="14"/>
                  </a:cubicBezTo>
                  <a:cubicBezTo>
                    <a:pt x="210" y="14"/>
                    <a:pt x="209" y="14"/>
                    <a:pt x="209" y="14"/>
                  </a:cubicBezTo>
                  <a:cubicBezTo>
                    <a:pt x="208" y="13"/>
                    <a:pt x="208" y="11"/>
                    <a:pt x="207" y="10"/>
                  </a:cubicBezTo>
                  <a:lnTo>
                    <a:pt x="206" y="9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6" name="Freeform 98">
              <a:extLst>
                <a:ext uri="{FF2B5EF4-FFF2-40B4-BE49-F238E27FC236}">
                  <a16:creationId xmlns:a16="http://schemas.microsoft.com/office/drawing/2014/main" id="{96726429-DFCA-4D0B-9FE5-401731F5D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5" y="4025900"/>
              <a:ext cx="22225" cy="30163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6"/>
                </a:cxn>
                <a:cxn ang="0">
                  <a:pos x="12" y="6"/>
                </a:cxn>
                <a:cxn ang="0">
                  <a:pos x="10" y="1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4" y="5"/>
                </a:cxn>
              </a:cxnLst>
              <a:rect l="0" t="0" r="r" b="b"/>
              <a:pathLst>
                <a:path w="12" h="16">
                  <a:moveTo>
                    <a:pt x="4" y="5"/>
                  </a:moveTo>
                  <a:cubicBezTo>
                    <a:pt x="3" y="6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2" y="15"/>
                    <a:pt x="4" y="16"/>
                    <a:pt x="5" y="16"/>
                  </a:cubicBezTo>
                  <a:cubicBezTo>
                    <a:pt x="9" y="16"/>
                    <a:pt x="12" y="10"/>
                    <a:pt x="12" y="6"/>
                  </a:cubicBezTo>
                  <a:cubicBezTo>
                    <a:pt x="12" y="4"/>
                    <a:pt x="11" y="2"/>
                    <a:pt x="10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5" y="4"/>
                    <a:pt x="4" y="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7" name="Freeform 99">
              <a:extLst>
                <a:ext uri="{FF2B5EF4-FFF2-40B4-BE49-F238E27FC236}">
                  <a16:creationId xmlns:a16="http://schemas.microsoft.com/office/drawing/2014/main" id="{4310EF67-1B1D-4899-8C6A-0C27E93EF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338" y="4002088"/>
              <a:ext cx="14288" cy="127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4" y="6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8" y="1"/>
                </a:cxn>
                <a:cxn ang="0">
                  <a:pos x="7" y="0"/>
                </a:cxn>
              </a:cxnLst>
              <a:rect l="0" t="0" r="r" b="b"/>
              <a:pathLst>
                <a:path w="8" h="7">
                  <a:moveTo>
                    <a:pt x="7" y="0"/>
                  </a:moveTo>
                  <a:cubicBezTo>
                    <a:pt x="6" y="1"/>
                    <a:pt x="4" y="1"/>
                    <a:pt x="3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1" y="5"/>
                    <a:pt x="0" y="7"/>
                    <a:pt x="2" y="7"/>
                  </a:cubicBezTo>
                  <a:cubicBezTo>
                    <a:pt x="2" y="7"/>
                    <a:pt x="3" y="6"/>
                    <a:pt x="4" y="6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6" y="4"/>
                    <a:pt x="7" y="4"/>
                    <a:pt x="7" y="3"/>
                  </a:cubicBezTo>
                  <a:cubicBezTo>
                    <a:pt x="7" y="3"/>
                    <a:pt x="7" y="3"/>
                    <a:pt x="8" y="2"/>
                  </a:cubicBezTo>
                  <a:cubicBezTo>
                    <a:pt x="8" y="2"/>
                    <a:pt x="8" y="2"/>
                    <a:pt x="8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8" name="Freeform 100">
              <a:extLst>
                <a:ext uri="{FF2B5EF4-FFF2-40B4-BE49-F238E27FC236}">
                  <a16:creationId xmlns:a16="http://schemas.microsoft.com/office/drawing/2014/main" id="{2743100F-A5C2-4DEF-A3A7-9E64F8D38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150" y="3984625"/>
              <a:ext cx="26988" cy="14288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9" y="1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1" y="6"/>
                </a:cxn>
                <a:cxn ang="0">
                  <a:pos x="6" y="6"/>
                </a:cxn>
                <a:cxn ang="0">
                  <a:pos x="12" y="3"/>
                </a:cxn>
                <a:cxn ang="0">
                  <a:pos x="13" y="1"/>
                </a:cxn>
                <a:cxn ang="0">
                  <a:pos x="11" y="1"/>
                </a:cxn>
                <a:cxn ang="0">
                  <a:pos x="10" y="1"/>
                </a:cxn>
              </a:cxnLst>
              <a:rect l="0" t="0" r="r" b="b"/>
              <a:pathLst>
                <a:path w="14" h="7">
                  <a:moveTo>
                    <a:pt x="10" y="1"/>
                  </a:moveTo>
                  <a:cubicBezTo>
                    <a:pt x="10" y="1"/>
                    <a:pt x="9" y="1"/>
                    <a:pt x="9" y="1"/>
                  </a:cubicBezTo>
                  <a:cubicBezTo>
                    <a:pt x="8" y="2"/>
                    <a:pt x="6" y="2"/>
                    <a:pt x="5" y="2"/>
                  </a:cubicBezTo>
                  <a:cubicBezTo>
                    <a:pt x="4" y="3"/>
                    <a:pt x="3" y="3"/>
                    <a:pt x="2" y="4"/>
                  </a:cubicBezTo>
                  <a:cubicBezTo>
                    <a:pt x="1" y="5"/>
                    <a:pt x="0" y="6"/>
                    <a:pt x="1" y="6"/>
                  </a:cubicBezTo>
                  <a:cubicBezTo>
                    <a:pt x="3" y="7"/>
                    <a:pt x="4" y="7"/>
                    <a:pt x="6" y="6"/>
                  </a:cubicBezTo>
                  <a:cubicBezTo>
                    <a:pt x="8" y="6"/>
                    <a:pt x="10" y="5"/>
                    <a:pt x="12" y="3"/>
                  </a:cubicBezTo>
                  <a:cubicBezTo>
                    <a:pt x="12" y="3"/>
                    <a:pt x="14" y="2"/>
                    <a:pt x="13" y="1"/>
                  </a:cubicBezTo>
                  <a:cubicBezTo>
                    <a:pt x="13" y="0"/>
                    <a:pt x="12" y="1"/>
                    <a:pt x="11" y="1"/>
                  </a:cubicBezTo>
                  <a:lnTo>
                    <a:pt x="10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9" name="Freeform 101">
              <a:extLst>
                <a:ext uri="{FF2B5EF4-FFF2-40B4-BE49-F238E27FC236}">
                  <a16:creationId xmlns:a16="http://schemas.microsoft.com/office/drawing/2014/main" id="{82089BA5-AEDE-4AC4-93A9-BAED6B3E4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6538" y="3973513"/>
              <a:ext cx="28575" cy="7938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4" y="4"/>
                </a:cxn>
                <a:cxn ang="0">
                  <a:pos x="11" y="3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5" y="1"/>
                </a:cxn>
                <a:cxn ang="0">
                  <a:pos x="9" y="1"/>
                </a:cxn>
              </a:cxnLst>
              <a:rect l="0" t="0" r="r" b="b"/>
              <a:pathLst>
                <a:path w="15" h="4">
                  <a:moveTo>
                    <a:pt x="9" y="1"/>
                  </a:moveTo>
                  <a:cubicBezTo>
                    <a:pt x="6" y="1"/>
                    <a:pt x="3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7" y="4"/>
                    <a:pt x="9" y="4"/>
                    <a:pt x="11" y="3"/>
                  </a:cubicBezTo>
                  <a:cubicBezTo>
                    <a:pt x="12" y="3"/>
                    <a:pt x="15" y="2"/>
                    <a:pt x="14" y="1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1"/>
                    <a:pt x="6" y="1"/>
                    <a:pt x="5" y="1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0" name="Freeform 102">
              <a:extLst>
                <a:ext uri="{FF2B5EF4-FFF2-40B4-BE49-F238E27FC236}">
                  <a16:creationId xmlns:a16="http://schemas.microsoft.com/office/drawing/2014/main" id="{CEE6EAB3-CA5C-40ED-9162-695C9A77F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750" y="3968750"/>
              <a:ext cx="20638" cy="4763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9" y="0"/>
                </a:cxn>
                <a:cxn ang="0">
                  <a:pos x="5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9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9" y="1"/>
                </a:cxn>
              </a:cxnLst>
              <a:rect l="0" t="0" r="r" b="b"/>
              <a:pathLst>
                <a:path w="11" h="3">
                  <a:moveTo>
                    <a:pt x="9" y="1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2"/>
                    <a:pt x="4" y="3"/>
                    <a:pt x="5" y="3"/>
                  </a:cubicBezTo>
                  <a:cubicBezTo>
                    <a:pt x="6" y="3"/>
                    <a:pt x="7" y="3"/>
                    <a:pt x="9" y="3"/>
                  </a:cubicBezTo>
                  <a:cubicBezTo>
                    <a:pt x="9" y="3"/>
                    <a:pt x="10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1" name="Freeform 103">
              <a:extLst>
                <a:ext uri="{FF2B5EF4-FFF2-40B4-BE49-F238E27FC236}">
                  <a16:creationId xmlns:a16="http://schemas.microsoft.com/office/drawing/2014/main" id="{D50B5053-6A71-4FE8-8817-695F6DA74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5" y="2338388"/>
              <a:ext cx="114300" cy="109538"/>
            </a:xfrm>
            <a:custGeom>
              <a:avLst/>
              <a:gdLst/>
              <a:ahLst/>
              <a:cxnLst>
                <a:cxn ang="0">
                  <a:pos x="50" y="10"/>
                </a:cxn>
                <a:cxn ang="0">
                  <a:pos x="48" y="3"/>
                </a:cxn>
                <a:cxn ang="0">
                  <a:pos x="43" y="2"/>
                </a:cxn>
                <a:cxn ang="0">
                  <a:pos x="42" y="6"/>
                </a:cxn>
                <a:cxn ang="0">
                  <a:pos x="39" y="13"/>
                </a:cxn>
                <a:cxn ang="0">
                  <a:pos x="38" y="17"/>
                </a:cxn>
                <a:cxn ang="0">
                  <a:pos x="35" y="14"/>
                </a:cxn>
                <a:cxn ang="0">
                  <a:pos x="31" y="8"/>
                </a:cxn>
                <a:cxn ang="0">
                  <a:pos x="32" y="19"/>
                </a:cxn>
                <a:cxn ang="0">
                  <a:pos x="24" y="14"/>
                </a:cxn>
                <a:cxn ang="0">
                  <a:pos x="20" y="18"/>
                </a:cxn>
                <a:cxn ang="0">
                  <a:pos x="13" y="18"/>
                </a:cxn>
                <a:cxn ang="0">
                  <a:pos x="10" y="24"/>
                </a:cxn>
                <a:cxn ang="0">
                  <a:pos x="6" y="19"/>
                </a:cxn>
                <a:cxn ang="0">
                  <a:pos x="7" y="31"/>
                </a:cxn>
                <a:cxn ang="0">
                  <a:pos x="4" y="33"/>
                </a:cxn>
                <a:cxn ang="0">
                  <a:pos x="0" y="38"/>
                </a:cxn>
                <a:cxn ang="0">
                  <a:pos x="2" y="43"/>
                </a:cxn>
                <a:cxn ang="0">
                  <a:pos x="4" y="47"/>
                </a:cxn>
                <a:cxn ang="0">
                  <a:pos x="7" y="47"/>
                </a:cxn>
                <a:cxn ang="0">
                  <a:pos x="12" y="50"/>
                </a:cxn>
                <a:cxn ang="0">
                  <a:pos x="21" y="50"/>
                </a:cxn>
                <a:cxn ang="0">
                  <a:pos x="23" y="52"/>
                </a:cxn>
                <a:cxn ang="0">
                  <a:pos x="31" y="54"/>
                </a:cxn>
                <a:cxn ang="0">
                  <a:pos x="33" y="58"/>
                </a:cxn>
                <a:cxn ang="0">
                  <a:pos x="42" y="54"/>
                </a:cxn>
                <a:cxn ang="0">
                  <a:pos x="34" y="50"/>
                </a:cxn>
                <a:cxn ang="0">
                  <a:pos x="40" y="45"/>
                </a:cxn>
                <a:cxn ang="0">
                  <a:pos x="39" y="37"/>
                </a:cxn>
                <a:cxn ang="0">
                  <a:pos x="40" y="34"/>
                </a:cxn>
                <a:cxn ang="0">
                  <a:pos x="44" y="34"/>
                </a:cxn>
                <a:cxn ang="0">
                  <a:pos x="45" y="33"/>
                </a:cxn>
                <a:cxn ang="0">
                  <a:pos x="49" y="33"/>
                </a:cxn>
                <a:cxn ang="0">
                  <a:pos x="61" y="30"/>
                </a:cxn>
                <a:cxn ang="0">
                  <a:pos x="55" y="18"/>
                </a:cxn>
                <a:cxn ang="0">
                  <a:pos x="57" y="11"/>
                </a:cxn>
                <a:cxn ang="0">
                  <a:pos x="52" y="10"/>
                </a:cxn>
                <a:cxn ang="0">
                  <a:pos x="52" y="9"/>
                </a:cxn>
                <a:cxn ang="0">
                  <a:pos x="50" y="10"/>
                </a:cxn>
              </a:cxnLst>
              <a:rect l="0" t="0" r="r" b="b"/>
              <a:pathLst>
                <a:path w="61" h="59">
                  <a:moveTo>
                    <a:pt x="50" y="10"/>
                  </a:moveTo>
                  <a:cubicBezTo>
                    <a:pt x="50" y="7"/>
                    <a:pt x="50" y="5"/>
                    <a:pt x="48" y="3"/>
                  </a:cubicBezTo>
                  <a:cubicBezTo>
                    <a:pt x="47" y="2"/>
                    <a:pt x="45" y="0"/>
                    <a:pt x="43" y="2"/>
                  </a:cubicBezTo>
                  <a:cubicBezTo>
                    <a:pt x="43" y="2"/>
                    <a:pt x="43" y="5"/>
                    <a:pt x="42" y="6"/>
                  </a:cubicBezTo>
                  <a:cubicBezTo>
                    <a:pt x="41" y="8"/>
                    <a:pt x="39" y="10"/>
                    <a:pt x="39" y="13"/>
                  </a:cubicBezTo>
                  <a:cubicBezTo>
                    <a:pt x="37" y="13"/>
                    <a:pt x="36" y="16"/>
                    <a:pt x="38" y="17"/>
                  </a:cubicBezTo>
                  <a:cubicBezTo>
                    <a:pt x="41" y="15"/>
                    <a:pt x="35" y="9"/>
                    <a:pt x="35" y="14"/>
                  </a:cubicBezTo>
                  <a:cubicBezTo>
                    <a:pt x="35" y="11"/>
                    <a:pt x="33" y="9"/>
                    <a:pt x="31" y="8"/>
                  </a:cubicBezTo>
                  <a:cubicBezTo>
                    <a:pt x="29" y="11"/>
                    <a:pt x="33" y="16"/>
                    <a:pt x="32" y="19"/>
                  </a:cubicBezTo>
                  <a:cubicBezTo>
                    <a:pt x="29" y="19"/>
                    <a:pt x="27" y="14"/>
                    <a:pt x="24" y="14"/>
                  </a:cubicBezTo>
                  <a:cubicBezTo>
                    <a:pt x="21" y="14"/>
                    <a:pt x="20" y="15"/>
                    <a:pt x="20" y="18"/>
                  </a:cubicBezTo>
                  <a:cubicBezTo>
                    <a:pt x="18" y="19"/>
                    <a:pt x="15" y="18"/>
                    <a:pt x="13" y="18"/>
                  </a:cubicBezTo>
                  <a:cubicBezTo>
                    <a:pt x="13" y="19"/>
                    <a:pt x="12" y="24"/>
                    <a:pt x="10" y="24"/>
                  </a:cubicBezTo>
                  <a:cubicBezTo>
                    <a:pt x="9" y="22"/>
                    <a:pt x="8" y="19"/>
                    <a:pt x="6" y="19"/>
                  </a:cubicBezTo>
                  <a:cubicBezTo>
                    <a:pt x="5" y="23"/>
                    <a:pt x="8" y="27"/>
                    <a:pt x="7" y="31"/>
                  </a:cubicBezTo>
                  <a:cubicBezTo>
                    <a:pt x="5" y="31"/>
                    <a:pt x="5" y="32"/>
                    <a:pt x="4" y="33"/>
                  </a:cubicBezTo>
                  <a:cubicBezTo>
                    <a:pt x="2" y="35"/>
                    <a:pt x="0" y="36"/>
                    <a:pt x="0" y="38"/>
                  </a:cubicBezTo>
                  <a:cubicBezTo>
                    <a:pt x="0" y="41"/>
                    <a:pt x="1" y="41"/>
                    <a:pt x="2" y="43"/>
                  </a:cubicBezTo>
                  <a:cubicBezTo>
                    <a:pt x="3" y="44"/>
                    <a:pt x="3" y="46"/>
                    <a:pt x="4" y="47"/>
                  </a:cubicBezTo>
                  <a:cubicBezTo>
                    <a:pt x="5" y="48"/>
                    <a:pt x="6" y="47"/>
                    <a:pt x="7" y="47"/>
                  </a:cubicBezTo>
                  <a:cubicBezTo>
                    <a:pt x="10" y="48"/>
                    <a:pt x="8" y="50"/>
                    <a:pt x="12" y="50"/>
                  </a:cubicBezTo>
                  <a:cubicBezTo>
                    <a:pt x="14" y="50"/>
                    <a:pt x="19" y="49"/>
                    <a:pt x="21" y="50"/>
                  </a:cubicBezTo>
                  <a:cubicBezTo>
                    <a:pt x="22" y="50"/>
                    <a:pt x="22" y="52"/>
                    <a:pt x="23" y="52"/>
                  </a:cubicBezTo>
                  <a:cubicBezTo>
                    <a:pt x="25" y="53"/>
                    <a:pt x="29" y="52"/>
                    <a:pt x="31" y="54"/>
                  </a:cubicBezTo>
                  <a:cubicBezTo>
                    <a:pt x="32" y="54"/>
                    <a:pt x="33" y="56"/>
                    <a:pt x="33" y="58"/>
                  </a:cubicBezTo>
                  <a:cubicBezTo>
                    <a:pt x="36" y="59"/>
                    <a:pt x="40" y="56"/>
                    <a:pt x="42" y="54"/>
                  </a:cubicBezTo>
                  <a:cubicBezTo>
                    <a:pt x="39" y="54"/>
                    <a:pt x="36" y="51"/>
                    <a:pt x="34" y="50"/>
                  </a:cubicBezTo>
                  <a:cubicBezTo>
                    <a:pt x="36" y="49"/>
                    <a:pt x="39" y="48"/>
                    <a:pt x="40" y="45"/>
                  </a:cubicBezTo>
                  <a:cubicBezTo>
                    <a:pt x="47" y="45"/>
                    <a:pt x="39" y="40"/>
                    <a:pt x="39" y="37"/>
                  </a:cubicBezTo>
                  <a:cubicBezTo>
                    <a:pt x="39" y="36"/>
                    <a:pt x="40" y="34"/>
                    <a:pt x="40" y="34"/>
                  </a:cubicBezTo>
                  <a:cubicBezTo>
                    <a:pt x="42" y="33"/>
                    <a:pt x="42" y="34"/>
                    <a:pt x="44" y="34"/>
                  </a:cubicBezTo>
                  <a:cubicBezTo>
                    <a:pt x="45" y="34"/>
                    <a:pt x="45" y="33"/>
                    <a:pt x="45" y="33"/>
                  </a:cubicBezTo>
                  <a:cubicBezTo>
                    <a:pt x="46" y="32"/>
                    <a:pt x="47" y="33"/>
                    <a:pt x="49" y="33"/>
                  </a:cubicBezTo>
                  <a:cubicBezTo>
                    <a:pt x="52" y="33"/>
                    <a:pt x="61" y="35"/>
                    <a:pt x="61" y="30"/>
                  </a:cubicBezTo>
                  <a:cubicBezTo>
                    <a:pt x="60" y="25"/>
                    <a:pt x="55" y="23"/>
                    <a:pt x="55" y="18"/>
                  </a:cubicBezTo>
                  <a:cubicBezTo>
                    <a:pt x="55" y="15"/>
                    <a:pt x="57" y="13"/>
                    <a:pt x="57" y="11"/>
                  </a:cubicBezTo>
                  <a:cubicBezTo>
                    <a:pt x="55" y="10"/>
                    <a:pt x="54" y="11"/>
                    <a:pt x="52" y="10"/>
                  </a:cubicBezTo>
                  <a:cubicBezTo>
                    <a:pt x="52" y="10"/>
                    <a:pt x="52" y="9"/>
                    <a:pt x="52" y="9"/>
                  </a:cubicBezTo>
                  <a:lnTo>
                    <a:pt x="50" y="1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2" name="Freeform 104">
              <a:extLst>
                <a:ext uri="{FF2B5EF4-FFF2-40B4-BE49-F238E27FC236}">
                  <a16:creationId xmlns:a16="http://schemas.microsoft.com/office/drawing/2014/main" id="{C19013CF-7C41-46A6-9EB6-BC6F9C236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9388" y="2454275"/>
              <a:ext cx="31750" cy="31750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6" y="2"/>
                </a:cxn>
                <a:cxn ang="0">
                  <a:pos x="1" y="5"/>
                </a:cxn>
                <a:cxn ang="0">
                  <a:pos x="4" y="10"/>
                </a:cxn>
                <a:cxn ang="0">
                  <a:pos x="6" y="13"/>
                </a:cxn>
                <a:cxn ang="0">
                  <a:pos x="16" y="17"/>
                </a:cxn>
                <a:cxn ang="0">
                  <a:pos x="16" y="10"/>
                </a:cxn>
                <a:cxn ang="0">
                  <a:pos x="13" y="6"/>
                </a:cxn>
              </a:cxnLst>
              <a:rect l="0" t="0" r="r" b="b"/>
              <a:pathLst>
                <a:path w="17" h="17">
                  <a:moveTo>
                    <a:pt x="13" y="6"/>
                  </a:moveTo>
                  <a:cubicBezTo>
                    <a:pt x="10" y="6"/>
                    <a:pt x="8" y="3"/>
                    <a:pt x="6" y="2"/>
                  </a:cubicBezTo>
                  <a:cubicBezTo>
                    <a:pt x="3" y="0"/>
                    <a:pt x="0" y="0"/>
                    <a:pt x="1" y="5"/>
                  </a:cubicBezTo>
                  <a:cubicBezTo>
                    <a:pt x="1" y="8"/>
                    <a:pt x="2" y="7"/>
                    <a:pt x="4" y="10"/>
                  </a:cubicBezTo>
                  <a:cubicBezTo>
                    <a:pt x="5" y="11"/>
                    <a:pt x="5" y="12"/>
                    <a:pt x="6" y="13"/>
                  </a:cubicBezTo>
                  <a:cubicBezTo>
                    <a:pt x="7" y="15"/>
                    <a:pt x="14" y="17"/>
                    <a:pt x="16" y="17"/>
                  </a:cubicBezTo>
                  <a:cubicBezTo>
                    <a:pt x="16" y="15"/>
                    <a:pt x="17" y="12"/>
                    <a:pt x="16" y="10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3" name="Freeform 105">
              <a:extLst>
                <a:ext uri="{FF2B5EF4-FFF2-40B4-BE49-F238E27FC236}">
                  <a16:creationId xmlns:a16="http://schemas.microsoft.com/office/drawing/2014/main" id="{18A19221-1E2D-4CF6-92FD-2EDE4DC6E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8575" cy="50800"/>
            </a:xfrm>
            <a:custGeom>
              <a:avLst/>
              <a:gdLst/>
              <a:ahLst/>
              <a:cxnLst>
                <a:cxn ang="0">
                  <a:pos x="11" y="4"/>
                </a:cxn>
                <a:cxn ang="0">
                  <a:pos x="2" y="2"/>
                </a:cxn>
                <a:cxn ang="0">
                  <a:pos x="2" y="9"/>
                </a:cxn>
                <a:cxn ang="0">
                  <a:pos x="9" y="16"/>
                </a:cxn>
                <a:cxn ang="0">
                  <a:pos x="7" y="21"/>
                </a:cxn>
                <a:cxn ang="0">
                  <a:pos x="9" y="26"/>
                </a:cxn>
                <a:cxn ang="0">
                  <a:pos x="12" y="27"/>
                </a:cxn>
                <a:cxn ang="0">
                  <a:pos x="12" y="16"/>
                </a:cxn>
                <a:cxn ang="0">
                  <a:pos x="13" y="10"/>
                </a:cxn>
                <a:cxn ang="0">
                  <a:pos x="11" y="4"/>
                </a:cxn>
              </a:cxnLst>
              <a:rect l="0" t="0" r="r" b="b"/>
              <a:pathLst>
                <a:path w="15" h="27">
                  <a:moveTo>
                    <a:pt x="11" y="4"/>
                  </a:moveTo>
                  <a:cubicBezTo>
                    <a:pt x="9" y="3"/>
                    <a:pt x="3" y="0"/>
                    <a:pt x="2" y="2"/>
                  </a:cubicBezTo>
                  <a:cubicBezTo>
                    <a:pt x="0" y="3"/>
                    <a:pt x="1" y="7"/>
                    <a:pt x="2" y="9"/>
                  </a:cubicBezTo>
                  <a:cubicBezTo>
                    <a:pt x="3" y="12"/>
                    <a:pt x="8" y="13"/>
                    <a:pt x="9" y="16"/>
                  </a:cubicBezTo>
                  <a:cubicBezTo>
                    <a:pt x="9" y="18"/>
                    <a:pt x="8" y="19"/>
                    <a:pt x="7" y="21"/>
                  </a:cubicBezTo>
                  <a:cubicBezTo>
                    <a:pt x="7" y="22"/>
                    <a:pt x="7" y="25"/>
                    <a:pt x="9" y="26"/>
                  </a:cubicBezTo>
                  <a:cubicBezTo>
                    <a:pt x="9" y="26"/>
                    <a:pt x="12" y="27"/>
                    <a:pt x="12" y="27"/>
                  </a:cubicBezTo>
                  <a:cubicBezTo>
                    <a:pt x="15" y="26"/>
                    <a:pt x="13" y="18"/>
                    <a:pt x="12" y="16"/>
                  </a:cubicBezTo>
                  <a:cubicBezTo>
                    <a:pt x="12" y="15"/>
                    <a:pt x="12" y="12"/>
                    <a:pt x="13" y="10"/>
                  </a:cubicBezTo>
                  <a:lnTo>
                    <a:pt x="11" y="4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4" name="Freeform 106">
              <a:extLst>
                <a:ext uri="{FF2B5EF4-FFF2-40B4-BE49-F238E27FC236}">
                  <a16:creationId xmlns:a16="http://schemas.microsoft.com/office/drawing/2014/main" id="{6204FB36-98AA-4882-B05E-202FEE56E3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4188" y="3221038"/>
              <a:ext cx="300038" cy="554038"/>
            </a:xfrm>
            <a:custGeom>
              <a:avLst/>
              <a:gdLst/>
              <a:ahLst/>
              <a:cxnLst>
                <a:cxn ang="0">
                  <a:pos x="92" y="72"/>
                </a:cxn>
                <a:cxn ang="0">
                  <a:pos x="75" y="76"/>
                </a:cxn>
                <a:cxn ang="0">
                  <a:pos x="65" y="79"/>
                </a:cxn>
                <a:cxn ang="0">
                  <a:pos x="62" y="97"/>
                </a:cxn>
                <a:cxn ang="0">
                  <a:pos x="69" y="109"/>
                </a:cxn>
                <a:cxn ang="0">
                  <a:pos x="60" y="103"/>
                </a:cxn>
                <a:cxn ang="0">
                  <a:pos x="45" y="81"/>
                </a:cxn>
                <a:cxn ang="0">
                  <a:pos x="58" y="74"/>
                </a:cxn>
                <a:cxn ang="0">
                  <a:pos x="80" y="70"/>
                </a:cxn>
                <a:cxn ang="0">
                  <a:pos x="99" y="67"/>
                </a:cxn>
                <a:cxn ang="0">
                  <a:pos x="152" y="264"/>
                </a:cxn>
                <a:cxn ang="0">
                  <a:pos x="145" y="261"/>
                </a:cxn>
                <a:cxn ang="0">
                  <a:pos x="151" y="239"/>
                </a:cxn>
                <a:cxn ang="0">
                  <a:pos x="142" y="225"/>
                </a:cxn>
                <a:cxn ang="0">
                  <a:pos x="148" y="222"/>
                </a:cxn>
                <a:cxn ang="0">
                  <a:pos x="128" y="207"/>
                </a:cxn>
                <a:cxn ang="0">
                  <a:pos x="96" y="204"/>
                </a:cxn>
                <a:cxn ang="0">
                  <a:pos x="100" y="187"/>
                </a:cxn>
                <a:cxn ang="0">
                  <a:pos x="118" y="185"/>
                </a:cxn>
                <a:cxn ang="0">
                  <a:pos x="120" y="164"/>
                </a:cxn>
                <a:cxn ang="0">
                  <a:pos x="136" y="155"/>
                </a:cxn>
                <a:cxn ang="0">
                  <a:pos x="149" y="152"/>
                </a:cxn>
                <a:cxn ang="0">
                  <a:pos x="158" y="131"/>
                </a:cxn>
                <a:cxn ang="0">
                  <a:pos x="125" y="109"/>
                </a:cxn>
                <a:cxn ang="0">
                  <a:pos x="122" y="92"/>
                </a:cxn>
                <a:cxn ang="0">
                  <a:pos x="129" y="66"/>
                </a:cxn>
                <a:cxn ang="0">
                  <a:pos x="139" y="50"/>
                </a:cxn>
                <a:cxn ang="0">
                  <a:pos x="136" y="26"/>
                </a:cxn>
                <a:cxn ang="0">
                  <a:pos x="140" y="2"/>
                </a:cxn>
                <a:cxn ang="0">
                  <a:pos x="108" y="16"/>
                </a:cxn>
                <a:cxn ang="0">
                  <a:pos x="87" y="45"/>
                </a:cxn>
                <a:cxn ang="0">
                  <a:pos x="55" y="58"/>
                </a:cxn>
                <a:cxn ang="0">
                  <a:pos x="24" y="72"/>
                </a:cxn>
                <a:cxn ang="0">
                  <a:pos x="19" y="105"/>
                </a:cxn>
                <a:cxn ang="0">
                  <a:pos x="31" y="104"/>
                </a:cxn>
                <a:cxn ang="0">
                  <a:pos x="39" y="106"/>
                </a:cxn>
                <a:cxn ang="0">
                  <a:pos x="38" y="124"/>
                </a:cxn>
                <a:cxn ang="0">
                  <a:pos x="21" y="118"/>
                </a:cxn>
                <a:cxn ang="0">
                  <a:pos x="5" y="120"/>
                </a:cxn>
                <a:cxn ang="0">
                  <a:pos x="6" y="160"/>
                </a:cxn>
                <a:cxn ang="0">
                  <a:pos x="15" y="167"/>
                </a:cxn>
                <a:cxn ang="0">
                  <a:pos x="12" y="177"/>
                </a:cxn>
                <a:cxn ang="0">
                  <a:pos x="5" y="207"/>
                </a:cxn>
                <a:cxn ang="0">
                  <a:pos x="13" y="227"/>
                </a:cxn>
                <a:cxn ang="0">
                  <a:pos x="22" y="223"/>
                </a:cxn>
                <a:cxn ang="0">
                  <a:pos x="28" y="224"/>
                </a:cxn>
                <a:cxn ang="0">
                  <a:pos x="34" y="240"/>
                </a:cxn>
                <a:cxn ang="0">
                  <a:pos x="32" y="261"/>
                </a:cxn>
                <a:cxn ang="0">
                  <a:pos x="49" y="272"/>
                </a:cxn>
                <a:cxn ang="0">
                  <a:pos x="63" y="274"/>
                </a:cxn>
                <a:cxn ang="0">
                  <a:pos x="72" y="279"/>
                </a:cxn>
                <a:cxn ang="0">
                  <a:pos x="86" y="277"/>
                </a:cxn>
                <a:cxn ang="0">
                  <a:pos x="105" y="281"/>
                </a:cxn>
                <a:cxn ang="0">
                  <a:pos x="102" y="259"/>
                </a:cxn>
                <a:cxn ang="0">
                  <a:pos x="88" y="264"/>
                </a:cxn>
                <a:cxn ang="0">
                  <a:pos x="90" y="246"/>
                </a:cxn>
                <a:cxn ang="0">
                  <a:pos x="104" y="244"/>
                </a:cxn>
                <a:cxn ang="0">
                  <a:pos x="120" y="257"/>
                </a:cxn>
                <a:cxn ang="0">
                  <a:pos x="138" y="275"/>
                </a:cxn>
                <a:cxn ang="0">
                  <a:pos x="149" y="288"/>
                </a:cxn>
                <a:cxn ang="0">
                  <a:pos x="155" y="271"/>
                </a:cxn>
              </a:cxnLst>
              <a:rect l="0" t="0" r="r" b="b"/>
              <a:pathLst>
                <a:path w="161" h="297">
                  <a:moveTo>
                    <a:pt x="35" y="281"/>
                  </a:moveTo>
                  <a:cubicBezTo>
                    <a:pt x="35" y="281"/>
                    <a:pt x="35" y="281"/>
                    <a:pt x="36" y="281"/>
                  </a:cubicBezTo>
                  <a:cubicBezTo>
                    <a:pt x="36" y="281"/>
                    <a:pt x="36" y="281"/>
                    <a:pt x="36" y="280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80"/>
                    <a:pt x="35" y="281"/>
                    <a:pt x="35" y="281"/>
                  </a:cubicBezTo>
                  <a:moveTo>
                    <a:pt x="92" y="72"/>
                  </a:moveTo>
                  <a:cubicBezTo>
                    <a:pt x="90" y="72"/>
                    <a:pt x="90" y="72"/>
                    <a:pt x="89" y="74"/>
                  </a:cubicBezTo>
                  <a:cubicBezTo>
                    <a:pt x="88" y="75"/>
                    <a:pt x="88" y="76"/>
                    <a:pt x="87" y="77"/>
                  </a:cubicBezTo>
                  <a:cubicBezTo>
                    <a:pt x="86" y="77"/>
                    <a:pt x="85" y="77"/>
                    <a:pt x="85" y="77"/>
                  </a:cubicBezTo>
                  <a:cubicBezTo>
                    <a:pt x="84" y="77"/>
                    <a:pt x="84" y="78"/>
                    <a:pt x="83" y="78"/>
                  </a:cubicBezTo>
                  <a:cubicBezTo>
                    <a:pt x="81" y="78"/>
                    <a:pt x="80" y="78"/>
                    <a:pt x="79" y="77"/>
                  </a:cubicBezTo>
                  <a:cubicBezTo>
                    <a:pt x="77" y="76"/>
                    <a:pt x="77" y="76"/>
                    <a:pt x="75" y="76"/>
                  </a:cubicBezTo>
                  <a:cubicBezTo>
                    <a:pt x="73" y="76"/>
                    <a:pt x="72" y="78"/>
                    <a:pt x="71" y="78"/>
                  </a:cubicBezTo>
                  <a:cubicBezTo>
                    <a:pt x="69" y="78"/>
                    <a:pt x="69" y="78"/>
                    <a:pt x="68" y="79"/>
                  </a:cubicBezTo>
                  <a:cubicBezTo>
                    <a:pt x="67" y="79"/>
                    <a:pt x="67" y="79"/>
                    <a:pt x="66" y="79"/>
                  </a:cubicBezTo>
                  <a:cubicBezTo>
                    <a:pt x="66" y="80"/>
                    <a:pt x="67" y="81"/>
                    <a:pt x="65" y="80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6" y="77"/>
                    <a:pt x="66" y="78"/>
                    <a:pt x="65" y="79"/>
                  </a:cubicBezTo>
                  <a:cubicBezTo>
                    <a:pt x="64" y="80"/>
                    <a:pt x="62" y="81"/>
                    <a:pt x="61" y="82"/>
                  </a:cubicBezTo>
                  <a:cubicBezTo>
                    <a:pt x="61" y="83"/>
                    <a:pt x="61" y="84"/>
                    <a:pt x="61" y="84"/>
                  </a:cubicBezTo>
                  <a:cubicBezTo>
                    <a:pt x="61" y="85"/>
                    <a:pt x="60" y="85"/>
                    <a:pt x="60" y="85"/>
                  </a:cubicBezTo>
                  <a:cubicBezTo>
                    <a:pt x="60" y="88"/>
                    <a:pt x="64" y="88"/>
                    <a:pt x="63" y="91"/>
                  </a:cubicBezTo>
                  <a:cubicBezTo>
                    <a:pt x="62" y="92"/>
                    <a:pt x="62" y="93"/>
                    <a:pt x="62" y="94"/>
                  </a:cubicBezTo>
                  <a:cubicBezTo>
                    <a:pt x="61" y="95"/>
                    <a:pt x="62" y="96"/>
                    <a:pt x="62" y="97"/>
                  </a:cubicBezTo>
                  <a:cubicBezTo>
                    <a:pt x="62" y="98"/>
                    <a:pt x="62" y="99"/>
                    <a:pt x="62" y="100"/>
                  </a:cubicBezTo>
                  <a:cubicBezTo>
                    <a:pt x="62" y="101"/>
                    <a:pt x="63" y="101"/>
                    <a:pt x="63" y="102"/>
                  </a:cubicBezTo>
                  <a:cubicBezTo>
                    <a:pt x="63" y="102"/>
                    <a:pt x="63" y="103"/>
                    <a:pt x="63" y="104"/>
                  </a:cubicBezTo>
                  <a:cubicBezTo>
                    <a:pt x="64" y="104"/>
                    <a:pt x="65" y="104"/>
                    <a:pt x="66" y="104"/>
                  </a:cubicBezTo>
                  <a:cubicBezTo>
                    <a:pt x="67" y="104"/>
                    <a:pt x="67" y="104"/>
                    <a:pt x="68" y="104"/>
                  </a:cubicBezTo>
                  <a:cubicBezTo>
                    <a:pt x="69" y="105"/>
                    <a:pt x="70" y="108"/>
                    <a:pt x="69" y="109"/>
                  </a:cubicBezTo>
                  <a:cubicBezTo>
                    <a:pt x="69" y="110"/>
                    <a:pt x="66" y="111"/>
                    <a:pt x="65" y="111"/>
                  </a:cubicBezTo>
                  <a:cubicBezTo>
                    <a:pt x="62" y="111"/>
                    <a:pt x="60" y="110"/>
                    <a:pt x="57" y="110"/>
                  </a:cubicBezTo>
                  <a:cubicBezTo>
                    <a:pt x="54" y="109"/>
                    <a:pt x="55" y="112"/>
                    <a:pt x="54" y="115"/>
                  </a:cubicBezTo>
                  <a:cubicBezTo>
                    <a:pt x="53" y="113"/>
                    <a:pt x="54" y="110"/>
                    <a:pt x="55" y="108"/>
                  </a:cubicBezTo>
                  <a:cubicBezTo>
                    <a:pt x="55" y="107"/>
                    <a:pt x="58" y="107"/>
                    <a:pt x="58" y="107"/>
                  </a:cubicBezTo>
                  <a:cubicBezTo>
                    <a:pt x="58" y="106"/>
                    <a:pt x="60" y="103"/>
                    <a:pt x="60" y="103"/>
                  </a:cubicBezTo>
                  <a:cubicBezTo>
                    <a:pt x="60" y="99"/>
                    <a:pt x="56" y="98"/>
                    <a:pt x="56" y="94"/>
                  </a:cubicBezTo>
                  <a:cubicBezTo>
                    <a:pt x="55" y="92"/>
                    <a:pt x="51" y="91"/>
                    <a:pt x="51" y="88"/>
                  </a:cubicBezTo>
                  <a:cubicBezTo>
                    <a:pt x="50" y="88"/>
                    <a:pt x="49" y="89"/>
                    <a:pt x="48" y="90"/>
                  </a:cubicBezTo>
                  <a:cubicBezTo>
                    <a:pt x="47" y="92"/>
                    <a:pt x="47" y="92"/>
                    <a:pt x="46" y="91"/>
                  </a:cubicBezTo>
                  <a:cubicBezTo>
                    <a:pt x="43" y="90"/>
                    <a:pt x="41" y="85"/>
                    <a:pt x="45" y="84"/>
                  </a:cubicBezTo>
                  <a:cubicBezTo>
                    <a:pt x="45" y="83"/>
                    <a:pt x="45" y="82"/>
                    <a:pt x="45" y="81"/>
                  </a:cubicBezTo>
                  <a:cubicBezTo>
                    <a:pt x="44" y="81"/>
                    <a:pt x="44" y="82"/>
                    <a:pt x="43" y="82"/>
                  </a:cubicBezTo>
                  <a:cubicBezTo>
                    <a:pt x="42" y="83"/>
                    <a:pt x="41" y="84"/>
                    <a:pt x="40" y="84"/>
                  </a:cubicBezTo>
                  <a:cubicBezTo>
                    <a:pt x="36" y="85"/>
                    <a:pt x="37" y="81"/>
                    <a:pt x="36" y="79"/>
                  </a:cubicBezTo>
                  <a:cubicBezTo>
                    <a:pt x="39" y="77"/>
                    <a:pt x="43" y="79"/>
                    <a:pt x="46" y="78"/>
                  </a:cubicBezTo>
                  <a:cubicBezTo>
                    <a:pt x="49" y="78"/>
                    <a:pt x="50" y="76"/>
                    <a:pt x="52" y="75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59" y="74"/>
                    <a:pt x="61" y="74"/>
                    <a:pt x="62" y="73"/>
                  </a:cubicBezTo>
                  <a:cubicBezTo>
                    <a:pt x="63" y="73"/>
                    <a:pt x="64" y="74"/>
                    <a:pt x="64" y="76"/>
                  </a:cubicBezTo>
                  <a:cubicBezTo>
                    <a:pt x="66" y="76"/>
                    <a:pt x="67" y="75"/>
                    <a:pt x="68" y="74"/>
                  </a:cubicBezTo>
                  <a:cubicBezTo>
                    <a:pt x="69" y="74"/>
                    <a:pt x="70" y="73"/>
                    <a:pt x="71" y="73"/>
                  </a:cubicBezTo>
                  <a:cubicBezTo>
                    <a:pt x="73" y="73"/>
                    <a:pt x="74" y="73"/>
                    <a:pt x="75" y="72"/>
                  </a:cubicBezTo>
                  <a:cubicBezTo>
                    <a:pt x="77" y="71"/>
                    <a:pt x="78" y="70"/>
                    <a:pt x="80" y="70"/>
                  </a:cubicBezTo>
                  <a:cubicBezTo>
                    <a:pt x="81" y="70"/>
                    <a:pt x="82" y="71"/>
                    <a:pt x="83" y="70"/>
                  </a:cubicBezTo>
                  <a:cubicBezTo>
                    <a:pt x="83" y="69"/>
                    <a:pt x="83" y="67"/>
                    <a:pt x="83" y="67"/>
                  </a:cubicBezTo>
                  <a:cubicBezTo>
                    <a:pt x="84" y="64"/>
                    <a:pt x="85" y="63"/>
                    <a:pt x="88" y="63"/>
                  </a:cubicBezTo>
                  <a:cubicBezTo>
                    <a:pt x="88" y="65"/>
                    <a:pt x="88" y="66"/>
                    <a:pt x="89" y="66"/>
                  </a:cubicBezTo>
                  <a:cubicBezTo>
                    <a:pt x="90" y="67"/>
                    <a:pt x="93" y="66"/>
                    <a:pt x="94" y="66"/>
                  </a:cubicBezTo>
                  <a:cubicBezTo>
                    <a:pt x="97" y="65"/>
                    <a:pt x="98" y="64"/>
                    <a:pt x="99" y="67"/>
                  </a:cubicBezTo>
                  <a:cubicBezTo>
                    <a:pt x="99" y="68"/>
                    <a:pt x="100" y="70"/>
                    <a:pt x="99" y="71"/>
                  </a:cubicBezTo>
                  <a:cubicBezTo>
                    <a:pt x="99" y="72"/>
                    <a:pt x="94" y="72"/>
                    <a:pt x="92" y="72"/>
                  </a:cubicBezTo>
                  <a:moveTo>
                    <a:pt x="160" y="255"/>
                  </a:moveTo>
                  <a:cubicBezTo>
                    <a:pt x="160" y="254"/>
                    <a:pt x="161" y="254"/>
                    <a:pt x="160" y="253"/>
                  </a:cubicBezTo>
                  <a:cubicBezTo>
                    <a:pt x="159" y="251"/>
                    <a:pt x="156" y="254"/>
                    <a:pt x="155" y="255"/>
                  </a:cubicBezTo>
                  <a:cubicBezTo>
                    <a:pt x="153" y="258"/>
                    <a:pt x="153" y="261"/>
                    <a:pt x="152" y="264"/>
                  </a:cubicBezTo>
                  <a:cubicBezTo>
                    <a:pt x="151" y="266"/>
                    <a:pt x="150" y="268"/>
                    <a:pt x="148" y="269"/>
                  </a:cubicBezTo>
                  <a:cubicBezTo>
                    <a:pt x="147" y="270"/>
                    <a:pt x="146" y="271"/>
                    <a:pt x="145" y="271"/>
                  </a:cubicBezTo>
                  <a:cubicBezTo>
                    <a:pt x="144" y="271"/>
                    <a:pt x="145" y="270"/>
                    <a:pt x="144" y="270"/>
                  </a:cubicBezTo>
                  <a:cubicBezTo>
                    <a:pt x="144" y="269"/>
                    <a:pt x="143" y="270"/>
                    <a:pt x="143" y="270"/>
                  </a:cubicBezTo>
                  <a:cubicBezTo>
                    <a:pt x="141" y="269"/>
                    <a:pt x="142" y="265"/>
                    <a:pt x="142" y="263"/>
                  </a:cubicBezTo>
                  <a:cubicBezTo>
                    <a:pt x="143" y="262"/>
                    <a:pt x="144" y="262"/>
                    <a:pt x="145" y="261"/>
                  </a:cubicBezTo>
                  <a:cubicBezTo>
                    <a:pt x="146" y="260"/>
                    <a:pt x="146" y="259"/>
                    <a:pt x="146" y="259"/>
                  </a:cubicBezTo>
                  <a:cubicBezTo>
                    <a:pt x="148" y="257"/>
                    <a:pt x="149" y="256"/>
                    <a:pt x="150" y="254"/>
                  </a:cubicBezTo>
                  <a:cubicBezTo>
                    <a:pt x="150" y="253"/>
                    <a:pt x="151" y="251"/>
                    <a:pt x="152" y="249"/>
                  </a:cubicBezTo>
                  <a:cubicBezTo>
                    <a:pt x="152" y="248"/>
                    <a:pt x="152" y="248"/>
                    <a:pt x="152" y="247"/>
                  </a:cubicBezTo>
                  <a:cubicBezTo>
                    <a:pt x="152" y="245"/>
                    <a:pt x="153" y="242"/>
                    <a:pt x="152" y="241"/>
                  </a:cubicBezTo>
                  <a:cubicBezTo>
                    <a:pt x="152" y="240"/>
                    <a:pt x="151" y="240"/>
                    <a:pt x="151" y="239"/>
                  </a:cubicBezTo>
                  <a:cubicBezTo>
                    <a:pt x="151" y="239"/>
                    <a:pt x="150" y="238"/>
                    <a:pt x="150" y="238"/>
                  </a:cubicBezTo>
                  <a:cubicBezTo>
                    <a:pt x="150" y="237"/>
                    <a:pt x="150" y="236"/>
                    <a:pt x="150" y="235"/>
                  </a:cubicBezTo>
                  <a:cubicBezTo>
                    <a:pt x="150" y="234"/>
                    <a:pt x="150" y="234"/>
                    <a:pt x="150" y="233"/>
                  </a:cubicBezTo>
                  <a:cubicBezTo>
                    <a:pt x="149" y="232"/>
                    <a:pt x="149" y="231"/>
                    <a:pt x="148" y="230"/>
                  </a:cubicBezTo>
                  <a:cubicBezTo>
                    <a:pt x="147" y="229"/>
                    <a:pt x="145" y="228"/>
                    <a:pt x="144" y="227"/>
                  </a:cubicBezTo>
                  <a:cubicBezTo>
                    <a:pt x="144" y="226"/>
                    <a:pt x="144" y="226"/>
                    <a:pt x="142" y="225"/>
                  </a:cubicBezTo>
                  <a:cubicBezTo>
                    <a:pt x="141" y="225"/>
                    <a:pt x="139" y="225"/>
                    <a:pt x="137" y="224"/>
                  </a:cubicBezTo>
                  <a:cubicBezTo>
                    <a:pt x="136" y="224"/>
                    <a:pt x="136" y="223"/>
                    <a:pt x="135" y="223"/>
                  </a:cubicBezTo>
                  <a:cubicBezTo>
                    <a:pt x="136" y="222"/>
                    <a:pt x="136" y="221"/>
                    <a:pt x="138" y="220"/>
                  </a:cubicBezTo>
                  <a:cubicBezTo>
                    <a:pt x="140" y="219"/>
                    <a:pt x="139" y="220"/>
                    <a:pt x="140" y="221"/>
                  </a:cubicBezTo>
                  <a:cubicBezTo>
                    <a:pt x="142" y="224"/>
                    <a:pt x="145" y="225"/>
                    <a:pt x="148" y="225"/>
                  </a:cubicBezTo>
                  <a:cubicBezTo>
                    <a:pt x="148" y="224"/>
                    <a:pt x="149" y="223"/>
                    <a:pt x="148" y="222"/>
                  </a:cubicBezTo>
                  <a:cubicBezTo>
                    <a:pt x="148" y="220"/>
                    <a:pt x="147" y="220"/>
                    <a:pt x="147" y="218"/>
                  </a:cubicBezTo>
                  <a:cubicBezTo>
                    <a:pt x="146" y="218"/>
                    <a:pt x="147" y="216"/>
                    <a:pt x="147" y="215"/>
                  </a:cubicBezTo>
                  <a:cubicBezTo>
                    <a:pt x="146" y="214"/>
                    <a:pt x="146" y="212"/>
                    <a:pt x="145" y="211"/>
                  </a:cubicBezTo>
                  <a:cubicBezTo>
                    <a:pt x="145" y="208"/>
                    <a:pt x="144" y="207"/>
                    <a:pt x="141" y="207"/>
                  </a:cubicBezTo>
                  <a:cubicBezTo>
                    <a:pt x="139" y="207"/>
                    <a:pt x="137" y="208"/>
                    <a:pt x="136" y="208"/>
                  </a:cubicBezTo>
                  <a:cubicBezTo>
                    <a:pt x="133" y="208"/>
                    <a:pt x="130" y="208"/>
                    <a:pt x="128" y="207"/>
                  </a:cubicBezTo>
                  <a:cubicBezTo>
                    <a:pt x="127" y="206"/>
                    <a:pt x="125" y="205"/>
                    <a:pt x="124" y="205"/>
                  </a:cubicBezTo>
                  <a:cubicBezTo>
                    <a:pt x="122" y="205"/>
                    <a:pt x="119" y="205"/>
                    <a:pt x="117" y="205"/>
                  </a:cubicBezTo>
                  <a:cubicBezTo>
                    <a:pt x="114" y="205"/>
                    <a:pt x="111" y="207"/>
                    <a:pt x="108" y="207"/>
                  </a:cubicBezTo>
                  <a:cubicBezTo>
                    <a:pt x="106" y="207"/>
                    <a:pt x="103" y="207"/>
                    <a:pt x="101" y="207"/>
                  </a:cubicBezTo>
                  <a:cubicBezTo>
                    <a:pt x="99" y="206"/>
                    <a:pt x="95" y="207"/>
                    <a:pt x="94" y="206"/>
                  </a:cubicBezTo>
                  <a:cubicBezTo>
                    <a:pt x="95" y="206"/>
                    <a:pt x="95" y="204"/>
                    <a:pt x="96" y="204"/>
                  </a:cubicBezTo>
                  <a:cubicBezTo>
                    <a:pt x="96" y="204"/>
                    <a:pt x="98" y="204"/>
                    <a:pt x="98" y="204"/>
                  </a:cubicBezTo>
                  <a:cubicBezTo>
                    <a:pt x="100" y="203"/>
                    <a:pt x="101" y="201"/>
                    <a:pt x="102" y="200"/>
                  </a:cubicBezTo>
                  <a:cubicBezTo>
                    <a:pt x="104" y="199"/>
                    <a:pt x="107" y="200"/>
                    <a:pt x="108" y="198"/>
                  </a:cubicBezTo>
                  <a:cubicBezTo>
                    <a:pt x="108" y="197"/>
                    <a:pt x="108" y="195"/>
                    <a:pt x="108" y="193"/>
                  </a:cubicBezTo>
                  <a:cubicBezTo>
                    <a:pt x="108" y="192"/>
                    <a:pt x="108" y="191"/>
                    <a:pt x="107" y="191"/>
                  </a:cubicBezTo>
                  <a:cubicBezTo>
                    <a:pt x="105" y="189"/>
                    <a:pt x="101" y="191"/>
                    <a:pt x="100" y="187"/>
                  </a:cubicBezTo>
                  <a:cubicBezTo>
                    <a:pt x="99" y="183"/>
                    <a:pt x="102" y="185"/>
                    <a:pt x="105" y="185"/>
                  </a:cubicBezTo>
                  <a:cubicBezTo>
                    <a:pt x="106" y="185"/>
                    <a:pt x="107" y="185"/>
                    <a:pt x="108" y="185"/>
                  </a:cubicBezTo>
                  <a:cubicBezTo>
                    <a:pt x="109" y="185"/>
                    <a:pt x="110" y="184"/>
                    <a:pt x="111" y="184"/>
                  </a:cubicBezTo>
                  <a:cubicBezTo>
                    <a:pt x="112" y="184"/>
                    <a:pt x="112" y="184"/>
                    <a:pt x="114" y="186"/>
                  </a:cubicBezTo>
                  <a:cubicBezTo>
                    <a:pt x="114" y="186"/>
                    <a:pt x="115" y="189"/>
                    <a:pt x="117" y="189"/>
                  </a:cubicBezTo>
                  <a:cubicBezTo>
                    <a:pt x="117" y="187"/>
                    <a:pt x="116" y="186"/>
                    <a:pt x="118" y="185"/>
                  </a:cubicBezTo>
                  <a:cubicBezTo>
                    <a:pt x="119" y="184"/>
                    <a:pt x="119" y="185"/>
                    <a:pt x="120" y="184"/>
                  </a:cubicBezTo>
                  <a:cubicBezTo>
                    <a:pt x="120" y="184"/>
                    <a:pt x="120" y="182"/>
                    <a:pt x="120" y="182"/>
                  </a:cubicBezTo>
                  <a:cubicBezTo>
                    <a:pt x="121" y="178"/>
                    <a:pt x="122" y="175"/>
                    <a:pt x="121" y="172"/>
                  </a:cubicBezTo>
                  <a:cubicBezTo>
                    <a:pt x="121" y="171"/>
                    <a:pt x="121" y="169"/>
                    <a:pt x="121" y="168"/>
                  </a:cubicBezTo>
                  <a:cubicBezTo>
                    <a:pt x="121" y="168"/>
                    <a:pt x="121" y="167"/>
                    <a:pt x="120" y="167"/>
                  </a:cubicBezTo>
                  <a:cubicBezTo>
                    <a:pt x="120" y="166"/>
                    <a:pt x="120" y="165"/>
                    <a:pt x="120" y="164"/>
                  </a:cubicBezTo>
                  <a:cubicBezTo>
                    <a:pt x="120" y="162"/>
                    <a:pt x="119" y="162"/>
                    <a:pt x="119" y="160"/>
                  </a:cubicBezTo>
                  <a:cubicBezTo>
                    <a:pt x="119" y="159"/>
                    <a:pt x="119" y="158"/>
                    <a:pt x="120" y="157"/>
                  </a:cubicBezTo>
                  <a:cubicBezTo>
                    <a:pt x="121" y="154"/>
                    <a:pt x="121" y="152"/>
                    <a:pt x="124" y="151"/>
                  </a:cubicBezTo>
                  <a:cubicBezTo>
                    <a:pt x="127" y="151"/>
                    <a:pt x="129" y="152"/>
                    <a:pt x="130" y="154"/>
                  </a:cubicBezTo>
                  <a:cubicBezTo>
                    <a:pt x="131" y="156"/>
                    <a:pt x="130" y="156"/>
                    <a:pt x="132" y="156"/>
                  </a:cubicBezTo>
                  <a:cubicBezTo>
                    <a:pt x="134" y="156"/>
                    <a:pt x="135" y="156"/>
                    <a:pt x="136" y="155"/>
                  </a:cubicBezTo>
                  <a:cubicBezTo>
                    <a:pt x="138" y="153"/>
                    <a:pt x="138" y="151"/>
                    <a:pt x="141" y="151"/>
                  </a:cubicBezTo>
                  <a:cubicBezTo>
                    <a:pt x="141" y="153"/>
                    <a:pt x="139" y="156"/>
                    <a:pt x="140" y="158"/>
                  </a:cubicBezTo>
                  <a:cubicBezTo>
                    <a:pt x="141" y="159"/>
                    <a:pt x="143" y="158"/>
                    <a:pt x="145" y="158"/>
                  </a:cubicBezTo>
                  <a:cubicBezTo>
                    <a:pt x="146" y="158"/>
                    <a:pt x="147" y="159"/>
                    <a:pt x="147" y="157"/>
                  </a:cubicBezTo>
                  <a:cubicBezTo>
                    <a:pt x="147" y="157"/>
                    <a:pt x="147" y="156"/>
                    <a:pt x="148" y="155"/>
                  </a:cubicBezTo>
                  <a:cubicBezTo>
                    <a:pt x="148" y="154"/>
                    <a:pt x="148" y="153"/>
                    <a:pt x="149" y="152"/>
                  </a:cubicBezTo>
                  <a:cubicBezTo>
                    <a:pt x="149" y="151"/>
                    <a:pt x="151" y="151"/>
                    <a:pt x="151" y="150"/>
                  </a:cubicBezTo>
                  <a:cubicBezTo>
                    <a:pt x="152" y="149"/>
                    <a:pt x="152" y="147"/>
                    <a:pt x="152" y="146"/>
                  </a:cubicBezTo>
                  <a:cubicBezTo>
                    <a:pt x="152" y="146"/>
                    <a:pt x="152" y="145"/>
                    <a:pt x="152" y="144"/>
                  </a:cubicBezTo>
                  <a:cubicBezTo>
                    <a:pt x="152" y="143"/>
                    <a:pt x="153" y="142"/>
                    <a:pt x="154" y="141"/>
                  </a:cubicBezTo>
                  <a:cubicBezTo>
                    <a:pt x="155" y="139"/>
                    <a:pt x="155" y="137"/>
                    <a:pt x="157" y="135"/>
                  </a:cubicBezTo>
                  <a:cubicBezTo>
                    <a:pt x="157" y="133"/>
                    <a:pt x="158" y="132"/>
                    <a:pt x="158" y="131"/>
                  </a:cubicBezTo>
                  <a:cubicBezTo>
                    <a:pt x="158" y="128"/>
                    <a:pt x="158" y="126"/>
                    <a:pt x="156" y="124"/>
                  </a:cubicBezTo>
                  <a:cubicBezTo>
                    <a:pt x="154" y="122"/>
                    <a:pt x="150" y="123"/>
                    <a:pt x="147" y="123"/>
                  </a:cubicBezTo>
                  <a:cubicBezTo>
                    <a:pt x="143" y="124"/>
                    <a:pt x="139" y="125"/>
                    <a:pt x="135" y="124"/>
                  </a:cubicBezTo>
                  <a:cubicBezTo>
                    <a:pt x="133" y="123"/>
                    <a:pt x="131" y="121"/>
                    <a:pt x="129" y="119"/>
                  </a:cubicBezTo>
                  <a:cubicBezTo>
                    <a:pt x="127" y="118"/>
                    <a:pt x="127" y="118"/>
                    <a:pt x="126" y="117"/>
                  </a:cubicBezTo>
                  <a:cubicBezTo>
                    <a:pt x="126" y="114"/>
                    <a:pt x="125" y="111"/>
                    <a:pt x="125" y="109"/>
                  </a:cubicBezTo>
                  <a:cubicBezTo>
                    <a:pt x="125" y="107"/>
                    <a:pt x="125" y="106"/>
                    <a:pt x="125" y="104"/>
                  </a:cubicBezTo>
                  <a:cubicBezTo>
                    <a:pt x="124" y="103"/>
                    <a:pt x="124" y="101"/>
                    <a:pt x="123" y="100"/>
                  </a:cubicBezTo>
                  <a:cubicBezTo>
                    <a:pt x="123" y="99"/>
                    <a:pt x="123" y="98"/>
                    <a:pt x="123" y="97"/>
                  </a:cubicBezTo>
                  <a:cubicBezTo>
                    <a:pt x="123" y="96"/>
                    <a:pt x="123" y="95"/>
                    <a:pt x="123" y="94"/>
                  </a:cubicBezTo>
                  <a:cubicBezTo>
                    <a:pt x="123" y="94"/>
                    <a:pt x="122" y="94"/>
                    <a:pt x="122" y="93"/>
                  </a:cubicBezTo>
                  <a:cubicBezTo>
                    <a:pt x="122" y="93"/>
                    <a:pt x="122" y="92"/>
                    <a:pt x="122" y="92"/>
                  </a:cubicBezTo>
                  <a:cubicBezTo>
                    <a:pt x="122" y="90"/>
                    <a:pt x="122" y="87"/>
                    <a:pt x="122" y="85"/>
                  </a:cubicBezTo>
                  <a:cubicBezTo>
                    <a:pt x="122" y="83"/>
                    <a:pt x="122" y="82"/>
                    <a:pt x="122" y="80"/>
                  </a:cubicBezTo>
                  <a:cubicBezTo>
                    <a:pt x="122" y="79"/>
                    <a:pt x="121" y="78"/>
                    <a:pt x="122" y="77"/>
                  </a:cubicBezTo>
                  <a:cubicBezTo>
                    <a:pt x="123" y="76"/>
                    <a:pt x="124" y="76"/>
                    <a:pt x="125" y="75"/>
                  </a:cubicBezTo>
                  <a:cubicBezTo>
                    <a:pt x="126" y="74"/>
                    <a:pt x="128" y="72"/>
                    <a:pt x="128" y="71"/>
                  </a:cubicBezTo>
                  <a:cubicBezTo>
                    <a:pt x="129" y="70"/>
                    <a:pt x="129" y="67"/>
                    <a:pt x="129" y="66"/>
                  </a:cubicBezTo>
                  <a:cubicBezTo>
                    <a:pt x="129" y="63"/>
                    <a:pt x="129" y="63"/>
                    <a:pt x="130" y="62"/>
                  </a:cubicBezTo>
                  <a:cubicBezTo>
                    <a:pt x="130" y="61"/>
                    <a:pt x="130" y="60"/>
                    <a:pt x="131" y="59"/>
                  </a:cubicBezTo>
                  <a:cubicBezTo>
                    <a:pt x="132" y="58"/>
                    <a:pt x="133" y="58"/>
                    <a:pt x="134" y="57"/>
                  </a:cubicBezTo>
                  <a:cubicBezTo>
                    <a:pt x="135" y="56"/>
                    <a:pt x="135" y="55"/>
                    <a:pt x="136" y="55"/>
                  </a:cubicBezTo>
                  <a:cubicBezTo>
                    <a:pt x="136" y="54"/>
                    <a:pt x="138" y="54"/>
                    <a:pt x="138" y="53"/>
                  </a:cubicBezTo>
                  <a:cubicBezTo>
                    <a:pt x="139" y="52"/>
                    <a:pt x="139" y="51"/>
                    <a:pt x="139" y="50"/>
                  </a:cubicBezTo>
                  <a:cubicBezTo>
                    <a:pt x="139" y="48"/>
                    <a:pt x="138" y="47"/>
                    <a:pt x="138" y="45"/>
                  </a:cubicBezTo>
                  <a:cubicBezTo>
                    <a:pt x="138" y="43"/>
                    <a:pt x="138" y="42"/>
                    <a:pt x="138" y="40"/>
                  </a:cubicBezTo>
                  <a:cubicBezTo>
                    <a:pt x="138" y="38"/>
                    <a:pt x="138" y="35"/>
                    <a:pt x="138" y="33"/>
                  </a:cubicBezTo>
                  <a:cubicBezTo>
                    <a:pt x="138" y="32"/>
                    <a:pt x="137" y="30"/>
                    <a:pt x="137" y="29"/>
                  </a:cubicBezTo>
                  <a:cubicBezTo>
                    <a:pt x="137" y="28"/>
                    <a:pt x="136" y="28"/>
                    <a:pt x="136" y="28"/>
                  </a:cubicBezTo>
                  <a:cubicBezTo>
                    <a:pt x="136" y="27"/>
                    <a:pt x="136" y="26"/>
                    <a:pt x="136" y="26"/>
                  </a:cubicBezTo>
                  <a:cubicBezTo>
                    <a:pt x="136" y="24"/>
                    <a:pt x="134" y="22"/>
                    <a:pt x="133" y="21"/>
                  </a:cubicBezTo>
                  <a:cubicBezTo>
                    <a:pt x="131" y="20"/>
                    <a:pt x="131" y="19"/>
                    <a:pt x="130" y="16"/>
                  </a:cubicBezTo>
                  <a:cubicBezTo>
                    <a:pt x="130" y="15"/>
                    <a:pt x="130" y="13"/>
                    <a:pt x="130" y="11"/>
                  </a:cubicBezTo>
                  <a:cubicBezTo>
                    <a:pt x="131" y="9"/>
                    <a:pt x="133" y="8"/>
                    <a:pt x="134" y="6"/>
                  </a:cubicBezTo>
                  <a:cubicBezTo>
                    <a:pt x="136" y="5"/>
                    <a:pt x="141" y="3"/>
                    <a:pt x="142" y="0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139" y="2"/>
                    <a:pt x="138" y="2"/>
                    <a:pt x="137" y="2"/>
                  </a:cubicBezTo>
                  <a:cubicBezTo>
                    <a:pt x="135" y="3"/>
                    <a:pt x="135" y="3"/>
                    <a:pt x="134" y="5"/>
                  </a:cubicBezTo>
                  <a:cubicBezTo>
                    <a:pt x="133" y="5"/>
                    <a:pt x="131" y="6"/>
                    <a:pt x="130" y="7"/>
                  </a:cubicBezTo>
                  <a:cubicBezTo>
                    <a:pt x="128" y="7"/>
                    <a:pt x="127" y="9"/>
                    <a:pt x="125" y="10"/>
                  </a:cubicBezTo>
                  <a:cubicBezTo>
                    <a:pt x="123" y="10"/>
                    <a:pt x="122" y="11"/>
                    <a:pt x="120" y="11"/>
                  </a:cubicBezTo>
                  <a:cubicBezTo>
                    <a:pt x="116" y="12"/>
                    <a:pt x="112" y="16"/>
                    <a:pt x="108" y="16"/>
                  </a:cubicBezTo>
                  <a:cubicBezTo>
                    <a:pt x="105" y="16"/>
                    <a:pt x="102" y="16"/>
                    <a:pt x="99" y="16"/>
                  </a:cubicBezTo>
                  <a:cubicBezTo>
                    <a:pt x="99" y="17"/>
                    <a:pt x="99" y="18"/>
                    <a:pt x="98" y="20"/>
                  </a:cubicBezTo>
                  <a:cubicBezTo>
                    <a:pt x="98" y="22"/>
                    <a:pt x="96" y="23"/>
                    <a:pt x="95" y="25"/>
                  </a:cubicBezTo>
                  <a:cubicBezTo>
                    <a:pt x="93" y="28"/>
                    <a:pt x="91" y="30"/>
                    <a:pt x="90" y="33"/>
                  </a:cubicBezTo>
                  <a:cubicBezTo>
                    <a:pt x="90" y="35"/>
                    <a:pt x="89" y="37"/>
                    <a:pt x="89" y="39"/>
                  </a:cubicBezTo>
                  <a:cubicBezTo>
                    <a:pt x="89" y="42"/>
                    <a:pt x="89" y="44"/>
                    <a:pt x="87" y="45"/>
                  </a:cubicBezTo>
                  <a:cubicBezTo>
                    <a:pt x="85" y="47"/>
                    <a:pt x="84" y="48"/>
                    <a:pt x="83" y="49"/>
                  </a:cubicBezTo>
                  <a:cubicBezTo>
                    <a:pt x="81" y="50"/>
                    <a:pt x="80" y="51"/>
                    <a:pt x="79" y="52"/>
                  </a:cubicBezTo>
                  <a:cubicBezTo>
                    <a:pt x="77" y="54"/>
                    <a:pt x="76" y="54"/>
                    <a:pt x="73" y="55"/>
                  </a:cubicBezTo>
                  <a:cubicBezTo>
                    <a:pt x="70" y="55"/>
                    <a:pt x="68" y="56"/>
                    <a:pt x="66" y="58"/>
                  </a:cubicBezTo>
                  <a:cubicBezTo>
                    <a:pt x="65" y="58"/>
                    <a:pt x="65" y="58"/>
                    <a:pt x="64" y="58"/>
                  </a:cubicBezTo>
                  <a:cubicBezTo>
                    <a:pt x="61" y="58"/>
                    <a:pt x="58" y="58"/>
                    <a:pt x="55" y="58"/>
                  </a:cubicBezTo>
                  <a:cubicBezTo>
                    <a:pt x="52" y="58"/>
                    <a:pt x="50" y="59"/>
                    <a:pt x="47" y="60"/>
                  </a:cubicBezTo>
                  <a:cubicBezTo>
                    <a:pt x="46" y="60"/>
                    <a:pt x="44" y="60"/>
                    <a:pt x="43" y="61"/>
                  </a:cubicBezTo>
                  <a:cubicBezTo>
                    <a:pt x="42" y="61"/>
                    <a:pt x="41" y="62"/>
                    <a:pt x="41" y="63"/>
                  </a:cubicBezTo>
                  <a:cubicBezTo>
                    <a:pt x="39" y="65"/>
                    <a:pt x="36" y="66"/>
                    <a:pt x="33" y="66"/>
                  </a:cubicBezTo>
                  <a:cubicBezTo>
                    <a:pt x="32" y="66"/>
                    <a:pt x="31" y="66"/>
                    <a:pt x="30" y="66"/>
                  </a:cubicBezTo>
                  <a:cubicBezTo>
                    <a:pt x="27" y="68"/>
                    <a:pt x="24" y="72"/>
                    <a:pt x="24" y="72"/>
                  </a:cubicBezTo>
                  <a:cubicBezTo>
                    <a:pt x="24" y="73"/>
                    <a:pt x="20" y="77"/>
                    <a:pt x="20" y="78"/>
                  </a:cubicBezTo>
                  <a:cubicBezTo>
                    <a:pt x="18" y="80"/>
                    <a:pt x="17" y="80"/>
                    <a:pt x="14" y="85"/>
                  </a:cubicBezTo>
                  <a:cubicBezTo>
                    <a:pt x="12" y="86"/>
                    <a:pt x="12" y="88"/>
                    <a:pt x="12" y="90"/>
                  </a:cubicBezTo>
                  <a:cubicBezTo>
                    <a:pt x="12" y="93"/>
                    <a:pt x="12" y="96"/>
                    <a:pt x="14" y="98"/>
                  </a:cubicBezTo>
                  <a:cubicBezTo>
                    <a:pt x="15" y="99"/>
                    <a:pt x="16" y="100"/>
                    <a:pt x="17" y="101"/>
                  </a:cubicBezTo>
                  <a:cubicBezTo>
                    <a:pt x="18" y="101"/>
                    <a:pt x="19" y="105"/>
                    <a:pt x="19" y="105"/>
                  </a:cubicBezTo>
                  <a:cubicBezTo>
                    <a:pt x="21" y="107"/>
                    <a:pt x="24" y="107"/>
                    <a:pt x="25" y="109"/>
                  </a:cubicBezTo>
                  <a:cubicBezTo>
                    <a:pt x="26" y="110"/>
                    <a:pt x="26" y="114"/>
                    <a:pt x="28" y="115"/>
                  </a:cubicBezTo>
                  <a:cubicBezTo>
                    <a:pt x="31" y="116"/>
                    <a:pt x="31" y="113"/>
                    <a:pt x="31" y="112"/>
                  </a:cubicBezTo>
                  <a:cubicBezTo>
                    <a:pt x="31" y="111"/>
                    <a:pt x="31" y="110"/>
                    <a:pt x="31" y="109"/>
                  </a:cubicBezTo>
                  <a:cubicBezTo>
                    <a:pt x="31" y="108"/>
                    <a:pt x="32" y="108"/>
                    <a:pt x="32" y="107"/>
                  </a:cubicBezTo>
                  <a:cubicBezTo>
                    <a:pt x="32" y="106"/>
                    <a:pt x="32" y="105"/>
                    <a:pt x="31" y="104"/>
                  </a:cubicBezTo>
                  <a:cubicBezTo>
                    <a:pt x="31" y="103"/>
                    <a:pt x="29" y="103"/>
                    <a:pt x="29" y="103"/>
                  </a:cubicBezTo>
                  <a:cubicBezTo>
                    <a:pt x="28" y="100"/>
                    <a:pt x="29" y="98"/>
                    <a:pt x="31" y="98"/>
                  </a:cubicBezTo>
                  <a:cubicBezTo>
                    <a:pt x="33" y="98"/>
                    <a:pt x="33" y="98"/>
                    <a:pt x="34" y="99"/>
                  </a:cubicBezTo>
                  <a:cubicBezTo>
                    <a:pt x="34" y="100"/>
                    <a:pt x="34" y="100"/>
                    <a:pt x="34" y="101"/>
                  </a:cubicBezTo>
                  <a:cubicBezTo>
                    <a:pt x="34" y="102"/>
                    <a:pt x="35" y="103"/>
                    <a:pt x="36" y="103"/>
                  </a:cubicBezTo>
                  <a:cubicBezTo>
                    <a:pt x="36" y="104"/>
                    <a:pt x="37" y="106"/>
                    <a:pt x="39" y="106"/>
                  </a:cubicBezTo>
                  <a:cubicBezTo>
                    <a:pt x="40" y="106"/>
                    <a:pt x="41" y="105"/>
                    <a:pt x="43" y="106"/>
                  </a:cubicBezTo>
                  <a:cubicBezTo>
                    <a:pt x="42" y="107"/>
                    <a:pt x="40" y="108"/>
                    <a:pt x="39" y="109"/>
                  </a:cubicBezTo>
                  <a:cubicBezTo>
                    <a:pt x="38" y="110"/>
                    <a:pt x="38" y="111"/>
                    <a:pt x="38" y="113"/>
                  </a:cubicBezTo>
                  <a:cubicBezTo>
                    <a:pt x="39" y="114"/>
                    <a:pt x="39" y="115"/>
                    <a:pt x="40" y="116"/>
                  </a:cubicBezTo>
                  <a:cubicBezTo>
                    <a:pt x="41" y="117"/>
                    <a:pt x="42" y="116"/>
                    <a:pt x="43" y="116"/>
                  </a:cubicBezTo>
                  <a:cubicBezTo>
                    <a:pt x="46" y="117"/>
                    <a:pt x="41" y="125"/>
                    <a:pt x="38" y="124"/>
                  </a:cubicBezTo>
                  <a:cubicBezTo>
                    <a:pt x="37" y="124"/>
                    <a:pt x="36" y="124"/>
                    <a:pt x="35" y="123"/>
                  </a:cubicBezTo>
                  <a:cubicBezTo>
                    <a:pt x="34" y="123"/>
                    <a:pt x="32" y="124"/>
                    <a:pt x="31" y="123"/>
                  </a:cubicBezTo>
                  <a:cubicBezTo>
                    <a:pt x="30" y="123"/>
                    <a:pt x="31" y="123"/>
                    <a:pt x="30" y="122"/>
                  </a:cubicBezTo>
                  <a:cubicBezTo>
                    <a:pt x="30" y="122"/>
                    <a:pt x="30" y="121"/>
                    <a:pt x="30" y="121"/>
                  </a:cubicBezTo>
                  <a:cubicBezTo>
                    <a:pt x="29" y="121"/>
                    <a:pt x="27" y="121"/>
                    <a:pt x="27" y="121"/>
                  </a:cubicBezTo>
                  <a:cubicBezTo>
                    <a:pt x="25" y="121"/>
                    <a:pt x="22" y="120"/>
                    <a:pt x="21" y="118"/>
                  </a:cubicBezTo>
                  <a:cubicBezTo>
                    <a:pt x="19" y="117"/>
                    <a:pt x="20" y="116"/>
                    <a:pt x="18" y="116"/>
                  </a:cubicBezTo>
                  <a:cubicBezTo>
                    <a:pt x="16" y="116"/>
                    <a:pt x="14" y="118"/>
                    <a:pt x="11" y="117"/>
                  </a:cubicBezTo>
                  <a:cubicBezTo>
                    <a:pt x="9" y="117"/>
                    <a:pt x="12" y="116"/>
                    <a:pt x="12" y="114"/>
                  </a:cubicBezTo>
                  <a:cubicBezTo>
                    <a:pt x="11" y="113"/>
                    <a:pt x="8" y="111"/>
                    <a:pt x="7" y="112"/>
                  </a:cubicBezTo>
                  <a:cubicBezTo>
                    <a:pt x="6" y="112"/>
                    <a:pt x="5" y="116"/>
                    <a:pt x="5" y="118"/>
                  </a:cubicBezTo>
                  <a:cubicBezTo>
                    <a:pt x="5" y="118"/>
                    <a:pt x="5" y="119"/>
                    <a:pt x="5" y="120"/>
                  </a:cubicBezTo>
                  <a:cubicBezTo>
                    <a:pt x="5" y="121"/>
                    <a:pt x="4" y="121"/>
                    <a:pt x="4" y="122"/>
                  </a:cubicBezTo>
                  <a:cubicBezTo>
                    <a:pt x="4" y="123"/>
                    <a:pt x="4" y="125"/>
                    <a:pt x="4" y="126"/>
                  </a:cubicBezTo>
                  <a:cubicBezTo>
                    <a:pt x="4" y="128"/>
                    <a:pt x="4" y="129"/>
                    <a:pt x="4" y="131"/>
                  </a:cubicBezTo>
                  <a:cubicBezTo>
                    <a:pt x="4" y="135"/>
                    <a:pt x="4" y="139"/>
                    <a:pt x="5" y="143"/>
                  </a:cubicBezTo>
                  <a:cubicBezTo>
                    <a:pt x="6" y="146"/>
                    <a:pt x="5" y="150"/>
                    <a:pt x="5" y="153"/>
                  </a:cubicBezTo>
                  <a:cubicBezTo>
                    <a:pt x="6" y="155"/>
                    <a:pt x="6" y="158"/>
                    <a:pt x="6" y="160"/>
                  </a:cubicBezTo>
                  <a:cubicBezTo>
                    <a:pt x="6" y="164"/>
                    <a:pt x="6" y="167"/>
                    <a:pt x="6" y="171"/>
                  </a:cubicBezTo>
                  <a:cubicBezTo>
                    <a:pt x="7" y="170"/>
                    <a:pt x="8" y="170"/>
                    <a:pt x="9" y="170"/>
                  </a:cubicBezTo>
                  <a:cubicBezTo>
                    <a:pt x="10" y="169"/>
                    <a:pt x="10" y="169"/>
                    <a:pt x="9" y="167"/>
                  </a:cubicBezTo>
                  <a:cubicBezTo>
                    <a:pt x="9" y="165"/>
                    <a:pt x="9" y="163"/>
                    <a:pt x="11" y="163"/>
                  </a:cubicBezTo>
                  <a:cubicBezTo>
                    <a:pt x="13" y="162"/>
                    <a:pt x="15" y="164"/>
                    <a:pt x="14" y="165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5" y="169"/>
                    <a:pt x="13" y="169"/>
                    <a:pt x="13" y="171"/>
                  </a:cubicBezTo>
                  <a:cubicBezTo>
                    <a:pt x="13" y="173"/>
                    <a:pt x="13" y="174"/>
                    <a:pt x="14" y="175"/>
                  </a:cubicBezTo>
                  <a:cubicBezTo>
                    <a:pt x="17" y="177"/>
                    <a:pt x="23" y="180"/>
                    <a:pt x="19" y="183"/>
                  </a:cubicBezTo>
                  <a:cubicBezTo>
                    <a:pt x="17" y="184"/>
                    <a:pt x="14" y="186"/>
                    <a:pt x="13" y="184"/>
                  </a:cubicBezTo>
                  <a:cubicBezTo>
                    <a:pt x="13" y="183"/>
                    <a:pt x="13" y="181"/>
                    <a:pt x="13" y="180"/>
                  </a:cubicBezTo>
                  <a:cubicBezTo>
                    <a:pt x="13" y="179"/>
                    <a:pt x="13" y="177"/>
                    <a:pt x="12" y="177"/>
                  </a:cubicBezTo>
                  <a:cubicBezTo>
                    <a:pt x="11" y="176"/>
                    <a:pt x="7" y="178"/>
                    <a:pt x="7" y="178"/>
                  </a:cubicBezTo>
                  <a:cubicBezTo>
                    <a:pt x="7" y="178"/>
                    <a:pt x="6" y="178"/>
                    <a:pt x="6" y="178"/>
                  </a:cubicBezTo>
                  <a:cubicBezTo>
                    <a:pt x="7" y="181"/>
                    <a:pt x="7" y="185"/>
                    <a:pt x="8" y="188"/>
                  </a:cubicBezTo>
                  <a:cubicBezTo>
                    <a:pt x="8" y="190"/>
                    <a:pt x="8" y="192"/>
                    <a:pt x="8" y="195"/>
                  </a:cubicBezTo>
                  <a:cubicBezTo>
                    <a:pt x="8" y="196"/>
                    <a:pt x="8" y="198"/>
                    <a:pt x="8" y="199"/>
                  </a:cubicBezTo>
                  <a:cubicBezTo>
                    <a:pt x="8" y="202"/>
                    <a:pt x="7" y="205"/>
                    <a:pt x="5" y="207"/>
                  </a:cubicBezTo>
                  <a:cubicBezTo>
                    <a:pt x="5" y="208"/>
                    <a:pt x="4" y="209"/>
                    <a:pt x="3" y="209"/>
                  </a:cubicBezTo>
                  <a:cubicBezTo>
                    <a:pt x="2" y="211"/>
                    <a:pt x="2" y="212"/>
                    <a:pt x="0" y="213"/>
                  </a:cubicBezTo>
                  <a:cubicBezTo>
                    <a:pt x="1" y="214"/>
                    <a:pt x="2" y="214"/>
                    <a:pt x="3" y="215"/>
                  </a:cubicBezTo>
                  <a:cubicBezTo>
                    <a:pt x="5" y="216"/>
                    <a:pt x="6" y="218"/>
                    <a:pt x="8" y="220"/>
                  </a:cubicBezTo>
                  <a:cubicBezTo>
                    <a:pt x="9" y="222"/>
                    <a:pt x="11" y="223"/>
                    <a:pt x="12" y="224"/>
                  </a:cubicBezTo>
                  <a:cubicBezTo>
                    <a:pt x="12" y="225"/>
                    <a:pt x="12" y="226"/>
                    <a:pt x="13" y="227"/>
                  </a:cubicBezTo>
                  <a:cubicBezTo>
                    <a:pt x="15" y="230"/>
                    <a:pt x="17" y="231"/>
                    <a:pt x="20" y="233"/>
                  </a:cubicBezTo>
                  <a:cubicBezTo>
                    <a:pt x="21" y="234"/>
                    <a:pt x="22" y="235"/>
                    <a:pt x="23" y="235"/>
                  </a:cubicBezTo>
                  <a:cubicBezTo>
                    <a:pt x="26" y="234"/>
                    <a:pt x="26" y="231"/>
                    <a:pt x="26" y="229"/>
                  </a:cubicBezTo>
                  <a:cubicBezTo>
                    <a:pt x="25" y="228"/>
                    <a:pt x="25" y="228"/>
                    <a:pt x="24" y="227"/>
                  </a:cubicBezTo>
                  <a:cubicBezTo>
                    <a:pt x="24" y="226"/>
                    <a:pt x="24" y="226"/>
                    <a:pt x="24" y="226"/>
                  </a:cubicBezTo>
                  <a:cubicBezTo>
                    <a:pt x="23" y="225"/>
                    <a:pt x="23" y="224"/>
                    <a:pt x="22" y="223"/>
                  </a:cubicBezTo>
                  <a:cubicBezTo>
                    <a:pt x="21" y="222"/>
                    <a:pt x="19" y="221"/>
                    <a:pt x="18" y="220"/>
                  </a:cubicBezTo>
                  <a:cubicBezTo>
                    <a:pt x="17" y="218"/>
                    <a:pt x="14" y="218"/>
                    <a:pt x="16" y="215"/>
                  </a:cubicBezTo>
                  <a:cubicBezTo>
                    <a:pt x="17" y="212"/>
                    <a:pt x="19" y="214"/>
                    <a:pt x="21" y="215"/>
                  </a:cubicBezTo>
                  <a:cubicBezTo>
                    <a:pt x="22" y="216"/>
                    <a:pt x="23" y="220"/>
                    <a:pt x="24" y="220"/>
                  </a:cubicBezTo>
                  <a:cubicBezTo>
                    <a:pt x="24" y="221"/>
                    <a:pt x="26" y="221"/>
                    <a:pt x="26" y="222"/>
                  </a:cubicBezTo>
                  <a:cubicBezTo>
                    <a:pt x="27" y="223"/>
                    <a:pt x="27" y="223"/>
                    <a:pt x="28" y="224"/>
                  </a:cubicBezTo>
                  <a:cubicBezTo>
                    <a:pt x="29" y="225"/>
                    <a:pt x="31" y="226"/>
                    <a:pt x="32" y="227"/>
                  </a:cubicBezTo>
                  <a:cubicBezTo>
                    <a:pt x="32" y="227"/>
                    <a:pt x="34" y="228"/>
                    <a:pt x="34" y="228"/>
                  </a:cubicBezTo>
                  <a:cubicBezTo>
                    <a:pt x="34" y="228"/>
                    <a:pt x="34" y="228"/>
                    <a:pt x="34" y="229"/>
                  </a:cubicBezTo>
                  <a:cubicBezTo>
                    <a:pt x="35" y="231"/>
                    <a:pt x="36" y="232"/>
                    <a:pt x="35" y="234"/>
                  </a:cubicBezTo>
                  <a:cubicBezTo>
                    <a:pt x="35" y="236"/>
                    <a:pt x="34" y="235"/>
                    <a:pt x="34" y="237"/>
                  </a:cubicBezTo>
                  <a:cubicBezTo>
                    <a:pt x="33" y="238"/>
                    <a:pt x="34" y="239"/>
                    <a:pt x="34" y="240"/>
                  </a:cubicBezTo>
                  <a:cubicBezTo>
                    <a:pt x="34" y="241"/>
                    <a:pt x="33" y="244"/>
                    <a:pt x="34" y="245"/>
                  </a:cubicBezTo>
                  <a:cubicBezTo>
                    <a:pt x="34" y="246"/>
                    <a:pt x="35" y="246"/>
                    <a:pt x="35" y="247"/>
                  </a:cubicBezTo>
                  <a:cubicBezTo>
                    <a:pt x="37" y="250"/>
                    <a:pt x="35" y="252"/>
                    <a:pt x="34" y="254"/>
                  </a:cubicBezTo>
                  <a:cubicBezTo>
                    <a:pt x="34" y="255"/>
                    <a:pt x="34" y="255"/>
                    <a:pt x="33" y="256"/>
                  </a:cubicBezTo>
                  <a:cubicBezTo>
                    <a:pt x="33" y="257"/>
                    <a:pt x="32" y="257"/>
                    <a:pt x="32" y="258"/>
                  </a:cubicBezTo>
                  <a:cubicBezTo>
                    <a:pt x="32" y="259"/>
                    <a:pt x="32" y="260"/>
                    <a:pt x="32" y="261"/>
                  </a:cubicBezTo>
                  <a:cubicBezTo>
                    <a:pt x="32" y="263"/>
                    <a:pt x="32" y="266"/>
                    <a:pt x="32" y="268"/>
                  </a:cubicBezTo>
                  <a:cubicBezTo>
                    <a:pt x="32" y="269"/>
                    <a:pt x="32" y="270"/>
                    <a:pt x="32" y="272"/>
                  </a:cubicBezTo>
                  <a:cubicBezTo>
                    <a:pt x="32" y="271"/>
                    <a:pt x="32" y="271"/>
                    <a:pt x="32" y="271"/>
                  </a:cubicBezTo>
                  <a:cubicBezTo>
                    <a:pt x="35" y="271"/>
                    <a:pt x="37" y="272"/>
                    <a:pt x="40" y="272"/>
                  </a:cubicBezTo>
                  <a:cubicBezTo>
                    <a:pt x="41" y="272"/>
                    <a:pt x="43" y="272"/>
                    <a:pt x="45" y="272"/>
                  </a:cubicBezTo>
                  <a:cubicBezTo>
                    <a:pt x="46" y="272"/>
                    <a:pt x="48" y="272"/>
                    <a:pt x="49" y="272"/>
                  </a:cubicBezTo>
                  <a:cubicBezTo>
                    <a:pt x="50" y="273"/>
                    <a:pt x="51" y="274"/>
                    <a:pt x="52" y="274"/>
                  </a:cubicBezTo>
                  <a:cubicBezTo>
                    <a:pt x="53" y="274"/>
                    <a:pt x="55" y="274"/>
                    <a:pt x="56" y="274"/>
                  </a:cubicBezTo>
                  <a:cubicBezTo>
                    <a:pt x="56" y="274"/>
                    <a:pt x="57" y="274"/>
                    <a:pt x="58" y="274"/>
                  </a:cubicBezTo>
                  <a:cubicBezTo>
                    <a:pt x="58" y="273"/>
                    <a:pt x="58" y="273"/>
                    <a:pt x="59" y="272"/>
                  </a:cubicBezTo>
                  <a:cubicBezTo>
                    <a:pt x="59" y="272"/>
                    <a:pt x="61" y="272"/>
                    <a:pt x="62" y="272"/>
                  </a:cubicBezTo>
                  <a:cubicBezTo>
                    <a:pt x="62" y="273"/>
                    <a:pt x="62" y="274"/>
                    <a:pt x="63" y="274"/>
                  </a:cubicBezTo>
                  <a:cubicBezTo>
                    <a:pt x="62" y="275"/>
                    <a:pt x="63" y="275"/>
                    <a:pt x="63" y="275"/>
                  </a:cubicBezTo>
                  <a:cubicBezTo>
                    <a:pt x="63" y="276"/>
                    <a:pt x="63" y="276"/>
                    <a:pt x="63" y="276"/>
                  </a:cubicBezTo>
                  <a:cubicBezTo>
                    <a:pt x="64" y="277"/>
                    <a:pt x="64" y="278"/>
                    <a:pt x="64" y="280"/>
                  </a:cubicBezTo>
                  <a:cubicBezTo>
                    <a:pt x="64" y="282"/>
                    <a:pt x="65" y="282"/>
                    <a:pt x="67" y="282"/>
                  </a:cubicBezTo>
                  <a:cubicBezTo>
                    <a:pt x="68" y="282"/>
                    <a:pt x="69" y="282"/>
                    <a:pt x="70" y="282"/>
                  </a:cubicBezTo>
                  <a:cubicBezTo>
                    <a:pt x="71" y="281"/>
                    <a:pt x="71" y="280"/>
                    <a:pt x="72" y="279"/>
                  </a:cubicBezTo>
                  <a:cubicBezTo>
                    <a:pt x="74" y="279"/>
                    <a:pt x="74" y="279"/>
                    <a:pt x="75" y="278"/>
                  </a:cubicBezTo>
                  <a:cubicBezTo>
                    <a:pt x="76" y="277"/>
                    <a:pt x="76" y="276"/>
                    <a:pt x="77" y="276"/>
                  </a:cubicBezTo>
                  <a:cubicBezTo>
                    <a:pt x="78" y="275"/>
                    <a:pt x="79" y="276"/>
                    <a:pt x="79" y="276"/>
                  </a:cubicBezTo>
                  <a:cubicBezTo>
                    <a:pt x="80" y="276"/>
                    <a:pt x="81" y="276"/>
                    <a:pt x="81" y="276"/>
                  </a:cubicBezTo>
                  <a:cubicBezTo>
                    <a:pt x="82" y="276"/>
                    <a:pt x="82" y="276"/>
                    <a:pt x="83" y="276"/>
                  </a:cubicBezTo>
                  <a:cubicBezTo>
                    <a:pt x="84" y="276"/>
                    <a:pt x="85" y="277"/>
                    <a:pt x="86" y="277"/>
                  </a:cubicBezTo>
                  <a:cubicBezTo>
                    <a:pt x="87" y="279"/>
                    <a:pt x="87" y="280"/>
                    <a:pt x="89" y="280"/>
                  </a:cubicBezTo>
                  <a:cubicBezTo>
                    <a:pt x="91" y="280"/>
                    <a:pt x="92" y="280"/>
                    <a:pt x="94" y="281"/>
                  </a:cubicBezTo>
                  <a:cubicBezTo>
                    <a:pt x="95" y="282"/>
                    <a:pt x="95" y="282"/>
                    <a:pt x="96" y="283"/>
                  </a:cubicBezTo>
                  <a:cubicBezTo>
                    <a:pt x="97" y="283"/>
                    <a:pt x="98" y="284"/>
                    <a:pt x="99" y="284"/>
                  </a:cubicBezTo>
                  <a:cubicBezTo>
                    <a:pt x="100" y="284"/>
                    <a:pt x="100" y="283"/>
                    <a:pt x="101" y="282"/>
                  </a:cubicBezTo>
                  <a:cubicBezTo>
                    <a:pt x="102" y="282"/>
                    <a:pt x="104" y="280"/>
                    <a:pt x="105" y="281"/>
                  </a:cubicBezTo>
                  <a:cubicBezTo>
                    <a:pt x="106" y="281"/>
                    <a:pt x="106" y="282"/>
                    <a:pt x="106" y="282"/>
                  </a:cubicBezTo>
                  <a:cubicBezTo>
                    <a:pt x="107" y="282"/>
                    <a:pt x="107" y="281"/>
                    <a:pt x="108" y="280"/>
                  </a:cubicBezTo>
                  <a:cubicBezTo>
                    <a:pt x="109" y="279"/>
                    <a:pt x="111" y="277"/>
                    <a:pt x="112" y="275"/>
                  </a:cubicBezTo>
                  <a:cubicBezTo>
                    <a:pt x="113" y="272"/>
                    <a:pt x="114" y="267"/>
                    <a:pt x="111" y="264"/>
                  </a:cubicBezTo>
                  <a:cubicBezTo>
                    <a:pt x="108" y="262"/>
                    <a:pt x="105" y="264"/>
                    <a:pt x="103" y="261"/>
                  </a:cubicBezTo>
                  <a:cubicBezTo>
                    <a:pt x="103" y="260"/>
                    <a:pt x="103" y="259"/>
                    <a:pt x="102" y="259"/>
                  </a:cubicBezTo>
                  <a:cubicBezTo>
                    <a:pt x="102" y="258"/>
                    <a:pt x="101" y="258"/>
                    <a:pt x="100" y="258"/>
                  </a:cubicBezTo>
                  <a:cubicBezTo>
                    <a:pt x="99" y="257"/>
                    <a:pt x="99" y="257"/>
                    <a:pt x="98" y="256"/>
                  </a:cubicBezTo>
                  <a:cubicBezTo>
                    <a:pt x="96" y="255"/>
                    <a:pt x="91" y="254"/>
                    <a:pt x="89" y="256"/>
                  </a:cubicBezTo>
                  <a:cubicBezTo>
                    <a:pt x="86" y="258"/>
                    <a:pt x="95" y="263"/>
                    <a:pt x="94" y="267"/>
                  </a:cubicBezTo>
                  <a:cubicBezTo>
                    <a:pt x="92" y="267"/>
                    <a:pt x="93" y="266"/>
                    <a:pt x="92" y="266"/>
                  </a:cubicBezTo>
                  <a:cubicBezTo>
                    <a:pt x="91" y="265"/>
                    <a:pt x="89" y="265"/>
                    <a:pt x="88" y="264"/>
                  </a:cubicBezTo>
                  <a:cubicBezTo>
                    <a:pt x="87" y="263"/>
                    <a:pt x="86" y="262"/>
                    <a:pt x="84" y="261"/>
                  </a:cubicBezTo>
                  <a:cubicBezTo>
                    <a:pt x="82" y="260"/>
                    <a:pt x="81" y="261"/>
                    <a:pt x="81" y="258"/>
                  </a:cubicBezTo>
                  <a:cubicBezTo>
                    <a:pt x="81" y="256"/>
                    <a:pt x="81" y="254"/>
                    <a:pt x="82" y="253"/>
                  </a:cubicBezTo>
                  <a:cubicBezTo>
                    <a:pt x="83" y="252"/>
                    <a:pt x="84" y="251"/>
                    <a:pt x="84" y="250"/>
                  </a:cubicBezTo>
                  <a:cubicBezTo>
                    <a:pt x="85" y="250"/>
                    <a:pt x="88" y="250"/>
                    <a:pt x="89" y="250"/>
                  </a:cubicBezTo>
                  <a:cubicBezTo>
                    <a:pt x="92" y="249"/>
                    <a:pt x="89" y="248"/>
                    <a:pt x="90" y="246"/>
                  </a:cubicBezTo>
                  <a:cubicBezTo>
                    <a:pt x="91" y="244"/>
                    <a:pt x="94" y="244"/>
                    <a:pt x="92" y="242"/>
                  </a:cubicBezTo>
                  <a:cubicBezTo>
                    <a:pt x="92" y="241"/>
                    <a:pt x="91" y="242"/>
                    <a:pt x="90" y="241"/>
                  </a:cubicBezTo>
                  <a:cubicBezTo>
                    <a:pt x="90" y="240"/>
                    <a:pt x="90" y="239"/>
                    <a:pt x="90" y="239"/>
                  </a:cubicBezTo>
                  <a:cubicBezTo>
                    <a:pt x="91" y="233"/>
                    <a:pt x="99" y="237"/>
                    <a:pt x="101" y="239"/>
                  </a:cubicBezTo>
                  <a:cubicBezTo>
                    <a:pt x="102" y="239"/>
                    <a:pt x="103" y="240"/>
                    <a:pt x="103" y="241"/>
                  </a:cubicBezTo>
                  <a:cubicBezTo>
                    <a:pt x="104" y="242"/>
                    <a:pt x="104" y="243"/>
                    <a:pt x="104" y="244"/>
                  </a:cubicBezTo>
                  <a:cubicBezTo>
                    <a:pt x="104" y="245"/>
                    <a:pt x="104" y="244"/>
                    <a:pt x="105" y="245"/>
                  </a:cubicBezTo>
                  <a:cubicBezTo>
                    <a:pt x="107" y="247"/>
                    <a:pt x="109" y="248"/>
                    <a:pt x="111" y="250"/>
                  </a:cubicBezTo>
                  <a:cubicBezTo>
                    <a:pt x="112" y="252"/>
                    <a:pt x="111" y="253"/>
                    <a:pt x="111" y="255"/>
                  </a:cubicBezTo>
                  <a:cubicBezTo>
                    <a:pt x="111" y="257"/>
                    <a:pt x="112" y="257"/>
                    <a:pt x="114" y="257"/>
                  </a:cubicBezTo>
                  <a:cubicBezTo>
                    <a:pt x="115" y="257"/>
                    <a:pt x="117" y="256"/>
                    <a:pt x="117" y="255"/>
                  </a:cubicBezTo>
                  <a:cubicBezTo>
                    <a:pt x="118" y="255"/>
                    <a:pt x="120" y="255"/>
                    <a:pt x="120" y="257"/>
                  </a:cubicBezTo>
                  <a:cubicBezTo>
                    <a:pt x="121" y="258"/>
                    <a:pt x="120" y="259"/>
                    <a:pt x="121" y="259"/>
                  </a:cubicBezTo>
                  <a:cubicBezTo>
                    <a:pt x="122" y="260"/>
                    <a:pt x="125" y="260"/>
                    <a:pt x="126" y="261"/>
                  </a:cubicBezTo>
                  <a:cubicBezTo>
                    <a:pt x="127" y="261"/>
                    <a:pt x="129" y="262"/>
                    <a:pt x="130" y="263"/>
                  </a:cubicBezTo>
                  <a:cubicBezTo>
                    <a:pt x="131" y="263"/>
                    <a:pt x="132" y="264"/>
                    <a:pt x="133" y="264"/>
                  </a:cubicBezTo>
                  <a:cubicBezTo>
                    <a:pt x="136" y="266"/>
                    <a:pt x="137" y="268"/>
                    <a:pt x="137" y="272"/>
                  </a:cubicBezTo>
                  <a:cubicBezTo>
                    <a:pt x="137" y="273"/>
                    <a:pt x="137" y="274"/>
                    <a:pt x="138" y="275"/>
                  </a:cubicBezTo>
                  <a:cubicBezTo>
                    <a:pt x="139" y="276"/>
                    <a:pt x="140" y="277"/>
                    <a:pt x="141" y="278"/>
                  </a:cubicBezTo>
                  <a:cubicBezTo>
                    <a:pt x="142" y="279"/>
                    <a:pt x="142" y="278"/>
                    <a:pt x="143" y="280"/>
                  </a:cubicBezTo>
                  <a:cubicBezTo>
                    <a:pt x="143" y="281"/>
                    <a:pt x="143" y="283"/>
                    <a:pt x="143" y="284"/>
                  </a:cubicBezTo>
                  <a:cubicBezTo>
                    <a:pt x="143" y="286"/>
                    <a:pt x="143" y="297"/>
                    <a:pt x="146" y="296"/>
                  </a:cubicBezTo>
                  <a:cubicBezTo>
                    <a:pt x="147" y="296"/>
                    <a:pt x="147" y="294"/>
                    <a:pt x="148" y="293"/>
                  </a:cubicBezTo>
                  <a:cubicBezTo>
                    <a:pt x="148" y="292"/>
                    <a:pt x="149" y="290"/>
                    <a:pt x="149" y="288"/>
                  </a:cubicBezTo>
                  <a:cubicBezTo>
                    <a:pt x="150" y="286"/>
                    <a:pt x="150" y="284"/>
                    <a:pt x="151" y="282"/>
                  </a:cubicBezTo>
                  <a:cubicBezTo>
                    <a:pt x="152" y="281"/>
                    <a:pt x="152" y="280"/>
                    <a:pt x="152" y="279"/>
                  </a:cubicBezTo>
                  <a:cubicBezTo>
                    <a:pt x="153" y="279"/>
                    <a:pt x="154" y="278"/>
                    <a:pt x="154" y="278"/>
                  </a:cubicBezTo>
                  <a:cubicBezTo>
                    <a:pt x="154" y="277"/>
                    <a:pt x="154" y="276"/>
                    <a:pt x="154" y="275"/>
                  </a:cubicBezTo>
                  <a:cubicBezTo>
                    <a:pt x="154" y="274"/>
                    <a:pt x="155" y="275"/>
                    <a:pt x="155" y="274"/>
                  </a:cubicBezTo>
                  <a:cubicBezTo>
                    <a:pt x="155" y="273"/>
                    <a:pt x="155" y="272"/>
                    <a:pt x="155" y="271"/>
                  </a:cubicBezTo>
                  <a:cubicBezTo>
                    <a:pt x="155" y="268"/>
                    <a:pt x="156" y="265"/>
                    <a:pt x="157" y="261"/>
                  </a:cubicBezTo>
                  <a:cubicBezTo>
                    <a:pt x="157" y="259"/>
                    <a:pt x="159" y="257"/>
                    <a:pt x="160" y="25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5" name="Freeform 107">
              <a:extLst>
                <a:ext uri="{FF2B5EF4-FFF2-40B4-BE49-F238E27FC236}">
                  <a16:creationId xmlns:a16="http://schemas.microsoft.com/office/drawing/2014/main" id="{AF567074-ABF9-4E39-AB07-614B03516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3495675"/>
              <a:ext cx="180975" cy="300038"/>
            </a:xfrm>
            <a:custGeom>
              <a:avLst/>
              <a:gdLst/>
              <a:ahLst/>
              <a:cxnLst>
                <a:cxn ang="0">
                  <a:pos x="44" y="49"/>
                </a:cxn>
                <a:cxn ang="0">
                  <a:pos x="52" y="51"/>
                </a:cxn>
                <a:cxn ang="0">
                  <a:pos x="63" y="54"/>
                </a:cxn>
                <a:cxn ang="0">
                  <a:pos x="57" y="52"/>
                </a:cxn>
                <a:cxn ang="0">
                  <a:pos x="53" y="43"/>
                </a:cxn>
                <a:cxn ang="0">
                  <a:pos x="54" y="32"/>
                </a:cxn>
                <a:cxn ang="0">
                  <a:pos x="60" y="34"/>
                </a:cxn>
                <a:cxn ang="0">
                  <a:pos x="51" y="33"/>
                </a:cxn>
                <a:cxn ang="0">
                  <a:pos x="59" y="19"/>
                </a:cxn>
                <a:cxn ang="0">
                  <a:pos x="68" y="14"/>
                </a:cxn>
                <a:cxn ang="0">
                  <a:pos x="73" y="3"/>
                </a:cxn>
                <a:cxn ang="0">
                  <a:pos x="80" y="11"/>
                </a:cxn>
                <a:cxn ang="0">
                  <a:pos x="89" y="19"/>
                </a:cxn>
                <a:cxn ang="0">
                  <a:pos x="86" y="29"/>
                </a:cxn>
                <a:cxn ang="0">
                  <a:pos x="93" y="34"/>
                </a:cxn>
                <a:cxn ang="0">
                  <a:pos x="96" y="43"/>
                </a:cxn>
                <a:cxn ang="0">
                  <a:pos x="93" y="48"/>
                </a:cxn>
                <a:cxn ang="0">
                  <a:pos x="95" y="59"/>
                </a:cxn>
                <a:cxn ang="0">
                  <a:pos x="94" y="65"/>
                </a:cxn>
                <a:cxn ang="0">
                  <a:pos x="78" y="67"/>
                </a:cxn>
                <a:cxn ang="0">
                  <a:pos x="75" y="79"/>
                </a:cxn>
                <a:cxn ang="0">
                  <a:pos x="82" y="91"/>
                </a:cxn>
                <a:cxn ang="0">
                  <a:pos x="71" y="99"/>
                </a:cxn>
                <a:cxn ang="0">
                  <a:pos x="60" y="108"/>
                </a:cxn>
                <a:cxn ang="0">
                  <a:pos x="66" y="125"/>
                </a:cxn>
                <a:cxn ang="0">
                  <a:pos x="75" y="117"/>
                </a:cxn>
                <a:cxn ang="0">
                  <a:pos x="81" y="124"/>
                </a:cxn>
                <a:cxn ang="0">
                  <a:pos x="72" y="130"/>
                </a:cxn>
                <a:cxn ang="0">
                  <a:pos x="67" y="131"/>
                </a:cxn>
                <a:cxn ang="0">
                  <a:pos x="62" y="141"/>
                </a:cxn>
                <a:cxn ang="0">
                  <a:pos x="50" y="153"/>
                </a:cxn>
                <a:cxn ang="0">
                  <a:pos x="50" y="158"/>
                </a:cxn>
                <a:cxn ang="0">
                  <a:pos x="42" y="154"/>
                </a:cxn>
                <a:cxn ang="0">
                  <a:pos x="34" y="155"/>
                </a:cxn>
                <a:cxn ang="0">
                  <a:pos x="25" y="151"/>
                </a:cxn>
                <a:cxn ang="0">
                  <a:pos x="7" y="139"/>
                </a:cxn>
                <a:cxn ang="0">
                  <a:pos x="10" y="135"/>
                </a:cxn>
                <a:cxn ang="0">
                  <a:pos x="9" y="129"/>
                </a:cxn>
                <a:cxn ang="0">
                  <a:pos x="16" y="126"/>
                </a:cxn>
                <a:cxn ang="0">
                  <a:pos x="23" y="128"/>
                </a:cxn>
                <a:cxn ang="0">
                  <a:pos x="33" y="133"/>
                </a:cxn>
                <a:cxn ang="0">
                  <a:pos x="42" y="132"/>
                </a:cxn>
                <a:cxn ang="0">
                  <a:pos x="49" y="127"/>
                </a:cxn>
                <a:cxn ang="0">
                  <a:pos x="56" y="124"/>
                </a:cxn>
                <a:cxn ang="0">
                  <a:pos x="51" y="119"/>
                </a:cxn>
                <a:cxn ang="0">
                  <a:pos x="41" y="104"/>
                </a:cxn>
                <a:cxn ang="0">
                  <a:pos x="29" y="102"/>
                </a:cxn>
                <a:cxn ang="0">
                  <a:pos x="18" y="98"/>
                </a:cxn>
                <a:cxn ang="0">
                  <a:pos x="13" y="84"/>
                </a:cxn>
                <a:cxn ang="0">
                  <a:pos x="10" y="68"/>
                </a:cxn>
                <a:cxn ang="0">
                  <a:pos x="3" y="56"/>
                </a:cxn>
                <a:cxn ang="0">
                  <a:pos x="4" y="50"/>
                </a:cxn>
                <a:cxn ang="0">
                  <a:pos x="18" y="50"/>
                </a:cxn>
                <a:cxn ang="0">
                  <a:pos x="34" y="37"/>
                </a:cxn>
                <a:cxn ang="0">
                  <a:pos x="21" y="30"/>
                </a:cxn>
                <a:cxn ang="0">
                  <a:pos x="34" y="31"/>
                </a:cxn>
                <a:cxn ang="0">
                  <a:pos x="49" y="35"/>
                </a:cxn>
                <a:cxn ang="0">
                  <a:pos x="45" y="42"/>
                </a:cxn>
              </a:cxnLst>
              <a:rect l="0" t="0" r="r" b="b"/>
              <a:pathLst>
                <a:path w="97" h="161">
                  <a:moveTo>
                    <a:pt x="45" y="42"/>
                  </a:moveTo>
                  <a:cubicBezTo>
                    <a:pt x="45" y="43"/>
                    <a:pt x="41" y="46"/>
                    <a:pt x="42" y="48"/>
                  </a:cubicBezTo>
                  <a:cubicBezTo>
                    <a:pt x="42" y="49"/>
                    <a:pt x="43" y="49"/>
                    <a:pt x="44" y="49"/>
                  </a:cubicBezTo>
                  <a:cubicBezTo>
                    <a:pt x="46" y="49"/>
                    <a:pt x="46" y="49"/>
                    <a:pt x="48" y="50"/>
                  </a:cubicBezTo>
                  <a:cubicBezTo>
                    <a:pt x="49" y="52"/>
                    <a:pt x="48" y="54"/>
                    <a:pt x="50" y="56"/>
                  </a:cubicBezTo>
                  <a:cubicBezTo>
                    <a:pt x="53" y="59"/>
                    <a:pt x="52" y="53"/>
                    <a:pt x="52" y="51"/>
                  </a:cubicBezTo>
                  <a:cubicBezTo>
                    <a:pt x="55" y="52"/>
                    <a:pt x="58" y="54"/>
                    <a:pt x="60" y="54"/>
                  </a:cubicBezTo>
                  <a:cubicBezTo>
                    <a:pt x="61" y="54"/>
                    <a:pt x="61" y="54"/>
                    <a:pt x="62" y="54"/>
                  </a:cubicBezTo>
                  <a:cubicBezTo>
                    <a:pt x="62" y="54"/>
                    <a:pt x="62" y="54"/>
                    <a:pt x="63" y="54"/>
                  </a:cubicBezTo>
                  <a:cubicBezTo>
                    <a:pt x="64" y="53"/>
                    <a:pt x="60" y="50"/>
                    <a:pt x="59" y="51"/>
                  </a:cubicBezTo>
                  <a:cubicBezTo>
                    <a:pt x="59" y="51"/>
                    <a:pt x="59" y="52"/>
                    <a:pt x="59" y="52"/>
                  </a:cubicBezTo>
                  <a:cubicBezTo>
                    <a:pt x="58" y="52"/>
                    <a:pt x="58" y="52"/>
                    <a:pt x="57" y="52"/>
                  </a:cubicBezTo>
                  <a:cubicBezTo>
                    <a:pt x="57" y="52"/>
                    <a:pt x="54" y="50"/>
                    <a:pt x="54" y="50"/>
                  </a:cubicBezTo>
                  <a:cubicBezTo>
                    <a:pt x="53" y="49"/>
                    <a:pt x="53" y="48"/>
                    <a:pt x="53" y="48"/>
                  </a:cubicBezTo>
                  <a:cubicBezTo>
                    <a:pt x="52" y="47"/>
                    <a:pt x="52" y="44"/>
                    <a:pt x="53" y="43"/>
                  </a:cubicBezTo>
                  <a:cubicBezTo>
                    <a:pt x="53" y="42"/>
                    <a:pt x="55" y="42"/>
                    <a:pt x="55" y="41"/>
                  </a:cubicBezTo>
                  <a:cubicBezTo>
                    <a:pt x="57" y="39"/>
                    <a:pt x="54" y="38"/>
                    <a:pt x="54" y="36"/>
                  </a:cubicBezTo>
                  <a:cubicBezTo>
                    <a:pt x="53" y="35"/>
                    <a:pt x="54" y="34"/>
                    <a:pt x="54" y="32"/>
                  </a:cubicBezTo>
                  <a:cubicBezTo>
                    <a:pt x="54" y="31"/>
                    <a:pt x="53" y="29"/>
                    <a:pt x="55" y="30"/>
                  </a:cubicBezTo>
                  <a:cubicBezTo>
                    <a:pt x="57" y="30"/>
                    <a:pt x="56" y="34"/>
                    <a:pt x="58" y="35"/>
                  </a:cubicBezTo>
                  <a:cubicBezTo>
                    <a:pt x="58" y="36"/>
                    <a:pt x="60" y="36"/>
                    <a:pt x="60" y="34"/>
                  </a:cubicBezTo>
                  <a:cubicBezTo>
                    <a:pt x="61" y="33"/>
                    <a:pt x="59" y="32"/>
                    <a:pt x="58" y="31"/>
                  </a:cubicBezTo>
                  <a:cubicBezTo>
                    <a:pt x="57" y="31"/>
                    <a:pt x="55" y="31"/>
                    <a:pt x="54" y="31"/>
                  </a:cubicBezTo>
                  <a:cubicBezTo>
                    <a:pt x="52" y="31"/>
                    <a:pt x="52" y="32"/>
                    <a:pt x="51" y="33"/>
                  </a:cubicBezTo>
                  <a:cubicBezTo>
                    <a:pt x="50" y="32"/>
                    <a:pt x="49" y="27"/>
                    <a:pt x="50" y="26"/>
                  </a:cubicBezTo>
                  <a:cubicBezTo>
                    <a:pt x="51" y="25"/>
                    <a:pt x="54" y="26"/>
                    <a:pt x="55" y="25"/>
                  </a:cubicBezTo>
                  <a:cubicBezTo>
                    <a:pt x="57" y="23"/>
                    <a:pt x="58" y="20"/>
                    <a:pt x="59" y="19"/>
                  </a:cubicBezTo>
                  <a:cubicBezTo>
                    <a:pt x="60" y="17"/>
                    <a:pt x="62" y="15"/>
                    <a:pt x="63" y="14"/>
                  </a:cubicBezTo>
                  <a:cubicBezTo>
                    <a:pt x="64" y="14"/>
                    <a:pt x="65" y="13"/>
                    <a:pt x="67" y="12"/>
                  </a:cubicBezTo>
                  <a:cubicBezTo>
                    <a:pt x="67" y="13"/>
                    <a:pt x="67" y="13"/>
                    <a:pt x="68" y="14"/>
                  </a:cubicBezTo>
                  <a:cubicBezTo>
                    <a:pt x="67" y="11"/>
                    <a:pt x="65" y="9"/>
                    <a:pt x="66" y="7"/>
                  </a:cubicBezTo>
                  <a:cubicBezTo>
                    <a:pt x="66" y="4"/>
                    <a:pt x="67" y="0"/>
                    <a:pt x="70" y="0"/>
                  </a:cubicBezTo>
                  <a:cubicBezTo>
                    <a:pt x="72" y="0"/>
                    <a:pt x="72" y="1"/>
                    <a:pt x="73" y="3"/>
                  </a:cubicBezTo>
                  <a:cubicBezTo>
                    <a:pt x="74" y="4"/>
                    <a:pt x="74" y="7"/>
                    <a:pt x="76" y="8"/>
                  </a:cubicBezTo>
                  <a:cubicBezTo>
                    <a:pt x="77" y="8"/>
                    <a:pt x="78" y="7"/>
                    <a:pt x="79" y="8"/>
                  </a:cubicBezTo>
                  <a:cubicBezTo>
                    <a:pt x="79" y="8"/>
                    <a:pt x="79" y="10"/>
                    <a:pt x="80" y="11"/>
                  </a:cubicBezTo>
                  <a:cubicBezTo>
                    <a:pt x="80" y="12"/>
                    <a:pt x="81" y="13"/>
                    <a:pt x="82" y="14"/>
                  </a:cubicBezTo>
                  <a:cubicBezTo>
                    <a:pt x="83" y="14"/>
                    <a:pt x="83" y="12"/>
                    <a:pt x="84" y="11"/>
                  </a:cubicBezTo>
                  <a:cubicBezTo>
                    <a:pt x="86" y="14"/>
                    <a:pt x="89" y="16"/>
                    <a:pt x="89" y="19"/>
                  </a:cubicBezTo>
                  <a:cubicBezTo>
                    <a:pt x="90" y="20"/>
                    <a:pt x="91" y="20"/>
                    <a:pt x="92" y="22"/>
                  </a:cubicBezTo>
                  <a:cubicBezTo>
                    <a:pt x="92" y="23"/>
                    <a:pt x="90" y="23"/>
                    <a:pt x="89" y="24"/>
                  </a:cubicBezTo>
                  <a:cubicBezTo>
                    <a:pt x="87" y="26"/>
                    <a:pt x="85" y="27"/>
                    <a:pt x="86" y="29"/>
                  </a:cubicBezTo>
                  <a:cubicBezTo>
                    <a:pt x="87" y="30"/>
                    <a:pt x="87" y="31"/>
                    <a:pt x="87" y="33"/>
                  </a:cubicBezTo>
                  <a:cubicBezTo>
                    <a:pt x="87" y="33"/>
                    <a:pt x="87" y="36"/>
                    <a:pt x="87" y="36"/>
                  </a:cubicBezTo>
                  <a:cubicBezTo>
                    <a:pt x="89" y="38"/>
                    <a:pt x="91" y="34"/>
                    <a:pt x="93" y="34"/>
                  </a:cubicBezTo>
                  <a:cubicBezTo>
                    <a:pt x="94" y="34"/>
                    <a:pt x="95" y="37"/>
                    <a:pt x="96" y="38"/>
                  </a:cubicBezTo>
                  <a:cubicBezTo>
                    <a:pt x="96" y="39"/>
                    <a:pt x="97" y="40"/>
                    <a:pt x="97" y="41"/>
                  </a:cubicBezTo>
                  <a:cubicBezTo>
                    <a:pt x="97" y="42"/>
                    <a:pt x="96" y="42"/>
                    <a:pt x="96" y="43"/>
                  </a:cubicBezTo>
                  <a:cubicBezTo>
                    <a:pt x="96" y="43"/>
                    <a:pt x="96" y="43"/>
                    <a:pt x="95" y="44"/>
                  </a:cubicBezTo>
                  <a:cubicBezTo>
                    <a:pt x="95" y="45"/>
                    <a:pt x="96" y="45"/>
                    <a:pt x="95" y="46"/>
                  </a:cubicBezTo>
                  <a:cubicBezTo>
                    <a:pt x="95" y="47"/>
                    <a:pt x="95" y="47"/>
                    <a:pt x="93" y="48"/>
                  </a:cubicBezTo>
                  <a:cubicBezTo>
                    <a:pt x="88" y="49"/>
                    <a:pt x="93" y="52"/>
                    <a:pt x="95" y="54"/>
                  </a:cubicBezTo>
                  <a:cubicBezTo>
                    <a:pt x="95" y="55"/>
                    <a:pt x="95" y="56"/>
                    <a:pt x="95" y="57"/>
                  </a:cubicBezTo>
                  <a:cubicBezTo>
                    <a:pt x="95" y="58"/>
                    <a:pt x="95" y="58"/>
                    <a:pt x="95" y="59"/>
                  </a:cubicBezTo>
                  <a:cubicBezTo>
                    <a:pt x="96" y="60"/>
                    <a:pt x="96" y="60"/>
                    <a:pt x="96" y="60"/>
                  </a:cubicBezTo>
                  <a:cubicBezTo>
                    <a:pt x="97" y="62"/>
                    <a:pt x="97" y="60"/>
                    <a:pt x="97" y="62"/>
                  </a:cubicBezTo>
                  <a:cubicBezTo>
                    <a:pt x="96" y="63"/>
                    <a:pt x="94" y="64"/>
                    <a:pt x="94" y="65"/>
                  </a:cubicBezTo>
                  <a:cubicBezTo>
                    <a:pt x="92" y="65"/>
                    <a:pt x="90" y="67"/>
                    <a:pt x="88" y="67"/>
                  </a:cubicBezTo>
                  <a:cubicBezTo>
                    <a:pt x="86" y="66"/>
                    <a:pt x="88" y="65"/>
                    <a:pt x="86" y="65"/>
                  </a:cubicBezTo>
                  <a:cubicBezTo>
                    <a:pt x="84" y="64"/>
                    <a:pt x="80" y="66"/>
                    <a:pt x="78" y="67"/>
                  </a:cubicBezTo>
                  <a:cubicBezTo>
                    <a:pt x="76" y="68"/>
                    <a:pt x="73" y="69"/>
                    <a:pt x="71" y="70"/>
                  </a:cubicBezTo>
                  <a:cubicBezTo>
                    <a:pt x="68" y="71"/>
                    <a:pt x="67" y="72"/>
                    <a:pt x="68" y="75"/>
                  </a:cubicBezTo>
                  <a:cubicBezTo>
                    <a:pt x="69" y="78"/>
                    <a:pt x="72" y="78"/>
                    <a:pt x="75" y="79"/>
                  </a:cubicBezTo>
                  <a:cubicBezTo>
                    <a:pt x="77" y="80"/>
                    <a:pt x="80" y="81"/>
                    <a:pt x="81" y="83"/>
                  </a:cubicBezTo>
                  <a:cubicBezTo>
                    <a:pt x="81" y="84"/>
                    <a:pt x="82" y="85"/>
                    <a:pt x="82" y="86"/>
                  </a:cubicBezTo>
                  <a:cubicBezTo>
                    <a:pt x="83" y="88"/>
                    <a:pt x="82" y="90"/>
                    <a:pt x="82" y="91"/>
                  </a:cubicBezTo>
                  <a:cubicBezTo>
                    <a:pt x="82" y="93"/>
                    <a:pt x="82" y="95"/>
                    <a:pt x="80" y="97"/>
                  </a:cubicBezTo>
                  <a:cubicBezTo>
                    <a:pt x="79" y="98"/>
                    <a:pt x="77" y="99"/>
                    <a:pt x="75" y="99"/>
                  </a:cubicBezTo>
                  <a:cubicBezTo>
                    <a:pt x="74" y="99"/>
                    <a:pt x="72" y="98"/>
                    <a:pt x="71" y="99"/>
                  </a:cubicBezTo>
                  <a:cubicBezTo>
                    <a:pt x="69" y="100"/>
                    <a:pt x="70" y="102"/>
                    <a:pt x="69" y="103"/>
                  </a:cubicBezTo>
                  <a:cubicBezTo>
                    <a:pt x="68" y="104"/>
                    <a:pt x="67" y="105"/>
                    <a:pt x="65" y="105"/>
                  </a:cubicBezTo>
                  <a:cubicBezTo>
                    <a:pt x="63" y="106"/>
                    <a:pt x="60" y="104"/>
                    <a:pt x="60" y="108"/>
                  </a:cubicBezTo>
                  <a:cubicBezTo>
                    <a:pt x="63" y="108"/>
                    <a:pt x="68" y="108"/>
                    <a:pt x="66" y="112"/>
                  </a:cubicBezTo>
                  <a:cubicBezTo>
                    <a:pt x="66" y="115"/>
                    <a:pt x="64" y="116"/>
                    <a:pt x="65" y="119"/>
                  </a:cubicBezTo>
                  <a:cubicBezTo>
                    <a:pt x="67" y="117"/>
                    <a:pt x="66" y="124"/>
                    <a:pt x="66" y="125"/>
                  </a:cubicBezTo>
                  <a:cubicBezTo>
                    <a:pt x="69" y="122"/>
                    <a:pt x="70" y="121"/>
                    <a:pt x="73" y="121"/>
                  </a:cubicBezTo>
                  <a:cubicBezTo>
                    <a:pt x="75" y="121"/>
                    <a:pt x="75" y="122"/>
                    <a:pt x="75" y="120"/>
                  </a:cubicBezTo>
                  <a:cubicBezTo>
                    <a:pt x="76" y="119"/>
                    <a:pt x="75" y="118"/>
                    <a:pt x="75" y="117"/>
                  </a:cubicBezTo>
                  <a:cubicBezTo>
                    <a:pt x="79" y="116"/>
                    <a:pt x="85" y="118"/>
                    <a:pt x="87" y="121"/>
                  </a:cubicBezTo>
                  <a:cubicBezTo>
                    <a:pt x="87" y="123"/>
                    <a:pt x="88" y="123"/>
                    <a:pt x="86" y="124"/>
                  </a:cubicBezTo>
                  <a:cubicBezTo>
                    <a:pt x="85" y="124"/>
                    <a:pt x="83" y="124"/>
                    <a:pt x="81" y="124"/>
                  </a:cubicBezTo>
                  <a:cubicBezTo>
                    <a:pt x="79" y="124"/>
                    <a:pt x="78" y="124"/>
                    <a:pt x="77" y="126"/>
                  </a:cubicBezTo>
                  <a:cubicBezTo>
                    <a:pt x="77" y="126"/>
                    <a:pt x="77" y="128"/>
                    <a:pt x="76" y="128"/>
                  </a:cubicBezTo>
                  <a:cubicBezTo>
                    <a:pt x="74" y="129"/>
                    <a:pt x="73" y="128"/>
                    <a:pt x="72" y="130"/>
                  </a:cubicBezTo>
                  <a:cubicBezTo>
                    <a:pt x="71" y="131"/>
                    <a:pt x="71" y="132"/>
                    <a:pt x="71" y="133"/>
                  </a:cubicBezTo>
                  <a:cubicBezTo>
                    <a:pt x="70" y="133"/>
                    <a:pt x="67" y="134"/>
                    <a:pt x="67" y="133"/>
                  </a:cubicBezTo>
                  <a:cubicBezTo>
                    <a:pt x="66" y="133"/>
                    <a:pt x="67" y="132"/>
                    <a:pt x="67" y="131"/>
                  </a:cubicBezTo>
                  <a:cubicBezTo>
                    <a:pt x="64" y="130"/>
                    <a:pt x="63" y="131"/>
                    <a:pt x="64" y="133"/>
                  </a:cubicBezTo>
                  <a:cubicBezTo>
                    <a:pt x="65" y="135"/>
                    <a:pt x="66" y="138"/>
                    <a:pt x="65" y="139"/>
                  </a:cubicBezTo>
                  <a:cubicBezTo>
                    <a:pt x="64" y="141"/>
                    <a:pt x="63" y="141"/>
                    <a:pt x="62" y="141"/>
                  </a:cubicBezTo>
                  <a:cubicBezTo>
                    <a:pt x="61" y="142"/>
                    <a:pt x="60" y="142"/>
                    <a:pt x="59" y="143"/>
                  </a:cubicBezTo>
                  <a:cubicBezTo>
                    <a:pt x="58" y="144"/>
                    <a:pt x="57" y="145"/>
                    <a:pt x="56" y="146"/>
                  </a:cubicBezTo>
                  <a:cubicBezTo>
                    <a:pt x="54" y="149"/>
                    <a:pt x="53" y="151"/>
                    <a:pt x="50" y="153"/>
                  </a:cubicBezTo>
                  <a:cubicBezTo>
                    <a:pt x="49" y="154"/>
                    <a:pt x="49" y="154"/>
                    <a:pt x="49" y="155"/>
                  </a:cubicBezTo>
                  <a:cubicBezTo>
                    <a:pt x="48" y="157"/>
                    <a:pt x="49" y="159"/>
                    <a:pt x="49" y="161"/>
                  </a:cubicBezTo>
                  <a:cubicBezTo>
                    <a:pt x="49" y="160"/>
                    <a:pt x="50" y="159"/>
                    <a:pt x="50" y="158"/>
                  </a:cubicBezTo>
                  <a:cubicBezTo>
                    <a:pt x="51" y="157"/>
                    <a:pt x="50" y="156"/>
                    <a:pt x="49" y="155"/>
                  </a:cubicBezTo>
                  <a:cubicBezTo>
                    <a:pt x="47" y="154"/>
                    <a:pt x="47" y="154"/>
                    <a:pt x="45" y="154"/>
                  </a:cubicBezTo>
                  <a:cubicBezTo>
                    <a:pt x="44" y="154"/>
                    <a:pt x="43" y="153"/>
                    <a:pt x="42" y="154"/>
                  </a:cubicBezTo>
                  <a:cubicBezTo>
                    <a:pt x="41" y="154"/>
                    <a:pt x="40" y="154"/>
                    <a:pt x="39" y="154"/>
                  </a:cubicBezTo>
                  <a:cubicBezTo>
                    <a:pt x="38" y="154"/>
                    <a:pt x="37" y="154"/>
                    <a:pt x="36" y="154"/>
                  </a:cubicBezTo>
                  <a:cubicBezTo>
                    <a:pt x="35" y="154"/>
                    <a:pt x="35" y="154"/>
                    <a:pt x="34" y="155"/>
                  </a:cubicBezTo>
                  <a:cubicBezTo>
                    <a:pt x="33" y="155"/>
                    <a:pt x="29" y="156"/>
                    <a:pt x="28" y="155"/>
                  </a:cubicBezTo>
                  <a:cubicBezTo>
                    <a:pt x="27" y="154"/>
                    <a:pt x="28" y="153"/>
                    <a:pt x="27" y="153"/>
                  </a:cubicBezTo>
                  <a:cubicBezTo>
                    <a:pt x="27" y="152"/>
                    <a:pt x="26" y="151"/>
                    <a:pt x="25" y="151"/>
                  </a:cubicBezTo>
                  <a:cubicBezTo>
                    <a:pt x="21" y="149"/>
                    <a:pt x="18" y="147"/>
                    <a:pt x="14" y="147"/>
                  </a:cubicBezTo>
                  <a:cubicBezTo>
                    <a:pt x="11" y="147"/>
                    <a:pt x="11" y="146"/>
                    <a:pt x="10" y="144"/>
                  </a:cubicBezTo>
                  <a:cubicBezTo>
                    <a:pt x="8" y="143"/>
                    <a:pt x="5" y="142"/>
                    <a:pt x="7" y="139"/>
                  </a:cubicBezTo>
                  <a:cubicBezTo>
                    <a:pt x="7" y="139"/>
                    <a:pt x="7" y="138"/>
                    <a:pt x="8" y="137"/>
                  </a:cubicBezTo>
                  <a:cubicBezTo>
                    <a:pt x="8" y="137"/>
                    <a:pt x="9" y="137"/>
                    <a:pt x="10" y="137"/>
                  </a:cubicBezTo>
                  <a:cubicBezTo>
                    <a:pt x="10" y="136"/>
                    <a:pt x="11" y="136"/>
                    <a:pt x="10" y="135"/>
                  </a:cubicBezTo>
                  <a:cubicBezTo>
                    <a:pt x="10" y="135"/>
                    <a:pt x="10" y="134"/>
                    <a:pt x="9" y="134"/>
                  </a:cubicBezTo>
                  <a:cubicBezTo>
                    <a:pt x="9" y="134"/>
                    <a:pt x="9" y="134"/>
                    <a:pt x="9" y="133"/>
                  </a:cubicBezTo>
                  <a:cubicBezTo>
                    <a:pt x="8" y="132"/>
                    <a:pt x="8" y="130"/>
                    <a:pt x="9" y="129"/>
                  </a:cubicBezTo>
                  <a:cubicBezTo>
                    <a:pt x="9" y="127"/>
                    <a:pt x="10" y="126"/>
                    <a:pt x="12" y="125"/>
                  </a:cubicBezTo>
                  <a:cubicBezTo>
                    <a:pt x="13" y="125"/>
                    <a:pt x="14" y="124"/>
                    <a:pt x="15" y="125"/>
                  </a:cubicBezTo>
                  <a:cubicBezTo>
                    <a:pt x="16" y="125"/>
                    <a:pt x="16" y="125"/>
                    <a:pt x="16" y="126"/>
                  </a:cubicBezTo>
                  <a:cubicBezTo>
                    <a:pt x="17" y="126"/>
                    <a:pt x="18" y="127"/>
                    <a:pt x="19" y="128"/>
                  </a:cubicBezTo>
                  <a:cubicBezTo>
                    <a:pt x="20" y="128"/>
                    <a:pt x="21" y="128"/>
                    <a:pt x="22" y="128"/>
                  </a:cubicBezTo>
                  <a:cubicBezTo>
                    <a:pt x="22" y="128"/>
                    <a:pt x="22" y="128"/>
                    <a:pt x="23" y="128"/>
                  </a:cubicBezTo>
                  <a:cubicBezTo>
                    <a:pt x="23" y="128"/>
                    <a:pt x="24" y="130"/>
                    <a:pt x="24" y="130"/>
                  </a:cubicBezTo>
                  <a:cubicBezTo>
                    <a:pt x="26" y="132"/>
                    <a:pt x="28" y="133"/>
                    <a:pt x="30" y="132"/>
                  </a:cubicBezTo>
                  <a:cubicBezTo>
                    <a:pt x="32" y="132"/>
                    <a:pt x="32" y="132"/>
                    <a:pt x="33" y="133"/>
                  </a:cubicBezTo>
                  <a:cubicBezTo>
                    <a:pt x="34" y="135"/>
                    <a:pt x="35" y="137"/>
                    <a:pt x="37" y="135"/>
                  </a:cubicBezTo>
                  <a:cubicBezTo>
                    <a:pt x="38" y="134"/>
                    <a:pt x="38" y="133"/>
                    <a:pt x="40" y="132"/>
                  </a:cubicBezTo>
                  <a:cubicBezTo>
                    <a:pt x="40" y="132"/>
                    <a:pt x="41" y="132"/>
                    <a:pt x="42" y="132"/>
                  </a:cubicBezTo>
                  <a:cubicBezTo>
                    <a:pt x="42" y="130"/>
                    <a:pt x="41" y="128"/>
                    <a:pt x="42" y="127"/>
                  </a:cubicBezTo>
                  <a:cubicBezTo>
                    <a:pt x="43" y="126"/>
                    <a:pt x="46" y="124"/>
                    <a:pt x="47" y="125"/>
                  </a:cubicBezTo>
                  <a:cubicBezTo>
                    <a:pt x="48" y="125"/>
                    <a:pt x="48" y="126"/>
                    <a:pt x="49" y="127"/>
                  </a:cubicBezTo>
                  <a:cubicBezTo>
                    <a:pt x="49" y="125"/>
                    <a:pt x="48" y="120"/>
                    <a:pt x="49" y="119"/>
                  </a:cubicBezTo>
                  <a:cubicBezTo>
                    <a:pt x="50" y="119"/>
                    <a:pt x="52" y="121"/>
                    <a:pt x="52" y="121"/>
                  </a:cubicBezTo>
                  <a:cubicBezTo>
                    <a:pt x="54" y="123"/>
                    <a:pt x="54" y="123"/>
                    <a:pt x="56" y="124"/>
                  </a:cubicBezTo>
                  <a:cubicBezTo>
                    <a:pt x="57" y="124"/>
                    <a:pt x="57" y="125"/>
                    <a:pt x="58" y="125"/>
                  </a:cubicBezTo>
                  <a:cubicBezTo>
                    <a:pt x="58" y="124"/>
                    <a:pt x="58" y="123"/>
                    <a:pt x="58" y="123"/>
                  </a:cubicBezTo>
                  <a:cubicBezTo>
                    <a:pt x="57" y="121"/>
                    <a:pt x="52" y="119"/>
                    <a:pt x="51" y="119"/>
                  </a:cubicBezTo>
                  <a:cubicBezTo>
                    <a:pt x="50" y="117"/>
                    <a:pt x="48" y="115"/>
                    <a:pt x="46" y="113"/>
                  </a:cubicBezTo>
                  <a:cubicBezTo>
                    <a:pt x="44" y="112"/>
                    <a:pt x="44" y="111"/>
                    <a:pt x="44" y="109"/>
                  </a:cubicBezTo>
                  <a:cubicBezTo>
                    <a:pt x="44" y="106"/>
                    <a:pt x="44" y="106"/>
                    <a:pt x="41" y="104"/>
                  </a:cubicBezTo>
                  <a:cubicBezTo>
                    <a:pt x="39" y="104"/>
                    <a:pt x="38" y="104"/>
                    <a:pt x="36" y="103"/>
                  </a:cubicBezTo>
                  <a:cubicBezTo>
                    <a:pt x="35" y="103"/>
                    <a:pt x="35" y="103"/>
                    <a:pt x="34" y="102"/>
                  </a:cubicBezTo>
                  <a:cubicBezTo>
                    <a:pt x="33" y="102"/>
                    <a:pt x="31" y="102"/>
                    <a:pt x="29" y="102"/>
                  </a:cubicBezTo>
                  <a:cubicBezTo>
                    <a:pt x="28" y="102"/>
                    <a:pt x="27" y="103"/>
                    <a:pt x="26" y="103"/>
                  </a:cubicBezTo>
                  <a:cubicBezTo>
                    <a:pt x="25" y="103"/>
                    <a:pt x="23" y="101"/>
                    <a:pt x="22" y="100"/>
                  </a:cubicBezTo>
                  <a:cubicBezTo>
                    <a:pt x="21" y="100"/>
                    <a:pt x="18" y="98"/>
                    <a:pt x="18" y="98"/>
                  </a:cubicBezTo>
                  <a:cubicBezTo>
                    <a:pt x="18" y="97"/>
                    <a:pt x="18" y="96"/>
                    <a:pt x="18" y="96"/>
                  </a:cubicBezTo>
                  <a:cubicBezTo>
                    <a:pt x="18" y="93"/>
                    <a:pt x="17" y="77"/>
                    <a:pt x="13" y="78"/>
                  </a:cubicBezTo>
                  <a:cubicBezTo>
                    <a:pt x="12" y="80"/>
                    <a:pt x="13" y="82"/>
                    <a:pt x="13" y="84"/>
                  </a:cubicBezTo>
                  <a:cubicBezTo>
                    <a:pt x="13" y="82"/>
                    <a:pt x="12" y="77"/>
                    <a:pt x="14" y="76"/>
                  </a:cubicBezTo>
                  <a:cubicBezTo>
                    <a:pt x="14" y="75"/>
                    <a:pt x="16" y="75"/>
                    <a:pt x="15" y="73"/>
                  </a:cubicBezTo>
                  <a:cubicBezTo>
                    <a:pt x="14" y="71"/>
                    <a:pt x="11" y="71"/>
                    <a:pt x="10" y="68"/>
                  </a:cubicBezTo>
                  <a:cubicBezTo>
                    <a:pt x="9" y="67"/>
                    <a:pt x="10" y="65"/>
                    <a:pt x="10" y="64"/>
                  </a:cubicBezTo>
                  <a:cubicBezTo>
                    <a:pt x="10" y="63"/>
                    <a:pt x="10" y="62"/>
                    <a:pt x="10" y="61"/>
                  </a:cubicBezTo>
                  <a:cubicBezTo>
                    <a:pt x="9" y="58"/>
                    <a:pt x="5" y="58"/>
                    <a:pt x="3" y="56"/>
                  </a:cubicBezTo>
                  <a:cubicBezTo>
                    <a:pt x="2" y="55"/>
                    <a:pt x="2" y="55"/>
                    <a:pt x="2" y="53"/>
                  </a:cubicBezTo>
                  <a:cubicBezTo>
                    <a:pt x="1" y="52"/>
                    <a:pt x="0" y="51"/>
                    <a:pt x="1" y="50"/>
                  </a:cubicBezTo>
                  <a:cubicBezTo>
                    <a:pt x="2" y="49"/>
                    <a:pt x="3" y="49"/>
                    <a:pt x="4" y="50"/>
                  </a:cubicBezTo>
                  <a:cubicBezTo>
                    <a:pt x="5" y="51"/>
                    <a:pt x="6" y="53"/>
                    <a:pt x="7" y="54"/>
                  </a:cubicBezTo>
                  <a:cubicBezTo>
                    <a:pt x="9" y="55"/>
                    <a:pt x="10" y="50"/>
                    <a:pt x="11" y="49"/>
                  </a:cubicBezTo>
                  <a:cubicBezTo>
                    <a:pt x="13" y="46"/>
                    <a:pt x="16" y="51"/>
                    <a:pt x="18" y="50"/>
                  </a:cubicBezTo>
                  <a:cubicBezTo>
                    <a:pt x="21" y="50"/>
                    <a:pt x="23" y="45"/>
                    <a:pt x="25" y="43"/>
                  </a:cubicBezTo>
                  <a:cubicBezTo>
                    <a:pt x="27" y="42"/>
                    <a:pt x="28" y="41"/>
                    <a:pt x="30" y="41"/>
                  </a:cubicBezTo>
                  <a:cubicBezTo>
                    <a:pt x="31" y="40"/>
                    <a:pt x="35" y="40"/>
                    <a:pt x="34" y="37"/>
                  </a:cubicBezTo>
                  <a:cubicBezTo>
                    <a:pt x="34" y="36"/>
                    <a:pt x="33" y="36"/>
                    <a:pt x="32" y="35"/>
                  </a:cubicBezTo>
                  <a:cubicBezTo>
                    <a:pt x="31" y="35"/>
                    <a:pt x="30" y="34"/>
                    <a:pt x="28" y="33"/>
                  </a:cubicBezTo>
                  <a:cubicBezTo>
                    <a:pt x="26" y="31"/>
                    <a:pt x="24" y="31"/>
                    <a:pt x="21" y="30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3" y="27"/>
                    <a:pt x="25" y="29"/>
                    <a:pt x="28" y="30"/>
                  </a:cubicBezTo>
                  <a:cubicBezTo>
                    <a:pt x="30" y="31"/>
                    <a:pt x="32" y="31"/>
                    <a:pt x="34" y="31"/>
                  </a:cubicBezTo>
                  <a:cubicBezTo>
                    <a:pt x="35" y="30"/>
                    <a:pt x="36" y="30"/>
                    <a:pt x="36" y="29"/>
                  </a:cubicBezTo>
                  <a:cubicBezTo>
                    <a:pt x="40" y="28"/>
                    <a:pt x="45" y="28"/>
                    <a:pt x="48" y="28"/>
                  </a:cubicBezTo>
                  <a:cubicBezTo>
                    <a:pt x="49" y="30"/>
                    <a:pt x="50" y="34"/>
                    <a:pt x="49" y="35"/>
                  </a:cubicBezTo>
                  <a:cubicBezTo>
                    <a:pt x="49" y="36"/>
                    <a:pt x="46" y="36"/>
                    <a:pt x="46" y="37"/>
                  </a:cubicBezTo>
                  <a:cubicBezTo>
                    <a:pt x="45" y="39"/>
                    <a:pt x="46" y="41"/>
                    <a:pt x="46" y="43"/>
                  </a:cubicBezTo>
                  <a:lnTo>
                    <a:pt x="45" y="4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6" name="Freeform 108">
              <a:extLst>
                <a:ext uri="{FF2B5EF4-FFF2-40B4-BE49-F238E27FC236}">
                  <a16:creationId xmlns:a16="http://schemas.microsoft.com/office/drawing/2014/main" id="{CA88344B-1EC7-4D60-B6C5-557006996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0938" y="3663950"/>
              <a:ext cx="55563" cy="58738"/>
            </a:xfrm>
            <a:custGeom>
              <a:avLst/>
              <a:gdLst/>
              <a:ahLst/>
              <a:cxnLst>
                <a:cxn ang="0">
                  <a:pos x="26" y="15"/>
                </a:cxn>
                <a:cxn ang="0">
                  <a:pos x="20" y="8"/>
                </a:cxn>
                <a:cxn ang="0">
                  <a:pos x="9" y="0"/>
                </a:cxn>
                <a:cxn ang="0">
                  <a:pos x="2" y="5"/>
                </a:cxn>
                <a:cxn ang="0">
                  <a:pos x="3" y="18"/>
                </a:cxn>
                <a:cxn ang="0">
                  <a:pos x="10" y="29"/>
                </a:cxn>
                <a:cxn ang="0">
                  <a:pos x="19" y="31"/>
                </a:cxn>
                <a:cxn ang="0">
                  <a:pos x="28" y="28"/>
                </a:cxn>
                <a:cxn ang="0">
                  <a:pos x="28" y="16"/>
                </a:cxn>
              </a:cxnLst>
              <a:rect l="0" t="0" r="r" b="b"/>
              <a:pathLst>
                <a:path w="30" h="32">
                  <a:moveTo>
                    <a:pt x="26" y="15"/>
                  </a:moveTo>
                  <a:cubicBezTo>
                    <a:pt x="25" y="12"/>
                    <a:pt x="22" y="10"/>
                    <a:pt x="20" y="8"/>
                  </a:cubicBezTo>
                  <a:cubicBezTo>
                    <a:pt x="17" y="5"/>
                    <a:pt x="13" y="0"/>
                    <a:pt x="9" y="0"/>
                  </a:cubicBezTo>
                  <a:cubicBezTo>
                    <a:pt x="7" y="0"/>
                    <a:pt x="3" y="3"/>
                    <a:pt x="2" y="5"/>
                  </a:cubicBezTo>
                  <a:cubicBezTo>
                    <a:pt x="0" y="8"/>
                    <a:pt x="2" y="15"/>
                    <a:pt x="3" y="18"/>
                  </a:cubicBezTo>
                  <a:cubicBezTo>
                    <a:pt x="5" y="22"/>
                    <a:pt x="7" y="26"/>
                    <a:pt x="10" y="29"/>
                  </a:cubicBezTo>
                  <a:cubicBezTo>
                    <a:pt x="12" y="32"/>
                    <a:pt x="15" y="32"/>
                    <a:pt x="19" y="31"/>
                  </a:cubicBezTo>
                  <a:cubicBezTo>
                    <a:pt x="22" y="31"/>
                    <a:pt x="27" y="31"/>
                    <a:pt x="28" y="28"/>
                  </a:cubicBezTo>
                  <a:cubicBezTo>
                    <a:pt x="30" y="26"/>
                    <a:pt x="30" y="18"/>
                    <a:pt x="28" y="16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7" name="Freeform 109">
              <a:extLst>
                <a:ext uri="{FF2B5EF4-FFF2-40B4-BE49-F238E27FC236}">
                  <a16:creationId xmlns:a16="http://schemas.microsoft.com/office/drawing/2014/main" id="{90863ECC-74B7-4BF9-8DDC-6471FB672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5113" y="3727450"/>
              <a:ext cx="927100" cy="1235075"/>
            </a:xfrm>
            <a:custGeom>
              <a:avLst/>
              <a:gdLst/>
              <a:ahLst/>
              <a:cxnLst>
                <a:cxn ang="0">
                  <a:pos x="480" y="297"/>
                </a:cxn>
                <a:cxn ang="0">
                  <a:pos x="483" y="257"/>
                </a:cxn>
                <a:cxn ang="0">
                  <a:pos x="476" y="216"/>
                </a:cxn>
                <a:cxn ang="0">
                  <a:pos x="458" y="173"/>
                </a:cxn>
                <a:cxn ang="0">
                  <a:pos x="446" y="106"/>
                </a:cxn>
                <a:cxn ang="0">
                  <a:pos x="445" y="78"/>
                </a:cxn>
                <a:cxn ang="0">
                  <a:pos x="401" y="61"/>
                </a:cxn>
                <a:cxn ang="0">
                  <a:pos x="426" y="54"/>
                </a:cxn>
                <a:cxn ang="0">
                  <a:pos x="419" y="31"/>
                </a:cxn>
                <a:cxn ang="0">
                  <a:pos x="405" y="38"/>
                </a:cxn>
                <a:cxn ang="0">
                  <a:pos x="398" y="38"/>
                </a:cxn>
                <a:cxn ang="0">
                  <a:pos x="390" y="49"/>
                </a:cxn>
                <a:cxn ang="0">
                  <a:pos x="352" y="57"/>
                </a:cxn>
                <a:cxn ang="0">
                  <a:pos x="321" y="60"/>
                </a:cxn>
                <a:cxn ang="0">
                  <a:pos x="304" y="84"/>
                </a:cxn>
                <a:cxn ang="0">
                  <a:pos x="286" y="66"/>
                </a:cxn>
                <a:cxn ang="0">
                  <a:pos x="282" y="34"/>
                </a:cxn>
                <a:cxn ang="0">
                  <a:pos x="256" y="48"/>
                </a:cxn>
                <a:cxn ang="0">
                  <a:pos x="223" y="42"/>
                </a:cxn>
                <a:cxn ang="0">
                  <a:pos x="222" y="10"/>
                </a:cxn>
                <a:cxn ang="0">
                  <a:pos x="187" y="11"/>
                </a:cxn>
                <a:cxn ang="0">
                  <a:pos x="157" y="1"/>
                </a:cxn>
                <a:cxn ang="0">
                  <a:pos x="163" y="30"/>
                </a:cxn>
                <a:cxn ang="0">
                  <a:pos x="173" y="41"/>
                </a:cxn>
                <a:cxn ang="0">
                  <a:pos x="155" y="59"/>
                </a:cxn>
                <a:cxn ang="0">
                  <a:pos x="158" y="74"/>
                </a:cxn>
                <a:cxn ang="0">
                  <a:pos x="169" y="96"/>
                </a:cxn>
                <a:cxn ang="0">
                  <a:pos x="169" y="101"/>
                </a:cxn>
                <a:cxn ang="0">
                  <a:pos x="138" y="113"/>
                </a:cxn>
                <a:cxn ang="0">
                  <a:pos x="123" y="134"/>
                </a:cxn>
                <a:cxn ang="0">
                  <a:pos x="96" y="112"/>
                </a:cxn>
                <a:cxn ang="0">
                  <a:pos x="66" y="146"/>
                </a:cxn>
                <a:cxn ang="0">
                  <a:pos x="56" y="203"/>
                </a:cxn>
                <a:cxn ang="0">
                  <a:pos x="59" y="228"/>
                </a:cxn>
                <a:cxn ang="0">
                  <a:pos x="43" y="265"/>
                </a:cxn>
                <a:cxn ang="0">
                  <a:pos x="0" y="283"/>
                </a:cxn>
                <a:cxn ang="0">
                  <a:pos x="10" y="324"/>
                </a:cxn>
                <a:cxn ang="0">
                  <a:pos x="4" y="351"/>
                </a:cxn>
                <a:cxn ang="0">
                  <a:pos x="1" y="377"/>
                </a:cxn>
                <a:cxn ang="0">
                  <a:pos x="13" y="414"/>
                </a:cxn>
                <a:cxn ang="0">
                  <a:pos x="28" y="457"/>
                </a:cxn>
                <a:cxn ang="0">
                  <a:pos x="79" y="505"/>
                </a:cxn>
                <a:cxn ang="0">
                  <a:pos x="95" y="563"/>
                </a:cxn>
                <a:cxn ang="0">
                  <a:pos x="110" y="637"/>
                </a:cxn>
                <a:cxn ang="0">
                  <a:pos x="147" y="627"/>
                </a:cxn>
                <a:cxn ang="0">
                  <a:pos x="189" y="640"/>
                </a:cxn>
                <a:cxn ang="0">
                  <a:pos x="233" y="655"/>
                </a:cxn>
                <a:cxn ang="0">
                  <a:pos x="289" y="643"/>
                </a:cxn>
                <a:cxn ang="0">
                  <a:pos x="341" y="629"/>
                </a:cxn>
                <a:cxn ang="0">
                  <a:pos x="375" y="634"/>
                </a:cxn>
                <a:cxn ang="0">
                  <a:pos x="364" y="603"/>
                </a:cxn>
                <a:cxn ang="0">
                  <a:pos x="398" y="571"/>
                </a:cxn>
                <a:cxn ang="0">
                  <a:pos x="418" y="552"/>
                </a:cxn>
                <a:cxn ang="0">
                  <a:pos x="398" y="517"/>
                </a:cxn>
                <a:cxn ang="0">
                  <a:pos x="365" y="488"/>
                </a:cxn>
                <a:cxn ang="0">
                  <a:pos x="354" y="445"/>
                </a:cxn>
                <a:cxn ang="0">
                  <a:pos x="339" y="413"/>
                </a:cxn>
                <a:cxn ang="0">
                  <a:pos x="361" y="401"/>
                </a:cxn>
                <a:cxn ang="0">
                  <a:pos x="392" y="392"/>
                </a:cxn>
                <a:cxn ang="0">
                  <a:pos x="412" y="380"/>
                </a:cxn>
                <a:cxn ang="0">
                  <a:pos x="446" y="363"/>
                </a:cxn>
                <a:cxn ang="0">
                  <a:pos x="472" y="359"/>
                </a:cxn>
                <a:cxn ang="0">
                  <a:pos x="496" y="326"/>
                </a:cxn>
              </a:cxnLst>
              <a:rect l="0" t="0" r="r" b="b"/>
              <a:pathLst>
                <a:path w="496" h="661">
                  <a:moveTo>
                    <a:pt x="496" y="323"/>
                  </a:moveTo>
                  <a:cubicBezTo>
                    <a:pt x="495" y="322"/>
                    <a:pt x="495" y="321"/>
                    <a:pt x="494" y="320"/>
                  </a:cubicBezTo>
                  <a:cubicBezTo>
                    <a:pt x="494" y="319"/>
                    <a:pt x="493" y="318"/>
                    <a:pt x="492" y="317"/>
                  </a:cubicBezTo>
                  <a:cubicBezTo>
                    <a:pt x="492" y="317"/>
                    <a:pt x="491" y="317"/>
                    <a:pt x="491" y="316"/>
                  </a:cubicBezTo>
                  <a:cubicBezTo>
                    <a:pt x="491" y="316"/>
                    <a:pt x="491" y="315"/>
                    <a:pt x="490" y="314"/>
                  </a:cubicBezTo>
                  <a:cubicBezTo>
                    <a:pt x="490" y="312"/>
                    <a:pt x="490" y="311"/>
                    <a:pt x="489" y="309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6"/>
                    <a:pt x="484" y="306"/>
                    <a:pt x="483" y="305"/>
                  </a:cubicBezTo>
                  <a:cubicBezTo>
                    <a:pt x="482" y="304"/>
                    <a:pt x="481" y="303"/>
                    <a:pt x="479" y="302"/>
                  </a:cubicBezTo>
                  <a:cubicBezTo>
                    <a:pt x="478" y="301"/>
                    <a:pt x="478" y="301"/>
                    <a:pt x="478" y="301"/>
                  </a:cubicBezTo>
                  <a:cubicBezTo>
                    <a:pt x="477" y="300"/>
                    <a:pt x="476" y="299"/>
                    <a:pt x="477" y="298"/>
                  </a:cubicBezTo>
                  <a:cubicBezTo>
                    <a:pt x="478" y="298"/>
                    <a:pt x="479" y="298"/>
                    <a:pt x="479" y="297"/>
                  </a:cubicBezTo>
                  <a:cubicBezTo>
                    <a:pt x="479" y="297"/>
                    <a:pt x="480" y="297"/>
                    <a:pt x="480" y="297"/>
                  </a:cubicBezTo>
                  <a:cubicBezTo>
                    <a:pt x="480" y="296"/>
                    <a:pt x="481" y="296"/>
                    <a:pt x="481" y="295"/>
                  </a:cubicBezTo>
                  <a:cubicBezTo>
                    <a:pt x="481" y="293"/>
                    <a:pt x="480" y="291"/>
                    <a:pt x="480" y="289"/>
                  </a:cubicBezTo>
                  <a:cubicBezTo>
                    <a:pt x="480" y="290"/>
                    <a:pt x="479" y="288"/>
                    <a:pt x="479" y="288"/>
                  </a:cubicBezTo>
                  <a:cubicBezTo>
                    <a:pt x="479" y="288"/>
                    <a:pt x="478" y="288"/>
                    <a:pt x="478" y="287"/>
                  </a:cubicBezTo>
                  <a:cubicBezTo>
                    <a:pt x="478" y="287"/>
                    <a:pt x="478" y="286"/>
                    <a:pt x="478" y="286"/>
                  </a:cubicBezTo>
                  <a:cubicBezTo>
                    <a:pt x="477" y="284"/>
                    <a:pt x="475" y="282"/>
                    <a:pt x="474" y="280"/>
                  </a:cubicBezTo>
                  <a:cubicBezTo>
                    <a:pt x="475" y="279"/>
                    <a:pt x="476" y="278"/>
                    <a:pt x="477" y="278"/>
                  </a:cubicBezTo>
                  <a:cubicBezTo>
                    <a:pt x="476" y="278"/>
                    <a:pt x="475" y="279"/>
                    <a:pt x="474" y="278"/>
                  </a:cubicBezTo>
                  <a:cubicBezTo>
                    <a:pt x="474" y="277"/>
                    <a:pt x="474" y="274"/>
                    <a:pt x="474" y="273"/>
                  </a:cubicBezTo>
                  <a:cubicBezTo>
                    <a:pt x="474" y="270"/>
                    <a:pt x="473" y="269"/>
                    <a:pt x="477" y="268"/>
                  </a:cubicBezTo>
                  <a:cubicBezTo>
                    <a:pt x="479" y="268"/>
                    <a:pt x="481" y="268"/>
                    <a:pt x="482" y="266"/>
                  </a:cubicBezTo>
                  <a:cubicBezTo>
                    <a:pt x="482" y="265"/>
                    <a:pt x="482" y="265"/>
                    <a:pt x="482" y="265"/>
                  </a:cubicBezTo>
                  <a:cubicBezTo>
                    <a:pt x="482" y="262"/>
                    <a:pt x="482" y="260"/>
                    <a:pt x="483" y="257"/>
                  </a:cubicBezTo>
                  <a:cubicBezTo>
                    <a:pt x="483" y="254"/>
                    <a:pt x="485" y="251"/>
                    <a:pt x="482" y="249"/>
                  </a:cubicBezTo>
                  <a:cubicBezTo>
                    <a:pt x="482" y="248"/>
                    <a:pt x="479" y="247"/>
                    <a:pt x="479" y="246"/>
                  </a:cubicBezTo>
                  <a:cubicBezTo>
                    <a:pt x="478" y="245"/>
                    <a:pt x="479" y="245"/>
                    <a:pt x="479" y="244"/>
                  </a:cubicBezTo>
                  <a:cubicBezTo>
                    <a:pt x="479" y="243"/>
                    <a:pt x="478" y="242"/>
                    <a:pt x="478" y="240"/>
                  </a:cubicBezTo>
                  <a:cubicBezTo>
                    <a:pt x="478" y="240"/>
                    <a:pt x="478" y="238"/>
                    <a:pt x="478" y="238"/>
                  </a:cubicBezTo>
                  <a:cubicBezTo>
                    <a:pt x="477" y="237"/>
                    <a:pt x="476" y="237"/>
                    <a:pt x="476" y="237"/>
                  </a:cubicBezTo>
                  <a:cubicBezTo>
                    <a:pt x="476" y="237"/>
                    <a:pt x="476" y="236"/>
                    <a:pt x="475" y="236"/>
                  </a:cubicBezTo>
                  <a:cubicBezTo>
                    <a:pt x="475" y="236"/>
                    <a:pt x="475" y="236"/>
                    <a:pt x="474" y="235"/>
                  </a:cubicBezTo>
                  <a:cubicBezTo>
                    <a:pt x="474" y="234"/>
                    <a:pt x="473" y="231"/>
                    <a:pt x="473" y="230"/>
                  </a:cubicBezTo>
                  <a:cubicBezTo>
                    <a:pt x="473" y="228"/>
                    <a:pt x="473" y="227"/>
                    <a:pt x="473" y="225"/>
                  </a:cubicBezTo>
                  <a:cubicBezTo>
                    <a:pt x="472" y="223"/>
                    <a:pt x="472" y="224"/>
                    <a:pt x="473" y="223"/>
                  </a:cubicBezTo>
                  <a:cubicBezTo>
                    <a:pt x="474" y="221"/>
                    <a:pt x="475" y="221"/>
                    <a:pt x="475" y="219"/>
                  </a:cubicBezTo>
                  <a:cubicBezTo>
                    <a:pt x="476" y="218"/>
                    <a:pt x="476" y="217"/>
                    <a:pt x="476" y="216"/>
                  </a:cubicBezTo>
                  <a:cubicBezTo>
                    <a:pt x="476" y="215"/>
                    <a:pt x="477" y="213"/>
                    <a:pt x="477" y="212"/>
                  </a:cubicBezTo>
                  <a:cubicBezTo>
                    <a:pt x="476" y="209"/>
                    <a:pt x="472" y="209"/>
                    <a:pt x="470" y="206"/>
                  </a:cubicBezTo>
                  <a:cubicBezTo>
                    <a:pt x="470" y="206"/>
                    <a:pt x="470" y="205"/>
                    <a:pt x="470" y="205"/>
                  </a:cubicBezTo>
                  <a:cubicBezTo>
                    <a:pt x="469" y="203"/>
                    <a:pt x="469" y="201"/>
                    <a:pt x="467" y="200"/>
                  </a:cubicBezTo>
                  <a:cubicBezTo>
                    <a:pt x="466" y="198"/>
                    <a:pt x="465" y="198"/>
                    <a:pt x="464" y="197"/>
                  </a:cubicBezTo>
                  <a:cubicBezTo>
                    <a:pt x="463" y="196"/>
                    <a:pt x="462" y="196"/>
                    <a:pt x="461" y="195"/>
                  </a:cubicBezTo>
                  <a:cubicBezTo>
                    <a:pt x="459" y="194"/>
                    <a:pt x="458" y="193"/>
                    <a:pt x="457" y="191"/>
                  </a:cubicBezTo>
                  <a:cubicBezTo>
                    <a:pt x="456" y="190"/>
                    <a:pt x="455" y="189"/>
                    <a:pt x="453" y="188"/>
                  </a:cubicBezTo>
                  <a:cubicBezTo>
                    <a:pt x="453" y="187"/>
                    <a:pt x="451" y="187"/>
                    <a:pt x="451" y="185"/>
                  </a:cubicBezTo>
                  <a:cubicBezTo>
                    <a:pt x="451" y="185"/>
                    <a:pt x="452" y="184"/>
                    <a:pt x="452" y="184"/>
                  </a:cubicBezTo>
                  <a:cubicBezTo>
                    <a:pt x="452" y="184"/>
                    <a:pt x="452" y="183"/>
                    <a:pt x="452" y="183"/>
                  </a:cubicBezTo>
                  <a:cubicBezTo>
                    <a:pt x="453" y="181"/>
                    <a:pt x="454" y="179"/>
                    <a:pt x="455" y="177"/>
                  </a:cubicBezTo>
                  <a:cubicBezTo>
                    <a:pt x="456" y="176"/>
                    <a:pt x="457" y="175"/>
                    <a:pt x="458" y="173"/>
                  </a:cubicBezTo>
                  <a:cubicBezTo>
                    <a:pt x="458" y="172"/>
                    <a:pt x="459" y="171"/>
                    <a:pt x="459" y="170"/>
                  </a:cubicBezTo>
                  <a:cubicBezTo>
                    <a:pt x="460" y="169"/>
                    <a:pt x="461" y="169"/>
                    <a:pt x="461" y="169"/>
                  </a:cubicBezTo>
                  <a:cubicBezTo>
                    <a:pt x="462" y="168"/>
                    <a:pt x="463" y="165"/>
                    <a:pt x="464" y="164"/>
                  </a:cubicBezTo>
                  <a:cubicBezTo>
                    <a:pt x="466" y="162"/>
                    <a:pt x="467" y="161"/>
                    <a:pt x="468" y="158"/>
                  </a:cubicBezTo>
                  <a:cubicBezTo>
                    <a:pt x="469" y="156"/>
                    <a:pt x="469" y="154"/>
                    <a:pt x="469" y="151"/>
                  </a:cubicBezTo>
                  <a:cubicBezTo>
                    <a:pt x="469" y="149"/>
                    <a:pt x="470" y="145"/>
                    <a:pt x="469" y="143"/>
                  </a:cubicBezTo>
                  <a:cubicBezTo>
                    <a:pt x="468" y="140"/>
                    <a:pt x="466" y="137"/>
                    <a:pt x="465" y="135"/>
                  </a:cubicBezTo>
                  <a:cubicBezTo>
                    <a:pt x="463" y="130"/>
                    <a:pt x="462" y="126"/>
                    <a:pt x="460" y="121"/>
                  </a:cubicBezTo>
                  <a:cubicBezTo>
                    <a:pt x="460" y="119"/>
                    <a:pt x="459" y="116"/>
                    <a:pt x="459" y="114"/>
                  </a:cubicBezTo>
                  <a:cubicBezTo>
                    <a:pt x="458" y="112"/>
                    <a:pt x="459" y="109"/>
                    <a:pt x="459" y="107"/>
                  </a:cubicBezTo>
                  <a:cubicBezTo>
                    <a:pt x="459" y="106"/>
                    <a:pt x="458" y="101"/>
                    <a:pt x="457" y="102"/>
                  </a:cubicBezTo>
                  <a:cubicBezTo>
                    <a:pt x="456" y="103"/>
                    <a:pt x="454" y="106"/>
                    <a:pt x="452" y="106"/>
                  </a:cubicBezTo>
                  <a:cubicBezTo>
                    <a:pt x="450" y="107"/>
                    <a:pt x="447" y="106"/>
                    <a:pt x="446" y="106"/>
                  </a:cubicBezTo>
                  <a:cubicBezTo>
                    <a:pt x="445" y="105"/>
                    <a:pt x="444" y="104"/>
                    <a:pt x="443" y="103"/>
                  </a:cubicBezTo>
                  <a:cubicBezTo>
                    <a:pt x="441" y="102"/>
                    <a:pt x="438" y="101"/>
                    <a:pt x="437" y="100"/>
                  </a:cubicBezTo>
                  <a:cubicBezTo>
                    <a:pt x="437" y="100"/>
                    <a:pt x="437" y="99"/>
                    <a:pt x="437" y="98"/>
                  </a:cubicBezTo>
                  <a:cubicBezTo>
                    <a:pt x="437" y="98"/>
                    <a:pt x="436" y="97"/>
                    <a:pt x="436" y="96"/>
                  </a:cubicBezTo>
                  <a:cubicBezTo>
                    <a:pt x="439" y="94"/>
                    <a:pt x="442" y="95"/>
                    <a:pt x="445" y="95"/>
                  </a:cubicBezTo>
                  <a:cubicBezTo>
                    <a:pt x="447" y="95"/>
                    <a:pt x="448" y="94"/>
                    <a:pt x="450" y="94"/>
                  </a:cubicBezTo>
                  <a:cubicBezTo>
                    <a:pt x="451" y="93"/>
                    <a:pt x="452" y="93"/>
                    <a:pt x="453" y="93"/>
                  </a:cubicBezTo>
                  <a:cubicBezTo>
                    <a:pt x="454" y="93"/>
                    <a:pt x="455" y="93"/>
                    <a:pt x="456" y="93"/>
                  </a:cubicBezTo>
                  <a:cubicBezTo>
                    <a:pt x="456" y="92"/>
                    <a:pt x="455" y="92"/>
                    <a:pt x="455" y="91"/>
                  </a:cubicBezTo>
                  <a:cubicBezTo>
                    <a:pt x="454" y="90"/>
                    <a:pt x="454" y="90"/>
                    <a:pt x="454" y="89"/>
                  </a:cubicBezTo>
                  <a:cubicBezTo>
                    <a:pt x="453" y="88"/>
                    <a:pt x="452" y="87"/>
                    <a:pt x="451" y="86"/>
                  </a:cubicBezTo>
                  <a:cubicBezTo>
                    <a:pt x="450" y="84"/>
                    <a:pt x="449" y="83"/>
                    <a:pt x="448" y="81"/>
                  </a:cubicBezTo>
                  <a:cubicBezTo>
                    <a:pt x="447" y="80"/>
                    <a:pt x="446" y="80"/>
                    <a:pt x="445" y="78"/>
                  </a:cubicBezTo>
                  <a:cubicBezTo>
                    <a:pt x="443" y="76"/>
                    <a:pt x="440" y="74"/>
                    <a:pt x="438" y="72"/>
                  </a:cubicBezTo>
                  <a:cubicBezTo>
                    <a:pt x="437" y="72"/>
                    <a:pt x="436" y="71"/>
                    <a:pt x="434" y="71"/>
                  </a:cubicBezTo>
                  <a:cubicBezTo>
                    <a:pt x="434" y="69"/>
                    <a:pt x="426" y="67"/>
                    <a:pt x="426" y="70"/>
                  </a:cubicBezTo>
                  <a:cubicBezTo>
                    <a:pt x="427" y="72"/>
                    <a:pt x="431" y="73"/>
                    <a:pt x="431" y="75"/>
                  </a:cubicBezTo>
                  <a:cubicBezTo>
                    <a:pt x="431" y="77"/>
                    <a:pt x="428" y="75"/>
                    <a:pt x="427" y="74"/>
                  </a:cubicBezTo>
                  <a:cubicBezTo>
                    <a:pt x="425" y="73"/>
                    <a:pt x="424" y="73"/>
                    <a:pt x="422" y="73"/>
                  </a:cubicBezTo>
                  <a:cubicBezTo>
                    <a:pt x="421" y="72"/>
                    <a:pt x="421" y="72"/>
                    <a:pt x="420" y="72"/>
                  </a:cubicBezTo>
                  <a:cubicBezTo>
                    <a:pt x="418" y="71"/>
                    <a:pt x="418" y="72"/>
                    <a:pt x="416" y="72"/>
                  </a:cubicBezTo>
                  <a:cubicBezTo>
                    <a:pt x="415" y="72"/>
                    <a:pt x="413" y="72"/>
                    <a:pt x="412" y="71"/>
                  </a:cubicBezTo>
                  <a:cubicBezTo>
                    <a:pt x="410" y="70"/>
                    <a:pt x="410" y="69"/>
                    <a:pt x="409" y="67"/>
                  </a:cubicBezTo>
                  <a:cubicBezTo>
                    <a:pt x="408" y="66"/>
                    <a:pt x="405" y="65"/>
                    <a:pt x="404" y="63"/>
                  </a:cubicBezTo>
                  <a:cubicBezTo>
                    <a:pt x="403" y="63"/>
                    <a:pt x="403" y="61"/>
                    <a:pt x="402" y="61"/>
                  </a:cubicBezTo>
                  <a:cubicBezTo>
                    <a:pt x="402" y="61"/>
                    <a:pt x="401" y="61"/>
                    <a:pt x="401" y="61"/>
                  </a:cubicBezTo>
                  <a:cubicBezTo>
                    <a:pt x="399" y="61"/>
                    <a:pt x="398" y="60"/>
                    <a:pt x="397" y="60"/>
                  </a:cubicBezTo>
                  <a:cubicBezTo>
                    <a:pt x="396" y="59"/>
                    <a:pt x="396" y="59"/>
                    <a:pt x="395" y="59"/>
                  </a:cubicBezTo>
                  <a:cubicBezTo>
                    <a:pt x="394" y="58"/>
                    <a:pt x="394" y="58"/>
                    <a:pt x="396" y="56"/>
                  </a:cubicBezTo>
                  <a:cubicBezTo>
                    <a:pt x="397" y="55"/>
                    <a:pt x="397" y="55"/>
                    <a:pt x="399" y="55"/>
                  </a:cubicBezTo>
                  <a:cubicBezTo>
                    <a:pt x="399" y="58"/>
                    <a:pt x="403" y="57"/>
                    <a:pt x="405" y="57"/>
                  </a:cubicBezTo>
                  <a:cubicBezTo>
                    <a:pt x="406" y="59"/>
                    <a:pt x="405" y="61"/>
                    <a:pt x="407" y="62"/>
                  </a:cubicBezTo>
                  <a:cubicBezTo>
                    <a:pt x="409" y="63"/>
                    <a:pt x="410" y="61"/>
                    <a:pt x="410" y="59"/>
                  </a:cubicBezTo>
                  <a:cubicBezTo>
                    <a:pt x="410" y="59"/>
                    <a:pt x="410" y="58"/>
                    <a:pt x="410" y="57"/>
                  </a:cubicBezTo>
                  <a:cubicBezTo>
                    <a:pt x="410" y="56"/>
                    <a:pt x="410" y="56"/>
                    <a:pt x="410" y="55"/>
                  </a:cubicBezTo>
                  <a:cubicBezTo>
                    <a:pt x="410" y="53"/>
                    <a:pt x="409" y="51"/>
                    <a:pt x="411" y="50"/>
                  </a:cubicBezTo>
                  <a:cubicBezTo>
                    <a:pt x="413" y="50"/>
                    <a:pt x="413" y="52"/>
                    <a:pt x="415" y="52"/>
                  </a:cubicBezTo>
                  <a:cubicBezTo>
                    <a:pt x="416" y="52"/>
                    <a:pt x="416" y="50"/>
                    <a:pt x="418" y="50"/>
                  </a:cubicBezTo>
                  <a:cubicBezTo>
                    <a:pt x="421" y="50"/>
                    <a:pt x="423" y="53"/>
                    <a:pt x="426" y="54"/>
                  </a:cubicBezTo>
                  <a:cubicBezTo>
                    <a:pt x="429" y="55"/>
                    <a:pt x="429" y="53"/>
                    <a:pt x="429" y="50"/>
                  </a:cubicBezTo>
                  <a:cubicBezTo>
                    <a:pt x="428" y="50"/>
                    <a:pt x="427" y="50"/>
                    <a:pt x="425" y="49"/>
                  </a:cubicBezTo>
                  <a:cubicBezTo>
                    <a:pt x="424" y="49"/>
                    <a:pt x="424" y="48"/>
                    <a:pt x="424" y="47"/>
                  </a:cubicBezTo>
                  <a:cubicBezTo>
                    <a:pt x="422" y="46"/>
                    <a:pt x="420" y="46"/>
                    <a:pt x="419" y="46"/>
                  </a:cubicBezTo>
                  <a:cubicBezTo>
                    <a:pt x="418" y="45"/>
                    <a:pt x="417" y="45"/>
                    <a:pt x="416" y="44"/>
                  </a:cubicBezTo>
                  <a:cubicBezTo>
                    <a:pt x="415" y="44"/>
                    <a:pt x="413" y="43"/>
                    <a:pt x="414" y="42"/>
                  </a:cubicBezTo>
                  <a:cubicBezTo>
                    <a:pt x="415" y="41"/>
                    <a:pt x="418" y="40"/>
                    <a:pt x="419" y="40"/>
                  </a:cubicBezTo>
                  <a:cubicBezTo>
                    <a:pt x="419" y="39"/>
                    <a:pt x="419" y="39"/>
                    <a:pt x="420" y="39"/>
                  </a:cubicBezTo>
                  <a:cubicBezTo>
                    <a:pt x="420" y="38"/>
                    <a:pt x="420" y="38"/>
                    <a:pt x="420" y="37"/>
                  </a:cubicBezTo>
                  <a:cubicBezTo>
                    <a:pt x="420" y="36"/>
                    <a:pt x="421" y="36"/>
                    <a:pt x="422" y="36"/>
                  </a:cubicBezTo>
                  <a:cubicBezTo>
                    <a:pt x="424" y="35"/>
                    <a:pt x="425" y="36"/>
                    <a:pt x="425" y="34"/>
                  </a:cubicBezTo>
                  <a:cubicBezTo>
                    <a:pt x="425" y="33"/>
                    <a:pt x="425" y="32"/>
                    <a:pt x="424" y="31"/>
                  </a:cubicBezTo>
                  <a:cubicBezTo>
                    <a:pt x="422" y="31"/>
                    <a:pt x="421" y="31"/>
                    <a:pt x="419" y="31"/>
                  </a:cubicBezTo>
                  <a:cubicBezTo>
                    <a:pt x="418" y="32"/>
                    <a:pt x="417" y="32"/>
                    <a:pt x="416" y="32"/>
                  </a:cubicBezTo>
                  <a:cubicBezTo>
                    <a:pt x="415" y="32"/>
                    <a:pt x="415" y="31"/>
                    <a:pt x="414" y="31"/>
                  </a:cubicBezTo>
                  <a:cubicBezTo>
                    <a:pt x="414" y="31"/>
                    <a:pt x="414" y="31"/>
                    <a:pt x="413" y="31"/>
                  </a:cubicBezTo>
                  <a:cubicBezTo>
                    <a:pt x="413" y="31"/>
                    <a:pt x="413" y="30"/>
                    <a:pt x="413" y="30"/>
                  </a:cubicBezTo>
                  <a:cubicBezTo>
                    <a:pt x="412" y="30"/>
                    <a:pt x="411" y="30"/>
                    <a:pt x="410" y="30"/>
                  </a:cubicBezTo>
                  <a:cubicBezTo>
                    <a:pt x="410" y="31"/>
                    <a:pt x="410" y="32"/>
                    <a:pt x="410" y="33"/>
                  </a:cubicBezTo>
                  <a:cubicBezTo>
                    <a:pt x="412" y="33"/>
                    <a:pt x="413" y="34"/>
                    <a:pt x="414" y="35"/>
                  </a:cubicBezTo>
                  <a:cubicBezTo>
                    <a:pt x="416" y="35"/>
                    <a:pt x="419" y="35"/>
                    <a:pt x="419" y="36"/>
                  </a:cubicBezTo>
                  <a:cubicBezTo>
                    <a:pt x="418" y="37"/>
                    <a:pt x="417" y="38"/>
                    <a:pt x="416" y="38"/>
                  </a:cubicBezTo>
                  <a:cubicBezTo>
                    <a:pt x="416" y="38"/>
                    <a:pt x="415" y="38"/>
                    <a:pt x="414" y="38"/>
                  </a:cubicBezTo>
                  <a:cubicBezTo>
                    <a:pt x="413" y="38"/>
                    <a:pt x="411" y="40"/>
                    <a:pt x="410" y="39"/>
                  </a:cubicBezTo>
                  <a:cubicBezTo>
                    <a:pt x="409" y="39"/>
                    <a:pt x="409" y="37"/>
                    <a:pt x="408" y="37"/>
                  </a:cubicBezTo>
                  <a:cubicBezTo>
                    <a:pt x="406" y="36"/>
                    <a:pt x="406" y="37"/>
                    <a:pt x="405" y="38"/>
                  </a:cubicBezTo>
                  <a:cubicBezTo>
                    <a:pt x="404" y="36"/>
                    <a:pt x="402" y="33"/>
                    <a:pt x="404" y="31"/>
                  </a:cubicBezTo>
                  <a:cubicBezTo>
                    <a:pt x="404" y="31"/>
                    <a:pt x="404" y="30"/>
                    <a:pt x="405" y="30"/>
                  </a:cubicBezTo>
                  <a:cubicBezTo>
                    <a:pt x="405" y="30"/>
                    <a:pt x="406" y="30"/>
                    <a:pt x="406" y="30"/>
                  </a:cubicBezTo>
                  <a:cubicBezTo>
                    <a:pt x="407" y="30"/>
                    <a:pt x="408" y="29"/>
                    <a:pt x="408" y="29"/>
                  </a:cubicBezTo>
                  <a:cubicBezTo>
                    <a:pt x="409" y="28"/>
                    <a:pt x="408" y="28"/>
                    <a:pt x="407" y="27"/>
                  </a:cubicBezTo>
                  <a:cubicBezTo>
                    <a:pt x="407" y="27"/>
                    <a:pt x="408" y="27"/>
                    <a:pt x="408" y="26"/>
                  </a:cubicBezTo>
                  <a:cubicBezTo>
                    <a:pt x="408" y="25"/>
                    <a:pt x="409" y="24"/>
                    <a:pt x="408" y="23"/>
                  </a:cubicBezTo>
                  <a:cubicBezTo>
                    <a:pt x="406" y="22"/>
                    <a:pt x="403" y="23"/>
                    <a:pt x="402" y="24"/>
                  </a:cubicBezTo>
                  <a:cubicBezTo>
                    <a:pt x="401" y="26"/>
                    <a:pt x="401" y="27"/>
                    <a:pt x="401" y="28"/>
                  </a:cubicBezTo>
                  <a:cubicBezTo>
                    <a:pt x="401" y="29"/>
                    <a:pt x="401" y="29"/>
                    <a:pt x="401" y="30"/>
                  </a:cubicBezTo>
                  <a:cubicBezTo>
                    <a:pt x="401" y="30"/>
                    <a:pt x="401" y="30"/>
                    <a:pt x="400" y="30"/>
                  </a:cubicBezTo>
                  <a:cubicBezTo>
                    <a:pt x="400" y="30"/>
                    <a:pt x="400" y="31"/>
                    <a:pt x="399" y="31"/>
                  </a:cubicBezTo>
                  <a:cubicBezTo>
                    <a:pt x="398" y="33"/>
                    <a:pt x="397" y="36"/>
                    <a:pt x="398" y="38"/>
                  </a:cubicBezTo>
                  <a:cubicBezTo>
                    <a:pt x="400" y="37"/>
                    <a:pt x="401" y="38"/>
                    <a:pt x="403" y="38"/>
                  </a:cubicBezTo>
                  <a:cubicBezTo>
                    <a:pt x="403" y="39"/>
                    <a:pt x="403" y="40"/>
                    <a:pt x="403" y="40"/>
                  </a:cubicBezTo>
                  <a:cubicBezTo>
                    <a:pt x="404" y="41"/>
                    <a:pt x="404" y="41"/>
                    <a:pt x="403" y="42"/>
                  </a:cubicBezTo>
                  <a:cubicBezTo>
                    <a:pt x="402" y="42"/>
                    <a:pt x="401" y="41"/>
                    <a:pt x="401" y="43"/>
                  </a:cubicBezTo>
                  <a:cubicBezTo>
                    <a:pt x="401" y="43"/>
                    <a:pt x="401" y="45"/>
                    <a:pt x="401" y="45"/>
                  </a:cubicBezTo>
                  <a:cubicBezTo>
                    <a:pt x="401" y="46"/>
                    <a:pt x="402" y="46"/>
                    <a:pt x="402" y="46"/>
                  </a:cubicBezTo>
                  <a:cubicBezTo>
                    <a:pt x="403" y="47"/>
                    <a:pt x="404" y="47"/>
                    <a:pt x="404" y="48"/>
                  </a:cubicBezTo>
                  <a:cubicBezTo>
                    <a:pt x="405" y="49"/>
                    <a:pt x="405" y="48"/>
                    <a:pt x="405" y="49"/>
                  </a:cubicBezTo>
                  <a:cubicBezTo>
                    <a:pt x="405" y="51"/>
                    <a:pt x="401" y="51"/>
                    <a:pt x="401" y="49"/>
                  </a:cubicBezTo>
                  <a:cubicBezTo>
                    <a:pt x="399" y="49"/>
                    <a:pt x="399" y="50"/>
                    <a:pt x="398" y="51"/>
                  </a:cubicBezTo>
                  <a:cubicBezTo>
                    <a:pt x="398" y="51"/>
                    <a:pt x="397" y="54"/>
                    <a:pt x="397" y="54"/>
                  </a:cubicBezTo>
                  <a:cubicBezTo>
                    <a:pt x="395" y="55"/>
                    <a:pt x="391" y="54"/>
                    <a:pt x="390" y="53"/>
                  </a:cubicBezTo>
                  <a:cubicBezTo>
                    <a:pt x="389" y="52"/>
                    <a:pt x="390" y="50"/>
                    <a:pt x="390" y="49"/>
                  </a:cubicBezTo>
                  <a:cubicBezTo>
                    <a:pt x="389" y="48"/>
                    <a:pt x="389" y="46"/>
                    <a:pt x="388" y="45"/>
                  </a:cubicBezTo>
                  <a:cubicBezTo>
                    <a:pt x="387" y="44"/>
                    <a:pt x="387" y="44"/>
                    <a:pt x="386" y="45"/>
                  </a:cubicBezTo>
                  <a:cubicBezTo>
                    <a:pt x="385" y="45"/>
                    <a:pt x="385" y="46"/>
                    <a:pt x="384" y="47"/>
                  </a:cubicBezTo>
                  <a:cubicBezTo>
                    <a:pt x="382" y="50"/>
                    <a:pt x="377" y="49"/>
                    <a:pt x="373" y="49"/>
                  </a:cubicBezTo>
                  <a:cubicBezTo>
                    <a:pt x="372" y="49"/>
                    <a:pt x="372" y="49"/>
                    <a:pt x="371" y="48"/>
                  </a:cubicBezTo>
                  <a:cubicBezTo>
                    <a:pt x="371" y="48"/>
                    <a:pt x="371" y="48"/>
                    <a:pt x="370" y="48"/>
                  </a:cubicBezTo>
                  <a:cubicBezTo>
                    <a:pt x="369" y="47"/>
                    <a:pt x="370" y="48"/>
                    <a:pt x="369" y="48"/>
                  </a:cubicBezTo>
                  <a:cubicBezTo>
                    <a:pt x="368" y="48"/>
                    <a:pt x="366" y="49"/>
                    <a:pt x="366" y="49"/>
                  </a:cubicBezTo>
                  <a:cubicBezTo>
                    <a:pt x="365" y="49"/>
                    <a:pt x="364" y="49"/>
                    <a:pt x="363" y="49"/>
                  </a:cubicBezTo>
                  <a:cubicBezTo>
                    <a:pt x="362" y="50"/>
                    <a:pt x="363" y="50"/>
                    <a:pt x="362" y="50"/>
                  </a:cubicBezTo>
                  <a:cubicBezTo>
                    <a:pt x="360" y="51"/>
                    <a:pt x="360" y="51"/>
                    <a:pt x="360" y="53"/>
                  </a:cubicBezTo>
                  <a:cubicBezTo>
                    <a:pt x="359" y="54"/>
                    <a:pt x="360" y="57"/>
                    <a:pt x="358" y="56"/>
                  </a:cubicBezTo>
                  <a:cubicBezTo>
                    <a:pt x="358" y="58"/>
                    <a:pt x="353" y="57"/>
                    <a:pt x="352" y="57"/>
                  </a:cubicBezTo>
                  <a:cubicBezTo>
                    <a:pt x="350" y="58"/>
                    <a:pt x="350" y="59"/>
                    <a:pt x="348" y="59"/>
                  </a:cubicBezTo>
                  <a:cubicBezTo>
                    <a:pt x="347" y="59"/>
                    <a:pt x="346" y="59"/>
                    <a:pt x="345" y="58"/>
                  </a:cubicBezTo>
                  <a:cubicBezTo>
                    <a:pt x="344" y="58"/>
                    <a:pt x="344" y="57"/>
                    <a:pt x="343" y="57"/>
                  </a:cubicBezTo>
                  <a:cubicBezTo>
                    <a:pt x="342" y="59"/>
                    <a:pt x="341" y="61"/>
                    <a:pt x="340" y="60"/>
                  </a:cubicBezTo>
                  <a:cubicBezTo>
                    <a:pt x="339" y="60"/>
                    <a:pt x="338" y="58"/>
                    <a:pt x="337" y="59"/>
                  </a:cubicBezTo>
                  <a:cubicBezTo>
                    <a:pt x="337" y="59"/>
                    <a:pt x="336" y="60"/>
                    <a:pt x="335" y="60"/>
                  </a:cubicBezTo>
                  <a:cubicBezTo>
                    <a:pt x="335" y="61"/>
                    <a:pt x="335" y="61"/>
                    <a:pt x="334" y="62"/>
                  </a:cubicBezTo>
                  <a:cubicBezTo>
                    <a:pt x="332" y="63"/>
                    <a:pt x="331" y="65"/>
                    <a:pt x="329" y="64"/>
                  </a:cubicBezTo>
                  <a:cubicBezTo>
                    <a:pt x="328" y="64"/>
                    <a:pt x="328" y="64"/>
                    <a:pt x="328" y="63"/>
                  </a:cubicBezTo>
                  <a:cubicBezTo>
                    <a:pt x="328" y="62"/>
                    <a:pt x="327" y="62"/>
                    <a:pt x="327" y="61"/>
                  </a:cubicBezTo>
                  <a:cubicBezTo>
                    <a:pt x="325" y="61"/>
                    <a:pt x="325" y="60"/>
                    <a:pt x="323" y="60"/>
                  </a:cubicBezTo>
                  <a:cubicBezTo>
                    <a:pt x="323" y="60"/>
                    <a:pt x="322" y="60"/>
                    <a:pt x="322" y="60"/>
                  </a:cubicBezTo>
                  <a:cubicBezTo>
                    <a:pt x="322" y="60"/>
                    <a:pt x="321" y="60"/>
                    <a:pt x="321" y="60"/>
                  </a:cubicBezTo>
                  <a:cubicBezTo>
                    <a:pt x="320" y="61"/>
                    <a:pt x="319" y="61"/>
                    <a:pt x="318" y="62"/>
                  </a:cubicBezTo>
                  <a:cubicBezTo>
                    <a:pt x="317" y="63"/>
                    <a:pt x="316" y="65"/>
                    <a:pt x="317" y="67"/>
                  </a:cubicBezTo>
                  <a:cubicBezTo>
                    <a:pt x="317" y="68"/>
                    <a:pt x="319" y="69"/>
                    <a:pt x="318" y="70"/>
                  </a:cubicBezTo>
                  <a:cubicBezTo>
                    <a:pt x="318" y="70"/>
                    <a:pt x="317" y="71"/>
                    <a:pt x="316" y="71"/>
                  </a:cubicBezTo>
                  <a:cubicBezTo>
                    <a:pt x="316" y="72"/>
                    <a:pt x="315" y="73"/>
                    <a:pt x="315" y="73"/>
                  </a:cubicBezTo>
                  <a:cubicBezTo>
                    <a:pt x="314" y="74"/>
                    <a:pt x="314" y="74"/>
                    <a:pt x="312" y="74"/>
                  </a:cubicBezTo>
                  <a:cubicBezTo>
                    <a:pt x="310" y="75"/>
                    <a:pt x="309" y="76"/>
                    <a:pt x="308" y="77"/>
                  </a:cubicBezTo>
                  <a:cubicBezTo>
                    <a:pt x="308" y="78"/>
                    <a:pt x="307" y="78"/>
                    <a:pt x="308" y="79"/>
                  </a:cubicBezTo>
                  <a:cubicBezTo>
                    <a:pt x="308" y="80"/>
                    <a:pt x="311" y="80"/>
                    <a:pt x="311" y="80"/>
                  </a:cubicBezTo>
                  <a:cubicBezTo>
                    <a:pt x="311" y="81"/>
                    <a:pt x="311" y="82"/>
                    <a:pt x="310" y="83"/>
                  </a:cubicBezTo>
                  <a:cubicBezTo>
                    <a:pt x="309" y="83"/>
                    <a:pt x="308" y="83"/>
                    <a:pt x="307" y="83"/>
                  </a:cubicBezTo>
                  <a:cubicBezTo>
                    <a:pt x="306" y="83"/>
                    <a:pt x="305" y="82"/>
                    <a:pt x="304" y="83"/>
                  </a:cubicBezTo>
                  <a:cubicBezTo>
                    <a:pt x="304" y="83"/>
                    <a:pt x="304" y="84"/>
                    <a:pt x="304" y="84"/>
                  </a:cubicBezTo>
                  <a:cubicBezTo>
                    <a:pt x="303" y="84"/>
                    <a:pt x="303" y="84"/>
                    <a:pt x="303" y="84"/>
                  </a:cubicBezTo>
                  <a:cubicBezTo>
                    <a:pt x="302" y="84"/>
                    <a:pt x="302" y="84"/>
                    <a:pt x="301" y="85"/>
                  </a:cubicBezTo>
                  <a:cubicBezTo>
                    <a:pt x="301" y="85"/>
                    <a:pt x="300" y="86"/>
                    <a:pt x="299" y="87"/>
                  </a:cubicBezTo>
                  <a:cubicBezTo>
                    <a:pt x="298" y="87"/>
                    <a:pt x="296" y="87"/>
                    <a:pt x="295" y="85"/>
                  </a:cubicBezTo>
                  <a:cubicBezTo>
                    <a:pt x="292" y="83"/>
                    <a:pt x="289" y="80"/>
                    <a:pt x="285" y="80"/>
                  </a:cubicBezTo>
                  <a:cubicBezTo>
                    <a:pt x="283" y="79"/>
                    <a:pt x="283" y="80"/>
                    <a:pt x="281" y="80"/>
                  </a:cubicBezTo>
                  <a:cubicBezTo>
                    <a:pt x="278" y="81"/>
                    <a:pt x="275" y="78"/>
                    <a:pt x="272" y="78"/>
                  </a:cubicBezTo>
                  <a:cubicBezTo>
                    <a:pt x="272" y="77"/>
                    <a:pt x="273" y="76"/>
                    <a:pt x="273" y="76"/>
                  </a:cubicBezTo>
                  <a:cubicBezTo>
                    <a:pt x="274" y="75"/>
                    <a:pt x="275" y="75"/>
                    <a:pt x="275" y="75"/>
                  </a:cubicBezTo>
                  <a:cubicBezTo>
                    <a:pt x="275" y="75"/>
                    <a:pt x="276" y="73"/>
                    <a:pt x="276" y="73"/>
                  </a:cubicBezTo>
                  <a:cubicBezTo>
                    <a:pt x="278" y="71"/>
                    <a:pt x="280" y="70"/>
                    <a:pt x="281" y="69"/>
                  </a:cubicBezTo>
                  <a:cubicBezTo>
                    <a:pt x="282" y="68"/>
                    <a:pt x="282" y="68"/>
                    <a:pt x="283" y="67"/>
                  </a:cubicBezTo>
                  <a:cubicBezTo>
                    <a:pt x="284" y="66"/>
                    <a:pt x="285" y="67"/>
                    <a:pt x="286" y="66"/>
                  </a:cubicBezTo>
                  <a:cubicBezTo>
                    <a:pt x="288" y="65"/>
                    <a:pt x="286" y="63"/>
                    <a:pt x="285" y="61"/>
                  </a:cubicBezTo>
                  <a:cubicBezTo>
                    <a:pt x="284" y="61"/>
                    <a:pt x="284" y="61"/>
                    <a:pt x="284" y="59"/>
                  </a:cubicBezTo>
                  <a:cubicBezTo>
                    <a:pt x="284" y="59"/>
                    <a:pt x="284" y="57"/>
                    <a:pt x="284" y="57"/>
                  </a:cubicBezTo>
                  <a:cubicBezTo>
                    <a:pt x="285" y="54"/>
                    <a:pt x="284" y="50"/>
                    <a:pt x="285" y="48"/>
                  </a:cubicBezTo>
                  <a:cubicBezTo>
                    <a:pt x="286" y="47"/>
                    <a:pt x="289" y="48"/>
                    <a:pt x="290" y="48"/>
                  </a:cubicBezTo>
                  <a:cubicBezTo>
                    <a:pt x="292" y="48"/>
                    <a:pt x="294" y="48"/>
                    <a:pt x="295" y="48"/>
                  </a:cubicBezTo>
                  <a:cubicBezTo>
                    <a:pt x="298" y="47"/>
                    <a:pt x="298" y="46"/>
                    <a:pt x="297" y="43"/>
                  </a:cubicBezTo>
                  <a:cubicBezTo>
                    <a:pt x="296" y="43"/>
                    <a:pt x="296" y="42"/>
                    <a:pt x="295" y="42"/>
                  </a:cubicBezTo>
                  <a:cubicBezTo>
                    <a:pt x="295" y="40"/>
                    <a:pt x="294" y="40"/>
                    <a:pt x="293" y="38"/>
                  </a:cubicBezTo>
                  <a:cubicBezTo>
                    <a:pt x="293" y="37"/>
                    <a:pt x="292" y="35"/>
                    <a:pt x="291" y="35"/>
                  </a:cubicBezTo>
                  <a:cubicBezTo>
                    <a:pt x="291" y="34"/>
                    <a:pt x="289" y="35"/>
                    <a:pt x="288" y="34"/>
                  </a:cubicBezTo>
                  <a:cubicBezTo>
                    <a:pt x="288" y="34"/>
                    <a:pt x="287" y="34"/>
                    <a:pt x="286" y="34"/>
                  </a:cubicBezTo>
                  <a:cubicBezTo>
                    <a:pt x="285" y="34"/>
                    <a:pt x="283" y="34"/>
                    <a:pt x="282" y="34"/>
                  </a:cubicBezTo>
                  <a:cubicBezTo>
                    <a:pt x="281" y="35"/>
                    <a:pt x="280" y="35"/>
                    <a:pt x="280" y="36"/>
                  </a:cubicBezTo>
                  <a:cubicBezTo>
                    <a:pt x="279" y="38"/>
                    <a:pt x="278" y="39"/>
                    <a:pt x="278" y="41"/>
                  </a:cubicBezTo>
                  <a:cubicBezTo>
                    <a:pt x="278" y="42"/>
                    <a:pt x="279" y="43"/>
                    <a:pt x="280" y="43"/>
                  </a:cubicBezTo>
                  <a:cubicBezTo>
                    <a:pt x="281" y="44"/>
                    <a:pt x="284" y="46"/>
                    <a:pt x="285" y="46"/>
                  </a:cubicBezTo>
                  <a:cubicBezTo>
                    <a:pt x="285" y="48"/>
                    <a:pt x="285" y="46"/>
                    <a:pt x="284" y="48"/>
                  </a:cubicBezTo>
                  <a:cubicBezTo>
                    <a:pt x="284" y="48"/>
                    <a:pt x="284" y="50"/>
                    <a:pt x="283" y="50"/>
                  </a:cubicBezTo>
                  <a:cubicBezTo>
                    <a:pt x="283" y="52"/>
                    <a:pt x="280" y="50"/>
                    <a:pt x="279" y="50"/>
                  </a:cubicBezTo>
                  <a:cubicBezTo>
                    <a:pt x="277" y="50"/>
                    <a:pt x="275" y="50"/>
                    <a:pt x="273" y="51"/>
                  </a:cubicBezTo>
                  <a:cubicBezTo>
                    <a:pt x="272" y="52"/>
                    <a:pt x="271" y="52"/>
                    <a:pt x="270" y="53"/>
                  </a:cubicBezTo>
                  <a:cubicBezTo>
                    <a:pt x="268" y="54"/>
                    <a:pt x="268" y="55"/>
                    <a:pt x="266" y="55"/>
                  </a:cubicBezTo>
                  <a:cubicBezTo>
                    <a:pt x="264" y="55"/>
                    <a:pt x="262" y="55"/>
                    <a:pt x="262" y="53"/>
                  </a:cubicBezTo>
                  <a:cubicBezTo>
                    <a:pt x="262" y="51"/>
                    <a:pt x="262" y="49"/>
                    <a:pt x="260" y="48"/>
                  </a:cubicBezTo>
                  <a:cubicBezTo>
                    <a:pt x="259" y="48"/>
                    <a:pt x="257" y="48"/>
                    <a:pt x="256" y="48"/>
                  </a:cubicBezTo>
                  <a:cubicBezTo>
                    <a:pt x="254" y="48"/>
                    <a:pt x="253" y="49"/>
                    <a:pt x="252" y="48"/>
                  </a:cubicBezTo>
                  <a:cubicBezTo>
                    <a:pt x="251" y="47"/>
                    <a:pt x="251" y="46"/>
                    <a:pt x="249" y="46"/>
                  </a:cubicBezTo>
                  <a:cubicBezTo>
                    <a:pt x="248" y="46"/>
                    <a:pt x="247" y="46"/>
                    <a:pt x="245" y="46"/>
                  </a:cubicBezTo>
                  <a:cubicBezTo>
                    <a:pt x="245" y="46"/>
                    <a:pt x="244" y="46"/>
                    <a:pt x="244" y="45"/>
                  </a:cubicBezTo>
                  <a:cubicBezTo>
                    <a:pt x="243" y="45"/>
                    <a:pt x="242" y="45"/>
                    <a:pt x="242" y="46"/>
                  </a:cubicBezTo>
                  <a:cubicBezTo>
                    <a:pt x="241" y="46"/>
                    <a:pt x="242" y="47"/>
                    <a:pt x="241" y="47"/>
                  </a:cubicBezTo>
                  <a:cubicBezTo>
                    <a:pt x="240" y="48"/>
                    <a:pt x="240" y="48"/>
                    <a:pt x="239" y="48"/>
                  </a:cubicBezTo>
                  <a:cubicBezTo>
                    <a:pt x="238" y="49"/>
                    <a:pt x="236" y="50"/>
                    <a:pt x="235" y="48"/>
                  </a:cubicBezTo>
                  <a:cubicBezTo>
                    <a:pt x="235" y="48"/>
                    <a:pt x="236" y="46"/>
                    <a:pt x="236" y="46"/>
                  </a:cubicBezTo>
                  <a:cubicBezTo>
                    <a:pt x="236" y="44"/>
                    <a:pt x="236" y="42"/>
                    <a:pt x="234" y="41"/>
                  </a:cubicBezTo>
                  <a:cubicBezTo>
                    <a:pt x="232" y="41"/>
                    <a:pt x="232" y="42"/>
                    <a:pt x="230" y="42"/>
                  </a:cubicBezTo>
                  <a:cubicBezTo>
                    <a:pt x="229" y="42"/>
                    <a:pt x="229" y="42"/>
                    <a:pt x="228" y="42"/>
                  </a:cubicBezTo>
                  <a:cubicBezTo>
                    <a:pt x="226" y="42"/>
                    <a:pt x="224" y="41"/>
                    <a:pt x="223" y="42"/>
                  </a:cubicBezTo>
                  <a:cubicBezTo>
                    <a:pt x="222" y="42"/>
                    <a:pt x="222" y="43"/>
                    <a:pt x="220" y="43"/>
                  </a:cubicBezTo>
                  <a:cubicBezTo>
                    <a:pt x="219" y="44"/>
                    <a:pt x="218" y="44"/>
                    <a:pt x="217" y="43"/>
                  </a:cubicBezTo>
                  <a:cubicBezTo>
                    <a:pt x="218" y="42"/>
                    <a:pt x="218" y="40"/>
                    <a:pt x="220" y="38"/>
                  </a:cubicBezTo>
                  <a:cubicBezTo>
                    <a:pt x="221" y="38"/>
                    <a:pt x="222" y="37"/>
                    <a:pt x="223" y="37"/>
                  </a:cubicBezTo>
                  <a:cubicBezTo>
                    <a:pt x="223" y="37"/>
                    <a:pt x="225" y="36"/>
                    <a:pt x="225" y="36"/>
                  </a:cubicBezTo>
                  <a:cubicBezTo>
                    <a:pt x="225" y="36"/>
                    <a:pt x="225" y="34"/>
                    <a:pt x="225" y="34"/>
                  </a:cubicBezTo>
                  <a:cubicBezTo>
                    <a:pt x="225" y="32"/>
                    <a:pt x="225" y="31"/>
                    <a:pt x="225" y="30"/>
                  </a:cubicBezTo>
                  <a:cubicBezTo>
                    <a:pt x="225" y="29"/>
                    <a:pt x="226" y="27"/>
                    <a:pt x="226" y="26"/>
                  </a:cubicBezTo>
                  <a:cubicBezTo>
                    <a:pt x="225" y="25"/>
                    <a:pt x="224" y="25"/>
                    <a:pt x="224" y="24"/>
                  </a:cubicBezTo>
                  <a:cubicBezTo>
                    <a:pt x="224" y="23"/>
                    <a:pt x="224" y="23"/>
                    <a:pt x="225" y="22"/>
                  </a:cubicBezTo>
                  <a:cubicBezTo>
                    <a:pt x="225" y="21"/>
                    <a:pt x="224" y="20"/>
                    <a:pt x="222" y="20"/>
                  </a:cubicBezTo>
                  <a:cubicBezTo>
                    <a:pt x="222" y="18"/>
                    <a:pt x="224" y="16"/>
                    <a:pt x="224" y="14"/>
                  </a:cubicBezTo>
                  <a:cubicBezTo>
                    <a:pt x="224" y="13"/>
                    <a:pt x="223" y="10"/>
                    <a:pt x="222" y="10"/>
                  </a:cubicBezTo>
                  <a:cubicBezTo>
                    <a:pt x="221" y="9"/>
                    <a:pt x="219" y="11"/>
                    <a:pt x="218" y="11"/>
                  </a:cubicBezTo>
                  <a:cubicBezTo>
                    <a:pt x="217" y="12"/>
                    <a:pt x="217" y="13"/>
                    <a:pt x="216" y="13"/>
                  </a:cubicBezTo>
                  <a:cubicBezTo>
                    <a:pt x="215" y="13"/>
                    <a:pt x="214" y="12"/>
                    <a:pt x="213" y="12"/>
                  </a:cubicBezTo>
                  <a:cubicBezTo>
                    <a:pt x="212" y="11"/>
                    <a:pt x="212" y="11"/>
                    <a:pt x="211" y="10"/>
                  </a:cubicBezTo>
                  <a:cubicBezTo>
                    <a:pt x="209" y="9"/>
                    <a:pt x="208" y="9"/>
                    <a:pt x="206" y="9"/>
                  </a:cubicBezTo>
                  <a:cubicBezTo>
                    <a:pt x="204" y="9"/>
                    <a:pt x="204" y="8"/>
                    <a:pt x="203" y="6"/>
                  </a:cubicBezTo>
                  <a:cubicBezTo>
                    <a:pt x="202" y="6"/>
                    <a:pt x="201" y="5"/>
                    <a:pt x="200" y="5"/>
                  </a:cubicBezTo>
                  <a:cubicBezTo>
                    <a:pt x="199" y="5"/>
                    <a:pt x="199" y="5"/>
                    <a:pt x="198" y="5"/>
                  </a:cubicBezTo>
                  <a:cubicBezTo>
                    <a:pt x="198" y="5"/>
                    <a:pt x="197" y="5"/>
                    <a:pt x="196" y="5"/>
                  </a:cubicBezTo>
                  <a:cubicBezTo>
                    <a:pt x="196" y="5"/>
                    <a:pt x="195" y="4"/>
                    <a:pt x="194" y="5"/>
                  </a:cubicBezTo>
                  <a:cubicBezTo>
                    <a:pt x="193" y="5"/>
                    <a:pt x="193" y="6"/>
                    <a:pt x="192" y="7"/>
                  </a:cubicBezTo>
                  <a:cubicBezTo>
                    <a:pt x="191" y="8"/>
                    <a:pt x="191" y="8"/>
                    <a:pt x="189" y="8"/>
                  </a:cubicBezTo>
                  <a:cubicBezTo>
                    <a:pt x="188" y="9"/>
                    <a:pt x="188" y="10"/>
                    <a:pt x="187" y="11"/>
                  </a:cubicBezTo>
                  <a:cubicBezTo>
                    <a:pt x="186" y="11"/>
                    <a:pt x="185" y="11"/>
                    <a:pt x="184" y="11"/>
                  </a:cubicBezTo>
                  <a:cubicBezTo>
                    <a:pt x="182" y="11"/>
                    <a:pt x="181" y="11"/>
                    <a:pt x="181" y="9"/>
                  </a:cubicBezTo>
                  <a:cubicBezTo>
                    <a:pt x="181" y="7"/>
                    <a:pt x="181" y="6"/>
                    <a:pt x="180" y="5"/>
                  </a:cubicBezTo>
                  <a:cubicBezTo>
                    <a:pt x="180" y="5"/>
                    <a:pt x="180" y="5"/>
                    <a:pt x="180" y="4"/>
                  </a:cubicBezTo>
                  <a:cubicBezTo>
                    <a:pt x="180" y="4"/>
                    <a:pt x="179" y="4"/>
                    <a:pt x="180" y="3"/>
                  </a:cubicBezTo>
                  <a:cubicBezTo>
                    <a:pt x="179" y="3"/>
                    <a:pt x="179" y="2"/>
                    <a:pt x="179" y="1"/>
                  </a:cubicBezTo>
                  <a:cubicBezTo>
                    <a:pt x="178" y="1"/>
                    <a:pt x="176" y="1"/>
                    <a:pt x="176" y="1"/>
                  </a:cubicBezTo>
                  <a:cubicBezTo>
                    <a:pt x="175" y="2"/>
                    <a:pt x="175" y="2"/>
                    <a:pt x="175" y="3"/>
                  </a:cubicBezTo>
                  <a:cubicBezTo>
                    <a:pt x="174" y="3"/>
                    <a:pt x="173" y="3"/>
                    <a:pt x="173" y="3"/>
                  </a:cubicBezTo>
                  <a:cubicBezTo>
                    <a:pt x="172" y="3"/>
                    <a:pt x="170" y="3"/>
                    <a:pt x="169" y="3"/>
                  </a:cubicBezTo>
                  <a:cubicBezTo>
                    <a:pt x="168" y="3"/>
                    <a:pt x="167" y="2"/>
                    <a:pt x="166" y="1"/>
                  </a:cubicBezTo>
                  <a:cubicBezTo>
                    <a:pt x="165" y="1"/>
                    <a:pt x="163" y="1"/>
                    <a:pt x="162" y="1"/>
                  </a:cubicBezTo>
                  <a:cubicBezTo>
                    <a:pt x="160" y="1"/>
                    <a:pt x="158" y="1"/>
                    <a:pt x="157" y="1"/>
                  </a:cubicBezTo>
                  <a:cubicBezTo>
                    <a:pt x="154" y="1"/>
                    <a:pt x="152" y="0"/>
                    <a:pt x="149" y="0"/>
                  </a:cubicBezTo>
                  <a:cubicBezTo>
                    <a:pt x="149" y="2"/>
                    <a:pt x="148" y="4"/>
                    <a:pt x="148" y="7"/>
                  </a:cubicBezTo>
                  <a:cubicBezTo>
                    <a:pt x="148" y="8"/>
                    <a:pt x="149" y="9"/>
                    <a:pt x="149" y="10"/>
                  </a:cubicBezTo>
                  <a:cubicBezTo>
                    <a:pt x="150" y="11"/>
                    <a:pt x="151" y="9"/>
                    <a:pt x="153" y="9"/>
                  </a:cubicBezTo>
                  <a:cubicBezTo>
                    <a:pt x="153" y="11"/>
                    <a:pt x="152" y="12"/>
                    <a:pt x="152" y="13"/>
                  </a:cubicBezTo>
                  <a:cubicBezTo>
                    <a:pt x="152" y="14"/>
                    <a:pt x="153" y="14"/>
                    <a:pt x="153" y="14"/>
                  </a:cubicBezTo>
                  <a:cubicBezTo>
                    <a:pt x="153" y="14"/>
                    <a:pt x="153" y="16"/>
                    <a:pt x="154" y="17"/>
                  </a:cubicBezTo>
                  <a:cubicBezTo>
                    <a:pt x="154" y="17"/>
                    <a:pt x="153" y="18"/>
                    <a:pt x="154" y="18"/>
                  </a:cubicBezTo>
                  <a:cubicBezTo>
                    <a:pt x="154" y="19"/>
                    <a:pt x="156" y="20"/>
                    <a:pt x="156" y="21"/>
                  </a:cubicBezTo>
                  <a:cubicBezTo>
                    <a:pt x="157" y="22"/>
                    <a:pt x="158" y="25"/>
                    <a:pt x="160" y="25"/>
                  </a:cubicBezTo>
                  <a:cubicBezTo>
                    <a:pt x="160" y="25"/>
                    <a:pt x="161" y="25"/>
                    <a:pt x="161" y="24"/>
                  </a:cubicBezTo>
                  <a:cubicBezTo>
                    <a:pt x="161" y="25"/>
                    <a:pt x="161" y="26"/>
                    <a:pt x="161" y="27"/>
                  </a:cubicBezTo>
                  <a:cubicBezTo>
                    <a:pt x="163" y="27"/>
                    <a:pt x="163" y="29"/>
                    <a:pt x="163" y="30"/>
                  </a:cubicBezTo>
                  <a:cubicBezTo>
                    <a:pt x="163" y="30"/>
                    <a:pt x="163" y="31"/>
                    <a:pt x="163" y="32"/>
                  </a:cubicBezTo>
                  <a:cubicBezTo>
                    <a:pt x="164" y="32"/>
                    <a:pt x="165" y="32"/>
                    <a:pt x="165" y="32"/>
                  </a:cubicBezTo>
                  <a:cubicBezTo>
                    <a:pt x="165" y="32"/>
                    <a:pt x="166" y="34"/>
                    <a:pt x="166" y="34"/>
                  </a:cubicBezTo>
                  <a:cubicBezTo>
                    <a:pt x="166" y="34"/>
                    <a:pt x="166" y="35"/>
                    <a:pt x="166" y="36"/>
                  </a:cubicBezTo>
                  <a:cubicBezTo>
                    <a:pt x="165" y="37"/>
                    <a:pt x="163" y="36"/>
                    <a:pt x="162" y="38"/>
                  </a:cubicBezTo>
                  <a:cubicBezTo>
                    <a:pt x="162" y="38"/>
                    <a:pt x="162" y="39"/>
                    <a:pt x="161" y="39"/>
                  </a:cubicBezTo>
                  <a:cubicBezTo>
                    <a:pt x="161" y="40"/>
                    <a:pt x="160" y="40"/>
                    <a:pt x="160" y="40"/>
                  </a:cubicBezTo>
                  <a:cubicBezTo>
                    <a:pt x="159" y="42"/>
                    <a:pt x="159" y="42"/>
                    <a:pt x="161" y="42"/>
                  </a:cubicBezTo>
                  <a:cubicBezTo>
                    <a:pt x="162" y="42"/>
                    <a:pt x="162" y="43"/>
                    <a:pt x="163" y="42"/>
                  </a:cubicBezTo>
                  <a:cubicBezTo>
                    <a:pt x="164" y="42"/>
                    <a:pt x="165" y="42"/>
                    <a:pt x="166" y="41"/>
                  </a:cubicBezTo>
                  <a:cubicBezTo>
                    <a:pt x="167" y="41"/>
                    <a:pt x="167" y="41"/>
                    <a:pt x="168" y="41"/>
                  </a:cubicBezTo>
                  <a:cubicBezTo>
                    <a:pt x="169" y="40"/>
                    <a:pt x="171" y="40"/>
                    <a:pt x="172" y="41"/>
                  </a:cubicBezTo>
                  <a:cubicBezTo>
                    <a:pt x="173" y="41"/>
                    <a:pt x="173" y="40"/>
                    <a:pt x="173" y="41"/>
                  </a:cubicBezTo>
                  <a:cubicBezTo>
                    <a:pt x="174" y="43"/>
                    <a:pt x="172" y="44"/>
                    <a:pt x="171" y="45"/>
                  </a:cubicBezTo>
                  <a:cubicBezTo>
                    <a:pt x="168" y="48"/>
                    <a:pt x="165" y="48"/>
                    <a:pt x="161" y="48"/>
                  </a:cubicBezTo>
                  <a:cubicBezTo>
                    <a:pt x="159" y="48"/>
                    <a:pt x="157" y="48"/>
                    <a:pt x="155" y="48"/>
                  </a:cubicBezTo>
                  <a:cubicBezTo>
                    <a:pt x="153" y="48"/>
                    <a:pt x="153" y="49"/>
                    <a:pt x="152" y="50"/>
                  </a:cubicBezTo>
                  <a:cubicBezTo>
                    <a:pt x="151" y="51"/>
                    <a:pt x="152" y="51"/>
                    <a:pt x="153" y="53"/>
                  </a:cubicBezTo>
                  <a:cubicBezTo>
                    <a:pt x="152" y="53"/>
                    <a:pt x="152" y="53"/>
                    <a:pt x="151" y="53"/>
                  </a:cubicBezTo>
                  <a:cubicBezTo>
                    <a:pt x="150" y="53"/>
                    <a:pt x="150" y="54"/>
                    <a:pt x="149" y="54"/>
                  </a:cubicBezTo>
                  <a:cubicBezTo>
                    <a:pt x="149" y="54"/>
                    <a:pt x="149" y="54"/>
                    <a:pt x="148" y="55"/>
                  </a:cubicBezTo>
                  <a:cubicBezTo>
                    <a:pt x="148" y="55"/>
                    <a:pt x="148" y="56"/>
                    <a:pt x="148" y="57"/>
                  </a:cubicBezTo>
                  <a:cubicBezTo>
                    <a:pt x="149" y="58"/>
                    <a:pt x="149" y="60"/>
                    <a:pt x="150" y="61"/>
                  </a:cubicBezTo>
                  <a:cubicBezTo>
                    <a:pt x="150" y="61"/>
                    <a:pt x="150" y="61"/>
                    <a:pt x="151" y="61"/>
                  </a:cubicBezTo>
                  <a:cubicBezTo>
                    <a:pt x="152" y="61"/>
                    <a:pt x="152" y="60"/>
                    <a:pt x="154" y="60"/>
                  </a:cubicBezTo>
                  <a:cubicBezTo>
                    <a:pt x="154" y="59"/>
                    <a:pt x="155" y="60"/>
                    <a:pt x="155" y="59"/>
                  </a:cubicBezTo>
                  <a:cubicBezTo>
                    <a:pt x="156" y="59"/>
                    <a:pt x="156" y="57"/>
                    <a:pt x="157" y="57"/>
                  </a:cubicBezTo>
                  <a:cubicBezTo>
                    <a:pt x="158" y="57"/>
                    <a:pt x="158" y="59"/>
                    <a:pt x="160" y="59"/>
                  </a:cubicBezTo>
                  <a:cubicBezTo>
                    <a:pt x="161" y="59"/>
                    <a:pt x="162" y="58"/>
                    <a:pt x="163" y="58"/>
                  </a:cubicBezTo>
                  <a:cubicBezTo>
                    <a:pt x="165" y="58"/>
                    <a:pt x="166" y="59"/>
                    <a:pt x="167" y="60"/>
                  </a:cubicBezTo>
                  <a:cubicBezTo>
                    <a:pt x="168" y="62"/>
                    <a:pt x="161" y="61"/>
                    <a:pt x="160" y="61"/>
                  </a:cubicBezTo>
                  <a:cubicBezTo>
                    <a:pt x="159" y="61"/>
                    <a:pt x="158" y="60"/>
                    <a:pt x="158" y="61"/>
                  </a:cubicBezTo>
                  <a:cubicBezTo>
                    <a:pt x="157" y="61"/>
                    <a:pt x="157" y="61"/>
                    <a:pt x="157" y="62"/>
                  </a:cubicBezTo>
                  <a:cubicBezTo>
                    <a:pt x="156" y="63"/>
                    <a:pt x="156" y="64"/>
                    <a:pt x="156" y="65"/>
                  </a:cubicBezTo>
                  <a:cubicBezTo>
                    <a:pt x="155" y="66"/>
                    <a:pt x="154" y="66"/>
                    <a:pt x="154" y="67"/>
                  </a:cubicBezTo>
                  <a:cubicBezTo>
                    <a:pt x="154" y="68"/>
                    <a:pt x="153" y="69"/>
                    <a:pt x="154" y="70"/>
                  </a:cubicBezTo>
                  <a:cubicBezTo>
                    <a:pt x="154" y="70"/>
                    <a:pt x="154" y="70"/>
                    <a:pt x="155" y="70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72"/>
                    <a:pt x="156" y="73"/>
                    <a:pt x="158" y="74"/>
                  </a:cubicBezTo>
                  <a:cubicBezTo>
                    <a:pt x="158" y="74"/>
                    <a:pt x="161" y="74"/>
                    <a:pt x="161" y="74"/>
                  </a:cubicBezTo>
                  <a:cubicBezTo>
                    <a:pt x="163" y="73"/>
                    <a:pt x="165" y="72"/>
                    <a:pt x="167" y="73"/>
                  </a:cubicBezTo>
                  <a:cubicBezTo>
                    <a:pt x="167" y="74"/>
                    <a:pt x="167" y="74"/>
                    <a:pt x="167" y="75"/>
                  </a:cubicBezTo>
                  <a:cubicBezTo>
                    <a:pt x="167" y="75"/>
                    <a:pt x="168" y="76"/>
                    <a:pt x="168" y="75"/>
                  </a:cubicBezTo>
                  <a:cubicBezTo>
                    <a:pt x="168" y="76"/>
                    <a:pt x="168" y="78"/>
                    <a:pt x="168" y="78"/>
                  </a:cubicBezTo>
                  <a:cubicBezTo>
                    <a:pt x="168" y="79"/>
                    <a:pt x="167" y="80"/>
                    <a:pt x="167" y="81"/>
                  </a:cubicBezTo>
                  <a:cubicBezTo>
                    <a:pt x="166" y="82"/>
                    <a:pt x="165" y="82"/>
                    <a:pt x="164" y="82"/>
                  </a:cubicBezTo>
                  <a:cubicBezTo>
                    <a:pt x="162" y="83"/>
                    <a:pt x="162" y="82"/>
                    <a:pt x="161" y="84"/>
                  </a:cubicBezTo>
                  <a:cubicBezTo>
                    <a:pt x="161" y="84"/>
                    <a:pt x="162" y="85"/>
                    <a:pt x="162" y="86"/>
                  </a:cubicBezTo>
                  <a:cubicBezTo>
                    <a:pt x="163" y="89"/>
                    <a:pt x="162" y="92"/>
                    <a:pt x="165" y="94"/>
                  </a:cubicBezTo>
                  <a:cubicBezTo>
                    <a:pt x="165" y="94"/>
                    <a:pt x="165" y="94"/>
                    <a:pt x="166" y="94"/>
                  </a:cubicBezTo>
                  <a:cubicBezTo>
                    <a:pt x="166" y="95"/>
                    <a:pt x="166" y="95"/>
                    <a:pt x="166" y="95"/>
                  </a:cubicBezTo>
                  <a:cubicBezTo>
                    <a:pt x="167" y="96"/>
                    <a:pt x="168" y="96"/>
                    <a:pt x="169" y="96"/>
                  </a:cubicBezTo>
                  <a:cubicBezTo>
                    <a:pt x="170" y="96"/>
                    <a:pt x="171" y="96"/>
                    <a:pt x="173" y="96"/>
                  </a:cubicBezTo>
                  <a:cubicBezTo>
                    <a:pt x="175" y="96"/>
                    <a:pt x="177" y="96"/>
                    <a:pt x="179" y="97"/>
                  </a:cubicBezTo>
                  <a:cubicBezTo>
                    <a:pt x="181" y="97"/>
                    <a:pt x="182" y="97"/>
                    <a:pt x="184" y="98"/>
                  </a:cubicBezTo>
                  <a:cubicBezTo>
                    <a:pt x="185" y="99"/>
                    <a:pt x="186" y="99"/>
                    <a:pt x="187" y="100"/>
                  </a:cubicBezTo>
                  <a:cubicBezTo>
                    <a:pt x="188" y="101"/>
                    <a:pt x="190" y="101"/>
                    <a:pt x="191" y="102"/>
                  </a:cubicBezTo>
                  <a:cubicBezTo>
                    <a:pt x="192" y="104"/>
                    <a:pt x="192" y="106"/>
                    <a:pt x="192" y="108"/>
                  </a:cubicBezTo>
                  <a:cubicBezTo>
                    <a:pt x="191" y="107"/>
                    <a:pt x="189" y="106"/>
                    <a:pt x="188" y="104"/>
                  </a:cubicBezTo>
                  <a:cubicBezTo>
                    <a:pt x="188" y="104"/>
                    <a:pt x="188" y="103"/>
                    <a:pt x="188" y="103"/>
                  </a:cubicBezTo>
                  <a:cubicBezTo>
                    <a:pt x="187" y="102"/>
                    <a:pt x="186" y="102"/>
                    <a:pt x="186" y="101"/>
                  </a:cubicBezTo>
                  <a:cubicBezTo>
                    <a:pt x="185" y="101"/>
                    <a:pt x="184" y="100"/>
                    <a:pt x="183" y="99"/>
                  </a:cubicBezTo>
                  <a:cubicBezTo>
                    <a:pt x="182" y="98"/>
                    <a:pt x="180" y="99"/>
                    <a:pt x="179" y="99"/>
                  </a:cubicBezTo>
                  <a:cubicBezTo>
                    <a:pt x="176" y="99"/>
                    <a:pt x="173" y="98"/>
                    <a:pt x="171" y="99"/>
                  </a:cubicBezTo>
                  <a:cubicBezTo>
                    <a:pt x="170" y="99"/>
                    <a:pt x="169" y="100"/>
                    <a:pt x="169" y="101"/>
                  </a:cubicBezTo>
                  <a:cubicBezTo>
                    <a:pt x="168" y="101"/>
                    <a:pt x="167" y="101"/>
                    <a:pt x="167" y="101"/>
                  </a:cubicBezTo>
                  <a:cubicBezTo>
                    <a:pt x="165" y="101"/>
                    <a:pt x="164" y="101"/>
                    <a:pt x="162" y="101"/>
                  </a:cubicBezTo>
                  <a:cubicBezTo>
                    <a:pt x="161" y="100"/>
                    <a:pt x="160" y="100"/>
                    <a:pt x="158" y="100"/>
                  </a:cubicBezTo>
                  <a:cubicBezTo>
                    <a:pt x="158" y="100"/>
                    <a:pt x="157" y="100"/>
                    <a:pt x="157" y="100"/>
                  </a:cubicBezTo>
                  <a:cubicBezTo>
                    <a:pt x="156" y="99"/>
                    <a:pt x="156" y="97"/>
                    <a:pt x="155" y="96"/>
                  </a:cubicBezTo>
                  <a:cubicBezTo>
                    <a:pt x="155" y="96"/>
                    <a:pt x="152" y="96"/>
                    <a:pt x="151" y="96"/>
                  </a:cubicBezTo>
                  <a:cubicBezTo>
                    <a:pt x="150" y="96"/>
                    <a:pt x="150" y="96"/>
                    <a:pt x="149" y="97"/>
                  </a:cubicBezTo>
                  <a:cubicBezTo>
                    <a:pt x="149" y="97"/>
                    <a:pt x="149" y="98"/>
                    <a:pt x="149" y="98"/>
                  </a:cubicBezTo>
                  <a:cubicBezTo>
                    <a:pt x="148" y="98"/>
                    <a:pt x="148" y="98"/>
                    <a:pt x="147" y="98"/>
                  </a:cubicBezTo>
                  <a:cubicBezTo>
                    <a:pt x="146" y="99"/>
                    <a:pt x="147" y="100"/>
                    <a:pt x="146" y="101"/>
                  </a:cubicBezTo>
                  <a:cubicBezTo>
                    <a:pt x="145" y="103"/>
                    <a:pt x="142" y="105"/>
                    <a:pt x="141" y="106"/>
                  </a:cubicBezTo>
                  <a:cubicBezTo>
                    <a:pt x="140" y="106"/>
                    <a:pt x="137" y="107"/>
                    <a:pt x="137" y="108"/>
                  </a:cubicBezTo>
                  <a:cubicBezTo>
                    <a:pt x="137" y="109"/>
                    <a:pt x="138" y="112"/>
                    <a:pt x="138" y="113"/>
                  </a:cubicBezTo>
                  <a:cubicBezTo>
                    <a:pt x="138" y="114"/>
                    <a:pt x="141" y="118"/>
                    <a:pt x="142" y="119"/>
                  </a:cubicBezTo>
                  <a:cubicBezTo>
                    <a:pt x="142" y="120"/>
                    <a:pt x="147" y="123"/>
                    <a:pt x="146" y="124"/>
                  </a:cubicBezTo>
                  <a:cubicBezTo>
                    <a:pt x="145" y="123"/>
                    <a:pt x="140" y="121"/>
                    <a:pt x="140" y="121"/>
                  </a:cubicBezTo>
                  <a:cubicBezTo>
                    <a:pt x="138" y="121"/>
                    <a:pt x="137" y="120"/>
                    <a:pt x="136" y="120"/>
                  </a:cubicBezTo>
                  <a:cubicBezTo>
                    <a:pt x="135" y="120"/>
                    <a:pt x="134" y="121"/>
                    <a:pt x="133" y="120"/>
                  </a:cubicBezTo>
                  <a:cubicBezTo>
                    <a:pt x="133" y="120"/>
                    <a:pt x="133" y="120"/>
                    <a:pt x="133" y="120"/>
                  </a:cubicBezTo>
                  <a:cubicBezTo>
                    <a:pt x="131" y="120"/>
                    <a:pt x="128" y="116"/>
                    <a:pt x="127" y="120"/>
                  </a:cubicBezTo>
                  <a:cubicBezTo>
                    <a:pt x="127" y="122"/>
                    <a:pt x="127" y="121"/>
                    <a:pt x="127" y="123"/>
                  </a:cubicBezTo>
                  <a:cubicBezTo>
                    <a:pt x="130" y="123"/>
                    <a:pt x="130" y="126"/>
                    <a:pt x="130" y="129"/>
                  </a:cubicBezTo>
                  <a:cubicBezTo>
                    <a:pt x="131" y="131"/>
                    <a:pt x="131" y="132"/>
                    <a:pt x="130" y="134"/>
                  </a:cubicBezTo>
                  <a:cubicBezTo>
                    <a:pt x="129" y="134"/>
                    <a:pt x="128" y="136"/>
                    <a:pt x="128" y="136"/>
                  </a:cubicBezTo>
                  <a:cubicBezTo>
                    <a:pt x="127" y="136"/>
                    <a:pt x="126" y="135"/>
                    <a:pt x="125" y="135"/>
                  </a:cubicBezTo>
                  <a:cubicBezTo>
                    <a:pt x="124" y="135"/>
                    <a:pt x="123" y="135"/>
                    <a:pt x="123" y="134"/>
                  </a:cubicBezTo>
                  <a:cubicBezTo>
                    <a:pt x="122" y="134"/>
                    <a:pt x="119" y="130"/>
                    <a:pt x="119" y="129"/>
                  </a:cubicBezTo>
                  <a:cubicBezTo>
                    <a:pt x="120" y="127"/>
                    <a:pt x="121" y="126"/>
                    <a:pt x="122" y="124"/>
                  </a:cubicBezTo>
                  <a:cubicBezTo>
                    <a:pt x="122" y="124"/>
                    <a:pt x="124" y="124"/>
                    <a:pt x="124" y="123"/>
                  </a:cubicBezTo>
                  <a:cubicBezTo>
                    <a:pt x="125" y="122"/>
                    <a:pt x="126" y="118"/>
                    <a:pt x="126" y="117"/>
                  </a:cubicBezTo>
                  <a:cubicBezTo>
                    <a:pt x="126" y="114"/>
                    <a:pt x="127" y="113"/>
                    <a:pt x="123" y="112"/>
                  </a:cubicBezTo>
                  <a:cubicBezTo>
                    <a:pt x="122" y="111"/>
                    <a:pt x="120" y="111"/>
                    <a:pt x="119" y="111"/>
                  </a:cubicBezTo>
                  <a:cubicBezTo>
                    <a:pt x="118" y="110"/>
                    <a:pt x="117" y="109"/>
                    <a:pt x="116" y="109"/>
                  </a:cubicBezTo>
                  <a:cubicBezTo>
                    <a:pt x="114" y="109"/>
                    <a:pt x="112" y="109"/>
                    <a:pt x="111" y="109"/>
                  </a:cubicBezTo>
                  <a:cubicBezTo>
                    <a:pt x="109" y="110"/>
                    <a:pt x="107" y="111"/>
                    <a:pt x="105" y="113"/>
                  </a:cubicBezTo>
                  <a:cubicBezTo>
                    <a:pt x="105" y="114"/>
                    <a:pt x="105" y="114"/>
                    <a:pt x="104" y="114"/>
                  </a:cubicBezTo>
                  <a:cubicBezTo>
                    <a:pt x="103" y="114"/>
                    <a:pt x="101" y="113"/>
                    <a:pt x="100" y="113"/>
                  </a:cubicBezTo>
                  <a:cubicBezTo>
                    <a:pt x="99" y="112"/>
                    <a:pt x="99" y="112"/>
                    <a:pt x="98" y="112"/>
                  </a:cubicBezTo>
                  <a:cubicBezTo>
                    <a:pt x="97" y="112"/>
                    <a:pt x="97" y="112"/>
                    <a:pt x="96" y="112"/>
                  </a:cubicBezTo>
                  <a:cubicBezTo>
                    <a:pt x="95" y="113"/>
                    <a:pt x="95" y="113"/>
                    <a:pt x="94" y="114"/>
                  </a:cubicBezTo>
                  <a:cubicBezTo>
                    <a:pt x="93" y="114"/>
                    <a:pt x="91" y="114"/>
                    <a:pt x="90" y="114"/>
                  </a:cubicBezTo>
                  <a:cubicBezTo>
                    <a:pt x="88" y="114"/>
                    <a:pt x="87" y="114"/>
                    <a:pt x="86" y="115"/>
                  </a:cubicBezTo>
                  <a:cubicBezTo>
                    <a:pt x="84" y="115"/>
                    <a:pt x="81" y="115"/>
                    <a:pt x="79" y="115"/>
                  </a:cubicBezTo>
                  <a:cubicBezTo>
                    <a:pt x="76" y="115"/>
                    <a:pt x="73" y="115"/>
                    <a:pt x="71" y="117"/>
                  </a:cubicBezTo>
                  <a:cubicBezTo>
                    <a:pt x="70" y="118"/>
                    <a:pt x="69" y="119"/>
                    <a:pt x="68" y="120"/>
                  </a:cubicBezTo>
                  <a:cubicBezTo>
                    <a:pt x="68" y="122"/>
                    <a:pt x="66" y="122"/>
                    <a:pt x="67" y="124"/>
                  </a:cubicBezTo>
                  <a:cubicBezTo>
                    <a:pt x="66" y="124"/>
                    <a:pt x="66" y="128"/>
                    <a:pt x="65" y="129"/>
                  </a:cubicBezTo>
                  <a:cubicBezTo>
                    <a:pt x="65" y="129"/>
                    <a:pt x="65" y="130"/>
                    <a:pt x="64" y="131"/>
                  </a:cubicBezTo>
                  <a:cubicBezTo>
                    <a:pt x="63" y="131"/>
                    <a:pt x="62" y="131"/>
                    <a:pt x="61" y="132"/>
                  </a:cubicBezTo>
                  <a:cubicBezTo>
                    <a:pt x="59" y="133"/>
                    <a:pt x="61" y="138"/>
                    <a:pt x="62" y="140"/>
                  </a:cubicBezTo>
                  <a:cubicBezTo>
                    <a:pt x="62" y="142"/>
                    <a:pt x="63" y="145"/>
                    <a:pt x="64" y="146"/>
                  </a:cubicBezTo>
                  <a:cubicBezTo>
                    <a:pt x="64" y="146"/>
                    <a:pt x="65" y="146"/>
                    <a:pt x="66" y="146"/>
                  </a:cubicBezTo>
                  <a:cubicBezTo>
                    <a:pt x="68" y="146"/>
                    <a:pt x="70" y="145"/>
                    <a:pt x="71" y="147"/>
                  </a:cubicBezTo>
                  <a:cubicBezTo>
                    <a:pt x="71" y="149"/>
                    <a:pt x="70" y="152"/>
                    <a:pt x="70" y="154"/>
                  </a:cubicBezTo>
                  <a:cubicBezTo>
                    <a:pt x="70" y="157"/>
                    <a:pt x="70" y="160"/>
                    <a:pt x="70" y="163"/>
                  </a:cubicBezTo>
                  <a:cubicBezTo>
                    <a:pt x="70" y="164"/>
                    <a:pt x="70" y="165"/>
                    <a:pt x="69" y="167"/>
                  </a:cubicBezTo>
                  <a:cubicBezTo>
                    <a:pt x="69" y="168"/>
                    <a:pt x="69" y="168"/>
                    <a:pt x="69" y="169"/>
                  </a:cubicBezTo>
                  <a:cubicBezTo>
                    <a:pt x="68" y="171"/>
                    <a:pt x="69" y="174"/>
                    <a:pt x="69" y="176"/>
                  </a:cubicBezTo>
                  <a:cubicBezTo>
                    <a:pt x="69" y="179"/>
                    <a:pt x="69" y="181"/>
                    <a:pt x="68" y="183"/>
                  </a:cubicBezTo>
                  <a:cubicBezTo>
                    <a:pt x="67" y="185"/>
                    <a:pt x="67" y="186"/>
                    <a:pt x="65" y="187"/>
                  </a:cubicBezTo>
                  <a:cubicBezTo>
                    <a:pt x="65" y="188"/>
                    <a:pt x="64" y="188"/>
                    <a:pt x="64" y="189"/>
                  </a:cubicBezTo>
                  <a:cubicBezTo>
                    <a:pt x="62" y="191"/>
                    <a:pt x="61" y="192"/>
                    <a:pt x="63" y="195"/>
                  </a:cubicBezTo>
                  <a:cubicBezTo>
                    <a:pt x="63" y="196"/>
                    <a:pt x="64" y="196"/>
                    <a:pt x="64" y="197"/>
                  </a:cubicBezTo>
                  <a:cubicBezTo>
                    <a:pt x="63" y="199"/>
                    <a:pt x="60" y="199"/>
                    <a:pt x="59" y="200"/>
                  </a:cubicBezTo>
                  <a:cubicBezTo>
                    <a:pt x="58" y="201"/>
                    <a:pt x="57" y="203"/>
                    <a:pt x="56" y="203"/>
                  </a:cubicBezTo>
                  <a:cubicBezTo>
                    <a:pt x="55" y="204"/>
                    <a:pt x="53" y="203"/>
                    <a:pt x="52" y="203"/>
                  </a:cubicBezTo>
                  <a:cubicBezTo>
                    <a:pt x="50" y="203"/>
                    <a:pt x="50" y="203"/>
                    <a:pt x="50" y="204"/>
                  </a:cubicBezTo>
                  <a:cubicBezTo>
                    <a:pt x="49" y="205"/>
                    <a:pt x="49" y="205"/>
                    <a:pt x="48" y="206"/>
                  </a:cubicBezTo>
                  <a:cubicBezTo>
                    <a:pt x="46" y="206"/>
                    <a:pt x="44" y="206"/>
                    <a:pt x="42" y="206"/>
                  </a:cubicBezTo>
                  <a:cubicBezTo>
                    <a:pt x="41" y="206"/>
                    <a:pt x="39" y="206"/>
                    <a:pt x="38" y="206"/>
                  </a:cubicBezTo>
                  <a:cubicBezTo>
                    <a:pt x="37" y="206"/>
                    <a:pt x="36" y="208"/>
                    <a:pt x="35" y="208"/>
                  </a:cubicBezTo>
                  <a:cubicBezTo>
                    <a:pt x="34" y="208"/>
                    <a:pt x="34" y="209"/>
                    <a:pt x="35" y="210"/>
                  </a:cubicBezTo>
                  <a:cubicBezTo>
                    <a:pt x="35" y="210"/>
                    <a:pt x="36" y="212"/>
                    <a:pt x="37" y="212"/>
                  </a:cubicBezTo>
                  <a:cubicBezTo>
                    <a:pt x="37" y="212"/>
                    <a:pt x="38" y="213"/>
                    <a:pt x="38" y="213"/>
                  </a:cubicBezTo>
                  <a:cubicBezTo>
                    <a:pt x="40" y="215"/>
                    <a:pt x="41" y="215"/>
                    <a:pt x="40" y="217"/>
                  </a:cubicBezTo>
                  <a:cubicBezTo>
                    <a:pt x="37" y="226"/>
                    <a:pt x="54" y="225"/>
                    <a:pt x="58" y="227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59" y="227"/>
                    <a:pt x="59" y="228"/>
                    <a:pt x="59" y="228"/>
                  </a:cubicBezTo>
                  <a:cubicBezTo>
                    <a:pt x="59" y="228"/>
                    <a:pt x="59" y="229"/>
                    <a:pt x="59" y="229"/>
                  </a:cubicBezTo>
                  <a:cubicBezTo>
                    <a:pt x="60" y="230"/>
                    <a:pt x="60" y="230"/>
                    <a:pt x="61" y="231"/>
                  </a:cubicBezTo>
                  <a:cubicBezTo>
                    <a:pt x="61" y="232"/>
                    <a:pt x="61" y="234"/>
                    <a:pt x="60" y="235"/>
                  </a:cubicBezTo>
                  <a:cubicBezTo>
                    <a:pt x="60" y="236"/>
                    <a:pt x="59" y="236"/>
                    <a:pt x="59" y="237"/>
                  </a:cubicBezTo>
                  <a:cubicBezTo>
                    <a:pt x="58" y="239"/>
                    <a:pt x="60" y="242"/>
                    <a:pt x="58" y="244"/>
                  </a:cubicBezTo>
                  <a:cubicBezTo>
                    <a:pt x="57" y="245"/>
                    <a:pt x="56" y="246"/>
                    <a:pt x="54" y="246"/>
                  </a:cubicBezTo>
                  <a:cubicBezTo>
                    <a:pt x="53" y="247"/>
                    <a:pt x="53" y="248"/>
                    <a:pt x="52" y="249"/>
                  </a:cubicBezTo>
                  <a:cubicBezTo>
                    <a:pt x="50" y="251"/>
                    <a:pt x="48" y="252"/>
                    <a:pt x="46" y="254"/>
                  </a:cubicBezTo>
                  <a:cubicBezTo>
                    <a:pt x="46" y="255"/>
                    <a:pt x="45" y="255"/>
                    <a:pt x="45" y="256"/>
                  </a:cubicBezTo>
                  <a:cubicBezTo>
                    <a:pt x="44" y="256"/>
                    <a:pt x="44" y="256"/>
                    <a:pt x="44" y="256"/>
                  </a:cubicBezTo>
                  <a:cubicBezTo>
                    <a:pt x="43" y="257"/>
                    <a:pt x="43" y="258"/>
                    <a:pt x="43" y="258"/>
                  </a:cubicBezTo>
                  <a:cubicBezTo>
                    <a:pt x="43" y="259"/>
                    <a:pt x="43" y="260"/>
                    <a:pt x="43" y="261"/>
                  </a:cubicBezTo>
                  <a:cubicBezTo>
                    <a:pt x="43" y="262"/>
                    <a:pt x="43" y="264"/>
                    <a:pt x="43" y="265"/>
                  </a:cubicBezTo>
                  <a:cubicBezTo>
                    <a:pt x="44" y="266"/>
                    <a:pt x="45" y="266"/>
                    <a:pt x="44" y="268"/>
                  </a:cubicBezTo>
                  <a:cubicBezTo>
                    <a:pt x="44" y="269"/>
                    <a:pt x="43" y="270"/>
                    <a:pt x="42" y="270"/>
                  </a:cubicBezTo>
                  <a:cubicBezTo>
                    <a:pt x="40" y="271"/>
                    <a:pt x="37" y="273"/>
                    <a:pt x="35" y="274"/>
                  </a:cubicBezTo>
                  <a:cubicBezTo>
                    <a:pt x="34" y="274"/>
                    <a:pt x="32" y="274"/>
                    <a:pt x="31" y="275"/>
                  </a:cubicBezTo>
                  <a:cubicBezTo>
                    <a:pt x="30" y="276"/>
                    <a:pt x="31" y="276"/>
                    <a:pt x="29" y="276"/>
                  </a:cubicBezTo>
                  <a:cubicBezTo>
                    <a:pt x="28" y="276"/>
                    <a:pt x="27" y="277"/>
                    <a:pt x="26" y="277"/>
                  </a:cubicBezTo>
                  <a:cubicBezTo>
                    <a:pt x="25" y="277"/>
                    <a:pt x="23" y="277"/>
                    <a:pt x="22" y="277"/>
                  </a:cubicBezTo>
                  <a:cubicBezTo>
                    <a:pt x="21" y="277"/>
                    <a:pt x="20" y="277"/>
                    <a:pt x="19" y="276"/>
                  </a:cubicBezTo>
                  <a:cubicBezTo>
                    <a:pt x="17" y="275"/>
                    <a:pt x="15" y="274"/>
                    <a:pt x="13" y="273"/>
                  </a:cubicBezTo>
                  <a:cubicBezTo>
                    <a:pt x="11" y="273"/>
                    <a:pt x="8" y="273"/>
                    <a:pt x="8" y="276"/>
                  </a:cubicBezTo>
                  <a:cubicBezTo>
                    <a:pt x="8" y="277"/>
                    <a:pt x="8" y="278"/>
                    <a:pt x="8" y="278"/>
                  </a:cubicBezTo>
                  <a:cubicBezTo>
                    <a:pt x="6" y="278"/>
                    <a:pt x="5" y="278"/>
                    <a:pt x="3" y="278"/>
                  </a:cubicBezTo>
                  <a:cubicBezTo>
                    <a:pt x="1" y="278"/>
                    <a:pt x="0" y="281"/>
                    <a:pt x="0" y="283"/>
                  </a:cubicBezTo>
                  <a:cubicBezTo>
                    <a:pt x="0" y="284"/>
                    <a:pt x="0" y="285"/>
                    <a:pt x="0" y="285"/>
                  </a:cubicBezTo>
                  <a:cubicBezTo>
                    <a:pt x="0" y="287"/>
                    <a:pt x="0" y="287"/>
                    <a:pt x="1" y="288"/>
                  </a:cubicBezTo>
                  <a:cubicBezTo>
                    <a:pt x="2" y="289"/>
                    <a:pt x="5" y="290"/>
                    <a:pt x="5" y="292"/>
                  </a:cubicBezTo>
                  <a:cubicBezTo>
                    <a:pt x="6" y="294"/>
                    <a:pt x="5" y="296"/>
                    <a:pt x="6" y="297"/>
                  </a:cubicBezTo>
                  <a:cubicBezTo>
                    <a:pt x="7" y="299"/>
                    <a:pt x="9" y="299"/>
                    <a:pt x="10" y="300"/>
                  </a:cubicBezTo>
                  <a:cubicBezTo>
                    <a:pt x="10" y="301"/>
                    <a:pt x="10" y="301"/>
                    <a:pt x="10" y="301"/>
                  </a:cubicBezTo>
                  <a:cubicBezTo>
                    <a:pt x="10" y="302"/>
                    <a:pt x="11" y="303"/>
                    <a:pt x="11" y="304"/>
                  </a:cubicBezTo>
                  <a:cubicBezTo>
                    <a:pt x="11" y="305"/>
                    <a:pt x="11" y="306"/>
                    <a:pt x="11" y="307"/>
                  </a:cubicBezTo>
                  <a:cubicBezTo>
                    <a:pt x="11" y="308"/>
                    <a:pt x="11" y="308"/>
                    <a:pt x="12" y="309"/>
                  </a:cubicBezTo>
                  <a:cubicBezTo>
                    <a:pt x="12" y="311"/>
                    <a:pt x="12" y="314"/>
                    <a:pt x="13" y="316"/>
                  </a:cubicBezTo>
                  <a:cubicBezTo>
                    <a:pt x="13" y="317"/>
                    <a:pt x="13" y="319"/>
                    <a:pt x="13" y="320"/>
                  </a:cubicBezTo>
                  <a:cubicBezTo>
                    <a:pt x="13" y="322"/>
                    <a:pt x="13" y="321"/>
                    <a:pt x="12" y="322"/>
                  </a:cubicBezTo>
                  <a:cubicBezTo>
                    <a:pt x="12" y="323"/>
                    <a:pt x="11" y="323"/>
                    <a:pt x="10" y="324"/>
                  </a:cubicBezTo>
                  <a:cubicBezTo>
                    <a:pt x="10" y="325"/>
                    <a:pt x="9" y="325"/>
                    <a:pt x="9" y="326"/>
                  </a:cubicBezTo>
                  <a:cubicBezTo>
                    <a:pt x="7" y="328"/>
                    <a:pt x="9" y="331"/>
                    <a:pt x="8" y="334"/>
                  </a:cubicBezTo>
                  <a:cubicBezTo>
                    <a:pt x="7" y="335"/>
                    <a:pt x="6" y="335"/>
                    <a:pt x="6" y="336"/>
                  </a:cubicBezTo>
                  <a:cubicBezTo>
                    <a:pt x="7" y="336"/>
                    <a:pt x="7" y="336"/>
                    <a:pt x="7" y="337"/>
                  </a:cubicBezTo>
                  <a:cubicBezTo>
                    <a:pt x="7" y="337"/>
                    <a:pt x="7" y="338"/>
                    <a:pt x="7" y="338"/>
                  </a:cubicBezTo>
                  <a:cubicBezTo>
                    <a:pt x="7" y="339"/>
                    <a:pt x="7" y="339"/>
                    <a:pt x="8" y="340"/>
                  </a:cubicBezTo>
                  <a:cubicBezTo>
                    <a:pt x="7" y="341"/>
                    <a:pt x="5" y="341"/>
                    <a:pt x="5" y="342"/>
                  </a:cubicBezTo>
                  <a:cubicBezTo>
                    <a:pt x="4" y="343"/>
                    <a:pt x="4" y="343"/>
                    <a:pt x="3" y="344"/>
                  </a:cubicBezTo>
                  <a:cubicBezTo>
                    <a:pt x="1" y="344"/>
                    <a:pt x="2" y="344"/>
                    <a:pt x="1" y="345"/>
                  </a:cubicBezTo>
                  <a:cubicBezTo>
                    <a:pt x="1" y="347"/>
                    <a:pt x="0" y="349"/>
                    <a:pt x="1" y="351"/>
                  </a:cubicBezTo>
                  <a:cubicBezTo>
                    <a:pt x="1" y="351"/>
                    <a:pt x="1" y="351"/>
                    <a:pt x="2" y="351"/>
                  </a:cubicBezTo>
                  <a:cubicBezTo>
                    <a:pt x="3" y="351"/>
                    <a:pt x="4" y="351"/>
                    <a:pt x="4" y="351"/>
                  </a:cubicBezTo>
                  <a:cubicBezTo>
                    <a:pt x="4" y="351"/>
                    <a:pt x="4" y="351"/>
                    <a:pt x="4" y="351"/>
                  </a:cubicBezTo>
                  <a:cubicBezTo>
                    <a:pt x="4" y="351"/>
                    <a:pt x="4" y="351"/>
                    <a:pt x="5" y="351"/>
                  </a:cubicBezTo>
                  <a:cubicBezTo>
                    <a:pt x="5" y="351"/>
                    <a:pt x="6" y="352"/>
                    <a:pt x="6" y="353"/>
                  </a:cubicBezTo>
                  <a:cubicBezTo>
                    <a:pt x="6" y="354"/>
                    <a:pt x="6" y="356"/>
                    <a:pt x="6" y="358"/>
                  </a:cubicBezTo>
                  <a:cubicBezTo>
                    <a:pt x="5" y="359"/>
                    <a:pt x="5" y="361"/>
                    <a:pt x="4" y="362"/>
                  </a:cubicBezTo>
                  <a:cubicBezTo>
                    <a:pt x="4" y="363"/>
                    <a:pt x="4" y="364"/>
                    <a:pt x="4" y="364"/>
                  </a:cubicBezTo>
                  <a:cubicBezTo>
                    <a:pt x="4" y="365"/>
                    <a:pt x="4" y="365"/>
                    <a:pt x="4" y="365"/>
                  </a:cubicBezTo>
                  <a:cubicBezTo>
                    <a:pt x="4" y="367"/>
                    <a:pt x="4" y="367"/>
                    <a:pt x="4" y="368"/>
                  </a:cubicBezTo>
                  <a:cubicBezTo>
                    <a:pt x="3" y="369"/>
                    <a:pt x="3" y="370"/>
                    <a:pt x="3" y="370"/>
                  </a:cubicBezTo>
                  <a:cubicBezTo>
                    <a:pt x="3" y="371"/>
                    <a:pt x="4" y="371"/>
                    <a:pt x="4" y="371"/>
                  </a:cubicBezTo>
                  <a:cubicBezTo>
                    <a:pt x="3" y="372"/>
                    <a:pt x="2" y="372"/>
                    <a:pt x="1" y="373"/>
                  </a:cubicBezTo>
                  <a:cubicBezTo>
                    <a:pt x="1" y="373"/>
                    <a:pt x="1" y="374"/>
                    <a:pt x="0" y="375"/>
                  </a:cubicBezTo>
                  <a:cubicBezTo>
                    <a:pt x="0" y="375"/>
                    <a:pt x="0" y="375"/>
                    <a:pt x="0" y="376"/>
                  </a:cubicBezTo>
                  <a:cubicBezTo>
                    <a:pt x="0" y="376"/>
                    <a:pt x="1" y="377"/>
                    <a:pt x="1" y="377"/>
                  </a:cubicBezTo>
                  <a:cubicBezTo>
                    <a:pt x="2" y="377"/>
                    <a:pt x="3" y="378"/>
                    <a:pt x="3" y="379"/>
                  </a:cubicBezTo>
                  <a:cubicBezTo>
                    <a:pt x="3" y="379"/>
                    <a:pt x="3" y="380"/>
                    <a:pt x="3" y="380"/>
                  </a:cubicBezTo>
                  <a:cubicBezTo>
                    <a:pt x="3" y="381"/>
                    <a:pt x="3" y="382"/>
                    <a:pt x="3" y="383"/>
                  </a:cubicBezTo>
                  <a:cubicBezTo>
                    <a:pt x="2" y="385"/>
                    <a:pt x="2" y="388"/>
                    <a:pt x="3" y="390"/>
                  </a:cubicBezTo>
                  <a:cubicBezTo>
                    <a:pt x="5" y="391"/>
                    <a:pt x="6" y="392"/>
                    <a:pt x="8" y="393"/>
                  </a:cubicBezTo>
                  <a:cubicBezTo>
                    <a:pt x="9" y="393"/>
                    <a:pt x="9" y="393"/>
                    <a:pt x="10" y="394"/>
                  </a:cubicBezTo>
                  <a:cubicBezTo>
                    <a:pt x="11" y="395"/>
                    <a:pt x="12" y="395"/>
                    <a:pt x="14" y="396"/>
                  </a:cubicBezTo>
                  <a:cubicBezTo>
                    <a:pt x="14" y="396"/>
                    <a:pt x="15" y="397"/>
                    <a:pt x="15" y="397"/>
                  </a:cubicBezTo>
                  <a:cubicBezTo>
                    <a:pt x="17" y="397"/>
                    <a:pt x="18" y="397"/>
                    <a:pt x="19" y="399"/>
                  </a:cubicBezTo>
                  <a:cubicBezTo>
                    <a:pt x="20" y="401"/>
                    <a:pt x="19" y="403"/>
                    <a:pt x="19" y="405"/>
                  </a:cubicBezTo>
                  <a:cubicBezTo>
                    <a:pt x="18" y="406"/>
                    <a:pt x="18" y="407"/>
                    <a:pt x="17" y="409"/>
                  </a:cubicBezTo>
                  <a:cubicBezTo>
                    <a:pt x="16" y="411"/>
                    <a:pt x="14" y="412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2" y="416"/>
                    <a:pt x="10" y="417"/>
                    <a:pt x="10" y="419"/>
                  </a:cubicBezTo>
                  <a:cubicBezTo>
                    <a:pt x="10" y="420"/>
                    <a:pt x="10" y="420"/>
                    <a:pt x="10" y="420"/>
                  </a:cubicBezTo>
                  <a:cubicBezTo>
                    <a:pt x="10" y="422"/>
                    <a:pt x="9" y="423"/>
                    <a:pt x="8" y="424"/>
                  </a:cubicBezTo>
                  <a:cubicBezTo>
                    <a:pt x="7" y="426"/>
                    <a:pt x="7" y="428"/>
                    <a:pt x="7" y="430"/>
                  </a:cubicBezTo>
                  <a:cubicBezTo>
                    <a:pt x="7" y="432"/>
                    <a:pt x="8" y="433"/>
                    <a:pt x="8" y="435"/>
                  </a:cubicBezTo>
                  <a:cubicBezTo>
                    <a:pt x="9" y="436"/>
                    <a:pt x="8" y="438"/>
                    <a:pt x="9" y="439"/>
                  </a:cubicBezTo>
                  <a:cubicBezTo>
                    <a:pt x="10" y="441"/>
                    <a:pt x="11" y="442"/>
                    <a:pt x="12" y="444"/>
                  </a:cubicBezTo>
                  <a:cubicBezTo>
                    <a:pt x="12" y="445"/>
                    <a:pt x="12" y="447"/>
                    <a:pt x="14" y="448"/>
                  </a:cubicBezTo>
                  <a:cubicBezTo>
                    <a:pt x="15" y="448"/>
                    <a:pt x="16" y="448"/>
                    <a:pt x="17" y="449"/>
                  </a:cubicBezTo>
                  <a:cubicBezTo>
                    <a:pt x="17" y="450"/>
                    <a:pt x="18" y="451"/>
                    <a:pt x="19" y="452"/>
                  </a:cubicBezTo>
                  <a:cubicBezTo>
                    <a:pt x="20" y="454"/>
                    <a:pt x="22" y="455"/>
                    <a:pt x="23" y="456"/>
                  </a:cubicBezTo>
                  <a:cubicBezTo>
                    <a:pt x="25" y="457"/>
                    <a:pt x="26" y="457"/>
                    <a:pt x="28" y="457"/>
                  </a:cubicBezTo>
                  <a:cubicBezTo>
                    <a:pt x="29" y="457"/>
                    <a:pt x="31" y="457"/>
                    <a:pt x="31" y="459"/>
                  </a:cubicBezTo>
                  <a:cubicBezTo>
                    <a:pt x="29" y="459"/>
                    <a:pt x="26" y="461"/>
                    <a:pt x="24" y="462"/>
                  </a:cubicBezTo>
                  <a:cubicBezTo>
                    <a:pt x="23" y="463"/>
                    <a:pt x="22" y="464"/>
                    <a:pt x="22" y="466"/>
                  </a:cubicBezTo>
                  <a:cubicBezTo>
                    <a:pt x="21" y="467"/>
                    <a:pt x="20" y="468"/>
                    <a:pt x="19" y="470"/>
                  </a:cubicBezTo>
                  <a:cubicBezTo>
                    <a:pt x="17" y="473"/>
                    <a:pt x="16" y="477"/>
                    <a:pt x="15" y="482"/>
                  </a:cubicBezTo>
                  <a:cubicBezTo>
                    <a:pt x="15" y="482"/>
                    <a:pt x="15" y="482"/>
                    <a:pt x="15" y="482"/>
                  </a:cubicBezTo>
                  <a:cubicBezTo>
                    <a:pt x="21" y="485"/>
                    <a:pt x="26" y="487"/>
                    <a:pt x="30" y="493"/>
                  </a:cubicBezTo>
                  <a:cubicBezTo>
                    <a:pt x="31" y="494"/>
                    <a:pt x="33" y="495"/>
                    <a:pt x="33" y="496"/>
                  </a:cubicBezTo>
                  <a:cubicBezTo>
                    <a:pt x="34" y="498"/>
                    <a:pt x="34" y="498"/>
                    <a:pt x="34" y="500"/>
                  </a:cubicBezTo>
                  <a:cubicBezTo>
                    <a:pt x="36" y="503"/>
                    <a:pt x="36" y="505"/>
                    <a:pt x="40" y="506"/>
                  </a:cubicBezTo>
                  <a:cubicBezTo>
                    <a:pt x="44" y="506"/>
                    <a:pt x="46" y="503"/>
                    <a:pt x="50" y="502"/>
                  </a:cubicBezTo>
                  <a:cubicBezTo>
                    <a:pt x="53" y="501"/>
                    <a:pt x="56" y="501"/>
                    <a:pt x="60" y="501"/>
                  </a:cubicBezTo>
                  <a:cubicBezTo>
                    <a:pt x="67" y="501"/>
                    <a:pt x="73" y="501"/>
                    <a:pt x="79" y="505"/>
                  </a:cubicBezTo>
                  <a:cubicBezTo>
                    <a:pt x="81" y="507"/>
                    <a:pt x="81" y="510"/>
                    <a:pt x="84" y="513"/>
                  </a:cubicBezTo>
                  <a:cubicBezTo>
                    <a:pt x="84" y="513"/>
                    <a:pt x="85" y="513"/>
                    <a:pt x="86" y="514"/>
                  </a:cubicBezTo>
                  <a:cubicBezTo>
                    <a:pt x="87" y="514"/>
                    <a:pt x="86" y="515"/>
                    <a:pt x="87" y="515"/>
                  </a:cubicBezTo>
                  <a:cubicBezTo>
                    <a:pt x="90" y="516"/>
                    <a:pt x="96" y="515"/>
                    <a:pt x="99" y="515"/>
                  </a:cubicBezTo>
                  <a:cubicBezTo>
                    <a:pt x="102" y="515"/>
                    <a:pt x="105" y="515"/>
                    <a:pt x="108" y="516"/>
                  </a:cubicBezTo>
                  <a:cubicBezTo>
                    <a:pt x="107" y="516"/>
                    <a:pt x="111" y="518"/>
                    <a:pt x="110" y="518"/>
                  </a:cubicBezTo>
                  <a:cubicBezTo>
                    <a:pt x="111" y="519"/>
                    <a:pt x="112" y="520"/>
                    <a:pt x="113" y="520"/>
                  </a:cubicBezTo>
                  <a:cubicBezTo>
                    <a:pt x="115" y="521"/>
                    <a:pt x="117" y="520"/>
                    <a:pt x="119" y="523"/>
                  </a:cubicBezTo>
                  <a:cubicBezTo>
                    <a:pt x="120" y="525"/>
                    <a:pt x="120" y="528"/>
                    <a:pt x="119" y="530"/>
                  </a:cubicBezTo>
                  <a:cubicBezTo>
                    <a:pt x="118" y="535"/>
                    <a:pt x="115" y="539"/>
                    <a:pt x="111" y="542"/>
                  </a:cubicBezTo>
                  <a:cubicBezTo>
                    <a:pt x="106" y="546"/>
                    <a:pt x="104" y="549"/>
                    <a:pt x="102" y="555"/>
                  </a:cubicBezTo>
                  <a:cubicBezTo>
                    <a:pt x="101" y="557"/>
                    <a:pt x="101" y="558"/>
                    <a:pt x="98" y="560"/>
                  </a:cubicBezTo>
                  <a:cubicBezTo>
                    <a:pt x="97" y="561"/>
                    <a:pt x="96" y="561"/>
                    <a:pt x="95" y="563"/>
                  </a:cubicBezTo>
                  <a:cubicBezTo>
                    <a:pt x="92" y="567"/>
                    <a:pt x="93" y="572"/>
                    <a:pt x="92" y="577"/>
                  </a:cubicBezTo>
                  <a:cubicBezTo>
                    <a:pt x="90" y="583"/>
                    <a:pt x="92" y="588"/>
                    <a:pt x="87" y="593"/>
                  </a:cubicBezTo>
                  <a:cubicBezTo>
                    <a:pt x="83" y="598"/>
                    <a:pt x="84" y="603"/>
                    <a:pt x="84" y="609"/>
                  </a:cubicBezTo>
                  <a:cubicBezTo>
                    <a:pt x="84" y="617"/>
                    <a:pt x="84" y="624"/>
                    <a:pt x="84" y="632"/>
                  </a:cubicBezTo>
                  <a:cubicBezTo>
                    <a:pt x="84" y="634"/>
                    <a:pt x="85" y="636"/>
                    <a:pt x="86" y="637"/>
                  </a:cubicBezTo>
                  <a:cubicBezTo>
                    <a:pt x="86" y="637"/>
                    <a:pt x="86" y="637"/>
                    <a:pt x="86" y="637"/>
                  </a:cubicBezTo>
                  <a:cubicBezTo>
                    <a:pt x="87" y="638"/>
                    <a:pt x="87" y="638"/>
                    <a:pt x="87" y="639"/>
                  </a:cubicBezTo>
                  <a:cubicBezTo>
                    <a:pt x="88" y="639"/>
                    <a:pt x="88" y="639"/>
                    <a:pt x="88" y="639"/>
                  </a:cubicBezTo>
                  <a:cubicBezTo>
                    <a:pt x="89" y="640"/>
                    <a:pt x="90" y="640"/>
                    <a:pt x="91" y="640"/>
                  </a:cubicBezTo>
                  <a:cubicBezTo>
                    <a:pt x="94" y="641"/>
                    <a:pt x="96" y="641"/>
                    <a:pt x="98" y="640"/>
                  </a:cubicBezTo>
                  <a:cubicBezTo>
                    <a:pt x="99" y="639"/>
                    <a:pt x="101" y="639"/>
                    <a:pt x="102" y="639"/>
                  </a:cubicBezTo>
                  <a:cubicBezTo>
                    <a:pt x="103" y="639"/>
                    <a:pt x="104" y="640"/>
                    <a:pt x="104" y="640"/>
                  </a:cubicBezTo>
                  <a:cubicBezTo>
                    <a:pt x="107" y="640"/>
                    <a:pt x="108" y="638"/>
                    <a:pt x="110" y="637"/>
                  </a:cubicBezTo>
                  <a:cubicBezTo>
                    <a:pt x="111" y="637"/>
                    <a:pt x="112" y="637"/>
                    <a:pt x="112" y="635"/>
                  </a:cubicBezTo>
                  <a:cubicBezTo>
                    <a:pt x="112" y="634"/>
                    <a:pt x="112" y="634"/>
                    <a:pt x="112" y="633"/>
                  </a:cubicBezTo>
                  <a:cubicBezTo>
                    <a:pt x="113" y="632"/>
                    <a:pt x="114" y="630"/>
                    <a:pt x="115" y="630"/>
                  </a:cubicBezTo>
                  <a:cubicBezTo>
                    <a:pt x="117" y="631"/>
                    <a:pt x="116" y="633"/>
                    <a:pt x="117" y="634"/>
                  </a:cubicBezTo>
                  <a:cubicBezTo>
                    <a:pt x="118" y="635"/>
                    <a:pt x="118" y="636"/>
                    <a:pt x="120" y="636"/>
                  </a:cubicBezTo>
                  <a:cubicBezTo>
                    <a:pt x="123" y="636"/>
                    <a:pt x="123" y="633"/>
                    <a:pt x="123" y="630"/>
                  </a:cubicBezTo>
                  <a:cubicBezTo>
                    <a:pt x="123" y="628"/>
                    <a:pt x="125" y="625"/>
                    <a:pt x="127" y="623"/>
                  </a:cubicBezTo>
                  <a:cubicBezTo>
                    <a:pt x="128" y="622"/>
                    <a:pt x="131" y="622"/>
                    <a:pt x="133" y="622"/>
                  </a:cubicBezTo>
                  <a:cubicBezTo>
                    <a:pt x="134" y="622"/>
                    <a:pt x="135" y="622"/>
                    <a:pt x="135" y="622"/>
                  </a:cubicBezTo>
                  <a:cubicBezTo>
                    <a:pt x="136" y="622"/>
                    <a:pt x="137" y="623"/>
                    <a:pt x="137" y="623"/>
                  </a:cubicBezTo>
                  <a:cubicBezTo>
                    <a:pt x="138" y="623"/>
                    <a:pt x="139" y="623"/>
                    <a:pt x="139" y="623"/>
                  </a:cubicBezTo>
                  <a:cubicBezTo>
                    <a:pt x="140" y="623"/>
                    <a:pt x="141" y="623"/>
                    <a:pt x="141" y="624"/>
                  </a:cubicBezTo>
                  <a:cubicBezTo>
                    <a:pt x="143" y="625"/>
                    <a:pt x="146" y="626"/>
                    <a:pt x="147" y="627"/>
                  </a:cubicBezTo>
                  <a:cubicBezTo>
                    <a:pt x="148" y="627"/>
                    <a:pt x="148" y="628"/>
                    <a:pt x="149" y="629"/>
                  </a:cubicBezTo>
                  <a:cubicBezTo>
                    <a:pt x="151" y="630"/>
                    <a:pt x="153" y="631"/>
                    <a:pt x="155" y="631"/>
                  </a:cubicBezTo>
                  <a:cubicBezTo>
                    <a:pt x="157" y="631"/>
                    <a:pt x="158" y="630"/>
                    <a:pt x="160" y="630"/>
                  </a:cubicBezTo>
                  <a:cubicBezTo>
                    <a:pt x="161" y="629"/>
                    <a:pt x="162" y="629"/>
                    <a:pt x="163" y="629"/>
                  </a:cubicBezTo>
                  <a:cubicBezTo>
                    <a:pt x="165" y="629"/>
                    <a:pt x="164" y="629"/>
                    <a:pt x="165" y="630"/>
                  </a:cubicBezTo>
                  <a:cubicBezTo>
                    <a:pt x="166" y="631"/>
                    <a:pt x="167" y="632"/>
                    <a:pt x="168" y="632"/>
                  </a:cubicBezTo>
                  <a:cubicBezTo>
                    <a:pt x="169" y="633"/>
                    <a:pt x="171" y="634"/>
                    <a:pt x="172" y="634"/>
                  </a:cubicBezTo>
                  <a:cubicBezTo>
                    <a:pt x="172" y="635"/>
                    <a:pt x="172" y="635"/>
                    <a:pt x="173" y="635"/>
                  </a:cubicBezTo>
                  <a:cubicBezTo>
                    <a:pt x="174" y="637"/>
                    <a:pt x="175" y="637"/>
                    <a:pt x="176" y="637"/>
                  </a:cubicBezTo>
                  <a:cubicBezTo>
                    <a:pt x="178" y="638"/>
                    <a:pt x="180" y="638"/>
                    <a:pt x="182" y="639"/>
                  </a:cubicBezTo>
                  <a:cubicBezTo>
                    <a:pt x="183" y="639"/>
                    <a:pt x="183" y="639"/>
                    <a:pt x="184" y="639"/>
                  </a:cubicBezTo>
                  <a:cubicBezTo>
                    <a:pt x="185" y="639"/>
                    <a:pt x="187" y="639"/>
                    <a:pt x="188" y="639"/>
                  </a:cubicBezTo>
                  <a:cubicBezTo>
                    <a:pt x="189" y="639"/>
                    <a:pt x="189" y="640"/>
                    <a:pt x="189" y="640"/>
                  </a:cubicBezTo>
                  <a:cubicBezTo>
                    <a:pt x="189" y="640"/>
                    <a:pt x="190" y="640"/>
                    <a:pt x="191" y="640"/>
                  </a:cubicBezTo>
                  <a:cubicBezTo>
                    <a:pt x="194" y="640"/>
                    <a:pt x="197" y="640"/>
                    <a:pt x="200" y="640"/>
                  </a:cubicBezTo>
                  <a:cubicBezTo>
                    <a:pt x="201" y="640"/>
                    <a:pt x="203" y="639"/>
                    <a:pt x="204" y="640"/>
                  </a:cubicBezTo>
                  <a:cubicBezTo>
                    <a:pt x="206" y="642"/>
                    <a:pt x="206" y="644"/>
                    <a:pt x="207" y="646"/>
                  </a:cubicBezTo>
                  <a:cubicBezTo>
                    <a:pt x="208" y="647"/>
                    <a:pt x="208" y="647"/>
                    <a:pt x="210" y="648"/>
                  </a:cubicBezTo>
                  <a:cubicBezTo>
                    <a:pt x="211" y="648"/>
                    <a:pt x="213" y="647"/>
                    <a:pt x="214" y="648"/>
                  </a:cubicBezTo>
                  <a:cubicBezTo>
                    <a:pt x="214" y="649"/>
                    <a:pt x="214" y="649"/>
                    <a:pt x="215" y="649"/>
                  </a:cubicBezTo>
                  <a:cubicBezTo>
                    <a:pt x="215" y="650"/>
                    <a:pt x="215" y="651"/>
                    <a:pt x="215" y="652"/>
                  </a:cubicBezTo>
                  <a:cubicBezTo>
                    <a:pt x="215" y="653"/>
                    <a:pt x="215" y="652"/>
                    <a:pt x="216" y="653"/>
                  </a:cubicBezTo>
                  <a:cubicBezTo>
                    <a:pt x="217" y="655"/>
                    <a:pt x="220" y="656"/>
                    <a:pt x="222" y="657"/>
                  </a:cubicBezTo>
                  <a:cubicBezTo>
                    <a:pt x="225" y="659"/>
                    <a:pt x="226" y="661"/>
                    <a:pt x="230" y="659"/>
                  </a:cubicBezTo>
                  <a:cubicBezTo>
                    <a:pt x="231" y="659"/>
                    <a:pt x="232" y="657"/>
                    <a:pt x="232" y="656"/>
                  </a:cubicBezTo>
                  <a:cubicBezTo>
                    <a:pt x="233" y="656"/>
                    <a:pt x="233" y="655"/>
                    <a:pt x="233" y="655"/>
                  </a:cubicBezTo>
                  <a:cubicBezTo>
                    <a:pt x="234" y="651"/>
                    <a:pt x="230" y="649"/>
                    <a:pt x="229" y="646"/>
                  </a:cubicBezTo>
                  <a:cubicBezTo>
                    <a:pt x="229" y="643"/>
                    <a:pt x="229" y="642"/>
                    <a:pt x="232" y="641"/>
                  </a:cubicBezTo>
                  <a:cubicBezTo>
                    <a:pt x="236" y="640"/>
                    <a:pt x="240" y="642"/>
                    <a:pt x="244" y="641"/>
                  </a:cubicBezTo>
                  <a:cubicBezTo>
                    <a:pt x="247" y="641"/>
                    <a:pt x="250" y="640"/>
                    <a:pt x="252" y="643"/>
                  </a:cubicBezTo>
                  <a:cubicBezTo>
                    <a:pt x="253" y="644"/>
                    <a:pt x="253" y="646"/>
                    <a:pt x="255" y="646"/>
                  </a:cubicBezTo>
                  <a:cubicBezTo>
                    <a:pt x="255" y="646"/>
                    <a:pt x="255" y="646"/>
                    <a:pt x="255" y="646"/>
                  </a:cubicBezTo>
                  <a:cubicBezTo>
                    <a:pt x="257" y="646"/>
                    <a:pt x="263" y="648"/>
                    <a:pt x="263" y="650"/>
                  </a:cubicBezTo>
                  <a:cubicBezTo>
                    <a:pt x="264" y="651"/>
                    <a:pt x="268" y="651"/>
                    <a:pt x="267" y="651"/>
                  </a:cubicBezTo>
                  <a:cubicBezTo>
                    <a:pt x="270" y="651"/>
                    <a:pt x="273" y="651"/>
                    <a:pt x="275" y="651"/>
                  </a:cubicBezTo>
                  <a:cubicBezTo>
                    <a:pt x="277" y="650"/>
                    <a:pt x="278" y="649"/>
                    <a:pt x="279" y="649"/>
                  </a:cubicBezTo>
                  <a:cubicBezTo>
                    <a:pt x="281" y="648"/>
                    <a:pt x="282" y="650"/>
                    <a:pt x="284" y="650"/>
                  </a:cubicBezTo>
                  <a:cubicBezTo>
                    <a:pt x="285" y="649"/>
                    <a:pt x="286" y="647"/>
                    <a:pt x="287" y="646"/>
                  </a:cubicBezTo>
                  <a:cubicBezTo>
                    <a:pt x="288" y="645"/>
                    <a:pt x="288" y="644"/>
                    <a:pt x="289" y="643"/>
                  </a:cubicBezTo>
                  <a:cubicBezTo>
                    <a:pt x="291" y="641"/>
                    <a:pt x="295" y="642"/>
                    <a:pt x="298" y="642"/>
                  </a:cubicBezTo>
                  <a:cubicBezTo>
                    <a:pt x="299" y="642"/>
                    <a:pt x="301" y="643"/>
                    <a:pt x="302" y="641"/>
                  </a:cubicBezTo>
                  <a:cubicBezTo>
                    <a:pt x="302" y="640"/>
                    <a:pt x="301" y="639"/>
                    <a:pt x="302" y="637"/>
                  </a:cubicBezTo>
                  <a:cubicBezTo>
                    <a:pt x="302" y="636"/>
                    <a:pt x="303" y="636"/>
                    <a:pt x="305" y="636"/>
                  </a:cubicBezTo>
                  <a:cubicBezTo>
                    <a:pt x="308" y="636"/>
                    <a:pt x="312" y="636"/>
                    <a:pt x="316" y="637"/>
                  </a:cubicBezTo>
                  <a:cubicBezTo>
                    <a:pt x="318" y="637"/>
                    <a:pt x="320" y="637"/>
                    <a:pt x="323" y="637"/>
                  </a:cubicBezTo>
                  <a:cubicBezTo>
                    <a:pt x="324" y="637"/>
                    <a:pt x="324" y="637"/>
                    <a:pt x="325" y="637"/>
                  </a:cubicBezTo>
                  <a:cubicBezTo>
                    <a:pt x="325" y="636"/>
                    <a:pt x="326" y="636"/>
                    <a:pt x="327" y="636"/>
                  </a:cubicBezTo>
                  <a:cubicBezTo>
                    <a:pt x="328" y="636"/>
                    <a:pt x="328" y="636"/>
                    <a:pt x="329" y="636"/>
                  </a:cubicBezTo>
                  <a:cubicBezTo>
                    <a:pt x="332" y="634"/>
                    <a:pt x="326" y="632"/>
                    <a:pt x="327" y="629"/>
                  </a:cubicBezTo>
                  <a:cubicBezTo>
                    <a:pt x="327" y="628"/>
                    <a:pt x="329" y="628"/>
                    <a:pt x="330" y="628"/>
                  </a:cubicBezTo>
                  <a:cubicBezTo>
                    <a:pt x="332" y="628"/>
                    <a:pt x="334" y="628"/>
                    <a:pt x="336" y="628"/>
                  </a:cubicBezTo>
                  <a:cubicBezTo>
                    <a:pt x="337" y="628"/>
                    <a:pt x="340" y="629"/>
                    <a:pt x="341" y="629"/>
                  </a:cubicBezTo>
                  <a:cubicBezTo>
                    <a:pt x="342" y="630"/>
                    <a:pt x="342" y="631"/>
                    <a:pt x="343" y="632"/>
                  </a:cubicBezTo>
                  <a:cubicBezTo>
                    <a:pt x="344" y="633"/>
                    <a:pt x="347" y="632"/>
                    <a:pt x="348" y="632"/>
                  </a:cubicBezTo>
                  <a:cubicBezTo>
                    <a:pt x="351" y="632"/>
                    <a:pt x="353" y="630"/>
                    <a:pt x="355" y="630"/>
                  </a:cubicBezTo>
                  <a:cubicBezTo>
                    <a:pt x="357" y="631"/>
                    <a:pt x="356" y="631"/>
                    <a:pt x="357" y="631"/>
                  </a:cubicBezTo>
                  <a:cubicBezTo>
                    <a:pt x="358" y="632"/>
                    <a:pt x="359" y="634"/>
                    <a:pt x="360" y="635"/>
                  </a:cubicBezTo>
                  <a:cubicBezTo>
                    <a:pt x="361" y="636"/>
                    <a:pt x="362" y="638"/>
                    <a:pt x="362" y="639"/>
                  </a:cubicBezTo>
                  <a:cubicBezTo>
                    <a:pt x="362" y="639"/>
                    <a:pt x="362" y="640"/>
                    <a:pt x="362" y="640"/>
                  </a:cubicBezTo>
                  <a:cubicBezTo>
                    <a:pt x="363" y="642"/>
                    <a:pt x="365" y="641"/>
                    <a:pt x="366" y="641"/>
                  </a:cubicBezTo>
                  <a:cubicBezTo>
                    <a:pt x="367" y="641"/>
                    <a:pt x="367" y="642"/>
                    <a:pt x="368" y="642"/>
                  </a:cubicBezTo>
                  <a:cubicBezTo>
                    <a:pt x="369" y="642"/>
                    <a:pt x="371" y="642"/>
                    <a:pt x="372" y="642"/>
                  </a:cubicBezTo>
                  <a:cubicBezTo>
                    <a:pt x="373" y="641"/>
                    <a:pt x="373" y="641"/>
                    <a:pt x="374" y="640"/>
                  </a:cubicBezTo>
                  <a:cubicBezTo>
                    <a:pt x="375" y="639"/>
                    <a:pt x="375" y="638"/>
                    <a:pt x="375" y="637"/>
                  </a:cubicBezTo>
                  <a:cubicBezTo>
                    <a:pt x="375" y="636"/>
                    <a:pt x="375" y="635"/>
                    <a:pt x="375" y="634"/>
                  </a:cubicBezTo>
                  <a:cubicBezTo>
                    <a:pt x="376" y="633"/>
                    <a:pt x="378" y="630"/>
                    <a:pt x="375" y="629"/>
                  </a:cubicBezTo>
                  <a:cubicBezTo>
                    <a:pt x="373" y="628"/>
                    <a:pt x="371" y="628"/>
                    <a:pt x="369" y="626"/>
                  </a:cubicBezTo>
                  <a:cubicBezTo>
                    <a:pt x="368" y="625"/>
                    <a:pt x="368" y="625"/>
                    <a:pt x="368" y="624"/>
                  </a:cubicBezTo>
                  <a:cubicBezTo>
                    <a:pt x="368" y="623"/>
                    <a:pt x="367" y="623"/>
                    <a:pt x="367" y="623"/>
                  </a:cubicBezTo>
                  <a:cubicBezTo>
                    <a:pt x="367" y="622"/>
                    <a:pt x="368" y="621"/>
                    <a:pt x="368" y="620"/>
                  </a:cubicBezTo>
                  <a:cubicBezTo>
                    <a:pt x="368" y="619"/>
                    <a:pt x="369" y="619"/>
                    <a:pt x="370" y="618"/>
                  </a:cubicBezTo>
                  <a:cubicBezTo>
                    <a:pt x="371" y="618"/>
                    <a:pt x="371" y="617"/>
                    <a:pt x="372" y="616"/>
                  </a:cubicBezTo>
                  <a:cubicBezTo>
                    <a:pt x="372" y="614"/>
                    <a:pt x="373" y="612"/>
                    <a:pt x="372" y="611"/>
                  </a:cubicBezTo>
                  <a:cubicBezTo>
                    <a:pt x="371" y="610"/>
                    <a:pt x="370" y="609"/>
                    <a:pt x="369" y="608"/>
                  </a:cubicBezTo>
                  <a:cubicBezTo>
                    <a:pt x="369" y="608"/>
                    <a:pt x="368" y="607"/>
                    <a:pt x="368" y="607"/>
                  </a:cubicBezTo>
                  <a:cubicBezTo>
                    <a:pt x="367" y="606"/>
                    <a:pt x="366" y="606"/>
                    <a:pt x="366" y="606"/>
                  </a:cubicBezTo>
                  <a:cubicBezTo>
                    <a:pt x="366" y="606"/>
                    <a:pt x="366" y="605"/>
                    <a:pt x="365" y="604"/>
                  </a:cubicBezTo>
                  <a:cubicBezTo>
                    <a:pt x="365" y="604"/>
                    <a:pt x="365" y="604"/>
                    <a:pt x="364" y="603"/>
                  </a:cubicBezTo>
                  <a:cubicBezTo>
                    <a:pt x="364" y="603"/>
                    <a:pt x="363" y="602"/>
                    <a:pt x="363" y="601"/>
                  </a:cubicBezTo>
                  <a:cubicBezTo>
                    <a:pt x="363" y="598"/>
                    <a:pt x="363" y="595"/>
                    <a:pt x="363" y="593"/>
                  </a:cubicBezTo>
                  <a:cubicBezTo>
                    <a:pt x="362" y="592"/>
                    <a:pt x="362" y="592"/>
                    <a:pt x="362" y="592"/>
                  </a:cubicBezTo>
                  <a:cubicBezTo>
                    <a:pt x="362" y="591"/>
                    <a:pt x="362" y="590"/>
                    <a:pt x="362" y="589"/>
                  </a:cubicBezTo>
                  <a:cubicBezTo>
                    <a:pt x="362" y="588"/>
                    <a:pt x="361" y="587"/>
                    <a:pt x="362" y="586"/>
                  </a:cubicBezTo>
                  <a:cubicBezTo>
                    <a:pt x="363" y="586"/>
                    <a:pt x="364" y="586"/>
                    <a:pt x="365" y="585"/>
                  </a:cubicBezTo>
                  <a:cubicBezTo>
                    <a:pt x="365" y="585"/>
                    <a:pt x="366" y="584"/>
                    <a:pt x="367" y="583"/>
                  </a:cubicBezTo>
                  <a:cubicBezTo>
                    <a:pt x="368" y="582"/>
                    <a:pt x="370" y="581"/>
                    <a:pt x="372" y="581"/>
                  </a:cubicBezTo>
                  <a:cubicBezTo>
                    <a:pt x="374" y="581"/>
                    <a:pt x="376" y="580"/>
                    <a:pt x="378" y="579"/>
                  </a:cubicBezTo>
                  <a:cubicBezTo>
                    <a:pt x="380" y="578"/>
                    <a:pt x="382" y="577"/>
                    <a:pt x="384" y="577"/>
                  </a:cubicBezTo>
                  <a:cubicBezTo>
                    <a:pt x="388" y="577"/>
                    <a:pt x="392" y="577"/>
                    <a:pt x="395" y="575"/>
                  </a:cubicBezTo>
                  <a:cubicBezTo>
                    <a:pt x="396" y="574"/>
                    <a:pt x="397" y="574"/>
                    <a:pt x="397" y="573"/>
                  </a:cubicBezTo>
                  <a:cubicBezTo>
                    <a:pt x="398" y="572"/>
                    <a:pt x="398" y="572"/>
                    <a:pt x="398" y="571"/>
                  </a:cubicBezTo>
                  <a:cubicBezTo>
                    <a:pt x="398" y="571"/>
                    <a:pt x="398" y="570"/>
                    <a:pt x="398" y="570"/>
                  </a:cubicBezTo>
                  <a:cubicBezTo>
                    <a:pt x="398" y="569"/>
                    <a:pt x="398" y="568"/>
                    <a:pt x="399" y="568"/>
                  </a:cubicBezTo>
                  <a:cubicBezTo>
                    <a:pt x="399" y="567"/>
                    <a:pt x="399" y="566"/>
                    <a:pt x="399" y="565"/>
                  </a:cubicBezTo>
                  <a:cubicBezTo>
                    <a:pt x="399" y="566"/>
                    <a:pt x="399" y="566"/>
                    <a:pt x="399" y="566"/>
                  </a:cubicBezTo>
                  <a:cubicBezTo>
                    <a:pt x="399" y="565"/>
                    <a:pt x="399" y="564"/>
                    <a:pt x="400" y="564"/>
                  </a:cubicBezTo>
                  <a:cubicBezTo>
                    <a:pt x="400" y="563"/>
                    <a:pt x="399" y="562"/>
                    <a:pt x="400" y="561"/>
                  </a:cubicBezTo>
                  <a:cubicBezTo>
                    <a:pt x="400" y="560"/>
                    <a:pt x="400" y="559"/>
                    <a:pt x="401" y="559"/>
                  </a:cubicBezTo>
                  <a:cubicBezTo>
                    <a:pt x="401" y="558"/>
                    <a:pt x="402" y="556"/>
                    <a:pt x="402" y="556"/>
                  </a:cubicBezTo>
                  <a:cubicBezTo>
                    <a:pt x="403" y="556"/>
                    <a:pt x="404" y="556"/>
                    <a:pt x="405" y="556"/>
                  </a:cubicBezTo>
                  <a:cubicBezTo>
                    <a:pt x="406" y="556"/>
                    <a:pt x="406" y="557"/>
                    <a:pt x="407" y="558"/>
                  </a:cubicBezTo>
                  <a:cubicBezTo>
                    <a:pt x="408" y="559"/>
                    <a:pt x="414" y="560"/>
                    <a:pt x="415" y="559"/>
                  </a:cubicBezTo>
                  <a:cubicBezTo>
                    <a:pt x="416" y="558"/>
                    <a:pt x="417" y="556"/>
                    <a:pt x="417" y="555"/>
                  </a:cubicBezTo>
                  <a:cubicBezTo>
                    <a:pt x="418" y="554"/>
                    <a:pt x="418" y="553"/>
                    <a:pt x="418" y="552"/>
                  </a:cubicBezTo>
                  <a:cubicBezTo>
                    <a:pt x="418" y="551"/>
                    <a:pt x="419" y="550"/>
                    <a:pt x="419" y="548"/>
                  </a:cubicBezTo>
                  <a:cubicBezTo>
                    <a:pt x="419" y="547"/>
                    <a:pt x="419" y="545"/>
                    <a:pt x="419" y="544"/>
                  </a:cubicBezTo>
                  <a:cubicBezTo>
                    <a:pt x="419" y="543"/>
                    <a:pt x="420" y="543"/>
                    <a:pt x="420" y="542"/>
                  </a:cubicBezTo>
                  <a:cubicBezTo>
                    <a:pt x="420" y="541"/>
                    <a:pt x="420" y="540"/>
                    <a:pt x="420" y="540"/>
                  </a:cubicBezTo>
                  <a:cubicBezTo>
                    <a:pt x="420" y="539"/>
                    <a:pt x="421" y="539"/>
                    <a:pt x="421" y="539"/>
                  </a:cubicBezTo>
                  <a:cubicBezTo>
                    <a:pt x="421" y="539"/>
                    <a:pt x="420" y="538"/>
                    <a:pt x="420" y="537"/>
                  </a:cubicBezTo>
                  <a:cubicBezTo>
                    <a:pt x="420" y="536"/>
                    <a:pt x="420" y="534"/>
                    <a:pt x="419" y="533"/>
                  </a:cubicBezTo>
                  <a:cubicBezTo>
                    <a:pt x="418" y="532"/>
                    <a:pt x="417" y="532"/>
                    <a:pt x="417" y="531"/>
                  </a:cubicBezTo>
                  <a:cubicBezTo>
                    <a:pt x="416" y="531"/>
                    <a:pt x="415" y="530"/>
                    <a:pt x="414" y="529"/>
                  </a:cubicBezTo>
                  <a:cubicBezTo>
                    <a:pt x="413" y="528"/>
                    <a:pt x="412" y="527"/>
                    <a:pt x="411" y="527"/>
                  </a:cubicBezTo>
                  <a:cubicBezTo>
                    <a:pt x="410" y="526"/>
                    <a:pt x="410" y="525"/>
                    <a:pt x="410" y="524"/>
                  </a:cubicBezTo>
                  <a:cubicBezTo>
                    <a:pt x="408" y="519"/>
                    <a:pt x="402" y="526"/>
                    <a:pt x="400" y="520"/>
                  </a:cubicBezTo>
                  <a:cubicBezTo>
                    <a:pt x="400" y="519"/>
                    <a:pt x="399" y="518"/>
                    <a:pt x="398" y="517"/>
                  </a:cubicBezTo>
                  <a:cubicBezTo>
                    <a:pt x="398" y="516"/>
                    <a:pt x="397" y="515"/>
                    <a:pt x="397" y="514"/>
                  </a:cubicBezTo>
                  <a:cubicBezTo>
                    <a:pt x="396" y="514"/>
                    <a:pt x="395" y="513"/>
                    <a:pt x="394" y="513"/>
                  </a:cubicBezTo>
                  <a:cubicBezTo>
                    <a:pt x="394" y="512"/>
                    <a:pt x="394" y="512"/>
                    <a:pt x="394" y="512"/>
                  </a:cubicBezTo>
                  <a:cubicBezTo>
                    <a:pt x="393" y="511"/>
                    <a:pt x="391" y="510"/>
                    <a:pt x="390" y="510"/>
                  </a:cubicBezTo>
                  <a:cubicBezTo>
                    <a:pt x="389" y="509"/>
                    <a:pt x="386" y="509"/>
                    <a:pt x="385" y="508"/>
                  </a:cubicBezTo>
                  <a:cubicBezTo>
                    <a:pt x="385" y="507"/>
                    <a:pt x="385" y="507"/>
                    <a:pt x="385" y="507"/>
                  </a:cubicBezTo>
                  <a:cubicBezTo>
                    <a:pt x="385" y="504"/>
                    <a:pt x="384" y="502"/>
                    <a:pt x="382" y="499"/>
                  </a:cubicBezTo>
                  <a:cubicBezTo>
                    <a:pt x="381" y="498"/>
                    <a:pt x="380" y="496"/>
                    <a:pt x="379" y="495"/>
                  </a:cubicBezTo>
                  <a:cubicBezTo>
                    <a:pt x="378" y="494"/>
                    <a:pt x="376" y="493"/>
                    <a:pt x="375" y="491"/>
                  </a:cubicBezTo>
                  <a:cubicBezTo>
                    <a:pt x="374" y="491"/>
                    <a:pt x="374" y="491"/>
                    <a:pt x="373" y="490"/>
                  </a:cubicBezTo>
                  <a:cubicBezTo>
                    <a:pt x="373" y="490"/>
                    <a:pt x="371" y="491"/>
                    <a:pt x="371" y="491"/>
                  </a:cubicBezTo>
                  <a:cubicBezTo>
                    <a:pt x="369" y="491"/>
                    <a:pt x="369" y="490"/>
                    <a:pt x="368" y="490"/>
                  </a:cubicBezTo>
                  <a:cubicBezTo>
                    <a:pt x="367" y="489"/>
                    <a:pt x="365" y="489"/>
                    <a:pt x="365" y="488"/>
                  </a:cubicBezTo>
                  <a:cubicBezTo>
                    <a:pt x="364" y="488"/>
                    <a:pt x="364" y="488"/>
                    <a:pt x="364" y="487"/>
                  </a:cubicBezTo>
                  <a:cubicBezTo>
                    <a:pt x="363" y="485"/>
                    <a:pt x="362" y="484"/>
                    <a:pt x="361" y="483"/>
                  </a:cubicBezTo>
                  <a:cubicBezTo>
                    <a:pt x="360" y="482"/>
                    <a:pt x="360" y="482"/>
                    <a:pt x="360" y="480"/>
                  </a:cubicBezTo>
                  <a:cubicBezTo>
                    <a:pt x="359" y="479"/>
                    <a:pt x="359" y="476"/>
                    <a:pt x="359" y="475"/>
                  </a:cubicBezTo>
                  <a:cubicBezTo>
                    <a:pt x="358" y="474"/>
                    <a:pt x="358" y="474"/>
                    <a:pt x="358" y="473"/>
                  </a:cubicBezTo>
                  <a:cubicBezTo>
                    <a:pt x="357" y="471"/>
                    <a:pt x="356" y="469"/>
                    <a:pt x="355" y="467"/>
                  </a:cubicBezTo>
                  <a:cubicBezTo>
                    <a:pt x="355" y="466"/>
                    <a:pt x="354" y="464"/>
                    <a:pt x="353" y="463"/>
                  </a:cubicBezTo>
                  <a:cubicBezTo>
                    <a:pt x="352" y="462"/>
                    <a:pt x="351" y="461"/>
                    <a:pt x="349" y="460"/>
                  </a:cubicBezTo>
                  <a:cubicBezTo>
                    <a:pt x="348" y="459"/>
                    <a:pt x="348" y="457"/>
                    <a:pt x="349" y="456"/>
                  </a:cubicBezTo>
                  <a:cubicBezTo>
                    <a:pt x="349" y="455"/>
                    <a:pt x="350" y="454"/>
                    <a:pt x="351" y="453"/>
                  </a:cubicBezTo>
                  <a:cubicBezTo>
                    <a:pt x="351" y="452"/>
                    <a:pt x="352" y="451"/>
                    <a:pt x="352" y="451"/>
                  </a:cubicBezTo>
                  <a:cubicBezTo>
                    <a:pt x="353" y="450"/>
                    <a:pt x="354" y="449"/>
                    <a:pt x="354" y="448"/>
                  </a:cubicBezTo>
                  <a:cubicBezTo>
                    <a:pt x="354" y="447"/>
                    <a:pt x="354" y="446"/>
                    <a:pt x="354" y="445"/>
                  </a:cubicBezTo>
                  <a:cubicBezTo>
                    <a:pt x="354" y="444"/>
                    <a:pt x="355" y="443"/>
                    <a:pt x="355" y="442"/>
                  </a:cubicBezTo>
                  <a:cubicBezTo>
                    <a:pt x="354" y="440"/>
                    <a:pt x="352" y="440"/>
                    <a:pt x="351" y="439"/>
                  </a:cubicBezTo>
                  <a:cubicBezTo>
                    <a:pt x="349" y="439"/>
                    <a:pt x="349" y="438"/>
                    <a:pt x="348" y="437"/>
                  </a:cubicBezTo>
                  <a:cubicBezTo>
                    <a:pt x="347" y="436"/>
                    <a:pt x="345" y="436"/>
                    <a:pt x="345" y="435"/>
                  </a:cubicBezTo>
                  <a:cubicBezTo>
                    <a:pt x="343" y="434"/>
                    <a:pt x="344" y="432"/>
                    <a:pt x="342" y="431"/>
                  </a:cubicBezTo>
                  <a:cubicBezTo>
                    <a:pt x="340" y="430"/>
                    <a:pt x="339" y="431"/>
                    <a:pt x="339" y="429"/>
                  </a:cubicBezTo>
                  <a:cubicBezTo>
                    <a:pt x="338" y="427"/>
                    <a:pt x="338" y="426"/>
                    <a:pt x="338" y="424"/>
                  </a:cubicBezTo>
                  <a:cubicBezTo>
                    <a:pt x="338" y="423"/>
                    <a:pt x="338" y="421"/>
                    <a:pt x="337" y="419"/>
                  </a:cubicBezTo>
                  <a:cubicBezTo>
                    <a:pt x="337" y="416"/>
                    <a:pt x="331" y="416"/>
                    <a:pt x="332" y="412"/>
                  </a:cubicBezTo>
                  <a:cubicBezTo>
                    <a:pt x="333" y="412"/>
                    <a:pt x="333" y="412"/>
                    <a:pt x="333" y="411"/>
                  </a:cubicBezTo>
                  <a:cubicBezTo>
                    <a:pt x="333" y="411"/>
                    <a:pt x="333" y="411"/>
                    <a:pt x="333" y="410"/>
                  </a:cubicBezTo>
                  <a:cubicBezTo>
                    <a:pt x="334" y="409"/>
                    <a:pt x="334" y="409"/>
                    <a:pt x="336" y="408"/>
                  </a:cubicBezTo>
                  <a:cubicBezTo>
                    <a:pt x="338" y="407"/>
                    <a:pt x="339" y="411"/>
                    <a:pt x="339" y="413"/>
                  </a:cubicBezTo>
                  <a:cubicBezTo>
                    <a:pt x="339" y="414"/>
                    <a:pt x="339" y="415"/>
                    <a:pt x="340" y="416"/>
                  </a:cubicBezTo>
                  <a:cubicBezTo>
                    <a:pt x="340" y="417"/>
                    <a:pt x="341" y="417"/>
                    <a:pt x="342" y="418"/>
                  </a:cubicBezTo>
                  <a:cubicBezTo>
                    <a:pt x="342" y="418"/>
                    <a:pt x="342" y="419"/>
                    <a:pt x="342" y="419"/>
                  </a:cubicBezTo>
                  <a:cubicBezTo>
                    <a:pt x="342" y="420"/>
                    <a:pt x="342" y="419"/>
                    <a:pt x="343" y="420"/>
                  </a:cubicBezTo>
                  <a:cubicBezTo>
                    <a:pt x="343" y="421"/>
                    <a:pt x="343" y="421"/>
                    <a:pt x="343" y="422"/>
                  </a:cubicBezTo>
                  <a:cubicBezTo>
                    <a:pt x="344" y="421"/>
                    <a:pt x="344" y="420"/>
                    <a:pt x="344" y="419"/>
                  </a:cubicBezTo>
                  <a:cubicBezTo>
                    <a:pt x="345" y="417"/>
                    <a:pt x="346" y="417"/>
                    <a:pt x="346" y="416"/>
                  </a:cubicBezTo>
                  <a:cubicBezTo>
                    <a:pt x="346" y="415"/>
                    <a:pt x="346" y="414"/>
                    <a:pt x="346" y="413"/>
                  </a:cubicBezTo>
                  <a:cubicBezTo>
                    <a:pt x="346" y="413"/>
                    <a:pt x="347" y="412"/>
                    <a:pt x="348" y="411"/>
                  </a:cubicBezTo>
                  <a:cubicBezTo>
                    <a:pt x="349" y="409"/>
                    <a:pt x="351" y="408"/>
                    <a:pt x="353" y="407"/>
                  </a:cubicBezTo>
                  <a:cubicBezTo>
                    <a:pt x="354" y="406"/>
                    <a:pt x="355" y="404"/>
                    <a:pt x="357" y="404"/>
                  </a:cubicBezTo>
                  <a:cubicBezTo>
                    <a:pt x="357" y="403"/>
                    <a:pt x="358" y="403"/>
                    <a:pt x="359" y="402"/>
                  </a:cubicBezTo>
                  <a:cubicBezTo>
                    <a:pt x="360" y="402"/>
                    <a:pt x="360" y="400"/>
                    <a:pt x="361" y="401"/>
                  </a:cubicBezTo>
                  <a:cubicBezTo>
                    <a:pt x="362" y="401"/>
                    <a:pt x="362" y="402"/>
                    <a:pt x="363" y="402"/>
                  </a:cubicBezTo>
                  <a:cubicBezTo>
                    <a:pt x="364" y="403"/>
                    <a:pt x="364" y="402"/>
                    <a:pt x="365" y="402"/>
                  </a:cubicBezTo>
                  <a:cubicBezTo>
                    <a:pt x="367" y="402"/>
                    <a:pt x="368" y="402"/>
                    <a:pt x="369" y="400"/>
                  </a:cubicBezTo>
                  <a:cubicBezTo>
                    <a:pt x="370" y="400"/>
                    <a:pt x="370" y="398"/>
                    <a:pt x="370" y="398"/>
                  </a:cubicBezTo>
                  <a:cubicBezTo>
                    <a:pt x="371" y="398"/>
                    <a:pt x="373" y="398"/>
                    <a:pt x="373" y="398"/>
                  </a:cubicBezTo>
                  <a:cubicBezTo>
                    <a:pt x="374" y="398"/>
                    <a:pt x="374" y="399"/>
                    <a:pt x="375" y="399"/>
                  </a:cubicBezTo>
                  <a:cubicBezTo>
                    <a:pt x="376" y="399"/>
                    <a:pt x="377" y="398"/>
                    <a:pt x="379" y="399"/>
                  </a:cubicBezTo>
                  <a:cubicBezTo>
                    <a:pt x="379" y="399"/>
                    <a:pt x="380" y="400"/>
                    <a:pt x="380" y="400"/>
                  </a:cubicBezTo>
                  <a:cubicBezTo>
                    <a:pt x="381" y="401"/>
                    <a:pt x="381" y="400"/>
                    <a:pt x="382" y="399"/>
                  </a:cubicBezTo>
                  <a:cubicBezTo>
                    <a:pt x="382" y="398"/>
                    <a:pt x="383" y="398"/>
                    <a:pt x="384" y="397"/>
                  </a:cubicBezTo>
                  <a:cubicBezTo>
                    <a:pt x="385" y="396"/>
                    <a:pt x="386" y="395"/>
                    <a:pt x="386" y="394"/>
                  </a:cubicBezTo>
                  <a:cubicBezTo>
                    <a:pt x="388" y="392"/>
                    <a:pt x="388" y="392"/>
                    <a:pt x="391" y="392"/>
                  </a:cubicBezTo>
                  <a:cubicBezTo>
                    <a:pt x="391" y="392"/>
                    <a:pt x="392" y="392"/>
                    <a:pt x="392" y="392"/>
                  </a:cubicBezTo>
                  <a:cubicBezTo>
                    <a:pt x="392" y="392"/>
                    <a:pt x="392" y="391"/>
                    <a:pt x="392" y="391"/>
                  </a:cubicBezTo>
                  <a:cubicBezTo>
                    <a:pt x="393" y="391"/>
                    <a:pt x="394" y="390"/>
                    <a:pt x="394" y="390"/>
                  </a:cubicBezTo>
                  <a:cubicBezTo>
                    <a:pt x="394" y="389"/>
                    <a:pt x="395" y="389"/>
                    <a:pt x="395" y="388"/>
                  </a:cubicBezTo>
                  <a:cubicBezTo>
                    <a:pt x="395" y="387"/>
                    <a:pt x="395" y="386"/>
                    <a:pt x="396" y="386"/>
                  </a:cubicBezTo>
                  <a:cubicBezTo>
                    <a:pt x="397" y="384"/>
                    <a:pt x="399" y="387"/>
                    <a:pt x="401" y="387"/>
                  </a:cubicBezTo>
                  <a:cubicBezTo>
                    <a:pt x="401" y="386"/>
                    <a:pt x="401" y="385"/>
                    <a:pt x="402" y="384"/>
                  </a:cubicBezTo>
                  <a:cubicBezTo>
                    <a:pt x="402" y="383"/>
                    <a:pt x="402" y="383"/>
                    <a:pt x="402" y="383"/>
                  </a:cubicBezTo>
                  <a:cubicBezTo>
                    <a:pt x="402" y="382"/>
                    <a:pt x="402" y="381"/>
                    <a:pt x="402" y="381"/>
                  </a:cubicBezTo>
                  <a:cubicBezTo>
                    <a:pt x="403" y="379"/>
                    <a:pt x="405" y="380"/>
                    <a:pt x="405" y="381"/>
                  </a:cubicBezTo>
                  <a:cubicBezTo>
                    <a:pt x="406" y="381"/>
                    <a:pt x="406" y="383"/>
                    <a:pt x="406" y="384"/>
                  </a:cubicBezTo>
                  <a:cubicBezTo>
                    <a:pt x="407" y="384"/>
                    <a:pt x="409" y="384"/>
                    <a:pt x="409" y="384"/>
                  </a:cubicBezTo>
                  <a:cubicBezTo>
                    <a:pt x="410" y="384"/>
                    <a:pt x="411" y="384"/>
                    <a:pt x="412" y="383"/>
                  </a:cubicBezTo>
                  <a:cubicBezTo>
                    <a:pt x="413" y="383"/>
                    <a:pt x="412" y="381"/>
                    <a:pt x="412" y="380"/>
                  </a:cubicBezTo>
                  <a:cubicBezTo>
                    <a:pt x="412" y="379"/>
                    <a:pt x="412" y="377"/>
                    <a:pt x="413" y="376"/>
                  </a:cubicBezTo>
                  <a:cubicBezTo>
                    <a:pt x="413" y="375"/>
                    <a:pt x="414" y="375"/>
                    <a:pt x="414" y="375"/>
                  </a:cubicBezTo>
                  <a:cubicBezTo>
                    <a:pt x="415" y="374"/>
                    <a:pt x="416" y="373"/>
                    <a:pt x="417" y="373"/>
                  </a:cubicBezTo>
                  <a:cubicBezTo>
                    <a:pt x="418" y="373"/>
                    <a:pt x="418" y="373"/>
                    <a:pt x="419" y="373"/>
                  </a:cubicBezTo>
                  <a:cubicBezTo>
                    <a:pt x="421" y="373"/>
                    <a:pt x="422" y="372"/>
                    <a:pt x="424" y="372"/>
                  </a:cubicBezTo>
                  <a:cubicBezTo>
                    <a:pt x="425" y="372"/>
                    <a:pt x="427" y="371"/>
                    <a:pt x="428" y="371"/>
                  </a:cubicBezTo>
                  <a:cubicBezTo>
                    <a:pt x="429" y="371"/>
                    <a:pt x="430" y="371"/>
                    <a:pt x="431" y="371"/>
                  </a:cubicBezTo>
                  <a:cubicBezTo>
                    <a:pt x="432" y="371"/>
                    <a:pt x="432" y="370"/>
                    <a:pt x="433" y="369"/>
                  </a:cubicBezTo>
                  <a:cubicBezTo>
                    <a:pt x="434" y="369"/>
                    <a:pt x="435" y="368"/>
                    <a:pt x="436" y="367"/>
                  </a:cubicBezTo>
                  <a:cubicBezTo>
                    <a:pt x="436" y="367"/>
                    <a:pt x="436" y="366"/>
                    <a:pt x="436" y="366"/>
                  </a:cubicBezTo>
                  <a:cubicBezTo>
                    <a:pt x="436" y="365"/>
                    <a:pt x="439" y="364"/>
                    <a:pt x="440" y="364"/>
                  </a:cubicBezTo>
                  <a:cubicBezTo>
                    <a:pt x="441" y="364"/>
                    <a:pt x="442" y="365"/>
                    <a:pt x="443" y="364"/>
                  </a:cubicBezTo>
                  <a:cubicBezTo>
                    <a:pt x="444" y="364"/>
                    <a:pt x="445" y="362"/>
                    <a:pt x="446" y="363"/>
                  </a:cubicBezTo>
                  <a:cubicBezTo>
                    <a:pt x="447" y="364"/>
                    <a:pt x="447" y="363"/>
                    <a:pt x="448" y="363"/>
                  </a:cubicBezTo>
                  <a:cubicBezTo>
                    <a:pt x="449" y="362"/>
                    <a:pt x="451" y="361"/>
                    <a:pt x="452" y="360"/>
                  </a:cubicBezTo>
                  <a:cubicBezTo>
                    <a:pt x="454" y="360"/>
                    <a:pt x="456" y="359"/>
                    <a:pt x="458" y="358"/>
                  </a:cubicBezTo>
                  <a:cubicBezTo>
                    <a:pt x="459" y="357"/>
                    <a:pt x="460" y="357"/>
                    <a:pt x="460" y="356"/>
                  </a:cubicBezTo>
                  <a:cubicBezTo>
                    <a:pt x="461" y="355"/>
                    <a:pt x="457" y="353"/>
                    <a:pt x="457" y="352"/>
                  </a:cubicBezTo>
                  <a:cubicBezTo>
                    <a:pt x="455" y="351"/>
                    <a:pt x="453" y="350"/>
                    <a:pt x="452" y="349"/>
                  </a:cubicBezTo>
                  <a:cubicBezTo>
                    <a:pt x="454" y="349"/>
                    <a:pt x="457" y="348"/>
                    <a:pt x="459" y="347"/>
                  </a:cubicBezTo>
                  <a:cubicBezTo>
                    <a:pt x="460" y="346"/>
                    <a:pt x="461" y="344"/>
                    <a:pt x="462" y="344"/>
                  </a:cubicBezTo>
                  <a:cubicBezTo>
                    <a:pt x="464" y="343"/>
                    <a:pt x="464" y="343"/>
                    <a:pt x="465" y="344"/>
                  </a:cubicBezTo>
                  <a:cubicBezTo>
                    <a:pt x="466" y="345"/>
                    <a:pt x="467" y="346"/>
                    <a:pt x="468" y="347"/>
                  </a:cubicBezTo>
                  <a:cubicBezTo>
                    <a:pt x="470" y="347"/>
                    <a:pt x="473" y="351"/>
                    <a:pt x="473" y="353"/>
                  </a:cubicBezTo>
                  <a:cubicBezTo>
                    <a:pt x="472" y="354"/>
                    <a:pt x="472" y="355"/>
                    <a:pt x="471" y="356"/>
                  </a:cubicBezTo>
                  <a:cubicBezTo>
                    <a:pt x="470" y="358"/>
                    <a:pt x="470" y="358"/>
                    <a:pt x="472" y="359"/>
                  </a:cubicBezTo>
                  <a:cubicBezTo>
                    <a:pt x="473" y="359"/>
                    <a:pt x="475" y="360"/>
                    <a:pt x="476" y="361"/>
                  </a:cubicBezTo>
                  <a:cubicBezTo>
                    <a:pt x="476" y="361"/>
                    <a:pt x="476" y="361"/>
                    <a:pt x="476" y="362"/>
                  </a:cubicBezTo>
                  <a:cubicBezTo>
                    <a:pt x="476" y="363"/>
                    <a:pt x="476" y="364"/>
                    <a:pt x="477" y="365"/>
                  </a:cubicBezTo>
                  <a:cubicBezTo>
                    <a:pt x="477" y="365"/>
                    <a:pt x="480" y="365"/>
                    <a:pt x="481" y="365"/>
                  </a:cubicBezTo>
                  <a:cubicBezTo>
                    <a:pt x="482" y="365"/>
                    <a:pt x="483" y="364"/>
                    <a:pt x="484" y="363"/>
                  </a:cubicBezTo>
                  <a:cubicBezTo>
                    <a:pt x="485" y="362"/>
                    <a:pt x="487" y="359"/>
                    <a:pt x="489" y="361"/>
                  </a:cubicBezTo>
                  <a:cubicBezTo>
                    <a:pt x="488" y="360"/>
                    <a:pt x="488" y="357"/>
                    <a:pt x="488" y="356"/>
                  </a:cubicBezTo>
                  <a:cubicBezTo>
                    <a:pt x="489" y="355"/>
                    <a:pt x="492" y="354"/>
                    <a:pt x="491" y="352"/>
                  </a:cubicBezTo>
                  <a:cubicBezTo>
                    <a:pt x="491" y="351"/>
                    <a:pt x="490" y="351"/>
                    <a:pt x="490" y="349"/>
                  </a:cubicBezTo>
                  <a:cubicBezTo>
                    <a:pt x="490" y="346"/>
                    <a:pt x="492" y="345"/>
                    <a:pt x="492" y="343"/>
                  </a:cubicBezTo>
                  <a:cubicBezTo>
                    <a:pt x="493" y="341"/>
                    <a:pt x="492" y="339"/>
                    <a:pt x="493" y="337"/>
                  </a:cubicBezTo>
                  <a:cubicBezTo>
                    <a:pt x="493" y="335"/>
                    <a:pt x="493" y="334"/>
                    <a:pt x="494" y="332"/>
                  </a:cubicBezTo>
                  <a:cubicBezTo>
                    <a:pt x="495" y="330"/>
                    <a:pt x="495" y="328"/>
                    <a:pt x="496" y="326"/>
                  </a:cubicBezTo>
                  <a:cubicBezTo>
                    <a:pt x="496" y="324"/>
                    <a:pt x="496" y="325"/>
                    <a:pt x="496" y="32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8" name="Freeform 110">
              <a:extLst>
                <a:ext uri="{FF2B5EF4-FFF2-40B4-BE49-F238E27FC236}">
                  <a16:creationId xmlns:a16="http://schemas.microsoft.com/office/drawing/2014/main" id="{720FB6E6-70F3-4D60-898C-3F9CF7F57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4825" y="3700463"/>
              <a:ext cx="23813" cy="61913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9" y="1"/>
                </a:cxn>
                <a:cxn ang="0">
                  <a:pos x="7" y="3"/>
                </a:cxn>
                <a:cxn ang="0">
                  <a:pos x="6" y="6"/>
                </a:cxn>
                <a:cxn ang="0">
                  <a:pos x="5" y="10"/>
                </a:cxn>
                <a:cxn ang="0">
                  <a:pos x="4" y="13"/>
                </a:cxn>
                <a:cxn ang="0">
                  <a:pos x="3" y="15"/>
                </a:cxn>
                <a:cxn ang="0">
                  <a:pos x="3" y="18"/>
                </a:cxn>
                <a:cxn ang="0">
                  <a:pos x="1" y="23"/>
                </a:cxn>
                <a:cxn ang="0">
                  <a:pos x="1" y="27"/>
                </a:cxn>
                <a:cxn ang="0">
                  <a:pos x="1" y="32"/>
                </a:cxn>
                <a:cxn ang="0">
                  <a:pos x="2" y="32"/>
                </a:cxn>
                <a:cxn ang="0">
                  <a:pos x="4" y="31"/>
                </a:cxn>
                <a:cxn ang="0">
                  <a:pos x="4" y="25"/>
                </a:cxn>
                <a:cxn ang="0">
                  <a:pos x="4" y="23"/>
                </a:cxn>
                <a:cxn ang="0">
                  <a:pos x="5" y="20"/>
                </a:cxn>
                <a:cxn ang="0">
                  <a:pos x="6" y="18"/>
                </a:cxn>
                <a:cxn ang="0">
                  <a:pos x="8" y="20"/>
                </a:cxn>
                <a:cxn ang="0">
                  <a:pos x="8" y="21"/>
                </a:cxn>
                <a:cxn ang="0">
                  <a:pos x="10" y="21"/>
                </a:cxn>
                <a:cxn ang="0">
                  <a:pos x="12" y="21"/>
                </a:cxn>
                <a:cxn ang="0">
                  <a:pos x="12" y="18"/>
                </a:cxn>
                <a:cxn ang="0">
                  <a:pos x="9" y="16"/>
                </a:cxn>
                <a:cxn ang="0">
                  <a:pos x="9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8" y="9"/>
                </a:cxn>
                <a:cxn ang="0">
                  <a:pos x="11" y="5"/>
                </a:cxn>
                <a:cxn ang="0">
                  <a:pos x="11" y="4"/>
                </a:cxn>
                <a:cxn ang="0">
                  <a:pos x="11" y="3"/>
                </a:cxn>
              </a:cxnLst>
              <a:rect l="0" t="0" r="r" b="b"/>
              <a:pathLst>
                <a:path w="13" h="33">
                  <a:moveTo>
                    <a:pt x="12" y="2"/>
                  </a:moveTo>
                  <a:cubicBezTo>
                    <a:pt x="12" y="1"/>
                    <a:pt x="10" y="0"/>
                    <a:pt x="9" y="1"/>
                  </a:cubicBezTo>
                  <a:cubicBezTo>
                    <a:pt x="8" y="2"/>
                    <a:pt x="8" y="2"/>
                    <a:pt x="7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7"/>
                    <a:pt x="5" y="8"/>
                    <a:pt x="5" y="10"/>
                  </a:cubicBezTo>
                  <a:cubicBezTo>
                    <a:pt x="4" y="11"/>
                    <a:pt x="4" y="12"/>
                    <a:pt x="4" y="13"/>
                  </a:cubicBezTo>
                  <a:cubicBezTo>
                    <a:pt x="4" y="14"/>
                    <a:pt x="3" y="15"/>
                    <a:pt x="3" y="15"/>
                  </a:cubicBezTo>
                  <a:cubicBezTo>
                    <a:pt x="3" y="16"/>
                    <a:pt x="3" y="17"/>
                    <a:pt x="3" y="18"/>
                  </a:cubicBezTo>
                  <a:cubicBezTo>
                    <a:pt x="2" y="19"/>
                    <a:pt x="2" y="21"/>
                    <a:pt x="1" y="23"/>
                  </a:cubicBezTo>
                  <a:cubicBezTo>
                    <a:pt x="1" y="24"/>
                    <a:pt x="1" y="26"/>
                    <a:pt x="1" y="27"/>
                  </a:cubicBezTo>
                  <a:cubicBezTo>
                    <a:pt x="1" y="29"/>
                    <a:pt x="0" y="31"/>
                    <a:pt x="1" y="32"/>
                  </a:cubicBezTo>
                  <a:cubicBezTo>
                    <a:pt x="1" y="33"/>
                    <a:pt x="2" y="32"/>
                    <a:pt x="2" y="32"/>
                  </a:cubicBezTo>
                  <a:cubicBezTo>
                    <a:pt x="3" y="32"/>
                    <a:pt x="3" y="32"/>
                    <a:pt x="4" y="31"/>
                  </a:cubicBezTo>
                  <a:cubicBezTo>
                    <a:pt x="4" y="29"/>
                    <a:pt x="3" y="27"/>
                    <a:pt x="4" y="25"/>
                  </a:cubicBezTo>
                  <a:cubicBezTo>
                    <a:pt x="4" y="24"/>
                    <a:pt x="4" y="24"/>
                    <a:pt x="4" y="23"/>
                  </a:cubicBezTo>
                  <a:cubicBezTo>
                    <a:pt x="5" y="22"/>
                    <a:pt x="5" y="21"/>
                    <a:pt x="5" y="20"/>
                  </a:cubicBezTo>
                  <a:cubicBezTo>
                    <a:pt x="5" y="19"/>
                    <a:pt x="5" y="18"/>
                    <a:pt x="6" y="18"/>
                  </a:cubicBezTo>
                  <a:cubicBezTo>
                    <a:pt x="7" y="19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1" y="21"/>
                    <a:pt x="11" y="21"/>
                    <a:pt x="12" y="21"/>
                  </a:cubicBezTo>
                  <a:cubicBezTo>
                    <a:pt x="12" y="20"/>
                    <a:pt x="13" y="19"/>
                    <a:pt x="12" y="18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8" y="15"/>
                    <a:pt x="9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8" y="8"/>
                    <a:pt x="10" y="6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9" name="Freeform 111">
              <a:extLst>
                <a:ext uri="{FF2B5EF4-FFF2-40B4-BE49-F238E27FC236}">
                  <a16:creationId xmlns:a16="http://schemas.microsoft.com/office/drawing/2014/main" id="{E6E1732E-5B97-4A1C-960E-38A918714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2288" y="3754438"/>
              <a:ext cx="17463" cy="17463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4" y="8"/>
                </a:cxn>
                <a:cxn ang="0">
                  <a:pos x="9" y="8"/>
                </a:cxn>
                <a:cxn ang="0">
                  <a:pos x="9" y="4"/>
                </a:cxn>
                <a:cxn ang="0">
                  <a:pos x="8" y="2"/>
                </a:cxn>
                <a:cxn ang="0">
                  <a:pos x="7" y="1"/>
                </a:cxn>
              </a:cxnLst>
              <a:rect l="0" t="0" r="r" b="b"/>
              <a:pathLst>
                <a:path w="9" h="9">
                  <a:moveTo>
                    <a:pt x="6" y="1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6"/>
                    <a:pt x="3" y="7"/>
                    <a:pt x="4" y="8"/>
                  </a:cubicBezTo>
                  <a:cubicBezTo>
                    <a:pt x="5" y="8"/>
                    <a:pt x="8" y="9"/>
                    <a:pt x="9" y="8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8" y="1"/>
                    <a:pt x="8" y="1"/>
                    <a:pt x="7" y="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0" name="Freeform 112">
              <a:extLst>
                <a:ext uri="{FF2B5EF4-FFF2-40B4-BE49-F238E27FC236}">
                  <a16:creationId xmlns:a16="http://schemas.microsoft.com/office/drawing/2014/main" id="{45F32B34-C9AA-42A6-9630-152A8EE22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763" y="3773488"/>
              <a:ext cx="7938" cy="79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1" name="Freeform 113">
              <a:extLst>
                <a:ext uri="{FF2B5EF4-FFF2-40B4-BE49-F238E27FC236}">
                  <a16:creationId xmlns:a16="http://schemas.microsoft.com/office/drawing/2014/main" id="{558590FC-6BD9-4985-BD6C-D0D89AA6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925" y="3792538"/>
              <a:ext cx="7938" cy="9525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1" y="5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2" y="1"/>
                </a:cxn>
              </a:cxnLst>
              <a:rect l="0" t="0" r="r" b="b"/>
              <a:pathLst>
                <a:path w="4" h="5">
                  <a:moveTo>
                    <a:pt x="3" y="1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5"/>
                    <a:pt x="2" y="5"/>
                    <a:pt x="3" y="4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2" name="Freeform 114">
              <a:extLst>
                <a:ext uri="{FF2B5EF4-FFF2-40B4-BE49-F238E27FC236}">
                  <a16:creationId xmlns:a16="http://schemas.microsoft.com/office/drawing/2014/main" id="{201785FB-E5B8-4745-8EC4-79FD6A26E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3949700"/>
              <a:ext cx="17463" cy="952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1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8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5">
                  <a:moveTo>
                    <a:pt x="7" y="0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4" y="5"/>
                    <a:pt x="7" y="4"/>
                    <a:pt x="8" y="2"/>
                  </a:cubicBezTo>
                  <a:cubicBezTo>
                    <a:pt x="9" y="1"/>
                    <a:pt x="7" y="0"/>
                    <a:pt x="5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3" name="Freeform 115">
              <a:extLst>
                <a:ext uri="{FF2B5EF4-FFF2-40B4-BE49-F238E27FC236}">
                  <a16:creationId xmlns:a16="http://schemas.microsoft.com/office/drawing/2014/main" id="{8CAEB495-54D1-4715-AEE5-2B96BB2BF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5125" y="3938588"/>
              <a:ext cx="26988" cy="4763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6" y="1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7" y="3"/>
                </a:cxn>
                <a:cxn ang="0">
                  <a:pos x="13" y="2"/>
                </a:cxn>
                <a:cxn ang="0">
                  <a:pos x="14" y="1"/>
                </a:cxn>
                <a:cxn ang="0">
                  <a:pos x="12" y="0"/>
                </a:cxn>
              </a:cxnLst>
              <a:rect l="0" t="0" r="r" b="b"/>
              <a:pathLst>
                <a:path w="14" h="3">
                  <a:moveTo>
                    <a:pt x="12" y="0"/>
                  </a:moveTo>
                  <a:cubicBezTo>
                    <a:pt x="10" y="1"/>
                    <a:pt x="8" y="1"/>
                    <a:pt x="6" y="1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5" y="3"/>
                    <a:pt x="6" y="3"/>
                    <a:pt x="7" y="3"/>
                  </a:cubicBezTo>
                  <a:cubicBezTo>
                    <a:pt x="9" y="2"/>
                    <a:pt x="11" y="2"/>
                    <a:pt x="13" y="2"/>
                  </a:cubicBezTo>
                  <a:cubicBezTo>
                    <a:pt x="13" y="1"/>
                    <a:pt x="14" y="1"/>
                    <a:pt x="14" y="1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4" name="Freeform 116">
              <a:extLst>
                <a:ext uri="{FF2B5EF4-FFF2-40B4-BE49-F238E27FC236}">
                  <a16:creationId xmlns:a16="http://schemas.microsoft.com/office/drawing/2014/main" id="{650C33C1-41BA-4D48-A8AD-3D791F6DC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513" y="3927475"/>
              <a:ext cx="17463" cy="31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1"/>
                </a:cxn>
                <a:cxn ang="0">
                  <a:pos x="9" y="1"/>
                </a:cxn>
                <a:cxn ang="0">
                  <a:pos x="7" y="0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8" y="1"/>
                    <a:pt x="9" y="1"/>
                    <a:pt x="9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5" name="Freeform 117">
              <a:extLst>
                <a:ext uri="{FF2B5EF4-FFF2-40B4-BE49-F238E27FC236}">
                  <a16:creationId xmlns:a16="http://schemas.microsoft.com/office/drawing/2014/main" id="{53FF613A-B2AF-4798-ABC8-31DE97A8C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875" y="3932238"/>
              <a:ext cx="17463" cy="158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7" y="0"/>
                </a:cxn>
              </a:cxnLst>
              <a:rect l="0" t="0" r="r" b="b"/>
              <a:pathLst>
                <a:path w="9" h="1">
                  <a:moveTo>
                    <a:pt x="7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6" y="1"/>
                    <a:pt x="7" y="0"/>
                  </a:cubicBezTo>
                  <a:cubicBezTo>
                    <a:pt x="7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6" name="Freeform 118">
              <a:extLst>
                <a:ext uri="{FF2B5EF4-FFF2-40B4-BE49-F238E27FC236}">
                  <a16:creationId xmlns:a16="http://schemas.microsoft.com/office/drawing/2014/main" id="{B47C47CD-FC01-46A2-AE7E-14EE14A1F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913" y="3919538"/>
              <a:ext cx="23813" cy="7938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7" y="0"/>
                </a:cxn>
                <a:cxn ang="0">
                  <a:pos x="1" y="2"/>
                </a:cxn>
                <a:cxn ang="0">
                  <a:pos x="2" y="4"/>
                </a:cxn>
                <a:cxn ang="0">
                  <a:pos x="5" y="4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0" y="0"/>
                </a:cxn>
              </a:cxnLst>
              <a:rect l="0" t="0" r="r" b="b"/>
              <a:pathLst>
                <a:path w="13" h="4">
                  <a:moveTo>
                    <a:pt x="10" y="0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3" y="1"/>
                    <a:pt x="1" y="2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7" y="4"/>
                    <a:pt x="8" y="3"/>
                    <a:pt x="10" y="2"/>
                  </a:cubicBezTo>
                  <a:cubicBezTo>
                    <a:pt x="11" y="2"/>
                    <a:pt x="13" y="2"/>
                    <a:pt x="13" y="0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7" name="Freeform 119">
              <a:extLst>
                <a:ext uri="{FF2B5EF4-FFF2-40B4-BE49-F238E27FC236}">
                  <a16:creationId xmlns:a16="http://schemas.microsoft.com/office/drawing/2014/main" id="{47FA3B6C-8238-4043-9548-EB856BB68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75" y="3919538"/>
              <a:ext cx="19050" cy="31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5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8" y="1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1" h="2">
                  <a:moveTo>
                    <a:pt x="8" y="0"/>
                  </a:move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1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3" y="2"/>
                    <a:pt x="3" y="2"/>
                  </a:cubicBezTo>
                  <a:cubicBezTo>
                    <a:pt x="5" y="2"/>
                    <a:pt x="7" y="2"/>
                    <a:pt x="8" y="1"/>
                  </a:cubicBezTo>
                  <a:cubicBezTo>
                    <a:pt x="9" y="1"/>
                    <a:pt x="11" y="1"/>
                    <a:pt x="10" y="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8" name="Line 120">
              <a:extLst>
                <a:ext uri="{FF2B5EF4-FFF2-40B4-BE49-F238E27FC236}">
                  <a16:creationId xmlns:a16="http://schemas.microsoft.com/office/drawing/2014/main" id="{0626ED01-9070-4374-820D-2AE39EF86B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9" name="Line 121">
              <a:extLst>
                <a:ext uri="{FF2B5EF4-FFF2-40B4-BE49-F238E27FC236}">
                  <a16:creationId xmlns:a16="http://schemas.microsoft.com/office/drawing/2014/main" id="{BEE4B4A9-E4AA-46FE-8186-BFB4376525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0" name="Line 122">
              <a:extLst>
                <a:ext uri="{FF2B5EF4-FFF2-40B4-BE49-F238E27FC236}">
                  <a16:creationId xmlns:a16="http://schemas.microsoft.com/office/drawing/2014/main" id="{6F0E6036-227F-43A3-BFA7-0670786F78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1" name="Line 123">
              <a:extLst>
                <a:ext uri="{FF2B5EF4-FFF2-40B4-BE49-F238E27FC236}">
                  <a16:creationId xmlns:a16="http://schemas.microsoft.com/office/drawing/2014/main" id="{50C3DC9D-0363-4A4B-99C6-CA3C585DCB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2" name="Freeform 124">
              <a:extLst>
                <a:ext uri="{FF2B5EF4-FFF2-40B4-BE49-F238E27FC236}">
                  <a16:creationId xmlns:a16="http://schemas.microsoft.com/office/drawing/2014/main" id="{1533B629-0F96-4C9A-A1A3-32F6D8724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7100" y="3800475"/>
              <a:ext cx="57150" cy="25400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6" y="2"/>
                </a:cxn>
                <a:cxn ang="0">
                  <a:pos x="9" y="1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0" y="13"/>
                </a:cxn>
                <a:cxn ang="0">
                  <a:pos x="1" y="14"/>
                </a:cxn>
                <a:cxn ang="0">
                  <a:pos x="3" y="13"/>
                </a:cxn>
                <a:cxn ang="0">
                  <a:pos x="3" y="12"/>
                </a:cxn>
                <a:cxn ang="0">
                  <a:pos x="5" y="11"/>
                </a:cxn>
                <a:cxn ang="0">
                  <a:pos x="7" y="9"/>
                </a:cxn>
                <a:cxn ang="0">
                  <a:pos x="9" y="8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4" y="8"/>
                </a:cxn>
                <a:cxn ang="0">
                  <a:pos x="21" y="8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24" y="4"/>
                </a:cxn>
                <a:cxn ang="0">
                  <a:pos x="21" y="4"/>
                </a:cxn>
              </a:cxnLst>
              <a:rect l="0" t="0" r="r" b="b"/>
              <a:pathLst>
                <a:path w="31" h="14">
                  <a:moveTo>
                    <a:pt x="21" y="3"/>
                  </a:moveTo>
                  <a:cubicBezTo>
                    <a:pt x="20" y="3"/>
                    <a:pt x="18" y="2"/>
                    <a:pt x="16" y="2"/>
                  </a:cubicBezTo>
                  <a:cubicBezTo>
                    <a:pt x="14" y="1"/>
                    <a:pt x="11" y="0"/>
                    <a:pt x="9" y="1"/>
                  </a:cubicBezTo>
                  <a:cubicBezTo>
                    <a:pt x="7" y="2"/>
                    <a:pt x="5" y="4"/>
                    <a:pt x="4" y="5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8"/>
                    <a:pt x="1" y="9"/>
                    <a:pt x="1" y="9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2" y="14"/>
                    <a:pt x="2" y="14"/>
                    <a:pt x="3" y="13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4" y="12"/>
                    <a:pt x="4" y="11"/>
                    <a:pt x="5" y="11"/>
                  </a:cubicBezTo>
                  <a:cubicBezTo>
                    <a:pt x="6" y="11"/>
                    <a:pt x="6" y="10"/>
                    <a:pt x="7" y="9"/>
                  </a:cubicBezTo>
                  <a:cubicBezTo>
                    <a:pt x="8" y="9"/>
                    <a:pt x="9" y="9"/>
                    <a:pt x="9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4" y="8"/>
                    <a:pt x="13" y="8"/>
                    <a:pt x="14" y="8"/>
                  </a:cubicBezTo>
                  <a:cubicBezTo>
                    <a:pt x="17" y="9"/>
                    <a:pt x="19" y="8"/>
                    <a:pt x="21" y="8"/>
                  </a:cubicBezTo>
                  <a:cubicBezTo>
                    <a:pt x="23" y="8"/>
                    <a:pt x="31" y="9"/>
                    <a:pt x="31" y="6"/>
                  </a:cubicBezTo>
                  <a:cubicBezTo>
                    <a:pt x="30" y="4"/>
                    <a:pt x="29" y="4"/>
                    <a:pt x="27" y="4"/>
                  </a:cubicBezTo>
                  <a:cubicBezTo>
                    <a:pt x="26" y="4"/>
                    <a:pt x="25" y="4"/>
                    <a:pt x="24" y="4"/>
                  </a:cubicBezTo>
                  <a:cubicBezTo>
                    <a:pt x="23" y="4"/>
                    <a:pt x="22" y="4"/>
                    <a:pt x="21" y="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3" name="Freeform 125">
              <a:extLst>
                <a:ext uri="{FF2B5EF4-FFF2-40B4-BE49-F238E27FC236}">
                  <a16:creationId xmlns:a16="http://schemas.microsoft.com/office/drawing/2014/main" id="{3453FBB3-8E14-4236-9D0A-CAEF6AC14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663" y="6724650"/>
              <a:ext cx="238125" cy="133350"/>
            </a:xfrm>
            <a:custGeom>
              <a:avLst/>
              <a:gdLst/>
              <a:ahLst/>
              <a:cxnLst>
                <a:cxn ang="0">
                  <a:pos x="123" y="0"/>
                </a:cxn>
                <a:cxn ang="0">
                  <a:pos x="115" y="3"/>
                </a:cxn>
                <a:cxn ang="0">
                  <a:pos x="106" y="6"/>
                </a:cxn>
                <a:cxn ang="0">
                  <a:pos x="94" y="11"/>
                </a:cxn>
                <a:cxn ang="0">
                  <a:pos x="85" y="16"/>
                </a:cxn>
                <a:cxn ang="0">
                  <a:pos x="81" y="18"/>
                </a:cxn>
                <a:cxn ang="0">
                  <a:pos x="74" y="20"/>
                </a:cxn>
                <a:cxn ang="0">
                  <a:pos x="68" y="21"/>
                </a:cxn>
                <a:cxn ang="0">
                  <a:pos x="64" y="22"/>
                </a:cxn>
                <a:cxn ang="0">
                  <a:pos x="58" y="21"/>
                </a:cxn>
                <a:cxn ang="0">
                  <a:pos x="53" y="21"/>
                </a:cxn>
                <a:cxn ang="0">
                  <a:pos x="38" y="20"/>
                </a:cxn>
                <a:cxn ang="0">
                  <a:pos x="35" y="34"/>
                </a:cxn>
                <a:cxn ang="0">
                  <a:pos x="33" y="34"/>
                </a:cxn>
                <a:cxn ang="0">
                  <a:pos x="28" y="36"/>
                </a:cxn>
                <a:cxn ang="0">
                  <a:pos x="21" y="36"/>
                </a:cxn>
                <a:cxn ang="0">
                  <a:pos x="15" y="36"/>
                </a:cxn>
                <a:cxn ang="0">
                  <a:pos x="9" y="39"/>
                </a:cxn>
                <a:cxn ang="0">
                  <a:pos x="2" y="40"/>
                </a:cxn>
                <a:cxn ang="0">
                  <a:pos x="2" y="45"/>
                </a:cxn>
                <a:cxn ang="0">
                  <a:pos x="1" y="53"/>
                </a:cxn>
                <a:cxn ang="0">
                  <a:pos x="8" y="60"/>
                </a:cxn>
                <a:cxn ang="0">
                  <a:pos x="11" y="62"/>
                </a:cxn>
                <a:cxn ang="0">
                  <a:pos x="12" y="64"/>
                </a:cxn>
                <a:cxn ang="0">
                  <a:pos x="20" y="71"/>
                </a:cxn>
                <a:cxn ang="0">
                  <a:pos x="22" y="70"/>
                </a:cxn>
                <a:cxn ang="0">
                  <a:pos x="29" y="67"/>
                </a:cxn>
                <a:cxn ang="0">
                  <a:pos x="37" y="68"/>
                </a:cxn>
                <a:cxn ang="0">
                  <a:pos x="52" y="67"/>
                </a:cxn>
                <a:cxn ang="0">
                  <a:pos x="58" y="66"/>
                </a:cxn>
                <a:cxn ang="0">
                  <a:pos x="66" y="66"/>
                </a:cxn>
                <a:cxn ang="0">
                  <a:pos x="69" y="58"/>
                </a:cxn>
                <a:cxn ang="0">
                  <a:pos x="76" y="52"/>
                </a:cxn>
                <a:cxn ang="0">
                  <a:pos x="91" y="52"/>
                </a:cxn>
                <a:cxn ang="0">
                  <a:pos x="97" y="51"/>
                </a:cxn>
                <a:cxn ang="0">
                  <a:pos x="99" y="50"/>
                </a:cxn>
                <a:cxn ang="0">
                  <a:pos x="101" y="48"/>
                </a:cxn>
                <a:cxn ang="0">
                  <a:pos x="94" y="39"/>
                </a:cxn>
                <a:cxn ang="0">
                  <a:pos x="93" y="38"/>
                </a:cxn>
                <a:cxn ang="0">
                  <a:pos x="93" y="37"/>
                </a:cxn>
                <a:cxn ang="0">
                  <a:pos x="93" y="34"/>
                </a:cxn>
                <a:cxn ang="0">
                  <a:pos x="94" y="29"/>
                </a:cxn>
                <a:cxn ang="0">
                  <a:pos x="97" y="27"/>
                </a:cxn>
                <a:cxn ang="0">
                  <a:pos x="100" y="25"/>
                </a:cxn>
                <a:cxn ang="0">
                  <a:pos x="104" y="24"/>
                </a:cxn>
                <a:cxn ang="0">
                  <a:pos x="111" y="19"/>
                </a:cxn>
                <a:cxn ang="0">
                  <a:pos x="120" y="10"/>
                </a:cxn>
                <a:cxn ang="0">
                  <a:pos x="125" y="4"/>
                </a:cxn>
                <a:cxn ang="0">
                  <a:pos x="126" y="2"/>
                </a:cxn>
                <a:cxn ang="0">
                  <a:pos x="128" y="0"/>
                </a:cxn>
                <a:cxn ang="0">
                  <a:pos x="123" y="0"/>
                </a:cxn>
              </a:cxnLst>
              <a:rect l="0" t="0" r="r" b="b"/>
              <a:pathLst>
                <a:path w="128" h="71">
                  <a:moveTo>
                    <a:pt x="123" y="0"/>
                  </a:moveTo>
                  <a:cubicBezTo>
                    <a:pt x="120" y="0"/>
                    <a:pt x="117" y="2"/>
                    <a:pt x="115" y="3"/>
                  </a:cubicBezTo>
                  <a:cubicBezTo>
                    <a:pt x="112" y="4"/>
                    <a:pt x="109" y="5"/>
                    <a:pt x="106" y="6"/>
                  </a:cubicBezTo>
                  <a:cubicBezTo>
                    <a:pt x="103" y="9"/>
                    <a:pt x="98" y="10"/>
                    <a:pt x="94" y="11"/>
                  </a:cubicBezTo>
                  <a:cubicBezTo>
                    <a:pt x="91" y="12"/>
                    <a:pt x="88" y="14"/>
                    <a:pt x="85" y="16"/>
                  </a:cubicBezTo>
                  <a:cubicBezTo>
                    <a:pt x="83" y="16"/>
                    <a:pt x="82" y="17"/>
                    <a:pt x="81" y="18"/>
                  </a:cubicBezTo>
                  <a:cubicBezTo>
                    <a:pt x="79" y="19"/>
                    <a:pt x="76" y="19"/>
                    <a:pt x="74" y="20"/>
                  </a:cubicBezTo>
                  <a:cubicBezTo>
                    <a:pt x="72" y="21"/>
                    <a:pt x="70" y="21"/>
                    <a:pt x="68" y="21"/>
                  </a:cubicBezTo>
                  <a:cubicBezTo>
                    <a:pt x="66" y="21"/>
                    <a:pt x="65" y="22"/>
                    <a:pt x="64" y="22"/>
                  </a:cubicBezTo>
                  <a:cubicBezTo>
                    <a:pt x="62" y="22"/>
                    <a:pt x="60" y="21"/>
                    <a:pt x="58" y="21"/>
                  </a:cubicBezTo>
                  <a:cubicBezTo>
                    <a:pt x="56" y="21"/>
                    <a:pt x="55" y="21"/>
                    <a:pt x="53" y="21"/>
                  </a:cubicBezTo>
                  <a:cubicBezTo>
                    <a:pt x="48" y="21"/>
                    <a:pt x="43" y="19"/>
                    <a:pt x="38" y="20"/>
                  </a:cubicBezTo>
                  <a:cubicBezTo>
                    <a:pt x="37" y="24"/>
                    <a:pt x="41" y="33"/>
                    <a:pt x="35" y="34"/>
                  </a:cubicBezTo>
                  <a:cubicBezTo>
                    <a:pt x="34" y="35"/>
                    <a:pt x="33" y="35"/>
                    <a:pt x="33" y="34"/>
                  </a:cubicBezTo>
                  <a:cubicBezTo>
                    <a:pt x="31" y="35"/>
                    <a:pt x="30" y="35"/>
                    <a:pt x="28" y="36"/>
                  </a:cubicBezTo>
                  <a:cubicBezTo>
                    <a:pt x="26" y="36"/>
                    <a:pt x="23" y="37"/>
                    <a:pt x="21" y="36"/>
                  </a:cubicBezTo>
                  <a:cubicBezTo>
                    <a:pt x="19" y="35"/>
                    <a:pt x="17" y="33"/>
                    <a:pt x="15" y="36"/>
                  </a:cubicBezTo>
                  <a:cubicBezTo>
                    <a:pt x="14" y="39"/>
                    <a:pt x="12" y="40"/>
                    <a:pt x="9" y="39"/>
                  </a:cubicBezTo>
                  <a:cubicBezTo>
                    <a:pt x="6" y="39"/>
                    <a:pt x="3" y="36"/>
                    <a:pt x="2" y="40"/>
                  </a:cubicBezTo>
                  <a:cubicBezTo>
                    <a:pt x="2" y="42"/>
                    <a:pt x="3" y="43"/>
                    <a:pt x="2" y="45"/>
                  </a:cubicBezTo>
                  <a:cubicBezTo>
                    <a:pt x="2" y="48"/>
                    <a:pt x="0" y="50"/>
                    <a:pt x="1" y="53"/>
                  </a:cubicBezTo>
                  <a:cubicBezTo>
                    <a:pt x="2" y="57"/>
                    <a:pt x="5" y="58"/>
                    <a:pt x="8" y="60"/>
                  </a:cubicBezTo>
                  <a:cubicBezTo>
                    <a:pt x="9" y="61"/>
                    <a:pt x="10" y="61"/>
                    <a:pt x="11" y="62"/>
                  </a:cubicBezTo>
                  <a:cubicBezTo>
                    <a:pt x="12" y="63"/>
                    <a:pt x="11" y="61"/>
                    <a:pt x="12" y="64"/>
                  </a:cubicBezTo>
                  <a:cubicBezTo>
                    <a:pt x="14" y="66"/>
                    <a:pt x="16" y="71"/>
                    <a:pt x="20" y="71"/>
                  </a:cubicBezTo>
                  <a:cubicBezTo>
                    <a:pt x="20" y="70"/>
                    <a:pt x="21" y="70"/>
                    <a:pt x="22" y="70"/>
                  </a:cubicBezTo>
                  <a:cubicBezTo>
                    <a:pt x="24" y="69"/>
                    <a:pt x="27" y="68"/>
                    <a:pt x="29" y="67"/>
                  </a:cubicBezTo>
                  <a:cubicBezTo>
                    <a:pt x="32" y="67"/>
                    <a:pt x="34" y="67"/>
                    <a:pt x="37" y="68"/>
                  </a:cubicBezTo>
                  <a:cubicBezTo>
                    <a:pt x="42" y="70"/>
                    <a:pt x="47" y="69"/>
                    <a:pt x="52" y="67"/>
                  </a:cubicBezTo>
                  <a:cubicBezTo>
                    <a:pt x="54" y="66"/>
                    <a:pt x="56" y="66"/>
                    <a:pt x="58" y="66"/>
                  </a:cubicBezTo>
                  <a:cubicBezTo>
                    <a:pt x="60" y="66"/>
                    <a:pt x="64" y="67"/>
                    <a:pt x="66" y="66"/>
                  </a:cubicBezTo>
                  <a:cubicBezTo>
                    <a:pt x="69" y="65"/>
                    <a:pt x="68" y="60"/>
                    <a:pt x="69" y="58"/>
                  </a:cubicBezTo>
                  <a:cubicBezTo>
                    <a:pt x="70" y="55"/>
                    <a:pt x="72" y="52"/>
                    <a:pt x="76" y="52"/>
                  </a:cubicBezTo>
                  <a:cubicBezTo>
                    <a:pt x="81" y="51"/>
                    <a:pt x="86" y="53"/>
                    <a:pt x="91" y="52"/>
                  </a:cubicBezTo>
                  <a:cubicBezTo>
                    <a:pt x="94" y="52"/>
                    <a:pt x="95" y="51"/>
                    <a:pt x="97" y="51"/>
                  </a:cubicBezTo>
                  <a:cubicBezTo>
                    <a:pt x="97" y="50"/>
                    <a:pt x="98" y="50"/>
                    <a:pt x="99" y="50"/>
                  </a:cubicBezTo>
                  <a:cubicBezTo>
                    <a:pt x="100" y="50"/>
                    <a:pt x="101" y="49"/>
                    <a:pt x="101" y="48"/>
                  </a:cubicBezTo>
                  <a:cubicBezTo>
                    <a:pt x="99" y="45"/>
                    <a:pt x="96" y="43"/>
                    <a:pt x="94" y="39"/>
                  </a:cubicBezTo>
                  <a:cubicBezTo>
                    <a:pt x="94" y="39"/>
                    <a:pt x="94" y="39"/>
                    <a:pt x="93" y="38"/>
                  </a:cubicBezTo>
                  <a:cubicBezTo>
                    <a:pt x="93" y="38"/>
                    <a:pt x="93" y="37"/>
                    <a:pt x="93" y="37"/>
                  </a:cubicBezTo>
                  <a:cubicBezTo>
                    <a:pt x="93" y="36"/>
                    <a:pt x="93" y="35"/>
                    <a:pt x="93" y="34"/>
                  </a:cubicBezTo>
                  <a:cubicBezTo>
                    <a:pt x="93" y="32"/>
                    <a:pt x="93" y="30"/>
                    <a:pt x="94" y="29"/>
                  </a:cubicBezTo>
                  <a:cubicBezTo>
                    <a:pt x="94" y="28"/>
                    <a:pt x="96" y="27"/>
                    <a:pt x="97" y="27"/>
                  </a:cubicBezTo>
                  <a:cubicBezTo>
                    <a:pt x="98" y="25"/>
                    <a:pt x="98" y="25"/>
                    <a:pt x="100" y="25"/>
                  </a:cubicBezTo>
                  <a:cubicBezTo>
                    <a:pt x="101" y="24"/>
                    <a:pt x="103" y="24"/>
                    <a:pt x="104" y="24"/>
                  </a:cubicBezTo>
                  <a:cubicBezTo>
                    <a:pt x="107" y="23"/>
                    <a:pt x="109" y="22"/>
                    <a:pt x="111" y="19"/>
                  </a:cubicBezTo>
                  <a:cubicBezTo>
                    <a:pt x="114" y="16"/>
                    <a:pt x="116" y="13"/>
                    <a:pt x="120" y="10"/>
                  </a:cubicBezTo>
                  <a:cubicBezTo>
                    <a:pt x="122" y="8"/>
                    <a:pt x="123" y="7"/>
                    <a:pt x="125" y="4"/>
                  </a:cubicBezTo>
                  <a:cubicBezTo>
                    <a:pt x="125" y="4"/>
                    <a:pt x="126" y="3"/>
                    <a:pt x="126" y="2"/>
                  </a:cubicBezTo>
                  <a:cubicBezTo>
                    <a:pt x="127" y="2"/>
                    <a:pt x="128" y="0"/>
                    <a:pt x="128" y="0"/>
                  </a:cubicBezTo>
                  <a:lnTo>
                    <a:pt x="12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4" name="Freeform 126">
              <a:extLst>
                <a:ext uri="{FF2B5EF4-FFF2-40B4-BE49-F238E27FC236}">
                  <a16:creationId xmlns:a16="http://schemas.microsoft.com/office/drawing/2014/main" id="{F268960C-A160-45AA-B48B-807A4E5E2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8963" y="109538"/>
              <a:ext cx="185738" cy="114300"/>
            </a:xfrm>
            <a:custGeom>
              <a:avLst/>
              <a:gdLst/>
              <a:ahLst/>
              <a:cxnLst>
                <a:cxn ang="0">
                  <a:pos x="30" y="33"/>
                </a:cxn>
                <a:cxn ang="0">
                  <a:pos x="25" y="40"/>
                </a:cxn>
                <a:cxn ang="0">
                  <a:pos x="8" y="58"/>
                </a:cxn>
                <a:cxn ang="0">
                  <a:pos x="21" y="56"/>
                </a:cxn>
                <a:cxn ang="0">
                  <a:pos x="48" y="48"/>
                </a:cxn>
                <a:cxn ang="0">
                  <a:pos x="53" y="49"/>
                </a:cxn>
                <a:cxn ang="0">
                  <a:pos x="62" y="46"/>
                </a:cxn>
                <a:cxn ang="0">
                  <a:pos x="66" y="38"/>
                </a:cxn>
                <a:cxn ang="0">
                  <a:pos x="78" y="26"/>
                </a:cxn>
                <a:cxn ang="0">
                  <a:pos x="95" y="2"/>
                </a:cxn>
                <a:cxn ang="0">
                  <a:pos x="83" y="1"/>
                </a:cxn>
                <a:cxn ang="0">
                  <a:pos x="80" y="8"/>
                </a:cxn>
                <a:cxn ang="0">
                  <a:pos x="72" y="5"/>
                </a:cxn>
                <a:cxn ang="0">
                  <a:pos x="65" y="19"/>
                </a:cxn>
                <a:cxn ang="0">
                  <a:pos x="50" y="11"/>
                </a:cxn>
                <a:cxn ang="0">
                  <a:pos x="49" y="24"/>
                </a:cxn>
                <a:cxn ang="0">
                  <a:pos x="42" y="27"/>
                </a:cxn>
                <a:cxn ang="0">
                  <a:pos x="39" y="19"/>
                </a:cxn>
                <a:cxn ang="0">
                  <a:pos x="30" y="30"/>
                </a:cxn>
                <a:cxn ang="0">
                  <a:pos x="13" y="29"/>
                </a:cxn>
                <a:cxn ang="0">
                  <a:pos x="6" y="26"/>
                </a:cxn>
                <a:cxn ang="0">
                  <a:pos x="13" y="33"/>
                </a:cxn>
                <a:cxn ang="0">
                  <a:pos x="30" y="33"/>
                </a:cxn>
              </a:cxnLst>
              <a:rect l="0" t="0" r="r" b="b"/>
              <a:pathLst>
                <a:path w="99" h="61">
                  <a:moveTo>
                    <a:pt x="30" y="33"/>
                  </a:moveTo>
                  <a:cubicBezTo>
                    <a:pt x="27" y="35"/>
                    <a:pt x="26" y="37"/>
                    <a:pt x="25" y="40"/>
                  </a:cubicBezTo>
                  <a:cubicBezTo>
                    <a:pt x="20" y="47"/>
                    <a:pt x="14" y="52"/>
                    <a:pt x="8" y="58"/>
                  </a:cubicBezTo>
                  <a:cubicBezTo>
                    <a:pt x="12" y="61"/>
                    <a:pt x="17" y="58"/>
                    <a:pt x="21" y="56"/>
                  </a:cubicBezTo>
                  <a:cubicBezTo>
                    <a:pt x="30" y="52"/>
                    <a:pt x="37" y="45"/>
                    <a:pt x="48" y="48"/>
                  </a:cubicBezTo>
                  <a:cubicBezTo>
                    <a:pt x="50" y="49"/>
                    <a:pt x="51" y="50"/>
                    <a:pt x="53" y="49"/>
                  </a:cubicBezTo>
                  <a:cubicBezTo>
                    <a:pt x="55" y="49"/>
                    <a:pt x="61" y="40"/>
                    <a:pt x="62" y="46"/>
                  </a:cubicBezTo>
                  <a:cubicBezTo>
                    <a:pt x="64" y="44"/>
                    <a:pt x="64" y="41"/>
                    <a:pt x="66" y="38"/>
                  </a:cubicBezTo>
                  <a:cubicBezTo>
                    <a:pt x="70" y="34"/>
                    <a:pt x="74" y="30"/>
                    <a:pt x="78" y="26"/>
                  </a:cubicBezTo>
                  <a:cubicBezTo>
                    <a:pt x="82" y="21"/>
                    <a:pt x="99" y="10"/>
                    <a:pt x="95" y="2"/>
                  </a:cubicBezTo>
                  <a:cubicBezTo>
                    <a:pt x="91" y="0"/>
                    <a:pt x="87" y="0"/>
                    <a:pt x="83" y="1"/>
                  </a:cubicBezTo>
                  <a:cubicBezTo>
                    <a:pt x="79" y="4"/>
                    <a:pt x="80" y="5"/>
                    <a:pt x="80" y="8"/>
                  </a:cubicBezTo>
                  <a:cubicBezTo>
                    <a:pt x="76" y="10"/>
                    <a:pt x="75" y="4"/>
                    <a:pt x="72" y="5"/>
                  </a:cubicBezTo>
                  <a:cubicBezTo>
                    <a:pt x="70" y="12"/>
                    <a:pt x="74" y="17"/>
                    <a:pt x="65" y="19"/>
                  </a:cubicBezTo>
                  <a:cubicBezTo>
                    <a:pt x="57" y="20"/>
                    <a:pt x="58" y="10"/>
                    <a:pt x="50" y="11"/>
                  </a:cubicBezTo>
                  <a:cubicBezTo>
                    <a:pt x="49" y="16"/>
                    <a:pt x="54" y="20"/>
                    <a:pt x="49" y="24"/>
                  </a:cubicBezTo>
                  <a:cubicBezTo>
                    <a:pt x="48" y="26"/>
                    <a:pt x="45" y="27"/>
                    <a:pt x="42" y="27"/>
                  </a:cubicBezTo>
                  <a:cubicBezTo>
                    <a:pt x="36" y="25"/>
                    <a:pt x="42" y="22"/>
                    <a:pt x="39" y="19"/>
                  </a:cubicBezTo>
                  <a:cubicBezTo>
                    <a:pt x="33" y="12"/>
                    <a:pt x="30" y="26"/>
                    <a:pt x="30" y="30"/>
                  </a:cubicBezTo>
                  <a:cubicBezTo>
                    <a:pt x="25" y="30"/>
                    <a:pt x="18" y="31"/>
                    <a:pt x="13" y="29"/>
                  </a:cubicBezTo>
                  <a:cubicBezTo>
                    <a:pt x="10" y="29"/>
                    <a:pt x="9" y="26"/>
                    <a:pt x="6" y="26"/>
                  </a:cubicBezTo>
                  <a:cubicBezTo>
                    <a:pt x="0" y="32"/>
                    <a:pt x="9" y="34"/>
                    <a:pt x="13" y="33"/>
                  </a:cubicBezTo>
                  <a:lnTo>
                    <a:pt x="30" y="3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5" name="Freeform 127">
              <a:extLst>
                <a:ext uri="{FF2B5EF4-FFF2-40B4-BE49-F238E27FC236}">
                  <a16:creationId xmlns:a16="http://schemas.microsoft.com/office/drawing/2014/main" id="{FC478CBB-82E2-4CA2-BA87-DDBAD2262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350" y="230188"/>
              <a:ext cx="65088" cy="50800"/>
            </a:xfrm>
            <a:custGeom>
              <a:avLst/>
              <a:gdLst/>
              <a:ahLst/>
              <a:cxnLst>
                <a:cxn ang="0">
                  <a:pos x="31" y="9"/>
                </a:cxn>
                <a:cxn ang="0">
                  <a:pos x="30" y="8"/>
                </a:cxn>
                <a:cxn ang="0">
                  <a:pos x="15" y="6"/>
                </a:cxn>
                <a:cxn ang="0">
                  <a:pos x="1" y="16"/>
                </a:cxn>
                <a:cxn ang="0">
                  <a:pos x="19" y="23"/>
                </a:cxn>
                <a:cxn ang="0">
                  <a:pos x="22" y="27"/>
                </a:cxn>
                <a:cxn ang="0">
                  <a:pos x="31" y="25"/>
                </a:cxn>
                <a:cxn ang="0">
                  <a:pos x="24" y="8"/>
                </a:cxn>
                <a:cxn ang="0">
                  <a:pos x="31" y="9"/>
                </a:cxn>
              </a:cxnLst>
              <a:rect l="0" t="0" r="r" b="b"/>
              <a:pathLst>
                <a:path w="35" h="27">
                  <a:moveTo>
                    <a:pt x="31" y="9"/>
                  </a:moveTo>
                  <a:cubicBezTo>
                    <a:pt x="31" y="9"/>
                    <a:pt x="30" y="9"/>
                    <a:pt x="30" y="8"/>
                  </a:cubicBezTo>
                  <a:cubicBezTo>
                    <a:pt x="30" y="1"/>
                    <a:pt x="13" y="0"/>
                    <a:pt x="15" y="6"/>
                  </a:cubicBezTo>
                  <a:cubicBezTo>
                    <a:pt x="11" y="8"/>
                    <a:pt x="1" y="11"/>
                    <a:pt x="1" y="16"/>
                  </a:cubicBezTo>
                  <a:cubicBezTo>
                    <a:pt x="0" y="26"/>
                    <a:pt x="14" y="20"/>
                    <a:pt x="19" y="23"/>
                  </a:cubicBezTo>
                  <a:cubicBezTo>
                    <a:pt x="20" y="23"/>
                    <a:pt x="21" y="26"/>
                    <a:pt x="22" y="27"/>
                  </a:cubicBezTo>
                  <a:cubicBezTo>
                    <a:pt x="23" y="27"/>
                    <a:pt x="30" y="26"/>
                    <a:pt x="31" y="25"/>
                  </a:cubicBezTo>
                  <a:cubicBezTo>
                    <a:pt x="35" y="20"/>
                    <a:pt x="27" y="11"/>
                    <a:pt x="24" y="8"/>
                  </a:cubicBezTo>
                  <a:lnTo>
                    <a:pt x="31" y="9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6" name="Freeform 128">
              <a:extLst>
                <a:ext uri="{FF2B5EF4-FFF2-40B4-BE49-F238E27FC236}">
                  <a16:creationId xmlns:a16="http://schemas.microsoft.com/office/drawing/2014/main" id="{7798112A-7180-41FE-82EC-F30A4E582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4850" y="171450"/>
              <a:ext cx="84138" cy="93663"/>
            </a:xfrm>
            <a:custGeom>
              <a:avLst/>
              <a:gdLst/>
              <a:ahLst/>
              <a:cxnLst>
                <a:cxn ang="0">
                  <a:pos x="5" y="18"/>
                </a:cxn>
                <a:cxn ang="0">
                  <a:pos x="3" y="19"/>
                </a:cxn>
                <a:cxn ang="0">
                  <a:pos x="0" y="27"/>
                </a:cxn>
                <a:cxn ang="0">
                  <a:pos x="6" y="32"/>
                </a:cxn>
                <a:cxn ang="0">
                  <a:pos x="5" y="44"/>
                </a:cxn>
                <a:cxn ang="0">
                  <a:pos x="11" y="48"/>
                </a:cxn>
                <a:cxn ang="0">
                  <a:pos x="13" y="50"/>
                </a:cxn>
                <a:cxn ang="0">
                  <a:pos x="16" y="48"/>
                </a:cxn>
                <a:cxn ang="0">
                  <a:pos x="27" y="39"/>
                </a:cxn>
                <a:cxn ang="0">
                  <a:pos x="44" y="31"/>
                </a:cxn>
                <a:cxn ang="0">
                  <a:pos x="42" y="22"/>
                </a:cxn>
                <a:cxn ang="0">
                  <a:pos x="42" y="13"/>
                </a:cxn>
                <a:cxn ang="0">
                  <a:pos x="39" y="5"/>
                </a:cxn>
                <a:cxn ang="0">
                  <a:pos x="34" y="4"/>
                </a:cxn>
                <a:cxn ang="0">
                  <a:pos x="32" y="4"/>
                </a:cxn>
                <a:cxn ang="0">
                  <a:pos x="29" y="1"/>
                </a:cxn>
                <a:cxn ang="0">
                  <a:pos x="20" y="18"/>
                </a:cxn>
                <a:cxn ang="0">
                  <a:pos x="5" y="17"/>
                </a:cxn>
                <a:cxn ang="0">
                  <a:pos x="5" y="18"/>
                </a:cxn>
              </a:cxnLst>
              <a:rect l="0" t="0" r="r" b="b"/>
              <a:pathLst>
                <a:path w="45" h="50">
                  <a:moveTo>
                    <a:pt x="5" y="18"/>
                  </a:moveTo>
                  <a:cubicBezTo>
                    <a:pt x="4" y="18"/>
                    <a:pt x="4" y="18"/>
                    <a:pt x="3" y="19"/>
                  </a:cubicBezTo>
                  <a:cubicBezTo>
                    <a:pt x="3" y="21"/>
                    <a:pt x="0" y="25"/>
                    <a:pt x="0" y="27"/>
                  </a:cubicBezTo>
                  <a:cubicBezTo>
                    <a:pt x="1" y="30"/>
                    <a:pt x="5" y="31"/>
                    <a:pt x="6" y="32"/>
                  </a:cubicBezTo>
                  <a:cubicBezTo>
                    <a:pt x="10" y="37"/>
                    <a:pt x="3" y="38"/>
                    <a:pt x="5" y="44"/>
                  </a:cubicBezTo>
                  <a:cubicBezTo>
                    <a:pt x="6" y="48"/>
                    <a:pt x="8" y="47"/>
                    <a:pt x="11" y="48"/>
                  </a:cubicBezTo>
                  <a:cubicBezTo>
                    <a:pt x="12" y="49"/>
                    <a:pt x="12" y="50"/>
                    <a:pt x="13" y="50"/>
                  </a:cubicBezTo>
                  <a:cubicBezTo>
                    <a:pt x="16" y="50"/>
                    <a:pt x="15" y="50"/>
                    <a:pt x="16" y="48"/>
                  </a:cubicBezTo>
                  <a:cubicBezTo>
                    <a:pt x="20" y="43"/>
                    <a:pt x="19" y="39"/>
                    <a:pt x="27" y="39"/>
                  </a:cubicBezTo>
                  <a:cubicBezTo>
                    <a:pt x="35" y="39"/>
                    <a:pt x="45" y="43"/>
                    <a:pt x="44" y="31"/>
                  </a:cubicBezTo>
                  <a:cubicBezTo>
                    <a:pt x="44" y="27"/>
                    <a:pt x="43" y="25"/>
                    <a:pt x="42" y="22"/>
                  </a:cubicBezTo>
                  <a:cubicBezTo>
                    <a:pt x="42" y="19"/>
                    <a:pt x="42" y="16"/>
                    <a:pt x="42" y="13"/>
                  </a:cubicBezTo>
                  <a:cubicBezTo>
                    <a:pt x="42" y="9"/>
                    <a:pt x="42" y="7"/>
                    <a:pt x="39" y="5"/>
                  </a:cubicBezTo>
                  <a:cubicBezTo>
                    <a:pt x="37" y="4"/>
                    <a:pt x="35" y="4"/>
                    <a:pt x="34" y="4"/>
                  </a:cubicBezTo>
                  <a:cubicBezTo>
                    <a:pt x="33" y="4"/>
                    <a:pt x="32" y="4"/>
                    <a:pt x="32" y="4"/>
                  </a:cubicBezTo>
                  <a:cubicBezTo>
                    <a:pt x="31" y="3"/>
                    <a:pt x="30" y="2"/>
                    <a:pt x="29" y="1"/>
                  </a:cubicBezTo>
                  <a:cubicBezTo>
                    <a:pt x="22" y="0"/>
                    <a:pt x="19" y="12"/>
                    <a:pt x="20" y="18"/>
                  </a:cubicBezTo>
                  <a:cubicBezTo>
                    <a:pt x="15" y="19"/>
                    <a:pt x="10" y="17"/>
                    <a:pt x="5" y="17"/>
                  </a:cubicBezTo>
                  <a:lnTo>
                    <a:pt x="5" y="18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7" name="Freeform 129">
              <a:extLst>
                <a:ext uri="{FF2B5EF4-FFF2-40B4-BE49-F238E27FC236}">
                  <a16:creationId xmlns:a16="http://schemas.microsoft.com/office/drawing/2014/main" id="{0D4EA72B-042F-4C4A-AF15-1C6B1D9AE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763" y="123825"/>
              <a:ext cx="36513" cy="6191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11"/>
                </a:cxn>
                <a:cxn ang="0">
                  <a:pos x="7" y="19"/>
                </a:cxn>
                <a:cxn ang="0">
                  <a:pos x="6" y="27"/>
                </a:cxn>
                <a:cxn ang="0">
                  <a:pos x="9" y="30"/>
                </a:cxn>
                <a:cxn ang="0">
                  <a:pos x="13" y="33"/>
                </a:cxn>
                <a:cxn ang="0">
                  <a:pos x="16" y="29"/>
                </a:cxn>
                <a:cxn ang="0">
                  <a:pos x="18" y="20"/>
                </a:cxn>
                <a:cxn ang="0">
                  <a:pos x="13" y="3"/>
                </a:cxn>
                <a:cxn ang="0">
                  <a:pos x="9" y="0"/>
                </a:cxn>
              </a:cxnLst>
              <a:rect l="0" t="0" r="r" b="b"/>
              <a:pathLst>
                <a:path w="20" h="33">
                  <a:moveTo>
                    <a:pt x="9" y="0"/>
                  </a:moveTo>
                  <a:cubicBezTo>
                    <a:pt x="5" y="2"/>
                    <a:pt x="0" y="5"/>
                    <a:pt x="2" y="11"/>
                  </a:cubicBezTo>
                  <a:cubicBezTo>
                    <a:pt x="2" y="14"/>
                    <a:pt x="6" y="15"/>
                    <a:pt x="7" y="19"/>
                  </a:cubicBezTo>
                  <a:cubicBezTo>
                    <a:pt x="7" y="21"/>
                    <a:pt x="6" y="24"/>
                    <a:pt x="6" y="27"/>
                  </a:cubicBezTo>
                  <a:cubicBezTo>
                    <a:pt x="6" y="28"/>
                    <a:pt x="7" y="29"/>
                    <a:pt x="9" y="30"/>
                  </a:cubicBezTo>
                  <a:cubicBezTo>
                    <a:pt x="9" y="29"/>
                    <a:pt x="14" y="33"/>
                    <a:pt x="13" y="33"/>
                  </a:cubicBezTo>
                  <a:cubicBezTo>
                    <a:pt x="17" y="33"/>
                    <a:pt x="16" y="32"/>
                    <a:pt x="16" y="29"/>
                  </a:cubicBezTo>
                  <a:cubicBezTo>
                    <a:pt x="16" y="25"/>
                    <a:pt x="17" y="23"/>
                    <a:pt x="18" y="20"/>
                  </a:cubicBezTo>
                  <a:cubicBezTo>
                    <a:pt x="20" y="12"/>
                    <a:pt x="15" y="9"/>
                    <a:pt x="13" y="3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8" name="Freeform 130">
              <a:extLst>
                <a:ext uri="{FF2B5EF4-FFF2-40B4-BE49-F238E27FC236}">
                  <a16:creationId xmlns:a16="http://schemas.microsoft.com/office/drawing/2014/main" id="{35AE1A50-BE91-47D6-BB9E-B3DC1F48A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263" y="269875"/>
              <a:ext cx="73025" cy="85725"/>
            </a:xfrm>
            <a:custGeom>
              <a:avLst/>
              <a:gdLst/>
              <a:ahLst/>
              <a:cxnLst>
                <a:cxn ang="0">
                  <a:pos x="35" y="15"/>
                </a:cxn>
                <a:cxn ang="0">
                  <a:pos x="25" y="3"/>
                </a:cxn>
                <a:cxn ang="0">
                  <a:pos x="8" y="12"/>
                </a:cxn>
                <a:cxn ang="0">
                  <a:pos x="3" y="26"/>
                </a:cxn>
                <a:cxn ang="0">
                  <a:pos x="1" y="35"/>
                </a:cxn>
                <a:cxn ang="0">
                  <a:pos x="15" y="35"/>
                </a:cxn>
                <a:cxn ang="0">
                  <a:pos x="23" y="45"/>
                </a:cxn>
                <a:cxn ang="0">
                  <a:pos x="37" y="25"/>
                </a:cxn>
                <a:cxn ang="0">
                  <a:pos x="35" y="8"/>
                </a:cxn>
                <a:cxn ang="0">
                  <a:pos x="35" y="15"/>
                </a:cxn>
              </a:cxnLst>
              <a:rect l="0" t="0" r="r" b="b"/>
              <a:pathLst>
                <a:path w="39" h="46">
                  <a:moveTo>
                    <a:pt x="35" y="15"/>
                  </a:moveTo>
                  <a:cubicBezTo>
                    <a:pt x="33" y="11"/>
                    <a:pt x="30" y="5"/>
                    <a:pt x="25" y="3"/>
                  </a:cubicBezTo>
                  <a:cubicBezTo>
                    <a:pt x="18" y="0"/>
                    <a:pt x="12" y="8"/>
                    <a:pt x="8" y="12"/>
                  </a:cubicBezTo>
                  <a:cubicBezTo>
                    <a:pt x="4" y="17"/>
                    <a:pt x="4" y="20"/>
                    <a:pt x="3" y="26"/>
                  </a:cubicBezTo>
                  <a:cubicBezTo>
                    <a:pt x="2" y="29"/>
                    <a:pt x="0" y="31"/>
                    <a:pt x="1" y="35"/>
                  </a:cubicBezTo>
                  <a:cubicBezTo>
                    <a:pt x="5" y="35"/>
                    <a:pt x="12" y="33"/>
                    <a:pt x="15" y="35"/>
                  </a:cubicBezTo>
                  <a:cubicBezTo>
                    <a:pt x="20" y="38"/>
                    <a:pt x="16" y="45"/>
                    <a:pt x="23" y="45"/>
                  </a:cubicBezTo>
                  <a:cubicBezTo>
                    <a:pt x="32" y="46"/>
                    <a:pt x="36" y="32"/>
                    <a:pt x="37" y="25"/>
                  </a:cubicBezTo>
                  <a:cubicBezTo>
                    <a:pt x="37" y="19"/>
                    <a:pt x="39" y="13"/>
                    <a:pt x="35" y="8"/>
                  </a:cubicBezTo>
                  <a:lnTo>
                    <a:pt x="35" y="1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9" name="Freeform 131">
              <a:extLst>
                <a:ext uri="{FF2B5EF4-FFF2-40B4-BE49-F238E27FC236}">
                  <a16:creationId xmlns:a16="http://schemas.microsoft.com/office/drawing/2014/main" id="{9F9A7793-D679-4638-9797-AAC786006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513" y="263525"/>
              <a:ext cx="92075" cy="8572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" y="10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9" y="36"/>
                </a:cxn>
                <a:cxn ang="0">
                  <a:pos x="20" y="38"/>
                </a:cxn>
                <a:cxn ang="0">
                  <a:pos x="39" y="41"/>
                </a:cxn>
                <a:cxn ang="0">
                  <a:pos x="44" y="46"/>
                </a:cxn>
                <a:cxn ang="0">
                  <a:pos x="48" y="40"/>
                </a:cxn>
                <a:cxn ang="0">
                  <a:pos x="34" y="17"/>
                </a:cxn>
                <a:cxn ang="0">
                  <a:pos x="30" y="16"/>
                </a:cxn>
                <a:cxn ang="0">
                  <a:pos x="24" y="11"/>
                </a:cxn>
                <a:cxn ang="0">
                  <a:pos x="12" y="2"/>
                </a:cxn>
                <a:cxn ang="0">
                  <a:pos x="9" y="0"/>
                </a:cxn>
              </a:cxnLst>
              <a:rect l="0" t="0" r="r" b="b"/>
              <a:pathLst>
                <a:path w="49" h="46">
                  <a:moveTo>
                    <a:pt x="9" y="0"/>
                  </a:moveTo>
                  <a:cubicBezTo>
                    <a:pt x="3" y="0"/>
                    <a:pt x="0" y="3"/>
                    <a:pt x="1" y="10"/>
                  </a:cubicBezTo>
                  <a:cubicBezTo>
                    <a:pt x="1" y="12"/>
                    <a:pt x="3" y="17"/>
                    <a:pt x="4" y="18"/>
                  </a:cubicBezTo>
                  <a:cubicBezTo>
                    <a:pt x="6" y="20"/>
                    <a:pt x="7" y="20"/>
                    <a:pt x="8" y="22"/>
                  </a:cubicBezTo>
                  <a:cubicBezTo>
                    <a:pt x="10" y="27"/>
                    <a:pt x="8" y="31"/>
                    <a:pt x="9" y="36"/>
                  </a:cubicBezTo>
                  <a:cubicBezTo>
                    <a:pt x="11" y="40"/>
                    <a:pt x="16" y="38"/>
                    <a:pt x="20" y="38"/>
                  </a:cubicBezTo>
                  <a:cubicBezTo>
                    <a:pt x="25" y="38"/>
                    <a:pt x="35" y="38"/>
                    <a:pt x="39" y="41"/>
                  </a:cubicBezTo>
                  <a:cubicBezTo>
                    <a:pt x="41" y="43"/>
                    <a:pt x="40" y="46"/>
                    <a:pt x="44" y="46"/>
                  </a:cubicBezTo>
                  <a:cubicBezTo>
                    <a:pt x="48" y="46"/>
                    <a:pt x="48" y="43"/>
                    <a:pt x="48" y="40"/>
                  </a:cubicBezTo>
                  <a:cubicBezTo>
                    <a:pt x="49" y="30"/>
                    <a:pt x="44" y="20"/>
                    <a:pt x="34" y="17"/>
                  </a:cubicBezTo>
                  <a:cubicBezTo>
                    <a:pt x="32" y="17"/>
                    <a:pt x="32" y="17"/>
                    <a:pt x="30" y="16"/>
                  </a:cubicBezTo>
                  <a:cubicBezTo>
                    <a:pt x="28" y="15"/>
                    <a:pt x="26" y="12"/>
                    <a:pt x="24" y="11"/>
                  </a:cubicBezTo>
                  <a:cubicBezTo>
                    <a:pt x="21" y="8"/>
                    <a:pt x="12" y="6"/>
                    <a:pt x="12" y="2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0" name="Freeform 132">
              <a:extLst>
                <a:ext uri="{FF2B5EF4-FFF2-40B4-BE49-F238E27FC236}">
                  <a16:creationId xmlns:a16="http://schemas.microsoft.com/office/drawing/2014/main" id="{7C121AE4-C745-4897-B622-9954CDBF2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075" y="357188"/>
              <a:ext cx="38100" cy="22225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" y="9"/>
                </a:cxn>
                <a:cxn ang="0">
                  <a:pos x="18" y="11"/>
                </a:cxn>
                <a:cxn ang="0">
                  <a:pos x="18" y="0"/>
                </a:cxn>
                <a:cxn ang="0">
                  <a:pos x="14" y="0"/>
                </a:cxn>
              </a:cxnLst>
              <a:rect l="0" t="0" r="r" b="b"/>
              <a:pathLst>
                <a:path w="20" h="12">
                  <a:moveTo>
                    <a:pt x="14" y="0"/>
                  </a:moveTo>
                  <a:cubicBezTo>
                    <a:pt x="9" y="0"/>
                    <a:pt x="0" y="1"/>
                    <a:pt x="6" y="9"/>
                  </a:cubicBezTo>
                  <a:cubicBezTo>
                    <a:pt x="8" y="11"/>
                    <a:pt x="15" y="12"/>
                    <a:pt x="18" y="11"/>
                  </a:cubicBezTo>
                  <a:cubicBezTo>
                    <a:pt x="20" y="9"/>
                    <a:pt x="20" y="3"/>
                    <a:pt x="18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1" name="Freeform 133">
              <a:extLst>
                <a:ext uri="{FF2B5EF4-FFF2-40B4-BE49-F238E27FC236}">
                  <a16:creationId xmlns:a16="http://schemas.microsoft.com/office/drawing/2014/main" id="{69A14307-57B3-40AC-B233-2E9CD4FCB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8775" y="271463"/>
              <a:ext cx="60325" cy="77788"/>
            </a:xfrm>
            <a:custGeom>
              <a:avLst/>
              <a:gdLst/>
              <a:ahLst/>
              <a:cxnLst>
                <a:cxn ang="0">
                  <a:pos x="32" y="22"/>
                </a:cxn>
                <a:cxn ang="0">
                  <a:pos x="29" y="9"/>
                </a:cxn>
                <a:cxn ang="0">
                  <a:pos x="15" y="11"/>
                </a:cxn>
                <a:cxn ang="0">
                  <a:pos x="13" y="7"/>
                </a:cxn>
                <a:cxn ang="0">
                  <a:pos x="8" y="3"/>
                </a:cxn>
                <a:cxn ang="0">
                  <a:pos x="2" y="4"/>
                </a:cxn>
                <a:cxn ang="0">
                  <a:pos x="2" y="17"/>
                </a:cxn>
                <a:cxn ang="0">
                  <a:pos x="6" y="23"/>
                </a:cxn>
                <a:cxn ang="0">
                  <a:pos x="12" y="25"/>
                </a:cxn>
                <a:cxn ang="0">
                  <a:pos x="9" y="41"/>
                </a:cxn>
                <a:cxn ang="0">
                  <a:pos x="22" y="33"/>
                </a:cxn>
                <a:cxn ang="0">
                  <a:pos x="26" y="22"/>
                </a:cxn>
                <a:cxn ang="0">
                  <a:pos x="32" y="22"/>
                </a:cxn>
              </a:cxnLst>
              <a:rect l="0" t="0" r="r" b="b"/>
              <a:pathLst>
                <a:path w="32" h="42">
                  <a:moveTo>
                    <a:pt x="32" y="22"/>
                  </a:moveTo>
                  <a:cubicBezTo>
                    <a:pt x="28" y="22"/>
                    <a:pt x="32" y="11"/>
                    <a:pt x="29" y="9"/>
                  </a:cubicBezTo>
                  <a:cubicBezTo>
                    <a:pt x="27" y="7"/>
                    <a:pt x="17" y="14"/>
                    <a:pt x="15" y="11"/>
                  </a:cubicBezTo>
                  <a:cubicBezTo>
                    <a:pt x="14" y="10"/>
                    <a:pt x="14" y="8"/>
                    <a:pt x="13" y="7"/>
                  </a:cubicBezTo>
                  <a:cubicBezTo>
                    <a:pt x="11" y="5"/>
                    <a:pt x="10" y="4"/>
                    <a:pt x="8" y="3"/>
                  </a:cubicBezTo>
                  <a:cubicBezTo>
                    <a:pt x="4" y="1"/>
                    <a:pt x="3" y="0"/>
                    <a:pt x="2" y="4"/>
                  </a:cubicBezTo>
                  <a:cubicBezTo>
                    <a:pt x="0" y="7"/>
                    <a:pt x="1" y="14"/>
                    <a:pt x="2" y="17"/>
                  </a:cubicBezTo>
                  <a:cubicBezTo>
                    <a:pt x="3" y="19"/>
                    <a:pt x="4" y="21"/>
                    <a:pt x="6" y="23"/>
                  </a:cubicBezTo>
                  <a:cubicBezTo>
                    <a:pt x="8" y="23"/>
                    <a:pt x="10" y="24"/>
                    <a:pt x="12" y="25"/>
                  </a:cubicBezTo>
                  <a:cubicBezTo>
                    <a:pt x="15" y="31"/>
                    <a:pt x="7" y="35"/>
                    <a:pt x="9" y="41"/>
                  </a:cubicBezTo>
                  <a:cubicBezTo>
                    <a:pt x="12" y="42"/>
                    <a:pt x="21" y="36"/>
                    <a:pt x="22" y="33"/>
                  </a:cubicBezTo>
                  <a:cubicBezTo>
                    <a:pt x="28" y="25"/>
                    <a:pt x="29" y="30"/>
                    <a:pt x="26" y="22"/>
                  </a:cubicBezTo>
                  <a:lnTo>
                    <a:pt x="32" y="2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2" name="Freeform 134">
              <a:extLst>
                <a:ext uri="{FF2B5EF4-FFF2-40B4-BE49-F238E27FC236}">
                  <a16:creationId xmlns:a16="http://schemas.microsoft.com/office/drawing/2014/main" id="{4E898955-BB7B-4D0E-837A-508BAEF87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7363" y="1987550"/>
              <a:ext cx="100013" cy="57150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8" y="7"/>
                </a:cxn>
                <a:cxn ang="0">
                  <a:pos x="14" y="11"/>
                </a:cxn>
                <a:cxn ang="0">
                  <a:pos x="11" y="13"/>
                </a:cxn>
                <a:cxn ang="0">
                  <a:pos x="6" y="15"/>
                </a:cxn>
                <a:cxn ang="0">
                  <a:pos x="3" y="29"/>
                </a:cxn>
                <a:cxn ang="0">
                  <a:pos x="11" y="29"/>
                </a:cxn>
                <a:cxn ang="0">
                  <a:pos x="19" y="25"/>
                </a:cxn>
                <a:cxn ang="0">
                  <a:pos x="26" y="25"/>
                </a:cxn>
                <a:cxn ang="0">
                  <a:pos x="31" y="26"/>
                </a:cxn>
                <a:cxn ang="0">
                  <a:pos x="39" y="23"/>
                </a:cxn>
                <a:cxn ang="0">
                  <a:pos x="44" y="20"/>
                </a:cxn>
                <a:cxn ang="0">
                  <a:pos x="50" y="19"/>
                </a:cxn>
                <a:cxn ang="0">
                  <a:pos x="53" y="15"/>
                </a:cxn>
                <a:cxn ang="0">
                  <a:pos x="54" y="13"/>
                </a:cxn>
                <a:cxn ang="0">
                  <a:pos x="46" y="10"/>
                </a:cxn>
                <a:cxn ang="0">
                  <a:pos x="41" y="9"/>
                </a:cxn>
                <a:cxn ang="0">
                  <a:pos x="40" y="4"/>
                </a:cxn>
                <a:cxn ang="0">
                  <a:pos x="39" y="1"/>
                </a:cxn>
                <a:cxn ang="0">
                  <a:pos x="32" y="2"/>
                </a:cxn>
                <a:cxn ang="0">
                  <a:pos x="33" y="0"/>
                </a:cxn>
              </a:cxnLst>
              <a:rect l="0" t="0" r="r" b="b"/>
              <a:pathLst>
                <a:path w="54" h="31">
                  <a:moveTo>
                    <a:pt x="33" y="0"/>
                  </a:moveTo>
                  <a:cubicBezTo>
                    <a:pt x="28" y="0"/>
                    <a:pt x="21" y="4"/>
                    <a:pt x="18" y="7"/>
                  </a:cubicBezTo>
                  <a:cubicBezTo>
                    <a:pt x="16" y="9"/>
                    <a:pt x="16" y="10"/>
                    <a:pt x="14" y="11"/>
                  </a:cubicBezTo>
                  <a:cubicBezTo>
                    <a:pt x="13" y="12"/>
                    <a:pt x="12" y="12"/>
                    <a:pt x="11" y="13"/>
                  </a:cubicBezTo>
                  <a:cubicBezTo>
                    <a:pt x="9" y="14"/>
                    <a:pt x="8" y="15"/>
                    <a:pt x="6" y="15"/>
                  </a:cubicBezTo>
                  <a:cubicBezTo>
                    <a:pt x="3" y="18"/>
                    <a:pt x="0" y="25"/>
                    <a:pt x="3" y="29"/>
                  </a:cubicBezTo>
                  <a:cubicBezTo>
                    <a:pt x="5" y="31"/>
                    <a:pt x="8" y="30"/>
                    <a:pt x="11" y="29"/>
                  </a:cubicBezTo>
                  <a:cubicBezTo>
                    <a:pt x="14" y="27"/>
                    <a:pt x="15" y="25"/>
                    <a:pt x="19" y="25"/>
                  </a:cubicBezTo>
                  <a:cubicBezTo>
                    <a:pt x="21" y="24"/>
                    <a:pt x="24" y="24"/>
                    <a:pt x="26" y="25"/>
                  </a:cubicBezTo>
                  <a:cubicBezTo>
                    <a:pt x="28" y="25"/>
                    <a:pt x="29" y="26"/>
                    <a:pt x="31" y="26"/>
                  </a:cubicBezTo>
                  <a:cubicBezTo>
                    <a:pt x="34" y="26"/>
                    <a:pt x="37" y="25"/>
                    <a:pt x="39" y="23"/>
                  </a:cubicBezTo>
                  <a:cubicBezTo>
                    <a:pt x="41" y="22"/>
                    <a:pt x="42" y="21"/>
                    <a:pt x="44" y="20"/>
                  </a:cubicBezTo>
                  <a:cubicBezTo>
                    <a:pt x="46" y="20"/>
                    <a:pt x="48" y="20"/>
                    <a:pt x="50" y="19"/>
                  </a:cubicBezTo>
                  <a:cubicBezTo>
                    <a:pt x="52" y="18"/>
                    <a:pt x="52" y="17"/>
                    <a:pt x="53" y="15"/>
                  </a:cubicBezTo>
                  <a:cubicBezTo>
                    <a:pt x="54" y="14"/>
                    <a:pt x="54" y="14"/>
                    <a:pt x="54" y="13"/>
                  </a:cubicBezTo>
                  <a:cubicBezTo>
                    <a:pt x="51" y="11"/>
                    <a:pt x="49" y="10"/>
                    <a:pt x="46" y="10"/>
                  </a:cubicBezTo>
                  <a:cubicBezTo>
                    <a:pt x="44" y="9"/>
                    <a:pt x="43" y="9"/>
                    <a:pt x="41" y="9"/>
                  </a:cubicBezTo>
                  <a:cubicBezTo>
                    <a:pt x="41" y="8"/>
                    <a:pt x="40" y="6"/>
                    <a:pt x="40" y="4"/>
                  </a:cubicBezTo>
                  <a:cubicBezTo>
                    <a:pt x="40" y="3"/>
                    <a:pt x="40" y="2"/>
                    <a:pt x="39" y="1"/>
                  </a:cubicBezTo>
                  <a:cubicBezTo>
                    <a:pt x="38" y="1"/>
                    <a:pt x="34" y="2"/>
                    <a:pt x="32" y="2"/>
                  </a:cubicBezTo>
                  <a:lnTo>
                    <a:pt x="3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3" name="Freeform 135">
              <a:extLst>
                <a:ext uri="{FF2B5EF4-FFF2-40B4-BE49-F238E27FC236}">
                  <a16:creationId xmlns:a16="http://schemas.microsoft.com/office/drawing/2014/main" id="{CC239F7B-017F-4480-8B76-12215D304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888" y="1946275"/>
              <a:ext cx="58738" cy="33338"/>
            </a:xfrm>
            <a:custGeom>
              <a:avLst/>
              <a:gdLst/>
              <a:ahLst/>
              <a:cxnLst>
                <a:cxn ang="0">
                  <a:pos x="23" y="2"/>
                </a:cxn>
                <a:cxn ang="0">
                  <a:pos x="9" y="7"/>
                </a:cxn>
                <a:cxn ang="0">
                  <a:pos x="3" y="12"/>
                </a:cxn>
                <a:cxn ang="0">
                  <a:pos x="1" y="16"/>
                </a:cxn>
                <a:cxn ang="0">
                  <a:pos x="9" y="17"/>
                </a:cxn>
                <a:cxn ang="0">
                  <a:pos x="24" y="15"/>
                </a:cxn>
                <a:cxn ang="0">
                  <a:pos x="28" y="13"/>
                </a:cxn>
                <a:cxn ang="0">
                  <a:pos x="26" y="0"/>
                </a:cxn>
                <a:cxn ang="0">
                  <a:pos x="23" y="2"/>
                </a:cxn>
              </a:cxnLst>
              <a:rect l="0" t="0" r="r" b="b"/>
              <a:pathLst>
                <a:path w="32" h="18">
                  <a:moveTo>
                    <a:pt x="23" y="2"/>
                  </a:moveTo>
                  <a:cubicBezTo>
                    <a:pt x="19" y="2"/>
                    <a:pt x="13" y="5"/>
                    <a:pt x="9" y="7"/>
                  </a:cubicBezTo>
                  <a:cubicBezTo>
                    <a:pt x="5" y="8"/>
                    <a:pt x="5" y="10"/>
                    <a:pt x="3" y="12"/>
                  </a:cubicBezTo>
                  <a:cubicBezTo>
                    <a:pt x="2" y="13"/>
                    <a:pt x="0" y="14"/>
                    <a:pt x="1" y="16"/>
                  </a:cubicBezTo>
                  <a:cubicBezTo>
                    <a:pt x="2" y="18"/>
                    <a:pt x="6" y="17"/>
                    <a:pt x="9" y="17"/>
                  </a:cubicBezTo>
                  <a:cubicBezTo>
                    <a:pt x="14" y="17"/>
                    <a:pt x="19" y="17"/>
                    <a:pt x="24" y="15"/>
                  </a:cubicBezTo>
                  <a:cubicBezTo>
                    <a:pt x="25" y="14"/>
                    <a:pt x="27" y="14"/>
                    <a:pt x="28" y="13"/>
                  </a:cubicBezTo>
                  <a:cubicBezTo>
                    <a:pt x="32" y="9"/>
                    <a:pt x="29" y="3"/>
                    <a:pt x="26" y="0"/>
                  </a:cubicBezTo>
                  <a:lnTo>
                    <a:pt x="23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4" name="Freeform 136">
              <a:extLst>
                <a:ext uri="{FF2B5EF4-FFF2-40B4-BE49-F238E27FC236}">
                  <a16:creationId xmlns:a16="http://schemas.microsoft.com/office/drawing/2014/main" id="{5901B3AD-B4B2-4004-98B3-78886294E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6088" y="2024063"/>
              <a:ext cx="41275" cy="39688"/>
            </a:xfrm>
            <a:custGeom>
              <a:avLst/>
              <a:gdLst/>
              <a:ahLst/>
              <a:cxnLst>
                <a:cxn ang="0">
                  <a:pos x="16" y="5"/>
                </a:cxn>
                <a:cxn ang="0">
                  <a:pos x="7" y="4"/>
                </a:cxn>
                <a:cxn ang="0">
                  <a:pos x="0" y="12"/>
                </a:cxn>
                <a:cxn ang="0">
                  <a:pos x="7" y="19"/>
                </a:cxn>
                <a:cxn ang="0">
                  <a:pos x="10" y="20"/>
                </a:cxn>
                <a:cxn ang="0">
                  <a:pos x="17" y="18"/>
                </a:cxn>
                <a:cxn ang="0">
                  <a:pos x="21" y="13"/>
                </a:cxn>
                <a:cxn ang="0">
                  <a:pos x="14" y="0"/>
                </a:cxn>
                <a:cxn ang="0">
                  <a:pos x="16" y="5"/>
                </a:cxn>
              </a:cxnLst>
              <a:rect l="0" t="0" r="r" b="b"/>
              <a:pathLst>
                <a:path w="22" h="21">
                  <a:moveTo>
                    <a:pt x="16" y="5"/>
                  </a:moveTo>
                  <a:cubicBezTo>
                    <a:pt x="13" y="3"/>
                    <a:pt x="10" y="2"/>
                    <a:pt x="7" y="4"/>
                  </a:cubicBezTo>
                  <a:cubicBezTo>
                    <a:pt x="4" y="5"/>
                    <a:pt x="1" y="9"/>
                    <a:pt x="0" y="12"/>
                  </a:cubicBezTo>
                  <a:cubicBezTo>
                    <a:pt x="0" y="15"/>
                    <a:pt x="4" y="18"/>
                    <a:pt x="7" y="19"/>
                  </a:cubicBezTo>
                  <a:cubicBezTo>
                    <a:pt x="8" y="19"/>
                    <a:pt x="9" y="20"/>
                    <a:pt x="10" y="20"/>
                  </a:cubicBezTo>
                  <a:cubicBezTo>
                    <a:pt x="13" y="21"/>
                    <a:pt x="15" y="19"/>
                    <a:pt x="17" y="18"/>
                  </a:cubicBezTo>
                  <a:cubicBezTo>
                    <a:pt x="19" y="16"/>
                    <a:pt x="21" y="16"/>
                    <a:pt x="21" y="13"/>
                  </a:cubicBezTo>
                  <a:cubicBezTo>
                    <a:pt x="22" y="8"/>
                    <a:pt x="19" y="3"/>
                    <a:pt x="14" y="0"/>
                  </a:cubicBezTo>
                  <a:lnTo>
                    <a:pt x="16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5" name="Freeform 137">
              <a:extLst>
                <a:ext uri="{FF2B5EF4-FFF2-40B4-BE49-F238E27FC236}">
                  <a16:creationId xmlns:a16="http://schemas.microsoft.com/office/drawing/2014/main" id="{77713216-2AB1-4A11-A404-218AE195BE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1138" y="285750"/>
              <a:ext cx="187325" cy="206375"/>
            </a:xfrm>
            <a:custGeom>
              <a:avLst/>
              <a:gdLst/>
              <a:ahLst/>
              <a:cxnLst>
                <a:cxn ang="0">
                  <a:pos x="39" y="61"/>
                </a:cxn>
                <a:cxn ang="0">
                  <a:pos x="38" y="59"/>
                </a:cxn>
                <a:cxn ang="0">
                  <a:pos x="29" y="68"/>
                </a:cxn>
                <a:cxn ang="0">
                  <a:pos x="15" y="70"/>
                </a:cxn>
                <a:cxn ang="0">
                  <a:pos x="18" y="80"/>
                </a:cxn>
                <a:cxn ang="0">
                  <a:pos x="3" y="82"/>
                </a:cxn>
                <a:cxn ang="0">
                  <a:pos x="0" y="93"/>
                </a:cxn>
                <a:cxn ang="0">
                  <a:pos x="5" y="102"/>
                </a:cxn>
                <a:cxn ang="0">
                  <a:pos x="22" y="104"/>
                </a:cxn>
                <a:cxn ang="0">
                  <a:pos x="26" y="109"/>
                </a:cxn>
                <a:cxn ang="0">
                  <a:pos x="27" y="105"/>
                </a:cxn>
                <a:cxn ang="0">
                  <a:pos x="31" y="96"/>
                </a:cxn>
                <a:cxn ang="0">
                  <a:pos x="40" y="92"/>
                </a:cxn>
                <a:cxn ang="0">
                  <a:pos x="39" y="61"/>
                </a:cxn>
                <a:cxn ang="0">
                  <a:pos x="96" y="40"/>
                </a:cxn>
                <a:cxn ang="0">
                  <a:pos x="87" y="36"/>
                </a:cxn>
                <a:cxn ang="0">
                  <a:pos x="82" y="35"/>
                </a:cxn>
                <a:cxn ang="0">
                  <a:pos x="78" y="32"/>
                </a:cxn>
                <a:cxn ang="0">
                  <a:pos x="72" y="30"/>
                </a:cxn>
                <a:cxn ang="0">
                  <a:pos x="69" y="30"/>
                </a:cxn>
                <a:cxn ang="0">
                  <a:pos x="67" y="29"/>
                </a:cxn>
                <a:cxn ang="0">
                  <a:pos x="68" y="29"/>
                </a:cxn>
                <a:cxn ang="0">
                  <a:pos x="67" y="29"/>
                </a:cxn>
                <a:cxn ang="0">
                  <a:pos x="64" y="25"/>
                </a:cxn>
                <a:cxn ang="0">
                  <a:pos x="56" y="15"/>
                </a:cxn>
                <a:cxn ang="0">
                  <a:pos x="57" y="2"/>
                </a:cxn>
                <a:cxn ang="0">
                  <a:pos x="49" y="1"/>
                </a:cxn>
                <a:cxn ang="0">
                  <a:pos x="45" y="7"/>
                </a:cxn>
                <a:cxn ang="0">
                  <a:pos x="46" y="11"/>
                </a:cxn>
                <a:cxn ang="0">
                  <a:pos x="46" y="18"/>
                </a:cxn>
                <a:cxn ang="0">
                  <a:pos x="41" y="23"/>
                </a:cxn>
                <a:cxn ang="0">
                  <a:pos x="37" y="24"/>
                </a:cxn>
                <a:cxn ang="0">
                  <a:pos x="38" y="37"/>
                </a:cxn>
                <a:cxn ang="0">
                  <a:pos x="38" y="59"/>
                </a:cxn>
                <a:cxn ang="0">
                  <a:pos x="39" y="58"/>
                </a:cxn>
                <a:cxn ang="0">
                  <a:pos x="43" y="62"/>
                </a:cxn>
                <a:cxn ang="0">
                  <a:pos x="47" y="65"/>
                </a:cxn>
                <a:cxn ang="0">
                  <a:pos x="50" y="67"/>
                </a:cxn>
                <a:cxn ang="0">
                  <a:pos x="53" y="71"/>
                </a:cxn>
                <a:cxn ang="0">
                  <a:pos x="56" y="71"/>
                </a:cxn>
                <a:cxn ang="0">
                  <a:pos x="58" y="71"/>
                </a:cxn>
                <a:cxn ang="0">
                  <a:pos x="59" y="72"/>
                </a:cxn>
                <a:cxn ang="0">
                  <a:pos x="73" y="68"/>
                </a:cxn>
                <a:cxn ang="0">
                  <a:pos x="81" y="57"/>
                </a:cxn>
                <a:cxn ang="0">
                  <a:pos x="82" y="51"/>
                </a:cxn>
                <a:cxn ang="0">
                  <a:pos x="94" y="46"/>
                </a:cxn>
                <a:cxn ang="0">
                  <a:pos x="99" y="43"/>
                </a:cxn>
                <a:cxn ang="0">
                  <a:pos x="96" y="40"/>
                </a:cxn>
              </a:cxnLst>
              <a:rect l="0" t="0" r="r" b="b"/>
              <a:pathLst>
                <a:path w="100" h="110">
                  <a:moveTo>
                    <a:pt x="39" y="61"/>
                  </a:moveTo>
                  <a:cubicBezTo>
                    <a:pt x="39" y="61"/>
                    <a:pt x="38" y="60"/>
                    <a:pt x="38" y="5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2"/>
                    <a:pt x="17" y="67"/>
                    <a:pt x="15" y="70"/>
                  </a:cubicBezTo>
                  <a:cubicBezTo>
                    <a:pt x="13" y="73"/>
                    <a:pt x="16" y="78"/>
                    <a:pt x="18" y="80"/>
                  </a:cubicBezTo>
                  <a:cubicBezTo>
                    <a:pt x="14" y="84"/>
                    <a:pt x="8" y="79"/>
                    <a:pt x="3" y="82"/>
                  </a:cubicBezTo>
                  <a:cubicBezTo>
                    <a:pt x="0" y="83"/>
                    <a:pt x="0" y="89"/>
                    <a:pt x="0" y="93"/>
                  </a:cubicBezTo>
                  <a:cubicBezTo>
                    <a:pt x="0" y="98"/>
                    <a:pt x="0" y="100"/>
                    <a:pt x="5" y="102"/>
                  </a:cubicBezTo>
                  <a:cubicBezTo>
                    <a:pt x="11" y="104"/>
                    <a:pt x="18" y="102"/>
                    <a:pt x="22" y="104"/>
                  </a:cubicBezTo>
                  <a:cubicBezTo>
                    <a:pt x="22" y="106"/>
                    <a:pt x="23" y="110"/>
                    <a:pt x="26" y="109"/>
                  </a:cubicBezTo>
                  <a:cubicBezTo>
                    <a:pt x="26" y="109"/>
                    <a:pt x="26" y="105"/>
                    <a:pt x="27" y="105"/>
                  </a:cubicBezTo>
                  <a:cubicBezTo>
                    <a:pt x="27" y="102"/>
                    <a:pt x="29" y="99"/>
                    <a:pt x="31" y="96"/>
                  </a:cubicBezTo>
                  <a:cubicBezTo>
                    <a:pt x="34" y="93"/>
                    <a:pt x="35" y="93"/>
                    <a:pt x="40" y="92"/>
                  </a:cubicBezTo>
                  <a:cubicBezTo>
                    <a:pt x="41" y="81"/>
                    <a:pt x="44" y="72"/>
                    <a:pt x="39" y="61"/>
                  </a:cubicBezTo>
                  <a:moveTo>
                    <a:pt x="96" y="40"/>
                  </a:moveTo>
                  <a:cubicBezTo>
                    <a:pt x="93" y="38"/>
                    <a:pt x="90" y="37"/>
                    <a:pt x="87" y="36"/>
                  </a:cubicBezTo>
                  <a:cubicBezTo>
                    <a:pt x="85" y="36"/>
                    <a:pt x="83" y="36"/>
                    <a:pt x="82" y="35"/>
                  </a:cubicBezTo>
                  <a:cubicBezTo>
                    <a:pt x="81" y="35"/>
                    <a:pt x="79" y="33"/>
                    <a:pt x="78" y="32"/>
                  </a:cubicBezTo>
                  <a:cubicBezTo>
                    <a:pt x="76" y="31"/>
                    <a:pt x="75" y="30"/>
                    <a:pt x="72" y="30"/>
                  </a:cubicBezTo>
                  <a:cubicBezTo>
                    <a:pt x="71" y="30"/>
                    <a:pt x="70" y="31"/>
                    <a:pt x="69" y="30"/>
                  </a:cubicBezTo>
                  <a:cubicBezTo>
                    <a:pt x="68" y="30"/>
                    <a:pt x="68" y="30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6" y="28"/>
                    <a:pt x="65" y="26"/>
                    <a:pt x="64" y="25"/>
                  </a:cubicBezTo>
                  <a:cubicBezTo>
                    <a:pt x="61" y="22"/>
                    <a:pt x="58" y="19"/>
                    <a:pt x="56" y="15"/>
                  </a:cubicBezTo>
                  <a:cubicBezTo>
                    <a:pt x="54" y="11"/>
                    <a:pt x="57" y="6"/>
                    <a:pt x="57" y="2"/>
                  </a:cubicBezTo>
                  <a:cubicBezTo>
                    <a:pt x="56" y="0"/>
                    <a:pt x="51" y="0"/>
                    <a:pt x="49" y="1"/>
                  </a:cubicBezTo>
                  <a:cubicBezTo>
                    <a:pt x="46" y="2"/>
                    <a:pt x="45" y="4"/>
                    <a:pt x="45" y="7"/>
                  </a:cubicBezTo>
                  <a:cubicBezTo>
                    <a:pt x="45" y="8"/>
                    <a:pt x="45" y="10"/>
                    <a:pt x="46" y="11"/>
                  </a:cubicBezTo>
                  <a:cubicBezTo>
                    <a:pt x="46" y="14"/>
                    <a:pt x="48" y="15"/>
                    <a:pt x="46" y="18"/>
                  </a:cubicBezTo>
                  <a:cubicBezTo>
                    <a:pt x="46" y="19"/>
                    <a:pt x="43" y="22"/>
                    <a:pt x="41" y="23"/>
                  </a:cubicBezTo>
                  <a:cubicBezTo>
                    <a:pt x="40" y="24"/>
                    <a:pt x="39" y="23"/>
                    <a:pt x="37" y="24"/>
                  </a:cubicBezTo>
                  <a:cubicBezTo>
                    <a:pt x="35" y="27"/>
                    <a:pt x="36" y="34"/>
                    <a:pt x="38" y="37"/>
                  </a:cubicBezTo>
                  <a:cubicBezTo>
                    <a:pt x="29" y="41"/>
                    <a:pt x="34" y="52"/>
                    <a:pt x="38" y="59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0" y="59"/>
                    <a:pt x="41" y="60"/>
                    <a:pt x="43" y="62"/>
                  </a:cubicBezTo>
                  <a:cubicBezTo>
                    <a:pt x="44" y="63"/>
                    <a:pt x="45" y="64"/>
                    <a:pt x="47" y="65"/>
                  </a:cubicBezTo>
                  <a:cubicBezTo>
                    <a:pt x="48" y="65"/>
                    <a:pt x="49" y="65"/>
                    <a:pt x="50" y="67"/>
                  </a:cubicBezTo>
                  <a:cubicBezTo>
                    <a:pt x="51" y="68"/>
                    <a:pt x="53" y="70"/>
                    <a:pt x="53" y="71"/>
                  </a:cubicBezTo>
                  <a:cubicBezTo>
                    <a:pt x="54" y="71"/>
                    <a:pt x="55" y="71"/>
                    <a:pt x="56" y="71"/>
                  </a:cubicBezTo>
                  <a:cubicBezTo>
                    <a:pt x="57" y="71"/>
                    <a:pt x="57" y="71"/>
                    <a:pt x="58" y="71"/>
                  </a:cubicBezTo>
                  <a:cubicBezTo>
                    <a:pt x="59" y="71"/>
                    <a:pt x="59" y="72"/>
                    <a:pt x="59" y="72"/>
                  </a:cubicBezTo>
                  <a:cubicBezTo>
                    <a:pt x="65" y="74"/>
                    <a:pt x="68" y="72"/>
                    <a:pt x="73" y="68"/>
                  </a:cubicBezTo>
                  <a:cubicBezTo>
                    <a:pt x="76" y="65"/>
                    <a:pt x="79" y="61"/>
                    <a:pt x="81" y="57"/>
                  </a:cubicBezTo>
                  <a:cubicBezTo>
                    <a:pt x="83" y="55"/>
                    <a:pt x="82" y="54"/>
                    <a:pt x="82" y="51"/>
                  </a:cubicBezTo>
                  <a:cubicBezTo>
                    <a:pt x="86" y="49"/>
                    <a:pt x="90" y="48"/>
                    <a:pt x="94" y="46"/>
                  </a:cubicBezTo>
                  <a:cubicBezTo>
                    <a:pt x="95" y="45"/>
                    <a:pt x="98" y="44"/>
                    <a:pt x="99" y="43"/>
                  </a:cubicBezTo>
                  <a:cubicBezTo>
                    <a:pt x="100" y="41"/>
                    <a:pt x="97" y="40"/>
                    <a:pt x="96" y="4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6" name="Freeform 138">
              <a:extLst>
                <a:ext uri="{FF2B5EF4-FFF2-40B4-BE49-F238E27FC236}">
                  <a16:creationId xmlns:a16="http://schemas.microsoft.com/office/drawing/2014/main" id="{D90F719E-DEB2-438F-BA88-4648B2A64B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1763" y="-1588"/>
              <a:ext cx="2671763" cy="3179763"/>
            </a:xfrm>
            <a:custGeom>
              <a:avLst/>
              <a:gdLst/>
              <a:ahLst/>
              <a:cxnLst>
                <a:cxn ang="0">
                  <a:pos x="1352" y="75"/>
                </a:cxn>
                <a:cxn ang="0">
                  <a:pos x="1254" y="97"/>
                </a:cxn>
                <a:cxn ang="0">
                  <a:pos x="1215" y="46"/>
                </a:cxn>
                <a:cxn ang="0">
                  <a:pos x="1183" y="71"/>
                </a:cxn>
                <a:cxn ang="0">
                  <a:pos x="1101" y="166"/>
                </a:cxn>
                <a:cxn ang="0">
                  <a:pos x="1114" y="16"/>
                </a:cxn>
                <a:cxn ang="0">
                  <a:pos x="1066" y="82"/>
                </a:cxn>
                <a:cxn ang="0">
                  <a:pos x="988" y="172"/>
                </a:cxn>
                <a:cxn ang="0">
                  <a:pos x="855" y="247"/>
                </a:cxn>
                <a:cxn ang="0">
                  <a:pos x="779" y="240"/>
                </a:cxn>
                <a:cxn ang="0">
                  <a:pos x="723" y="294"/>
                </a:cxn>
                <a:cxn ang="0">
                  <a:pos x="676" y="334"/>
                </a:cxn>
                <a:cxn ang="0">
                  <a:pos x="682" y="368"/>
                </a:cxn>
                <a:cxn ang="0">
                  <a:pos x="594" y="355"/>
                </a:cxn>
                <a:cxn ang="0">
                  <a:pos x="571" y="378"/>
                </a:cxn>
                <a:cxn ang="0">
                  <a:pos x="539" y="409"/>
                </a:cxn>
                <a:cxn ang="0">
                  <a:pos x="476" y="472"/>
                </a:cxn>
                <a:cxn ang="0">
                  <a:pos x="535" y="461"/>
                </a:cxn>
                <a:cxn ang="0">
                  <a:pos x="652" y="435"/>
                </a:cxn>
                <a:cxn ang="0">
                  <a:pos x="591" y="478"/>
                </a:cxn>
                <a:cxn ang="0">
                  <a:pos x="568" y="557"/>
                </a:cxn>
                <a:cxn ang="0">
                  <a:pos x="499" y="629"/>
                </a:cxn>
                <a:cxn ang="0">
                  <a:pos x="447" y="712"/>
                </a:cxn>
                <a:cxn ang="0">
                  <a:pos x="429" y="788"/>
                </a:cxn>
                <a:cxn ang="0">
                  <a:pos x="368" y="906"/>
                </a:cxn>
                <a:cxn ang="0">
                  <a:pos x="355" y="948"/>
                </a:cxn>
                <a:cxn ang="0">
                  <a:pos x="285" y="1042"/>
                </a:cxn>
                <a:cxn ang="0">
                  <a:pos x="326" y="1063"/>
                </a:cxn>
                <a:cxn ang="0">
                  <a:pos x="324" y="1087"/>
                </a:cxn>
                <a:cxn ang="0">
                  <a:pos x="247" y="1099"/>
                </a:cxn>
                <a:cxn ang="0">
                  <a:pos x="193" y="1128"/>
                </a:cxn>
                <a:cxn ang="0">
                  <a:pos x="170" y="1142"/>
                </a:cxn>
                <a:cxn ang="0">
                  <a:pos x="177" y="1172"/>
                </a:cxn>
                <a:cxn ang="0">
                  <a:pos x="77" y="1210"/>
                </a:cxn>
                <a:cxn ang="0">
                  <a:pos x="98" y="1233"/>
                </a:cxn>
                <a:cxn ang="0">
                  <a:pos x="62" y="1256"/>
                </a:cxn>
                <a:cxn ang="0">
                  <a:pos x="66" y="1277"/>
                </a:cxn>
                <a:cxn ang="0">
                  <a:pos x="29" y="1343"/>
                </a:cxn>
                <a:cxn ang="0">
                  <a:pos x="40" y="1371"/>
                </a:cxn>
                <a:cxn ang="0">
                  <a:pos x="21" y="1424"/>
                </a:cxn>
                <a:cxn ang="0">
                  <a:pos x="37" y="1490"/>
                </a:cxn>
                <a:cxn ang="0">
                  <a:pos x="47" y="1580"/>
                </a:cxn>
                <a:cxn ang="0">
                  <a:pos x="69" y="1646"/>
                </a:cxn>
                <a:cxn ang="0">
                  <a:pos x="207" y="1675"/>
                </a:cxn>
                <a:cxn ang="0">
                  <a:pos x="315" y="1549"/>
                </a:cxn>
                <a:cxn ang="0">
                  <a:pos x="357" y="1589"/>
                </a:cxn>
                <a:cxn ang="0">
                  <a:pos x="433" y="1431"/>
                </a:cxn>
                <a:cxn ang="0">
                  <a:pos x="410" y="1221"/>
                </a:cxn>
                <a:cxn ang="0">
                  <a:pos x="444" y="1021"/>
                </a:cxn>
                <a:cxn ang="0">
                  <a:pos x="529" y="825"/>
                </a:cxn>
                <a:cxn ang="0">
                  <a:pos x="624" y="594"/>
                </a:cxn>
                <a:cxn ang="0">
                  <a:pos x="735" y="459"/>
                </a:cxn>
                <a:cxn ang="0">
                  <a:pos x="869" y="334"/>
                </a:cxn>
                <a:cxn ang="0">
                  <a:pos x="982" y="393"/>
                </a:cxn>
                <a:cxn ang="0">
                  <a:pos x="1100" y="388"/>
                </a:cxn>
                <a:cxn ang="0">
                  <a:pos x="1145" y="252"/>
                </a:cxn>
                <a:cxn ang="0">
                  <a:pos x="1261" y="192"/>
                </a:cxn>
                <a:cxn ang="0">
                  <a:pos x="1316" y="340"/>
                </a:cxn>
                <a:cxn ang="0">
                  <a:pos x="1375" y="252"/>
                </a:cxn>
                <a:cxn ang="0">
                  <a:pos x="1383" y="212"/>
                </a:cxn>
                <a:cxn ang="0">
                  <a:pos x="1340" y="204"/>
                </a:cxn>
              </a:cxnLst>
              <a:rect l="0" t="0" r="r" b="b"/>
              <a:pathLst>
                <a:path w="1429" h="1701">
                  <a:moveTo>
                    <a:pt x="1115" y="33"/>
                  </a:moveTo>
                  <a:cubicBezTo>
                    <a:pt x="1116" y="33"/>
                    <a:pt x="1117" y="33"/>
                    <a:pt x="1118" y="33"/>
                  </a:cubicBezTo>
                  <a:cubicBezTo>
                    <a:pt x="1117" y="32"/>
                    <a:pt x="1116" y="32"/>
                    <a:pt x="1115" y="33"/>
                  </a:cubicBezTo>
                  <a:moveTo>
                    <a:pt x="272" y="1065"/>
                  </a:moveTo>
                  <a:cubicBezTo>
                    <a:pt x="272" y="1065"/>
                    <a:pt x="272" y="1065"/>
                    <a:pt x="272" y="1065"/>
                  </a:cubicBezTo>
                  <a:cubicBezTo>
                    <a:pt x="271" y="1066"/>
                    <a:pt x="270" y="1066"/>
                    <a:pt x="270" y="1067"/>
                  </a:cubicBezTo>
                  <a:cubicBezTo>
                    <a:pt x="271" y="1067"/>
                    <a:pt x="272" y="1066"/>
                    <a:pt x="272" y="1065"/>
                  </a:cubicBezTo>
                  <a:moveTo>
                    <a:pt x="422" y="1463"/>
                  </a:moveTo>
                  <a:cubicBezTo>
                    <a:pt x="423" y="1463"/>
                    <a:pt x="424" y="1463"/>
                    <a:pt x="425" y="1463"/>
                  </a:cubicBezTo>
                  <a:cubicBezTo>
                    <a:pt x="424" y="1461"/>
                    <a:pt x="423" y="1462"/>
                    <a:pt x="422" y="1463"/>
                  </a:cubicBezTo>
                  <a:moveTo>
                    <a:pt x="1418" y="124"/>
                  </a:moveTo>
                  <a:cubicBezTo>
                    <a:pt x="1416" y="126"/>
                    <a:pt x="1415" y="124"/>
                    <a:pt x="1414" y="123"/>
                  </a:cubicBezTo>
                  <a:cubicBezTo>
                    <a:pt x="1411" y="121"/>
                    <a:pt x="1408" y="119"/>
                    <a:pt x="1405" y="118"/>
                  </a:cubicBezTo>
                  <a:cubicBezTo>
                    <a:pt x="1403" y="117"/>
                    <a:pt x="1401" y="115"/>
                    <a:pt x="1400" y="113"/>
                  </a:cubicBezTo>
                  <a:cubicBezTo>
                    <a:pt x="1399" y="111"/>
                    <a:pt x="1401" y="108"/>
                    <a:pt x="1398" y="106"/>
                  </a:cubicBezTo>
                  <a:cubicBezTo>
                    <a:pt x="1391" y="110"/>
                    <a:pt x="1379" y="109"/>
                    <a:pt x="1370" y="108"/>
                  </a:cubicBezTo>
                  <a:cubicBezTo>
                    <a:pt x="1370" y="104"/>
                    <a:pt x="1378" y="103"/>
                    <a:pt x="1380" y="101"/>
                  </a:cubicBezTo>
                  <a:cubicBezTo>
                    <a:pt x="1385" y="97"/>
                    <a:pt x="1382" y="94"/>
                    <a:pt x="1378" y="90"/>
                  </a:cubicBezTo>
                  <a:cubicBezTo>
                    <a:pt x="1376" y="87"/>
                    <a:pt x="1375" y="80"/>
                    <a:pt x="1371" y="79"/>
                  </a:cubicBezTo>
                  <a:cubicBezTo>
                    <a:pt x="1368" y="77"/>
                    <a:pt x="1366" y="80"/>
                    <a:pt x="1365" y="82"/>
                  </a:cubicBezTo>
                  <a:cubicBezTo>
                    <a:pt x="1361" y="85"/>
                    <a:pt x="1357" y="89"/>
                    <a:pt x="1353" y="91"/>
                  </a:cubicBezTo>
                  <a:cubicBezTo>
                    <a:pt x="1355" y="86"/>
                    <a:pt x="1358" y="77"/>
                    <a:pt x="1352" y="75"/>
                  </a:cubicBezTo>
                  <a:cubicBezTo>
                    <a:pt x="1348" y="74"/>
                    <a:pt x="1343" y="75"/>
                    <a:pt x="1341" y="77"/>
                  </a:cubicBezTo>
                  <a:cubicBezTo>
                    <a:pt x="1338" y="79"/>
                    <a:pt x="1337" y="83"/>
                    <a:pt x="1335" y="85"/>
                  </a:cubicBezTo>
                  <a:cubicBezTo>
                    <a:pt x="1332" y="87"/>
                    <a:pt x="1335" y="87"/>
                    <a:pt x="1332" y="85"/>
                  </a:cubicBezTo>
                  <a:cubicBezTo>
                    <a:pt x="1329" y="84"/>
                    <a:pt x="1328" y="80"/>
                    <a:pt x="1328" y="77"/>
                  </a:cubicBezTo>
                  <a:cubicBezTo>
                    <a:pt x="1328" y="74"/>
                    <a:pt x="1329" y="75"/>
                    <a:pt x="1330" y="72"/>
                  </a:cubicBezTo>
                  <a:cubicBezTo>
                    <a:pt x="1331" y="69"/>
                    <a:pt x="1331" y="65"/>
                    <a:pt x="1330" y="62"/>
                  </a:cubicBezTo>
                  <a:cubicBezTo>
                    <a:pt x="1328" y="58"/>
                    <a:pt x="1324" y="57"/>
                    <a:pt x="1320" y="56"/>
                  </a:cubicBezTo>
                  <a:cubicBezTo>
                    <a:pt x="1317" y="54"/>
                    <a:pt x="1312" y="49"/>
                    <a:pt x="1308" y="51"/>
                  </a:cubicBezTo>
                  <a:cubicBezTo>
                    <a:pt x="1308" y="53"/>
                    <a:pt x="1305" y="55"/>
                    <a:pt x="1304" y="56"/>
                  </a:cubicBezTo>
                  <a:cubicBezTo>
                    <a:pt x="1301" y="59"/>
                    <a:pt x="1299" y="62"/>
                    <a:pt x="1296" y="65"/>
                  </a:cubicBezTo>
                  <a:cubicBezTo>
                    <a:pt x="1291" y="70"/>
                    <a:pt x="1289" y="75"/>
                    <a:pt x="1289" y="82"/>
                  </a:cubicBezTo>
                  <a:cubicBezTo>
                    <a:pt x="1289" y="88"/>
                    <a:pt x="1289" y="94"/>
                    <a:pt x="1289" y="99"/>
                  </a:cubicBezTo>
                  <a:cubicBezTo>
                    <a:pt x="1289" y="106"/>
                    <a:pt x="1286" y="111"/>
                    <a:pt x="1285" y="118"/>
                  </a:cubicBezTo>
                  <a:cubicBezTo>
                    <a:pt x="1281" y="111"/>
                    <a:pt x="1276" y="115"/>
                    <a:pt x="1270" y="118"/>
                  </a:cubicBezTo>
                  <a:cubicBezTo>
                    <a:pt x="1268" y="119"/>
                    <a:pt x="1265" y="120"/>
                    <a:pt x="1263" y="121"/>
                  </a:cubicBezTo>
                  <a:cubicBezTo>
                    <a:pt x="1260" y="122"/>
                    <a:pt x="1247" y="123"/>
                    <a:pt x="1245" y="120"/>
                  </a:cubicBezTo>
                  <a:cubicBezTo>
                    <a:pt x="1248" y="117"/>
                    <a:pt x="1252" y="118"/>
                    <a:pt x="1255" y="115"/>
                  </a:cubicBezTo>
                  <a:cubicBezTo>
                    <a:pt x="1257" y="114"/>
                    <a:pt x="1257" y="112"/>
                    <a:pt x="1259" y="110"/>
                  </a:cubicBezTo>
                  <a:cubicBezTo>
                    <a:pt x="1261" y="107"/>
                    <a:pt x="1265" y="105"/>
                    <a:pt x="1268" y="103"/>
                  </a:cubicBezTo>
                  <a:cubicBezTo>
                    <a:pt x="1274" y="99"/>
                    <a:pt x="1279" y="95"/>
                    <a:pt x="1283" y="89"/>
                  </a:cubicBezTo>
                  <a:cubicBezTo>
                    <a:pt x="1278" y="93"/>
                    <a:pt x="1272" y="93"/>
                    <a:pt x="1267" y="94"/>
                  </a:cubicBezTo>
                  <a:cubicBezTo>
                    <a:pt x="1262" y="95"/>
                    <a:pt x="1259" y="96"/>
                    <a:pt x="1254" y="97"/>
                  </a:cubicBezTo>
                  <a:cubicBezTo>
                    <a:pt x="1247" y="97"/>
                    <a:pt x="1239" y="98"/>
                    <a:pt x="1232" y="97"/>
                  </a:cubicBezTo>
                  <a:cubicBezTo>
                    <a:pt x="1236" y="94"/>
                    <a:pt x="1239" y="90"/>
                    <a:pt x="1243" y="88"/>
                  </a:cubicBezTo>
                  <a:cubicBezTo>
                    <a:pt x="1248" y="85"/>
                    <a:pt x="1254" y="81"/>
                    <a:pt x="1257" y="76"/>
                  </a:cubicBezTo>
                  <a:cubicBezTo>
                    <a:pt x="1260" y="71"/>
                    <a:pt x="1259" y="69"/>
                    <a:pt x="1255" y="67"/>
                  </a:cubicBezTo>
                  <a:cubicBezTo>
                    <a:pt x="1253" y="66"/>
                    <a:pt x="1247" y="66"/>
                    <a:pt x="1249" y="62"/>
                  </a:cubicBezTo>
                  <a:cubicBezTo>
                    <a:pt x="1249" y="61"/>
                    <a:pt x="1252" y="60"/>
                    <a:pt x="1253" y="60"/>
                  </a:cubicBezTo>
                  <a:cubicBezTo>
                    <a:pt x="1258" y="60"/>
                    <a:pt x="1261" y="60"/>
                    <a:pt x="1265" y="62"/>
                  </a:cubicBezTo>
                  <a:cubicBezTo>
                    <a:pt x="1269" y="63"/>
                    <a:pt x="1277" y="63"/>
                    <a:pt x="1279" y="58"/>
                  </a:cubicBezTo>
                  <a:cubicBezTo>
                    <a:pt x="1279" y="57"/>
                    <a:pt x="1278" y="55"/>
                    <a:pt x="1279" y="54"/>
                  </a:cubicBezTo>
                  <a:cubicBezTo>
                    <a:pt x="1279" y="52"/>
                    <a:pt x="1282" y="50"/>
                    <a:pt x="1283" y="48"/>
                  </a:cubicBezTo>
                  <a:cubicBezTo>
                    <a:pt x="1287" y="44"/>
                    <a:pt x="1292" y="41"/>
                    <a:pt x="1290" y="36"/>
                  </a:cubicBezTo>
                  <a:cubicBezTo>
                    <a:pt x="1287" y="30"/>
                    <a:pt x="1276" y="33"/>
                    <a:pt x="1270" y="33"/>
                  </a:cubicBezTo>
                  <a:cubicBezTo>
                    <a:pt x="1270" y="29"/>
                    <a:pt x="1272" y="21"/>
                    <a:pt x="1268" y="18"/>
                  </a:cubicBezTo>
                  <a:cubicBezTo>
                    <a:pt x="1263" y="14"/>
                    <a:pt x="1254" y="21"/>
                    <a:pt x="1250" y="20"/>
                  </a:cubicBezTo>
                  <a:cubicBezTo>
                    <a:pt x="1249" y="16"/>
                    <a:pt x="1251" y="4"/>
                    <a:pt x="1244" y="6"/>
                  </a:cubicBezTo>
                  <a:cubicBezTo>
                    <a:pt x="1240" y="8"/>
                    <a:pt x="1239" y="16"/>
                    <a:pt x="1238" y="20"/>
                  </a:cubicBezTo>
                  <a:cubicBezTo>
                    <a:pt x="1237" y="22"/>
                    <a:pt x="1234" y="32"/>
                    <a:pt x="1231" y="33"/>
                  </a:cubicBezTo>
                  <a:cubicBezTo>
                    <a:pt x="1227" y="34"/>
                    <a:pt x="1225" y="25"/>
                    <a:pt x="1221" y="25"/>
                  </a:cubicBezTo>
                  <a:cubicBezTo>
                    <a:pt x="1215" y="24"/>
                    <a:pt x="1217" y="32"/>
                    <a:pt x="1217" y="36"/>
                  </a:cubicBezTo>
                  <a:cubicBezTo>
                    <a:pt x="1217" y="36"/>
                    <a:pt x="1217" y="36"/>
                    <a:pt x="1217" y="36"/>
                  </a:cubicBezTo>
                  <a:cubicBezTo>
                    <a:pt x="1216" y="38"/>
                    <a:pt x="1211" y="39"/>
                    <a:pt x="1210" y="42"/>
                  </a:cubicBezTo>
                  <a:cubicBezTo>
                    <a:pt x="1209" y="47"/>
                    <a:pt x="1213" y="43"/>
                    <a:pt x="1215" y="46"/>
                  </a:cubicBezTo>
                  <a:cubicBezTo>
                    <a:pt x="1216" y="47"/>
                    <a:pt x="1216" y="49"/>
                    <a:pt x="1217" y="50"/>
                  </a:cubicBezTo>
                  <a:cubicBezTo>
                    <a:pt x="1218" y="51"/>
                    <a:pt x="1222" y="53"/>
                    <a:pt x="1224" y="53"/>
                  </a:cubicBezTo>
                  <a:cubicBezTo>
                    <a:pt x="1219" y="52"/>
                    <a:pt x="1219" y="56"/>
                    <a:pt x="1219" y="60"/>
                  </a:cubicBezTo>
                  <a:cubicBezTo>
                    <a:pt x="1219" y="65"/>
                    <a:pt x="1219" y="67"/>
                    <a:pt x="1216" y="71"/>
                  </a:cubicBezTo>
                  <a:cubicBezTo>
                    <a:pt x="1211" y="77"/>
                    <a:pt x="1205" y="81"/>
                    <a:pt x="1204" y="90"/>
                  </a:cubicBezTo>
                  <a:cubicBezTo>
                    <a:pt x="1203" y="94"/>
                    <a:pt x="1204" y="99"/>
                    <a:pt x="1202" y="104"/>
                  </a:cubicBezTo>
                  <a:cubicBezTo>
                    <a:pt x="1201" y="107"/>
                    <a:pt x="1198" y="108"/>
                    <a:pt x="1197" y="111"/>
                  </a:cubicBezTo>
                  <a:cubicBezTo>
                    <a:pt x="1197" y="114"/>
                    <a:pt x="1198" y="117"/>
                    <a:pt x="1198" y="119"/>
                  </a:cubicBezTo>
                  <a:cubicBezTo>
                    <a:pt x="1197" y="121"/>
                    <a:pt x="1194" y="123"/>
                    <a:pt x="1193" y="124"/>
                  </a:cubicBezTo>
                  <a:cubicBezTo>
                    <a:pt x="1189" y="127"/>
                    <a:pt x="1189" y="128"/>
                    <a:pt x="1187" y="132"/>
                  </a:cubicBezTo>
                  <a:cubicBezTo>
                    <a:pt x="1185" y="135"/>
                    <a:pt x="1183" y="135"/>
                    <a:pt x="1183" y="139"/>
                  </a:cubicBezTo>
                  <a:cubicBezTo>
                    <a:pt x="1183" y="140"/>
                    <a:pt x="1183" y="141"/>
                    <a:pt x="1183" y="142"/>
                  </a:cubicBezTo>
                  <a:cubicBezTo>
                    <a:pt x="1181" y="142"/>
                    <a:pt x="1178" y="142"/>
                    <a:pt x="1176" y="142"/>
                  </a:cubicBezTo>
                  <a:cubicBezTo>
                    <a:pt x="1176" y="142"/>
                    <a:pt x="1176" y="142"/>
                    <a:pt x="1176" y="142"/>
                  </a:cubicBezTo>
                  <a:cubicBezTo>
                    <a:pt x="1177" y="138"/>
                    <a:pt x="1180" y="134"/>
                    <a:pt x="1182" y="129"/>
                  </a:cubicBezTo>
                  <a:cubicBezTo>
                    <a:pt x="1183" y="127"/>
                    <a:pt x="1182" y="125"/>
                    <a:pt x="1183" y="122"/>
                  </a:cubicBezTo>
                  <a:cubicBezTo>
                    <a:pt x="1184" y="119"/>
                    <a:pt x="1185" y="117"/>
                    <a:pt x="1185" y="113"/>
                  </a:cubicBezTo>
                  <a:cubicBezTo>
                    <a:pt x="1185" y="109"/>
                    <a:pt x="1185" y="105"/>
                    <a:pt x="1185" y="101"/>
                  </a:cubicBezTo>
                  <a:cubicBezTo>
                    <a:pt x="1186" y="97"/>
                    <a:pt x="1188" y="92"/>
                    <a:pt x="1187" y="88"/>
                  </a:cubicBezTo>
                  <a:cubicBezTo>
                    <a:pt x="1187" y="87"/>
                    <a:pt x="1186" y="83"/>
                    <a:pt x="1185" y="83"/>
                  </a:cubicBezTo>
                  <a:cubicBezTo>
                    <a:pt x="1182" y="81"/>
                    <a:pt x="1178" y="82"/>
                    <a:pt x="1179" y="77"/>
                  </a:cubicBezTo>
                  <a:cubicBezTo>
                    <a:pt x="1179" y="74"/>
                    <a:pt x="1181" y="73"/>
                    <a:pt x="1183" y="71"/>
                  </a:cubicBezTo>
                  <a:cubicBezTo>
                    <a:pt x="1187" y="69"/>
                    <a:pt x="1189" y="68"/>
                    <a:pt x="1189" y="63"/>
                  </a:cubicBezTo>
                  <a:cubicBezTo>
                    <a:pt x="1189" y="60"/>
                    <a:pt x="1189" y="58"/>
                    <a:pt x="1189" y="55"/>
                  </a:cubicBezTo>
                  <a:cubicBezTo>
                    <a:pt x="1189" y="47"/>
                    <a:pt x="1198" y="40"/>
                    <a:pt x="1193" y="32"/>
                  </a:cubicBezTo>
                  <a:cubicBezTo>
                    <a:pt x="1191" y="32"/>
                    <a:pt x="1185" y="32"/>
                    <a:pt x="1183" y="32"/>
                  </a:cubicBezTo>
                  <a:cubicBezTo>
                    <a:pt x="1182" y="33"/>
                    <a:pt x="1181" y="35"/>
                    <a:pt x="1180" y="37"/>
                  </a:cubicBezTo>
                  <a:cubicBezTo>
                    <a:pt x="1176" y="41"/>
                    <a:pt x="1171" y="45"/>
                    <a:pt x="1167" y="49"/>
                  </a:cubicBezTo>
                  <a:cubicBezTo>
                    <a:pt x="1161" y="53"/>
                    <a:pt x="1156" y="54"/>
                    <a:pt x="1156" y="61"/>
                  </a:cubicBezTo>
                  <a:cubicBezTo>
                    <a:pt x="1156" y="66"/>
                    <a:pt x="1156" y="70"/>
                    <a:pt x="1156" y="75"/>
                  </a:cubicBezTo>
                  <a:cubicBezTo>
                    <a:pt x="1156" y="80"/>
                    <a:pt x="1154" y="83"/>
                    <a:pt x="1151" y="87"/>
                  </a:cubicBezTo>
                  <a:cubicBezTo>
                    <a:pt x="1147" y="93"/>
                    <a:pt x="1141" y="99"/>
                    <a:pt x="1139" y="106"/>
                  </a:cubicBezTo>
                  <a:cubicBezTo>
                    <a:pt x="1138" y="113"/>
                    <a:pt x="1141" y="122"/>
                    <a:pt x="1134" y="128"/>
                  </a:cubicBezTo>
                  <a:cubicBezTo>
                    <a:pt x="1130" y="132"/>
                    <a:pt x="1121" y="131"/>
                    <a:pt x="1118" y="134"/>
                  </a:cubicBezTo>
                  <a:cubicBezTo>
                    <a:pt x="1117" y="135"/>
                    <a:pt x="1116" y="138"/>
                    <a:pt x="1116" y="139"/>
                  </a:cubicBezTo>
                  <a:cubicBezTo>
                    <a:pt x="1117" y="141"/>
                    <a:pt x="1119" y="141"/>
                    <a:pt x="1120" y="142"/>
                  </a:cubicBezTo>
                  <a:cubicBezTo>
                    <a:pt x="1123" y="145"/>
                    <a:pt x="1122" y="147"/>
                    <a:pt x="1119" y="148"/>
                  </a:cubicBezTo>
                  <a:cubicBezTo>
                    <a:pt x="1117" y="149"/>
                    <a:pt x="1116" y="147"/>
                    <a:pt x="1114" y="149"/>
                  </a:cubicBezTo>
                  <a:cubicBezTo>
                    <a:pt x="1115" y="148"/>
                    <a:pt x="1112" y="155"/>
                    <a:pt x="1113" y="153"/>
                  </a:cubicBezTo>
                  <a:cubicBezTo>
                    <a:pt x="1111" y="156"/>
                    <a:pt x="1109" y="160"/>
                    <a:pt x="1108" y="164"/>
                  </a:cubicBezTo>
                  <a:cubicBezTo>
                    <a:pt x="1107" y="168"/>
                    <a:pt x="1108" y="171"/>
                    <a:pt x="1108" y="175"/>
                  </a:cubicBezTo>
                  <a:cubicBezTo>
                    <a:pt x="1108" y="175"/>
                    <a:pt x="1107" y="175"/>
                    <a:pt x="1107" y="176"/>
                  </a:cubicBezTo>
                  <a:cubicBezTo>
                    <a:pt x="1106" y="177"/>
                    <a:pt x="1105" y="178"/>
                    <a:pt x="1103" y="175"/>
                  </a:cubicBezTo>
                  <a:cubicBezTo>
                    <a:pt x="1101" y="173"/>
                    <a:pt x="1102" y="169"/>
                    <a:pt x="1101" y="166"/>
                  </a:cubicBezTo>
                  <a:cubicBezTo>
                    <a:pt x="1101" y="165"/>
                    <a:pt x="1100" y="165"/>
                    <a:pt x="1100" y="164"/>
                  </a:cubicBezTo>
                  <a:cubicBezTo>
                    <a:pt x="1100" y="159"/>
                    <a:pt x="1101" y="159"/>
                    <a:pt x="1095" y="158"/>
                  </a:cubicBezTo>
                  <a:cubicBezTo>
                    <a:pt x="1094" y="158"/>
                    <a:pt x="1093" y="158"/>
                    <a:pt x="1093" y="158"/>
                  </a:cubicBezTo>
                  <a:cubicBezTo>
                    <a:pt x="1094" y="154"/>
                    <a:pt x="1096" y="154"/>
                    <a:pt x="1101" y="152"/>
                  </a:cubicBezTo>
                  <a:cubicBezTo>
                    <a:pt x="1110" y="148"/>
                    <a:pt x="1104" y="137"/>
                    <a:pt x="1106" y="129"/>
                  </a:cubicBezTo>
                  <a:cubicBezTo>
                    <a:pt x="1107" y="124"/>
                    <a:pt x="1112" y="119"/>
                    <a:pt x="1112" y="114"/>
                  </a:cubicBezTo>
                  <a:cubicBezTo>
                    <a:pt x="1111" y="111"/>
                    <a:pt x="1110" y="110"/>
                    <a:pt x="1110" y="108"/>
                  </a:cubicBezTo>
                  <a:cubicBezTo>
                    <a:pt x="1111" y="105"/>
                    <a:pt x="1114" y="101"/>
                    <a:pt x="1117" y="99"/>
                  </a:cubicBezTo>
                  <a:cubicBezTo>
                    <a:pt x="1119" y="96"/>
                    <a:pt x="1120" y="95"/>
                    <a:pt x="1122" y="92"/>
                  </a:cubicBezTo>
                  <a:cubicBezTo>
                    <a:pt x="1124" y="89"/>
                    <a:pt x="1126" y="85"/>
                    <a:pt x="1128" y="83"/>
                  </a:cubicBezTo>
                  <a:cubicBezTo>
                    <a:pt x="1130" y="80"/>
                    <a:pt x="1133" y="80"/>
                    <a:pt x="1134" y="77"/>
                  </a:cubicBezTo>
                  <a:cubicBezTo>
                    <a:pt x="1135" y="74"/>
                    <a:pt x="1132" y="70"/>
                    <a:pt x="1133" y="67"/>
                  </a:cubicBezTo>
                  <a:cubicBezTo>
                    <a:pt x="1133" y="62"/>
                    <a:pt x="1137" y="61"/>
                    <a:pt x="1141" y="58"/>
                  </a:cubicBezTo>
                  <a:cubicBezTo>
                    <a:pt x="1145" y="56"/>
                    <a:pt x="1149" y="47"/>
                    <a:pt x="1142" y="49"/>
                  </a:cubicBezTo>
                  <a:cubicBezTo>
                    <a:pt x="1141" y="45"/>
                    <a:pt x="1141" y="39"/>
                    <a:pt x="1143" y="36"/>
                  </a:cubicBezTo>
                  <a:cubicBezTo>
                    <a:pt x="1146" y="31"/>
                    <a:pt x="1155" y="35"/>
                    <a:pt x="1158" y="29"/>
                  </a:cubicBezTo>
                  <a:cubicBezTo>
                    <a:pt x="1156" y="26"/>
                    <a:pt x="1148" y="26"/>
                    <a:pt x="1145" y="24"/>
                  </a:cubicBezTo>
                  <a:cubicBezTo>
                    <a:pt x="1141" y="23"/>
                    <a:pt x="1139" y="21"/>
                    <a:pt x="1140" y="18"/>
                  </a:cubicBezTo>
                  <a:cubicBezTo>
                    <a:pt x="1141" y="16"/>
                    <a:pt x="1142" y="15"/>
                    <a:pt x="1144" y="15"/>
                  </a:cubicBezTo>
                  <a:cubicBezTo>
                    <a:pt x="1147" y="11"/>
                    <a:pt x="1141" y="0"/>
                    <a:pt x="1136" y="1"/>
                  </a:cubicBezTo>
                  <a:cubicBezTo>
                    <a:pt x="1135" y="5"/>
                    <a:pt x="1133" y="12"/>
                    <a:pt x="1130" y="15"/>
                  </a:cubicBezTo>
                  <a:cubicBezTo>
                    <a:pt x="1127" y="18"/>
                    <a:pt x="1118" y="15"/>
                    <a:pt x="1114" y="16"/>
                  </a:cubicBezTo>
                  <a:cubicBezTo>
                    <a:pt x="1112" y="17"/>
                    <a:pt x="1109" y="19"/>
                    <a:pt x="1111" y="22"/>
                  </a:cubicBezTo>
                  <a:cubicBezTo>
                    <a:pt x="1113" y="25"/>
                    <a:pt x="1115" y="24"/>
                    <a:pt x="1117" y="24"/>
                  </a:cubicBezTo>
                  <a:cubicBezTo>
                    <a:pt x="1121" y="25"/>
                    <a:pt x="1123" y="28"/>
                    <a:pt x="1124" y="32"/>
                  </a:cubicBezTo>
                  <a:cubicBezTo>
                    <a:pt x="1123" y="33"/>
                    <a:pt x="1120" y="33"/>
                    <a:pt x="1118" y="33"/>
                  </a:cubicBezTo>
                  <a:cubicBezTo>
                    <a:pt x="1121" y="34"/>
                    <a:pt x="1122" y="41"/>
                    <a:pt x="1124" y="44"/>
                  </a:cubicBezTo>
                  <a:cubicBezTo>
                    <a:pt x="1127" y="51"/>
                    <a:pt x="1125" y="57"/>
                    <a:pt x="1117" y="58"/>
                  </a:cubicBezTo>
                  <a:cubicBezTo>
                    <a:pt x="1114" y="58"/>
                    <a:pt x="1112" y="58"/>
                    <a:pt x="1111" y="56"/>
                  </a:cubicBezTo>
                  <a:cubicBezTo>
                    <a:pt x="1109" y="54"/>
                    <a:pt x="1108" y="51"/>
                    <a:pt x="1109" y="49"/>
                  </a:cubicBezTo>
                  <a:cubicBezTo>
                    <a:pt x="1106" y="47"/>
                    <a:pt x="1103" y="48"/>
                    <a:pt x="1100" y="48"/>
                  </a:cubicBezTo>
                  <a:cubicBezTo>
                    <a:pt x="1100" y="44"/>
                    <a:pt x="1099" y="38"/>
                    <a:pt x="1096" y="35"/>
                  </a:cubicBezTo>
                  <a:cubicBezTo>
                    <a:pt x="1092" y="37"/>
                    <a:pt x="1092" y="41"/>
                    <a:pt x="1087" y="39"/>
                  </a:cubicBezTo>
                  <a:cubicBezTo>
                    <a:pt x="1082" y="36"/>
                    <a:pt x="1083" y="29"/>
                    <a:pt x="1079" y="26"/>
                  </a:cubicBezTo>
                  <a:cubicBezTo>
                    <a:pt x="1069" y="16"/>
                    <a:pt x="1074" y="39"/>
                    <a:pt x="1075" y="43"/>
                  </a:cubicBezTo>
                  <a:cubicBezTo>
                    <a:pt x="1075" y="47"/>
                    <a:pt x="1077" y="48"/>
                    <a:pt x="1078" y="52"/>
                  </a:cubicBezTo>
                  <a:cubicBezTo>
                    <a:pt x="1078" y="57"/>
                    <a:pt x="1077" y="63"/>
                    <a:pt x="1070" y="60"/>
                  </a:cubicBezTo>
                  <a:cubicBezTo>
                    <a:pt x="1066" y="58"/>
                    <a:pt x="1063" y="50"/>
                    <a:pt x="1058" y="53"/>
                  </a:cubicBezTo>
                  <a:cubicBezTo>
                    <a:pt x="1053" y="56"/>
                    <a:pt x="1056" y="61"/>
                    <a:pt x="1059" y="64"/>
                  </a:cubicBezTo>
                  <a:cubicBezTo>
                    <a:pt x="1062" y="68"/>
                    <a:pt x="1068" y="68"/>
                    <a:pt x="1072" y="71"/>
                  </a:cubicBezTo>
                  <a:cubicBezTo>
                    <a:pt x="1075" y="74"/>
                    <a:pt x="1075" y="77"/>
                    <a:pt x="1076" y="80"/>
                  </a:cubicBezTo>
                  <a:cubicBezTo>
                    <a:pt x="1078" y="82"/>
                    <a:pt x="1081" y="89"/>
                    <a:pt x="1076" y="91"/>
                  </a:cubicBezTo>
                  <a:cubicBezTo>
                    <a:pt x="1072" y="92"/>
                    <a:pt x="1074" y="89"/>
                    <a:pt x="1072" y="87"/>
                  </a:cubicBezTo>
                  <a:cubicBezTo>
                    <a:pt x="1070" y="85"/>
                    <a:pt x="1067" y="86"/>
                    <a:pt x="1066" y="82"/>
                  </a:cubicBezTo>
                  <a:cubicBezTo>
                    <a:pt x="1063" y="83"/>
                    <a:pt x="1062" y="87"/>
                    <a:pt x="1060" y="90"/>
                  </a:cubicBezTo>
                  <a:cubicBezTo>
                    <a:pt x="1057" y="93"/>
                    <a:pt x="1050" y="96"/>
                    <a:pt x="1051" y="102"/>
                  </a:cubicBezTo>
                  <a:cubicBezTo>
                    <a:pt x="1051" y="106"/>
                    <a:pt x="1052" y="107"/>
                    <a:pt x="1055" y="109"/>
                  </a:cubicBezTo>
                  <a:cubicBezTo>
                    <a:pt x="1058" y="111"/>
                    <a:pt x="1058" y="108"/>
                    <a:pt x="1059" y="112"/>
                  </a:cubicBezTo>
                  <a:cubicBezTo>
                    <a:pt x="1060" y="115"/>
                    <a:pt x="1060" y="117"/>
                    <a:pt x="1059" y="119"/>
                  </a:cubicBezTo>
                  <a:cubicBezTo>
                    <a:pt x="1057" y="118"/>
                    <a:pt x="1053" y="117"/>
                    <a:pt x="1051" y="115"/>
                  </a:cubicBezTo>
                  <a:cubicBezTo>
                    <a:pt x="1047" y="113"/>
                    <a:pt x="1048" y="110"/>
                    <a:pt x="1042" y="110"/>
                  </a:cubicBezTo>
                  <a:cubicBezTo>
                    <a:pt x="1036" y="110"/>
                    <a:pt x="1034" y="117"/>
                    <a:pt x="1031" y="122"/>
                  </a:cubicBezTo>
                  <a:cubicBezTo>
                    <a:pt x="1028" y="125"/>
                    <a:pt x="1025" y="129"/>
                    <a:pt x="1022" y="132"/>
                  </a:cubicBezTo>
                  <a:cubicBezTo>
                    <a:pt x="1020" y="134"/>
                    <a:pt x="1015" y="136"/>
                    <a:pt x="1015" y="139"/>
                  </a:cubicBezTo>
                  <a:cubicBezTo>
                    <a:pt x="1016" y="139"/>
                    <a:pt x="1016" y="140"/>
                    <a:pt x="1016" y="141"/>
                  </a:cubicBezTo>
                  <a:cubicBezTo>
                    <a:pt x="1017" y="143"/>
                    <a:pt x="1017" y="144"/>
                    <a:pt x="1016" y="147"/>
                  </a:cubicBezTo>
                  <a:cubicBezTo>
                    <a:pt x="1013" y="158"/>
                    <a:pt x="1006" y="153"/>
                    <a:pt x="998" y="156"/>
                  </a:cubicBezTo>
                  <a:cubicBezTo>
                    <a:pt x="997" y="158"/>
                    <a:pt x="1011" y="165"/>
                    <a:pt x="1013" y="169"/>
                  </a:cubicBezTo>
                  <a:cubicBezTo>
                    <a:pt x="1008" y="171"/>
                    <a:pt x="1000" y="171"/>
                    <a:pt x="1002" y="178"/>
                  </a:cubicBezTo>
                  <a:cubicBezTo>
                    <a:pt x="1003" y="182"/>
                    <a:pt x="1006" y="188"/>
                    <a:pt x="1008" y="190"/>
                  </a:cubicBezTo>
                  <a:cubicBezTo>
                    <a:pt x="1010" y="193"/>
                    <a:pt x="1011" y="193"/>
                    <a:pt x="1012" y="194"/>
                  </a:cubicBezTo>
                  <a:cubicBezTo>
                    <a:pt x="1012" y="194"/>
                    <a:pt x="1011" y="194"/>
                    <a:pt x="1010" y="194"/>
                  </a:cubicBezTo>
                  <a:cubicBezTo>
                    <a:pt x="1006" y="193"/>
                    <a:pt x="1001" y="192"/>
                    <a:pt x="996" y="192"/>
                  </a:cubicBezTo>
                  <a:cubicBezTo>
                    <a:pt x="993" y="191"/>
                    <a:pt x="991" y="191"/>
                    <a:pt x="989" y="188"/>
                  </a:cubicBezTo>
                  <a:cubicBezTo>
                    <a:pt x="987" y="185"/>
                    <a:pt x="986" y="180"/>
                    <a:pt x="987" y="176"/>
                  </a:cubicBezTo>
                  <a:cubicBezTo>
                    <a:pt x="987" y="175"/>
                    <a:pt x="988" y="173"/>
                    <a:pt x="988" y="172"/>
                  </a:cubicBezTo>
                  <a:cubicBezTo>
                    <a:pt x="983" y="170"/>
                    <a:pt x="978" y="178"/>
                    <a:pt x="974" y="174"/>
                  </a:cubicBezTo>
                  <a:cubicBezTo>
                    <a:pt x="968" y="166"/>
                    <a:pt x="984" y="161"/>
                    <a:pt x="982" y="156"/>
                  </a:cubicBezTo>
                  <a:cubicBezTo>
                    <a:pt x="977" y="154"/>
                    <a:pt x="971" y="155"/>
                    <a:pt x="966" y="155"/>
                  </a:cubicBezTo>
                  <a:cubicBezTo>
                    <a:pt x="964" y="154"/>
                    <a:pt x="959" y="152"/>
                    <a:pt x="957" y="154"/>
                  </a:cubicBezTo>
                  <a:cubicBezTo>
                    <a:pt x="955" y="156"/>
                    <a:pt x="958" y="160"/>
                    <a:pt x="956" y="162"/>
                  </a:cubicBezTo>
                  <a:cubicBezTo>
                    <a:pt x="955" y="164"/>
                    <a:pt x="951" y="163"/>
                    <a:pt x="949" y="162"/>
                  </a:cubicBezTo>
                  <a:cubicBezTo>
                    <a:pt x="945" y="161"/>
                    <a:pt x="941" y="158"/>
                    <a:pt x="941" y="154"/>
                  </a:cubicBezTo>
                  <a:cubicBezTo>
                    <a:pt x="942" y="151"/>
                    <a:pt x="945" y="149"/>
                    <a:pt x="943" y="146"/>
                  </a:cubicBezTo>
                  <a:cubicBezTo>
                    <a:pt x="942" y="145"/>
                    <a:pt x="934" y="145"/>
                    <a:pt x="933" y="145"/>
                  </a:cubicBezTo>
                  <a:cubicBezTo>
                    <a:pt x="930" y="146"/>
                    <a:pt x="930" y="147"/>
                    <a:pt x="929" y="150"/>
                  </a:cubicBezTo>
                  <a:cubicBezTo>
                    <a:pt x="929" y="153"/>
                    <a:pt x="929" y="158"/>
                    <a:pt x="929" y="162"/>
                  </a:cubicBezTo>
                  <a:cubicBezTo>
                    <a:pt x="929" y="176"/>
                    <a:pt x="925" y="188"/>
                    <a:pt x="918" y="200"/>
                  </a:cubicBezTo>
                  <a:cubicBezTo>
                    <a:pt x="918" y="201"/>
                    <a:pt x="917" y="201"/>
                    <a:pt x="917" y="202"/>
                  </a:cubicBezTo>
                  <a:cubicBezTo>
                    <a:pt x="915" y="201"/>
                    <a:pt x="913" y="199"/>
                    <a:pt x="912" y="198"/>
                  </a:cubicBezTo>
                  <a:cubicBezTo>
                    <a:pt x="908" y="193"/>
                    <a:pt x="908" y="188"/>
                    <a:pt x="900" y="187"/>
                  </a:cubicBezTo>
                  <a:cubicBezTo>
                    <a:pt x="892" y="187"/>
                    <a:pt x="895" y="199"/>
                    <a:pt x="891" y="204"/>
                  </a:cubicBezTo>
                  <a:cubicBezTo>
                    <a:pt x="889" y="208"/>
                    <a:pt x="885" y="207"/>
                    <a:pt x="881" y="209"/>
                  </a:cubicBezTo>
                  <a:cubicBezTo>
                    <a:pt x="878" y="211"/>
                    <a:pt x="877" y="211"/>
                    <a:pt x="872" y="212"/>
                  </a:cubicBezTo>
                  <a:cubicBezTo>
                    <a:pt x="867" y="213"/>
                    <a:pt x="867" y="216"/>
                    <a:pt x="866" y="220"/>
                  </a:cubicBezTo>
                  <a:cubicBezTo>
                    <a:pt x="865" y="225"/>
                    <a:pt x="860" y="222"/>
                    <a:pt x="857" y="225"/>
                  </a:cubicBezTo>
                  <a:cubicBezTo>
                    <a:pt x="856" y="226"/>
                    <a:pt x="855" y="235"/>
                    <a:pt x="854" y="237"/>
                  </a:cubicBezTo>
                  <a:cubicBezTo>
                    <a:pt x="854" y="240"/>
                    <a:pt x="854" y="244"/>
                    <a:pt x="855" y="247"/>
                  </a:cubicBezTo>
                  <a:cubicBezTo>
                    <a:pt x="856" y="252"/>
                    <a:pt x="860" y="255"/>
                    <a:pt x="858" y="260"/>
                  </a:cubicBezTo>
                  <a:cubicBezTo>
                    <a:pt x="853" y="262"/>
                    <a:pt x="853" y="255"/>
                    <a:pt x="851" y="253"/>
                  </a:cubicBezTo>
                  <a:cubicBezTo>
                    <a:pt x="847" y="256"/>
                    <a:pt x="846" y="261"/>
                    <a:pt x="844" y="265"/>
                  </a:cubicBezTo>
                  <a:cubicBezTo>
                    <a:pt x="843" y="268"/>
                    <a:pt x="841" y="270"/>
                    <a:pt x="839" y="273"/>
                  </a:cubicBezTo>
                  <a:cubicBezTo>
                    <a:pt x="839" y="268"/>
                    <a:pt x="839" y="263"/>
                    <a:pt x="839" y="257"/>
                  </a:cubicBezTo>
                  <a:cubicBezTo>
                    <a:pt x="840" y="252"/>
                    <a:pt x="844" y="251"/>
                    <a:pt x="844" y="246"/>
                  </a:cubicBezTo>
                  <a:cubicBezTo>
                    <a:pt x="845" y="241"/>
                    <a:pt x="840" y="240"/>
                    <a:pt x="839" y="236"/>
                  </a:cubicBezTo>
                  <a:cubicBezTo>
                    <a:pt x="837" y="232"/>
                    <a:pt x="837" y="227"/>
                    <a:pt x="838" y="223"/>
                  </a:cubicBezTo>
                  <a:cubicBezTo>
                    <a:pt x="839" y="219"/>
                    <a:pt x="842" y="214"/>
                    <a:pt x="842" y="210"/>
                  </a:cubicBezTo>
                  <a:cubicBezTo>
                    <a:pt x="842" y="205"/>
                    <a:pt x="837" y="205"/>
                    <a:pt x="833" y="205"/>
                  </a:cubicBezTo>
                  <a:cubicBezTo>
                    <a:pt x="830" y="205"/>
                    <a:pt x="827" y="204"/>
                    <a:pt x="825" y="206"/>
                  </a:cubicBezTo>
                  <a:cubicBezTo>
                    <a:pt x="823" y="208"/>
                    <a:pt x="825" y="211"/>
                    <a:pt x="824" y="214"/>
                  </a:cubicBezTo>
                  <a:cubicBezTo>
                    <a:pt x="822" y="223"/>
                    <a:pt x="815" y="231"/>
                    <a:pt x="815" y="241"/>
                  </a:cubicBezTo>
                  <a:cubicBezTo>
                    <a:pt x="815" y="245"/>
                    <a:pt x="815" y="249"/>
                    <a:pt x="814" y="253"/>
                  </a:cubicBezTo>
                  <a:cubicBezTo>
                    <a:pt x="813" y="256"/>
                    <a:pt x="811" y="260"/>
                    <a:pt x="811" y="263"/>
                  </a:cubicBezTo>
                  <a:cubicBezTo>
                    <a:pt x="806" y="259"/>
                    <a:pt x="804" y="249"/>
                    <a:pt x="807" y="243"/>
                  </a:cubicBezTo>
                  <a:cubicBezTo>
                    <a:pt x="808" y="240"/>
                    <a:pt x="809" y="240"/>
                    <a:pt x="809" y="237"/>
                  </a:cubicBezTo>
                  <a:cubicBezTo>
                    <a:pt x="809" y="235"/>
                    <a:pt x="811" y="231"/>
                    <a:pt x="810" y="229"/>
                  </a:cubicBezTo>
                  <a:cubicBezTo>
                    <a:pt x="809" y="223"/>
                    <a:pt x="798" y="231"/>
                    <a:pt x="794" y="233"/>
                  </a:cubicBezTo>
                  <a:cubicBezTo>
                    <a:pt x="791" y="234"/>
                    <a:pt x="790" y="235"/>
                    <a:pt x="787" y="235"/>
                  </a:cubicBezTo>
                  <a:cubicBezTo>
                    <a:pt x="783" y="235"/>
                    <a:pt x="781" y="234"/>
                    <a:pt x="779" y="236"/>
                  </a:cubicBezTo>
                  <a:cubicBezTo>
                    <a:pt x="779" y="237"/>
                    <a:pt x="779" y="239"/>
                    <a:pt x="779" y="240"/>
                  </a:cubicBezTo>
                  <a:cubicBezTo>
                    <a:pt x="778" y="241"/>
                    <a:pt x="776" y="241"/>
                    <a:pt x="774" y="242"/>
                  </a:cubicBezTo>
                  <a:cubicBezTo>
                    <a:pt x="772" y="243"/>
                    <a:pt x="771" y="243"/>
                    <a:pt x="770" y="245"/>
                  </a:cubicBezTo>
                  <a:cubicBezTo>
                    <a:pt x="767" y="250"/>
                    <a:pt x="767" y="257"/>
                    <a:pt x="770" y="262"/>
                  </a:cubicBezTo>
                  <a:cubicBezTo>
                    <a:pt x="773" y="267"/>
                    <a:pt x="773" y="269"/>
                    <a:pt x="773" y="274"/>
                  </a:cubicBezTo>
                  <a:cubicBezTo>
                    <a:pt x="774" y="281"/>
                    <a:pt x="774" y="286"/>
                    <a:pt x="781" y="287"/>
                  </a:cubicBezTo>
                  <a:cubicBezTo>
                    <a:pt x="783" y="287"/>
                    <a:pt x="787" y="286"/>
                    <a:pt x="788" y="287"/>
                  </a:cubicBezTo>
                  <a:cubicBezTo>
                    <a:pt x="791" y="288"/>
                    <a:pt x="793" y="294"/>
                    <a:pt x="795" y="297"/>
                  </a:cubicBezTo>
                  <a:cubicBezTo>
                    <a:pt x="798" y="301"/>
                    <a:pt x="800" y="304"/>
                    <a:pt x="795" y="306"/>
                  </a:cubicBezTo>
                  <a:cubicBezTo>
                    <a:pt x="793" y="307"/>
                    <a:pt x="790" y="309"/>
                    <a:pt x="789" y="307"/>
                  </a:cubicBezTo>
                  <a:cubicBezTo>
                    <a:pt x="787" y="306"/>
                    <a:pt x="786" y="298"/>
                    <a:pt x="784" y="296"/>
                  </a:cubicBezTo>
                  <a:cubicBezTo>
                    <a:pt x="783" y="292"/>
                    <a:pt x="783" y="291"/>
                    <a:pt x="779" y="290"/>
                  </a:cubicBezTo>
                  <a:cubicBezTo>
                    <a:pt x="777" y="290"/>
                    <a:pt x="776" y="291"/>
                    <a:pt x="774" y="290"/>
                  </a:cubicBezTo>
                  <a:cubicBezTo>
                    <a:pt x="773" y="289"/>
                    <a:pt x="771" y="286"/>
                    <a:pt x="770" y="285"/>
                  </a:cubicBezTo>
                  <a:cubicBezTo>
                    <a:pt x="767" y="283"/>
                    <a:pt x="765" y="280"/>
                    <a:pt x="763" y="276"/>
                  </a:cubicBezTo>
                  <a:cubicBezTo>
                    <a:pt x="763" y="274"/>
                    <a:pt x="764" y="272"/>
                    <a:pt x="763" y="270"/>
                  </a:cubicBezTo>
                  <a:cubicBezTo>
                    <a:pt x="762" y="265"/>
                    <a:pt x="752" y="262"/>
                    <a:pt x="749" y="267"/>
                  </a:cubicBezTo>
                  <a:cubicBezTo>
                    <a:pt x="745" y="273"/>
                    <a:pt x="752" y="279"/>
                    <a:pt x="754" y="283"/>
                  </a:cubicBezTo>
                  <a:cubicBezTo>
                    <a:pt x="755" y="287"/>
                    <a:pt x="756" y="291"/>
                    <a:pt x="755" y="295"/>
                  </a:cubicBezTo>
                  <a:cubicBezTo>
                    <a:pt x="745" y="298"/>
                    <a:pt x="745" y="286"/>
                    <a:pt x="740" y="281"/>
                  </a:cubicBezTo>
                  <a:cubicBezTo>
                    <a:pt x="733" y="273"/>
                    <a:pt x="732" y="283"/>
                    <a:pt x="732" y="289"/>
                  </a:cubicBezTo>
                  <a:cubicBezTo>
                    <a:pt x="730" y="289"/>
                    <a:pt x="727" y="288"/>
                    <a:pt x="725" y="289"/>
                  </a:cubicBezTo>
                  <a:cubicBezTo>
                    <a:pt x="724" y="290"/>
                    <a:pt x="723" y="293"/>
                    <a:pt x="723" y="294"/>
                  </a:cubicBezTo>
                  <a:cubicBezTo>
                    <a:pt x="721" y="294"/>
                    <a:pt x="720" y="285"/>
                    <a:pt x="719" y="282"/>
                  </a:cubicBezTo>
                  <a:cubicBezTo>
                    <a:pt x="718" y="280"/>
                    <a:pt x="715" y="272"/>
                    <a:pt x="713" y="277"/>
                  </a:cubicBezTo>
                  <a:cubicBezTo>
                    <a:pt x="713" y="271"/>
                    <a:pt x="709" y="266"/>
                    <a:pt x="703" y="264"/>
                  </a:cubicBezTo>
                  <a:cubicBezTo>
                    <a:pt x="697" y="261"/>
                    <a:pt x="699" y="266"/>
                    <a:pt x="697" y="269"/>
                  </a:cubicBezTo>
                  <a:cubicBezTo>
                    <a:pt x="695" y="269"/>
                    <a:pt x="692" y="267"/>
                    <a:pt x="690" y="267"/>
                  </a:cubicBezTo>
                  <a:cubicBezTo>
                    <a:pt x="687" y="268"/>
                    <a:pt x="688" y="271"/>
                    <a:pt x="687" y="272"/>
                  </a:cubicBezTo>
                  <a:cubicBezTo>
                    <a:pt x="684" y="276"/>
                    <a:pt x="680" y="274"/>
                    <a:pt x="679" y="280"/>
                  </a:cubicBezTo>
                  <a:cubicBezTo>
                    <a:pt x="681" y="280"/>
                    <a:pt x="684" y="279"/>
                    <a:pt x="687" y="280"/>
                  </a:cubicBezTo>
                  <a:cubicBezTo>
                    <a:pt x="686" y="281"/>
                    <a:pt x="687" y="282"/>
                    <a:pt x="687" y="283"/>
                  </a:cubicBezTo>
                  <a:cubicBezTo>
                    <a:pt x="689" y="283"/>
                    <a:pt x="690" y="283"/>
                    <a:pt x="690" y="284"/>
                  </a:cubicBezTo>
                  <a:cubicBezTo>
                    <a:pt x="686" y="287"/>
                    <a:pt x="674" y="284"/>
                    <a:pt x="671" y="289"/>
                  </a:cubicBezTo>
                  <a:cubicBezTo>
                    <a:pt x="670" y="290"/>
                    <a:pt x="671" y="294"/>
                    <a:pt x="671" y="296"/>
                  </a:cubicBezTo>
                  <a:cubicBezTo>
                    <a:pt x="671" y="299"/>
                    <a:pt x="673" y="302"/>
                    <a:pt x="672" y="304"/>
                  </a:cubicBezTo>
                  <a:cubicBezTo>
                    <a:pt x="672" y="306"/>
                    <a:pt x="672" y="305"/>
                    <a:pt x="671" y="306"/>
                  </a:cubicBezTo>
                  <a:cubicBezTo>
                    <a:pt x="670" y="306"/>
                    <a:pt x="669" y="307"/>
                    <a:pt x="668" y="307"/>
                  </a:cubicBezTo>
                  <a:cubicBezTo>
                    <a:pt x="667" y="308"/>
                    <a:pt x="667" y="308"/>
                    <a:pt x="667" y="309"/>
                  </a:cubicBezTo>
                  <a:cubicBezTo>
                    <a:pt x="664" y="312"/>
                    <a:pt x="665" y="311"/>
                    <a:pt x="664" y="315"/>
                  </a:cubicBezTo>
                  <a:cubicBezTo>
                    <a:pt x="664" y="319"/>
                    <a:pt x="662" y="325"/>
                    <a:pt x="660" y="327"/>
                  </a:cubicBezTo>
                  <a:cubicBezTo>
                    <a:pt x="658" y="329"/>
                    <a:pt x="653" y="333"/>
                    <a:pt x="658" y="336"/>
                  </a:cubicBezTo>
                  <a:cubicBezTo>
                    <a:pt x="659" y="337"/>
                    <a:pt x="661" y="336"/>
                    <a:pt x="663" y="337"/>
                  </a:cubicBezTo>
                  <a:cubicBezTo>
                    <a:pt x="665" y="338"/>
                    <a:pt x="666" y="341"/>
                    <a:pt x="668" y="343"/>
                  </a:cubicBezTo>
                  <a:cubicBezTo>
                    <a:pt x="672" y="342"/>
                    <a:pt x="674" y="337"/>
                    <a:pt x="676" y="334"/>
                  </a:cubicBezTo>
                  <a:cubicBezTo>
                    <a:pt x="678" y="331"/>
                    <a:pt x="681" y="329"/>
                    <a:pt x="684" y="327"/>
                  </a:cubicBezTo>
                  <a:cubicBezTo>
                    <a:pt x="686" y="327"/>
                    <a:pt x="687" y="325"/>
                    <a:pt x="689" y="326"/>
                  </a:cubicBezTo>
                  <a:cubicBezTo>
                    <a:pt x="690" y="326"/>
                    <a:pt x="690" y="328"/>
                    <a:pt x="691" y="328"/>
                  </a:cubicBezTo>
                  <a:cubicBezTo>
                    <a:pt x="693" y="328"/>
                    <a:pt x="694" y="329"/>
                    <a:pt x="694" y="326"/>
                  </a:cubicBezTo>
                  <a:cubicBezTo>
                    <a:pt x="697" y="325"/>
                    <a:pt x="699" y="326"/>
                    <a:pt x="701" y="325"/>
                  </a:cubicBezTo>
                  <a:cubicBezTo>
                    <a:pt x="702" y="325"/>
                    <a:pt x="703" y="324"/>
                    <a:pt x="704" y="324"/>
                  </a:cubicBezTo>
                  <a:cubicBezTo>
                    <a:pt x="705" y="323"/>
                    <a:pt x="707" y="324"/>
                    <a:pt x="708" y="323"/>
                  </a:cubicBezTo>
                  <a:cubicBezTo>
                    <a:pt x="712" y="322"/>
                    <a:pt x="723" y="306"/>
                    <a:pt x="726" y="318"/>
                  </a:cubicBezTo>
                  <a:cubicBezTo>
                    <a:pt x="728" y="325"/>
                    <a:pt x="714" y="323"/>
                    <a:pt x="709" y="325"/>
                  </a:cubicBezTo>
                  <a:cubicBezTo>
                    <a:pt x="706" y="326"/>
                    <a:pt x="703" y="328"/>
                    <a:pt x="702" y="331"/>
                  </a:cubicBezTo>
                  <a:cubicBezTo>
                    <a:pt x="701" y="334"/>
                    <a:pt x="702" y="336"/>
                    <a:pt x="701" y="339"/>
                  </a:cubicBezTo>
                  <a:cubicBezTo>
                    <a:pt x="698" y="343"/>
                    <a:pt x="692" y="342"/>
                    <a:pt x="692" y="348"/>
                  </a:cubicBezTo>
                  <a:cubicBezTo>
                    <a:pt x="692" y="351"/>
                    <a:pt x="694" y="352"/>
                    <a:pt x="692" y="355"/>
                  </a:cubicBezTo>
                  <a:cubicBezTo>
                    <a:pt x="691" y="355"/>
                    <a:pt x="688" y="355"/>
                    <a:pt x="687" y="356"/>
                  </a:cubicBezTo>
                  <a:cubicBezTo>
                    <a:pt x="685" y="357"/>
                    <a:pt x="687" y="359"/>
                    <a:pt x="684" y="360"/>
                  </a:cubicBezTo>
                  <a:cubicBezTo>
                    <a:pt x="682" y="361"/>
                    <a:pt x="677" y="359"/>
                    <a:pt x="675" y="361"/>
                  </a:cubicBezTo>
                  <a:cubicBezTo>
                    <a:pt x="674" y="361"/>
                    <a:pt x="671" y="365"/>
                    <a:pt x="671" y="366"/>
                  </a:cubicBezTo>
                  <a:cubicBezTo>
                    <a:pt x="669" y="368"/>
                    <a:pt x="669" y="370"/>
                    <a:pt x="667" y="372"/>
                  </a:cubicBezTo>
                  <a:cubicBezTo>
                    <a:pt x="665" y="376"/>
                    <a:pt x="663" y="376"/>
                    <a:pt x="660" y="378"/>
                  </a:cubicBezTo>
                  <a:cubicBezTo>
                    <a:pt x="666" y="383"/>
                    <a:pt x="668" y="375"/>
                    <a:pt x="671" y="372"/>
                  </a:cubicBezTo>
                  <a:cubicBezTo>
                    <a:pt x="673" y="370"/>
                    <a:pt x="677" y="371"/>
                    <a:pt x="680" y="370"/>
                  </a:cubicBezTo>
                  <a:cubicBezTo>
                    <a:pt x="680" y="369"/>
                    <a:pt x="681" y="368"/>
                    <a:pt x="682" y="368"/>
                  </a:cubicBezTo>
                  <a:cubicBezTo>
                    <a:pt x="683" y="368"/>
                    <a:pt x="685" y="368"/>
                    <a:pt x="687" y="368"/>
                  </a:cubicBezTo>
                  <a:cubicBezTo>
                    <a:pt x="690" y="367"/>
                    <a:pt x="691" y="365"/>
                    <a:pt x="694" y="364"/>
                  </a:cubicBezTo>
                  <a:cubicBezTo>
                    <a:pt x="696" y="363"/>
                    <a:pt x="700" y="362"/>
                    <a:pt x="702" y="366"/>
                  </a:cubicBezTo>
                  <a:cubicBezTo>
                    <a:pt x="703" y="372"/>
                    <a:pt x="690" y="375"/>
                    <a:pt x="686" y="377"/>
                  </a:cubicBezTo>
                  <a:cubicBezTo>
                    <a:pt x="680" y="380"/>
                    <a:pt x="683" y="382"/>
                    <a:pt x="682" y="387"/>
                  </a:cubicBezTo>
                  <a:cubicBezTo>
                    <a:pt x="681" y="388"/>
                    <a:pt x="678" y="392"/>
                    <a:pt x="676" y="393"/>
                  </a:cubicBezTo>
                  <a:cubicBezTo>
                    <a:pt x="672" y="396"/>
                    <a:pt x="665" y="396"/>
                    <a:pt x="660" y="396"/>
                  </a:cubicBezTo>
                  <a:cubicBezTo>
                    <a:pt x="659" y="396"/>
                    <a:pt x="654" y="395"/>
                    <a:pt x="652" y="397"/>
                  </a:cubicBezTo>
                  <a:cubicBezTo>
                    <a:pt x="651" y="398"/>
                    <a:pt x="652" y="400"/>
                    <a:pt x="651" y="402"/>
                  </a:cubicBezTo>
                  <a:cubicBezTo>
                    <a:pt x="650" y="406"/>
                    <a:pt x="645" y="410"/>
                    <a:pt x="641" y="408"/>
                  </a:cubicBezTo>
                  <a:cubicBezTo>
                    <a:pt x="634" y="404"/>
                    <a:pt x="639" y="389"/>
                    <a:pt x="639" y="383"/>
                  </a:cubicBezTo>
                  <a:cubicBezTo>
                    <a:pt x="639" y="379"/>
                    <a:pt x="639" y="376"/>
                    <a:pt x="636" y="373"/>
                  </a:cubicBezTo>
                  <a:cubicBezTo>
                    <a:pt x="634" y="371"/>
                    <a:pt x="629" y="366"/>
                    <a:pt x="625" y="368"/>
                  </a:cubicBezTo>
                  <a:cubicBezTo>
                    <a:pt x="624" y="369"/>
                    <a:pt x="623" y="373"/>
                    <a:pt x="622" y="374"/>
                  </a:cubicBezTo>
                  <a:cubicBezTo>
                    <a:pt x="621" y="377"/>
                    <a:pt x="618" y="380"/>
                    <a:pt x="617" y="383"/>
                  </a:cubicBezTo>
                  <a:cubicBezTo>
                    <a:pt x="616" y="385"/>
                    <a:pt x="617" y="390"/>
                    <a:pt x="613" y="390"/>
                  </a:cubicBezTo>
                  <a:cubicBezTo>
                    <a:pt x="612" y="388"/>
                    <a:pt x="611" y="384"/>
                    <a:pt x="611" y="382"/>
                  </a:cubicBezTo>
                  <a:cubicBezTo>
                    <a:pt x="611" y="380"/>
                    <a:pt x="612" y="377"/>
                    <a:pt x="611" y="376"/>
                  </a:cubicBezTo>
                  <a:cubicBezTo>
                    <a:pt x="610" y="374"/>
                    <a:pt x="608" y="375"/>
                    <a:pt x="608" y="374"/>
                  </a:cubicBezTo>
                  <a:cubicBezTo>
                    <a:pt x="606" y="373"/>
                    <a:pt x="606" y="372"/>
                    <a:pt x="606" y="369"/>
                  </a:cubicBezTo>
                  <a:cubicBezTo>
                    <a:pt x="606" y="365"/>
                    <a:pt x="607" y="359"/>
                    <a:pt x="603" y="356"/>
                  </a:cubicBezTo>
                  <a:cubicBezTo>
                    <a:pt x="600" y="354"/>
                    <a:pt x="597" y="356"/>
                    <a:pt x="594" y="355"/>
                  </a:cubicBezTo>
                  <a:cubicBezTo>
                    <a:pt x="594" y="352"/>
                    <a:pt x="597" y="348"/>
                    <a:pt x="598" y="346"/>
                  </a:cubicBezTo>
                  <a:cubicBezTo>
                    <a:pt x="599" y="345"/>
                    <a:pt x="601" y="343"/>
                    <a:pt x="601" y="342"/>
                  </a:cubicBezTo>
                  <a:cubicBezTo>
                    <a:pt x="602" y="341"/>
                    <a:pt x="601" y="340"/>
                    <a:pt x="602" y="339"/>
                  </a:cubicBezTo>
                  <a:cubicBezTo>
                    <a:pt x="603" y="337"/>
                    <a:pt x="607" y="336"/>
                    <a:pt x="608" y="335"/>
                  </a:cubicBezTo>
                  <a:cubicBezTo>
                    <a:pt x="610" y="333"/>
                    <a:pt x="611" y="331"/>
                    <a:pt x="612" y="328"/>
                  </a:cubicBezTo>
                  <a:cubicBezTo>
                    <a:pt x="614" y="326"/>
                    <a:pt x="615" y="325"/>
                    <a:pt x="616" y="322"/>
                  </a:cubicBezTo>
                  <a:cubicBezTo>
                    <a:pt x="619" y="318"/>
                    <a:pt x="618" y="316"/>
                    <a:pt x="618" y="311"/>
                  </a:cubicBezTo>
                  <a:cubicBezTo>
                    <a:pt x="619" y="308"/>
                    <a:pt x="622" y="303"/>
                    <a:pt x="620" y="300"/>
                  </a:cubicBezTo>
                  <a:cubicBezTo>
                    <a:pt x="618" y="298"/>
                    <a:pt x="612" y="299"/>
                    <a:pt x="610" y="300"/>
                  </a:cubicBezTo>
                  <a:cubicBezTo>
                    <a:pt x="608" y="301"/>
                    <a:pt x="607" y="304"/>
                    <a:pt x="605" y="305"/>
                  </a:cubicBezTo>
                  <a:cubicBezTo>
                    <a:pt x="604" y="307"/>
                    <a:pt x="604" y="306"/>
                    <a:pt x="603" y="309"/>
                  </a:cubicBezTo>
                  <a:cubicBezTo>
                    <a:pt x="603" y="310"/>
                    <a:pt x="604" y="312"/>
                    <a:pt x="604" y="313"/>
                  </a:cubicBezTo>
                  <a:cubicBezTo>
                    <a:pt x="603" y="316"/>
                    <a:pt x="599" y="317"/>
                    <a:pt x="597" y="318"/>
                  </a:cubicBezTo>
                  <a:cubicBezTo>
                    <a:pt x="595" y="321"/>
                    <a:pt x="592" y="323"/>
                    <a:pt x="590" y="326"/>
                  </a:cubicBezTo>
                  <a:cubicBezTo>
                    <a:pt x="584" y="334"/>
                    <a:pt x="581" y="343"/>
                    <a:pt x="581" y="353"/>
                  </a:cubicBezTo>
                  <a:cubicBezTo>
                    <a:pt x="582" y="355"/>
                    <a:pt x="581" y="358"/>
                    <a:pt x="581" y="361"/>
                  </a:cubicBezTo>
                  <a:cubicBezTo>
                    <a:pt x="582" y="364"/>
                    <a:pt x="580" y="369"/>
                    <a:pt x="581" y="372"/>
                  </a:cubicBezTo>
                  <a:cubicBezTo>
                    <a:pt x="590" y="372"/>
                    <a:pt x="579" y="377"/>
                    <a:pt x="578" y="381"/>
                  </a:cubicBezTo>
                  <a:cubicBezTo>
                    <a:pt x="576" y="384"/>
                    <a:pt x="582" y="394"/>
                    <a:pt x="575" y="395"/>
                  </a:cubicBezTo>
                  <a:cubicBezTo>
                    <a:pt x="572" y="392"/>
                    <a:pt x="574" y="389"/>
                    <a:pt x="573" y="387"/>
                  </a:cubicBezTo>
                  <a:cubicBezTo>
                    <a:pt x="573" y="387"/>
                    <a:pt x="571" y="384"/>
                    <a:pt x="572" y="385"/>
                  </a:cubicBezTo>
                  <a:cubicBezTo>
                    <a:pt x="571" y="383"/>
                    <a:pt x="571" y="381"/>
                    <a:pt x="571" y="378"/>
                  </a:cubicBezTo>
                  <a:cubicBezTo>
                    <a:pt x="571" y="376"/>
                    <a:pt x="571" y="373"/>
                    <a:pt x="571" y="371"/>
                  </a:cubicBezTo>
                  <a:cubicBezTo>
                    <a:pt x="571" y="368"/>
                    <a:pt x="570" y="366"/>
                    <a:pt x="570" y="363"/>
                  </a:cubicBezTo>
                  <a:cubicBezTo>
                    <a:pt x="569" y="363"/>
                    <a:pt x="568" y="363"/>
                    <a:pt x="567" y="364"/>
                  </a:cubicBezTo>
                  <a:cubicBezTo>
                    <a:pt x="566" y="361"/>
                    <a:pt x="566" y="358"/>
                    <a:pt x="564" y="355"/>
                  </a:cubicBezTo>
                  <a:cubicBezTo>
                    <a:pt x="563" y="354"/>
                    <a:pt x="562" y="349"/>
                    <a:pt x="561" y="348"/>
                  </a:cubicBezTo>
                  <a:cubicBezTo>
                    <a:pt x="555" y="343"/>
                    <a:pt x="554" y="359"/>
                    <a:pt x="554" y="362"/>
                  </a:cubicBezTo>
                  <a:cubicBezTo>
                    <a:pt x="554" y="365"/>
                    <a:pt x="554" y="366"/>
                    <a:pt x="555" y="368"/>
                  </a:cubicBezTo>
                  <a:cubicBezTo>
                    <a:pt x="555" y="370"/>
                    <a:pt x="556" y="370"/>
                    <a:pt x="556" y="372"/>
                  </a:cubicBezTo>
                  <a:cubicBezTo>
                    <a:pt x="553" y="372"/>
                    <a:pt x="551" y="372"/>
                    <a:pt x="549" y="372"/>
                  </a:cubicBezTo>
                  <a:cubicBezTo>
                    <a:pt x="548" y="374"/>
                    <a:pt x="549" y="377"/>
                    <a:pt x="548" y="379"/>
                  </a:cubicBezTo>
                  <a:cubicBezTo>
                    <a:pt x="546" y="377"/>
                    <a:pt x="544" y="372"/>
                    <a:pt x="541" y="372"/>
                  </a:cubicBezTo>
                  <a:cubicBezTo>
                    <a:pt x="537" y="372"/>
                    <a:pt x="535" y="377"/>
                    <a:pt x="534" y="379"/>
                  </a:cubicBezTo>
                  <a:cubicBezTo>
                    <a:pt x="532" y="382"/>
                    <a:pt x="531" y="384"/>
                    <a:pt x="529" y="387"/>
                  </a:cubicBezTo>
                  <a:cubicBezTo>
                    <a:pt x="528" y="389"/>
                    <a:pt x="527" y="390"/>
                    <a:pt x="525" y="393"/>
                  </a:cubicBezTo>
                  <a:cubicBezTo>
                    <a:pt x="525" y="395"/>
                    <a:pt x="522" y="398"/>
                    <a:pt x="522" y="400"/>
                  </a:cubicBezTo>
                  <a:cubicBezTo>
                    <a:pt x="521" y="403"/>
                    <a:pt x="522" y="407"/>
                    <a:pt x="525" y="408"/>
                  </a:cubicBezTo>
                  <a:cubicBezTo>
                    <a:pt x="529" y="409"/>
                    <a:pt x="532" y="403"/>
                    <a:pt x="534" y="400"/>
                  </a:cubicBezTo>
                  <a:cubicBezTo>
                    <a:pt x="537" y="396"/>
                    <a:pt x="537" y="397"/>
                    <a:pt x="542" y="397"/>
                  </a:cubicBezTo>
                  <a:cubicBezTo>
                    <a:pt x="545" y="397"/>
                    <a:pt x="547" y="395"/>
                    <a:pt x="549" y="396"/>
                  </a:cubicBezTo>
                  <a:cubicBezTo>
                    <a:pt x="550" y="398"/>
                    <a:pt x="548" y="399"/>
                    <a:pt x="548" y="401"/>
                  </a:cubicBezTo>
                  <a:cubicBezTo>
                    <a:pt x="547" y="404"/>
                    <a:pt x="548" y="406"/>
                    <a:pt x="546" y="408"/>
                  </a:cubicBezTo>
                  <a:cubicBezTo>
                    <a:pt x="544" y="409"/>
                    <a:pt x="542" y="408"/>
                    <a:pt x="539" y="409"/>
                  </a:cubicBezTo>
                  <a:cubicBezTo>
                    <a:pt x="536" y="410"/>
                    <a:pt x="535" y="414"/>
                    <a:pt x="536" y="417"/>
                  </a:cubicBezTo>
                  <a:cubicBezTo>
                    <a:pt x="538" y="426"/>
                    <a:pt x="549" y="428"/>
                    <a:pt x="556" y="425"/>
                  </a:cubicBezTo>
                  <a:cubicBezTo>
                    <a:pt x="559" y="424"/>
                    <a:pt x="560" y="423"/>
                    <a:pt x="559" y="420"/>
                  </a:cubicBezTo>
                  <a:cubicBezTo>
                    <a:pt x="558" y="417"/>
                    <a:pt x="555" y="416"/>
                    <a:pt x="559" y="413"/>
                  </a:cubicBezTo>
                  <a:cubicBezTo>
                    <a:pt x="560" y="412"/>
                    <a:pt x="562" y="412"/>
                    <a:pt x="564" y="410"/>
                  </a:cubicBezTo>
                  <a:cubicBezTo>
                    <a:pt x="566" y="409"/>
                    <a:pt x="567" y="407"/>
                    <a:pt x="569" y="405"/>
                  </a:cubicBezTo>
                  <a:cubicBezTo>
                    <a:pt x="570" y="404"/>
                    <a:pt x="572" y="403"/>
                    <a:pt x="574" y="402"/>
                  </a:cubicBezTo>
                  <a:cubicBezTo>
                    <a:pt x="575" y="401"/>
                    <a:pt x="580" y="400"/>
                    <a:pt x="581" y="400"/>
                  </a:cubicBezTo>
                  <a:cubicBezTo>
                    <a:pt x="585" y="403"/>
                    <a:pt x="576" y="408"/>
                    <a:pt x="575" y="410"/>
                  </a:cubicBezTo>
                  <a:cubicBezTo>
                    <a:pt x="571" y="414"/>
                    <a:pt x="571" y="418"/>
                    <a:pt x="566" y="421"/>
                  </a:cubicBezTo>
                  <a:cubicBezTo>
                    <a:pt x="569" y="426"/>
                    <a:pt x="570" y="427"/>
                    <a:pt x="565" y="430"/>
                  </a:cubicBezTo>
                  <a:cubicBezTo>
                    <a:pt x="559" y="432"/>
                    <a:pt x="554" y="430"/>
                    <a:pt x="549" y="432"/>
                  </a:cubicBezTo>
                  <a:cubicBezTo>
                    <a:pt x="544" y="433"/>
                    <a:pt x="542" y="434"/>
                    <a:pt x="537" y="434"/>
                  </a:cubicBezTo>
                  <a:cubicBezTo>
                    <a:pt x="534" y="434"/>
                    <a:pt x="530" y="433"/>
                    <a:pt x="528" y="435"/>
                  </a:cubicBezTo>
                  <a:cubicBezTo>
                    <a:pt x="525" y="438"/>
                    <a:pt x="527" y="443"/>
                    <a:pt x="520" y="444"/>
                  </a:cubicBezTo>
                  <a:cubicBezTo>
                    <a:pt x="514" y="444"/>
                    <a:pt x="508" y="440"/>
                    <a:pt x="503" y="443"/>
                  </a:cubicBezTo>
                  <a:cubicBezTo>
                    <a:pt x="502" y="444"/>
                    <a:pt x="502" y="445"/>
                    <a:pt x="500" y="446"/>
                  </a:cubicBezTo>
                  <a:cubicBezTo>
                    <a:pt x="499" y="446"/>
                    <a:pt x="498" y="446"/>
                    <a:pt x="498" y="446"/>
                  </a:cubicBezTo>
                  <a:cubicBezTo>
                    <a:pt x="496" y="446"/>
                    <a:pt x="495" y="447"/>
                    <a:pt x="495" y="448"/>
                  </a:cubicBezTo>
                  <a:cubicBezTo>
                    <a:pt x="493" y="449"/>
                    <a:pt x="489" y="449"/>
                    <a:pt x="487" y="450"/>
                  </a:cubicBezTo>
                  <a:cubicBezTo>
                    <a:pt x="484" y="452"/>
                    <a:pt x="480" y="457"/>
                    <a:pt x="478" y="460"/>
                  </a:cubicBezTo>
                  <a:cubicBezTo>
                    <a:pt x="474" y="463"/>
                    <a:pt x="476" y="467"/>
                    <a:pt x="476" y="472"/>
                  </a:cubicBezTo>
                  <a:cubicBezTo>
                    <a:pt x="473" y="472"/>
                    <a:pt x="469" y="470"/>
                    <a:pt x="467" y="471"/>
                  </a:cubicBezTo>
                  <a:cubicBezTo>
                    <a:pt x="466" y="472"/>
                    <a:pt x="462" y="476"/>
                    <a:pt x="462" y="478"/>
                  </a:cubicBezTo>
                  <a:cubicBezTo>
                    <a:pt x="460" y="481"/>
                    <a:pt x="461" y="482"/>
                    <a:pt x="457" y="484"/>
                  </a:cubicBezTo>
                  <a:cubicBezTo>
                    <a:pt x="454" y="486"/>
                    <a:pt x="451" y="486"/>
                    <a:pt x="447" y="487"/>
                  </a:cubicBezTo>
                  <a:cubicBezTo>
                    <a:pt x="447" y="489"/>
                    <a:pt x="448" y="491"/>
                    <a:pt x="447" y="493"/>
                  </a:cubicBezTo>
                  <a:cubicBezTo>
                    <a:pt x="447" y="495"/>
                    <a:pt x="447" y="497"/>
                    <a:pt x="446" y="499"/>
                  </a:cubicBezTo>
                  <a:cubicBezTo>
                    <a:pt x="445" y="501"/>
                    <a:pt x="444" y="501"/>
                    <a:pt x="443" y="502"/>
                  </a:cubicBezTo>
                  <a:cubicBezTo>
                    <a:pt x="440" y="505"/>
                    <a:pt x="441" y="511"/>
                    <a:pt x="441" y="515"/>
                  </a:cubicBezTo>
                  <a:cubicBezTo>
                    <a:pt x="444" y="516"/>
                    <a:pt x="453" y="512"/>
                    <a:pt x="455" y="509"/>
                  </a:cubicBezTo>
                  <a:cubicBezTo>
                    <a:pt x="456" y="507"/>
                    <a:pt x="457" y="504"/>
                    <a:pt x="458" y="501"/>
                  </a:cubicBezTo>
                  <a:cubicBezTo>
                    <a:pt x="459" y="500"/>
                    <a:pt x="461" y="498"/>
                    <a:pt x="462" y="497"/>
                  </a:cubicBezTo>
                  <a:cubicBezTo>
                    <a:pt x="464" y="498"/>
                    <a:pt x="464" y="499"/>
                    <a:pt x="467" y="498"/>
                  </a:cubicBezTo>
                  <a:cubicBezTo>
                    <a:pt x="470" y="497"/>
                    <a:pt x="469" y="495"/>
                    <a:pt x="470" y="494"/>
                  </a:cubicBezTo>
                  <a:cubicBezTo>
                    <a:pt x="471" y="492"/>
                    <a:pt x="476" y="491"/>
                    <a:pt x="475" y="488"/>
                  </a:cubicBezTo>
                  <a:cubicBezTo>
                    <a:pt x="478" y="487"/>
                    <a:pt x="488" y="490"/>
                    <a:pt x="489" y="484"/>
                  </a:cubicBezTo>
                  <a:cubicBezTo>
                    <a:pt x="492" y="484"/>
                    <a:pt x="493" y="485"/>
                    <a:pt x="495" y="483"/>
                  </a:cubicBezTo>
                  <a:cubicBezTo>
                    <a:pt x="498" y="481"/>
                    <a:pt x="498" y="474"/>
                    <a:pt x="501" y="472"/>
                  </a:cubicBezTo>
                  <a:cubicBezTo>
                    <a:pt x="504" y="470"/>
                    <a:pt x="509" y="471"/>
                    <a:pt x="510" y="467"/>
                  </a:cubicBezTo>
                  <a:cubicBezTo>
                    <a:pt x="510" y="467"/>
                    <a:pt x="510" y="465"/>
                    <a:pt x="510" y="464"/>
                  </a:cubicBezTo>
                  <a:cubicBezTo>
                    <a:pt x="511" y="466"/>
                    <a:pt x="511" y="467"/>
                    <a:pt x="510" y="467"/>
                  </a:cubicBezTo>
                  <a:cubicBezTo>
                    <a:pt x="512" y="471"/>
                    <a:pt x="521" y="470"/>
                    <a:pt x="524" y="469"/>
                  </a:cubicBezTo>
                  <a:cubicBezTo>
                    <a:pt x="530" y="468"/>
                    <a:pt x="531" y="465"/>
                    <a:pt x="535" y="461"/>
                  </a:cubicBezTo>
                  <a:cubicBezTo>
                    <a:pt x="536" y="459"/>
                    <a:pt x="538" y="455"/>
                    <a:pt x="541" y="454"/>
                  </a:cubicBezTo>
                  <a:cubicBezTo>
                    <a:pt x="542" y="456"/>
                    <a:pt x="543" y="458"/>
                    <a:pt x="543" y="460"/>
                  </a:cubicBezTo>
                  <a:cubicBezTo>
                    <a:pt x="545" y="460"/>
                    <a:pt x="546" y="460"/>
                    <a:pt x="548" y="460"/>
                  </a:cubicBezTo>
                  <a:cubicBezTo>
                    <a:pt x="553" y="459"/>
                    <a:pt x="553" y="453"/>
                    <a:pt x="557" y="451"/>
                  </a:cubicBezTo>
                  <a:cubicBezTo>
                    <a:pt x="558" y="450"/>
                    <a:pt x="559" y="449"/>
                    <a:pt x="560" y="449"/>
                  </a:cubicBezTo>
                  <a:cubicBezTo>
                    <a:pt x="561" y="450"/>
                    <a:pt x="561" y="450"/>
                    <a:pt x="562" y="450"/>
                  </a:cubicBezTo>
                  <a:cubicBezTo>
                    <a:pt x="564" y="449"/>
                    <a:pt x="564" y="446"/>
                    <a:pt x="565" y="445"/>
                  </a:cubicBezTo>
                  <a:cubicBezTo>
                    <a:pt x="567" y="444"/>
                    <a:pt x="567" y="447"/>
                    <a:pt x="569" y="446"/>
                  </a:cubicBezTo>
                  <a:cubicBezTo>
                    <a:pt x="571" y="446"/>
                    <a:pt x="576" y="442"/>
                    <a:pt x="578" y="441"/>
                  </a:cubicBezTo>
                  <a:cubicBezTo>
                    <a:pt x="580" y="439"/>
                    <a:pt x="584" y="437"/>
                    <a:pt x="586" y="435"/>
                  </a:cubicBezTo>
                  <a:cubicBezTo>
                    <a:pt x="590" y="440"/>
                    <a:pt x="586" y="447"/>
                    <a:pt x="596" y="445"/>
                  </a:cubicBezTo>
                  <a:cubicBezTo>
                    <a:pt x="600" y="444"/>
                    <a:pt x="603" y="440"/>
                    <a:pt x="606" y="437"/>
                  </a:cubicBezTo>
                  <a:cubicBezTo>
                    <a:pt x="609" y="435"/>
                    <a:pt x="610" y="434"/>
                    <a:pt x="612" y="431"/>
                  </a:cubicBezTo>
                  <a:cubicBezTo>
                    <a:pt x="616" y="434"/>
                    <a:pt x="623" y="422"/>
                    <a:pt x="625" y="419"/>
                  </a:cubicBezTo>
                  <a:cubicBezTo>
                    <a:pt x="625" y="420"/>
                    <a:pt x="625" y="423"/>
                    <a:pt x="625" y="424"/>
                  </a:cubicBezTo>
                  <a:cubicBezTo>
                    <a:pt x="624" y="426"/>
                    <a:pt x="621" y="427"/>
                    <a:pt x="621" y="429"/>
                  </a:cubicBezTo>
                  <a:cubicBezTo>
                    <a:pt x="621" y="435"/>
                    <a:pt x="631" y="436"/>
                    <a:pt x="636" y="435"/>
                  </a:cubicBezTo>
                  <a:cubicBezTo>
                    <a:pt x="642" y="433"/>
                    <a:pt x="647" y="430"/>
                    <a:pt x="653" y="429"/>
                  </a:cubicBezTo>
                  <a:cubicBezTo>
                    <a:pt x="660" y="427"/>
                    <a:pt x="667" y="425"/>
                    <a:pt x="674" y="422"/>
                  </a:cubicBezTo>
                  <a:cubicBezTo>
                    <a:pt x="675" y="425"/>
                    <a:pt x="674" y="428"/>
                    <a:pt x="670" y="428"/>
                  </a:cubicBezTo>
                  <a:cubicBezTo>
                    <a:pt x="669" y="432"/>
                    <a:pt x="674" y="436"/>
                    <a:pt x="669" y="439"/>
                  </a:cubicBezTo>
                  <a:cubicBezTo>
                    <a:pt x="665" y="441"/>
                    <a:pt x="653" y="440"/>
                    <a:pt x="652" y="435"/>
                  </a:cubicBezTo>
                  <a:cubicBezTo>
                    <a:pt x="651" y="435"/>
                    <a:pt x="649" y="435"/>
                    <a:pt x="648" y="435"/>
                  </a:cubicBezTo>
                  <a:cubicBezTo>
                    <a:pt x="645" y="435"/>
                    <a:pt x="644" y="436"/>
                    <a:pt x="642" y="437"/>
                  </a:cubicBezTo>
                  <a:cubicBezTo>
                    <a:pt x="640" y="437"/>
                    <a:pt x="639" y="437"/>
                    <a:pt x="637" y="437"/>
                  </a:cubicBezTo>
                  <a:cubicBezTo>
                    <a:pt x="634" y="437"/>
                    <a:pt x="633" y="439"/>
                    <a:pt x="630" y="440"/>
                  </a:cubicBezTo>
                  <a:cubicBezTo>
                    <a:pt x="627" y="441"/>
                    <a:pt x="622" y="443"/>
                    <a:pt x="624" y="447"/>
                  </a:cubicBezTo>
                  <a:cubicBezTo>
                    <a:pt x="626" y="451"/>
                    <a:pt x="634" y="452"/>
                    <a:pt x="638" y="452"/>
                  </a:cubicBezTo>
                  <a:cubicBezTo>
                    <a:pt x="639" y="455"/>
                    <a:pt x="638" y="455"/>
                    <a:pt x="637" y="457"/>
                  </a:cubicBezTo>
                  <a:cubicBezTo>
                    <a:pt x="635" y="460"/>
                    <a:pt x="633" y="459"/>
                    <a:pt x="631" y="461"/>
                  </a:cubicBezTo>
                  <a:cubicBezTo>
                    <a:pt x="630" y="457"/>
                    <a:pt x="626" y="453"/>
                    <a:pt x="622" y="451"/>
                  </a:cubicBezTo>
                  <a:cubicBezTo>
                    <a:pt x="622" y="453"/>
                    <a:pt x="622" y="454"/>
                    <a:pt x="622" y="455"/>
                  </a:cubicBezTo>
                  <a:cubicBezTo>
                    <a:pt x="622" y="458"/>
                    <a:pt x="623" y="458"/>
                    <a:pt x="624" y="460"/>
                  </a:cubicBezTo>
                  <a:cubicBezTo>
                    <a:pt x="625" y="463"/>
                    <a:pt x="625" y="466"/>
                    <a:pt x="625" y="469"/>
                  </a:cubicBezTo>
                  <a:cubicBezTo>
                    <a:pt x="624" y="473"/>
                    <a:pt x="623" y="480"/>
                    <a:pt x="618" y="482"/>
                  </a:cubicBezTo>
                  <a:cubicBezTo>
                    <a:pt x="619" y="476"/>
                    <a:pt x="620" y="470"/>
                    <a:pt x="616" y="465"/>
                  </a:cubicBezTo>
                  <a:cubicBezTo>
                    <a:pt x="615" y="465"/>
                    <a:pt x="613" y="460"/>
                    <a:pt x="612" y="460"/>
                  </a:cubicBezTo>
                  <a:cubicBezTo>
                    <a:pt x="609" y="461"/>
                    <a:pt x="609" y="466"/>
                    <a:pt x="609" y="468"/>
                  </a:cubicBezTo>
                  <a:cubicBezTo>
                    <a:pt x="609" y="470"/>
                    <a:pt x="609" y="471"/>
                    <a:pt x="608" y="473"/>
                  </a:cubicBezTo>
                  <a:cubicBezTo>
                    <a:pt x="606" y="474"/>
                    <a:pt x="604" y="474"/>
                    <a:pt x="603" y="475"/>
                  </a:cubicBezTo>
                  <a:cubicBezTo>
                    <a:pt x="601" y="476"/>
                    <a:pt x="601" y="477"/>
                    <a:pt x="600" y="478"/>
                  </a:cubicBezTo>
                  <a:cubicBezTo>
                    <a:pt x="597" y="481"/>
                    <a:pt x="593" y="485"/>
                    <a:pt x="588" y="484"/>
                  </a:cubicBezTo>
                  <a:cubicBezTo>
                    <a:pt x="588" y="482"/>
                    <a:pt x="588" y="480"/>
                    <a:pt x="588" y="479"/>
                  </a:cubicBezTo>
                  <a:cubicBezTo>
                    <a:pt x="589" y="479"/>
                    <a:pt x="590" y="479"/>
                    <a:pt x="591" y="478"/>
                  </a:cubicBezTo>
                  <a:cubicBezTo>
                    <a:pt x="593" y="473"/>
                    <a:pt x="587" y="472"/>
                    <a:pt x="583" y="474"/>
                  </a:cubicBezTo>
                  <a:cubicBezTo>
                    <a:pt x="580" y="475"/>
                    <a:pt x="579" y="476"/>
                    <a:pt x="578" y="478"/>
                  </a:cubicBezTo>
                  <a:cubicBezTo>
                    <a:pt x="575" y="481"/>
                    <a:pt x="575" y="481"/>
                    <a:pt x="575" y="485"/>
                  </a:cubicBezTo>
                  <a:cubicBezTo>
                    <a:pt x="575" y="488"/>
                    <a:pt x="574" y="490"/>
                    <a:pt x="577" y="491"/>
                  </a:cubicBezTo>
                  <a:cubicBezTo>
                    <a:pt x="580" y="492"/>
                    <a:pt x="586" y="490"/>
                    <a:pt x="589" y="492"/>
                  </a:cubicBezTo>
                  <a:cubicBezTo>
                    <a:pt x="592" y="493"/>
                    <a:pt x="591" y="499"/>
                    <a:pt x="591" y="502"/>
                  </a:cubicBezTo>
                  <a:cubicBezTo>
                    <a:pt x="587" y="503"/>
                    <a:pt x="582" y="504"/>
                    <a:pt x="578" y="503"/>
                  </a:cubicBezTo>
                  <a:cubicBezTo>
                    <a:pt x="576" y="503"/>
                    <a:pt x="575" y="503"/>
                    <a:pt x="574" y="503"/>
                  </a:cubicBezTo>
                  <a:cubicBezTo>
                    <a:pt x="573" y="503"/>
                    <a:pt x="572" y="502"/>
                    <a:pt x="571" y="501"/>
                  </a:cubicBezTo>
                  <a:cubicBezTo>
                    <a:pt x="571" y="501"/>
                    <a:pt x="571" y="500"/>
                    <a:pt x="570" y="499"/>
                  </a:cubicBezTo>
                  <a:cubicBezTo>
                    <a:pt x="562" y="495"/>
                    <a:pt x="558" y="502"/>
                    <a:pt x="555" y="509"/>
                  </a:cubicBezTo>
                  <a:cubicBezTo>
                    <a:pt x="553" y="513"/>
                    <a:pt x="547" y="517"/>
                    <a:pt x="547" y="522"/>
                  </a:cubicBezTo>
                  <a:cubicBezTo>
                    <a:pt x="548" y="529"/>
                    <a:pt x="556" y="525"/>
                    <a:pt x="557" y="529"/>
                  </a:cubicBezTo>
                  <a:cubicBezTo>
                    <a:pt x="558" y="533"/>
                    <a:pt x="553" y="534"/>
                    <a:pt x="551" y="537"/>
                  </a:cubicBezTo>
                  <a:cubicBezTo>
                    <a:pt x="549" y="539"/>
                    <a:pt x="547" y="545"/>
                    <a:pt x="548" y="548"/>
                  </a:cubicBezTo>
                  <a:cubicBezTo>
                    <a:pt x="554" y="550"/>
                    <a:pt x="563" y="543"/>
                    <a:pt x="567" y="539"/>
                  </a:cubicBezTo>
                  <a:cubicBezTo>
                    <a:pt x="569" y="537"/>
                    <a:pt x="569" y="537"/>
                    <a:pt x="571" y="535"/>
                  </a:cubicBezTo>
                  <a:cubicBezTo>
                    <a:pt x="573" y="531"/>
                    <a:pt x="576" y="527"/>
                    <a:pt x="579" y="523"/>
                  </a:cubicBezTo>
                  <a:cubicBezTo>
                    <a:pt x="582" y="528"/>
                    <a:pt x="580" y="532"/>
                    <a:pt x="579" y="536"/>
                  </a:cubicBezTo>
                  <a:cubicBezTo>
                    <a:pt x="578" y="541"/>
                    <a:pt x="578" y="542"/>
                    <a:pt x="573" y="544"/>
                  </a:cubicBezTo>
                  <a:cubicBezTo>
                    <a:pt x="571" y="546"/>
                    <a:pt x="567" y="546"/>
                    <a:pt x="566" y="549"/>
                  </a:cubicBezTo>
                  <a:cubicBezTo>
                    <a:pt x="566" y="552"/>
                    <a:pt x="566" y="556"/>
                    <a:pt x="568" y="557"/>
                  </a:cubicBezTo>
                  <a:cubicBezTo>
                    <a:pt x="566" y="558"/>
                    <a:pt x="563" y="556"/>
                    <a:pt x="561" y="556"/>
                  </a:cubicBezTo>
                  <a:cubicBezTo>
                    <a:pt x="558" y="556"/>
                    <a:pt x="554" y="555"/>
                    <a:pt x="552" y="556"/>
                  </a:cubicBezTo>
                  <a:cubicBezTo>
                    <a:pt x="548" y="557"/>
                    <a:pt x="546" y="560"/>
                    <a:pt x="543" y="563"/>
                  </a:cubicBezTo>
                  <a:cubicBezTo>
                    <a:pt x="541" y="565"/>
                    <a:pt x="538" y="566"/>
                    <a:pt x="535" y="568"/>
                  </a:cubicBezTo>
                  <a:cubicBezTo>
                    <a:pt x="533" y="569"/>
                    <a:pt x="525" y="573"/>
                    <a:pt x="525" y="577"/>
                  </a:cubicBezTo>
                  <a:cubicBezTo>
                    <a:pt x="525" y="581"/>
                    <a:pt x="531" y="582"/>
                    <a:pt x="531" y="584"/>
                  </a:cubicBezTo>
                  <a:cubicBezTo>
                    <a:pt x="533" y="588"/>
                    <a:pt x="529" y="585"/>
                    <a:pt x="527" y="587"/>
                  </a:cubicBezTo>
                  <a:cubicBezTo>
                    <a:pt x="524" y="588"/>
                    <a:pt x="526" y="590"/>
                    <a:pt x="525" y="591"/>
                  </a:cubicBezTo>
                  <a:cubicBezTo>
                    <a:pt x="523" y="592"/>
                    <a:pt x="523" y="592"/>
                    <a:pt x="522" y="593"/>
                  </a:cubicBezTo>
                  <a:cubicBezTo>
                    <a:pt x="518" y="596"/>
                    <a:pt x="516" y="600"/>
                    <a:pt x="516" y="605"/>
                  </a:cubicBezTo>
                  <a:cubicBezTo>
                    <a:pt x="520" y="606"/>
                    <a:pt x="524" y="603"/>
                    <a:pt x="528" y="602"/>
                  </a:cubicBezTo>
                  <a:cubicBezTo>
                    <a:pt x="533" y="600"/>
                    <a:pt x="540" y="599"/>
                    <a:pt x="546" y="600"/>
                  </a:cubicBezTo>
                  <a:cubicBezTo>
                    <a:pt x="548" y="600"/>
                    <a:pt x="550" y="601"/>
                    <a:pt x="552" y="601"/>
                  </a:cubicBezTo>
                  <a:cubicBezTo>
                    <a:pt x="555" y="601"/>
                    <a:pt x="558" y="601"/>
                    <a:pt x="559" y="604"/>
                  </a:cubicBezTo>
                  <a:cubicBezTo>
                    <a:pt x="559" y="604"/>
                    <a:pt x="559" y="605"/>
                    <a:pt x="559" y="605"/>
                  </a:cubicBezTo>
                  <a:cubicBezTo>
                    <a:pt x="558" y="605"/>
                    <a:pt x="558" y="606"/>
                    <a:pt x="558" y="607"/>
                  </a:cubicBezTo>
                  <a:cubicBezTo>
                    <a:pt x="556" y="608"/>
                    <a:pt x="551" y="607"/>
                    <a:pt x="548" y="607"/>
                  </a:cubicBezTo>
                  <a:cubicBezTo>
                    <a:pt x="542" y="607"/>
                    <a:pt x="528" y="605"/>
                    <a:pt x="523" y="610"/>
                  </a:cubicBezTo>
                  <a:cubicBezTo>
                    <a:pt x="518" y="613"/>
                    <a:pt x="519" y="622"/>
                    <a:pt x="516" y="627"/>
                  </a:cubicBezTo>
                  <a:cubicBezTo>
                    <a:pt x="513" y="623"/>
                    <a:pt x="515" y="615"/>
                    <a:pt x="509" y="614"/>
                  </a:cubicBezTo>
                  <a:cubicBezTo>
                    <a:pt x="505" y="612"/>
                    <a:pt x="503" y="617"/>
                    <a:pt x="503" y="620"/>
                  </a:cubicBezTo>
                  <a:cubicBezTo>
                    <a:pt x="502" y="626"/>
                    <a:pt x="503" y="625"/>
                    <a:pt x="499" y="629"/>
                  </a:cubicBezTo>
                  <a:cubicBezTo>
                    <a:pt x="495" y="632"/>
                    <a:pt x="496" y="634"/>
                    <a:pt x="495" y="639"/>
                  </a:cubicBezTo>
                  <a:cubicBezTo>
                    <a:pt x="493" y="640"/>
                    <a:pt x="491" y="642"/>
                    <a:pt x="488" y="643"/>
                  </a:cubicBezTo>
                  <a:cubicBezTo>
                    <a:pt x="486" y="644"/>
                    <a:pt x="484" y="643"/>
                    <a:pt x="482" y="644"/>
                  </a:cubicBezTo>
                  <a:cubicBezTo>
                    <a:pt x="477" y="646"/>
                    <a:pt x="482" y="647"/>
                    <a:pt x="483" y="650"/>
                  </a:cubicBezTo>
                  <a:cubicBezTo>
                    <a:pt x="484" y="652"/>
                    <a:pt x="483" y="653"/>
                    <a:pt x="484" y="655"/>
                  </a:cubicBezTo>
                  <a:cubicBezTo>
                    <a:pt x="484" y="656"/>
                    <a:pt x="486" y="657"/>
                    <a:pt x="487" y="657"/>
                  </a:cubicBezTo>
                  <a:cubicBezTo>
                    <a:pt x="490" y="659"/>
                    <a:pt x="495" y="661"/>
                    <a:pt x="497" y="665"/>
                  </a:cubicBezTo>
                  <a:cubicBezTo>
                    <a:pt x="489" y="666"/>
                    <a:pt x="480" y="664"/>
                    <a:pt x="473" y="666"/>
                  </a:cubicBezTo>
                  <a:cubicBezTo>
                    <a:pt x="469" y="667"/>
                    <a:pt x="468" y="667"/>
                    <a:pt x="467" y="670"/>
                  </a:cubicBezTo>
                  <a:cubicBezTo>
                    <a:pt x="466" y="673"/>
                    <a:pt x="466" y="674"/>
                    <a:pt x="467" y="676"/>
                  </a:cubicBezTo>
                  <a:cubicBezTo>
                    <a:pt x="467" y="677"/>
                    <a:pt x="469" y="676"/>
                    <a:pt x="468" y="679"/>
                  </a:cubicBezTo>
                  <a:cubicBezTo>
                    <a:pt x="465" y="679"/>
                    <a:pt x="465" y="680"/>
                    <a:pt x="464" y="682"/>
                  </a:cubicBezTo>
                  <a:cubicBezTo>
                    <a:pt x="462" y="683"/>
                    <a:pt x="456" y="684"/>
                    <a:pt x="455" y="687"/>
                  </a:cubicBezTo>
                  <a:cubicBezTo>
                    <a:pt x="454" y="689"/>
                    <a:pt x="455" y="690"/>
                    <a:pt x="456" y="691"/>
                  </a:cubicBezTo>
                  <a:cubicBezTo>
                    <a:pt x="457" y="694"/>
                    <a:pt x="457" y="695"/>
                    <a:pt x="458" y="699"/>
                  </a:cubicBezTo>
                  <a:cubicBezTo>
                    <a:pt x="461" y="699"/>
                    <a:pt x="465" y="699"/>
                    <a:pt x="468" y="699"/>
                  </a:cubicBezTo>
                  <a:cubicBezTo>
                    <a:pt x="472" y="698"/>
                    <a:pt x="476" y="696"/>
                    <a:pt x="476" y="702"/>
                  </a:cubicBezTo>
                  <a:cubicBezTo>
                    <a:pt x="475" y="705"/>
                    <a:pt x="471" y="706"/>
                    <a:pt x="470" y="708"/>
                  </a:cubicBezTo>
                  <a:cubicBezTo>
                    <a:pt x="467" y="711"/>
                    <a:pt x="466" y="714"/>
                    <a:pt x="462" y="713"/>
                  </a:cubicBezTo>
                  <a:cubicBezTo>
                    <a:pt x="460" y="709"/>
                    <a:pt x="462" y="705"/>
                    <a:pt x="457" y="702"/>
                  </a:cubicBezTo>
                  <a:cubicBezTo>
                    <a:pt x="452" y="699"/>
                    <a:pt x="446" y="701"/>
                    <a:pt x="446" y="706"/>
                  </a:cubicBezTo>
                  <a:cubicBezTo>
                    <a:pt x="446" y="708"/>
                    <a:pt x="448" y="710"/>
                    <a:pt x="447" y="712"/>
                  </a:cubicBezTo>
                  <a:cubicBezTo>
                    <a:pt x="447" y="715"/>
                    <a:pt x="446" y="717"/>
                    <a:pt x="447" y="720"/>
                  </a:cubicBezTo>
                  <a:cubicBezTo>
                    <a:pt x="447" y="723"/>
                    <a:pt x="447" y="724"/>
                    <a:pt x="451" y="726"/>
                  </a:cubicBezTo>
                  <a:cubicBezTo>
                    <a:pt x="455" y="728"/>
                    <a:pt x="460" y="727"/>
                    <a:pt x="465" y="728"/>
                  </a:cubicBezTo>
                  <a:cubicBezTo>
                    <a:pt x="463" y="730"/>
                    <a:pt x="459" y="731"/>
                    <a:pt x="456" y="732"/>
                  </a:cubicBezTo>
                  <a:cubicBezTo>
                    <a:pt x="455" y="733"/>
                    <a:pt x="454" y="736"/>
                    <a:pt x="453" y="737"/>
                  </a:cubicBezTo>
                  <a:cubicBezTo>
                    <a:pt x="452" y="739"/>
                    <a:pt x="450" y="740"/>
                    <a:pt x="447" y="740"/>
                  </a:cubicBezTo>
                  <a:cubicBezTo>
                    <a:pt x="443" y="741"/>
                    <a:pt x="442" y="740"/>
                    <a:pt x="438" y="744"/>
                  </a:cubicBezTo>
                  <a:cubicBezTo>
                    <a:pt x="436" y="747"/>
                    <a:pt x="436" y="745"/>
                    <a:pt x="436" y="749"/>
                  </a:cubicBezTo>
                  <a:cubicBezTo>
                    <a:pt x="436" y="750"/>
                    <a:pt x="436" y="752"/>
                    <a:pt x="436" y="754"/>
                  </a:cubicBezTo>
                  <a:cubicBezTo>
                    <a:pt x="436" y="761"/>
                    <a:pt x="429" y="758"/>
                    <a:pt x="427" y="763"/>
                  </a:cubicBezTo>
                  <a:cubicBezTo>
                    <a:pt x="426" y="765"/>
                    <a:pt x="427" y="767"/>
                    <a:pt x="426" y="769"/>
                  </a:cubicBezTo>
                  <a:cubicBezTo>
                    <a:pt x="425" y="770"/>
                    <a:pt x="423" y="771"/>
                    <a:pt x="422" y="773"/>
                  </a:cubicBezTo>
                  <a:cubicBezTo>
                    <a:pt x="422" y="774"/>
                    <a:pt x="422" y="775"/>
                    <a:pt x="421" y="776"/>
                  </a:cubicBezTo>
                  <a:cubicBezTo>
                    <a:pt x="420" y="778"/>
                    <a:pt x="417" y="778"/>
                    <a:pt x="417" y="779"/>
                  </a:cubicBezTo>
                  <a:cubicBezTo>
                    <a:pt x="416" y="781"/>
                    <a:pt x="416" y="783"/>
                    <a:pt x="416" y="785"/>
                  </a:cubicBezTo>
                  <a:cubicBezTo>
                    <a:pt x="416" y="787"/>
                    <a:pt x="415" y="789"/>
                    <a:pt x="418" y="790"/>
                  </a:cubicBezTo>
                  <a:cubicBezTo>
                    <a:pt x="421" y="790"/>
                    <a:pt x="421" y="787"/>
                    <a:pt x="422" y="785"/>
                  </a:cubicBezTo>
                  <a:cubicBezTo>
                    <a:pt x="425" y="782"/>
                    <a:pt x="431" y="781"/>
                    <a:pt x="436" y="780"/>
                  </a:cubicBezTo>
                  <a:cubicBezTo>
                    <a:pt x="437" y="779"/>
                    <a:pt x="438" y="779"/>
                    <a:pt x="441" y="780"/>
                  </a:cubicBezTo>
                  <a:cubicBezTo>
                    <a:pt x="439" y="780"/>
                    <a:pt x="438" y="780"/>
                    <a:pt x="436" y="780"/>
                  </a:cubicBezTo>
                  <a:cubicBezTo>
                    <a:pt x="435" y="782"/>
                    <a:pt x="434" y="784"/>
                    <a:pt x="433" y="785"/>
                  </a:cubicBezTo>
                  <a:cubicBezTo>
                    <a:pt x="432" y="786"/>
                    <a:pt x="429" y="787"/>
                    <a:pt x="429" y="788"/>
                  </a:cubicBezTo>
                  <a:cubicBezTo>
                    <a:pt x="428" y="790"/>
                    <a:pt x="429" y="792"/>
                    <a:pt x="428" y="794"/>
                  </a:cubicBezTo>
                  <a:cubicBezTo>
                    <a:pt x="427" y="798"/>
                    <a:pt x="423" y="799"/>
                    <a:pt x="421" y="801"/>
                  </a:cubicBezTo>
                  <a:cubicBezTo>
                    <a:pt x="419" y="804"/>
                    <a:pt x="419" y="808"/>
                    <a:pt x="415" y="811"/>
                  </a:cubicBezTo>
                  <a:cubicBezTo>
                    <a:pt x="411" y="813"/>
                    <a:pt x="408" y="810"/>
                    <a:pt x="407" y="815"/>
                  </a:cubicBezTo>
                  <a:cubicBezTo>
                    <a:pt x="407" y="818"/>
                    <a:pt x="406" y="823"/>
                    <a:pt x="407" y="825"/>
                  </a:cubicBezTo>
                  <a:cubicBezTo>
                    <a:pt x="408" y="828"/>
                    <a:pt x="418" y="833"/>
                    <a:pt x="416" y="837"/>
                  </a:cubicBezTo>
                  <a:cubicBezTo>
                    <a:pt x="415" y="839"/>
                    <a:pt x="406" y="839"/>
                    <a:pt x="407" y="835"/>
                  </a:cubicBezTo>
                  <a:cubicBezTo>
                    <a:pt x="404" y="836"/>
                    <a:pt x="403" y="844"/>
                    <a:pt x="401" y="847"/>
                  </a:cubicBezTo>
                  <a:cubicBezTo>
                    <a:pt x="399" y="850"/>
                    <a:pt x="394" y="853"/>
                    <a:pt x="393" y="857"/>
                  </a:cubicBezTo>
                  <a:cubicBezTo>
                    <a:pt x="391" y="861"/>
                    <a:pt x="392" y="866"/>
                    <a:pt x="396" y="870"/>
                  </a:cubicBezTo>
                  <a:cubicBezTo>
                    <a:pt x="397" y="871"/>
                    <a:pt x="400" y="872"/>
                    <a:pt x="399" y="874"/>
                  </a:cubicBezTo>
                  <a:cubicBezTo>
                    <a:pt x="399" y="876"/>
                    <a:pt x="395" y="874"/>
                    <a:pt x="396" y="877"/>
                  </a:cubicBezTo>
                  <a:cubicBezTo>
                    <a:pt x="399" y="878"/>
                    <a:pt x="400" y="876"/>
                    <a:pt x="403" y="876"/>
                  </a:cubicBezTo>
                  <a:cubicBezTo>
                    <a:pt x="403" y="877"/>
                    <a:pt x="403" y="878"/>
                    <a:pt x="403" y="880"/>
                  </a:cubicBezTo>
                  <a:cubicBezTo>
                    <a:pt x="403" y="880"/>
                    <a:pt x="402" y="881"/>
                    <a:pt x="402" y="882"/>
                  </a:cubicBezTo>
                  <a:cubicBezTo>
                    <a:pt x="398" y="882"/>
                    <a:pt x="394" y="884"/>
                    <a:pt x="391" y="887"/>
                  </a:cubicBezTo>
                  <a:cubicBezTo>
                    <a:pt x="389" y="889"/>
                    <a:pt x="389" y="890"/>
                    <a:pt x="386" y="892"/>
                  </a:cubicBezTo>
                  <a:cubicBezTo>
                    <a:pt x="383" y="894"/>
                    <a:pt x="380" y="895"/>
                    <a:pt x="380" y="898"/>
                  </a:cubicBezTo>
                  <a:cubicBezTo>
                    <a:pt x="375" y="897"/>
                    <a:pt x="374" y="886"/>
                    <a:pt x="370" y="889"/>
                  </a:cubicBezTo>
                  <a:cubicBezTo>
                    <a:pt x="369" y="890"/>
                    <a:pt x="367" y="895"/>
                    <a:pt x="367" y="896"/>
                  </a:cubicBezTo>
                  <a:cubicBezTo>
                    <a:pt x="366" y="899"/>
                    <a:pt x="368" y="900"/>
                    <a:pt x="369" y="902"/>
                  </a:cubicBezTo>
                  <a:cubicBezTo>
                    <a:pt x="369" y="903"/>
                    <a:pt x="369" y="905"/>
                    <a:pt x="368" y="906"/>
                  </a:cubicBezTo>
                  <a:cubicBezTo>
                    <a:pt x="368" y="907"/>
                    <a:pt x="365" y="907"/>
                    <a:pt x="364" y="908"/>
                  </a:cubicBezTo>
                  <a:cubicBezTo>
                    <a:pt x="363" y="908"/>
                    <a:pt x="363" y="909"/>
                    <a:pt x="362" y="910"/>
                  </a:cubicBezTo>
                  <a:cubicBezTo>
                    <a:pt x="360" y="911"/>
                    <a:pt x="360" y="912"/>
                    <a:pt x="357" y="912"/>
                  </a:cubicBezTo>
                  <a:cubicBezTo>
                    <a:pt x="356" y="912"/>
                    <a:pt x="352" y="909"/>
                    <a:pt x="350" y="909"/>
                  </a:cubicBezTo>
                  <a:cubicBezTo>
                    <a:pt x="348" y="908"/>
                    <a:pt x="347" y="909"/>
                    <a:pt x="345" y="908"/>
                  </a:cubicBezTo>
                  <a:cubicBezTo>
                    <a:pt x="345" y="906"/>
                    <a:pt x="346" y="903"/>
                    <a:pt x="345" y="902"/>
                  </a:cubicBezTo>
                  <a:cubicBezTo>
                    <a:pt x="344" y="898"/>
                    <a:pt x="340" y="901"/>
                    <a:pt x="338" y="904"/>
                  </a:cubicBezTo>
                  <a:cubicBezTo>
                    <a:pt x="336" y="906"/>
                    <a:pt x="336" y="908"/>
                    <a:pt x="334" y="910"/>
                  </a:cubicBezTo>
                  <a:cubicBezTo>
                    <a:pt x="332" y="913"/>
                    <a:pt x="330" y="914"/>
                    <a:pt x="328" y="917"/>
                  </a:cubicBezTo>
                  <a:cubicBezTo>
                    <a:pt x="327" y="918"/>
                    <a:pt x="326" y="922"/>
                    <a:pt x="326" y="924"/>
                  </a:cubicBezTo>
                  <a:cubicBezTo>
                    <a:pt x="328" y="925"/>
                    <a:pt x="332" y="925"/>
                    <a:pt x="334" y="925"/>
                  </a:cubicBezTo>
                  <a:cubicBezTo>
                    <a:pt x="336" y="924"/>
                    <a:pt x="339" y="923"/>
                    <a:pt x="341" y="924"/>
                  </a:cubicBezTo>
                  <a:cubicBezTo>
                    <a:pt x="346" y="924"/>
                    <a:pt x="352" y="929"/>
                    <a:pt x="357" y="929"/>
                  </a:cubicBezTo>
                  <a:cubicBezTo>
                    <a:pt x="360" y="929"/>
                    <a:pt x="363" y="926"/>
                    <a:pt x="366" y="927"/>
                  </a:cubicBezTo>
                  <a:cubicBezTo>
                    <a:pt x="369" y="928"/>
                    <a:pt x="368" y="930"/>
                    <a:pt x="369" y="931"/>
                  </a:cubicBezTo>
                  <a:cubicBezTo>
                    <a:pt x="369" y="931"/>
                    <a:pt x="369" y="931"/>
                    <a:pt x="369" y="931"/>
                  </a:cubicBezTo>
                  <a:cubicBezTo>
                    <a:pt x="367" y="932"/>
                    <a:pt x="360" y="934"/>
                    <a:pt x="361" y="936"/>
                  </a:cubicBezTo>
                  <a:cubicBezTo>
                    <a:pt x="362" y="937"/>
                    <a:pt x="370" y="936"/>
                    <a:pt x="372" y="936"/>
                  </a:cubicBezTo>
                  <a:cubicBezTo>
                    <a:pt x="374" y="942"/>
                    <a:pt x="359" y="938"/>
                    <a:pt x="357" y="941"/>
                  </a:cubicBezTo>
                  <a:cubicBezTo>
                    <a:pt x="355" y="942"/>
                    <a:pt x="356" y="943"/>
                    <a:pt x="357" y="945"/>
                  </a:cubicBezTo>
                  <a:cubicBezTo>
                    <a:pt x="358" y="948"/>
                    <a:pt x="359" y="950"/>
                    <a:pt x="360" y="953"/>
                  </a:cubicBezTo>
                  <a:cubicBezTo>
                    <a:pt x="358" y="952"/>
                    <a:pt x="357" y="949"/>
                    <a:pt x="355" y="948"/>
                  </a:cubicBezTo>
                  <a:cubicBezTo>
                    <a:pt x="352" y="946"/>
                    <a:pt x="352" y="948"/>
                    <a:pt x="351" y="949"/>
                  </a:cubicBezTo>
                  <a:cubicBezTo>
                    <a:pt x="349" y="950"/>
                    <a:pt x="351" y="951"/>
                    <a:pt x="348" y="951"/>
                  </a:cubicBezTo>
                  <a:cubicBezTo>
                    <a:pt x="346" y="951"/>
                    <a:pt x="345" y="950"/>
                    <a:pt x="344" y="949"/>
                  </a:cubicBezTo>
                  <a:cubicBezTo>
                    <a:pt x="343" y="953"/>
                    <a:pt x="345" y="954"/>
                    <a:pt x="343" y="957"/>
                  </a:cubicBezTo>
                  <a:cubicBezTo>
                    <a:pt x="341" y="961"/>
                    <a:pt x="336" y="960"/>
                    <a:pt x="332" y="960"/>
                  </a:cubicBezTo>
                  <a:cubicBezTo>
                    <a:pt x="330" y="955"/>
                    <a:pt x="330" y="955"/>
                    <a:pt x="330" y="955"/>
                  </a:cubicBezTo>
                  <a:cubicBezTo>
                    <a:pt x="326" y="959"/>
                    <a:pt x="319" y="962"/>
                    <a:pt x="318" y="967"/>
                  </a:cubicBezTo>
                  <a:cubicBezTo>
                    <a:pt x="317" y="970"/>
                    <a:pt x="317" y="972"/>
                    <a:pt x="316" y="974"/>
                  </a:cubicBezTo>
                  <a:cubicBezTo>
                    <a:pt x="315" y="976"/>
                    <a:pt x="313" y="976"/>
                    <a:pt x="314" y="979"/>
                  </a:cubicBezTo>
                  <a:cubicBezTo>
                    <a:pt x="317" y="979"/>
                    <a:pt x="321" y="978"/>
                    <a:pt x="325" y="979"/>
                  </a:cubicBezTo>
                  <a:cubicBezTo>
                    <a:pt x="329" y="986"/>
                    <a:pt x="314" y="983"/>
                    <a:pt x="311" y="985"/>
                  </a:cubicBezTo>
                  <a:cubicBezTo>
                    <a:pt x="312" y="985"/>
                    <a:pt x="310" y="989"/>
                    <a:pt x="310" y="988"/>
                  </a:cubicBezTo>
                  <a:cubicBezTo>
                    <a:pt x="309" y="989"/>
                    <a:pt x="310" y="992"/>
                    <a:pt x="309" y="993"/>
                  </a:cubicBezTo>
                  <a:cubicBezTo>
                    <a:pt x="308" y="995"/>
                    <a:pt x="300" y="994"/>
                    <a:pt x="302" y="998"/>
                  </a:cubicBezTo>
                  <a:cubicBezTo>
                    <a:pt x="304" y="998"/>
                    <a:pt x="304" y="999"/>
                    <a:pt x="304" y="1001"/>
                  </a:cubicBezTo>
                  <a:cubicBezTo>
                    <a:pt x="304" y="1004"/>
                    <a:pt x="303" y="1004"/>
                    <a:pt x="300" y="1005"/>
                  </a:cubicBezTo>
                  <a:cubicBezTo>
                    <a:pt x="294" y="1008"/>
                    <a:pt x="296" y="1007"/>
                    <a:pt x="297" y="1013"/>
                  </a:cubicBezTo>
                  <a:cubicBezTo>
                    <a:pt x="292" y="1016"/>
                    <a:pt x="291" y="1018"/>
                    <a:pt x="297" y="1019"/>
                  </a:cubicBezTo>
                  <a:cubicBezTo>
                    <a:pt x="297" y="1025"/>
                    <a:pt x="285" y="1020"/>
                    <a:pt x="283" y="1017"/>
                  </a:cubicBezTo>
                  <a:cubicBezTo>
                    <a:pt x="278" y="1023"/>
                    <a:pt x="285" y="1027"/>
                    <a:pt x="289" y="1028"/>
                  </a:cubicBezTo>
                  <a:cubicBezTo>
                    <a:pt x="289" y="1031"/>
                    <a:pt x="283" y="1033"/>
                    <a:pt x="282" y="1037"/>
                  </a:cubicBezTo>
                  <a:cubicBezTo>
                    <a:pt x="284" y="1038"/>
                    <a:pt x="288" y="1039"/>
                    <a:pt x="285" y="1042"/>
                  </a:cubicBezTo>
                  <a:cubicBezTo>
                    <a:pt x="282" y="1044"/>
                    <a:pt x="277" y="1039"/>
                    <a:pt x="274" y="1040"/>
                  </a:cubicBezTo>
                  <a:cubicBezTo>
                    <a:pt x="273" y="1041"/>
                    <a:pt x="274" y="1045"/>
                    <a:pt x="273" y="1047"/>
                  </a:cubicBezTo>
                  <a:cubicBezTo>
                    <a:pt x="272" y="1048"/>
                    <a:pt x="269" y="1048"/>
                    <a:pt x="267" y="1047"/>
                  </a:cubicBezTo>
                  <a:cubicBezTo>
                    <a:pt x="267" y="1047"/>
                    <a:pt x="267" y="1046"/>
                    <a:pt x="266" y="1046"/>
                  </a:cubicBezTo>
                  <a:cubicBezTo>
                    <a:pt x="262" y="1046"/>
                    <a:pt x="266" y="1052"/>
                    <a:pt x="268" y="1053"/>
                  </a:cubicBezTo>
                  <a:cubicBezTo>
                    <a:pt x="270" y="1054"/>
                    <a:pt x="272" y="1053"/>
                    <a:pt x="271" y="1056"/>
                  </a:cubicBezTo>
                  <a:cubicBezTo>
                    <a:pt x="271" y="1058"/>
                    <a:pt x="263" y="1061"/>
                    <a:pt x="260" y="1061"/>
                  </a:cubicBezTo>
                  <a:cubicBezTo>
                    <a:pt x="259" y="1067"/>
                    <a:pt x="267" y="1065"/>
                    <a:pt x="272" y="1065"/>
                  </a:cubicBezTo>
                  <a:cubicBezTo>
                    <a:pt x="272" y="1065"/>
                    <a:pt x="273" y="1064"/>
                    <a:pt x="273" y="1064"/>
                  </a:cubicBezTo>
                  <a:cubicBezTo>
                    <a:pt x="274" y="1063"/>
                    <a:pt x="275" y="1061"/>
                    <a:pt x="277" y="1060"/>
                  </a:cubicBezTo>
                  <a:cubicBezTo>
                    <a:pt x="278" y="1059"/>
                    <a:pt x="283" y="1060"/>
                    <a:pt x="285" y="1060"/>
                  </a:cubicBezTo>
                  <a:cubicBezTo>
                    <a:pt x="283" y="1063"/>
                    <a:pt x="275" y="1068"/>
                    <a:pt x="278" y="1073"/>
                  </a:cubicBezTo>
                  <a:cubicBezTo>
                    <a:pt x="279" y="1075"/>
                    <a:pt x="284" y="1075"/>
                    <a:pt x="286" y="1079"/>
                  </a:cubicBezTo>
                  <a:cubicBezTo>
                    <a:pt x="287" y="1082"/>
                    <a:pt x="286" y="1083"/>
                    <a:pt x="291" y="1084"/>
                  </a:cubicBezTo>
                  <a:cubicBezTo>
                    <a:pt x="293" y="1084"/>
                    <a:pt x="296" y="1083"/>
                    <a:pt x="298" y="1084"/>
                  </a:cubicBezTo>
                  <a:cubicBezTo>
                    <a:pt x="299" y="1084"/>
                    <a:pt x="299" y="1085"/>
                    <a:pt x="301" y="1085"/>
                  </a:cubicBezTo>
                  <a:cubicBezTo>
                    <a:pt x="303" y="1083"/>
                    <a:pt x="302" y="1079"/>
                    <a:pt x="305" y="1077"/>
                  </a:cubicBezTo>
                  <a:cubicBezTo>
                    <a:pt x="306" y="1076"/>
                    <a:pt x="308" y="1076"/>
                    <a:pt x="309" y="1076"/>
                  </a:cubicBezTo>
                  <a:cubicBezTo>
                    <a:pt x="311" y="1076"/>
                    <a:pt x="311" y="1078"/>
                    <a:pt x="312" y="1078"/>
                  </a:cubicBezTo>
                  <a:cubicBezTo>
                    <a:pt x="315" y="1078"/>
                    <a:pt x="314" y="1073"/>
                    <a:pt x="315" y="1071"/>
                  </a:cubicBezTo>
                  <a:cubicBezTo>
                    <a:pt x="316" y="1068"/>
                    <a:pt x="319" y="1066"/>
                    <a:pt x="322" y="1065"/>
                  </a:cubicBezTo>
                  <a:cubicBezTo>
                    <a:pt x="325" y="1064"/>
                    <a:pt x="325" y="1065"/>
                    <a:pt x="326" y="1063"/>
                  </a:cubicBezTo>
                  <a:cubicBezTo>
                    <a:pt x="328" y="1061"/>
                    <a:pt x="328" y="1060"/>
                    <a:pt x="330" y="1058"/>
                  </a:cubicBezTo>
                  <a:cubicBezTo>
                    <a:pt x="331" y="1057"/>
                    <a:pt x="332" y="1056"/>
                    <a:pt x="333" y="1056"/>
                  </a:cubicBezTo>
                  <a:cubicBezTo>
                    <a:pt x="334" y="1054"/>
                    <a:pt x="334" y="1055"/>
                    <a:pt x="336" y="1054"/>
                  </a:cubicBezTo>
                  <a:cubicBezTo>
                    <a:pt x="341" y="1052"/>
                    <a:pt x="351" y="1050"/>
                    <a:pt x="353" y="1044"/>
                  </a:cubicBezTo>
                  <a:cubicBezTo>
                    <a:pt x="348" y="1044"/>
                    <a:pt x="345" y="1037"/>
                    <a:pt x="348" y="1033"/>
                  </a:cubicBezTo>
                  <a:cubicBezTo>
                    <a:pt x="343" y="1032"/>
                    <a:pt x="339" y="1035"/>
                    <a:pt x="334" y="1035"/>
                  </a:cubicBezTo>
                  <a:cubicBezTo>
                    <a:pt x="332" y="1030"/>
                    <a:pt x="338" y="1028"/>
                    <a:pt x="343" y="1026"/>
                  </a:cubicBezTo>
                  <a:cubicBezTo>
                    <a:pt x="346" y="1025"/>
                    <a:pt x="350" y="1024"/>
                    <a:pt x="353" y="1023"/>
                  </a:cubicBezTo>
                  <a:cubicBezTo>
                    <a:pt x="355" y="1022"/>
                    <a:pt x="357" y="1020"/>
                    <a:pt x="359" y="1020"/>
                  </a:cubicBezTo>
                  <a:cubicBezTo>
                    <a:pt x="361" y="1020"/>
                    <a:pt x="363" y="1022"/>
                    <a:pt x="361" y="1025"/>
                  </a:cubicBezTo>
                  <a:cubicBezTo>
                    <a:pt x="360" y="1026"/>
                    <a:pt x="355" y="1027"/>
                    <a:pt x="354" y="1029"/>
                  </a:cubicBezTo>
                  <a:cubicBezTo>
                    <a:pt x="352" y="1030"/>
                    <a:pt x="350" y="1033"/>
                    <a:pt x="353" y="1035"/>
                  </a:cubicBezTo>
                  <a:cubicBezTo>
                    <a:pt x="355" y="1037"/>
                    <a:pt x="360" y="1033"/>
                    <a:pt x="361" y="1037"/>
                  </a:cubicBezTo>
                  <a:cubicBezTo>
                    <a:pt x="362" y="1038"/>
                    <a:pt x="361" y="1039"/>
                    <a:pt x="361" y="1040"/>
                  </a:cubicBezTo>
                  <a:cubicBezTo>
                    <a:pt x="362" y="1042"/>
                    <a:pt x="362" y="1041"/>
                    <a:pt x="364" y="1042"/>
                  </a:cubicBezTo>
                  <a:cubicBezTo>
                    <a:pt x="367" y="1044"/>
                    <a:pt x="368" y="1046"/>
                    <a:pt x="368" y="1050"/>
                  </a:cubicBezTo>
                  <a:cubicBezTo>
                    <a:pt x="362" y="1050"/>
                    <a:pt x="356" y="1049"/>
                    <a:pt x="351" y="1050"/>
                  </a:cubicBezTo>
                  <a:cubicBezTo>
                    <a:pt x="350" y="1054"/>
                    <a:pt x="348" y="1058"/>
                    <a:pt x="345" y="1061"/>
                  </a:cubicBezTo>
                  <a:cubicBezTo>
                    <a:pt x="341" y="1066"/>
                    <a:pt x="335" y="1064"/>
                    <a:pt x="330" y="1068"/>
                  </a:cubicBezTo>
                  <a:cubicBezTo>
                    <a:pt x="327" y="1071"/>
                    <a:pt x="326" y="1077"/>
                    <a:pt x="327" y="1080"/>
                  </a:cubicBezTo>
                  <a:cubicBezTo>
                    <a:pt x="328" y="1082"/>
                    <a:pt x="332" y="1089"/>
                    <a:pt x="331" y="1091"/>
                  </a:cubicBezTo>
                  <a:cubicBezTo>
                    <a:pt x="329" y="1095"/>
                    <a:pt x="325" y="1088"/>
                    <a:pt x="324" y="1087"/>
                  </a:cubicBezTo>
                  <a:cubicBezTo>
                    <a:pt x="321" y="1086"/>
                    <a:pt x="320" y="1087"/>
                    <a:pt x="317" y="1086"/>
                  </a:cubicBezTo>
                  <a:cubicBezTo>
                    <a:pt x="314" y="1085"/>
                    <a:pt x="310" y="1081"/>
                    <a:pt x="307" y="1083"/>
                  </a:cubicBezTo>
                  <a:cubicBezTo>
                    <a:pt x="304" y="1085"/>
                    <a:pt x="306" y="1087"/>
                    <a:pt x="302" y="1088"/>
                  </a:cubicBezTo>
                  <a:cubicBezTo>
                    <a:pt x="300" y="1089"/>
                    <a:pt x="296" y="1088"/>
                    <a:pt x="294" y="1090"/>
                  </a:cubicBezTo>
                  <a:cubicBezTo>
                    <a:pt x="293" y="1092"/>
                    <a:pt x="295" y="1094"/>
                    <a:pt x="293" y="1096"/>
                  </a:cubicBezTo>
                  <a:cubicBezTo>
                    <a:pt x="292" y="1098"/>
                    <a:pt x="286" y="1100"/>
                    <a:pt x="289" y="1103"/>
                  </a:cubicBezTo>
                  <a:cubicBezTo>
                    <a:pt x="291" y="1104"/>
                    <a:pt x="295" y="1103"/>
                    <a:pt x="297" y="1103"/>
                  </a:cubicBezTo>
                  <a:cubicBezTo>
                    <a:pt x="296" y="1105"/>
                    <a:pt x="289" y="1106"/>
                    <a:pt x="287" y="1105"/>
                  </a:cubicBezTo>
                  <a:cubicBezTo>
                    <a:pt x="285" y="1104"/>
                    <a:pt x="285" y="1103"/>
                    <a:pt x="285" y="1101"/>
                  </a:cubicBezTo>
                  <a:cubicBezTo>
                    <a:pt x="285" y="1100"/>
                    <a:pt x="286" y="1097"/>
                    <a:pt x="286" y="1097"/>
                  </a:cubicBezTo>
                  <a:cubicBezTo>
                    <a:pt x="286" y="1095"/>
                    <a:pt x="282" y="1094"/>
                    <a:pt x="281" y="1092"/>
                  </a:cubicBezTo>
                  <a:cubicBezTo>
                    <a:pt x="279" y="1090"/>
                    <a:pt x="278" y="1085"/>
                    <a:pt x="277" y="1082"/>
                  </a:cubicBezTo>
                  <a:cubicBezTo>
                    <a:pt x="277" y="1080"/>
                    <a:pt x="278" y="1077"/>
                    <a:pt x="277" y="1075"/>
                  </a:cubicBezTo>
                  <a:cubicBezTo>
                    <a:pt x="277" y="1073"/>
                    <a:pt x="274" y="1072"/>
                    <a:pt x="274" y="1070"/>
                  </a:cubicBezTo>
                  <a:cubicBezTo>
                    <a:pt x="269" y="1069"/>
                    <a:pt x="268" y="1075"/>
                    <a:pt x="265" y="1076"/>
                  </a:cubicBezTo>
                  <a:cubicBezTo>
                    <a:pt x="263" y="1074"/>
                    <a:pt x="259" y="1073"/>
                    <a:pt x="257" y="1075"/>
                  </a:cubicBezTo>
                  <a:cubicBezTo>
                    <a:pt x="255" y="1076"/>
                    <a:pt x="255" y="1079"/>
                    <a:pt x="253" y="1081"/>
                  </a:cubicBezTo>
                  <a:cubicBezTo>
                    <a:pt x="251" y="1082"/>
                    <a:pt x="240" y="1081"/>
                    <a:pt x="242" y="1087"/>
                  </a:cubicBezTo>
                  <a:cubicBezTo>
                    <a:pt x="246" y="1088"/>
                    <a:pt x="249" y="1087"/>
                    <a:pt x="252" y="1088"/>
                  </a:cubicBezTo>
                  <a:cubicBezTo>
                    <a:pt x="253" y="1089"/>
                    <a:pt x="254" y="1090"/>
                    <a:pt x="254" y="1091"/>
                  </a:cubicBezTo>
                  <a:cubicBezTo>
                    <a:pt x="256" y="1091"/>
                    <a:pt x="257" y="1090"/>
                    <a:pt x="258" y="1092"/>
                  </a:cubicBezTo>
                  <a:cubicBezTo>
                    <a:pt x="255" y="1093"/>
                    <a:pt x="244" y="1094"/>
                    <a:pt x="247" y="1099"/>
                  </a:cubicBezTo>
                  <a:cubicBezTo>
                    <a:pt x="249" y="1104"/>
                    <a:pt x="260" y="1101"/>
                    <a:pt x="264" y="1101"/>
                  </a:cubicBezTo>
                  <a:cubicBezTo>
                    <a:pt x="264" y="1104"/>
                    <a:pt x="260" y="1103"/>
                    <a:pt x="258" y="1104"/>
                  </a:cubicBezTo>
                  <a:cubicBezTo>
                    <a:pt x="255" y="1105"/>
                    <a:pt x="254" y="1108"/>
                    <a:pt x="252" y="1110"/>
                  </a:cubicBezTo>
                  <a:cubicBezTo>
                    <a:pt x="247" y="1112"/>
                    <a:pt x="248" y="1104"/>
                    <a:pt x="245" y="1103"/>
                  </a:cubicBezTo>
                  <a:cubicBezTo>
                    <a:pt x="243" y="1103"/>
                    <a:pt x="240" y="1105"/>
                    <a:pt x="239" y="1105"/>
                  </a:cubicBezTo>
                  <a:cubicBezTo>
                    <a:pt x="238" y="1102"/>
                    <a:pt x="240" y="1097"/>
                    <a:pt x="239" y="1095"/>
                  </a:cubicBezTo>
                  <a:cubicBezTo>
                    <a:pt x="238" y="1093"/>
                    <a:pt x="234" y="1090"/>
                    <a:pt x="232" y="1090"/>
                  </a:cubicBezTo>
                  <a:cubicBezTo>
                    <a:pt x="226" y="1088"/>
                    <a:pt x="224" y="1093"/>
                    <a:pt x="219" y="1094"/>
                  </a:cubicBezTo>
                  <a:cubicBezTo>
                    <a:pt x="216" y="1094"/>
                    <a:pt x="214" y="1093"/>
                    <a:pt x="212" y="1094"/>
                  </a:cubicBezTo>
                  <a:cubicBezTo>
                    <a:pt x="210" y="1094"/>
                    <a:pt x="208" y="1095"/>
                    <a:pt x="206" y="1097"/>
                  </a:cubicBezTo>
                  <a:cubicBezTo>
                    <a:pt x="205" y="1098"/>
                    <a:pt x="205" y="1099"/>
                    <a:pt x="204" y="1100"/>
                  </a:cubicBezTo>
                  <a:cubicBezTo>
                    <a:pt x="203" y="1102"/>
                    <a:pt x="203" y="1101"/>
                    <a:pt x="202" y="1102"/>
                  </a:cubicBezTo>
                  <a:cubicBezTo>
                    <a:pt x="200" y="1103"/>
                    <a:pt x="199" y="1106"/>
                    <a:pt x="197" y="1107"/>
                  </a:cubicBezTo>
                  <a:cubicBezTo>
                    <a:pt x="200" y="1108"/>
                    <a:pt x="205" y="1110"/>
                    <a:pt x="200" y="1112"/>
                  </a:cubicBezTo>
                  <a:cubicBezTo>
                    <a:pt x="198" y="1113"/>
                    <a:pt x="195" y="1112"/>
                    <a:pt x="193" y="1113"/>
                  </a:cubicBezTo>
                  <a:cubicBezTo>
                    <a:pt x="192" y="1113"/>
                    <a:pt x="192" y="1115"/>
                    <a:pt x="190" y="1116"/>
                  </a:cubicBezTo>
                  <a:cubicBezTo>
                    <a:pt x="189" y="1117"/>
                    <a:pt x="188" y="1117"/>
                    <a:pt x="187" y="1117"/>
                  </a:cubicBezTo>
                  <a:cubicBezTo>
                    <a:pt x="184" y="1118"/>
                    <a:pt x="182" y="1120"/>
                    <a:pt x="179" y="1121"/>
                  </a:cubicBezTo>
                  <a:cubicBezTo>
                    <a:pt x="176" y="1122"/>
                    <a:pt x="170" y="1122"/>
                    <a:pt x="172" y="1127"/>
                  </a:cubicBezTo>
                  <a:cubicBezTo>
                    <a:pt x="176" y="1127"/>
                    <a:pt x="179" y="1124"/>
                    <a:pt x="183" y="1124"/>
                  </a:cubicBezTo>
                  <a:cubicBezTo>
                    <a:pt x="186" y="1124"/>
                    <a:pt x="185" y="1127"/>
                    <a:pt x="187" y="1128"/>
                  </a:cubicBezTo>
                  <a:cubicBezTo>
                    <a:pt x="190" y="1129"/>
                    <a:pt x="191" y="1126"/>
                    <a:pt x="193" y="1128"/>
                  </a:cubicBezTo>
                  <a:cubicBezTo>
                    <a:pt x="195" y="1129"/>
                    <a:pt x="186" y="1129"/>
                    <a:pt x="188" y="1133"/>
                  </a:cubicBezTo>
                  <a:cubicBezTo>
                    <a:pt x="188" y="1134"/>
                    <a:pt x="190" y="1136"/>
                    <a:pt x="191" y="1136"/>
                  </a:cubicBezTo>
                  <a:cubicBezTo>
                    <a:pt x="193" y="1138"/>
                    <a:pt x="194" y="1141"/>
                    <a:pt x="196" y="1143"/>
                  </a:cubicBezTo>
                  <a:cubicBezTo>
                    <a:pt x="200" y="1147"/>
                    <a:pt x="201" y="1146"/>
                    <a:pt x="205" y="1147"/>
                  </a:cubicBezTo>
                  <a:cubicBezTo>
                    <a:pt x="212" y="1148"/>
                    <a:pt x="205" y="1149"/>
                    <a:pt x="203" y="1151"/>
                  </a:cubicBezTo>
                  <a:cubicBezTo>
                    <a:pt x="203" y="1152"/>
                    <a:pt x="202" y="1154"/>
                    <a:pt x="203" y="1155"/>
                  </a:cubicBezTo>
                  <a:cubicBezTo>
                    <a:pt x="203" y="1157"/>
                    <a:pt x="205" y="1156"/>
                    <a:pt x="207" y="1157"/>
                  </a:cubicBezTo>
                  <a:cubicBezTo>
                    <a:pt x="211" y="1159"/>
                    <a:pt x="211" y="1162"/>
                    <a:pt x="212" y="1165"/>
                  </a:cubicBezTo>
                  <a:cubicBezTo>
                    <a:pt x="209" y="1164"/>
                    <a:pt x="205" y="1164"/>
                    <a:pt x="202" y="1163"/>
                  </a:cubicBezTo>
                  <a:cubicBezTo>
                    <a:pt x="202" y="1161"/>
                    <a:pt x="200" y="1162"/>
                    <a:pt x="198" y="1161"/>
                  </a:cubicBezTo>
                  <a:cubicBezTo>
                    <a:pt x="198" y="1160"/>
                    <a:pt x="198" y="1160"/>
                    <a:pt x="198" y="1159"/>
                  </a:cubicBezTo>
                  <a:cubicBezTo>
                    <a:pt x="196" y="1158"/>
                    <a:pt x="195" y="1159"/>
                    <a:pt x="194" y="1157"/>
                  </a:cubicBezTo>
                  <a:cubicBezTo>
                    <a:pt x="192" y="1154"/>
                    <a:pt x="195" y="1153"/>
                    <a:pt x="191" y="1150"/>
                  </a:cubicBezTo>
                  <a:cubicBezTo>
                    <a:pt x="187" y="1148"/>
                    <a:pt x="186" y="1148"/>
                    <a:pt x="186" y="1143"/>
                  </a:cubicBezTo>
                  <a:cubicBezTo>
                    <a:pt x="186" y="1142"/>
                    <a:pt x="186" y="1140"/>
                    <a:pt x="185" y="1138"/>
                  </a:cubicBezTo>
                  <a:cubicBezTo>
                    <a:pt x="185" y="1138"/>
                    <a:pt x="184" y="1138"/>
                    <a:pt x="184" y="1137"/>
                  </a:cubicBezTo>
                  <a:cubicBezTo>
                    <a:pt x="183" y="1137"/>
                    <a:pt x="183" y="1135"/>
                    <a:pt x="183" y="1134"/>
                  </a:cubicBezTo>
                  <a:cubicBezTo>
                    <a:pt x="182" y="1133"/>
                    <a:pt x="180" y="1132"/>
                    <a:pt x="178" y="1132"/>
                  </a:cubicBezTo>
                  <a:cubicBezTo>
                    <a:pt x="175" y="1133"/>
                    <a:pt x="176" y="1133"/>
                    <a:pt x="174" y="1135"/>
                  </a:cubicBezTo>
                  <a:cubicBezTo>
                    <a:pt x="174" y="1136"/>
                    <a:pt x="174" y="1136"/>
                    <a:pt x="174" y="1137"/>
                  </a:cubicBezTo>
                  <a:cubicBezTo>
                    <a:pt x="174" y="1138"/>
                    <a:pt x="174" y="1138"/>
                    <a:pt x="173" y="1139"/>
                  </a:cubicBezTo>
                  <a:cubicBezTo>
                    <a:pt x="173" y="1139"/>
                    <a:pt x="171" y="1141"/>
                    <a:pt x="170" y="1142"/>
                  </a:cubicBezTo>
                  <a:cubicBezTo>
                    <a:pt x="168" y="1144"/>
                    <a:pt x="167" y="1148"/>
                    <a:pt x="165" y="1150"/>
                  </a:cubicBezTo>
                  <a:cubicBezTo>
                    <a:pt x="164" y="1150"/>
                    <a:pt x="160" y="1150"/>
                    <a:pt x="159" y="1150"/>
                  </a:cubicBezTo>
                  <a:cubicBezTo>
                    <a:pt x="157" y="1151"/>
                    <a:pt x="156" y="1152"/>
                    <a:pt x="154" y="1151"/>
                  </a:cubicBezTo>
                  <a:cubicBezTo>
                    <a:pt x="152" y="1146"/>
                    <a:pt x="176" y="1136"/>
                    <a:pt x="167" y="1131"/>
                  </a:cubicBezTo>
                  <a:cubicBezTo>
                    <a:pt x="165" y="1130"/>
                    <a:pt x="162" y="1130"/>
                    <a:pt x="160" y="1130"/>
                  </a:cubicBezTo>
                  <a:cubicBezTo>
                    <a:pt x="156" y="1130"/>
                    <a:pt x="154" y="1130"/>
                    <a:pt x="152" y="1133"/>
                  </a:cubicBezTo>
                  <a:cubicBezTo>
                    <a:pt x="151" y="1134"/>
                    <a:pt x="152" y="1134"/>
                    <a:pt x="150" y="1136"/>
                  </a:cubicBezTo>
                  <a:cubicBezTo>
                    <a:pt x="148" y="1137"/>
                    <a:pt x="146" y="1136"/>
                    <a:pt x="144" y="1137"/>
                  </a:cubicBezTo>
                  <a:cubicBezTo>
                    <a:pt x="142" y="1139"/>
                    <a:pt x="141" y="1142"/>
                    <a:pt x="140" y="1144"/>
                  </a:cubicBezTo>
                  <a:cubicBezTo>
                    <a:pt x="138" y="1145"/>
                    <a:pt x="136" y="1144"/>
                    <a:pt x="134" y="1145"/>
                  </a:cubicBezTo>
                  <a:cubicBezTo>
                    <a:pt x="132" y="1145"/>
                    <a:pt x="129" y="1147"/>
                    <a:pt x="128" y="1148"/>
                  </a:cubicBezTo>
                  <a:cubicBezTo>
                    <a:pt x="125" y="1150"/>
                    <a:pt x="123" y="1154"/>
                    <a:pt x="122" y="1158"/>
                  </a:cubicBezTo>
                  <a:cubicBezTo>
                    <a:pt x="122" y="1163"/>
                    <a:pt x="126" y="1166"/>
                    <a:pt x="130" y="1167"/>
                  </a:cubicBezTo>
                  <a:cubicBezTo>
                    <a:pt x="132" y="1167"/>
                    <a:pt x="135" y="1165"/>
                    <a:pt x="136" y="1167"/>
                  </a:cubicBezTo>
                  <a:cubicBezTo>
                    <a:pt x="137" y="1170"/>
                    <a:pt x="126" y="1170"/>
                    <a:pt x="125" y="1170"/>
                  </a:cubicBezTo>
                  <a:cubicBezTo>
                    <a:pt x="124" y="1173"/>
                    <a:pt x="125" y="1174"/>
                    <a:pt x="126" y="1176"/>
                  </a:cubicBezTo>
                  <a:cubicBezTo>
                    <a:pt x="127" y="1180"/>
                    <a:pt x="127" y="1180"/>
                    <a:pt x="131" y="1180"/>
                  </a:cubicBezTo>
                  <a:cubicBezTo>
                    <a:pt x="135" y="1180"/>
                    <a:pt x="137" y="1179"/>
                    <a:pt x="140" y="1179"/>
                  </a:cubicBezTo>
                  <a:cubicBezTo>
                    <a:pt x="143" y="1179"/>
                    <a:pt x="144" y="1181"/>
                    <a:pt x="147" y="1182"/>
                  </a:cubicBezTo>
                  <a:cubicBezTo>
                    <a:pt x="153" y="1183"/>
                    <a:pt x="155" y="1177"/>
                    <a:pt x="160" y="1175"/>
                  </a:cubicBezTo>
                  <a:cubicBezTo>
                    <a:pt x="162" y="1174"/>
                    <a:pt x="165" y="1175"/>
                    <a:pt x="168" y="1174"/>
                  </a:cubicBezTo>
                  <a:cubicBezTo>
                    <a:pt x="170" y="1173"/>
                    <a:pt x="174" y="1172"/>
                    <a:pt x="177" y="1172"/>
                  </a:cubicBezTo>
                  <a:cubicBezTo>
                    <a:pt x="178" y="1177"/>
                    <a:pt x="171" y="1176"/>
                    <a:pt x="169" y="1176"/>
                  </a:cubicBezTo>
                  <a:cubicBezTo>
                    <a:pt x="165" y="1176"/>
                    <a:pt x="161" y="1178"/>
                    <a:pt x="159" y="1179"/>
                  </a:cubicBezTo>
                  <a:cubicBezTo>
                    <a:pt x="153" y="1183"/>
                    <a:pt x="146" y="1183"/>
                    <a:pt x="147" y="1191"/>
                  </a:cubicBezTo>
                  <a:cubicBezTo>
                    <a:pt x="151" y="1192"/>
                    <a:pt x="156" y="1194"/>
                    <a:pt x="155" y="1198"/>
                  </a:cubicBezTo>
                  <a:cubicBezTo>
                    <a:pt x="151" y="1200"/>
                    <a:pt x="148" y="1196"/>
                    <a:pt x="145" y="1194"/>
                  </a:cubicBezTo>
                  <a:cubicBezTo>
                    <a:pt x="144" y="1193"/>
                    <a:pt x="142" y="1192"/>
                    <a:pt x="141" y="1191"/>
                  </a:cubicBezTo>
                  <a:cubicBezTo>
                    <a:pt x="138" y="1191"/>
                    <a:pt x="138" y="1191"/>
                    <a:pt x="136" y="1192"/>
                  </a:cubicBezTo>
                  <a:cubicBezTo>
                    <a:pt x="133" y="1193"/>
                    <a:pt x="130" y="1191"/>
                    <a:pt x="128" y="1191"/>
                  </a:cubicBezTo>
                  <a:cubicBezTo>
                    <a:pt x="126" y="1190"/>
                    <a:pt x="125" y="1189"/>
                    <a:pt x="123" y="1187"/>
                  </a:cubicBezTo>
                  <a:cubicBezTo>
                    <a:pt x="122" y="1187"/>
                    <a:pt x="123" y="1185"/>
                    <a:pt x="121" y="1186"/>
                  </a:cubicBezTo>
                  <a:cubicBezTo>
                    <a:pt x="120" y="1186"/>
                    <a:pt x="121" y="1188"/>
                    <a:pt x="120" y="1188"/>
                  </a:cubicBezTo>
                  <a:cubicBezTo>
                    <a:pt x="118" y="1189"/>
                    <a:pt x="117" y="1188"/>
                    <a:pt x="115" y="1187"/>
                  </a:cubicBezTo>
                  <a:cubicBezTo>
                    <a:pt x="112" y="1187"/>
                    <a:pt x="112" y="1188"/>
                    <a:pt x="110" y="1189"/>
                  </a:cubicBezTo>
                  <a:cubicBezTo>
                    <a:pt x="108" y="1190"/>
                    <a:pt x="106" y="1189"/>
                    <a:pt x="104" y="1189"/>
                  </a:cubicBezTo>
                  <a:cubicBezTo>
                    <a:pt x="102" y="1189"/>
                    <a:pt x="99" y="1189"/>
                    <a:pt x="97" y="1189"/>
                  </a:cubicBezTo>
                  <a:cubicBezTo>
                    <a:pt x="95" y="1189"/>
                    <a:pt x="93" y="1191"/>
                    <a:pt x="92" y="1191"/>
                  </a:cubicBezTo>
                  <a:cubicBezTo>
                    <a:pt x="88" y="1192"/>
                    <a:pt x="83" y="1191"/>
                    <a:pt x="83" y="1196"/>
                  </a:cubicBezTo>
                  <a:cubicBezTo>
                    <a:pt x="84" y="1201"/>
                    <a:pt x="87" y="1199"/>
                    <a:pt x="89" y="1200"/>
                  </a:cubicBezTo>
                  <a:cubicBezTo>
                    <a:pt x="91" y="1200"/>
                    <a:pt x="92" y="1201"/>
                    <a:pt x="94" y="1202"/>
                  </a:cubicBezTo>
                  <a:cubicBezTo>
                    <a:pt x="90" y="1203"/>
                    <a:pt x="82" y="1201"/>
                    <a:pt x="79" y="1205"/>
                  </a:cubicBezTo>
                  <a:cubicBezTo>
                    <a:pt x="78" y="1206"/>
                    <a:pt x="79" y="1207"/>
                    <a:pt x="79" y="1208"/>
                  </a:cubicBezTo>
                  <a:cubicBezTo>
                    <a:pt x="78" y="1209"/>
                    <a:pt x="78" y="1209"/>
                    <a:pt x="77" y="1210"/>
                  </a:cubicBezTo>
                  <a:cubicBezTo>
                    <a:pt x="76" y="1211"/>
                    <a:pt x="75" y="1210"/>
                    <a:pt x="74" y="1211"/>
                  </a:cubicBezTo>
                  <a:cubicBezTo>
                    <a:pt x="74" y="1212"/>
                    <a:pt x="74" y="1214"/>
                    <a:pt x="74" y="1214"/>
                  </a:cubicBezTo>
                  <a:cubicBezTo>
                    <a:pt x="77" y="1215"/>
                    <a:pt x="77" y="1217"/>
                    <a:pt x="80" y="1218"/>
                  </a:cubicBezTo>
                  <a:cubicBezTo>
                    <a:pt x="82" y="1218"/>
                    <a:pt x="83" y="1217"/>
                    <a:pt x="85" y="1217"/>
                  </a:cubicBezTo>
                  <a:cubicBezTo>
                    <a:pt x="87" y="1216"/>
                    <a:pt x="90" y="1216"/>
                    <a:pt x="91" y="1216"/>
                  </a:cubicBezTo>
                  <a:cubicBezTo>
                    <a:pt x="94" y="1215"/>
                    <a:pt x="95" y="1211"/>
                    <a:pt x="97" y="1208"/>
                  </a:cubicBezTo>
                  <a:cubicBezTo>
                    <a:pt x="99" y="1206"/>
                    <a:pt x="101" y="1206"/>
                    <a:pt x="103" y="1206"/>
                  </a:cubicBezTo>
                  <a:cubicBezTo>
                    <a:pt x="110" y="1206"/>
                    <a:pt x="113" y="1206"/>
                    <a:pt x="118" y="1211"/>
                  </a:cubicBezTo>
                  <a:cubicBezTo>
                    <a:pt x="120" y="1213"/>
                    <a:pt x="124" y="1214"/>
                    <a:pt x="126" y="1217"/>
                  </a:cubicBezTo>
                  <a:cubicBezTo>
                    <a:pt x="127" y="1219"/>
                    <a:pt x="126" y="1222"/>
                    <a:pt x="126" y="1224"/>
                  </a:cubicBezTo>
                  <a:cubicBezTo>
                    <a:pt x="128" y="1225"/>
                    <a:pt x="131" y="1224"/>
                    <a:pt x="133" y="1225"/>
                  </a:cubicBezTo>
                  <a:cubicBezTo>
                    <a:pt x="133" y="1225"/>
                    <a:pt x="133" y="1226"/>
                    <a:pt x="133" y="1227"/>
                  </a:cubicBezTo>
                  <a:cubicBezTo>
                    <a:pt x="129" y="1228"/>
                    <a:pt x="127" y="1227"/>
                    <a:pt x="125" y="1225"/>
                  </a:cubicBezTo>
                  <a:cubicBezTo>
                    <a:pt x="125" y="1224"/>
                    <a:pt x="125" y="1224"/>
                    <a:pt x="124" y="1223"/>
                  </a:cubicBezTo>
                  <a:cubicBezTo>
                    <a:pt x="124" y="1223"/>
                    <a:pt x="123" y="1223"/>
                    <a:pt x="123" y="1222"/>
                  </a:cubicBezTo>
                  <a:cubicBezTo>
                    <a:pt x="122" y="1222"/>
                    <a:pt x="122" y="1222"/>
                    <a:pt x="121" y="1222"/>
                  </a:cubicBezTo>
                  <a:cubicBezTo>
                    <a:pt x="120" y="1221"/>
                    <a:pt x="121" y="1219"/>
                    <a:pt x="120" y="1219"/>
                  </a:cubicBezTo>
                  <a:cubicBezTo>
                    <a:pt x="118" y="1217"/>
                    <a:pt x="115" y="1217"/>
                    <a:pt x="113" y="1216"/>
                  </a:cubicBezTo>
                  <a:cubicBezTo>
                    <a:pt x="109" y="1214"/>
                    <a:pt x="108" y="1214"/>
                    <a:pt x="104" y="1215"/>
                  </a:cubicBezTo>
                  <a:cubicBezTo>
                    <a:pt x="102" y="1216"/>
                    <a:pt x="97" y="1215"/>
                    <a:pt x="96" y="1217"/>
                  </a:cubicBezTo>
                  <a:cubicBezTo>
                    <a:pt x="94" y="1220"/>
                    <a:pt x="95" y="1222"/>
                    <a:pt x="96" y="1224"/>
                  </a:cubicBezTo>
                  <a:cubicBezTo>
                    <a:pt x="97" y="1227"/>
                    <a:pt x="97" y="1230"/>
                    <a:pt x="98" y="1233"/>
                  </a:cubicBezTo>
                  <a:cubicBezTo>
                    <a:pt x="98" y="1236"/>
                    <a:pt x="99" y="1239"/>
                    <a:pt x="100" y="1241"/>
                  </a:cubicBezTo>
                  <a:cubicBezTo>
                    <a:pt x="101" y="1243"/>
                    <a:pt x="102" y="1243"/>
                    <a:pt x="101" y="1245"/>
                  </a:cubicBezTo>
                  <a:cubicBezTo>
                    <a:pt x="99" y="1245"/>
                    <a:pt x="99" y="1242"/>
                    <a:pt x="97" y="1240"/>
                  </a:cubicBezTo>
                  <a:cubicBezTo>
                    <a:pt x="96" y="1238"/>
                    <a:pt x="93" y="1236"/>
                    <a:pt x="92" y="1233"/>
                  </a:cubicBezTo>
                  <a:cubicBezTo>
                    <a:pt x="91" y="1230"/>
                    <a:pt x="89" y="1221"/>
                    <a:pt x="84" y="1221"/>
                  </a:cubicBezTo>
                  <a:cubicBezTo>
                    <a:pt x="80" y="1221"/>
                    <a:pt x="78" y="1228"/>
                    <a:pt x="75" y="1230"/>
                  </a:cubicBezTo>
                  <a:cubicBezTo>
                    <a:pt x="74" y="1231"/>
                    <a:pt x="71" y="1230"/>
                    <a:pt x="70" y="1231"/>
                  </a:cubicBezTo>
                  <a:cubicBezTo>
                    <a:pt x="69" y="1232"/>
                    <a:pt x="68" y="1235"/>
                    <a:pt x="67" y="1237"/>
                  </a:cubicBezTo>
                  <a:cubicBezTo>
                    <a:pt x="64" y="1235"/>
                    <a:pt x="63" y="1232"/>
                    <a:pt x="64" y="1229"/>
                  </a:cubicBezTo>
                  <a:cubicBezTo>
                    <a:pt x="69" y="1227"/>
                    <a:pt x="77" y="1222"/>
                    <a:pt x="70" y="1216"/>
                  </a:cubicBezTo>
                  <a:cubicBezTo>
                    <a:pt x="67" y="1214"/>
                    <a:pt x="63" y="1212"/>
                    <a:pt x="61" y="1215"/>
                  </a:cubicBezTo>
                  <a:cubicBezTo>
                    <a:pt x="59" y="1218"/>
                    <a:pt x="62" y="1228"/>
                    <a:pt x="58" y="1229"/>
                  </a:cubicBezTo>
                  <a:cubicBezTo>
                    <a:pt x="56" y="1229"/>
                    <a:pt x="55" y="1227"/>
                    <a:pt x="54" y="1226"/>
                  </a:cubicBezTo>
                  <a:cubicBezTo>
                    <a:pt x="53" y="1225"/>
                    <a:pt x="51" y="1225"/>
                    <a:pt x="50" y="1225"/>
                  </a:cubicBezTo>
                  <a:cubicBezTo>
                    <a:pt x="47" y="1226"/>
                    <a:pt x="44" y="1228"/>
                    <a:pt x="43" y="1231"/>
                  </a:cubicBezTo>
                  <a:cubicBezTo>
                    <a:pt x="41" y="1239"/>
                    <a:pt x="52" y="1238"/>
                    <a:pt x="57" y="1237"/>
                  </a:cubicBezTo>
                  <a:cubicBezTo>
                    <a:pt x="57" y="1237"/>
                    <a:pt x="57" y="1236"/>
                    <a:pt x="57" y="1236"/>
                  </a:cubicBezTo>
                  <a:cubicBezTo>
                    <a:pt x="59" y="1236"/>
                    <a:pt x="59" y="1238"/>
                    <a:pt x="59" y="1240"/>
                  </a:cubicBezTo>
                  <a:cubicBezTo>
                    <a:pt x="62" y="1240"/>
                    <a:pt x="63" y="1241"/>
                    <a:pt x="65" y="1242"/>
                  </a:cubicBezTo>
                  <a:cubicBezTo>
                    <a:pt x="68" y="1244"/>
                    <a:pt x="68" y="1244"/>
                    <a:pt x="68" y="1248"/>
                  </a:cubicBezTo>
                  <a:cubicBezTo>
                    <a:pt x="69" y="1253"/>
                    <a:pt x="70" y="1259"/>
                    <a:pt x="63" y="1258"/>
                  </a:cubicBezTo>
                  <a:cubicBezTo>
                    <a:pt x="63" y="1257"/>
                    <a:pt x="63" y="1256"/>
                    <a:pt x="62" y="1256"/>
                  </a:cubicBezTo>
                  <a:cubicBezTo>
                    <a:pt x="62" y="1255"/>
                    <a:pt x="61" y="1255"/>
                    <a:pt x="61" y="1254"/>
                  </a:cubicBezTo>
                  <a:cubicBezTo>
                    <a:pt x="61" y="1254"/>
                    <a:pt x="61" y="1253"/>
                    <a:pt x="61" y="1253"/>
                  </a:cubicBezTo>
                  <a:cubicBezTo>
                    <a:pt x="59" y="1250"/>
                    <a:pt x="56" y="1247"/>
                    <a:pt x="53" y="1247"/>
                  </a:cubicBezTo>
                  <a:cubicBezTo>
                    <a:pt x="50" y="1246"/>
                    <a:pt x="48" y="1248"/>
                    <a:pt x="46" y="1246"/>
                  </a:cubicBezTo>
                  <a:cubicBezTo>
                    <a:pt x="45" y="1245"/>
                    <a:pt x="46" y="1244"/>
                    <a:pt x="45" y="1243"/>
                  </a:cubicBezTo>
                  <a:cubicBezTo>
                    <a:pt x="44" y="1242"/>
                    <a:pt x="41" y="1242"/>
                    <a:pt x="40" y="1242"/>
                  </a:cubicBezTo>
                  <a:cubicBezTo>
                    <a:pt x="40" y="1244"/>
                    <a:pt x="40" y="1246"/>
                    <a:pt x="40" y="1248"/>
                  </a:cubicBezTo>
                  <a:cubicBezTo>
                    <a:pt x="44" y="1248"/>
                    <a:pt x="45" y="1260"/>
                    <a:pt x="39" y="1256"/>
                  </a:cubicBezTo>
                  <a:cubicBezTo>
                    <a:pt x="33" y="1252"/>
                    <a:pt x="35" y="1247"/>
                    <a:pt x="34" y="1241"/>
                  </a:cubicBezTo>
                  <a:cubicBezTo>
                    <a:pt x="33" y="1237"/>
                    <a:pt x="31" y="1235"/>
                    <a:pt x="27" y="1236"/>
                  </a:cubicBezTo>
                  <a:cubicBezTo>
                    <a:pt x="23" y="1237"/>
                    <a:pt x="24" y="1240"/>
                    <a:pt x="24" y="1243"/>
                  </a:cubicBezTo>
                  <a:cubicBezTo>
                    <a:pt x="24" y="1247"/>
                    <a:pt x="25" y="1248"/>
                    <a:pt x="28" y="1249"/>
                  </a:cubicBezTo>
                  <a:cubicBezTo>
                    <a:pt x="30" y="1250"/>
                    <a:pt x="32" y="1250"/>
                    <a:pt x="33" y="1252"/>
                  </a:cubicBezTo>
                  <a:cubicBezTo>
                    <a:pt x="34" y="1254"/>
                    <a:pt x="34" y="1257"/>
                    <a:pt x="34" y="1259"/>
                  </a:cubicBezTo>
                  <a:cubicBezTo>
                    <a:pt x="35" y="1262"/>
                    <a:pt x="36" y="1265"/>
                    <a:pt x="32" y="1267"/>
                  </a:cubicBezTo>
                  <a:cubicBezTo>
                    <a:pt x="31" y="1267"/>
                    <a:pt x="26" y="1267"/>
                    <a:pt x="25" y="1267"/>
                  </a:cubicBezTo>
                  <a:cubicBezTo>
                    <a:pt x="24" y="1266"/>
                    <a:pt x="24" y="1264"/>
                    <a:pt x="22" y="1264"/>
                  </a:cubicBezTo>
                  <a:cubicBezTo>
                    <a:pt x="22" y="1264"/>
                    <a:pt x="19" y="1264"/>
                    <a:pt x="19" y="1264"/>
                  </a:cubicBezTo>
                  <a:cubicBezTo>
                    <a:pt x="14" y="1267"/>
                    <a:pt x="21" y="1271"/>
                    <a:pt x="24" y="1271"/>
                  </a:cubicBezTo>
                  <a:cubicBezTo>
                    <a:pt x="29" y="1273"/>
                    <a:pt x="36" y="1271"/>
                    <a:pt x="42" y="1271"/>
                  </a:cubicBezTo>
                  <a:cubicBezTo>
                    <a:pt x="47" y="1272"/>
                    <a:pt x="53" y="1272"/>
                    <a:pt x="58" y="1273"/>
                  </a:cubicBezTo>
                  <a:cubicBezTo>
                    <a:pt x="61" y="1273"/>
                    <a:pt x="66" y="1273"/>
                    <a:pt x="66" y="1277"/>
                  </a:cubicBezTo>
                  <a:cubicBezTo>
                    <a:pt x="62" y="1278"/>
                    <a:pt x="57" y="1277"/>
                    <a:pt x="54" y="1277"/>
                  </a:cubicBezTo>
                  <a:cubicBezTo>
                    <a:pt x="52" y="1277"/>
                    <a:pt x="49" y="1277"/>
                    <a:pt x="48" y="1277"/>
                  </a:cubicBezTo>
                  <a:cubicBezTo>
                    <a:pt x="45" y="1276"/>
                    <a:pt x="42" y="1275"/>
                    <a:pt x="39" y="1274"/>
                  </a:cubicBezTo>
                  <a:cubicBezTo>
                    <a:pt x="36" y="1274"/>
                    <a:pt x="34" y="1274"/>
                    <a:pt x="33" y="1277"/>
                  </a:cubicBezTo>
                  <a:cubicBezTo>
                    <a:pt x="31" y="1280"/>
                    <a:pt x="30" y="1283"/>
                    <a:pt x="30" y="1286"/>
                  </a:cubicBezTo>
                  <a:cubicBezTo>
                    <a:pt x="25" y="1287"/>
                    <a:pt x="14" y="1286"/>
                    <a:pt x="18" y="1294"/>
                  </a:cubicBezTo>
                  <a:cubicBezTo>
                    <a:pt x="15" y="1294"/>
                    <a:pt x="15" y="1299"/>
                    <a:pt x="15" y="1302"/>
                  </a:cubicBezTo>
                  <a:cubicBezTo>
                    <a:pt x="17" y="1306"/>
                    <a:pt x="23" y="1304"/>
                    <a:pt x="27" y="1305"/>
                  </a:cubicBezTo>
                  <a:cubicBezTo>
                    <a:pt x="31" y="1307"/>
                    <a:pt x="30" y="1311"/>
                    <a:pt x="35" y="1311"/>
                  </a:cubicBezTo>
                  <a:cubicBezTo>
                    <a:pt x="38" y="1310"/>
                    <a:pt x="38" y="1310"/>
                    <a:pt x="40" y="1309"/>
                  </a:cubicBezTo>
                  <a:cubicBezTo>
                    <a:pt x="43" y="1308"/>
                    <a:pt x="48" y="1309"/>
                    <a:pt x="50" y="1309"/>
                  </a:cubicBezTo>
                  <a:cubicBezTo>
                    <a:pt x="51" y="1311"/>
                    <a:pt x="44" y="1315"/>
                    <a:pt x="42" y="1315"/>
                  </a:cubicBezTo>
                  <a:cubicBezTo>
                    <a:pt x="39" y="1316"/>
                    <a:pt x="35" y="1313"/>
                    <a:pt x="32" y="1312"/>
                  </a:cubicBezTo>
                  <a:cubicBezTo>
                    <a:pt x="30" y="1311"/>
                    <a:pt x="28" y="1311"/>
                    <a:pt x="25" y="1312"/>
                  </a:cubicBezTo>
                  <a:cubicBezTo>
                    <a:pt x="25" y="1313"/>
                    <a:pt x="25" y="1314"/>
                    <a:pt x="25" y="1316"/>
                  </a:cubicBezTo>
                  <a:cubicBezTo>
                    <a:pt x="27" y="1316"/>
                    <a:pt x="30" y="1319"/>
                    <a:pt x="32" y="1320"/>
                  </a:cubicBezTo>
                  <a:cubicBezTo>
                    <a:pt x="34" y="1321"/>
                    <a:pt x="34" y="1321"/>
                    <a:pt x="35" y="1321"/>
                  </a:cubicBezTo>
                  <a:cubicBezTo>
                    <a:pt x="37" y="1322"/>
                    <a:pt x="39" y="1321"/>
                    <a:pt x="41" y="1322"/>
                  </a:cubicBezTo>
                  <a:cubicBezTo>
                    <a:pt x="43" y="1327"/>
                    <a:pt x="31" y="1327"/>
                    <a:pt x="28" y="1329"/>
                  </a:cubicBezTo>
                  <a:cubicBezTo>
                    <a:pt x="24" y="1331"/>
                    <a:pt x="13" y="1332"/>
                    <a:pt x="16" y="1339"/>
                  </a:cubicBezTo>
                  <a:cubicBezTo>
                    <a:pt x="24" y="1340"/>
                    <a:pt x="31" y="1333"/>
                    <a:pt x="40" y="1335"/>
                  </a:cubicBezTo>
                  <a:cubicBezTo>
                    <a:pt x="42" y="1339"/>
                    <a:pt x="32" y="1343"/>
                    <a:pt x="29" y="1343"/>
                  </a:cubicBezTo>
                  <a:cubicBezTo>
                    <a:pt x="26" y="1343"/>
                    <a:pt x="20" y="1340"/>
                    <a:pt x="18" y="1342"/>
                  </a:cubicBezTo>
                  <a:cubicBezTo>
                    <a:pt x="16" y="1343"/>
                    <a:pt x="17" y="1345"/>
                    <a:pt x="16" y="1346"/>
                  </a:cubicBezTo>
                  <a:cubicBezTo>
                    <a:pt x="16" y="1347"/>
                    <a:pt x="13" y="1349"/>
                    <a:pt x="15" y="1351"/>
                  </a:cubicBezTo>
                  <a:cubicBezTo>
                    <a:pt x="15" y="1351"/>
                    <a:pt x="18" y="1351"/>
                    <a:pt x="19" y="1351"/>
                  </a:cubicBezTo>
                  <a:cubicBezTo>
                    <a:pt x="19" y="1352"/>
                    <a:pt x="21" y="1353"/>
                    <a:pt x="21" y="1353"/>
                  </a:cubicBezTo>
                  <a:cubicBezTo>
                    <a:pt x="24" y="1354"/>
                    <a:pt x="27" y="1353"/>
                    <a:pt x="30" y="1354"/>
                  </a:cubicBezTo>
                  <a:cubicBezTo>
                    <a:pt x="32" y="1357"/>
                    <a:pt x="30" y="1362"/>
                    <a:pt x="33" y="1365"/>
                  </a:cubicBezTo>
                  <a:cubicBezTo>
                    <a:pt x="37" y="1369"/>
                    <a:pt x="46" y="1365"/>
                    <a:pt x="50" y="1364"/>
                  </a:cubicBezTo>
                  <a:cubicBezTo>
                    <a:pt x="62" y="1364"/>
                    <a:pt x="73" y="1364"/>
                    <a:pt x="84" y="1364"/>
                  </a:cubicBezTo>
                  <a:cubicBezTo>
                    <a:pt x="88" y="1364"/>
                    <a:pt x="94" y="1365"/>
                    <a:pt x="97" y="1363"/>
                  </a:cubicBezTo>
                  <a:cubicBezTo>
                    <a:pt x="102" y="1361"/>
                    <a:pt x="102" y="1356"/>
                    <a:pt x="108" y="1355"/>
                  </a:cubicBezTo>
                  <a:cubicBezTo>
                    <a:pt x="111" y="1355"/>
                    <a:pt x="113" y="1355"/>
                    <a:pt x="116" y="1357"/>
                  </a:cubicBezTo>
                  <a:cubicBezTo>
                    <a:pt x="117" y="1358"/>
                    <a:pt x="119" y="1361"/>
                    <a:pt x="120" y="1362"/>
                  </a:cubicBezTo>
                  <a:cubicBezTo>
                    <a:pt x="123" y="1364"/>
                    <a:pt x="132" y="1362"/>
                    <a:pt x="130" y="1369"/>
                  </a:cubicBezTo>
                  <a:cubicBezTo>
                    <a:pt x="128" y="1369"/>
                    <a:pt x="124" y="1369"/>
                    <a:pt x="122" y="1369"/>
                  </a:cubicBezTo>
                  <a:cubicBezTo>
                    <a:pt x="120" y="1368"/>
                    <a:pt x="120" y="1366"/>
                    <a:pt x="118" y="1365"/>
                  </a:cubicBezTo>
                  <a:cubicBezTo>
                    <a:pt x="115" y="1363"/>
                    <a:pt x="108" y="1363"/>
                    <a:pt x="105" y="1365"/>
                  </a:cubicBezTo>
                  <a:cubicBezTo>
                    <a:pt x="98" y="1369"/>
                    <a:pt x="89" y="1365"/>
                    <a:pt x="81" y="1365"/>
                  </a:cubicBezTo>
                  <a:cubicBezTo>
                    <a:pt x="76" y="1365"/>
                    <a:pt x="71" y="1365"/>
                    <a:pt x="67" y="1365"/>
                  </a:cubicBezTo>
                  <a:cubicBezTo>
                    <a:pt x="64" y="1365"/>
                    <a:pt x="61" y="1365"/>
                    <a:pt x="59" y="1366"/>
                  </a:cubicBezTo>
                  <a:cubicBezTo>
                    <a:pt x="55" y="1366"/>
                    <a:pt x="54" y="1367"/>
                    <a:pt x="51" y="1369"/>
                  </a:cubicBezTo>
                  <a:cubicBezTo>
                    <a:pt x="47" y="1371"/>
                    <a:pt x="44" y="1371"/>
                    <a:pt x="40" y="1371"/>
                  </a:cubicBezTo>
                  <a:cubicBezTo>
                    <a:pt x="37" y="1372"/>
                    <a:pt x="36" y="1374"/>
                    <a:pt x="33" y="1373"/>
                  </a:cubicBezTo>
                  <a:cubicBezTo>
                    <a:pt x="30" y="1373"/>
                    <a:pt x="29" y="1370"/>
                    <a:pt x="29" y="1367"/>
                  </a:cubicBezTo>
                  <a:cubicBezTo>
                    <a:pt x="26" y="1367"/>
                    <a:pt x="21" y="1366"/>
                    <a:pt x="18" y="1367"/>
                  </a:cubicBezTo>
                  <a:cubicBezTo>
                    <a:pt x="14" y="1369"/>
                    <a:pt x="14" y="1372"/>
                    <a:pt x="10" y="1370"/>
                  </a:cubicBezTo>
                  <a:cubicBezTo>
                    <a:pt x="6" y="1368"/>
                    <a:pt x="6" y="1367"/>
                    <a:pt x="4" y="1370"/>
                  </a:cubicBezTo>
                  <a:cubicBezTo>
                    <a:pt x="3" y="1371"/>
                    <a:pt x="2" y="1373"/>
                    <a:pt x="2" y="1375"/>
                  </a:cubicBezTo>
                  <a:cubicBezTo>
                    <a:pt x="1" y="1377"/>
                    <a:pt x="0" y="1382"/>
                    <a:pt x="1" y="1383"/>
                  </a:cubicBezTo>
                  <a:cubicBezTo>
                    <a:pt x="2" y="1386"/>
                    <a:pt x="5" y="1385"/>
                    <a:pt x="7" y="1385"/>
                  </a:cubicBezTo>
                  <a:cubicBezTo>
                    <a:pt x="7" y="1388"/>
                    <a:pt x="6" y="1389"/>
                    <a:pt x="6" y="1391"/>
                  </a:cubicBezTo>
                  <a:cubicBezTo>
                    <a:pt x="5" y="1394"/>
                    <a:pt x="4" y="1397"/>
                    <a:pt x="9" y="1396"/>
                  </a:cubicBezTo>
                  <a:cubicBezTo>
                    <a:pt x="11" y="1399"/>
                    <a:pt x="12" y="1403"/>
                    <a:pt x="15" y="1406"/>
                  </a:cubicBezTo>
                  <a:cubicBezTo>
                    <a:pt x="16" y="1406"/>
                    <a:pt x="16" y="1404"/>
                    <a:pt x="17" y="1403"/>
                  </a:cubicBezTo>
                  <a:cubicBezTo>
                    <a:pt x="18" y="1400"/>
                    <a:pt x="19" y="1399"/>
                    <a:pt x="22" y="1398"/>
                  </a:cubicBezTo>
                  <a:cubicBezTo>
                    <a:pt x="27" y="1397"/>
                    <a:pt x="29" y="1398"/>
                    <a:pt x="34" y="1400"/>
                  </a:cubicBezTo>
                  <a:cubicBezTo>
                    <a:pt x="34" y="1412"/>
                    <a:pt x="40" y="1400"/>
                    <a:pt x="44" y="1399"/>
                  </a:cubicBezTo>
                  <a:cubicBezTo>
                    <a:pt x="44" y="1401"/>
                    <a:pt x="44" y="1403"/>
                    <a:pt x="44" y="1404"/>
                  </a:cubicBezTo>
                  <a:cubicBezTo>
                    <a:pt x="41" y="1405"/>
                    <a:pt x="39" y="1407"/>
                    <a:pt x="36" y="1407"/>
                  </a:cubicBezTo>
                  <a:cubicBezTo>
                    <a:pt x="34" y="1406"/>
                    <a:pt x="33" y="1404"/>
                    <a:pt x="31" y="1403"/>
                  </a:cubicBezTo>
                  <a:cubicBezTo>
                    <a:pt x="29" y="1402"/>
                    <a:pt x="25" y="1402"/>
                    <a:pt x="23" y="1403"/>
                  </a:cubicBezTo>
                  <a:cubicBezTo>
                    <a:pt x="17" y="1404"/>
                    <a:pt x="20" y="1414"/>
                    <a:pt x="15" y="1413"/>
                  </a:cubicBezTo>
                  <a:cubicBezTo>
                    <a:pt x="13" y="1418"/>
                    <a:pt x="19" y="1417"/>
                    <a:pt x="22" y="1418"/>
                  </a:cubicBezTo>
                  <a:cubicBezTo>
                    <a:pt x="23" y="1422"/>
                    <a:pt x="24" y="1423"/>
                    <a:pt x="21" y="1424"/>
                  </a:cubicBezTo>
                  <a:cubicBezTo>
                    <a:pt x="18" y="1426"/>
                    <a:pt x="15" y="1427"/>
                    <a:pt x="13" y="1430"/>
                  </a:cubicBezTo>
                  <a:cubicBezTo>
                    <a:pt x="11" y="1434"/>
                    <a:pt x="16" y="1434"/>
                    <a:pt x="18" y="1437"/>
                  </a:cubicBezTo>
                  <a:cubicBezTo>
                    <a:pt x="20" y="1440"/>
                    <a:pt x="19" y="1445"/>
                    <a:pt x="18" y="1448"/>
                  </a:cubicBezTo>
                  <a:cubicBezTo>
                    <a:pt x="16" y="1453"/>
                    <a:pt x="13" y="1466"/>
                    <a:pt x="20" y="1469"/>
                  </a:cubicBezTo>
                  <a:cubicBezTo>
                    <a:pt x="28" y="1471"/>
                    <a:pt x="25" y="1455"/>
                    <a:pt x="26" y="1451"/>
                  </a:cubicBezTo>
                  <a:cubicBezTo>
                    <a:pt x="33" y="1450"/>
                    <a:pt x="34" y="1453"/>
                    <a:pt x="35" y="1459"/>
                  </a:cubicBezTo>
                  <a:cubicBezTo>
                    <a:pt x="35" y="1466"/>
                    <a:pt x="36" y="1475"/>
                    <a:pt x="45" y="1473"/>
                  </a:cubicBezTo>
                  <a:cubicBezTo>
                    <a:pt x="45" y="1471"/>
                    <a:pt x="47" y="1472"/>
                    <a:pt x="48" y="1470"/>
                  </a:cubicBezTo>
                  <a:cubicBezTo>
                    <a:pt x="49" y="1469"/>
                    <a:pt x="49" y="1467"/>
                    <a:pt x="50" y="1466"/>
                  </a:cubicBezTo>
                  <a:cubicBezTo>
                    <a:pt x="50" y="1463"/>
                    <a:pt x="50" y="1459"/>
                    <a:pt x="52" y="1457"/>
                  </a:cubicBezTo>
                  <a:cubicBezTo>
                    <a:pt x="53" y="1458"/>
                    <a:pt x="55" y="1458"/>
                    <a:pt x="55" y="1459"/>
                  </a:cubicBezTo>
                  <a:cubicBezTo>
                    <a:pt x="56" y="1461"/>
                    <a:pt x="55" y="1463"/>
                    <a:pt x="55" y="1464"/>
                  </a:cubicBezTo>
                  <a:cubicBezTo>
                    <a:pt x="55" y="1466"/>
                    <a:pt x="55" y="1467"/>
                    <a:pt x="56" y="1469"/>
                  </a:cubicBezTo>
                  <a:cubicBezTo>
                    <a:pt x="56" y="1470"/>
                    <a:pt x="58" y="1471"/>
                    <a:pt x="57" y="1473"/>
                  </a:cubicBezTo>
                  <a:cubicBezTo>
                    <a:pt x="57" y="1474"/>
                    <a:pt x="55" y="1474"/>
                    <a:pt x="54" y="1475"/>
                  </a:cubicBezTo>
                  <a:cubicBezTo>
                    <a:pt x="54" y="1476"/>
                    <a:pt x="54" y="1477"/>
                    <a:pt x="53" y="1477"/>
                  </a:cubicBezTo>
                  <a:cubicBezTo>
                    <a:pt x="51" y="1478"/>
                    <a:pt x="46" y="1479"/>
                    <a:pt x="45" y="1478"/>
                  </a:cubicBezTo>
                  <a:cubicBezTo>
                    <a:pt x="41" y="1480"/>
                    <a:pt x="39" y="1479"/>
                    <a:pt x="38" y="1484"/>
                  </a:cubicBezTo>
                  <a:cubicBezTo>
                    <a:pt x="33" y="1484"/>
                    <a:pt x="33" y="1480"/>
                    <a:pt x="28" y="1481"/>
                  </a:cubicBezTo>
                  <a:cubicBezTo>
                    <a:pt x="28" y="1483"/>
                    <a:pt x="26" y="1485"/>
                    <a:pt x="26" y="1487"/>
                  </a:cubicBezTo>
                  <a:cubicBezTo>
                    <a:pt x="28" y="1489"/>
                    <a:pt x="32" y="1486"/>
                    <a:pt x="35" y="1488"/>
                  </a:cubicBezTo>
                  <a:cubicBezTo>
                    <a:pt x="35" y="1488"/>
                    <a:pt x="36" y="1490"/>
                    <a:pt x="37" y="1490"/>
                  </a:cubicBezTo>
                  <a:cubicBezTo>
                    <a:pt x="38" y="1492"/>
                    <a:pt x="41" y="1492"/>
                    <a:pt x="42" y="1493"/>
                  </a:cubicBezTo>
                  <a:cubicBezTo>
                    <a:pt x="40" y="1495"/>
                    <a:pt x="38" y="1495"/>
                    <a:pt x="36" y="1494"/>
                  </a:cubicBezTo>
                  <a:cubicBezTo>
                    <a:pt x="34" y="1494"/>
                    <a:pt x="35" y="1492"/>
                    <a:pt x="32" y="1493"/>
                  </a:cubicBezTo>
                  <a:cubicBezTo>
                    <a:pt x="32" y="1496"/>
                    <a:pt x="33" y="1499"/>
                    <a:pt x="33" y="1502"/>
                  </a:cubicBezTo>
                  <a:cubicBezTo>
                    <a:pt x="30" y="1503"/>
                    <a:pt x="28" y="1499"/>
                    <a:pt x="26" y="1498"/>
                  </a:cubicBezTo>
                  <a:cubicBezTo>
                    <a:pt x="25" y="1498"/>
                    <a:pt x="23" y="1498"/>
                    <a:pt x="21" y="1498"/>
                  </a:cubicBezTo>
                  <a:cubicBezTo>
                    <a:pt x="20" y="1503"/>
                    <a:pt x="26" y="1506"/>
                    <a:pt x="29" y="1509"/>
                  </a:cubicBezTo>
                  <a:cubicBezTo>
                    <a:pt x="31" y="1513"/>
                    <a:pt x="28" y="1515"/>
                    <a:pt x="28" y="1519"/>
                  </a:cubicBezTo>
                  <a:cubicBezTo>
                    <a:pt x="27" y="1522"/>
                    <a:pt x="27" y="1526"/>
                    <a:pt x="27" y="1529"/>
                  </a:cubicBezTo>
                  <a:cubicBezTo>
                    <a:pt x="26" y="1534"/>
                    <a:pt x="28" y="1536"/>
                    <a:pt x="33" y="1535"/>
                  </a:cubicBezTo>
                  <a:cubicBezTo>
                    <a:pt x="34" y="1531"/>
                    <a:pt x="32" y="1526"/>
                    <a:pt x="38" y="1526"/>
                  </a:cubicBezTo>
                  <a:cubicBezTo>
                    <a:pt x="40" y="1527"/>
                    <a:pt x="41" y="1529"/>
                    <a:pt x="43" y="1527"/>
                  </a:cubicBezTo>
                  <a:cubicBezTo>
                    <a:pt x="45" y="1526"/>
                    <a:pt x="44" y="1522"/>
                    <a:pt x="48" y="1523"/>
                  </a:cubicBezTo>
                  <a:cubicBezTo>
                    <a:pt x="49" y="1529"/>
                    <a:pt x="40" y="1527"/>
                    <a:pt x="38" y="1530"/>
                  </a:cubicBezTo>
                  <a:cubicBezTo>
                    <a:pt x="37" y="1532"/>
                    <a:pt x="38" y="1534"/>
                    <a:pt x="37" y="1536"/>
                  </a:cubicBezTo>
                  <a:cubicBezTo>
                    <a:pt x="35" y="1538"/>
                    <a:pt x="34" y="1539"/>
                    <a:pt x="32" y="1539"/>
                  </a:cubicBezTo>
                  <a:cubicBezTo>
                    <a:pt x="31" y="1546"/>
                    <a:pt x="32" y="1553"/>
                    <a:pt x="32" y="1559"/>
                  </a:cubicBezTo>
                  <a:cubicBezTo>
                    <a:pt x="32" y="1566"/>
                    <a:pt x="28" y="1572"/>
                    <a:pt x="30" y="1578"/>
                  </a:cubicBezTo>
                  <a:cubicBezTo>
                    <a:pt x="31" y="1579"/>
                    <a:pt x="32" y="1583"/>
                    <a:pt x="34" y="1583"/>
                  </a:cubicBezTo>
                  <a:cubicBezTo>
                    <a:pt x="38" y="1585"/>
                    <a:pt x="39" y="1580"/>
                    <a:pt x="39" y="1577"/>
                  </a:cubicBezTo>
                  <a:cubicBezTo>
                    <a:pt x="39" y="1576"/>
                    <a:pt x="38" y="1572"/>
                    <a:pt x="40" y="1571"/>
                  </a:cubicBezTo>
                  <a:cubicBezTo>
                    <a:pt x="43" y="1569"/>
                    <a:pt x="47" y="1578"/>
                    <a:pt x="47" y="1580"/>
                  </a:cubicBezTo>
                  <a:cubicBezTo>
                    <a:pt x="52" y="1582"/>
                    <a:pt x="51" y="1574"/>
                    <a:pt x="53" y="1571"/>
                  </a:cubicBezTo>
                  <a:cubicBezTo>
                    <a:pt x="55" y="1569"/>
                    <a:pt x="57" y="1570"/>
                    <a:pt x="58" y="1568"/>
                  </a:cubicBezTo>
                  <a:cubicBezTo>
                    <a:pt x="60" y="1567"/>
                    <a:pt x="59" y="1564"/>
                    <a:pt x="59" y="1562"/>
                  </a:cubicBezTo>
                  <a:cubicBezTo>
                    <a:pt x="62" y="1561"/>
                    <a:pt x="72" y="1561"/>
                    <a:pt x="70" y="1566"/>
                  </a:cubicBezTo>
                  <a:cubicBezTo>
                    <a:pt x="67" y="1566"/>
                    <a:pt x="66" y="1569"/>
                    <a:pt x="67" y="1571"/>
                  </a:cubicBezTo>
                  <a:cubicBezTo>
                    <a:pt x="71" y="1571"/>
                    <a:pt x="75" y="1570"/>
                    <a:pt x="79" y="1571"/>
                  </a:cubicBezTo>
                  <a:cubicBezTo>
                    <a:pt x="80" y="1575"/>
                    <a:pt x="80" y="1576"/>
                    <a:pt x="76" y="1578"/>
                  </a:cubicBezTo>
                  <a:cubicBezTo>
                    <a:pt x="75" y="1578"/>
                    <a:pt x="73" y="1579"/>
                    <a:pt x="72" y="1579"/>
                  </a:cubicBezTo>
                  <a:cubicBezTo>
                    <a:pt x="69" y="1578"/>
                    <a:pt x="68" y="1576"/>
                    <a:pt x="66" y="1577"/>
                  </a:cubicBezTo>
                  <a:cubicBezTo>
                    <a:pt x="65" y="1579"/>
                    <a:pt x="64" y="1583"/>
                    <a:pt x="65" y="1585"/>
                  </a:cubicBezTo>
                  <a:cubicBezTo>
                    <a:pt x="65" y="1588"/>
                    <a:pt x="67" y="1588"/>
                    <a:pt x="66" y="1591"/>
                  </a:cubicBezTo>
                  <a:cubicBezTo>
                    <a:pt x="65" y="1591"/>
                    <a:pt x="64" y="1591"/>
                    <a:pt x="63" y="1591"/>
                  </a:cubicBezTo>
                  <a:cubicBezTo>
                    <a:pt x="63" y="1589"/>
                    <a:pt x="63" y="1587"/>
                    <a:pt x="63" y="1585"/>
                  </a:cubicBezTo>
                  <a:cubicBezTo>
                    <a:pt x="58" y="1585"/>
                    <a:pt x="52" y="1584"/>
                    <a:pt x="47" y="1585"/>
                  </a:cubicBezTo>
                  <a:cubicBezTo>
                    <a:pt x="46" y="1589"/>
                    <a:pt x="49" y="1590"/>
                    <a:pt x="49" y="1593"/>
                  </a:cubicBezTo>
                  <a:cubicBezTo>
                    <a:pt x="50" y="1596"/>
                    <a:pt x="49" y="1597"/>
                    <a:pt x="49" y="1599"/>
                  </a:cubicBezTo>
                  <a:cubicBezTo>
                    <a:pt x="47" y="1604"/>
                    <a:pt x="48" y="1608"/>
                    <a:pt x="47" y="1613"/>
                  </a:cubicBezTo>
                  <a:cubicBezTo>
                    <a:pt x="47" y="1615"/>
                    <a:pt x="46" y="1619"/>
                    <a:pt x="47" y="1622"/>
                  </a:cubicBezTo>
                  <a:cubicBezTo>
                    <a:pt x="47" y="1624"/>
                    <a:pt x="49" y="1624"/>
                    <a:pt x="50" y="1626"/>
                  </a:cubicBezTo>
                  <a:cubicBezTo>
                    <a:pt x="52" y="1628"/>
                    <a:pt x="53" y="1631"/>
                    <a:pt x="54" y="1633"/>
                  </a:cubicBezTo>
                  <a:cubicBezTo>
                    <a:pt x="57" y="1637"/>
                    <a:pt x="62" y="1639"/>
                    <a:pt x="67" y="1641"/>
                  </a:cubicBezTo>
                  <a:cubicBezTo>
                    <a:pt x="66" y="1644"/>
                    <a:pt x="68" y="1644"/>
                    <a:pt x="69" y="1646"/>
                  </a:cubicBezTo>
                  <a:cubicBezTo>
                    <a:pt x="69" y="1647"/>
                    <a:pt x="68" y="1649"/>
                    <a:pt x="68" y="1651"/>
                  </a:cubicBezTo>
                  <a:cubicBezTo>
                    <a:pt x="69" y="1654"/>
                    <a:pt x="69" y="1657"/>
                    <a:pt x="72" y="1658"/>
                  </a:cubicBezTo>
                  <a:cubicBezTo>
                    <a:pt x="73" y="1659"/>
                    <a:pt x="76" y="1658"/>
                    <a:pt x="78" y="1659"/>
                  </a:cubicBezTo>
                  <a:cubicBezTo>
                    <a:pt x="80" y="1660"/>
                    <a:pt x="80" y="1663"/>
                    <a:pt x="83" y="1664"/>
                  </a:cubicBezTo>
                  <a:cubicBezTo>
                    <a:pt x="84" y="1664"/>
                    <a:pt x="86" y="1663"/>
                    <a:pt x="88" y="1664"/>
                  </a:cubicBezTo>
                  <a:cubicBezTo>
                    <a:pt x="90" y="1666"/>
                    <a:pt x="91" y="1668"/>
                    <a:pt x="93" y="1670"/>
                  </a:cubicBezTo>
                  <a:cubicBezTo>
                    <a:pt x="95" y="1671"/>
                    <a:pt x="95" y="1672"/>
                    <a:pt x="97" y="1673"/>
                  </a:cubicBezTo>
                  <a:cubicBezTo>
                    <a:pt x="99" y="1674"/>
                    <a:pt x="102" y="1673"/>
                    <a:pt x="105" y="1674"/>
                  </a:cubicBezTo>
                  <a:cubicBezTo>
                    <a:pt x="112" y="1676"/>
                    <a:pt x="108" y="1680"/>
                    <a:pt x="106" y="1684"/>
                  </a:cubicBezTo>
                  <a:cubicBezTo>
                    <a:pt x="104" y="1690"/>
                    <a:pt x="109" y="1690"/>
                    <a:pt x="114" y="1690"/>
                  </a:cubicBezTo>
                  <a:cubicBezTo>
                    <a:pt x="116" y="1690"/>
                    <a:pt x="118" y="1688"/>
                    <a:pt x="120" y="1689"/>
                  </a:cubicBezTo>
                  <a:cubicBezTo>
                    <a:pt x="122" y="1690"/>
                    <a:pt x="122" y="1692"/>
                    <a:pt x="123" y="1693"/>
                  </a:cubicBezTo>
                  <a:cubicBezTo>
                    <a:pt x="125" y="1697"/>
                    <a:pt x="129" y="1696"/>
                    <a:pt x="133" y="1698"/>
                  </a:cubicBezTo>
                  <a:cubicBezTo>
                    <a:pt x="135" y="1699"/>
                    <a:pt x="136" y="1701"/>
                    <a:pt x="138" y="1700"/>
                  </a:cubicBezTo>
                  <a:cubicBezTo>
                    <a:pt x="138" y="1693"/>
                    <a:pt x="143" y="1695"/>
                    <a:pt x="149" y="1697"/>
                  </a:cubicBezTo>
                  <a:cubicBezTo>
                    <a:pt x="154" y="1698"/>
                    <a:pt x="161" y="1699"/>
                    <a:pt x="167" y="1698"/>
                  </a:cubicBezTo>
                  <a:cubicBezTo>
                    <a:pt x="169" y="1697"/>
                    <a:pt x="171" y="1696"/>
                    <a:pt x="174" y="1695"/>
                  </a:cubicBezTo>
                  <a:cubicBezTo>
                    <a:pt x="177" y="1695"/>
                    <a:pt x="180" y="1695"/>
                    <a:pt x="183" y="1695"/>
                  </a:cubicBezTo>
                  <a:cubicBezTo>
                    <a:pt x="187" y="1696"/>
                    <a:pt x="187" y="1695"/>
                    <a:pt x="190" y="1692"/>
                  </a:cubicBezTo>
                  <a:cubicBezTo>
                    <a:pt x="194" y="1689"/>
                    <a:pt x="199" y="1690"/>
                    <a:pt x="202" y="1685"/>
                  </a:cubicBezTo>
                  <a:cubicBezTo>
                    <a:pt x="203" y="1683"/>
                    <a:pt x="202" y="1681"/>
                    <a:pt x="204" y="1679"/>
                  </a:cubicBezTo>
                  <a:cubicBezTo>
                    <a:pt x="204" y="1677"/>
                    <a:pt x="206" y="1676"/>
                    <a:pt x="207" y="1675"/>
                  </a:cubicBezTo>
                  <a:cubicBezTo>
                    <a:pt x="209" y="1672"/>
                    <a:pt x="212" y="1668"/>
                    <a:pt x="217" y="1666"/>
                  </a:cubicBezTo>
                  <a:cubicBezTo>
                    <a:pt x="220" y="1665"/>
                    <a:pt x="221" y="1666"/>
                    <a:pt x="223" y="1663"/>
                  </a:cubicBezTo>
                  <a:cubicBezTo>
                    <a:pt x="225" y="1661"/>
                    <a:pt x="225" y="1660"/>
                    <a:pt x="227" y="1658"/>
                  </a:cubicBezTo>
                  <a:cubicBezTo>
                    <a:pt x="229" y="1656"/>
                    <a:pt x="230" y="1655"/>
                    <a:pt x="232" y="1653"/>
                  </a:cubicBezTo>
                  <a:cubicBezTo>
                    <a:pt x="234" y="1649"/>
                    <a:pt x="237" y="1647"/>
                    <a:pt x="240" y="1644"/>
                  </a:cubicBezTo>
                  <a:cubicBezTo>
                    <a:pt x="243" y="1641"/>
                    <a:pt x="245" y="1639"/>
                    <a:pt x="248" y="1637"/>
                  </a:cubicBezTo>
                  <a:cubicBezTo>
                    <a:pt x="252" y="1634"/>
                    <a:pt x="252" y="1629"/>
                    <a:pt x="256" y="1625"/>
                  </a:cubicBezTo>
                  <a:cubicBezTo>
                    <a:pt x="257" y="1624"/>
                    <a:pt x="260" y="1623"/>
                    <a:pt x="261" y="1622"/>
                  </a:cubicBezTo>
                  <a:cubicBezTo>
                    <a:pt x="263" y="1620"/>
                    <a:pt x="264" y="1619"/>
                    <a:pt x="265" y="1617"/>
                  </a:cubicBezTo>
                  <a:cubicBezTo>
                    <a:pt x="266" y="1615"/>
                    <a:pt x="267" y="1614"/>
                    <a:pt x="268" y="1612"/>
                  </a:cubicBezTo>
                  <a:cubicBezTo>
                    <a:pt x="270" y="1610"/>
                    <a:pt x="272" y="1609"/>
                    <a:pt x="274" y="1605"/>
                  </a:cubicBezTo>
                  <a:cubicBezTo>
                    <a:pt x="275" y="1601"/>
                    <a:pt x="277" y="1597"/>
                    <a:pt x="279" y="1594"/>
                  </a:cubicBezTo>
                  <a:cubicBezTo>
                    <a:pt x="281" y="1592"/>
                    <a:pt x="280" y="1593"/>
                    <a:pt x="282" y="1592"/>
                  </a:cubicBezTo>
                  <a:cubicBezTo>
                    <a:pt x="283" y="1592"/>
                    <a:pt x="286" y="1592"/>
                    <a:pt x="287" y="1593"/>
                  </a:cubicBezTo>
                  <a:cubicBezTo>
                    <a:pt x="288" y="1594"/>
                    <a:pt x="287" y="1595"/>
                    <a:pt x="288" y="1596"/>
                  </a:cubicBezTo>
                  <a:cubicBezTo>
                    <a:pt x="290" y="1603"/>
                    <a:pt x="294" y="1599"/>
                    <a:pt x="296" y="1596"/>
                  </a:cubicBezTo>
                  <a:cubicBezTo>
                    <a:pt x="297" y="1594"/>
                    <a:pt x="298" y="1592"/>
                    <a:pt x="300" y="1592"/>
                  </a:cubicBezTo>
                  <a:cubicBezTo>
                    <a:pt x="302" y="1592"/>
                    <a:pt x="302" y="1594"/>
                    <a:pt x="304" y="1594"/>
                  </a:cubicBezTo>
                  <a:cubicBezTo>
                    <a:pt x="305" y="1595"/>
                    <a:pt x="307" y="1594"/>
                    <a:pt x="309" y="1594"/>
                  </a:cubicBezTo>
                  <a:cubicBezTo>
                    <a:pt x="316" y="1591"/>
                    <a:pt x="314" y="1581"/>
                    <a:pt x="314" y="1574"/>
                  </a:cubicBezTo>
                  <a:cubicBezTo>
                    <a:pt x="314" y="1568"/>
                    <a:pt x="316" y="1563"/>
                    <a:pt x="316" y="1557"/>
                  </a:cubicBezTo>
                  <a:cubicBezTo>
                    <a:pt x="316" y="1554"/>
                    <a:pt x="316" y="1552"/>
                    <a:pt x="315" y="1549"/>
                  </a:cubicBezTo>
                  <a:cubicBezTo>
                    <a:pt x="314" y="1545"/>
                    <a:pt x="312" y="1542"/>
                    <a:pt x="308" y="1540"/>
                  </a:cubicBezTo>
                  <a:cubicBezTo>
                    <a:pt x="307" y="1540"/>
                    <a:pt x="305" y="1540"/>
                    <a:pt x="304" y="1539"/>
                  </a:cubicBezTo>
                  <a:cubicBezTo>
                    <a:pt x="304" y="1538"/>
                    <a:pt x="303" y="1536"/>
                    <a:pt x="304" y="1535"/>
                  </a:cubicBezTo>
                  <a:cubicBezTo>
                    <a:pt x="307" y="1532"/>
                    <a:pt x="313" y="1539"/>
                    <a:pt x="316" y="1540"/>
                  </a:cubicBezTo>
                  <a:cubicBezTo>
                    <a:pt x="320" y="1540"/>
                    <a:pt x="321" y="1537"/>
                    <a:pt x="323" y="1534"/>
                  </a:cubicBezTo>
                  <a:cubicBezTo>
                    <a:pt x="325" y="1531"/>
                    <a:pt x="326" y="1530"/>
                    <a:pt x="325" y="1526"/>
                  </a:cubicBezTo>
                  <a:cubicBezTo>
                    <a:pt x="325" y="1525"/>
                    <a:pt x="324" y="1524"/>
                    <a:pt x="325" y="1522"/>
                  </a:cubicBezTo>
                  <a:cubicBezTo>
                    <a:pt x="331" y="1520"/>
                    <a:pt x="329" y="1530"/>
                    <a:pt x="329" y="1533"/>
                  </a:cubicBezTo>
                  <a:cubicBezTo>
                    <a:pt x="329" y="1538"/>
                    <a:pt x="333" y="1544"/>
                    <a:pt x="332" y="1548"/>
                  </a:cubicBezTo>
                  <a:cubicBezTo>
                    <a:pt x="331" y="1551"/>
                    <a:pt x="329" y="1552"/>
                    <a:pt x="329" y="1555"/>
                  </a:cubicBezTo>
                  <a:cubicBezTo>
                    <a:pt x="329" y="1556"/>
                    <a:pt x="330" y="1558"/>
                    <a:pt x="330" y="1559"/>
                  </a:cubicBezTo>
                  <a:cubicBezTo>
                    <a:pt x="331" y="1561"/>
                    <a:pt x="332" y="1562"/>
                    <a:pt x="333" y="1565"/>
                  </a:cubicBezTo>
                  <a:cubicBezTo>
                    <a:pt x="334" y="1568"/>
                    <a:pt x="334" y="1570"/>
                    <a:pt x="334" y="1573"/>
                  </a:cubicBezTo>
                  <a:cubicBezTo>
                    <a:pt x="336" y="1573"/>
                    <a:pt x="338" y="1573"/>
                    <a:pt x="340" y="1572"/>
                  </a:cubicBezTo>
                  <a:cubicBezTo>
                    <a:pt x="341" y="1574"/>
                    <a:pt x="345" y="1579"/>
                    <a:pt x="346" y="1580"/>
                  </a:cubicBezTo>
                  <a:cubicBezTo>
                    <a:pt x="350" y="1582"/>
                    <a:pt x="352" y="1578"/>
                    <a:pt x="352" y="1584"/>
                  </a:cubicBezTo>
                  <a:cubicBezTo>
                    <a:pt x="353" y="1593"/>
                    <a:pt x="346" y="1586"/>
                    <a:pt x="341" y="1587"/>
                  </a:cubicBezTo>
                  <a:cubicBezTo>
                    <a:pt x="340" y="1590"/>
                    <a:pt x="341" y="1592"/>
                    <a:pt x="343" y="1593"/>
                  </a:cubicBezTo>
                  <a:cubicBezTo>
                    <a:pt x="344" y="1594"/>
                    <a:pt x="345" y="1594"/>
                    <a:pt x="346" y="1594"/>
                  </a:cubicBezTo>
                  <a:cubicBezTo>
                    <a:pt x="347" y="1595"/>
                    <a:pt x="346" y="1595"/>
                    <a:pt x="346" y="1596"/>
                  </a:cubicBezTo>
                  <a:cubicBezTo>
                    <a:pt x="348" y="1601"/>
                    <a:pt x="345" y="1607"/>
                    <a:pt x="350" y="1610"/>
                  </a:cubicBezTo>
                  <a:cubicBezTo>
                    <a:pt x="355" y="1605"/>
                    <a:pt x="352" y="1595"/>
                    <a:pt x="357" y="1589"/>
                  </a:cubicBezTo>
                  <a:cubicBezTo>
                    <a:pt x="358" y="1588"/>
                    <a:pt x="361" y="1586"/>
                    <a:pt x="363" y="1587"/>
                  </a:cubicBezTo>
                  <a:cubicBezTo>
                    <a:pt x="366" y="1588"/>
                    <a:pt x="366" y="1594"/>
                    <a:pt x="367" y="1597"/>
                  </a:cubicBezTo>
                  <a:cubicBezTo>
                    <a:pt x="368" y="1600"/>
                    <a:pt x="368" y="1603"/>
                    <a:pt x="371" y="1605"/>
                  </a:cubicBezTo>
                  <a:cubicBezTo>
                    <a:pt x="372" y="1605"/>
                    <a:pt x="373" y="1605"/>
                    <a:pt x="374" y="1606"/>
                  </a:cubicBezTo>
                  <a:cubicBezTo>
                    <a:pt x="376" y="1606"/>
                    <a:pt x="375" y="1608"/>
                    <a:pt x="376" y="1608"/>
                  </a:cubicBezTo>
                  <a:cubicBezTo>
                    <a:pt x="381" y="1609"/>
                    <a:pt x="383" y="1605"/>
                    <a:pt x="384" y="1601"/>
                  </a:cubicBezTo>
                  <a:cubicBezTo>
                    <a:pt x="385" y="1597"/>
                    <a:pt x="384" y="1593"/>
                    <a:pt x="385" y="1588"/>
                  </a:cubicBezTo>
                  <a:cubicBezTo>
                    <a:pt x="388" y="1579"/>
                    <a:pt x="388" y="1570"/>
                    <a:pt x="388" y="1561"/>
                  </a:cubicBezTo>
                  <a:cubicBezTo>
                    <a:pt x="388" y="1553"/>
                    <a:pt x="385" y="1545"/>
                    <a:pt x="385" y="1537"/>
                  </a:cubicBezTo>
                  <a:cubicBezTo>
                    <a:pt x="385" y="1535"/>
                    <a:pt x="385" y="1532"/>
                    <a:pt x="385" y="1530"/>
                  </a:cubicBezTo>
                  <a:cubicBezTo>
                    <a:pt x="386" y="1527"/>
                    <a:pt x="390" y="1524"/>
                    <a:pt x="391" y="1522"/>
                  </a:cubicBezTo>
                  <a:cubicBezTo>
                    <a:pt x="393" y="1520"/>
                    <a:pt x="393" y="1519"/>
                    <a:pt x="394" y="1516"/>
                  </a:cubicBezTo>
                  <a:cubicBezTo>
                    <a:pt x="394" y="1512"/>
                    <a:pt x="389" y="1508"/>
                    <a:pt x="390" y="1504"/>
                  </a:cubicBezTo>
                  <a:cubicBezTo>
                    <a:pt x="396" y="1504"/>
                    <a:pt x="399" y="1499"/>
                    <a:pt x="404" y="1497"/>
                  </a:cubicBezTo>
                  <a:cubicBezTo>
                    <a:pt x="407" y="1496"/>
                    <a:pt x="412" y="1493"/>
                    <a:pt x="415" y="1489"/>
                  </a:cubicBezTo>
                  <a:cubicBezTo>
                    <a:pt x="417" y="1485"/>
                    <a:pt x="416" y="1478"/>
                    <a:pt x="418" y="1473"/>
                  </a:cubicBezTo>
                  <a:cubicBezTo>
                    <a:pt x="419" y="1470"/>
                    <a:pt x="421" y="1469"/>
                    <a:pt x="422" y="1466"/>
                  </a:cubicBezTo>
                  <a:cubicBezTo>
                    <a:pt x="422" y="1466"/>
                    <a:pt x="422" y="1464"/>
                    <a:pt x="422" y="1463"/>
                  </a:cubicBezTo>
                  <a:cubicBezTo>
                    <a:pt x="422" y="1463"/>
                    <a:pt x="421" y="1463"/>
                    <a:pt x="420" y="1464"/>
                  </a:cubicBezTo>
                  <a:cubicBezTo>
                    <a:pt x="422" y="1457"/>
                    <a:pt x="427" y="1451"/>
                    <a:pt x="430" y="1446"/>
                  </a:cubicBezTo>
                  <a:cubicBezTo>
                    <a:pt x="432" y="1443"/>
                    <a:pt x="433" y="1442"/>
                    <a:pt x="433" y="1440"/>
                  </a:cubicBezTo>
                  <a:cubicBezTo>
                    <a:pt x="434" y="1437"/>
                    <a:pt x="433" y="1434"/>
                    <a:pt x="433" y="1431"/>
                  </a:cubicBezTo>
                  <a:cubicBezTo>
                    <a:pt x="431" y="1419"/>
                    <a:pt x="423" y="1410"/>
                    <a:pt x="420" y="1398"/>
                  </a:cubicBezTo>
                  <a:cubicBezTo>
                    <a:pt x="419" y="1394"/>
                    <a:pt x="418" y="1390"/>
                    <a:pt x="417" y="1386"/>
                  </a:cubicBezTo>
                  <a:cubicBezTo>
                    <a:pt x="417" y="1383"/>
                    <a:pt x="415" y="1377"/>
                    <a:pt x="416" y="1374"/>
                  </a:cubicBezTo>
                  <a:cubicBezTo>
                    <a:pt x="418" y="1374"/>
                    <a:pt x="419" y="1375"/>
                    <a:pt x="421" y="1374"/>
                  </a:cubicBezTo>
                  <a:cubicBezTo>
                    <a:pt x="424" y="1374"/>
                    <a:pt x="426" y="1373"/>
                    <a:pt x="428" y="1372"/>
                  </a:cubicBezTo>
                  <a:cubicBezTo>
                    <a:pt x="429" y="1371"/>
                    <a:pt x="430" y="1371"/>
                    <a:pt x="431" y="1371"/>
                  </a:cubicBezTo>
                  <a:cubicBezTo>
                    <a:pt x="431" y="1370"/>
                    <a:pt x="431" y="1370"/>
                    <a:pt x="432" y="1370"/>
                  </a:cubicBezTo>
                  <a:cubicBezTo>
                    <a:pt x="434" y="1370"/>
                    <a:pt x="435" y="1369"/>
                    <a:pt x="436" y="1369"/>
                  </a:cubicBezTo>
                  <a:cubicBezTo>
                    <a:pt x="437" y="1367"/>
                    <a:pt x="436" y="1367"/>
                    <a:pt x="437" y="1365"/>
                  </a:cubicBezTo>
                  <a:cubicBezTo>
                    <a:pt x="437" y="1363"/>
                    <a:pt x="437" y="1364"/>
                    <a:pt x="439" y="1361"/>
                  </a:cubicBezTo>
                  <a:cubicBezTo>
                    <a:pt x="441" y="1356"/>
                    <a:pt x="443" y="1351"/>
                    <a:pt x="445" y="1346"/>
                  </a:cubicBezTo>
                  <a:cubicBezTo>
                    <a:pt x="447" y="1343"/>
                    <a:pt x="452" y="1338"/>
                    <a:pt x="451" y="1334"/>
                  </a:cubicBezTo>
                  <a:cubicBezTo>
                    <a:pt x="448" y="1333"/>
                    <a:pt x="445" y="1327"/>
                    <a:pt x="443" y="1325"/>
                  </a:cubicBezTo>
                  <a:cubicBezTo>
                    <a:pt x="442" y="1324"/>
                    <a:pt x="441" y="1324"/>
                    <a:pt x="440" y="1322"/>
                  </a:cubicBezTo>
                  <a:cubicBezTo>
                    <a:pt x="439" y="1322"/>
                    <a:pt x="440" y="1320"/>
                    <a:pt x="439" y="1320"/>
                  </a:cubicBezTo>
                  <a:cubicBezTo>
                    <a:pt x="435" y="1314"/>
                    <a:pt x="427" y="1318"/>
                    <a:pt x="423" y="1314"/>
                  </a:cubicBezTo>
                  <a:cubicBezTo>
                    <a:pt x="420" y="1311"/>
                    <a:pt x="419" y="1308"/>
                    <a:pt x="416" y="1306"/>
                  </a:cubicBezTo>
                  <a:cubicBezTo>
                    <a:pt x="413" y="1304"/>
                    <a:pt x="408" y="1303"/>
                    <a:pt x="406" y="1299"/>
                  </a:cubicBezTo>
                  <a:cubicBezTo>
                    <a:pt x="403" y="1293"/>
                    <a:pt x="408" y="1285"/>
                    <a:pt x="409" y="1279"/>
                  </a:cubicBezTo>
                  <a:cubicBezTo>
                    <a:pt x="412" y="1266"/>
                    <a:pt x="412" y="1253"/>
                    <a:pt x="412" y="1239"/>
                  </a:cubicBezTo>
                  <a:cubicBezTo>
                    <a:pt x="412" y="1235"/>
                    <a:pt x="413" y="1231"/>
                    <a:pt x="412" y="1227"/>
                  </a:cubicBezTo>
                  <a:cubicBezTo>
                    <a:pt x="412" y="1225"/>
                    <a:pt x="411" y="1223"/>
                    <a:pt x="410" y="1221"/>
                  </a:cubicBezTo>
                  <a:cubicBezTo>
                    <a:pt x="407" y="1214"/>
                    <a:pt x="404" y="1207"/>
                    <a:pt x="400" y="1201"/>
                  </a:cubicBezTo>
                  <a:cubicBezTo>
                    <a:pt x="399" y="1198"/>
                    <a:pt x="398" y="1198"/>
                    <a:pt x="398" y="1195"/>
                  </a:cubicBezTo>
                  <a:cubicBezTo>
                    <a:pt x="399" y="1190"/>
                    <a:pt x="400" y="1186"/>
                    <a:pt x="400" y="1182"/>
                  </a:cubicBezTo>
                  <a:cubicBezTo>
                    <a:pt x="400" y="1176"/>
                    <a:pt x="400" y="1171"/>
                    <a:pt x="400" y="1165"/>
                  </a:cubicBezTo>
                  <a:cubicBezTo>
                    <a:pt x="400" y="1163"/>
                    <a:pt x="399" y="1159"/>
                    <a:pt x="400" y="1157"/>
                  </a:cubicBezTo>
                  <a:cubicBezTo>
                    <a:pt x="400" y="1156"/>
                    <a:pt x="402" y="1157"/>
                    <a:pt x="402" y="1156"/>
                  </a:cubicBezTo>
                  <a:cubicBezTo>
                    <a:pt x="403" y="1155"/>
                    <a:pt x="403" y="1153"/>
                    <a:pt x="404" y="1152"/>
                  </a:cubicBezTo>
                  <a:cubicBezTo>
                    <a:pt x="405" y="1151"/>
                    <a:pt x="408" y="1149"/>
                    <a:pt x="408" y="1147"/>
                  </a:cubicBezTo>
                  <a:cubicBezTo>
                    <a:pt x="409" y="1145"/>
                    <a:pt x="408" y="1144"/>
                    <a:pt x="407" y="1142"/>
                  </a:cubicBezTo>
                  <a:cubicBezTo>
                    <a:pt x="405" y="1138"/>
                    <a:pt x="405" y="1134"/>
                    <a:pt x="404" y="1130"/>
                  </a:cubicBezTo>
                  <a:cubicBezTo>
                    <a:pt x="403" y="1127"/>
                    <a:pt x="402" y="1124"/>
                    <a:pt x="400" y="1121"/>
                  </a:cubicBezTo>
                  <a:cubicBezTo>
                    <a:pt x="400" y="1119"/>
                    <a:pt x="399" y="1117"/>
                    <a:pt x="399" y="1115"/>
                  </a:cubicBezTo>
                  <a:cubicBezTo>
                    <a:pt x="399" y="1113"/>
                    <a:pt x="400" y="1112"/>
                    <a:pt x="401" y="1110"/>
                  </a:cubicBezTo>
                  <a:cubicBezTo>
                    <a:pt x="404" y="1105"/>
                    <a:pt x="403" y="1097"/>
                    <a:pt x="403" y="1092"/>
                  </a:cubicBezTo>
                  <a:cubicBezTo>
                    <a:pt x="403" y="1088"/>
                    <a:pt x="403" y="1084"/>
                    <a:pt x="403" y="1080"/>
                  </a:cubicBezTo>
                  <a:cubicBezTo>
                    <a:pt x="404" y="1073"/>
                    <a:pt x="409" y="1071"/>
                    <a:pt x="412" y="1066"/>
                  </a:cubicBezTo>
                  <a:cubicBezTo>
                    <a:pt x="415" y="1062"/>
                    <a:pt x="418" y="1057"/>
                    <a:pt x="419" y="1053"/>
                  </a:cubicBezTo>
                  <a:cubicBezTo>
                    <a:pt x="420" y="1050"/>
                    <a:pt x="421" y="1047"/>
                    <a:pt x="422" y="1045"/>
                  </a:cubicBezTo>
                  <a:cubicBezTo>
                    <a:pt x="423" y="1041"/>
                    <a:pt x="422" y="1039"/>
                    <a:pt x="425" y="1036"/>
                  </a:cubicBezTo>
                  <a:cubicBezTo>
                    <a:pt x="427" y="1034"/>
                    <a:pt x="429" y="1032"/>
                    <a:pt x="431" y="1031"/>
                  </a:cubicBezTo>
                  <a:cubicBezTo>
                    <a:pt x="433" y="1030"/>
                    <a:pt x="435" y="1030"/>
                    <a:pt x="436" y="1029"/>
                  </a:cubicBezTo>
                  <a:cubicBezTo>
                    <a:pt x="439" y="1027"/>
                    <a:pt x="440" y="1023"/>
                    <a:pt x="444" y="1021"/>
                  </a:cubicBezTo>
                  <a:cubicBezTo>
                    <a:pt x="449" y="1019"/>
                    <a:pt x="453" y="1018"/>
                    <a:pt x="458" y="1018"/>
                  </a:cubicBezTo>
                  <a:cubicBezTo>
                    <a:pt x="463" y="1018"/>
                    <a:pt x="467" y="1017"/>
                    <a:pt x="472" y="1017"/>
                  </a:cubicBezTo>
                  <a:cubicBezTo>
                    <a:pt x="478" y="1018"/>
                    <a:pt x="483" y="1019"/>
                    <a:pt x="489" y="1019"/>
                  </a:cubicBezTo>
                  <a:cubicBezTo>
                    <a:pt x="493" y="1020"/>
                    <a:pt x="499" y="1020"/>
                    <a:pt x="503" y="1022"/>
                  </a:cubicBezTo>
                  <a:cubicBezTo>
                    <a:pt x="505" y="1019"/>
                    <a:pt x="506" y="1014"/>
                    <a:pt x="507" y="1011"/>
                  </a:cubicBezTo>
                  <a:cubicBezTo>
                    <a:pt x="509" y="1007"/>
                    <a:pt x="510" y="1004"/>
                    <a:pt x="510" y="1000"/>
                  </a:cubicBezTo>
                  <a:cubicBezTo>
                    <a:pt x="509" y="996"/>
                    <a:pt x="507" y="992"/>
                    <a:pt x="506" y="988"/>
                  </a:cubicBezTo>
                  <a:cubicBezTo>
                    <a:pt x="506" y="985"/>
                    <a:pt x="506" y="981"/>
                    <a:pt x="506" y="977"/>
                  </a:cubicBezTo>
                  <a:cubicBezTo>
                    <a:pt x="506" y="971"/>
                    <a:pt x="508" y="963"/>
                    <a:pt x="503" y="959"/>
                  </a:cubicBezTo>
                  <a:cubicBezTo>
                    <a:pt x="500" y="957"/>
                    <a:pt x="498" y="956"/>
                    <a:pt x="495" y="955"/>
                  </a:cubicBezTo>
                  <a:cubicBezTo>
                    <a:pt x="493" y="953"/>
                    <a:pt x="492" y="951"/>
                    <a:pt x="489" y="950"/>
                  </a:cubicBezTo>
                  <a:cubicBezTo>
                    <a:pt x="490" y="947"/>
                    <a:pt x="492" y="944"/>
                    <a:pt x="494" y="941"/>
                  </a:cubicBezTo>
                  <a:cubicBezTo>
                    <a:pt x="497" y="937"/>
                    <a:pt x="500" y="933"/>
                    <a:pt x="502" y="928"/>
                  </a:cubicBezTo>
                  <a:cubicBezTo>
                    <a:pt x="504" y="925"/>
                    <a:pt x="505" y="921"/>
                    <a:pt x="506" y="917"/>
                  </a:cubicBezTo>
                  <a:cubicBezTo>
                    <a:pt x="506" y="915"/>
                    <a:pt x="506" y="913"/>
                    <a:pt x="507" y="911"/>
                  </a:cubicBezTo>
                  <a:cubicBezTo>
                    <a:pt x="508" y="909"/>
                    <a:pt x="508" y="907"/>
                    <a:pt x="509" y="905"/>
                  </a:cubicBezTo>
                  <a:cubicBezTo>
                    <a:pt x="512" y="902"/>
                    <a:pt x="512" y="896"/>
                    <a:pt x="515" y="891"/>
                  </a:cubicBezTo>
                  <a:cubicBezTo>
                    <a:pt x="517" y="887"/>
                    <a:pt x="518" y="882"/>
                    <a:pt x="520" y="878"/>
                  </a:cubicBezTo>
                  <a:cubicBezTo>
                    <a:pt x="521" y="875"/>
                    <a:pt x="523" y="871"/>
                    <a:pt x="526" y="869"/>
                  </a:cubicBezTo>
                  <a:cubicBezTo>
                    <a:pt x="530" y="866"/>
                    <a:pt x="530" y="865"/>
                    <a:pt x="530" y="859"/>
                  </a:cubicBezTo>
                  <a:cubicBezTo>
                    <a:pt x="530" y="853"/>
                    <a:pt x="530" y="848"/>
                    <a:pt x="530" y="843"/>
                  </a:cubicBezTo>
                  <a:cubicBezTo>
                    <a:pt x="529" y="837"/>
                    <a:pt x="528" y="831"/>
                    <a:pt x="529" y="825"/>
                  </a:cubicBezTo>
                  <a:cubicBezTo>
                    <a:pt x="529" y="820"/>
                    <a:pt x="532" y="816"/>
                    <a:pt x="533" y="812"/>
                  </a:cubicBezTo>
                  <a:cubicBezTo>
                    <a:pt x="534" y="810"/>
                    <a:pt x="534" y="808"/>
                    <a:pt x="535" y="806"/>
                  </a:cubicBezTo>
                  <a:cubicBezTo>
                    <a:pt x="536" y="806"/>
                    <a:pt x="537" y="805"/>
                    <a:pt x="538" y="804"/>
                  </a:cubicBezTo>
                  <a:cubicBezTo>
                    <a:pt x="539" y="802"/>
                    <a:pt x="539" y="801"/>
                    <a:pt x="539" y="798"/>
                  </a:cubicBezTo>
                  <a:cubicBezTo>
                    <a:pt x="541" y="791"/>
                    <a:pt x="537" y="784"/>
                    <a:pt x="536" y="776"/>
                  </a:cubicBezTo>
                  <a:cubicBezTo>
                    <a:pt x="535" y="770"/>
                    <a:pt x="534" y="763"/>
                    <a:pt x="533" y="757"/>
                  </a:cubicBezTo>
                  <a:cubicBezTo>
                    <a:pt x="533" y="757"/>
                    <a:pt x="533" y="751"/>
                    <a:pt x="533" y="750"/>
                  </a:cubicBezTo>
                  <a:cubicBezTo>
                    <a:pt x="535" y="747"/>
                    <a:pt x="548" y="750"/>
                    <a:pt x="552" y="749"/>
                  </a:cubicBezTo>
                  <a:cubicBezTo>
                    <a:pt x="556" y="748"/>
                    <a:pt x="561" y="747"/>
                    <a:pt x="564" y="745"/>
                  </a:cubicBezTo>
                  <a:cubicBezTo>
                    <a:pt x="570" y="743"/>
                    <a:pt x="570" y="736"/>
                    <a:pt x="575" y="733"/>
                  </a:cubicBezTo>
                  <a:cubicBezTo>
                    <a:pt x="578" y="731"/>
                    <a:pt x="583" y="732"/>
                    <a:pt x="585" y="729"/>
                  </a:cubicBezTo>
                  <a:cubicBezTo>
                    <a:pt x="588" y="723"/>
                    <a:pt x="580" y="714"/>
                    <a:pt x="580" y="709"/>
                  </a:cubicBezTo>
                  <a:cubicBezTo>
                    <a:pt x="579" y="703"/>
                    <a:pt x="582" y="701"/>
                    <a:pt x="586" y="698"/>
                  </a:cubicBezTo>
                  <a:cubicBezTo>
                    <a:pt x="591" y="695"/>
                    <a:pt x="592" y="692"/>
                    <a:pt x="594" y="687"/>
                  </a:cubicBezTo>
                  <a:cubicBezTo>
                    <a:pt x="598" y="679"/>
                    <a:pt x="602" y="670"/>
                    <a:pt x="605" y="662"/>
                  </a:cubicBezTo>
                  <a:cubicBezTo>
                    <a:pt x="607" y="658"/>
                    <a:pt x="610" y="654"/>
                    <a:pt x="611" y="649"/>
                  </a:cubicBezTo>
                  <a:cubicBezTo>
                    <a:pt x="611" y="645"/>
                    <a:pt x="613" y="641"/>
                    <a:pt x="616" y="638"/>
                  </a:cubicBezTo>
                  <a:cubicBezTo>
                    <a:pt x="620" y="635"/>
                    <a:pt x="624" y="634"/>
                    <a:pt x="628" y="632"/>
                  </a:cubicBezTo>
                  <a:cubicBezTo>
                    <a:pt x="632" y="629"/>
                    <a:pt x="631" y="617"/>
                    <a:pt x="630" y="613"/>
                  </a:cubicBezTo>
                  <a:cubicBezTo>
                    <a:pt x="629" y="610"/>
                    <a:pt x="627" y="607"/>
                    <a:pt x="627" y="605"/>
                  </a:cubicBezTo>
                  <a:cubicBezTo>
                    <a:pt x="627" y="603"/>
                    <a:pt x="627" y="601"/>
                    <a:pt x="627" y="600"/>
                  </a:cubicBezTo>
                  <a:cubicBezTo>
                    <a:pt x="626" y="598"/>
                    <a:pt x="624" y="596"/>
                    <a:pt x="624" y="594"/>
                  </a:cubicBezTo>
                  <a:cubicBezTo>
                    <a:pt x="623" y="591"/>
                    <a:pt x="623" y="588"/>
                    <a:pt x="622" y="584"/>
                  </a:cubicBezTo>
                  <a:cubicBezTo>
                    <a:pt x="621" y="582"/>
                    <a:pt x="621" y="580"/>
                    <a:pt x="621" y="578"/>
                  </a:cubicBezTo>
                  <a:cubicBezTo>
                    <a:pt x="621" y="574"/>
                    <a:pt x="621" y="572"/>
                    <a:pt x="622" y="569"/>
                  </a:cubicBezTo>
                  <a:cubicBezTo>
                    <a:pt x="623" y="564"/>
                    <a:pt x="624" y="562"/>
                    <a:pt x="629" y="559"/>
                  </a:cubicBezTo>
                  <a:cubicBezTo>
                    <a:pt x="633" y="558"/>
                    <a:pt x="634" y="555"/>
                    <a:pt x="634" y="551"/>
                  </a:cubicBezTo>
                  <a:cubicBezTo>
                    <a:pt x="635" y="546"/>
                    <a:pt x="637" y="542"/>
                    <a:pt x="639" y="537"/>
                  </a:cubicBezTo>
                  <a:cubicBezTo>
                    <a:pt x="640" y="534"/>
                    <a:pt x="642" y="530"/>
                    <a:pt x="643" y="527"/>
                  </a:cubicBezTo>
                  <a:cubicBezTo>
                    <a:pt x="644" y="525"/>
                    <a:pt x="644" y="523"/>
                    <a:pt x="645" y="522"/>
                  </a:cubicBezTo>
                  <a:cubicBezTo>
                    <a:pt x="645" y="522"/>
                    <a:pt x="644" y="522"/>
                    <a:pt x="643" y="523"/>
                  </a:cubicBezTo>
                  <a:cubicBezTo>
                    <a:pt x="644" y="521"/>
                    <a:pt x="645" y="520"/>
                    <a:pt x="646" y="518"/>
                  </a:cubicBezTo>
                  <a:cubicBezTo>
                    <a:pt x="647" y="516"/>
                    <a:pt x="647" y="513"/>
                    <a:pt x="650" y="512"/>
                  </a:cubicBezTo>
                  <a:cubicBezTo>
                    <a:pt x="650" y="510"/>
                    <a:pt x="653" y="508"/>
                    <a:pt x="654" y="507"/>
                  </a:cubicBezTo>
                  <a:cubicBezTo>
                    <a:pt x="657" y="503"/>
                    <a:pt x="660" y="498"/>
                    <a:pt x="663" y="494"/>
                  </a:cubicBezTo>
                  <a:cubicBezTo>
                    <a:pt x="666" y="490"/>
                    <a:pt x="668" y="488"/>
                    <a:pt x="672" y="486"/>
                  </a:cubicBezTo>
                  <a:cubicBezTo>
                    <a:pt x="674" y="484"/>
                    <a:pt x="677" y="481"/>
                    <a:pt x="680" y="480"/>
                  </a:cubicBezTo>
                  <a:cubicBezTo>
                    <a:pt x="684" y="479"/>
                    <a:pt x="691" y="479"/>
                    <a:pt x="695" y="481"/>
                  </a:cubicBezTo>
                  <a:cubicBezTo>
                    <a:pt x="698" y="482"/>
                    <a:pt x="700" y="484"/>
                    <a:pt x="704" y="486"/>
                  </a:cubicBezTo>
                  <a:cubicBezTo>
                    <a:pt x="709" y="487"/>
                    <a:pt x="714" y="490"/>
                    <a:pt x="719" y="492"/>
                  </a:cubicBezTo>
                  <a:cubicBezTo>
                    <a:pt x="720" y="490"/>
                    <a:pt x="720" y="488"/>
                    <a:pt x="721" y="486"/>
                  </a:cubicBezTo>
                  <a:cubicBezTo>
                    <a:pt x="723" y="482"/>
                    <a:pt x="726" y="477"/>
                    <a:pt x="728" y="472"/>
                  </a:cubicBezTo>
                  <a:cubicBezTo>
                    <a:pt x="730" y="469"/>
                    <a:pt x="732" y="467"/>
                    <a:pt x="733" y="464"/>
                  </a:cubicBezTo>
                  <a:cubicBezTo>
                    <a:pt x="733" y="463"/>
                    <a:pt x="734" y="461"/>
                    <a:pt x="735" y="459"/>
                  </a:cubicBezTo>
                  <a:cubicBezTo>
                    <a:pt x="735" y="458"/>
                    <a:pt x="735" y="454"/>
                    <a:pt x="735" y="452"/>
                  </a:cubicBezTo>
                  <a:cubicBezTo>
                    <a:pt x="735" y="429"/>
                    <a:pt x="735" y="429"/>
                    <a:pt x="735" y="429"/>
                  </a:cubicBezTo>
                  <a:cubicBezTo>
                    <a:pt x="735" y="424"/>
                    <a:pt x="735" y="418"/>
                    <a:pt x="734" y="413"/>
                  </a:cubicBezTo>
                  <a:cubicBezTo>
                    <a:pt x="737" y="416"/>
                    <a:pt x="742" y="415"/>
                    <a:pt x="746" y="415"/>
                  </a:cubicBezTo>
                  <a:cubicBezTo>
                    <a:pt x="748" y="415"/>
                    <a:pt x="749" y="416"/>
                    <a:pt x="752" y="417"/>
                  </a:cubicBezTo>
                  <a:cubicBezTo>
                    <a:pt x="754" y="418"/>
                    <a:pt x="758" y="418"/>
                    <a:pt x="760" y="419"/>
                  </a:cubicBezTo>
                  <a:cubicBezTo>
                    <a:pt x="769" y="422"/>
                    <a:pt x="778" y="424"/>
                    <a:pt x="787" y="426"/>
                  </a:cubicBezTo>
                  <a:cubicBezTo>
                    <a:pt x="793" y="427"/>
                    <a:pt x="799" y="426"/>
                    <a:pt x="804" y="429"/>
                  </a:cubicBezTo>
                  <a:cubicBezTo>
                    <a:pt x="811" y="433"/>
                    <a:pt x="817" y="435"/>
                    <a:pt x="824" y="436"/>
                  </a:cubicBezTo>
                  <a:cubicBezTo>
                    <a:pt x="826" y="436"/>
                    <a:pt x="827" y="437"/>
                    <a:pt x="829" y="436"/>
                  </a:cubicBezTo>
                  <a:cubicBezTo>
                    <a:pt x="830" y="435"/>
                    <a:pt x="833" y="431"/>
                    <a:pt x="833" y="429"/>
                  </a:cubicBezTo>
                  <a:cubicBezTo>
                    <a:pt x="835" y="427"/>
                    <a:pt x="835" y="426"/>
                    <a:pt x="836" y="424"/>
                  </a:cubicBezTo>
                  <a:cubicBezTo>
                    <a:pt x="836" y="423"/>
                    <a:pt x="839" y="421"/>
                    <a:pt x="839" y="420"/>
                  </a:cubicBezTo>
                  <a:cubicBezTo>
                    <a:pt x="839" y="416"/>
                    <a:pt x="826" y="413"/>
                    <a:pt x="823" y="411"/>
                  </a:cubicBezTo>
                  <a:cubicBezTo>
                    <a:pt x="825" y="408"/>
                    <a:pt x="830" y="407"/>
                    <a:pt x="833" y="405"/>
                  </a:cubicBezTo>
                  <a:cubicBezTo>
                    <a:pt x="838" y="402"/>
                    <a:pt x="842" y="399"/>
                    <a:pt x="847" y="395"/>
                  </a:cubicBezTo>
                  <a:cubicBezTo>
                    <a:pt x="852" y="391"/>
                    <a:pt x="855" y="389"/>
                    <a:pt x="855" y="382"/>
                  </a:cubicBezTo>
                  <a:cubicBezTo>
                    <a:pt x="855" y="374"/>
                    <a:pt x="853" y="368"/>
                    <a:pt x="848" y="361"/>
                  </a:cubicBezTo>
                  <a:cubicBezTo>
                    <a:pt x="845" y="357"/>
                    <a:pt x="842" y="352"/>
                    <a:pt x="840" y="347"/>
                  </a:cubicBezTo>
                  <a:cubicBezTo>
                    <a:pt x="838" y="345"/>
                    <a:pt x="837" y="341"/>
                    <a:pt x="835" y="339"/>
                  </a:cubicBezTo>
                  <a:cubicBezTo>
                    <a:pt x="836" y="336"/>
                    <a:pt x="849" y="336"/>
                    <a:pt x="852" y="336"/>
                  </a:cubicBezTo>
                  <a:cubicBezTo>
                    <a:pt x="857" y="335"/>
                    <a:pt x="863" y="335"/>
                    <a:pt x="869" y="334"/>
                  </a:cubicBezTo>
                  <a:cubicBezTo>
                    <a:pt x="869" y="333"/>
                    <a:pt x="869" y="332"/>
                    <a:pt x="869" y="332"/>
                  </a:cubicBezTo>
                  <a:cubicBezTo>
                    <a:pt x="871" y="331"/>
                    <a:pt x="875" y="334"/>
                    <a:pt x="877" y="335"/>
                  </a:cubicBezTo>
                  <a:cubicBezTo>
                    <a:pt x="880" y="336"/>
                    <a:pt x="883" y="338"/>
                    <a:pt x="886" y="339"/>
                  </a:cubicBezTo>
                  <a:cubicBezTo>
                    <a:pt x="886" y="336"/>
                    <a:pt x="886" y="332"/>
                    <a:pt x="886" y="329"/>
                  </a:cubicBezTo>
                  <a:cubicBezTo>
                    <a:pt x="885" y="324"/>
                    <a:pt x="883" y="322"/>
                    <a:pt x="882" y="319"/>
                  </a:cubicBezTo>
                  <a:cubicBezTo>
                    <a:pt x="879" y="312"/>
                    <a:pt x="886" y="310"/>
                    <a:pt x="891" y="308"/>
                  </a:cubicBezTo>
                  <a:cubicBezTo>
                    <a:pt x="896" y="307"/>
                    <a:pt x="901" y="304"/>
                    <a:pt x="907" y="304"/>
                  </a:cubicBezTo>
                  <a:cubicBezTo>
                    <a:pt x="909" y="304"/>
                    <a:pt x="914" y="303"/>
                    <a:pt x="916" y="305"/>
                  </a:cubicBezTo>
                  <a:cubicBezTo>
                    <a:pt x="918" y="307"/>
                    <a:pt x="918" y="311"/>
                    <a:pt x="919" y="313"/>
                  </a:cubicBezTo>
                  <a:cubicBezTo>
                    <a:pt x="920" y="315"/>
                    <a:pt x="922" y="316"/>
                    <a:pt x="923" y="317"/>
                  </a:cubicBezTo>
                  <a:cubicBezTo>
                    <a:pt x="924" y="319"/>
                    <a:pt x="924" y="320"/>
                    <a:pt x="925" y="322"/>
                  </a:cubicBezTo>
                  <a:cubicBezTo>
                    <a:pt x="926" y="326"/>
                    <a:pt x="928" y="331"/>
                    <a:pt x="931" y="335"/>
                  </a:cubicBezTo>
                  <a:cubicBezTo>
                    <a:pt x="933" y="338"/>
                    <a:pt x="935" y="340"/>
                    <a:pt x="937" y="342"/>
                  </a:cubicBezTo>
                  <a:cubicBezTo>
                    <a:pt x="940" y="345"/>
                    <a:pt x="943" y="349"/>
                    <a:pt x="945" y="352"/>
                  </a:cubicBezTo>
                  <a:cubicBezTo>
                    <a:pt x="946" y="353"/>
                    <a:pt x="947" y="355"/>
                    <a:pt x="948" y="356"/>
                  </a:cubicBezTo>
                  <a:cubicBezTo>
                    <a:pt x="949" y="358"/>
                    <a:pt x="951" y="359"/>
                    <a:pt x="951" y="361"/>
                  </a:cubicBezTo>
                  <a:cubicBezTo>
                    <a:pt x="952" y="362"/>
                    <a:pt x="952" y="363"/>
                    <a:pt x="953" y="364"/>
                  </a:cubicBezTo>
                  <a:cubicBezTo>
                    <a:pt x="955" y="366"/>
                    <a:pt x="955" y="364"/>
                    <a:pt x="956" y="367"/>
                  </a:cubicBezTo>
                  <a:cubicBezTo>
                    <a:pt x="957" y="374"/>
                    <a:pt x="956" y="382"/>
                    <a:pt x="957" y="389"/>
                  </a:cubicBezTo>
                  <a:cubicBezTo>
                    <a:pt x="959" y="389"/>
                    <a:pt x="960" y="388"/>
                    <a:pt x="962" y="388"/>
                  </a:cubicBezTo>
                  <a:cubicBezTo>
                    <a:pt x="964" y="388"/>
                    <a:pt x="966" y="388"/>
                    <a:pt x="967" y="389"/>
                  </a:cubicBezTo>
                  <a:cubicBezTo>
                    <a:pt x="973" y="390"/>
                    <a:pt x="977" y="391"/>
                    <a:pt x="982" y="393"/>
                  </a:cubicBezTo>
                  <a:cubicBezTo>
                    <a:pt x="984" y="394"/>
                    <a:pt x="985" y="395"/>
                    <a:pt x="987" y="395"/>
                  </a:cubicBezTo>
                  <a:cubicBezTo>
                    <a:pt x="989" y="395"/>
                    <a:pt x="992" y="395"/>
                    <a:pt x="994" y="395"/>
                  </a:cubicBezTo>
                  <a:cubicBezTo>
                    <a:pt x="998" y="397"/>
                    <a:pt x="998" y="400"/>
                    <a:pt x="1002" y="401"/>
                  </a:cubicBezTo>
                  <a:cubicBezTo>
                    <a:pt x="1006" y="402"/>
                    <a:pt x="1011" y="398"/>
                    <a:pt x="1015" y="398"/>
                  </a:cubicBezTo>
                  <a:cubicBezTo>
                    <a:pt x="1017" y="398"/>
                    <a:pt x="1019" y="398"/>
                    <a:pt x="1021" y="398"/>
                  </a:cubicBezTo>
                  <a:cubicBezTo>
                    <a:pt x="1024" y="398"/>
                    <a:pt x="1022" y="398"/>
                    <a:pt x="1024" y="395"/>
                  </a:cubicBezTo>
                  <a:cubicBezTo>
                    <a:pt x="1024" y="395"/>
                    <a:pt x="1024" y="394"/>
                    <a:pt x="1024" y="393"/>
                  </a:cubicBezTo>
                  <a:cubicBezTo>
                    <a:pt x="1024" y="392"/>
                    <a:pt x="1026" y="393"/>
                    <a:pt x="1027" y="392"/>
                  </a:cubicBezTo>
                  <a:cubicBezTo>
                    <a:pt x="1028" y="390"/>
                    <a:pt x="1028" y="387"/>
                    <a:pt x="1030" y="384"/>
                  </a:cubicBezTo>
                  <a:cubicBezTo>
                    <a:pt x="1031" y="383"/>
                    <a:pt x="1033" y="381"/>
                    <a:pt x="1034" y="380"/>
                  </a:cubicBezTo>
                  <a:cubicBezTo>
                    <a:pt x="1035" y="378"/>
                    <a:pt x="1035" y="376"/>
                    <a:pt x="1036" y="374"/>
                  </a:cubicBezTo>
                  <a:cubicBezTo>
                    <a:pt x="1042" y="374"/>
                    <a:pt x="1047" y="378"/>
                    <a:pt x="1052" y="381"/>
                  </a:cubicBezTo>
                  <a:cubicBezTo>
                    <a:pt x="1056" y="384"/>
                    <a:pt x="1061" y="386"/>
                    <a:pt x="1065" y="389"/>
                  </a:cubicBezTo>
                  <a:cubicBezTo>
                    <a:pt x="1065" y="390"/>
                    <a:pt x="1066" y="390"/>
                    <a:pt x="1066" y="391"/>
                  </a:cubicBezTo>
                  <a:cubicBezTo>
                    <a:pt x="1067" y="391"/>
                    <a:pt x="1068" y="391"/>
                    <a:pt x="1069" y="392"/>
                  </a:cubicBezTo>
                  <a:cubicBezTo>
                    <a:pt x="1070" y="393"/>
                    <a:pt x="1072" y="393"/>
                    <a:pt x="1074" y="394"/>
                  </a:cubicBezTo>
                  <a:cubicBezTo>
                    <a:pt x="1077" y="395"/>
                    <a:pt x="1081" y="397"/>
                    <a:pt x="1084" y="398"/>
                  </a:cubicBezTo>
                  <a:cubicBezTo>
                    <a:pt x="1086" y="399"/>
                    <a:pt x="1086" y="401"/>
                    <a:pt x="1087" y="402"/>
                  </a:cubicBezTo>
                  <a:cubicBezTo>
                    <a:pt x="1089" y="404"/>
                    <a:pt x="1088" y="410"/>
                    <a:pt x="1091" y="410"/>
                  </a:cubicBezTo>
                  <a:cubicBezTo>
                    <a:pt x="1093" y="409"/>
                    <a:pt x="1093" y="407"/>
                    <a:pt x="1095" y="406"/>
                  </a:cubicBezTo>
                  <a:cubicBezTo>
                    <a:pt x="1097" y="404"/>
                    <a:pt x="1099" y="406"/>
                    <a:pt x="1101" y="405"/>
                  </a:cubicBezTo>
                  <a:cubicBezTo>
                    <a:pt x="1107" y="402"/>
                    <a:pt x="1099" y="392"/>
                    <a:pt x="1100" y="388"/>
                  </a:cubicBezTo>
                  <a:cubicBezTo>
                    <a:pt x="1101" y="385"/>
                    <a:pt x="1104" y="381"/>
                    <a:pt x="1106" y="379"/>
                  </a:cubicBezTo>
                  <a:cubicBezTo>
                    <a:pt x="1102" y="379"/>
                    <a:pt x="1095" y="376"/>
                    <a:pt x="1093" y="373"/>
                  </a:cubicBezTo>
                  <a:cubicBezTo>
                    <a:pt x="1096" y="374"/>
                    <a:pt x="1101" y="373"/>
                    <a:pt x="1104" y="376"/>
                  </a:cubicBezTo>
                  <a:cubicBezTo>
                    <a:pt x="1106" y="377"/>
                    <a:pt x="1106" y="379"/>
                    <a:pt x="1107" y="379"/>
                  </a:cubicBezTo>
                  <a:cubicBezTo>
                    <a:pt x="1107" y="380"/>
                    <a:pt x="1107" y="381"/>
                    <a:pt x="1108" y="381"/>
                  </a:cubicBezTo>
                  <a:cubicBezTo>
                    <a:pt x="1108" y="379"/>
                    <a:pt x="1109" y="380"/>
                    <a:pt x="1110" y="379"/>
                  </a:cubicBezTo>
                  <a:cubicBezTo>
                    <a:pt x="1111" y="378"/>
                    <a:pt x="1112" y="377"/>
                    <a:pt x="1112" y="376"/>
                  </a:cubicBezTo>
                  <a:cubicBezTo>
                    <a:pt x="1112" y="376"/>
                    <a:pt x="1115" y="374"/>
                    <a:pt x="1115" y="374"/>
                  </a:cubicBezTo>
                  <a:cubicBezTo>
                    <a:pt x="1117" y="372"/>
                    <a:pt x="1117" y="370"/>
                    <a:pt x="1118" y="367"/>
                  </a:cubicBezTo>
                  <a:cubicBezTo>
                    <a:pt x="1120" y="363"/>
                    <a:pt x="1120" y="363"/>
                    <a:pt x="1123" y="364"/>
                  </a:cubicBezTo>
                  <a:cubicBezTo>
                    <a:pt x="1126" y="364"/>
                    <a:pt x="1127" y="365"/>
                    <a:pt x="1130" y="365"/>
                  </a:cubicBezTo>
                  <a:cubicBezTo>
                    <a:pt x="1131" y="363"/>
                    <a:pt x="1130" y="362"/>
                    <a:pt x="1130" y="361"/>
                  </a:cubicBezTo>
                  <a:cubicBezTo>
                    <a:pt x="1131" y="358"/>
                    <a:pt x="1132" y="356"/>
                    <a:pt x="1133" y="355"/>
                  </a:cubicBezTo>
                  <a:cubicBezTo>
                    <a:pt x="1134" y="353"/>
                    <a:pt x="1135" y="350"/>
                    <a:pt x="1136" y="348"/>
                  </a:cubicBezTo>
                  <a:cubicBezTo>
                    <a:pt x="1137" y="347"/>
                    <a:pt x="1138" y="347"/>
                    <a:pt x="1139" y="345"/>
                  </a:cubicBezTo>
                  <a:cubicBezTo>
                    <a:pt x="1140" y="343"/>
                    <a:pt x="1140" y="342"/>
                    <a:pt x="1140" y="338"/>
                  </a:cubicBezTo>
                  <a:cubicBezTo>
                    <a:pt x="1140" y="330"/>
                    <a:pt x="1140" y="321"/>
                    <a:pt x="1140" y="313"/>
                  </a:cubicBezTo>
                  <a:cubicBezTo>
                    <a:pt x="1140" y="306"/>
                    <a:pt x="1140" y="299"/>
                    <a:pt x="1140" y="293"/>
                  </a:cubicBezTo>
                  <a:cubicBezTo>
                    <a:pt x="1140" y="288"/>
                    <a:pt x="1141" y="285"/>
                    <a:pt x="1142" y="280"/>
                  </a:cubicBezTo>
                  <a:cubicBezTo>
                    <a:pt x="1144" y="275"/>
                    <a:pt x="1143" y="269"/>
                    <a:pt x="1144" y="264"/>
                  </a:cubicBezTo>
                  <a:cubicBezTo>
                    <a:pt x="1144" y="261"/>
                    <a:pt x="1145" y="258"/>
                    <a:pt x="1145" y="256"/>
                  </a:cubicBezTo>
                  <a:cubicBezTo>
                    <a:pt x="1145" y="255"/>
                    <a:pt x="1144" y="253"/>
                    <a:pt x="1145" y="252"/>
                  </a:cubicBezTo>
                  <a:cubicBezTo>
                    <a:pt x="1145" y="251"/>
                    <a:pt x="1145" y="251"/>
                    <a:pt x="1146" y="250"/>
                  </a:cubicBezTo>
                  <a:cubicBezTo>
                    <a:pt x="1146" y="249"/>
                    <a:pt x="1146" y="248"/>
                    <a:pt x="1147" y="247"/>
                  </a:cubicBezTo>
                  <a:cubicBezTo>
                    <a:pt x="1149" y="243"/>
                    <a:pt x="1155" y="245"/>
                    <a:pt x="1158" y="242"/>
                  </a:cubicBezTo>
                  <a:cubicBezTo>
                    <a:pt x="1161" y="239"/>
                    <a:pt x="1158" y="234"/>
                    <a:pt x="1159" y="230"/>
                  </a:cubicBezTo>
                  <a:cubicBezTo>
                    <a:pt x="1159" y="228"/>
                    <a:pt x="1160" y="227"/>
                    <a:pt x="1161" y="226"/>
                  </a:cubicBezTo>
                  <a:cubicBezTo>
                    <a:pt x="1163" y="224"/>
                    <a:pt x="1163" y="221"/>
                    <a:pt x="1164" y="219"/>
                  </a:cubicBezTo>
                  <a:cubicBezTo>
                    <a:pt x="1167" y="214"/>
                    <a:pt x="1173" y="208"/>
                    <a:pt x="1178" y="205"/>
                  </a:cubicBezTo>
                  <a:cubicBezTo>
                    <a:pt x="1182" y="203"/>
                    <a:pt x="1187" y="204"/>
                    <a:pt x="1191" y="204"/>
                  </a:cubicBezTo>
                  <a:cubicBezTo>
                    <a:pt x="1195" y="204"/>
                    <a:pt x="1200" y="203"/>
                    <a:pt x="1204" y="204"/>
                  </a:cubicBezTo>
                  <a:cubicBezTo>
                    <a:pt x="1204" y="204"/>
                    <a:pt x="1204" y="206"/>
                    <a:pt x="1204" y="206"/>
                  </a:cubicBezTo>
                  <a:cubicBezTo>
                    <a:pt x="1207" y="207"/>
                    <a:pt x="1211" y="205"/>
                    <a:pt x="1214" y="205"/>
                  </a:cubicBezTo>
                  <a:cubicBezTo>
                    <a:pt x="1217" y="204"/>
                    <a:pt x="1220" y="204"/>
                    <a:pt x="1223" y="203"/>
                  </a:cubicBezTo>
                  <a:cubicBezTo>
                    <a:pt x="1224" y="199"/>
                    <a:pt x="1223" y="195"/>
                    <a:pt x="1226" y="192"/>
                  </a:cubicBezTo>
                  <a:cubicBezTo>
                    <a:pt x="1227" y="190"/>
                    <a:pt x="1229" y="189"/>
                    <a:pt x="1231" y="187"/>
                  </a:cubicBezTo>
                  <a:cubicBezTo>
                    <a:pt x="1233" y="185"/>
                    <a:pt x="1234" y="182"/>
                    <a:pt x="1237" y="180"/>
                  </a:cubicBezTo>
                  <a:cubicBezTo>
                    <a:pt x="1237" y="180"/>
                    <a:pt x="1238" y="179"/>
                    <a:pt x="1239" y="179"/>
                  </a:cubicBezTo>
                  <a:cubicBezTo>
                    <a:pt x="1240" y="179"/>
                    <a:pt x="1241" y="179"/>
                    <a:pt x="1242" y="178"/>
                  </a:cubicBezTo>
                  <a:cubicBezTo>
                    <a:pt x="1244" y="179"/>
                    <a:pt x="1244" y="180"/>
                    <a:pt x="1245" y="181"/>
                  </a:cubicBezTo>
                  <a:cubicBezTo>
                    <a:pt x="1249" y="183"/>
                    <a:pt x="1253" y="181"/>
                    <a:pt x="1256" y="181"/>
                  </a:cubicBezTo>
                  <a:cubicBezTo>
                    <a:pt x="1260" y="182"/>
                    <a:pt x="1257" y="180"/>
                    <a:pt x="1259" y="183"/>
                  </a:cubicBezTo>
                  <a:cubicBezTo>
                    <a:pt x="1260" y="183"/>
                    <a:pt x="1261" y="186"/>
                    <a:pt x="1261" y="187"/>
                  </a:cubicBezTo>
                  <a:cubicBezTo>
                    <a:pt x="1261" y="188"/>
                    <a:pt x="1260" y="191"/>
                    <a:pt x="1261" y="192"/>
                  </a:cubicBezTo>
                  <a:cubicBezTo>
                    <a:pt x="1262" y="195"/>
                    <a:pt x="1264" y="194"/>
                    <a:pt x="1266" y="195"/>
                  </a:cubicBezTo>
                  <a:cubicBezTo>
                    <a:pt x="1267" y="196"/>
                    <a:pt x="1269" y="199"/>
                    <a:pt x="1269" y="199"/>
                  </a:cubicBezTo>
                  <a:cubicBezTo>
                    <a:pt x="1271" y="202"/>
                    <a:pt x="1274" y="204"/>
                    <a:pt x="1275" y="207"/>
                  </a:cubicBezTo>
                  <a:cubicBezTo>
                    <a:pt x="1277" y="210"/>
                    <a:pt x="1278" y="212"/>
                    <a:pt x="1280" y="214"/>
                  </a:cubicBezTo>
                  <a:cubicBezTo>
                    <a:pt x="1280" y="215"/>
                    <a:pt x="1281" y="217"/>
                    <a:pt x="1282" y="218"/>
                  </a:cubicBezTo>
                  <a:cubicBezTo>
                    <a:pt x="1283" y="220"/>
                    <a:pt x="1284" y="221"/>
                    <a:pt x="1286" y="223"/>
                  </a:cubicBezTo>
                  <a:cubicBezTo>
                    <a:pt x="1293" y="226"/>
                    <a:pt x="1299" y="229"/>
                    <a:pt x="1304" y="234"/>
                  </a:cubicBezTo>
                  <a:cubicBezTo>
                    <a:pt x="1308" y="237"/>
                    <a:pt x="1310" y="241"/>
                    <a:pt x="1314" y="243"/>
                  </a:cubicBezTo>
                  <a:cubicBezTo>
                    <a:pt x="1316" y="244"/>
                    <a:pt x="1317" y="245"/>
                    <a:pt x="1318" y="247"/>
                  </a:cubicBezTo>
                  <a:cubicBezTo>
                    <a:pt x="1318" y="248"/>
                    <a:pt x="1318" y="250"/>
                    <a:pt x="1319" y="251"/>
                  </a:cubicBezTo>
                  <a:cubicBezTo>
                    <a:pt x="1320" y="255"/>
                    <a:pt x="1321" y="258"/>
                    <a:pt x="1323" y="262"/>
                  </a:cubicBezTo>
                  <a:cubicBezTo>
                    <a:pt x="1324" y="265"/>
                    <a:pt x="1326" y="269"/>
                    <a:pt x="1326" y="272"/>
                  </a:cubicBezTo>
                  <a:cubicBezTo>
                    <a:pt x="1326" y="274"/>
                    <a:pt x="1325" y="276"/>
                    <a:pt x="1324" y="278"/>
                  </a:cubicBezTo>
                  <a:cubicBezTo>
                    <a:pt x="1322" y="280"/>
                    <a:pt x="1321" y="282"/>
                    <a:pt x="1319" y="285"/>
                  </a:cubicBezTo>
                  <a:cubicBezTo>
                    <a:pt x="1315" y="290"/>
                    <a:pt x="1312" y="296"/>
                    <a:pt x="1308" y="303"/>
                  </a:cubicBezTo>
                  <a:cubicBezTo>
                    <a:pt x="1307" y="305"/>
                    <a:pt x="1306" y="308"/>
                    <a:pt x="1304" y="311"/>
                  </a:cubicBezTo>
                  <a:cubicBezTo>
                    <a:pt x="1303" y="312"/>
                    <a:pt x="1302" y="313"/>
                    <a:pt x="1302" y="314"/>
                  </a:cubicBezTo>
                  <a:cubicBezTo>
                    <a:pt x="1300" y="318"/>
                    <a:pt x="1299" y="321"/>
                    <a:pt x="1301" y="325"/>
                  </a:cubicBezTo>
                  <a:cubicBezTo>
                    <a:pt x="1302" y="326"/>
                    <a:pt x="1302" y="328"/>
                    <a:pt x="1303" y="330"/>
                  </a:cubicBezTo>
                  <a:cubicBezTo>
                    <a:pt x="1304" y="332"/>
                    <a:pt x="1305" y="334"/>
                    <a:pt x="1306" y="336"/>
                  </a:cubicBezTo>
                  <a:cubicBezTo>
                    <a:pt x="1307" y="337"/>
                    <a:pt x="1308" y="339"/>
                    <a:pt x="1310" y="340"/>
                  </a:cubicBezTo>
                  <a:cubicBezTo>
                    <a:pt x="1311" y="342"/>
                    <a:pt x="1314" y="341"/>
                    <a:pt x="1316" y="340"/>
                  </a:cubicBezTo>
                  <a:cubicBezTo>
                    <a:pt x="1319" y="339"/>
                    <a:pt x="1320" y="339"/>
                    <a:pt x="1322" y="337"/>
                  </a:cubicBezTo>
                  <a:cubicBezTo>
                    <a:pt x="1323" y="336"/>
                    <a:pt x="1325" y="336"/>
                    <a:pt x="1325" y="335"/>
                  </a:cubicBezTo>
                  <a:cubicBezTo>
                    <a:pt x="1326" y="333"/>
                    <a:pt x="1326" y="331"/>
                    <a:pt x="1327" y="330"/>
                  </a:cubicBezTo>
                  <a:cubicBezTo>
                    <a:pt x="1327" y="327"/>
                    <a:pt x="1327" y="325"/>
                    <a:pt x="1327" y="323"/>
                  </a:cubicBezTo>
                  <a:cubicBezTo>
                    <a:pt x="1328" y="320"/>
                    <a:pt x="1328" y="317"/>
                    <a:pt x="1329" y="315"/>
                  </a:cubicBezTo>
                  <a:cubicBezTo>
                    <a:pt x="1329" y="312"/>
                    <a:pt x="1330" y="309"/>
                    <a:pt x="1331" y="306"/>
                  </a:cubicBezTo>
                  <a:cubicBezTo>
                    <a:pt x="1331" y="305"/>
                    <a:pt x="1330" y="303"/>
                    <a:pt x="1330" y="302"/>
                  </a:cubicBezTo>
                  <a:cubicBezTo>
                    <a:pt x="1331" y="301"/>
                    <a:pt x="1332" y="300"/>
                    <a:pt x="1333" y="299"/>
                  </a:cubicBezTo>
                  <a:cubicBezTo>
                    <a:pt x="1335" y="298"/>
                    <a:pt x="1336" y="298"/>
                    <a:pt x="1338" y="298"/>
                  </a:cubicBezTo>
                  <a:cubicBezTo>
                    <a:pt x="1341" y="298"/>
                    <a:pt x="1344" y="295"/>
                    <a:pt x="1347" y="293"/>
                  </a:cubicBezTo>
                  <a:cubicBezTo>
                    <a:pt x="1348" y="292"/>
                    <a:pt x="1350" y="290"/>
                    <a:pt x="1351" y="289"/>
                  </a:cubicBezTo>
                  <a:cubicBezTo>
                    <a:pt x="1352" y="288"/>
                    <a:pt x="1353" y="288"/>
                    <a:pt x="1354" y="288"/>
                  </a:cubicBezTo>
                  <a:cubicBezTo>
                    <a:pt x="1354" y="287"/>
                    <a:pt x="1355" y="286"/>
                    <a:pt x="1356" y="286"/>
                  </a:cubicBezTo>
                  <a:cubicBezTo>
                    <a:pt x="1357" y="285"/>
                    <a:pt x="1358" y="285"/>
                    <a:pt x="1359" y="283"/>
                  </a:cubicBezTo>
                  <a:cubicBezTo>
                    <a:pt x="1360" y="282"/>
                    <a:pt x="1360" y="282"/>
                    <a:pt x="1362" y="282"/>
                  </a:cubicBezTo>
                  <a:cubicBezTo>
                    <a:pt x="1362" y="282"/>
                    <a:pt x="1363" y="282"/>
                    <a:pt x="1363" y="282"/>
                  </a:cubicBezTo>
                  <a:cubicBezTo>
                    <a:pt x="1364" y="282"/>
                    <a:pt x="1365" y="283"/>
                    <a:pt x="1365" y="283"/>
                  </a:cubicBezTo>
                  <a:cubicBezTo>
                    <a:pt x="1366" y="283"/>
                    <a:pt x="1366" y="281"/>
                    <a:pt x="1366" y="280"/>
                  </a:cubicBezTo>
                  <a:cubicBezTo>
                    <a:pt x="1367" y="278"/>
                    <a:pt x="1368" y="276"/>
                    <a:pt x="1370" y="274"/>
                  </a:cubicBezTo>
                  <a:cubicBezTo>
                    <a:pt x="1371" y="272"/>
                    <a:pt x="1372" y="269"/>
                    <a:pt x="1373" y="267"/>
                  </a:cubicBezTo>
                  <a:cubicBezTo>
                    <a:pt x="1374" y="265"/>
                    <a:pt x="1375" y="264"/>
                    <a:pt x="1375" y="261"/>
                  </a:cubicBezTo>
                  <a:cubicBezTo>
                    <a:pt x="1375" y="258"/>
                    <a:pt x="1375" y="255"/>
                    <a:pt x="1375" y="252"/>
                  </a:cubicBezTo>
                  <a:cubicBezTo>
                    <a:pt x="1375" y="251"/>
                    <a:pt x="1375" y="250"/>
                    <a:pt x="1374" y="249"/>
                  </a:cubicBezTo>
                  <a:cubicBezTo>
                    <a:pt x="1373" y="248"/>
                    <a:pt x="1370" y="247"/>
                    <a:pt x="1371" y="246"/>
                  </a:cubicBezTo>
                  <a:cubicBezTo>
                    <a:pt x="1372" y="245"/>
                    <a:pt x="1373" y="246"/>
                    <a:pt x="1374" y="246"/>
                  </a:cubicBezTo>
                  <a:cubicBezTo>
                    <a:pt x="1376" y="247"/>
                    <a:pt x="1378" y="248"/>
                    <a:pt x="1380" y="249"/>
                  </a:cubicBezTo>
                  <a:cubicBezTo>
                    <a:pt x="1382" y="250"/>
                    <a:pt x="1384" y="253"/>
                    <a:pt x="1385" y="256"/>
                  </a:cubicBezTo>
                  <a:cubicBezTo>
                    <a:pt x="1386" y="258"/>
                    <a:pt x="1388" y="258"/>
                    <a:pt x="1389" y="259"/>
                  </a:cubicBezTo>
                  <a:cubicBezTo>
                    <a:pt x="1392" y="260"/>
                    <a:pt x="1395" y="261"/>
                    <a:pt x="1397" y="263"/>
                  </a:cubicBezTo>
                  <a:cubicBezTo>
                    <a:pt x="1400" y="264"/>
                    <a:pt x="1402" y="266"/>
                    <a:pt x="1405" y="266"/>
                  </a:cubicBezTo>
                  <a:cubicBezTo>
                    <a:pt x="1408" y="267"/>
                    <a:pt x="1413" y="265"/>
                    <a:pt x="1415" y="264"/>
                  </a:cubicBezTo>
                  <a:cubicBezTo>
                    <a:pt x="1416" y="262"/>
                    <a:pt x="1417" y="260"/>
                    <a:pt x="1418" y="259"/>
                  </a:cubicBezTo>
                  <a:cubicBezTo>
                    <a:pt x="1420" y="255"/>
                    <a:pt x="1419" y="250"/>
                    <a:pt x="1418" y="246"/>
                  </a:cubicBezTo>
                  <a:cubicBezTo>
                    <a:pt x="1417" y="244"/>
                    <a:pt x="1417" y="242"/>
                    <a:pt x="1416" y="240"/>
                  </a:cubicBezTo>
                  <a:cubicBezTo>
                    <a:pt x="1416" y="238"/>
                    <a:pt x="1415" y="237"/>
                    <a:pt x="1415" y="235"/>
                  </a:cubicBezTo>
                  <a:cubicBezTo>
                    <a:pt x="1415" y="233"/>
                    <a:pt x="1414" y="232"/>
                    <a:pt x="1414" y="230"/>
                  </a:cubicBezTo>
                  <a:cubicBezTo>
                    <a:pt x="1413" y="229"/>
                    <a:pt x="1413" y="227"/>
                    <a:pt x="1412" y="226"/>
                  </a:cubicBezTo>
                  <a:cubicBezTo>
                    <a:pt x="1410" y="224"/>
                    <a:pt x="1407" y="227"/>
                    <a:pt x="1405" y="227"/>
                  </a:cubicBezTo>
                  <a:cubicBezTo>
                    <a:pt x="1403" y="227"/>
                    <a:pt x="1401" y="226"/>
                    <a:pt x="1400" y="226"/>
                  </a:cubicBezTo>
                  <a:cubicBezTo>
                    <a:pt x="1398" y="225"/>
                    <a:pt x="1397" y="224"/>
                    <a:pt x="1396" y="223"/>
                  </a:cubicBezTo>
                  <a:cubicBezTo>
                    <a:pt x="1396" y="223"/>
                    <a:pt x="1396" y="222"/>
                    <a:pt x="1396" y="222"/>
                  </a:cubicBezTo>
                  <a:cubicBezTo>
                    <a:pt x="1394" y="221"/>
                    <a:pt x="1392" y="223"/>
                    <a:pt x="1390" y="223"/>
                  </a:cubicBezTo>
                  <a:cubicBezTo>
                    <a:pt x="1386" y="222"/>
                    <a:pt x="1390" y="218"/>
                    <a:pt x="1390" y="215"/>
                  </a:cubicBezTo>
                  <a:cubicBezTo>
                    <a:pt x="1390" y="214"/>
                    <a:pt x="1384" y="212"/>
                    <a:pt x="1383" y="212"/>
                  </a:cubicBezTo>
                  <a:cubicBezTo>
                    <a:pt x="1381" y="211"/>
                    <a:pt x="1376" y="210"/>
                    <a:pt x="1374" y="213"/>
                  </a:cubicBezTo>
                  <a:cubicBezTo>
                    <a:pt x="1372" y="217"/>
                    <a:pt x="1377" y="220"/>
                    <a:pt x="1376" y="224"/>
                  </a:cubicBezTo>
                  <a:cubicBezTo>
                    <a:pt x="1375" y="224"/>
                    <a:pt x="1373" y="224"/>
                    <a:pt x="1372" y="224"/>
                  </a:cubicBezTo>
                  <a:cubicBezTo>
                    <a:pt x="1372" y="226"/>
                    <a:pt x="1373" y="228"/>
                    <a:pt x="1373" y="229"/>
                  </a:cubicBezTo>
                  <a:cubicBezTo>
                    <a:pt x="1374" y="230"/>
                    <a:pt x="1374" y="234"/>
                    <a:pt x="1373" y="235"/>
                  </a:cubicBezTo>
                  <a:cubicBezTo>
                    <a:pt x="1372" y="234"/>
                    <a:pt x="1373" y="233"/>
                    <a:pt x="1372" y="232"/>
                  </a:cubicBezTo>
                  <a:cubicBezTo>
                    <a:pt x="1371" y="231"/>
                    <a:pt x="1371" y="231"/>
                    <a:pt x="1370" y="230"/>
                  </a:cubicBezTo>
                  <a:cubicBezTo>
                    <a:pt x="1369" y="230"/>
                    <a:pt x="1367" y="229"/>
                    <a:pt x="1367" y="228"/>
                  </a:cubicBezTo>
                  <a:cubicBezTo>
                    <a:pt x="1367" y="226"/>
                    <a:pt x="1369" y="226"/>
                    <a:pt x="1370" y="225"/>
                  </a:cubicBezTo>
                  <a:cubicBezTo>
                    <a:pt x="1371" y="224"/>
                    <a:pt x="1372" y="223"/>
                    <a:pt x="1371" y="222"/>
                  </a:cubicBezTo>
                  <a:cubicBezTo>
                    <a:pt x="1371" y="221"/>
                    <a:pt x="1370" y="221"/>
                    <a:pt x="1370" y="220"/>
                  </a:cubicBezTo>
                  <a:cubicBezTo>
                    <a:pt x="1368" y="218"/>
                    <a:pt x="1369" y="218"/>
                    <a:pt x="1371" y="218"/>
                  </a:cubicBezTo>
                  <a:cubicBezTo>
                    <a:pt x="1372" y="218"/>
                    <a:pt x="1373" y="216"/>
                    <a:pt x="1373" y="215"/>
                  </a:cubicBezTo>
                  <a:cubicBezTo>
                    <a:pt x="1373" y="214"/>
                    <a:pt x="1371" y="213"/>
                    <a:pt x="1370" y="213"/>
                  </a:cubicBezTo>
                  <a:cubicBezTo>
                    <a:pt x="1369" y="211"/>
                    <a:pt x="1368" y="210"/>
                    <a:pt x="1367" y="209"/>
                  </a:cubicBezTo>
                  <a:cubicBezTo>
                    <a:pt x="1365" y="207"/>
                    <a:pt x="1362" y="207"/>
                    <a:pt x="1359" y="208"/>
                  </a:cubicBezTo>
                  <a:cubicBezTo>
                    <a:pt x="1357" y="208"/>
                    <a:pt x="1355" y="208"/>
                    <a:pt x="1353" y="208"/>
                  </a:cubicBezTo>
                  <a:cubicBezTo>
                    <a:pt x="1352" y="207"/>
                    <a:pt x="1350" y="207"/>
                    <a:pt x="1349" y="207"/>
                  </a:cubicBezTo>
                  <a:cubicBezTo>
                    <a:pt x="1348" y="207"/>
                    <a:pt x="1348" y="206"/>
                    <a:pt x="1347" y="206"/>
                  </a:cubicBezTo>
                  <a:cubicBezTo>
                    <a:pt x="1346" y="206"/>
                    <a:pt x="1345" y="206"/>
                    <a:pt x="1344" y="206"/>
                  </a:cubicBezTo>
                  <a:cubicBezTo>
                    <a:pt x="1342" y="206"/>
                    <a:pt x="1342" y="205"/>
                    <a:pt x="1341" y="204"/>
                  </a:cubicBezTo>
                  <a:cubicBezTo>
                    <a:pt x="1341" y="204"/>
                    <a:pt x="1340" y="204"/>
                    <a:pt x="1340" y="204"/>
                  </a:cubicBezTo>
                  <a:cubicBezTo>
                    <a:pt x="1339" y="203"/>
                    <a:pt x="1339" y="203"/>
                    <a:pt x="1339" y="202"/>
                  </a:cubicBezTo>
                  <a:cubicBezTo>
                    <a:pt x="1338" y="202"/>
                    <a:pt x="1338" y="202"/>
                    <a:pt x="1338" y="202"/>
                  </a:cubicBezTo>
                  <a:cubicBezTo>
                    <a:pt x="1339" y="202"/>
                    <a:pt x="1339" y="202"/>
                    <a:pt x="1339" y="200"/>
                  </a:cubicBezTo>
                  <a:cubicBezTo>
                    <a:pt x="1340" y="195"/>
                    <a:pt x="1338" y="195"/>
                    <a:pt x="1335" y="193"/>
                  </a:cubicBezTo>
                  <a:cubicBezTo>
                    <a:pt x="1325" y="188"/>
                    <a:pt x="1314" y="183"/>
                    <a:pt x="1303" y="180"/>
                  </a:cubicBezTo>
                  <a:cubicBezTo>
                    <a:pt x="1298" y="179"/>
                    <a:pt x="1295" y="177"/>
                    <a:pt x="1295" y="174"/>
                  </a:cubicBezTo>
                  <a:cubicBezTo>
                    <a:pt x="1307" y="173"/>
                    <a:pt x="1320" y="172"/>
                    <a:pt x="1332" y="174"/>
                  </a:cubicBezTo>
                  <a:cubicBezTo>
                    <a:pt x="1338" y="174"/>
                    <a:pt x="1346" y="173"/>
                    <a:pt x="1352" y="175"/>
                  </a:cubicBezTo>
                  <a:cubicBezTo>
                    <a:pt x="1355" y="176"/>
                    <a:pt x="1356" y="178"/>
                    <a:pt x="1359" y="178"/>
                  </a:cubicBezTo>
                  <a:cubicBezTo>
                    <a:pt x="1361" y="178"/>
                    <a:pt x="1363" y="178"/>
                    <a:pt x="1365" y="178"/>
                  </a:cubicBezTo>
                  <a:cubicBezTo>
                    <a:pt x="1369" y="178"/>
                    <a:pt x="1377" y="179"/>
                    <a:pt x="1381" y="178"/>
                  </a:cubicBezTo>
                  <a:cubicBezTo>
                    <a:pt x="1382" y="177"/>
                    <a:pt x="1386" y="174"/>
                    <a:pt x="1387" y="172"/>
                  </a:cubicBezTo>
                  <a:cubicBezTo>
                    <a:pt x="1390" y="169"/>
                    <a:pt x="1389" y="164"/>
                    <a:pt x="1392" y="162"/>
                  </a:cubicBezTo>
                  <a:cubicBezTo>
                    <a:pt x="1393" y="161"/>
                    <a:pt x="1397" y="161"/>
                    <a:pt x="1399" y="160"/>
                  </a:cubicBezTo>
                  <a:cubicBezTo>
                    <a:pt x="1401" y="159"/>
                    <a:pt x="1404" y="157"/>
                    <a:pt x="1406" y="156"/>
                  </a:cubicBezTo>
                  <a:cubicBezTo>
                    <a:pt x="1407" y="155"/>
                    <a:pt x="1406" y="154"/>
                    <a:pt x="1407" y="154"/>
                  </a:cubicBezTo>
                  <a:cubicBezTo>
                    <a:pt x="1408" y="154"/>
                    <a:pt x="1409" y="154"/>
                    <a:pt x="1410" y="154"/>
                  </a:cubicBezTo>
                  <a:cubicBezTo>
                    <a:pt x="1412" y="153"/>
                    <a:pt x="1411" y="151"/>
                    <a:pt x="1413" y="149"/>
                  </a:cubicBezTo>
                  <a:cubicBezTo>
                    <a:pt x="1416" y="146"/>
                    <a:pt x="1420" y="149"/>
                    <a:pt x="1423" y="146"/>
                  </a:cubicBezTo>
                  <a:cubicBezTo>
                    <a:pt x="1429" y="142"/>
                    <a:pt x="1419" y="130"/>
                    <a:pt x="1418" y="12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7" name="Freeform 139">
              <a:extLst>
                <a:ext uri="{FF2B5EF4-FFF2-40B4-BE49-F238E27FC236}">
                  <a16:creationId xmlns:a16="http://schemas.microsoft.com/office/drawing/2014/main" id="{1B9ADBE3-6D28-4108-9591-B5A9D4715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0138" y="6602413"/>
              <a:ext cx="34925" cy="2063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3" y="3"/>
                </a:cxn>
                <a:cxn ang="0">
                  <a:pos x="1" y="7"/>
                </a:cxn>
                <a:cxn ang="0">
                  <a:pos x="5" y="10"/>
                </a:cxn>
                <a:cxn ang="0">
                  <a:pos x="14" y="11"/>
                </a:cxn>
                <a:cxn ang="0">
                  <a:pos x="17" y="7"/>
                </a:cxn>
                <a:cxn ang="0">
                  <a:pos x="19" y="3"/>
                </a:cxn>
                <a:cxn ang="0">
                  <a:pos x="16" y="2"/>
                </a:cxn>
              </a:cxnLst>
              <a:rect l="0" t="0" r="r" b="b"/>
              <a:pathLst>
                <a:path w="19" h="11">
                  <a:moveTo>
                    <a:pt x="16" y="2"/>
                  </a:moveTo>
                  <a:cubicBezTo>
                    <a:pt x="12" y="0"/>
                    <a:pt x="6" y="0"/>
                    <a:pt x="3" y="3"/>
                  </a:cubicBezTo>
                  <a:cubicBezTo>
                    <a:pt x="2" y="4"/>
                    <a:pt x="0" y="5"/>
                    <a:pt x="1" y="7"/>
                  </a:cubicBezTo>
                  <a:cubicBezTo>
                    <a:pt x="1" y="9"/>
                    <a:pt x="3" y="9"/>
                    <a:pt x="5" y="10"/>
                  </a:cubicBezTo>
                  <a:cubicBezTo>
                    <a:pt x="7" y="11"/>
                    <a:pt x="11" y="11"/>
                    <a:pt x="14" y="11"/>
                  </a:cubicBezTo>
                  <a:cubicBezTo>
                    <a:pt x="15" y="10"/>
                    <a:pt x="15" y="9"/>
                    <a:pt x="17" y="7"/>
                  </a:cubicBezTo>
                  <a:cubicBezTo>
                    <a:pt x="19" y="6"/>
                    <a:pt x="19" y="6"/>
                    <a:pt x="19" y="3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</p:grpSp>
      <p:sp>
        <p:nvSpPr>
          <p:cNvPr id="368" name="Oval 7">
            <a:extLst>
              <a:ext uri="{FF2B5EF4-FFF2-40B4-BE49-F238E27FC236}">
                <a16:creationId xmlns:a16="http://schemas.microsoft.com/office/drawing/2014/main" id="{E995DE38-573C-4BF9-8857-74F93FBE6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0069" y="3648759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369" name="Gruppieren 368">
            <a:extLst>
              <a:ext uri="{FF2B5EF4-FFF2-40B4-BE49-F238E27FC236}">
                <a16:creationId xmlns:a16="http://schemas.microsoft.com/office/drawing/2014/main" id="{0B81B55F-FF7F-48BF-A025-070D483A2CB9}"/>
              </a:ext>
            </a:extLst>
          </p:cNvPr>
          <p:cNvGrpSpPr/>
          <p:nvPr/>
        </p:nvGrpSpPr>
        <p:grpSpPr>
          <a:xfrm>
            <a:off x="7013897" y="3846587"/>
            <a:ext cx="492344" cy="324343"/>
            <a:chOff x="3363913" y="1768476"/>
            <a:chExt cx="2416175" cy="1601788"/>
          </a:xfrm>
          <a:solidFill>
            <a:schemeClr val="accent3"/>
          </a:solidFill>
        </p:grpSpPr>
        <p:sp>
          <p:nvSpPr>
            <p:cNvPr id="370" name="Rectangle 14">
              <a:extLst>
                <a:ext uri="{FF2B5EF4-FFF2-40B4-BE49-F238E27FC236}">
                  <a16:creationId xmlns:a16="http://schemas.microsoft.com/office/drawing/2014/main" id="{4A0A87CA-F9F5-46C9-8081-F05A9F9D7D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7776" y="3262313"/>
              <a:ext cx="539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1" name="Rectangle 15">
              <a:extLst>
                <a:ext uri="{FF2B5EF4-FFF2-40B4-BE49-F238E27FC236}">
                  <a16:creationId xmlns:a16="http://schemas.microsoft.com/office/drawing/2014/main" id="{C38B1A5E-4043-4E2C-B030-4C1F30901A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813" y="3262313"/>
              <a:ext cx="114300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2" name="Rectangle 16">
              <a:extLst>
                <a:ext uri="{FF2B5EF4-FFF2-40B4-BE49-F238E27FC236}">
                  <a16:creationId xmlns:a16="http://schemas.microsoft.com/office/drawing/2014/main" id="{C353FFE4-D5E1-4410-A5FF-36428A1347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4038" y="3262313"/>
              <a:ext cx="114300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3" name="Rectangle 17">
              <a:extLst>
                <a:ext uri="{FF2B5EF4-FFF2-40B4-BE49-F238E27FC236}">
                  <a16:creationId xmlns:a16="http://schemas.microsoft.com/office/drawing/2014/main" id="{80DB5E12-C608-4296-8EA5-74DBAB75F6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6001" y="3262313"/>
              <a:ext cx="1174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4" name="Rectangle 18">
              <a:extLst>
                <a:ext uri="{FF2B5EF4-FFF2-40B4-BE49-F238E27FC236}">
                  <a16:creationId xmlns:a16="http://schemas.microsoft.com/office/drawing/2014/main" id="{5A644565-29E4-41B2-837C-10C518136C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2588" y="3262313"/>
              <a:ext cx="539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5" name="Freeform 19">
              <a:extLst>
                <a:ext uri="{FF2B5EF4-FFF2-40B4-BE49-F238E27FC236}">
                  <a16:creationId xmlns:a16="http://schemas.microsoft.com/office/drawing/2014/main" id="{0BE5F215-ADFD-4E1D-97F4-2CF993EB6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913" y="1768476"/>
              <a:ext cx="2416175" cy="1601788"/>
            </a:xfrm>
            <a:custGeom>
              <a:avLst/>
              <a:gdLst>
                <a:gd name="T0" fmla="*/ 828 w 887"/>
                <a:gd name="T1" fmla="*/ 232 h 590"/>
                <a:gd name="T2" fmla="*/ 704 w 887"/>
                <a:gd name="T3" fmla="*/ 185 h 590"/>
                <a:gd name="T4" fmla="*/ 78 w 887"/>
                <a:gd name="T5" fmla="*/ 185 h 590"/>
                <a:gd name="T6" fmla="*/ 233 w 887"/>
                <a:gd name="T7" fmla="*/ 36 h 590"/>
                <a:gd name="T8" fmla="*/ 233 w 887"/>
                <a:gd name="T9" fmla="*/ 8 h 590"/>
                <a:gd name="T10" fmla="*/ 205 w 887"/>
                <a:gd name="T11" fmla="*/ 7 h 590"/>
                <a:gd name="T12" fmla="*/ 0 w 887"/>
                <a:gd name="T13" fmla="*/ 205 h 590"/>
                <a:gd name="T14" fmla="*/ 205 w 887"/>
                <a:gd name="T15" fmla="*/ 402 h 590"/>
                <a:gd name="T16" fmla="*/ 219 w 887"/>
                <a:gd name="T17" fmla="*/ 407 h 590"/>
                <a:gd name="T18" fmla="*/ 233 w 887"/>
                <a:gd name="T19" fmla="*/ 401 h 590"/>
                <a:gd name="T20" fmla="*/ 233 w 887"/>
                <a:gd name="T21" fmla="*/ 373 h 590"/>
                <a:gd name="T22" fmla="*/ 78 w 887"/>
                <a:gd name="T23" fmla="*/ 225 h 590"/>
                <a:gd name="T24" fmla="*/ 704 w 887"/>
                <a:gd name="T25" fmla="*/ 225 h 590"/>
                <a:gd name="T26" fmla="*/ 705 w 887"/>
                <a:gd name="T27" fmla="*/ 225 h 590"/>
                <a:gd name="T28" fmla="*/ 800 w 887"/>
                <a:gd name="T29" fmla="*/ 261 h 590"/>
                <a:gd name="T30" fmla="*/ 847 w 887"/>
                <a:gd name="T31" fmla="*/ 396 h 590"/>
                <a:gd name="T32" fmla="*/ 704 w 887"/>
                <a:gd name="T33" fmla="*/ 550 h 590"/>
                <a:gd name="T34" fmla="*/ 676 w 887"/>
                <a:gd name="T35" fmla="*/ 550 h 590"/>
                <a:gd name="T36" fmla="*/ 676 w 887"/>
                <a:gd name="T37" fmla="*/ 590 h 590"/>
                <a:gd name="T38" fmla="*/ 704 w 887"/>
                <a:gd name="T39" fmla="*/ 590 h 590"/>
                <a:gd name="T40" fmla="*/ 864 w 887"/>
                <a:gd name="T41" fmla="*/ 491 h 590"/>
                <a:gd name="T42" fmla="*/ 887 w 887"/>
                <a:gd name="T43" fmla="*/ 396 h 590"/>
                <a:gd name="T44" fmla="*/ 828 w 887"/>
                <a:gd name="T45" fmla="*/ 232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87" h="590">
                  <a:moveTo>
                    <a:pt x="828" y="232"/>
                  </a:moveTo>
                  <a:cubicBezTo>
                    <a:pt x="777" y="184"/>
                    <a:pt x="711" y="185"/>
                    <a:pt x="704" y="185"/>
                  </a:cubicBezTo>
                  <a:cubicBezTo>
                    <a:pt x="78" y="185"/>
                    <a:pt x="78" y="185"/>
                    <a:pt x="78" y="185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41" y="28"/>
                    <a:pt x="241" y="16"/>
                    <a:pt x="233" y="8"/>
                  </a:cubicBezTo>
                  <a:cubicBezTo>
                    <a:pt x="225" y="0"/>
                    <a:pt x="213" y="0"/>
                    <a:pt x="205" y="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205" y="402"/>
                    <a:pt x="205" y="402"/>
                    <a:pt x="205" y="402"/>
                  </a:cubicBezTo>
                  <a:cubicBezTo>
                    <a:pt x="209" y="406"/>
                    <a:pt x="214" y="407"/>
                    <a:pt x="219" y="407"/>
                  </a:cubicBezTo>
                  <a:cubicBezTo>
                    <a:pt x="224" y="407"/>
                    <a:pt x="229" y="405"/>
                    <a:pt x="233" y="401"/>
                  </a:cubicBezTo>
                  <a:cubicBezTo>
                    <a:pt x="241" y="393"/>
                    <a:pt x="241" y="381"/>
                    <a:pt x="233" y="373"/>
                  </a:cubicBezTo>
                  <a:cubicBezTo>
                    <a:pt x="78" y="225"/>
                    <a:pt x="78" y="225"/>
                    <a:pt x="78" y="225"/>
                  </a:cubicBezTo>
                  <a:cubicBezTo>
                    <a:pt x="704" y="225"/>
                    <a:pt x="704" y="225"/>
                    <a:pt x="704" y="225"/>
                  </a:cubicBezTo>
                  <a:cubicBezTo>
                    <a:pt x="705" y="225"/>
                    <a:pt x="705" y="225"/>
                    <a:pt x="705" y="225"/>
                  </a:cubicBezTo>
                  <a:cubicBezTo>
                    <a:pt x="706" y="225"/>
                    <a:pt x="759" y="222"/>
                    <a:pt x="800" y="261"/>
                  </a:cubicBezTo>
                  <a:cubicBezTo>
                    <a:pt x="831" y="290"/>
                    <a:pt x="847" y="336"/>
                    <a:pt x="847" y="396"/>
                  </a:cubicBezTo>
                  <a:cubicBezTo>
                    <a:pt x="847" y="402"/>
                    <a:pt x="844" y="550"/>
                    <a:pt x="704" y="550"/>
                  </a:cubicBezTo>
                  <a:cubicBezTo>
                    <a:pt x="676" y="550"/>
                    <a:pt x="676" y="550"/>
                    <a:pt x="676" y="550"/>
                  </a:cubicBezTo>
                  <a:cubicBezTo>
                    <a:pt x="676" y="590"/>
                    <a:pt x="676" y="590"/>
                    <a:pt x="676" y="590"/>
                  </a:cubicBezTo>
                  <a:cubicBezTo>
                    <a:pt x="704" y="590"/>
                    <a:pt x="704" y="590"/>
                    <a:pt x="704" y="590"/>
                  </a:cubicBezTo>
                  <a:cubicBezTo>
                    <a:pt x="799" y="590"/>
                    <a:pt x="843" y="536"/>
                    <a:pt x="864" y="491"/>
                  </a:cubicBezTo>
                  <a:cubicBezTo>
                    <a:pt x="886" y="445"/>
                    <a:pt x="887" y="398"/>
                    <a:pt x="887" y="396"/>
                  </a:cubicBezTo>
                  <a:cubicBezTo>
                    <a:pt x="887" y="324"/>
                    <a:pt x="867" y="269"/>
                    <a:pt x="828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76" name="Oval 8">
            <a:extLst>
              <a:ext uri="{FF2B5EF4-FFF2-40B4-BE49-F238E27FC236}">
                <a16:creationId xmlns:a16="http://schemas.microsoft.com/office/drawing/2014/main" id="{E3F6C30A-0069-4E5C-9199-0B4FFEA9E7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2253" y="1429873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377" name="Gruppieren 376">
            <a:extLst>
              <a:ext uri="{FF2B5EF4-FFF2-40B4-BE49-F238E27FC236}">
                <a16:creationId xmlns:a16="http://schemas.microsoft.com/office/drawing/2014/main" id="{99D8C1BA-E734-44B6-980C-414715314044}"/>
              </a:ext>
            </a:extLst>
          </p:cNvPr>
          <p:cNvGrpSpPr/>
          <p:nvPr/>
        </p:nvGrpSpPr>
        <p:grpSpPr>
          <a:xfrm>
            <a:off x="8095183" y="1684677"/>
            <a:ext cx="534141" cy="210392"/>
            <a:chOff x="1504868" y="1362965"/>
            <a:chExt cx="1143979" cy="454025"/>
          </a:xfrm>
          <a:solidFill>
            <a:schemeClr val="accent4"/>
          </a:solidFill>
        </p:grpSpPr>
        <p:grpSp>
          <p:nvGrpSpPr>
            <p:cNvPr id="378" name="Group 250">
              <a:extLst>
                <a:ext uri="{FF2B5EF4-FFF2-40B4-BE49-F238E27FC236}">
                  <a16:creationId xmlns:a16="http://schemas.microsoft.com/office/drawing/2014/main" id="{A8A02A42-BFC4-4EC8-B11C-45D1ED8919BD}"/>
                </a:ext>
              </a:extLst>
            </p:cNvPr>
            <p:cNvGrpSpPr/>
            <p:nvPr/>
          </p:nvGrpSpPr>
          <p:grpSpPr>
            <a:xfrm>
              <a:off x="1504868" y="1362965"/>
              <a:ext cx="1143979" cy="454025"/>
              <a:chOff x="-2701925" y="2127250"/>
              <a:chExt cx="1323975" cy="525463"/>
            </a:xfrm>
            <a:grpFill/>
          </p:grpSpPr>
          <p:sp>
            <p:nvSpPr>
              <p:cNvPr id="380" name="Freeform 44">
                <a:extLst>
                  <a:ext uri="{FF2B5EF4-FFF2-40B4-BE49-F238E27FC236}">
                    <a16:creationId xmlns:a16="http://schemas.microsoft.com/office/drawing/2014/main" id="{217DE261-0D81-43E0-BBA6-702091A70A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278063" y="2462213"/>
                <a:ext cx="184150" cy="190500"/>
              </a:xfrm>
              <a:custGeom>
                <a:avLst/>
                <a:gdLst>
                  <a:gd name="T0" fmla="*/ 49 w 49"/>
                  <a:gd name="T1" fmla="*/ 25 h 51"/>
                  <a:gd name="T2" fmla="*/ 25 w 49"/>
                  <a:gd name="T3" fmla="*/ 0 h 51"/>
                  <a:gd name="T4" fmla="*/ 0 w 49"/>
                  <a:gd name="T5" fmla="*/ 25 h 51"/>
                  <a:gd name="T6" fmla="*/ 25 w 49"/>
                  <a:gd name="T7" fmla="*/ 51 h 51"/>
                  <a:gd name="T8" fmla="*/ 49 w 49"/>
                  <a:gd name="T9" fmla="*/ 25 h 51"/>
                  <a:gd name="T10" fmla="*/ 36 w 49"/>
                  <a:gd name="T11" fmla="*/ 25 h 51"/>
                  <a:gd name="T12" fmla="*/ 25 w 49"/>
                  <a:gd name="T13" fmla="*/ 37 h 51"/>
                  <a:gd name="T14" fmla="*/ 15 w 49"/>
                  <a:gd name="T15" fmla="*/ 25 h 51"/>
                  <a:gd name="T16" fmla="*/ 25 w 49"/>
                  <a:gd name="T17" fmla="*/ 14 h 51"/>
                  <a:gd name="T18" fmla="*/ 36 w 49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51">
                    <a:moveTo>
                      <a:pt x="49" y="25"/>
                    </a:moveTo>
                    <a:cubicBezTo>
                      <a:pt x="49" y="12"/>
                      <a:pt x="38" y="0"/>
                      <a:pt x="25" y="0"/>
                    </a:cubicBezTo>
                    <a:cubicBezTo>
                      <a:pt x="12" y="0"/>
                      <a:pt x="0" y="12"/>
                      <a:pt x="0" y="25"/>
                    </a:cubicBezTo>
                    <a:cubicBezTo>
                      <a:pt x="0" y="39"/>
                      <a:pt x="12" y="51"/>
                      <a:pt x="25" y="51"/>
                    </a:cubicBezTo>
                    <a:cubicBezTo>
                      <a:pt x="38" y="51"/>
                      <a:pt x="49" y="39"/>
                      <a:pt x="49" y="25"/>
                    </a:cubicBezTo>
                    <a:close/>
                    <a:moveTo>
                      <a:pt x="36" y="25"/>
                    </a:moveTo>
                    <a:cubicBezTo>
                      <a:pt x="36" y="32"/>
                      <a:pt x="31" y="37"/>
                      <a:pt x="25" y="37"/>
                    </a:cubicBezTo>
                    <a:cubicBezTo>
                      <a:pt x="19" y="37"/>
                      <a:pt x="15" y="32"/>
                      <a:pt x="15" y="25"/>
                    </a:cubicBezTo>
                    <a:cubicBezTo>
                      <a:pt x="15" y="19"/>
                      <a:pt x="19" y="14"/>
                      <a:pt x="25" y="14"/>
                    </a:cubicBezTo>
                    <a:cubicBezTo>
                      <a:pt x="31" y="14"/>
                      <a:pt x="36" y="19"/>
                      <a:pt x="36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1" name="Freeform 45">
                <a:extLst>
                  <a:ext uri="{FF2B5EF4-FFF2-40B4-BE49-F238E27FC236}">
                    <a16:creationId xmlns:a16="http://schemas.microsoft.com/office/drawing/2014/main" id="{907C9046-4716-48A4-B69B-CD61116DEA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636713" y="2462213"/>
                <a:ext cx="179388" cy="190500"/>
              </a:xfrm>
              <a:custGeom>
                <a:avLst/>
                <a:gdLst>
                  <a:gd name="T0" fmla="*/ 48 w 48"/>
                  <a:gd name="T1" fmla="*/ 25 h 51"/>
                  <a:gd name="T2" fmla="*/ 23 w 48"/>
                  <a:gd name="T3" fmla="*/ 0 h 51"/>
                  <a:gd name="T4" fmla="*/ 0 w 48"/>
                  <a:gd name="T5" fmla="*/ 25 h 51"/>
                  <a:gd name="T6" fmla="*/ 23 w 48"/>
                  <a:gd name="T7" fmla="*/ 51 h 51"/>
                  <a:gd name="T8" fmla="*/ 48 w 48"/>
                  <a:gd name="T9" fmla="*/ 25 h 51"/>
                  <a:gd name="T10" fmla="*/ 35 w 48"/>
                  <a:gd name="T11" fmla="*/ 25 h 51"/>
                  <a:gd name="T12" fmla="*/ 23 w 48"/>
                  <a:gd name="T13" fmla="*/ 37 h 51"/>
                  <a:gd name="T14" fmla="*/ 13 w 48"/>
                  <a:gd name="T15" fmla="*/ 25 h 51"/>
                  <a:gd name="T16" fmla="*/ 23 w 48"/>
                  <a:gd name="T17" fmla="*/ 14 h 51"/>
                  <a:gd name="T18" fmla="*/ 35 w 48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51">
                    <a:moveTo>
                      <a:pt x="48" y="25"/>
                    </a:moveTo>
                    <a:cubicBezTo>
                      <a:pt x="48" y="12"/>
                      <a:pt x="37" y="0"/>
                      <a:pt x="23" y="0"/>
                    </a:cubicBezTo>
                    <a:cubicBezTo>
                      <a:pt x="10" y="0"/>
                      <a:pt x="0" y="12"/>
                      <a:pt x="0" y="25"/>
                    </a:cubicBezTo>
                    <a:cubicBezTo>
                      <a:pt x="0" y="39"/>
                      <a:pt x="10" y="51"/>
                      <a:pt x="23" y="51"/>
                    </a:cubicBezTo>
                    <a:cubicBezTo>
                      <a:pt x="37" y="51"/>
                      <a:pt x="48" y="39"/>
                      <a:pt x="48" y="25"/>
                    </a:cubicBezTo>
                    <a:close/>
                    <a:moveTo>
                      <a:pt x="35" y="25"/>
                    </a:moveTo>
                    <a:cubicBezTo>
                      <a:pt x="35" y="32"/>
                      <a:pt x="29" y="37"/>
                      <a:pt x="23" y="37"/>
                    </a:cubicBezTo>
                    <a:cubicBezTo>
                      <a:pt x="17" y="37"/>
                      <a:pt x="13" y="32"/>
                      <a:pt x="13" y="25"/>
                    </a:cubicBezTo>
                    <a:cubicBezTo>
                      <a:pt x="13" y="19"/>
                      <a:pt x="17" y="14"/>
                      <a:pt x="23" y="14"/>
                    </a:cubicBezTo>
                    <a:cubicBezTo>
                      <a:pt x="29" y="14"/>
                      <a:pt x="35" y="19"/>
                      <a:pt x="35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2" name="Freeform 46">
                <a:extLst>
                  <a:ext uri="{FF2B5EF4-FFF2-40B4-BE49-F238E27FC236}">
                    <a16:creationId xmlns:a16="http://schemas.microsoft.com/office/drawing/2014/main" id="{A223A8E9-1186-48AC-B317-3B4D6CF207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38388" y="2473325"/>
                <a:ext cx="79375" cy="82550"/>
              </a:xfrm>
              <a:custGeom>
                <a:avLst/>
                <a:gdLst>
                  <a:gd name="T0" fmla="*/ 0 w 21"/>
                  <a:gd name="T1" fmla="*/ 0 h 22"/>
                  <a:gd name="T2" fmla="*/ 0 w 21"/>
                  <a:gd name="T3" fmla="*/ 20 h 22"/>
                  <a:gd name="T4" fmla="*/ 4 w 21"/>
                  <a:gd name="T5" fmla="*/ 22 h 22"/>
                  <a:gd name="T6" fmla="*/ 11 w 21"/>
                  <a:gd name="T7" fmla="*/ 22 h 22"/>
                  <a:gd name="T8" fmla="*/ 11 w 21"/>
                  <a:gd name="T9" fmla="*/ 22 h 22"/>
                  <a:gd name="T10" fmla="*/ 21 w 21"/>
                  <a:gd name="T11" fmla="*/ 0 h 22"/>
                  <a:gd name="T12" fmla="*/ 0 w 21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2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2"/>
                      <a:pt x="4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13"/>
                      <a:pt x="15" y="5"/>
                      <a:pt x="2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3" name="Freeform 47">
                <a:extLst>
                  <a:ext uri="{FF2B5EF4-FFF2-40B4-BE49-F238E27FC236}">
                    <a16:creationId xmlns:a16="http://schemas.microsoft.com/office/drawing/2014/main" id="{040EC3F9-91B3-4414-8699-96A5C45401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38388" y="2127250"/>
                <a:ext cx="646113" cy="330200"/>
              </a:xfrm>
              <a:custGeom>
                <a:avLst/>
                <a:gdLst>
                  <a:gd name="T0" fmla="*/ 169 w 172"/>
                  <a:gd name="T1" fmla="*/ 0 h 88"/>
                  <a:gd name="T2" fmla="*/ 4 w 172"/>
                  <a:gd name="T3" fmla="*/ 0 h 88"/>
                  <a:gd name="T4" fmla="*/ 0 w 172"/>
                  <a:gd name="T5" fmla="*/ 3 h 88"/>
                  <a:gd name="T6" fmla="*/ 0 w 172"/>
                  <a:gd name="T7" fmla="*/ 88 h 88"/>
                  <a:gd name="T8" fmla="*/ 26 w 172"/>
                  <a:gd name="T9" fmla="*/ 88 h 88"/>
                  <a:gd name="T10" fmla="*/ 41 w 172"/>
                  <a:gd name="T11" fmla="*/ 83 h 88"/>
                  <a:gd name="T12" fmla="*/ 56 w 172"/>
                  <a:gd name="T13" fmla="*/ 88 h 88"/>
                  <a:gd name="T14" fmla="*/ 172 w 172"/>
                  <a:gd name="T15" fmla="*/ 88 h 88"/>
                  <a:gd name="T16" fmla="*/ 172 w 172"/>
                  <a:gd name="T17" fmla="*/ 3 h 88"/>
                  <a:gd name="T18" fmla="*/ 169 w 172"/>
                  <a:gd name="T1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88">
                    <a:moveTo>
                      <a:pt x="169" y="0"/>
                    </a:moveTo>
                    <a:cubicBezTo>
                      <a:pt x="0" y="0"/>
                      <a:pt x="4" y="0"/>
                      <a:pt x="4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31" y="85"/>
                      <a:pt x="36" y="83"/>
                      <a:pt x="41" y="83"/>
                    </a:cubicBezTo>
                    <a:cubicBezTo>
                      <a:pt x="47" y="83"/>
                      <a:pt x="52" y="85"/>
                      <a:pt x="56" y="88"/>
                    </a:cubicBezTo>
                    <a:cubicBezTo>
                      <a:pt x="172" y="88"/>
                      <a:pt x="172" y="88"/>
                      <a:pt x="172" y="88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72" y="1"/>
                      <a:pt x="171" y="0"/>
                      <a:pt x="1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4" name="Freeform 48">
                <a:extLst>
                  <a:ext uri="{FF2B5EF4-FFF2-40B4-BE49-F238E27FC236}">
                    <a16:creationId xmlns:a16="http://schemas.microsoft.com/office/drawing/2014/main" id="{71BA8DC4-1357-4557-AFFF-76D37DAC35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109788" y="2198688"/>
                <a:ext cx="731838" cy="357188"/>
              </a:xfrm>
              <a:custGeom>
                <a:avLst/>
                <a:gdLst>
                  <a:gd name="T0" fmla="*/ 176 w 195"/>
                  <a:gd name="T1" fmla="*/ 4 h 95"/>
                  <a:gd name="T2" fmla="*/ 171 w 195"/>
                  <a:gd name="T3" fmla="*/ 2 h 95"/>
                  <a:gd name="T4" fmla="*/ 123 w 195"/>
                  <a:gd name="T5" fmla="*/ 2 h 95"/>
                  <a:gd name="T6" fmla="*/ 119 w 195"/>
                  <a:gd name="T7" fmla="*/ 4 h 95"/>
                  <a:gd name="T8" fmla="*/ 119 w 195"/>
                  <a:gd name="T9" fmla="*/ 73 h 95"/>
                  <a:gd name="T10" fmla="*/ 108 w 195"/>
                  <a:gd name="T11" fmla="*/ 73 h 95"/>
                  <a:gd name="T12" fmla="*/ 108 w 195"/>
                  <a:gd name="T13" fmla="*/ 73 h 95"/>
                  <a:gd name="T14" fmla="*/ 95 w 195"/>
                  <a:gd name="T15" fmla="*/ 73 h 95"/>
                  <a:gd name="T16" fmla="*/ 55 w 195"/>
                  <a:gd name="T17" fmla="*/ 73 h 95"/>
                  <a:gd name="T18" fmla="*/ 0 w 195"/>
                  <a:gd name="T19" fmla="*/ 73 h 95"/>
                  <a:gd name="T20" fmla="*/ 9 w 195"/>
                  <a:gd name="T21" fmla="*/ 95 h 95"/>
                  <a:gd name="T22" fmla="*/ 9 w 195"/>
                  <a:gd name="T23" fmla="*/ 95 h 95"/>
                  <a:gd name="T24" fmla="*/ 45 w 195"/>
                  <a:gd name="T25" fmla="*/ 95 h 95"/>
                  <a:gd name="T26" fmla="*/ 104 w 195"/>
                  <a:gd name="T27" fmla="*/ 95 h 95"/>
                  <a:gd name="T28" fmla="*/ 108 w 195"/>
                  <a:gd name="T29" fmla="*/ 95 h 95"/>
                  <a:gd name="T30" fmla="*/ 108 w 195"/>
                  <a:gd name="T31" fmla="*/ 95 h 95"/>
                  <a:gd name="T32" fmla="*/ 120 w 195"/>
                  <a:gd name="T33" fmla="*/ 95 h 95"/>
                  <a:gd name="T34" fmla="*/ 120 w 195"/>
                  <a:gd name="T35" fmla="*/ 88 h 95"/>
                  <a:gd name="T36" fmla="*/ 149 w 195"/>
                  <a:gd name="T37" fmla="*/ 64 h 95"/>
                  <a:gd name="T38" fmla="*/ 180 w 195"/>
                  <a:gd name="T39" fmla="*/ 95 h 95"/>
                  <a:gd name="T40" fmla="*/ 195 w 195"/>
                  <a:gd name="T41" fmla="*/ 95 h 95"/>
                  <a:gd name="T42" fmla="*/ 195 w 195"/>
                  <a:gd name="T43" fmla="*/ 48 h 95"/>
                  <a:gd name="T44" fmla="*/ 176 w 195"/>
                  <a:gd name="T45" fmla="*/ 4 h 95"/>
                  <a:gd name="T46" fmla="*/ 141 w 195"/>
                  <a:gd name="T47" fmla="*/ 39 h 95"/>
                  <a:gd name="T48" fmla="*/ 141 w 195"/>
                  <a:gd name="T49" fmla="*/ 10 h 95"/>
                  <a:gd name="T50" fmla="*/ 167 w 195"/>
                  <a:gd name="T51" fmla="*/ 10 h 95"/>
                  <a:gd name="T52" fmla="*/ 179 w 195"/>
                  <a:gd name="T53" fmla="*/ 39 h 95"/>
                  <a:gd name="T54" fmla="*/ 141 w 195"/>
                  <a:gd name="T55" fmla="*/ 3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5" h="95">
                    <a:moveTo>
                      <a:pt x="176" y="4"/>
                    </a:moveTo>
                    <a:cubicBezTo>
                      <a:pt x="176" y="0"/>
                      <a:pt x="171" y="2"/>
                      <a:pt x="171" y="2"/>
                    </a:cubicBezTo>
                    <a:cubicBezTo>
                      <a:pt x="171" y="2"/>
                      <a:pt x="171" y="2"/>
                      <a:pt x="123" y="2"/>
                    </a:cubicBezTo>
                    <a:cubicBezTo>
                      <a:pt x="123" y="2"/>
                      <a:pt x="119" y="0"/>
                      <a:pt x="119" y="4"/>
                    </a:cubicBezTo>
                    <a:cubicBezTo>
                      <a:pt x="119" y="4"/>
                      <a:pt x="119" y="4"/>
                      <a:pt x="119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95" y="73"/>
                      <a:pt x="95" y="73"/>
                      <a:pt x="95" y="73"/>
                    </a:cubicBezTo>
                    <a:cubicBezTo>
                      <a:pt x="55" y="73"/>
                      <a:pt x="55" y="73"/>
                      <a:pt x="55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6" y="78"/>
                      <a:pt x="9" y="86"/>
                      <a:pt x="9" y="95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44" y="95"/>
                      <a:pt x="45" y="95"/>
                      <a:pt x="45" y="95"/>
                    </a:cubicBezTo>
                    <a:cubicBezTo>
                      <a:pt x="104" y="95"/>
                      <a:pt x="104" y="95"/>
                      <a:pt x="104" y="95"/>
                    </a:cubicBezTo>
                    <a:cubicBezTo>
                      <a:pt x="107" y="95"/>
                      <a:pt x="107" y="95"/>
                      <a:pt x="108" y="95"/>
                    </a:cubicBezTo>
                    <a:cubicBezTo>
                      <a:pt x="108" y="95"/>
                      <a:pt x="108" y="95"/>
                      <a:pt x="108" y="95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0" y="88"/>
                      <a:pt x="120" y="88"/>
                      <a:pt x="120" y="88"/>
                    </a:cubicBezTo>
                    <a:cubicBezTo>
                      <a:pt x="123" y="75"/>
                      <a:pt x="135" y="64"/>
                      <a:pt x="149" y="64"/>
                    </a:cubicBezTo>
                    <a:cubicBezTo>
                      <a:pt x="165" y="64"/>
                      <a:pt x="180" y="78"/>
                      <a:pt x="180" y="95"/>
                    </a:cubicBezTo>
                    <a:cubicBezTo>
                      <a:pt x="180" y="95"/>
                      <a:pt x="180" y="95"/>
                      <a:pt x="195" y="95"/>
                    </a:cubicBezTo>
                    <a:cubicBezTo>
                      <a:pt x="195" y="48"/>
                      <a:pt x="195" y="48"/>
                      <a:pt x="195" y="48"/>
                    </a:cubicBezTo>
                    <a:cubicBezTo>
                      <a:pt x="195" y="48"/>
                      <a:pt x="177" y="8"/>
                      <a:pt x="176" y="4"/>
                    </a:cubicBezTo>
                    <a:close/>
                    <a:moveTo>
                      <a:pt x="141" y="39"/>
                    </a:moveTo>
                    <a:cubicBezTo>
                      <a:pt x="141" y="39"/>
                      <a:pt x="141" y="39"/>
                      <a:pt x="141" y="10"/>
                    </a:cubicBezTo>
                    <a:cubicBezTo>
                      <a:pt x="141" y="10"/>
                      <a:pt x="141" y="10"/>
                      <a:pt x="167" y="10"/>
                    </a:cubicBezTo>
                    <a:cubicBezTo>
                      <a:pt x="179" y="39"/>
                      <a:pt x="179" y="39"/>
                      <a:pt x="179" y="39"/>
                    </a:cubicBezTo>
                    <a:cubicBezTo>
                      <a:pt x="179" y="39"/>
                      <a:pt x="172" y="39"/>
                      <a:pt x="141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5" name="Freeform 49">
                <a:extLst>
                  <a:ext uri="{FF2B5EF4-FFF2-40B4-BE49-F238E27FC236}">
                    <a16:creationId xmlns:a16="http://schemas.microsoft.com/office/drawing/2014/main" id="{86A8AEBA-ECEF-48EB-B14E-36557F5C8D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01925" y="2449513"/>
                <a:ext cx="398463" cy="98425"/>
              </a:xfrm>
              <a:custGeom>
                <a:avLst/>
                <a:gdLst>
                  <a:gd name="T0" fmla="*/ 106 w 106"/>
                  <a:gd name="T1" fmla="*/ 15 h 26"/>
                  <a:gd name="T2" fmla="*/ 101 w 106"/>
                  <a:gd name="T3" fmla="*/ 12 h 26"/>
                  <a:gd name="T4" fmla="*/ 83 w 106"/>
                  <a:gd name="T5" fmla="*/ 17 h 26"/>
                  <a:gd name="T6" fmla="*/ 81 w 106"/>
                  <a:gd name="T7" fmla="*/ 8 h 26"/>
                  <a:gd name="T8" fmla="*/ 89 w 106"/>
                  <a:gd name="T9" fmla="*/ 8 h 26"/>
                  <a:gd name="T10" fmla="*/ 93 w 106"/>
                  <a:gd name="T11" fmla="*/ 4 h 26"/>
                  <a:gd name="T12" fmla="*/ 89 w 106"/>
                  <a:gd name="T13" fmla="*/ 0 h 26"/>
                  <a:gd name="T14" fmla="*/ 4 w 106"/>
                  <a:gd name="T15" fmla="*/ 0 h 26"/>
                  <a:gd name="T16" fmla="*/ 0 w 106"/>
                  <a:gd name="T17" fmla="*/ 4 h 26"/>
                  <a:gd name="T18" fmla="*/ 4 w 106"/>
                  <a:gd name="T19" fmla="*/ 8 h 26"/>
                  <a:gd name="T20" fmla="*/ 73 w 106"/>
                  <a:gd name="T21" fmla="*/ 8 h 26"/>
                  <a:gd name="T22" fmla="*/ 77 w 106"/>
                  <a:gd name="T23" fmla="*/ 23 h 26"/>
                  <a:gd name="T24" fmla="*/ 78 w 106"/>
                  <a:gd name="T25" fmla="*/ 25 h 26"/>
                  <a:gd name="T26" fmla="*/ 80 w 106"/>
                  <a:gd name="T27" fmla="*/ 26 h 26"/>
                  <a:gd name="T28" fmla="*/ 81 w 106"/>
                  <a:gd name="T29" fmla="*/ 26 h 26"/>
                  <a:gd name="T30" fmla="*/ 103 w 106"/>
                  <a:gd name="T31" fmla="*/ 20 h 26"/>
                  <a:gd name="T32" fmla="*/ 106 w 106"/>
                  <a:gd name="T33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6" h="26">
                    <a:moveTo>
                      <a:pt x="106" y="15"/>
                    </a:moveTo>
                    <a:cubicBezTo>
                      <a:pt x="105" y="13"/>
                      <a:pt x="103" y="12"/>
                      <a:pt x="101" y="12"/>
                    </a:cubicBezTo>
                    <a:cubicBezTo>
                      <a:pt x="83" y="17"/>
                      <a:pt x="83" y="17"/>
                      <a:pt x="83" y="17"/>
                    </a:cubicBezTo>
                    <a:cubicBezTo>
                      <a:pt x="81" y="8"/>
                      <a:pt x="81" y="8"/>
                      <a:pt x="81" y="8"/>
                    </a:cubicBezTo>
                    <a:cubicBezTo>
                      <a:pt x="89" y="8"/>
                      <a:pt x="89" y="8"/>
                      <a:pt x="89" y="8"/>
                    </a:cubicBezTo>
                    <a:cubicBezTo>
                      <a:pt x="91" y="8"/>
                      <a:pt x="93" y="6"/>
                      <a:pt x="93" y="4"/>
                    </a:cubicBezTo>
                    <a:cubicBezTo>
                      <a:pt x="93" y="2"/>
                      <a:pt x="91" y="0"/>
                      <a:pt x="8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6"/>
                      <a:pt x="1" y="8"/>
                      <a:pt x="4" y="8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7" y="24"/>
                      <a:pt x="77" y="25"/>
                      <a:pt x="78" y="25"/>
                    </a:cubicBezTo>
                    <a:cubicBezTo>
                      <a:pt x="79" y="26"/>
                      <a:pt x="80" y="26"/>
                      <a:pt x="80" y="26"/>
                    </a:cubicBezTo>
                    <a:cubicBezTo>
                      <a:pt x="81" y="26"/>
                      <a:pt x="81" y="26"/>
                      <a:pt x="81" y="26"/>
                    </a:cubicBezTo>
                    <a:cubicBezTo>
                      <a:pt x="103" y="20"/>
                      <a:pt x="103" y="20"/>
                      <a:pt x="103" y="20"/>
                    </a:cubicBezTo>
                    <a:cubicBezTo>
                      <a:pt x="105" y="19"/>
                      <a:pt x="106" y="17"/>
                      <a:pt x="10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A2FEE90C-DF4F-474D-B3F3-50531887EF8B}"/>
                </a:ext>
              </a:extLst>
            </p:cNvPr>
            <p:cNvSpPr/>
            <p:nvPr/>
          </p:nvSpPr>
          <p:spPr>
            <a:xfrm>
              <a:off x="1552575" y="1434557"/>
              <a:ext cx="185899" cy="1858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>
              <a:spAutoFit/>
            </a:bodyPr>
            <a:lstStyle/>
            <a:p>
              <a:pPr algn="l" rtl="0"/>
              <a:endParaRPr lang="fr-FR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86" name="Freihandform: Form 385">
            <a:extLst>
              <a:ext uri="{FF2B5EF4-FFF2-40B4-BE49-F238E27FC236}">
                <a16:creationId xmlns:a16="http://schemas.microsoft.com/office/drawing/2014/main" id="{9A616921-3222-4380-94C0-FED03190DA17}"/>
              </a:ext>
            </a:extLst>
          </p:cNvPr>
          <p:cNvSpPr/>
          <p:nvPr/>
        </p:nvSpPr>
        <p:spPr>
          <a:xfrm>
            <a:off x="6193154" y="648653"/>
            <a:ext cx="733425" cy="365760"/>
          </a:xfrm>
          <a:custGeom>
            <a:avLst/>
            <a:gdLst>
              <a:gd name="connsiteX0" fmla="*/ 762000 w 762000"/>
              <a:gd name="connsiteY0" fmla="*/ 365760 h 365760"/>
              <a:gd name="connsiteX1" fmla="*/ 388620 w 762000"/>
              <a:gd name="connsiteY1" fmla="*/ 91440 h 365760"/>
              <a:gd name="connsiteX2" fmla="*/ 0 w 762000"/>
              <a:gd name="connsiteY2" fmla="*/ 0 h 365760"/>
              <a:gd name="connsiteX0" fmla="*/ 723900 w 723900"/>
              <a:gd name="connsiteY0" fmla="*/ 503872 h 503872"/>
              <a:gd name="connsiteX1" fmla="*/ 388620 w 723900"/>
              <a:gd name="connsiteY1" fmla="*/ 91440 h 503872"/>
              <a:gd name="connsiteX2" fmla="*/ 0 w 723900"/>
              <a:gd name="connsiteY2" fmla="*/ 0 h 503872"/>
              <a:gd name="connsiteX0" fmla="*/ 733425 w 733425"/>
              <a:gd name="connsiteY0" fmla="*/ 429525 h 429525"/>
              <a:gd name="connsiteX1" fmla="*/ 398145 w 733425"/>
              <a:gd name="connsiteY1" fmla="*/ 17093 h 429525"/>
              <a:gd name="connsiteX2" fmla="*/ 0 w 733425"/>
              <a:gd name="connsiteY2" fmla="*/ 63765 h 429525"/>
              <a:gd name="connsiteX0" fmla="*/ 733425 w 733425"/>
              <a:gd name="connsiteY0" fmla="*/ 365760 h 365760"/>
              <a:gd name="connsiteX1" fmla="*/ 412432 w 733425"/>
              <a:gd name="connsiteY1" fmla="*/ 77153 h 365760"/>
              <a:gd name="connsiteX2" fmla="*/ 0 w 733425"/>
              <a:gd name="connsiteY2" fmla="*/ 0 h 365760"/>
              <a:gd name="connsiteX0" fmla="*/ 733425 w 733425"/>
              <a:gd name="connsiteY0" fmla="*/ 365760 h 365760"/>
              <a:gd name="connsiteX1" fmla="*/ 412432 w 733425"/>
              <a:gd name="connsiteY1" fmla="*/ 77153 h 365760"/>
              <a:gd name="connsiteX2" fmla="*/ 0 w 733425"/>
              <a:gd name="connsiteY2" fmla="*/ 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425" h="365760">
                <a:moveTo>
                  <a:pt x="733425" y="365760"/>
                </a:moveTo>
                <a:cubicBezTo>
                  <a:pt x="619760" y="216217"/>
                  <a:pt x="534670" y="138113"/>
                  <a:pt x="412432" y="77153"/>
                </a:cubicBezTo>
                <a:cubicBezTo>
                  <a:pt x="290194" y="16193"/>
                  <a:pt x="130810" y="15240"/>
                  <a:pt x="0" y="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87" name="Freihandform: Form 386">
            <a:extLst>
              <a:ext uri="{FF2B5EF4-FFF2-40B4-BE49-F238E27FC236}">
                <a16:creationId xmlns:a16="http://schemas.microsoft.com/office/drawing/2014/main" id="{4CC22F0F-9560-47DD-857D-C20FB5A292E3}"/>
              </a:ext>
            </a:extLst>
          </p:cNvPr>
          <p:cNvSpPr/>
          <p:nvPr/>
        </p:nvSpPr>
        <p:spPr>
          <a:xfrm>
            <a:off x="7613333" y="975310"/>
            <a:ext cx="754380" cy="464870"/>
          </a:xfrm>
          <a:custGeom>
            <a:avLst/>
            <a:gdLst>
              <a:gd name="connsiteX0" fmla="*/ 0 w 754380"/>
              <a:gd name="connsiteY0" fmla="*/ 0 h 464820"/>
              <a:gd name="connsiteX1" fmla="*/ 624840 w 754380"/>
              <a:gd name="connsiteY1" fmla="*/ 160020 h 464820"/>
              <a:gd name="connsiteX2" fmla="*/ 754380 w 754380"/>
              <a:gd name="connsiteY2" fmla="*/ 464820 h 464820"/>
              <a:gd name="connsiteX0" fmla="*/ 0 w 754380"/>
              <a:gd name="connsiteY0" fmla="*/ 0 h 464820"/>
              <a:gd name="connsiteX1" fmla="*/ 491490 w 754380"/>
              <a:gd name="connsiteY1" fmla="*/ 79057 h 464820"/>
              <a:gd name="connsiteX2" fmla="*/ 754380 w 754380"/>
              <a:gd name="connsiteY2" fmla="*/ 464820 h 464820"/>
              <a:gd name="connsiteX0" fmla="*/ 0 w 754380"/>
              <a:gd name="connsiteY0" fmla="*/ 263 h 465083"/>
              <a:gd name="connsiteX1" fmla="*/ 491490 w 754380"/>
              <a:gd name="connsiteY1" fmla="*/ 79320 h 465083"/>
              <a:gd name="connsiteX2" fmla="*/ 754380 w 754380"/>
              <a:gd name="connsiteY2" fmla="*/ 465083 h 465083"/>
              <a:gd name="connsiteX0" fmla="*/ 0 w 754380"/>
              <a:gd name="connsiteY0" fmla="*/ 50 h 464870"/>
              <a:gd name="connsiteX1" fmla="*/ 501015 w 754380"/>
              <a:gd name="connsiteY1" fmla="*/ 112445 h 464870"/>
              <a:gd name="connsiteX2" fmla="*/ 754380 w 754380"/>
              <a:gd name="connsiteY2" fmla="*/ 464870 h 46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54380" h="464870">
                <a:moveTo>
                  <a:pt x="0" y="50"/>
                </a:moveTo>
                <a:cubicBezTo>
                  <a:pt x="330517" y="-1537"/>
                  <a:pt x="375285" y="34975"/>
                  <a:pt x="501015" y="112445"/>
                </a:cubicBezTo>
                <a:cubicBezTo>
                  <a:pt x="626745" y="189915"/>
                  <a:pt x="752475" y="351205"/>
                  <a:pt x="754380" y="46487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88" name="Freihandform: Form 387">
            <a:extLst>
              <a:ext uri="{FF2B5EF4-FFF2-40B4-BE49-F238E27FC236}">
                <a16:creationId xmlns:a16="http://schemas.microsoft.com/office/drawing/2014/main" id="{414BA099-5E03-43FE-A835-3D44CA12D39C}"/>
              </a:ext>
            </a:extLst>
          </p:cNvPr>
          <p:cNvSpPr/>
          <p:nvPr/>
        </p:nvSpPr>
        <p:spPr>
          <a:xfrm>
            <a:off x="7277100" y="1730692"/>
            <a:ext cx="727710" cy="448628"/>
          </a:xfrm>
          <a:custGeom>
            <a:avLst/>
            <a:gdLst>
              <a:gd name="connsiteX0" fmla="*/ 708660 w 708660"/>
              <a:gd name="connsiteY0" fmla="*/ 0 h 358140"/>
              <a:gd name="connsiteX1" fmla="*/ 205740 w 708660"/>
              <a:gd name="connsiteY1" fmla="*/ 129540 h 358140"/>
              <a:gd name="connsiteX2" fmla="*/ 0 w 708660"/>
              <a:gd name="connsiteY2" fmla="*/ 358140 h 358140"/>
              <a:gd name="connsiteX0" fmla="*/ 727710 w 727710"/>
              <a:gd name="connsiteY0" fmla="*/ 0 h 448628"/>
              <a:gd name="connsiteX1" fmla="*/ 205740 w 727710"/>
              <a:gd name="connsiteY1" fmla="*/ 220028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7710" h="448628">
                <a:moveTo>
                  <a:pt x="727710" y="0"/>
                </a:moveTo>
                <a:cubicBezTo>
                  <a:pt x="530543" y="11113"/>
                  <a:pt x="398462" y="45244"/>
                  <a:pt x="277177" y="120015"/>
                </a:cubicBezTo>
                <a:cubicBezTo>
                  <a:pt x="155892" y="194786"/>
                  <a:pt x="91440" y="278448"/>
                  <a:pt x="0" y="44862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89" name="Freihandform: Form 388">
            <a:extLst>
              <a:ext uri="{FF2B5EF4-FFF2-40B4-BE49-F238E27FC236}">
                <a16:creationId xmlns:a16="http://schemas.microsoft.com/office/drawing/2014/main" id="{40BEE1AD-B5B5-4807-8495-FED47C963E2A}"/>
              </a:ext>
            </a:extLst>
          </p:cNvPr>
          <p:cNvSpPr/>
          <p:nvPr/>
        </p:nvSpPr>
        <p:spPr>
          <a:xfrm>
            <a:off x="7635240" y="4038600"/>
            <a:ext cx="1036320" cy="1112520"/>
          </a:xfrm>
          <a:custGeom>
            <a:avLst/>
            <a:gdLst>
              <a:gd name="connsiteX0" fmla="*/ 0 w 1036320"/>
              <a:gd name="connsiteY0" fmla="*/ 0 h 1112520"/>
              <a:gd name="connsiteX1" fmla="*/ 571500 w 1036320"/>
              <a:gd name="connsiteY1" fmla="*/ 358140 h 1112520"/>
              <a:gd name="connsiteX2" fmla="*/ 1036320 w 1036320"/>
              <a:gd name="connsiteY2" fmla="*/ 1112520 h 111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6320" h="1112520">
                <a:moveTo>
                  <a:pt x="0" y="0"/>
                </a:moveTo>
                <a:cubicBezTo>
                  <a:pt x="199390" y="86360"/>
                  <a:pt x="398780" y="172720"/>
                  <a:pt x="571500" y="358140"/>
                </a:cubicBezTo>
                <a:cubicBezTo>
                  <a:pt x="744220" y="543560"/>
                  <a:pt x="890270" y="828040"/>
                  <a:pt x="1036320" y="111252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90" name="Freihandform: Form 389">
            <a:extLst>
              <a:ext uri="{FF2B5EF4-FFF2-40B4-BE49-F238E27FC236}">
                <a16:creationId xmlns:a16="http://schemas.microsoft.com/office/drawing/2014/main" id="{672CCDCB-9951-4798-A6E4-E7F331F7EBBB}"/>
              </a:ext>
            </a:extLst>
          </p:cNvPr>
          <p:cNvSpPr/>
          <p:nvPr/>
        </p:nvSpPr>
        <p:spPr>
          <a:xfrm>
            <a:off x="7229475" y="3202305"/>
            <a:ext cx="727710" cy="448628"/>
          </a:xfrm>
          <a:custGeom>
            <a:avLst/>
            <a:gdLst>
              <a:gd name="connsiteX0" fmla="*/ 708660 w 708660"/>
              <a:gd name="connsiteY0" fmla="*/ 0 h 358140"/>
              <a:gd name="connsiteX1" fmla="*/ 205740 w 708660"/>
              <a:gd name="connsiteY1" fmla="*/ 129540 h 358140"/>
              <a:gd name="connsiteX2" fmla="*/ 0 w 708660"/>
              <a:gd name="connsiteY2" fmla="*/ 358140 h 358140"/>
              <a:gd name="connsiteX0" fmla="*/ 727710 w 727710"/>
              <a:gd name="connsiteY0" fmla="*/ 0 h 448628"/>
              <a:gd name="connsiteX1" fmla="*/ 205740 w 727710"/>
              <a:gd name="connsiteY1" fmla="*/ 220028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7710" h="448628">
                <a:moveTo>
                  <a:pt x="727710" y="0"/>
                </a:moveTo>
                <a:cubicBezTo>
                  <a:pt x="530543" y="11113"/>
                  <a:pt x="398462" y="45244"/>
                  <a:pt x="277177" y="120015"/>
                </a:cubicBezTo>
                <a:cubicBezTo>
                  <a:pt x="155892" y="194786"/>
                  <a:pt x="91440" y="278448"/>
                  <a:pt x="0" y="44862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91" name="Freihandform: Form 390">
            <a:extLst>
              <a:ext uri="{FF2B5EF4-FFF2-40B4-BE49-F238E27FC236}">
                <a16:creationId xmlns:a16="http://schemas.microsoft.com/office/drawing/2014/main" id="{FE0090E8-F60E-4E6F-A404-F03D41476C63}"/>
              </a:ext>
            </a:extLst>
          </p:cNvPr>
          <p:cNvSpPr/>
          <p:nvPr/>
        </p:nvSpPr>
        <p:spPr>
          <a:xfrm>
            <a:off x="7637144" y="2418366"/>
            <a:ext cx="687705" cy="498188"/>
          </a:xfrm>
          <a:custGeom>
            <a:avLst/>
            <a:gdLst>
              <a:gd name="connsiteX0" fmla="*/ 0 w 754380"/>
              <a:gd name="connsiteY0" fmla="*/ 0 h 464820"/>
              <a:gd name="connsiteX1" fmla="*/ 624840 w 754380"/>
              <a:gd name="connsiteY1" fmla="*/ 160020 h 464820"/>
              <a:gd name="connsiteX2" fmla="*/ 754380 w 754380"/>
              <a:gd name="connsiteY2" fmla="*/ 464820 h 464820"/>
              <a:gd name="connsiteX0" fmla="*/ 0 w 754380"/>
              <a:gd name="connsiteY0" fmla="*/ 0 h 464820"/>
              <a:gd name="connsiteX1" fmla="*/ 491490 w 754380"/>
              <a:gd name="connsiteY1" fmla="*/ 79057 h 464820"/>
              <a:gd name="connsiteX2" fmla="*/ 754380 w 754380"/>
              <a:gd name="connsiteY2" fmla="*/ 464820 h 464820"/>
              <a:gd name="connsiteX0" fmla="*/ 0 w 754380"/>
              <a:gd name="connsiteY0" fmla="*/ 263 h 465083"/>
              <a:gd name="connsiteX1" fmla="*/ 491490 w 754380"/>
              <a:gd name="connsiteY1" fmla="*/ 79320 h 465083"/>
              <a:gd name="connsiteX2" fmla="*/ 754380 w 754380"/>
              <a:gd name="connsiteY2" fmla="*/ 465083 h 465083"/>
              <a:gd name="connsiteX0" fmla="*/ 0 w 754380"/>
              <a:gd name="connsiteY0" fmla="*/ 50 h 464870"/>
              <a:gd name="connsiteX1" fmla="*/ 501015 w 754380"/>
              <a:gd name="connsiteY1" fmla="*/ 112445 h 464870"/>
              <a:gd name="connsiteX2" fmla="*/ 754380 w 754380"/>
              <a:gd name="connsiteY2" fmla="*/ 464870 h 464870"/>
              <a:gd name="connsiteX0" fmla="*/ 0 w 687705"/>
              <a:gd name="connsiteY0" fmla="*/ 57 h 498214"/>
              <a:gd name="connsiteX1" fmla="*/ 501015 w 687705"/>
              <a:gd name="connsiteY1" fmla="*/ 112452 h 498214"/>
              <a:gd name="connsiteX2" fmla="*/ 687705 w 687705"/>
              <a:gd name="connsiteY2" fmla="*/ 498214 h 498214"/>
              <a:gd name="connsiteX0" fmla="*/ 0 w 687705"/>
              <a:gd name="connsiteY0" fmla="*/ 31 h 498188"/>
              <a:gd name="connsiteX1" fmla="*/ 539115 w 687705"/>
              <a:gd name="connsiteY1" fmla="*/ 141001 h 498188"/>
              <a:gd name="connsiteX2" fmla="*/ 687705 w 687705"/>
              <a:gd name="connsiteY2" fmla="*/ 498188 h 49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7705" h="498188">
                <a:moveTo>
                  <a:pt x="0" y="31"/>
                </a:moveTo>
                <a:cubicBezTo>
                  <a:pt x="330517" y="-1556"/>
                  <a:pt x="424498" y="57975"/>
                  <a:pt x="539115" y="141001"/>
                </a:cubicBezTo>
                <a:cubicBezTo>
                  <a:pt x="653733" y="224027"/>
                  <a:pt x="685800" y="384523"/>
                  <a:pt x="687705" y="49818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07068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F76FEFA-EC4E-419A-B876-68080B980E80}"/>
              </a:ext>
            </a:extLst>
          </p:cNvPr>
          <p:cNvGrpSpPr/>
          <p:nvPr/>
        </p:nvGrpSpPr>
        <p:grpSpPr>
          <a:xfrm>
            <a:off x="323688" y="2576223"/>
            <a:ext cx="5299237" cy="2105314"/>
            <a:chOff x="998200" y="1572626"/>
            <a:chExt cx="5608799" cy="2267839"/>
          </a:xfrm>
        </p:grpSpPr>
        <p:pic>
          <p:nvPicPr>
            <p:cNvPr id="201" name="Picture 36">
              <a:extLst>
                <a:ext uri="{FF2B5EF4-FFF2-40B4-BE49-F238E27FC236}">
                  <a16:creationId xmlns:a16="http://schemas.microsoft.com/office/drawing/2014/main" id="{3B950256-3676-4059-8C02-B50DBC6E54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98200" y="1572954"/>
              <a:ext cx="2769647" cy="2267511"/>
            </a:xfrm>
            <a:prstGeom prst="rect">
              <a:avLst/>
            </a:prstGeom>
          </p:spPr>
        </p:pic>
        <p:pic>
          <p:nvPicPr>
            <p:cNvPr id="202" name="Picture 9">
              <a:extLst>
                <a:ext uri="{FF2B5EF4-FFF2-40B4-BE49-F238E27FC236}">
                  <a16:creationId xmlns:a16="http://schemas.microsoft.com/office/drawing/2014/main" id="{88A4D1E9-78FC-4125-A741-9FF4FD0732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767846" y="1572626"/>
              <a:ext cx="2839153" cy="2267511"/>
            </a:xfrm>
            <a:prstGeom prst="rect">
              <a:avLst/>
            </a:prstGeom>
          </p:spPr>
        </p:pic>
      </p:grp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17796B2-12F1-4AAA-8482-383F9901DC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37410" y="0"/>
            <a:ext cx="3006589" cy="5143500"/>
          </a:xfrm>
        </p:spPr>
        <p:txBody>
          <a:bodyPr/>
          <a:lstStyle/>
          <a:p>
            <a:pPr algn="l" rtl="0"/>
            <a:r>
              <a:rPr lang="fr-FR" b="0" i="0" u="none" baseline="0"/>
              <a:t> </a:t>
            </a:r>
            <a:endParaRPr lang="fr-FR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D3F938-DD09-4A2C-8C19-09760F0CC6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rtl="0"/>
            <a:r>
              <a:rPr lang="fr-FR" b="0" i="0" u="none" baseline="0"/>
              <a:t>DHL Supply Chain | DHL European Fulfillment Network | 2021</a:t>
            </a:r>
            <a:endParaRPr lang="fr-FR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BBB826-20D6-4809-8C59-CA9F260038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rtl="0"/>
            <a:fld id="{C2245BC1-4D7B-4ED3-8F01-840FA35126C6}" type="slidenum">
              <a:rPr/>
              <a:pPr/>
              <a:t>9</a:t>
            </a:fld>
            <a:endParaRPr lang="fr-FR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29140B4-9CC6-4264-8D66-5DA5BEA63EB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4002" y="1150938"/>
            <a:ext cx="5503082" cy="3530600"/>
          </a:xfrm>
        </p:spPr>
        <p:txBody>
          <a:bodyPr anchor="t" anchorCtr="0"/>
          <a:lstStyle/>
          <a:p>
            <a:pPr lvl="1" algn="l" rtl="0"/>
            <a:r>
              <a:rPr lang="fr-FR" sz="1400" b="1" i="0" u="none" baseline="0" dirty="0"/>
              <a:t>Système standardisé de mise en stock, de stockage, de prélèvement et d’emballage </a:t>
            </a:r>
            <a:r>
              <a:rPr lang="fr-FR" sz="1400" b="0" i="0" u="none" baseline="0" dirty="0"/>
              <a:t>nécessitant un investissement minimum et une très courte période de mise en place</a:t>
            </a:r>
          </a:p>
          <a:p>
            <a:pPr lvl="1" algn="l" rtl="0"/>
            <a:r>
              <a:rPr lang="fr-FR" sz="1400" b="1" i="0" u="none" baseline="0" dirty="0"/>
              <a:t>Payez uniquement ce que vous utilisez </a:t>
            </a:r>
            <a:r>
              <a:rPr lang="fr-FR" sz="1400" b="0" i="0" u="none" baseline="0" dirty="0"/>
              <a:t>dans un système</a:t>
            </a:r>
            <a:r>
              <a:rPr lang="fr-FR" sz="1400" b="1" i="0" u="none" baseline="0" dirty="0"/>
              <a:t> </a:t>
            </a:r>
            <a:r>
              <a:rPr lang="fr-FR" sz="1400" b="0" i="0" u="none" baseline="0" dirty="0"/>
              <a:t>totalement transparent de </a:t>
            </a:r>
            <a:r>
              <a:rPr lang="fr-FR" sz="1400" b="1" i="0" u="none" baseline="0" dirty="0"/>
              <a:t>grille tarifaire basée sur les transactions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D47F287-5D85-4694-BA2D-ED70D15F4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5593510" cy="493950"/>
          </a:xfrm>
        </p:spPr>
        <p:txBody>
          <a:bodyPr/>
          <a:lstStyle/>
          <a:p>
            <a:pPr algn="l" rtl="0"/>
            <a:r>
              <a:rPr lang="fr-FR" b="1" i="0" u="none" baseline="0"/>
              <a:t>Qu’est-ce que le European Fulfillment Network ?</a:t>
            </a:r>
            <a:endParaRPr lang="fr-FR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E153FD54-9D57-4EA1-AD69-3D878CA31CDB}"/>
              </a:ext>
            </a:extLst>
          </p:cNvPr>
          <p:cNvCxnSpPr>
            <a:cxnSpLocks/>
          </p:cNvCxnSpPr>
          <p:nvPr/>
        </p:nvCxnSpPr>
        <p:spPr>
          <a:xfrm>
            <a:off x="2932696" y="2413698"/>
            <a:ext cx="0" cy="226784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tangle 42">
            <a:extLst>
              <a:ext uri="{FF2B5EF4-FFF2-40B4-BE49-F238E27FC236}">
                <a16:creationId xmlns:a16="http://schemas.microsoft.com/office/drawing/2014/main" id="{5FB8AEEC-86D9-468A-B4FC-CEE71D1D0683}"/>
              </a:ext>
            </a:extLst>
          </p:cNvPr>
          <p:cNvSpPr/>
          <p:nvPr/>
        </p:nvSpPr>
        <p:spPr>
          <a:xfrm>
            <a:off x="7833349" y="3676425"/>
            <a:ext cx="1024901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Dernier kilomètre</a:t>
            </a:r>
          </a:p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indépendant du transporteur</a:t>
            </a:r>
          </a:p>
        </p:txBody>
      </p:sp>
      <p:sp>
        <p:nvSpPr>
          <p:cNvPr id="205" name="Rectangle 43">
            <a:extLst>
              <a:ext uri="{FF2B5EF4-FFF2-40B4-BE49-F238E27FC236}">
                <a16:creationId xmlns:a16="http://schemas.microsoft.com/office/drawing/2014/main" id="{CA3B3F73-F2B0-44BE-B60E-5F349A82F79B}"/>
              </a:ext>
            </a:extLst>
          </p:cNvPr>
          <p:cNvSpPr/>
          <p:nvPr/>
        </p:nvSpPr>
        <p:spPr>
          <a:xfrm>
            <a:off x="6768395" y="4459454"/>
            <a:ext cx="1024901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 dirty="0">
                <a:solidFill>
                  <a:schemeClr val="accent1"/>
                </a:solidFill>
              </a:rPr>
              <a:t>Traitement et expédition des retours</a:t>
            </a:r>
          </a:p>
        </p:txBody>
      </p:sp>
      <p:sp>
        <p:nvSpPr>
          <p:cNvPr id="206" name="Rectangle 46">
            <a:extLst>
              <a:ext uri="{FF2B5EF4-FFF2-40B4-BE49-F238E27FC236}">
                <a16:creationId xmlns:a16="http://schemas.microsoft.com/office/drawing/2014/main" id="{B3024E98-B0FD-449F-B0F4-0DFE5B26B67D}"/>
              </a:ext>
            </a:extLst>
          </p:cNvPr>
          <p:cNvSpPr/>
          <p:nvPr/>
        </p:nvSpPr>
        <p:spPr>
          <a:xfrm>
            <a:off x="7865100" y="2312735"/>
            <a:ext cx="1024901" cy="14619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 dirty="0">
                <a:solidFill>
                  <a:schemeClr val="accent1"/>
                </a:solidFill>
              </a:rPr>
              <a:t>Manutention des expéditions entrantes</a:t>
            </a:r>
          </a:p>
        </p:txBody>
      </p:sp>
      <p:sp>
        <p:nvSpPr>
          <p:cNvPr id="207" name="Rectangle 62">
            <a:extLst>
              <a:ext uri="{FF2B5EF4-FFF2-40B4-BE49-F238E27FC236}">
                <a16:creationId xmlns:a16="http://schemas.microsoft.com/office/drawing/2014/main" id="{9D84482E-FB1F-4FAC-8066-CB593C2C2E74}"/>
              </a:ext>
            </a:extLst>
          </p:cNvPr>
          <p:cNvSpPr/>
          <p:nvPr/>
        </p:nvSpPr>
        <p:spPr>
          <a:xfrm>
            <a:off x="6784217" y="2929660"/>
            <a:ext cx="1024901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1" i="0" u="none" baseline="0"/>
              <a:t>Stockage et traitement</a:t>
            </a:r>
          </a:p>
        </p:txBody>
      </p:sp>
      <p:sp>
        <p:nvSpPr>
          <p:cNvPr id="214" name="Rectangle 78">
            <a:extLst>
              <a:ext uri="{FF2B5EF4-FFF2-40B4-BE49-F238E27FC236}">
                <a16:creationId xmlns:a16="http://schemas.microsoft.com/office/drawing/2014/main" id="{9A75BC09-D9E8-4842-A2A3-D1B9354B9B64}"/>
              </a:ext>
            </a:extLst>
          </p:cNvPr>
          <p:cNvSpPr/>
          <p:nvPr/>
        </p:nvSpPr>
        <p:spPr>
          <a:xfrm>
            <a:off x="6560697" y="381000"/>
            <a:ext cx="1468266" cy="2923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European</a:t>
            </a:r>
          </a:p>
          <a:p>
            <a:pPr algn="ctr" rtl="0">
              <a:lnSpc>
                <a:spcPct val="95000"/>
              </a:lnSpc>
            </a:pPr>
            <a:r>
              <a:rPr lang="fr-FR" sz="1000" b="0" i="0" u="none" baseline="0">
                <a:solidFill>
                  <a:schemeClr val="accent1"/>
                </a:solidFill>
              </a:rPr>
              <a:t>Fulfillment Network</a:t>
            </a:r>
          </a:p>
        </p:txBody>
      </p:sp>
      <p:sp>
        <p:nvSpPr>
          <p:cNvPr id="217" name="Rectangle 80">
            <a:extLst>
              <a:ext uri="{FF2B5EF4-FFF2-40B4-BE49-F238E27FC236}">
                <a16:creationId xmlns:a16="http://schemas.microsoft.com/office/drawing/2014/main" id="{6EBA0E00-2A89-4D3F-89DE-C9F280C7008B}"/>
              </a:ext>
            </a:extLst>
          </p:cNvPr>
          <p:cNvSpPr/>
          <p:nvPr/>
        </p:nvSpPr>
        <p:spPr>
          <a:xfrm rot="16200000">
            <a:off x="4690291" y="2792169"/>
            <a:ext cx="3530600" cy="248136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/>
          <a:p>
            <a:pPr algn="ctr" rtl="0">
              <a:lnSpc>
                <a:spcPct val="95000"/>
              </a:lnSpc>
            </a:pPr>
            <a:r>
              <a:rPr lang="fr-FR" sz="1200" b="1" i="0" u="none" baseline="0"/>
              <a:t>Caractéristiques clés du produit</a:t>
            </a:r>
          </a:p>
        </p:txBody>
      </p:sp>
      <p:sp>
        <p:nvSpPr>
          <p:cNvPr id="218" name="Oval 6">
            <a:extLst>
              <a:ext uri="{FF2B5EF4-FFF2-40B4-BE49-F238E27FC236}">
                <a16:creationId xmlns:a16="http://schemas.microsoft.com/office/drawing/2014/main" id="{1B75ED47-CD7B-4807-961D-51DCF6EB39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686" y="2169501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21" name="Freeform 5">
            <a:extLst>
              <a:ext uri="{FF2B5EF4-FFF2-40B4-BE49-F238E27FC236}">
                <a16:creationId xmlns:a16="http://schemas.microsoft.com/office/drawing/2014/main" id="{AA3B58A5-0CBD-406F-A5A7-39895A4CE118}"/>
              </a:ext>
            </a:extLst>
          </p:cNvPr>
          <p:cNvSpPr>
            <a:spLocks noEditPoints="1"/>
          </p:cNvSpPr>
          <p:nvPr/>
        </p:nvSpPr>
        <p:spPr bwMode="auto">
          <a:xfrm>
            <a:off x="7121380" y="2396402"/>
            <a:ext cx="360612" cy="266199"/>
          </a:xfrm>
          <a:custGeom>
            <a:avLst/>
            <a:gdLst>
              <a:gd name="T0" fmla="*/ 76 w 630"/>
              <a:gd name="T1" fmla="*/ 249 h 468"/>
              <a:gd name="T2" fmla="*/ 171 w 630"/>
              <a:gd name="T3" fmla="*/ 249 h 468"/>
              <a:gd name="T4" fmla="*/ 171 w 630"/>
              <a:gd name="T5" fmla="*/ 290 h 468"/>
              <a:gd name="T6" fmla="*/ 76 w 630"/>
              <a:gd name="T7" fmla="*/ 290 h 468"/>
              <a:gd name="T8" fmla="*/ 76 w 630"/>
              <a:gd name="T9" fmla="*/ 249 h 468"/>
              <a:gd name="T10" fmla="*/ 200 w 630"/>
              <a:gd name="T11" fmla="*/ 249 h 468"/>
              <a:gd name="T12" fmla="*/ 293 w 630"/>
              <a:gd name="T13" fmla="*/ 249 h 468"/>
              <a:gd name="T14" fmla="*/ 293 w 630"/>
              <a:gd name="T15" fmla="*/ 290 h 468"/>
              <a:gd name="T16" fmla="*/ 200 w 630"/>
              <a:gd name="T17" fmla="*/ 290 h 468"/>
              <a:gd name="T18" fmla="*/ 200 w 630"/>
              <a:gd name="T19" fmla="*/ 249 h 468"/>
              <a:gd name="T20" fmla="*/ 322 w 630"/>
              <a:gd name="T21" fmla="*/ 249 h 468"/>
              <a:gd name="T22" fmla="*/ 417 w 630"/>
              <a:gd name="T23" fmla="*/ 249 h 468"/>
              <a:gd name="T24" fmla="*/ 417 w 630"/>
              <a:gd name="T25" fmla="*/ 290 h 468"/>
              <a:gd name="T26" fmla="*/ 322 w 630"/>
              <a:gd name="T27" fmla="*/ 290 h 468"/>
              <a:gd name="T28" fmla="*/ 322 w 630"/>
              <a:gd name="T29" fmla="*/ 249 h 468"/>
              <a:gd name="T30" fmla="*/ 446 w 630"/>
              <a:gd name="T31" fmla="*/ 249 h 468"/>
              <a:gd name="T32" fmla="*/ 539 w 630"/>
              <a:gd name="T33" fmla="*/ 249 h 468"/>
              <a:gd name="T34" fmla="*/ 539 w 630"/>
              <a:gd name="T35" fmla="*/ 290 h 468"/>
              <a:gd name="T36" fmla="*/ 446 w 630"/>
              <a:gd name="T37" fmla="*/ 290 h 468"/>
              <a:gd name="T38" fmla="*/ 446 w 630"/>
              <a:gd name="T39" fmla="*/ 249 h 468"/>
              <a:gd name="T40" fmla="*/ 315 w 630"/>
              <a:gd name="T41" fmla="*/ 0 h 468"/>
              <a:gd name="T42" fmla="*/ 0 w 630"/>
              <a:gd name="T43" fmla="*/ 124 h 468"/>
              <a:gd name="T44" fmla="*/ 0 w 630"/>
              <a:gd name="T45" fmla="*/ 177 h 468"/>
              <a:gd name="T46" fmla="*/ 45 w 630"/>
              <a:gd name="T47" fmla="*/ 180 h 468"/>
              <a:gd name="T48" fmla="*/ 45 w 630"/>
              <a:gd name="T49" fmla="*/ 465 h 468"/>
              <a:gd name="T50" fmla="*/ 312 w 630"/>
              <a:gd name="T51" fmla="*/ 465 h 468"/>
              <a:gd name="T52" fmla="*/ 312 w 630"/>
              <a:gd name="T53" fmla="*/ 367 h 468"/>
              <a:gd name="T54" fmla="*/ 536 w 630"/>
              <a:gd name="T55" fmla="*/ 367 h 468"/>
              <a:gd name="T56" fmla="*/ 536 w 630"/>
              <a:gd name="T57" fmla="*/ 468 h 468"/>
              <a:gd name="T58" fmla="*/ 584 w 630"/>
              <a:gd name="T59" fmla="*/ 468 h 468"/>
              <a:gd name="T60" fmla="*/ 584 w 630"/>
              <a:gd name="T61" fmla="*/ 177 h 468"/>
              <a:gd name="T62" fmla="*/ 630 w 630"/>
              <a:gd name="T63" fmla="*/ 177 h 468"/>
              <a:gd name="T64" fmla="*/ 630 w 630"/>
              <a:gd name="T65" fmla="*/ 127 h 468"/>
              <a:gd name="T66" fmla="*/ 315 w 630"/>
              <a:gd name="T67" fmla="*/ 0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30" h="468">
                <a:moveTo>
                  <a:pt x="76" y="249"/>
                </a:moveTo>
                <a:lnTo>
                  <a:pt x="171" y="249"/>
                </a:lnTo>
                <a:lnTo>
                  <a:pt x="171" y="290"/>
                </a:lnTo>
                <a:lnTo>
                  <a:pt x="76" y="290"/>
                </a:lnTo>
                <a:lnTo>
                  <a:pt x="76" y="249"/>
                </a:lnTo>
                <a:close/>
                <a:moveTo>
                  <a:pt x="200" y="249"/>
                </a:moveTo>
                <a:lnTo>
                  <a:pt x="293" y="249"/>
                </a:lnTo>
                <a:lnTo>
                  <a:pt x="293" y="290"/>
                </a:lnTo>
                <a:lnTo>
                  <a:pt x="200" y="290"/>
                </a:lnTo>
                <a:lnTo>
                  <a:pt x="200" y="249"/>
                </a:lnTo>
                <a:close/>
                <a:moveTo>
                  <a:pt x="322" y="249"/>
                </a:moveTo>
                <a:lnTo>
                  <a:pt x="417" y="249"/>
                </a:lnTo>
                <a:lnTo>
                  <a:pt x="417" y="290"/>
                </a:lnTo>
                <a:lnTo>
                  <a:pt x="322" y="290"/>
                </a:lnTo>
                <a:lnTo>
                  <a:pt x="322" y="249"/>
                </a:lnTo>
                <a:close/>
                <a:moveTo>
                  <a:pt x="446" y="249"/>
                </a:moveTo>
                <a:lnTo>
                  <a:pt x="539" y="249"/>
                </a:lnTo>
                <a:lnTo>
                  <a:pt x="539" y="290"/>
                </a:lnTo>
                <a:lnTo>
                  <a:pt x="446" y="290"/>
                </a:lnTo>
                <a:lnTo>
                  <a:pt x="446" y="249"/>
                </a:lnTo>
                <a:close/>
                <a:moveTo>
                  <a:pt x="315" y="0"/>
                </a:moveTo>
                <a:lnTo>
                  <a:pt x="0" y="124"/>
                </a:lnTo>
                <a:lnTo>
                  <a:pt x="0" y="177"/>
                </a:lnTo>
                <a:lnTo>
                  <a:pt x="45" y="180"/>
                </a:lnTo>
                <a:lnTo>
                  <a:pt x="45" y="465"/>
                </a:lnTo>
                <a:lnTo>
                  <a:pt x="312" y="465"/>
                </a:lnTo>
                <a:lnTo>
                  <a:pt x="312" y="367"/>
                </a:lnTo>
                <a:lnTo>
                  <a:pt x="536" y="367"/>
                </a:lnTo>
                <a:lnTo>
                  <a:pt x="536" y="468"/>
                </a:lnTo>
                <a:lnTo>
                  <a:pt x="584" y="468"/>
                </a:lnTo>
                <a:lnTo>
                  <a:pt x="584" y="177"/>
                </a:lnTo>
                <a:lnTo>
                  <a:pt x="630" y="177"/>
                </a:lnTo>
                <a:lnTo>
                  <a:pt x="630" y="127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22" name="Oval 7">
            <a:extLst>
              <a:ext uri="{FF2B5EF4-FFF2-40B4-BE49-F238E27FC236}">
                <a16:creationId xmlns:a16="http://schemas.microsoft.com/office/drawing/2014/main" id="{B64EAE83-107A-436B-BB76-D4B29E4E5A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7985" y="2909129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223" name="Gruppieren 222">
            <a:extLst>
              <a:ext uri="{FF2B5EF4-FFF2-40B4-BE49-F238E27FC236}">
                <a16:creationId xmlns:a16="http://schemas.microsoft.com/office/drawing/2014/main" id="{B3656976-4DAA-48AE-BC97-3C0AE59313DC}"/>
              </a:ext>
            </a:extLst>
          </p:cNvPr>
          <p:cNvGrpSpPr/>
          <p:nvPr/>
        </p:nvGrpSpPr>
        <p:grpSpPr>
          <a:xfrm>
            <a:off x="8028031" y="3159718"/>
            <a:ext cx="549989" cy="218821"/>
            <a:chOff x="1455282" y="1844935"/>
            <a:chExt cx="1203137" cy="481714"/>
          </a:xfrm>
          <a:solidFill>
            <a:schemeClr val="accent3"/>
          </a:solidFill>
        </p:grpSpPr>
        <p:grpSp>
          <p:nvGrpSpPr>
            <p:cNvPr id="225" name="Group 337954">
              <a:extLst>
                <a:ext uri="{FF2B5EF4-FFF2-40B4-BE49-F238E27FC236}">
                  <a16:creationId xmlns:a16="http://schemas.microsoft.com/office/drawing/2014/main" id="{B9D3FBB4-77E0-452E-953C-9057E664A7E2}"/>
                </a:ext>
              </a:extLst>
            </p:cNvPr>
            <p:cNvGrpSpPr/>
            <p:nvPr/>
          </p:nvGrpSpPr>
          <p:grpSpPr>
            <a:xfrm>
              <a:off x="1777943" y="1844935"/>
              <a:ext cx="880476" cy="481714"/>
              <a:chOff x="-1220788" y="1668463"/>
              <a:chExt cx="960438" cy="525462"/>
            </a:xfrm>
            <a:grpFill/>
          </p:grpSpPr>
          <p:sp>
            <p:nvSpPr>
              <p:cNvPr id="229" name="Freeform 55">
                <a:extLst>
                  <a:ext uri="{FF2B5EF4-FFF2-40B4-BE49-F238E27FC236}">
                    <a16:creationId xmlns:a16="http://schemas.microsoft.com/office/drawing/2014/main" id="{D60F8AF0-F1CE-4B30-83A3-98EF340940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160463" y="2001838"/>
                <a:ext cx="184150" cy="192087"/>
              </a:xfrm>
              <a:custGeom>
                <a:avLst/>
                <a:gdLst>
                  <a:gd name="T0" fmla="*/ 49 w 49"/>
                  <a:gd name="T1" fmla="*/ 25 h 51"/>
                  <a:gd name="T2" fmla="*/ 25 w 49"/>
                  <a:gd name="T3" fmla="*/ 0 h 51"/>
                  <a:gd name="T4" fmla="*/ 0 w 49"/>
                  <a:gd name="T5" fmla="*/ 25 h 51"/>
                  <a:gd name="T6" fmla="*/ 25 w 49"/>
                  <a:gd name="T7" fmla="*/ 51 h 51"/>
                  <a:gd name="T8" fmla="*/ 49 w 49"/>
                  <a:gd name="T9" fmla="*/ 25 h 51"/>
                  <a:gd name="T10" fmla="*/ 36 w 49"/>
                  <a:gd name="T11" fmla="*/ 25 h 51"/>
                  <a:gd name="T12" fmla="*/ 25 w 49"/>
                  <a:gd name="T13" fmla="*/ 37 h 51"/>
                  <a:gd name="T14" fmla="*/ 15 w 49"/>
                  <a:gd name="T15" fmla="*/ 25 h 51"/>
                  <a:gd name="T16" fmla="*/ 25 w 49"/>
                  <a:gd name="T17" fmla="*/ 14 h 51"/>
                  <a:gd name="T18" fmla="*/ 36 w 49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51">
                    <a:moveTo>
                      <a:pt x="49" y="25"/>
                    </a:moveTo>
                    <a:cubicBezTo>
                      <a:pt x="49" y="12"/>
                      <a:pt x="38" y="0"/>
                      <a:pt x="25" y="0"/>
                    </a:cubicBezTo>
                    <a:cubicBezTo>
                      <a:pt x="12" y="0"/>
                      <a:pt x="0" y="12"/>
                      <a:pt x="0" y="25"/>
                    </a:cubicBezTo>
                    <a:cubicBezTo>
                      <a:pt x="0" y="39"/>
                      <a:pt x="12" y="51"/>
                      <a:pt x="25" y="51"/>
                    </a:cubicBezTo>
                    <a:cubicBezTo>
                      <a:pt x="38" y="51"/>
                      <a:pt x="49" y="39"/>
                      <a:pt x="49" y="25"/>
                    </a:cubicBezTo>
                    <a:close/>
                    <a:moveTo>
                      <a:pt x="36" y="25"/>
                    </a:moveTo>
                    <a:cubicBezTo>
                      <a:pt x="36" y="32"/>
                      <a:pt x="31" y="37"/>
                      <a:pt x="25" y="37"/>
                    </a:cubicBezTo>
                    <a:cubicBezTo>
                      <a:pt x="19" y="37"/>
                      <a:pt x="15" y="32"/>
                      <a:pt x="15" y="25"/>
                    </a:cubicBezTo>
                    <a:cubicBezTo>
                      <a:pt x="15" y="19"/>
                      <a:pt x="19" y="14"/>
                      <a:pt x="25" y="14"/>
                    </a:cubicBezTo>
                    <a:cubicBezTo>
                      <a:pt x="31" y="14"/>
                      <a:pt x="36" y="19"/>
                      <a:pt x="36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0" name="Freeform 56">
                <a:extLst>
                  <a:ext uri="{FF2B5EF4-FFF2-40B4-BE49-F238E27FC236}">
                    <a16:creationId xmlns:a16="http://schemas.microsoft.com/office/drawing/2014/main" id="{2B38BF30-BEB9-479C-A986-4E7D9DF2B2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19113" y="2001838"/>
                <a:ext cx="180975" cy="192087"/>
              </a:xfrm>
              <a:custGeom>
                <a:avLst/>
                <a:gdLst>
                  <a:gd name="T0" fmla="*/ 48 w 48"/>
                  <a:gd name="T1" fmla="*/ 25 h 51"/>
                  <a:gd name="T2" fmla="*/ 23 w 48"/>
                  <a:gd name="T3" fmla="*/ 0 h 51"/>
                  <a:gd name="T4" fmla="*/ 0 w 48"/>
                  <a:gd name="T5" fmla="*/ 25 h 51"/>
                  <a:gd name="T6" fmla="*/ 23 w 48"/>
                  <a:gd name="T7" fmla="*/ 51 h 51"/>
                  <a:gd name="T8" fmla="*/ 48 w 48"/>
                  <a:gd name="T9" fmla="*/ 25 h 51"/>
                  <a:gd name="T10" fmla="*/ 35 w 48"/>
                  <a:gd name="T11" fmla="*/ 25 h 51"/>
                  <a:gd name="T12" fmla="*/ 23 w 48"/>
                  <a:gd name="T13" fmla="*/ 37 h 51"/>
                  <a:gd name="T14" fmla="*/ 13 w 48"/>
                  <a:gd name="T15" fmla="*/ 25 h 51"/>
                  <a:gd name="T16" fmla="*/ 23 w 48"/>
                  <a:gd name="T17" fmla="*/ 14 h 51"/>
                  <a:gd name="T18" fmla="*/ 35 w 48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51">
                    <a:moveTo>
                      <a:pt x="48" y="25"/>
                    </a:moveTo>
                    <a:cubicBezTo>
                      <a:pt x="48" y="12"/>
                      <a:pt x="37" y="0"/>
                      <a:pt x="23" y="0"/>
                    </a:cubicBezTo>
                    <a:cubicBezTo>
                      <a:pt x="10" y="0"/>
                      <a:pt x="0" y="12"/>
                      <a:pt x="0" y="25"/>
                    </a:cubicBezTo>
                    <a:cubicBezTo>
                      <a:pt x="0" y="39"/>
                      <a:pt x="10" y="51"/>
                      <a:pt x="23" y="51"/>
                    </a:cubicBezTo>
                    <a:cubicBezTo>
                      <a:pt x="37" y="51"/>
                      <a:pt x="48" y="39"/>
                      <a:pt x="48" y="25"/>
                    </a:cubicBezTo>
                    <a:close/>
                    <a:moveTo>
                      <a:pt x="35" y="25"/>
                    </a:moveTo>
                    <a:cubicBezTo>
                      <a:pt x="35" y="32"/>
                      <a:pt x="29" y="37"/>
                      <a:pt x="23" y="37"/>
                    </a:cubicBezTo>
                    <a:cubicBezTo>
                      <a:pt x="17" y="37"/>
                      <a:pt x="13" y="32"/>
                      <a:pt x="13" y="25"/>
                    </a:cubicBezTo>
                    <a:cubicBezTo>
                      <a:pt x="13" y="19"/>
                      <a:pt x="17" y="14"/>
                      <a:pt x="23" y="14"/>
                    </a:cubicBezTo>
                    <a:cubicBezTo>
                      <a:pt x="29" y="14"/>
                      <a:pt x="35" y="19"/>
                      <a:pt x="35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1" name="Freeform 57">
                <a:extLst>
                  <a:ext uri="{FF2B5EF4-FFF2-40B4-BE49-F238E27FC236}">
                    <a16:creationId xmlns:a16="http://schemas.microsoft.com/office/drawing/2014/main" id="{CED6E6C8-B47B-4BCD-A432-D7A7F0C172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0788" y="2012950"/>
                <a:ext cx="79375" cy="82550"/>
              </a:xfrm>
              <a:custGeom>
                <a:avLst/>
                <a:gdLst>
                  <a:gd name="T0" fmla="*/ 0 w 21"/>
                  <a:gd name="T1" fmla="*/ 0 h 22"/>
                  <a:gd name="T2" fmla="*/ 0 w 21"/>
                  <a:gd name="T3" fmla="*/ 20 h 22"/>
                  <a:gd name="T4" fmla="*/ 4 w 21"/>
                  <a:gd name="T5" fmla="*/ 22 h 22"/>
                  <a:gd name="T6" fmla="*/ 11 w 21"/>
                  <a:gd name="T7" fmla="*/ 22 h 22"/>
                  <a:gd name="T8" fmla="*/ 11 w 21"/>
                  <a:gd name="T9" fmla="*/ 22 h 22"/>
                  <a:gd name="T10" fmla="*/ 21 w 21"/>
                  <a:gd name="T11" fmla="*/ 0 h 22"/>
                  <a:gd name="T12" fmla="*/ 0 w 21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2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2"/>
                      <a:pt x="4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13"/>
                      <a:pt x="15" y="5"/>
                      <a:pt x="2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2" name="Freeform 58">
                <a:extLst>
                  <a:ext uri="{FF2B5EF4-FFF2-40B4-BE49-F238E27FC236}">
                    <a16:creationId xmlns:a16="http://schemas.microsoft.com/office/drawing/2014/main" id="{84348942-987A-4056-9F9A-CAF629C2D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0788" y="1668463"/>
                <a:ext cx="646113" cy="330200"/>
              </a:xfrm>
              <a:custGeom>
                <a:avLst/>
                <a:gdLst>
                  <a:gd name="T0" fmla="*/ 169 w 172"/>
                  <a:gd name="T1" fmla="*/ 0 h 88"/>
                  <a:gd name="T2" fmla="*/ 4 w 172"/>
                  <a:gd name="T3" fmla="*/ 0 h 88"/>
                  <a:gd name="T4" fmla="*/ 0 w 172"/>
                  <a:gd name="T5" fmla="*/ 3 h 88"/>
                  <a:gd name="T6" fmla="*/ 0 w 172"/>
                  <a:gd name="T7" fmla="*/ 88 h 88"/>
                  <a:gd name="T8" fmla="*/ 26 w 172"/>
                  <a:gd name="T9" fmla="*/ 88 h 88"/>
                  <a:gd name="T10" fmla="*/ 41 w 172"/>
                  <a:gd name="T11" fmla="*/ 83 h 88"/>
                  <a:gd name="T12" fmla="*/ 56 w 172"/>
                  <a:gd name="T13" fmla="*/ 88 h 88"/>
                  <a:gd name="T14" fmla="*/ 172 w 172"/>
                  <a:gd name="T15" fmla="*/ 88 h 88"/>
                  <a:gd name="T16" fmla="*/ 172 w 172"/>
                  <a:gd name="T17" fmla="*/ 3 h 88"/>
                  <a:gd name="T18" fmla="*/ 169 w 172"/>
                  <a:gd name="T1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88">
                    <a:moveTo>
                      <a:pt x="169" y="0"/>
                    </a:moveTo>
                    <a:cubicBezTo>
                      <a:pt x="0" y="0"/>
                      <a:pt x="4" y="0"/>
                      <a:pt x="4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31" y="85"/>
                      <a:pt x="36" y="83"/>
                      <a:pt x="41" y="83"/>
                    </a:cubicBezTo>
                    <a:cubicBezTo>
                      <a:pt x="47" y="83"/>
                      <a:pt x="52" y="85"/>
                      <a:pt x="56" y="88"/>
                    </a:cubicBezTo>
                    <a:cubicBezTo>
                      <a:pt x="172" y="88"/>
                      <a:pt x="172" y="88"/>
                      <a:pt x="172" y="88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72" y="1"/>
                      <a:pt x="171" y="0"/>
                      <a:pt x="1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3" name="Freeform 59">
                <a:extLst>
                  <a:ext uri="{FF2B5EF4-FFF2-40B4-BE49-F238E27FC236}">
                    <a16:creationId xmlns:a16="http://schemas.microsoft.com/office/drawing/2014/main" id="{3CDD1352-C358-4B78-A11A-FEFA2F6ABF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992188" y="1739900"/>
                <a:ext cx="731838" cy="355600"/>
              </a:xfrm>
              <a:custGeom>
                <a:avLst/>
                <a:gdLst>
                  <a:gd name="T0" fmla="*/ 176 w 195"/>
                  <a:gd name="T1" fmla="*/ 4 h 95"/>
                  <a:gd name="T2" fmla="*/ 171 w 195"/>
                  <a:gd name="T3" fmla="*/ 2 h 95"/>
                  <a:gd name="T4" fmla="*/ 123 w 195"/>
                  <a:gd name="T5" fmla="*/ 2 h 95"/>
                  <a:gd name="T6" fmla="*/ 119 w 195"/>
                  <a:gd name="T7" fmla="*/ 4 h 95"/>
                  <a:gd name="T8" fmla="*/ 119 w 195"/>
                  <a:gd name="T9" fmla="*/ 73 h 95"/>
                  <a:gd name="T10" fmla="*/ 108 w 195"/>
                  <a:gd name="T11" fmla="*/ 73 h 95"/>
                  <a:gd name="T12" fmla="*/ 108 w 195"/>
                  <a:gd name="T13" fmla="*/ 73 h 95"/>
                  <a:gd name="T14" fmla="*/ 95 w 195"/>
                  <a:gd name="T15" fmla="*/ 73 h 95"/>
                  <a:gd name="T16" fmla="*/ 55 w 195"/>
                  <a:gd name="T17" fmla="*/ 73 h 95"/>
                  <a:gd name="T18" fmla="*/ 0 w 195"/>
                  <a:gd name="T19" fmla="*/ 73 h 95"/>
                  <a:gd name="T20" fmla="*/ 9 w 195"/>
                  <a:gd name="T21" fmla="*/ 95 h 95"/>
                  <a:gd name="T22" fmla="*/ 9 w 195"/>
                  <a:gd name="T23" fmla="*/ 95 h 95"/>
                  <a:gd name="T24" fmla="*/ 45 w 195"/>
                  <a:gd name="T25" fmla="*/ 95 h 95"/>
                  <a:gd name="T26" fmla="*/ 104 w 195"/>
                  <a:gd name="T27" fmla="*/ 95 h 95"/>
                  <a:gd name="T28" fmla="*/ 108 w 195"/>
                  <a:gd name="T29" fmla="*/ 95 h 95"/>
                  <a:gd name="T30" fmla="*/ 108 w 195"/>
                  <a:gd name="T31" fmla="*/ 95 h 95"/>
                  <a:gd name="T32" fmla="*/ 120 w 195"/>
                  <a:gd name="T33" fmla="*/ 95 h 95"/>
                  <a:gd name="T34" fmla="*/ 120 w 195"/>
                  <a:gd name="T35" fmla="*/ 88 h 95"/>
                  <a:gd name="T36" fmla="*/ 149 w 195"/>
                  <a:gd name="T37" fmla="*/ 64 h 95"/>
                  <a:gd name="T38" fmla="*/ 180 w 195"/>
                  <a:gd name="T39" fmla="*/ 95 h 95"/>
                  <a:gd name="T40" fmla="*/ 195 w 195"/>
                  <a:gd name="T41" fmla="*/ 95 h 95"/>
                  <a:gd name="T42" fmla="*/ 195 w 195"/>
                  <a:gd name="T43" fmla="*/ 48 h 95"/>
                  <a:gd name="T44" fmla="*/ 176 w 195"/>
                  <a:gd name="T45" fmla="*/ 4 h 95"/>
                  <a:gd name="T46" fmla="*/ 141 w 195"/>
                  <a:gd name="T47" fmla="*/ 39 h 95"/>
                  <a:gd name="T48" fmla="*/ 141 w 195"/>
                  <a:gd name="T49" fmla="*/ 10 h 95"/>
                  <a:gd name="T50" fmla="*/ 167 w 195"/>
                  <a:gd name="T51" fmla="*/ 10 h 95"/>
                  <a:gd name="T52" fmla="*/ 179 w 195"/>
                  <a:gd name="T53" fmla="*/ 39 h 95"/>
                  <a:gd name="T54" fmla="*/ 141 w 195"/>
                  <a:gd name="T55" fmla="*/ 3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5" h="95">
                    <a:moveTo>
                      <a:pt x="176" y="4"/>
                    </a:moveTo>
                    <a:cubicBezTo>
                      <a:pt x="176" y="0"/>
                      <a:pt x="171" y="2"/>
                      <a:pt x="171" y="2"/>
                    </a:cubicBezTo>
                    <a:cubicBezTo>
                      <a:pt x="171" y="2"/>
                      <a:pt x="171" y="2"/>
                      <a:pt x="123" y="2"/>
                    </a:cubicBezTo>
                    <a:cubicBezTo>
                      <a:pt x="123" y="2"/>
                      <a:pt x="119" y="0"/>
                      <a:pt x="119" y="4"/>
                    </a:cubicBezTo>
                    <a:cubicBezTo>
                      <a:pt x="119" y="4"/>
                      <a:pt x="119" y="4"/>
                      <a:pt x="119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95" y="73"/>
                      <a:pt x="95" y="73"/>
                      <a:pt x="95" y="73"/>
                    </a:cubicBezTo>
                    <a:cubicBezTo>
                      <a:pt x="55" y="73"/>
                      <a:pt x="55" y="73"/>
                      <a:pt x="55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6" y="78"/>
                      <a:pt x="9" y="86"/>
                      <a:pt x="9" y="95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44" y="95"/>
                      <a:pt x="45" y="95"/>
                      <a:pt x="45" y="95"/>
                    </a:cubicBezTo>
                    <a:cubicBezTo>
                      <a:pt x="104" y="95"/>
                      <a:pt x="104" y="95"/>
                      <a:pt x="104" y="95"/>
                    </a:cubicBezTo>
                    <a:cubicBezTo>
                      <a:pt x="107" y="95"/>
                      <a:pt x="107" y="95"/>
                      <a:pt x="108" y="95"/>
                    </a:cubicBezTo>
                    <a:cubicBezTo>
                      <a:pt x="108" y="95"/>
                      <a:pt x="108" y="95"/>
                      <a:pt x="108" y="95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0" y="88"/>
                      <a:pt x="120" y="88"/>
                      <a:pt x="120" y="88"/>
                    </a:cubicBezTo>
                    <a:cubicBezTo>
                      <a:pt x="123" y="75"/>
                      <a:pt x="135" y="64"/>
                      <a:pt x="149" y="64"/>
                    </a:cubicBezTo>
                    <a:cubicBezTo>
                      <a:pt x="165" y="64"/>
                      <a:pt x="180" y="78"/>
                      <a:pt x="180" y="95"/>
                    </a:cubicBezTo>
                    <a:cubicBezTo>
                      <a:pt x="180" y="95"/>
                      <a:pt x="180" y="95"/>
                      <a:pt x="195" y="95"/>
                    </a:cubicBezTo>
                    <a:cubicBezTo>
                      <a:pt x="195" y="48"/>
                      <a:pt x="195" y="48"/>
                      <a:pt x="195" y="48"/>
                    </a:cubicBezTo>
                    <a:cubicBezTo>
                      <a:pt x="195" y="48"/>
                      <a:pt x="177" y="8"/>
                      <a:pt x="176" y="4"/>
                    </a:cubicBezTo>
                    <a:close/>
                    <a:moveTo>
                      <a:pt x="141" y="39"/>
                    </a:moveTo>
                    <a:cubicBezTo>
                      <a:pt x="141" y="39"/>
                      <a:pt x="141" y="39"/>
                      <a:pt x="141" y="10"/>
                    </a:cubicBezTo>
                    <a:cubicBezTo>
                      <a:pt x="141" y="10"/>
                      <a:pt x="141" y="10"/>
                      <a:pt x="167" y="10"/>
                    </a:cubicBezTo>
                    <a:cubicBezTo>
                      <a:pt x="179" y="39"/>
                      <a:pt x="179" y="39"/>
                      <a:pt x="179" y="39"/>
                    </a:cubicBezTo>
                    <a:cubicBezTo>
                      <a:pt x="179" y="39"/>
                      <a:pt x="172" y="39"/>
                      <a:pt x="141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228" name="Freeform 7">
              <a:extLst>
                <a:ext uri="{FF2B5EF4-FFF2-40B4-BE49-F238E27FC236}">
                  <a16:creationId xmlns:a16="http://schemas.microsoft.com/office/drawing/2014/main" id="{C5D7ECB4-4794-4F48-90FB-9FE4CC4F7D14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1455282" y="1871867"/>
              <a:ext cx="239580" cy="315545"/>
            </a:xfrm>
            <a:custGeom>
              <a:avLst/>
              <a:gdLst>
                <a:gd name="T0" fmla="*/ 18 w 243"/>
                <a:gd name="T1" fmla="*/ 36 h 320"/>
                <a:gd name="T2" fmla="*/ 225 w 243"/>
                <a:gd name="T3" fmla="*/ 36 h 320"/>
                <a:gd name="T4" fmla="*/ 243 w 243"/>
                <a:gd name="T5" fmla="*/ 18 h 320"/>
                <a:gd name="T6" fmla="*/ 225 w 243"/>
                <a:gd name="T7" fmla="*/ 0 h 320"/>
                <a:gd name="T8" fmla="*/ 18 w 243"/>
                <a:gd name="T9" fmla="*/ 0 h 320"/>
                <a:gd name="T10" fmla="*/ 0 w 243"/>
                <a:gd name="T11" fmla="*/ 18 h 320"/>
                <a:gd name="T12" fmla="*/ 18 w 243"/>
                <a:gd name="T13" fmla="*/ 36 h 320"/>
                <a:gd name="T14" fmla="*/ 225 w 243"/>
                <a:gd name="T15" fmla="*/ 284 h 320"/>
                <a:gd name="T16" fmla="*/ 18 w 243"/>
                <a:gd name="T17" fmla="*/ 284 h 320"/>
                <a:gd name="T18" fmla="*/ 0 w 243"/>
                <a:gd name="T19" fmla="*/ 302 h 320"/>
                <a:gd name="T20" fmla="*/ 18 w 243"/>
                <a:gd name="T21" fmla="*/ 320 h 320"/>
                <a:gd name="T22" fmla="*/ 225 w 243"/>
                <a:gd name="T23" fmla="*/ 320 h 320"/>
                <a:gd name="T24" fmla="*/ 243 w 243"/>
                <a:gd name="T25" fmla="*/ 302 h 320"/>
                <a:gd name="T26" fmla="*/ 225 w 243"/>
                <a:gd name="T27" fmla="*/ 284 h 320"/>
                <a:gd name="T28" fmla="*/ 18 w 243"/>
                <a:gd name="T29" fmla="*/ 176 h 320"/>
                <a:gd name="T30" fmla="*/ 113 w 243"/>
                <a:gd name="T31" fmla="*/ 176 h 320"/>
                <a:gd name="T32" fmla="*/ 131 w 243"/>
                <a:gd name="T33" fmla="*/ 158 h 320"/>
                <a:gd name="T34" fmla="*/ 113 w 243"/>
                <a:gd name="T35" fmla="*/ 140 h 320"/>
                <a:gd name="T36" fmla="*/ 18 w 243"/>
                <a:gd name="T37" fmla="*/ 140 h 320"/>
                <a:gd name="T38" fmla="*/ 0 w 243"/>
                <a:gd name="T39" fmla="*/ 158 h 320"/>
                <a:gd name="T40" fmla="*/ 18 w 243"/>
                <a:gd name="T41" fmla="*/ 17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320">
                  <a:moveTo>
                    <a:pt x="18" y="36"/>
                  </a:moveTo>
                  <a:cubicBezTo>
                    <a:pt x="225" y="36"/>
                    <a:pt x="225" y="36"/>
                    <a:pt x="225" y="36"/>
                  </a:cubicBezTo>
                  <a:cubicBezTo>
                    <a:pt x="235" y="36"/>
                    <a:pt x="243" y="28"/>
                    <a:pt x="243" y="18"/>
                  </a:cubicBezTo>
                  <a:cubicBezTo>
                    <a:pt x="243" y="8"/>
                    <a:pt x="235" y="0"/>
                    <a:pt x="225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close/>
                  <a:moveTo>
                    <a:pt x="225" y="284"/>
                  </a:moveTo>
                  <a:cubicBezTo>
                    <a:pt x="18" y="284"/>
                    <a:pt x="18" y="284"/>
                    <a:pt x="18" y="284"/>
                  </a:cubicBezTo>
                  <a:cubicBezTo>
                    <a:pt x="8" y="284"/>
                    <a:pt x="0" y="292"/>
                    <a:pt x="0" y="302"/>
                  </a:cubicBezTo>
                  <a:cubicBezTo>
                    <a:pt x="0" y="312"/>
                    <a:pt x="8" y="320"/>
                    <a:pt x="18" y="320"/>
                  </a:cubicBezTo>
                  <a:cubicBezTo>
                    <a:pt x="225" y="320"/>
                    <a:pt x="225" y="320"/>
                    <a:pt x="225" y="320"/>
                  </a:cubicBezTo>
                  <a:cubicBezTo>
                    <a:pt x="235" y="320"/>
                    <a:pt x="243" y="312"/>
                    <a:pt x="243" y="302"/>
                  </a:cubicBezTo>
                  <a:cubicBezTo>
                    <a:pt x="243" y="292"/>
                    <a:pt x="235" y="284"/>
                    <a:pt x="225" y="284"/>
                  </a:cubicBezTo>
                  <a:close/>
                  <a:moveTo>
                    <a:pt x="18" y="176"/>
                  </a:moveTo>
                  <a:cubicBezTo>
                    <a:pt x="113" y="176"/>
                    <a:pt x="113" y="176"/>
                    <a:pt x="113" y="176"/>
                  </a:cubicBezTo>
                  <a:cubicBezTo>
                    <a:pt x="123" y="176"/>
                    <a:pt x="131" y="168"/>
                    <a:pt x="131" y="158"/>
                  </a:cubicBezTo>
                  <a:cubicBezTo>
                    <a:pt x="131" y="148"/>
                    <a:pt x="123" y="140"/>
                    <a:pt x="113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8" y="140"/>
                    <a:pt x="0" y="148"/>
                    <a:pt x="0" y="158"/>
                  </a:cubicBezTo>
                  <a:cubicBezTo>
                    <a:pt x="0" y="168"/>
                    <a:pt x="8" y="176"/>
                    <a:pt x="18" y="1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34" name="Oval 5">
            <a:extLst>
              <a:ext uri="{FF2B5EF4-FFF2-40B4-BE49-F238E27FC236}">
                <a16:creationId xmlns:a16="http://schemas.microsoft.com/office/drawing/2014/main" id="{9F60DF2F-D517-45F1-B6B5-48AF8C7DA0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3822" y="690245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235" name="Gruppieren 234">
            <a:extLst>
              <a:ext uri="{FF2B5EF4-FFF2-40B4-BE49-F238E27FC236}">
                <a16:creationId xmlns:a16="http://schemas.microsoft.com/office/drawing/2014/main" id="{33BD46CC-806E-419D-A557-EAC1AACFB725}"/>
              </a:ext>
            </a:extLst>
          </p:cNvPr>
          <p:cNvGrpSpPr>
            <a:grpSpLocks noChangeAspect="1"/>
          </p:cNvGrpSpPr>
          <p:nvPr/>
        </p:nvGrpSpPr>
        <p:grpSpPr>
          <a:xfrm>
            <a:off x="7073377" y="816430"/>
            <a:ext cx="400889" cy="467630"/>
            <a:chOff x="2355850" y="-1588"/>
            <a:chExt cx="5843588" cy="6859588"/>
          </a:xfrm>
          <a:solidFill>
            <a:schemeClr val="accent3"/>
          </a:solidFill>
        </p:grpSpPr>
        <p:sp>
          <p:nvSpPr>
            <p:cNvPr id="236" name="Freeform 5">
              <a:extLst>
                <a:ext uri="{FF2B5EF4-FFF2-40B4-BE49-F238E27FC236}">
                  <a16:creationId xmlns:a16="http://schemas.microsoft.com/office/drawing/2014/main" id="{8593EFEB-5D49-4CE4-A2F3-F382D2AB37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7375" y="4162425"/>
              <a:ext cx="1917700" cy="1274763"/>
            </a:xfrm>
            <a:custGeom>
              <a:avLst/>
              <a:gdLst/>
              <a:ahLst/>
              <a:cxnLst>
                <a:cxn ang="0">
                  <a:pos x="575" y="586"/>
                </a:cxn>
                <a:cxn ang="0">
                  <a:pos x="625" y="631"/>
                </a:cxn>
                <a:cxn ang="0">
                  <a:pos x="672" y="660"/>
                </a:cxn>
                <a:cxn ang="0">
                  <a:pos x="758" y="614"/>
                </a:cxn>
                <a:cxn ang="0">
                  <a:pos x="784" y="585"/>
                </a:cxn>
                <a:cxn ang="0">
                  <a:pos x="740" y="599"/>
                </a:cxn>
                <a:cxn ang="0">
                  <a:pos x="668" y="542"/>
                </a:cxn>
                <a:cxn ang="0">
                  <a:pos x="948" y="438"/>
                </a:cxn>
                <a:cxn ang="0">
                  <a:pos x="988" y="242"/>
                </a:cxn>
                <a:cxn ang="0">
                  <a:pos x="913" y="209"/>
                </a:cxn>
                <a:cxn ang="0">
                  <a:pos x="836" y="180"/>
                </a:cxn>
                <a:cxn ang="0">
                  <a:pos x="742" y="162"/>
                </a:cxn>
                <a:cxn ang="0">
                  <a:pos x="686" y="105"/>
                </a:cxn>
                <a:cxn ang="0">
                  <a:pos x="677" y="43"/>
                </a:cxn>
                <a:cxn ang="0">
                  <a:pos x="649" y="6"/>
                </a:cxn>
                <a:cxn ang="0">
                  <a:pos x="592" y="15"/>
                </a:cxn>
                <a:cxn ang="0">
                  <a:pos x="549" y="31"/>
                </a:cxn>
                <a:cxn ang="0">
                  <a:pos x="492" y="52"/>
                </a:cxn>
                <a:cxn ang="0">
                  <a:pos x="432" y="88"/>
                </a:cxn>
                <a:cxn ang="0">
                  <a:pos x="378" y="92"/>
                </a:cxn>
                <a:cxn ang="0">
                  <a:pos x="321" y="83"/>
                </a:cxn>
                <a:cxn ang="0">
                  <a:pos x="255" y="54"/>
                </a:cxn>
                <a:cxn ang="0">
                  <a:pos x="176" y="46"/>
                </a:cxn>
                <a:cxn ang="0">
                  <a:pos x="115" y="70"/>
                </a:cxn>
                <a:cxn ang="0">
                  <a:pos x="139" y="130"/>
                </a:cxn>
                <a:cxn ang="0">
                  <a:pos x="135" y="170"/>
                </a:cxn>
                <a:cxn ang="0">
                  <a:pos x="66" y="235"/>
                </a:cxn>
                <a:cxn ang="0">
                  <a:pos x="67" y="276"/>
                </a:cxn>
                <a:cxn ang="0">
                  <a:pos x="25" y="291"/>
                </a:cxn>
                <a:cxn ang="0">
                  <a:pos x="0" y="331"/>
                </a:cxn>
                <a:cxn ang="0">
                  <a:pos x="52" y="369"/>
                </a:cxn>
                <a:cxn ang="0">
                  <a:pos x="122" y="378"/>
                </a:cxn>
                <a:cxn ang="0">
                  <a:pos x="211" y="374"/>
                </a:cxn>
                <a:cxn ang="0">
                  <a:pos x="252" y="337"/>
                </a:cxn>
                <a:cxn ang="0">
                  <a:pos x="284" y="336"/>
                </a:cxn>
                <a:cxn ang="0">
                  <a:pos x="323" y="348"/>
                </a:cxn>
                <a:cxn ang="0">
                  <a:pos x="343" y="359"/>
                </a:cxn>
                <a:cxn ang="0">
                  <a:pos x="363" y="365"/>
                </a:cxn>
                <a:cxn ang="0">
                  <a:pos x="389" y="378"/>
                </a:cxn>
                <a:cxn ang="0">
                  <a:pos x="387" y="404"/>
                </a:cxn>
                <a:cxn ang="0">
                  <a:pos x="398" y="431"/>
                </a:cxn>
                <a:cxn ang="0">
                  <a:pos x="406" y="453"/>
                </a:cxn>
                <a:cxn ang="0">
                  <a:pos x="427" y="490"/>
                </a:cxn>
                <a:cxn ang="0">
                  <a:pos x="406" y="507"/>
                </a:cxn>
                <a:cxn ang="0">
                  <a:pos x="389" y="504"/>
                </a:cxn>
                <a:cxn ang="0">
                  <a:pos x="375" y="523"/>
                </a:cxn>
                <a:cxn ang="0">
                  <a:pos x="350" y="562"/>
                </a:cxn>
                <a:cxn ang="0">
                  <a:pos x="342" y="586"/>
                </a:cxn>
                <a:cxn ang="0">
                  <a:pos x="385" y="595"/>
                </a:cxn>
                <a:cxn ang="0">
                  <a:pos x="445" y="557"/>
                </a:cxn>
                <a:cxn ang="0">
                  <a:pos x="474" y="508"/>
                </a:cxn>
                <a:cxn ang="0">
                  <a:pos x="542" y="495"/>
                </a:cxn>
                <a:cxn ang="0">
                  <a:pos x="555" y="536"/>
                </a:cxn>
                <a:cxn ang="0">
                  <a:pos x="637" y="532"/>
                </a:cxn>
                <a:cxn ang="0">
                  <a:pos x="695" y="533"/>
                </a:cxn>
                <a:cxn ang="0">
                  <a:pos x="737" y="506"/>
                </a:cxn>
                <a:cxn ang="0">
                  <a:pos x="836" y="469"/>
                </a:cxn>
                <a:cxn ang="0">
                  <a:pos x="912" y="437"/>
                </a:cxn>
                <a:cxn ang="0">
                  <a:pos x="967" y="387"/>
                </a:cxn>
                <a:cxn ang="0">
                  <a:pos x="992" y="331"/>
                </a:cxn>
                <a:cxn ang="0">
                  <a:pos x="134" y="165"/>
                </a:cxn>
              </a:cxnLst>
              <a:rect l="0" t="0" r="r" b="b"/>
              <a:pathLst>
                <a:path w="1026" h="682">
                  <a:moveTo>
                    <a:pt x="641" y="535"/>
                  </a:moveTo>
                  <a:cubicBezTo>
                    <a:pt x="641" y="534"/>
                    <a:pt x="639" y="534"/>
                    <a:pt x="638" y="533"/>
                  </a:cubicBezTo>
                  <a:cubicBezTo>
                    <a:pt x="638" y="536"/>
                    <a:pt x="637" y="539"/>
                    <a:pt x="637" y="542"/>
                  </a:cubicBezTo>
                  <a:cubicBezTo>
                    <a:pt x="637" y="544"/>
                    <a:pt x="637" y="546"/>
                    <a:pt x="638" y="547"/>
                  </a:cubicBezTo>
                  <a:cubicBezTo>
                    <a:pt x="639" y="550"/>
                    <a:pt x="640" y="548"/>
                    <a:pt x="642" y="550"/>
                  </a:cubicBezTo>
                  <a:cubicBezTo>
                    <a:pt x="644" y="552"/>
                    <a:pt x="642" y="553"/>
                    <a:pt x="640" y="554"/>
                  </a:cubicBezTo>
                  <a:cubicBezTo>
                    <a:pt x="639" y="555"/>
                    <a:pt x="637" y="556"/>
                    <a:pt x="635" y="557"/>
                  </a:cubicBezTo>
                  <a:cubicBezTo>
                    <a:pt x="632" y="560"/>
                    <a:pt x="629" y="559"/>
                    <a:pt x="624" y="560"/>
                  </a:cubicBezTo>
                  <a:cubicBezTo>
                    <a:pt x="621" y="560"/>
                    <a:pt x="616" y="562"/>
                    <a:pt x="613" y="564"/>
                  </a:cubicBezTo>
                  <a:cubicBezTo>
                    <a:pt x="607" y="568"/>
                    <a:pt x="599" y="572"/>
                    <a:pt x="593" y="575"/>
                  </a:cubicBezTo>
                  <a:cubicBezTo>
                    <a:pt x="588" y="577"/>
                    <a:pt x="583" y="579"/>
                    <a:pt x="579" y="583"/>
                  </a:cubicBezTo>
                  <a:cubicBezTo>
                    <a:pt x="578" y="584"/>
                    <a:pt x="576" y="585"/>
                    <a:pt x="575" y="586"/>
                  </a:cubicBezTo>
                  <a:cubicBezTo>
                    <a:pt x="572" y="587"/>
                    <a:pt x="571" y="586"/>
                    <a:pt x="569" y="589"/>
                  </a:cubicBezTo>
                  <a:cubicBezTo>
                    <a:pt x="568" y="591"/>
                    <a:pt x="565" y="596"/>
                    <a:pt x="567" y="599"/>
                  </a:cubicBezTo>
                  <a:cubicBezTo>
                    <a:pt x="569" y="601"/>
                    <a:pt x="578" y="601"/>
                    <a:pt x="581" y="601"/>
                  </a:cubicBezTo>
                  <a:cubicBezTo>
                    <a:pt x="583" y="601"/>
                    <a:pt x="586" y="600"/>
                    <a:pt x="588" y="600"/>
                  </a:cubicBezTo>
                  <a:cubicBezTo>
                    <a:pt x="591" y="601"/>
                    <a:pt x="590" y="603"/>
                    <a:pt x="592" y="605"/>
                  </a:cubicBezTo>
                  <a:cubicBezTo>
                    <a:pt x="593" y="606"/>
                    <a:pt x="596" y="607"/>
                    <a:pt x="597" y="607"/>
                  </a:cubicBezTo>
                  <a:cubicBezTo>
                    <a:pt x="600" y="608"/>
                    <a:pt x="601" y="609"/>
                    <a:pt x="603" y="610"/>
                  </a:cubicBezTo>
                  <a:cubicBezTo>
                    <a:pt x="605" y="611"/>
                    <a:pt x="607" y="613"/>
                    <a:pt x="609" y="614"/>
                  </a:cubicBezTo>
                  <a:cubicBezTo>
                    <a:pt x="613" y="616"/>
                    <a:pt x="615" y="612"/>
                    <a:pt x="618" y="610"/>
                  </a:cubicBezTo>
                  <a:cubicBezTo>
                    <a:pt x="623" y="607"/>
                    <a:pt x="625" y="610"/>
                    <a:pt x="625" y="615"/>
                  </a:cubicBezTo>
                  <a:cubicBezTo>
                    <a:pt x="624" y="619"/>
                    <a:pt x="626" y="622"/>
                    <a:pt x="625" y="626"/>
                  </a:cubicBezTo>
                  <a:cubicBezTo>
                    <a:pt x="625" y="629"/>
                    <a:pt x="624" y="629"/>
                    <a:pt x="625" y="631"/>
                  </a:cubicBezTo>
                  <a:cubicBezTo>
                    <a:pt x="626" y="634"/>
                    <a:pt x="628" y="635"/>
                    <a:pt x="628" y="638"/>
                  </a:cubicBezTo>
                  <a:cubicBezTo>
                    <a:pt x="628" y="642"/>
                    <a:pt x="622" y="647"/>
                    <a:pt x="620" y="650"/>
                  </a:cubicBezTo>
                  <a:cubicBezTo>
                    <a:pt x="619" y="651"/>
                    <a:pt x="618" y="652"/>
                    <a:pt x="616" y="653"/>
                  </a:cubicBezTo>
                  <a:cubicBezTo>
                    <a:pt x="614" y="655"/>
                    <a:pt x="611" y="655"/>
                    <a:pt x="612" y="658"/>
                  </a:cubicBezTo>
                  <a:cubicBezTo>
                    <a:pt x="614" y="668"/>
                    <a:pt x="630" y="661"/>
                    <a:pt x="634" y="667"/>
                  </a:cubicBezTo>
                  <a:cubicBezTo>
                    <a:pt x="635" y="668"/>
                    <a:pt x="634" y="670"/>
                    <a:pt x="635" y="671"/>
                  </a:cubicBezTo>
                  <a:cubicBezTo>
                    <a:pt x="636" y="674"/>
                    <a:pt x="639" y="676"/>
                    <a:pt x="642" y="677"/>
                  </a:cubicBezTo>
                  <a:cubicBezTo>
                    <a:pt x="648" y="682"/>
                    <a:pt x="663" y="681"/>
                    <a:pt x="670" y="679"/>
                  </a:cubicBezTo>
                  <a:cubicBezTo>
                    <a:pt x="673" y="678"/>
                    <a:pt x="675" y="677"/>
                    <a:pt x="677" y="676"/>
                  </a:cubicBezTo>
                  <a:cubicBezTo>
                    <a:pt x="681" y="675"/>
                    <a:pt x="684" y="677"/>
                    <a:pt x="684" y="672"/>
                  </a:cubicBezTo>
                  <a:cubicBezTo>
                    <a:pt x="683" y="664"/>
                    <a:pt x="671" y="663"/>
                    <a:pt x="665" y="666"/>
                  </a:cubicBezTo>
                  <a:cubicBezTo>
                    <a:pt x="663" y="662"/>
                    <a:pt x="670" y="661"/>
                    <a:pt x="672" y="660"/>
                  </a:cubicBezTo>
                  <a:cubicBezTo>
                    <a:pt x="676" y="659"/>
                    <a:pt x="678" y="658"/>
                    <a:pt x="681" y="656"/>
                  </a:cubicBezTo>
                  <a:cubicBezTo>
                    <a:pt x="683" y="654"/>
                    <a:pt x="685" y="653"/>
                    <a:pt x="686" y="650"/>
                  </a:cubicBezTo>
                  <a:cubicBezTo>
                    <a:pt x="686" y="647"/>
                    <a:pt x="686" y="642"/>
                    <a:pt x="689" y="640"/>
                  </a:cubicBezTo>
                  <a:cubicBezTo>
                    <a:pt x="692" y="639"/>
                    <a:pt x="696" y="641"/>
                    <a:pt x="699" y="640"/>
                  </a:cubicBezTo>
                  <a:cubicBezTo>
                    <a:pt x="703" y="638"/>
                    <a:pt x="706" y="635"/>
                    <a:pt x="710" y="635"/>
                  </a:cubicBezTo>
                  <a:cubicBezTo>
                    <a:pt x="715" y="635"/>
                    <a:pt x="712" y="637"/>
                    <a:pt x="715" y="639"/>
                  </a:cubicBezTo>
                  <a:cubicBezTo>
                    <a:pt x="718" y="642"/>
                    <a:pt x="721" y="634"/>
                    <a:pt x="722" y="632"/>
                  </a:cubicBezTo>
                  <a:cubicBezTo>
                    <a:pt x="724" y="630"/>
                    <a:pt x="726" y="626"/>
                    <a:pt x="728" y="625"/>
                  </a:cubicBezTo>
                  <a:cubicBezTo>
                    <a:pt x="730" y="623"/>
                    <a:pt x="733" y="625"/>
                    <a:pt x="735" y="622"/>
                  </a:cubicBezTo>
                  <a:cubicBezTo>
                    <a:pt x="740" y="617"/>
                    <a:pt x="742" y="609"/>
                    <a:pt x="750" y="611"/>
                  </a:cubicBezTo>
                  <a:cubicBezTo>
                    <a:pt x="751" y="611"/>
                    <a:pt x="753" y="612"/>
                    <a:pt x="753" y="613"/>
                  </a:cubicBezTo>
                  <a:cubicBezTo>
                    <a:pt x="755" y="613"/>
                    <a:pt x="756" y="614"/>
                    <a:pt x="758" y="614"/>
                  </a:cubicBezTo>
                  <a:cubicBezTo>
                    <a:pt x="761" y="615"/>
                    <a:pt x="764" y="615"/>
                    <a:pt x="767" y="615"/>
                  </a:cubicBezTo>
                  <a:cubicBezTo>
                    <a:pt x="774" y="615"/>
                    <a:pt x="780" y="612"/>
                    <a:pt x="787" y="613"/>
                  </a:cubicBezTo>
                  <a:cubicBezTo>
                    <a:pt x="786" y="613"/>
                    <a:pt x="787" y="614"/>
                    <a:pt x="787" y="615"/>
                  </a:cubicBezTo>
                  <a:cubicBezTo>
                    <a:pt x="789" y="615"/>
                    <a:pt x="791" y="614"/>
                    <a:pt x="793" y="613"/>
                  </a:cubicBezTo>
                  <a:cubicBezTo>
                    <a:pt x="795" y="613"/>
                    <a:pt x="799" y="613"/>
                    <a:pt x="800" y="613"/>
                  </a:cubicBezTo>
                  <a:cubicBezTo>
                    <a:pt x="804" y="611"/>
                    <a:pt x="801" y="604"/>
                    <a:pt x="797" y="605"/>
                  </a:cubicBezTo>
                  <a:cubicBezTo>
                    <a:pt x="794" y="602"/>
                    <a:pt x="797" y="598"/>
                    <a:pt x="800" y="597"/>
                  </a:cubicBezTo>
                  <a:cubicBezTo>
                    <a:pt x="804" y="595"/>
                    <a:pt x="809" y="594"/>
                    <a:pt x="809" y="589"/>
                  </a:cubicBezTo>
                  <a:cubicBezTo>
                    <a:pt x="810" y="589"/>
                    <a:pt x="812" y="590"/>
                    <a:pt x="813" y="590"/>
                  </a:cubicBezTo>
                  <a:cubicBezTo>
                    <a:pt x="815" y="584"/>
                    <a:pt x="804" y="587"/>
                    <a:pt x="802" y="586"/>
                  </a:cubicBezTo>
                  <a:cubicBezTo>
                    <a:pt x="799" y="585"/>
                    <a:pt x="799" y="581"/>
                    <a:pt x="795" y="581"/>
                  </a:cubicBezTo>
                  <a:cubicBezTo>
                    <a:pt x="791" y="580"/>
                    <a:pt x="787" y="583"/>
                    <a:pt x="784" y="585"/>
                  </a:cubicBezTo>
                  <a:cubicBezTo>
                    <a:pt x="782" y="585"/>
                    <a:pt x="783" y="586"/>
                    <a:pt x="781" y="586"/>
                  </a:cubicBezTo>
                  <a:cubicBezTo>
                    <a:pt x="780" y="587"/>
                    <a:pt x="778" y="586"/>
                    <a:pt x="776" y="586"/>
                  </a:cubicBezTo>
                  <a:cubicBezTo>
                    <a:pt x="776" y="587"/>
                    <a:pt x="776" y="587"/>
                    <a:pt x="776" y="588"/>
                  </a:cubicBezTo>
                  <a:cubicBezTo>
                    <a:pt x="774" y="588"/>
                    <a:pt x="771" y="587"/>
                    <a:pt x="769" y="586"/>
                  </a:cubicBezTo>
                  <a:cubicBezTo>
                    <a:pt x="767" y="584"/>
                    <a:pt x="767" y="582"/>
                    <a:pt x="764" y="582"/>
                  </a:cubicBezTo>
                  <a:cubicBezTo>
                    <a:pt x="761" y="581"/>
                    <a:pt x="760" y="585"/>
                    <a:pt x="758" y="587"/>
                  </a:cubicBezTo>
                  <a:cubicBezTo>
                    <a:pt x="757" y="588"/>
                    <a:pt x="756" y="588"/>
                    <a:pt x="755" y="589"/>
                  </a:cubicBezTo>
                  <a:cubicBezTo>
                    <a:pt x="754" y="589"/>
                    <a:pt x="753" y="589"/>
                    <a:pt x="753" y="590"/>
                  </a:cubicBezTo>
                  <a:cubicBezTo>
                    <a:pt x="753" y="590"/>
                    <a:pt x="752" y="591"/>
                    <a:pt x="752" y="591"/>
                  </a:cubicBezTo>
                  <a:cubicBezTo>
                    <a:pt x="751" y="592"/>
                    <a:pt x="750" y="592"/>
                    <a:pt x="749" y="593"/>
                  </a:cubicBezTo>
                  <a:cubicBezTo>
                    <a:pt x="746" y="594"/>
                    <a:pt x="747" y="593"/>
                    <a:pt x="745" y="595"/>
                  </a:cubicBezTo>
                  <a:cubicBezTo>
                    <a:pt x="743" y="597"/>
                    <a:pt x="743" y="598"/>
                    <a:pt x="740" y="599"/>
                  </a:cubicBezTo>
                  <a:cubicBezTo>
                    <a:pt x="734" y="600"/>
                    <a:pt x="730" y="596"/>
                    <a:pt x="726" y="592"/>
                  </a:cubicBezTo>
                  <a:cubicBezTo>
                    <a:pt x="721" y="588"/>
                    <a:pt x="716" y="584"/>
                    <a:pt x="709" y="583"/>
                  </a:cubicBezTo>
                  <a:cubicBezTo>
                    <a:pt x="710" y="582"/>
                    <a:pt x="714" y="582"/>
                    <a:pt x="716" y="579"/>
                  </a:cubicBezTo>
                  <a:cubicBezTo>
                    <a:pt x="719" y="574"/>
                    <a:pt x="713" y="573"/>
                    <a:pt x="709" y="573"/>
                  </a:cubicBezTo>
                  <a:cubicBezTo>
                    <a:pt x="709" y="571"/>
                    <a:pt x="710" y="567"/>
                    <a:pt x="709" y="565"/>
                  </a:cubicBezTo>
                  <a:cubicBezTo>
                    <a:pt x="706" y="562"/>
                    <a:pt x="699" y="563"/>
                    <a:pt x="695" y="563"/>
                  </a:cubicBezTo>
                  <a:cubicBezTo>
                    <a:pt x="695" y="560"/>
                    <a:pt x="695" y="556"/>
                    <a:pt x="694" y="554"/>
                  </a:cubicBezTo>
                  <a:cubicBezTo>
                    <a:pt x="694" y="551"/>
                    <a:pt x="694" y="551"/>
                    <a:pt x="690" y="551"/>
                  </a:cubicBezTo>
                  <a:cubicBezTo>
                    <a:pt x="687" y="551"/>
                    <a:pt x="686" y="552"/>
                    <a:pt x="684" y="554"/>
                  </a:cubicBezTo>
                  <a:cubicBezTo>
                    <a:pt x="683" y="552"/>
                    <a:pt x="680" y="548"/>
                    <a:pt x="678" y="546"/>
                  </a:cubicBezTo>
                  <a:cubicBezTo>
                    <a:pt x="677" y="544"/>
                    <a:pt x="678" y="543"/>
                    <a:pt x="676" y="542"/>
                  </a:cubicBezTo>
                  <a:cubicBezTo>
                    <a:pt x="673" y="540"/>
                    <a:pt x="670" y="542"/>
                    <a:pt x="668" y="542"/>
                  </a:cubicBezTo>
                  <a:cubicBezTo>
                    <a:pt x="665" y="542"/>
                    <a:pt x="662" y="541"/>
                    <a:pt x="660" y="539"/>
                  </a:cubicBezTo>
                  <a:cubicBezTo>
                    <a:pt x="658" y="539"/>
                    <a:pt x="655" y="536"/>
                    <a:pt x="654" y="535"/>
                  </a:cubicBezTo>
                  <a:cubicBezTo>
                    <a:pt x="651" y="535"/>
                    <a:pt x="650" y="537"/>
                    <a:pt x="648" y="538"/>
                  </a:cubicBezTo>
                  <a:cubicBezTo>
                    <a:pt x="646" y="538"/>
                    <a:pt x="644" y="537"/>
                    <a:pt x="641" y="535"/>
                  </a:cubicBezTo>
                  <a:moveTo>
                    <a:pt x="638" y="532"/>
                  </a:moveTo>
                  <a:cubicBezTo>
                    <a:pt x="638" y="532"/>
                    <a:pt x="637" y="532"/>
                    <a:pt x="637" y="532"/>
                  </a:cubicBezTo>
                  <a:cubicBezTo>
                    <a:pt x="637" y="532"/>
                    <a:pt x="638" y="533"/>
                    <a:pt x="638" y="533"/>
                  </a:cubicBezTo>
                  <a:cubicBezTo>
                    <a:pt x="638" y="532"/>
                    <a:pt x="638" y="532"/>
                    <a:pt x="638" y="532"/>
                  </a:cubicBezTo>
                  <a:moveTo>
                    <a:pt x="931" y="441"/>
                  </a:moveTo>
                  <a:cubicBezTo>
                    <a:pt x="929" y="441"/>
                    <a:pt x="928" y="441"/>
                    <a:pt x="927" y="442"/>
                  </a:cubicBezTo>
                  <a:cubicBezTo>
                    <a:pt x="928" y="443"/>
                    <a:pt x="930" y="443"/>
                    <a:pt x="931" y="443"/>
                  </a:cubicBezTo>
                  <a:cubicBezTo>
                    <a:pt x="937" y="443"/>
                    <a:pt x="942" y="442"/>
                    <a:pt x="948" y="438"/>
                  </a:cubicBezTo>
                  <a:cubicBezTo>
                    <a:pt x="944" y="439"/>
                    <a:pt x="942" y="442"/>
                    <a:pt x="939" y="442"/>
                  </a:cubicBezTo>
                  <a:cubicBezTo>
                    <a:pt x="936" y="442"/>
                    <a:pt x="934" y="441"/>
                    <a:pt x="931" y="441"/>
                  </a:cubicBezTo>
                  <a:moveTo>
                    <a:pt x="1024" y="264"/>
                  </a:moveTo>
                  <a:cubicBezTo>
                    <a:pt x="1021" y="260"/>
                    <a:pt x="1014" y="262"/>
                    <a:pt x="1010" y="261"/>
                  </a:cubicBezTo>
                  <a:cubicBezTo>
                    <a:pt x="1010" y="260"/>
                    <a:pt x="1010" y="258"/>
                    <a:pt x="1009" y="257"/>
                  </a:cubicBezTo>
                  <a:cubicBezTo>
                    <a:pt x="1009" y="255"/>
                    <a:pt x="1007" y="255"/>
                    <a:pt x="1008" y="252"/>
                  </a:cubicBezTo>
                  <a:cubicBezTo>
                    <a:pt x="1008" y="250"/>
                    <a:pt x="1009" y="248"/>
                    <a:pt x="1009" y="247"/>
                  </a:cubicBezTo>
                  <a:cubicBezTo>
                    <a:pt x="1010" y="245"/>
                    <a:pt x="1012" y="245"/>
                    <a:pt x="1013" y="244"/>
                  </a:cubicBezTo>
                  <a:cubicBezTo>
                    <a:pt x="1013" y="243"/>
                    <a:pt x="1014" y="240"/>
                    <a:pt x="1013" y="239"/>
                  </a:cubicBezTo>
                  <a:cubicBezTo>
                    <a:pt x="1012" y="238"/>
                    <a:pt x="1008" y="239"/>
                    <a:pt x="1007" y="239"/>
                  </a:cubicBezTo>
                  <a:cubicBezTo>
                    <a:pt x="1004" y="240"/>
                    <a:pt x="1003" y="243"/>
                    <a:pt x="1001" y="244"/>
                  </a:cubicBezTo>
                  <a:cubicBezTo>
                    <a:pt x="997" y="245"/>
                    <a:pt x="991" y="244"/>
                    <a:pt x="988" y="242"/>
                  </a:cubicBezTo>
                  <a:cubicBezTo>
                    <a:pt x="986" y="241"/>
                    <a:pt x="985" y="238"/>
                    <a:pt x="984" y="236"/>
                  </a:cubicBezTo>
                  <a:cubicBezTo>
                    <a:pt x="983" y="235"/>
                    <a:pt x="983" y="232"/>
                    <a:pt x="982" y="231"/>
                  </a:cubicBezTo>
                  <a:cubicBezTo>
                    <a:pt x="980" y="229"/>
                    <a:pt x="975" y="229"/>
                    <a:pt x="972" y="229"/>
                  </a:cubicBezTo>
                  <a:cubicBezTo>
                    <a:pt x="970" y="229"/>
                    <a:pt x="968" y="230"/>
                    <a:pt x="966" y="229"/>
                  </a:cubicBezTo>
                  <a:cubicBezTo>
                    <a:pt x="964" y="229"/>
                    <a:pt x="962" y="226"/>
                    <a:pt x="960" y="225"/>
                  </a:cubicBezTo>
                  <a:cubicBezTo>
                    <a:pt x="957" y="224"/>
                    <a:pt x="953" y="220"/>
                    <a:pt x="950" y="221"/>
                  </a:cubicBezTo>
                  <a:cubicBezTo>
                    <a:pt x="950" y="227"/>
                    <a:pt x="943" y="223"/>
                    <a:pt x="941" y="221"/>
                  </a:cubicBezTo>
                  <a:cubicBezTo>
                    <a:pt x="939" y="219"/>
                    <a:pt x="937" y="219"/>
                    <a:pt x="934" y="217"/>
                  </a:cubicBezTo>
                  <a:cubicBezTo>
                    <a:pt x="929" y="215"/>
                    <a:pt x="931" y="215"/>
                    <a:pt x="930" y="211"/>
                  </a:cubicBezTo>
                  <a:cubicBezTo>
                    <a:pt x="929" y="208"/>
                    <a:pt x="928" y="207"/>
                    <a:pt x="925" y="208"/>
                  </a:cubicBezTo>
                  <a:cubicBezTo>
                    <a:pt x="923" y="209"/>
                    <a:pt x="923" y="212"/>
                    <a:pt x="921" y="213"/>
                  </a:cubicBezTo>
                  <a:cubicBezTo>
                    <a:pt x="917" y="215"/>
                    <a:pt x="916" y="211"/>
                    <a:pt x="913" y="209"/>
                  </a:cubicBezTo>
                  <a:cubicBezTo>
                    <a:pt x="911" y="208"/>
                    <a:pt x="909" y="209"/>
                    <a:pt x="907" y="208"/>
                  </a:cubicBezTo>
                  <a:cubicBezTo>
                    <a:pt x="906" y="206"/>
                    <a:pt x="907" y="204"/>
                    <a:pt x="907" y="202"/>
                  </a:cubicBezTo>
                  <a:cubicBezTo>
                    <a:pt x="898" y="201"/>
                    <a:pt x="904" y="206"/>
                    <a:pt x="901" y="210"/>
                  </a:cubicBezTo>
                  <a:cubicBezTo>
                    <a:pt x="899" y="212"/>
                    <a:pt x="894" y="213"/>
                    <a:pt x="891" y="212"/>
                  </a:cubicBezTo>
                  <a:cubicBezTo>
                    <a:pt x="890" y="212"/>
                    <a:pt x="889" y="209"/>
                    <a:pt x="887" y="208"/>
                  </a:cubicBezTo>
                  <a:cubicBezTo>
                    <a:pt x="885" y="207"/>
                    <a:pt x="882" y="206"/>
                    <a:pt x="879" y="204"/>
                  </a:cubicBezTo>
                  <a:cubicBezTo>
                    <a:pt x="874" y="202"/>
                    <a:pt x="873" y="201"/>
                    <a:pt x="872" y="195"/>
                  </a:cubicBezTo>
                  <a:cubicBezTo>
                    <a:pt x="871" y="190"/>
                    <a:pt x="871" y="177"/>
                    <a:pt x="862" y="182"/>
                  </a:cubicBezTo>
                  <a:cubicBezTo>
                    <a:pt x="863" y="177"/>
                    <a:pt x="859" y="172"/>
                    <a:pt x="855" y="172"/>
                  </a:cubicBezTo>
                  <a:cubicBezTo>
                    <a:pt x="853" y="173"/>
                    <a:pt x="853" y="174"/>
                    <a:pt x="851" y="175"/>
                  </a:cubicBezTo>
                  <a:cubicBezTo>
                    <a:pt x="849" y="176"/>
                    <a:pt x="850" y="177"/>
                    <a:pt x="847" y="177"/>
                  </a:cubicBezTo>
                  <a:cubicBezTo>
                    <a:pt x="843" y="178"/>
                    <a:pt x="840" y="179"/>
                    <a:pt x="836" y="180"/>
                  </a:cubicBezTo>
                  <a:cubicBezTo>
                    <a:pt x="834" y="180"/>
                    <a:pt x="832" y="181"/>
                    <a:pt x="829" y="181"/>
                  </a:cubicBezTo>
                  <a:cubicBezTo>
                    <a:pt x="825" y="182"/>
                    <a:pt x="821" y="184"/>
                    <a:pt x="817" y="187"/>
                  </a:cubicBezTo>
                  <a:cubicBezTo>
                    <a:pt x="815" y="188"/>
                    <a:pt x="815" y="188"/>
                    <a:pt x="814" y="191"/>
                  </a:cubicBezTo>
                  <a:cubicBezTo>
                    <a:pt x="813" y="195"/>
                    <a:pt x="812" y="197"/>
                    <a:pt x="808" y="194"/>
                  </a:cubicBezTo>
                  <a:cubicBezTo>
                    <a:pt x="804" y="192"/>
                    <a:pt x="806" y="182"/>
                    <a:pt x="799" y="185"/>
                  </a:cubicBezTo>
                  <a:cubicBezTo>
                    <a:pt x="796" y="186"/>
                    <a:pt x="797" y="187"/>
                    <a:pt x="794" y="186"/>
                  </a:cubicBezTo>
                  <a:cubicBezTo>
                    <a:pt x="792" y="185"/>
                    <a:pt x="791" y="182"/>
                    <a:pt x="790" y="180"/>
                  </a:cubicBezTo>
                  <a:cubicBezTo>
                    <a:pt x="788" y="179"/>
                    <a:pt x="786" y="178"/>
                    <a:pt x="784" y="178"/>
                  </a:cubicBezTo>
                  <a:cubicBezTo>
                    <a:pt x="780" y="177"/>
                    <a:pt x="777" y="175"/>
                    <a:pt x="773" y="175"/>
                  </a:cubicBezTo>
                  <a:cubicBezTo>
                    <a:pt x="767" y="175"/>
                    <a:pt x="762" y="176"/>
                    <a:pt x="762" y="183"/>
                  </a:cubicBezTo>
                  <a:cubicBezTo>
                    <a:pt x="758" y="184"/>
                    <a:pt x="753" y="175"/>
                    <a:pt x="751" y="173"/>
                  </a:cubicBezTo>
                  <a:cubicBezTo>
                    <a:pt x="747" y="170"/>
                    <a:pt x="741" y="167"/>
                    <a:pt x="742" y="162"/>
                  </a:cubicBezTo>
                  <a:cubicBezTo>
                    <a:pt x="743" y="157"/>
                    <a:pt x="749" y="156"/>
                    <a:pt x="749" y="152"/>
                  </a:cubicBezTo>
                  <a:cubicBezTo>
                    <a:pt x="749" y="151"/>
                    <a:pt x="747" y="148"/>
                    <a:pt x="747" y="147"/>
                  </a:cubicBezTo>
                  <a:cubicBezTo>
                    <a:pt x="746" y="143"/>
                    <a:pt x="745" y="139"/>
                    <a:pt x="744" y="135"/>
                  </a:cubicBezTo>
                  <a:cubicBezTo>
                    <a:pt x="744" y="132"/>
                    <a:pt x="742" y="130"/>
                    <a:pt x="742" y="127"/>
                  </a:cubicBezTo>
                  <a:cubicBezTo>
                    <a:pt x="742" y="125"/>
                    <a:pt x="742" y="124"/>
                    <a:pt x="744" y="123"/>
                  </a:cubicBezTo>
                  <a:cubicBezTo>
                    <a:pt x="740" y="122"/>
                    <a:pt x="736" y="122"/>
                    <a:pt x="733" y="121"/>
                  </a:cubicBezTo>
                  <a:cubicBezTo>
                    <a:pt x="730" y="120"/>
                    <a:pt x="730" y="116"/>
                    <a:pt x="729" y="113"/>
                  </a:cubicBezTo>
                  <a:cubicBezTo>
                    <a:pt x="728" y="110"/>
                    <a:pt x="726" y="108"/>
                    <a:pt x="726" y="106"/>
                  </a:cubicBezTo>
                  <a:cubicBezTo>
                    <a:pt x="721" y="104"/>
                    <a:pt x="720" y="111"/>
                    <a:pt x="716" y="111"/>
                  </a:cubicBezTo>
                  <a:cubicBezTo>
                    <a:pt x="712" y="111"/>
                    <a:pt x="707" y="110"/>
                    <a:pt x="703" y="108"/>
                  </a:cubicBezTo>
                  <a:cubicBezTo>
                    <a:pt x="699" y="106"/>
                    <a:pt x="695" y="103"/>
                    <a:pt x="690" y="104"/>
                  </a:cubicBezTo>
                  <a:cubicBezTo>
                    <a:pt x="689" y="104"/>
                    <a:pt x="688" y="105"/>
                    <a:pt x="686" y="105"/>
                  </a:cubicBezTo>
                  <a:cubicBezTo>
                    <a:pt x="683" y="105"/>
                    <a:pt x="680" y="106"/>
                    <a:pt x="677" y="105"/>
                  </a:cubicBezTo>
                  <a:cubicBezTo>
                    <a:pt x="677" y="103"/>
                    <a:pt x="677" y="99"/>
                    <a:pt x="680" y="99"/>
                  </a:cubicBezTo>
                  <a:cubicBezTo>
                    <a:pt x="680" y="96"/>
                    <a:pt x="671" y="94"/>
                    <a:pt x="672" y="89"/>
                  </a:cubicBezTo>
                  <a:cubicBezTo>
                    <a:pt x="673" y="86"/>
                    <a:pt x="678" y="88"/>
                    <a:pt x="680" y="85"/>
                  </a:cubicBezTo>
                  <a:cubicBezTo>
                    <a:pt x="682" y="83"/>
                    <a:pt x="681" y="77"/>
                    <a:pt x="681" y="74"/>
                  </a:cubicBezTo>
                  <a:cubicBezTo>
                    <a:pt x="678" y="74"/>
                    <a:pt x="672" y="72"/>
                    <a:pt x="670" y="70"/>
                  </a:cubicBezTo>
                  <a:cubicBezTo>
                    <a:pt x="667" y="67"/>
                    <a:pt x="669" y="65"/>
                    <a:pt x="673" y="65"/>
                  </a:cubicBezTo>
                  <a:cubicBezTo>
                    <a:pt x="677" y="64"/>
                    <a:pt x="680" y="65"/>
                    <a:pt x="684" y="65"/>
                  </a:cubicBezTo>
                  <a:cubicBezTo>
                    <a:pt x="687" y="65"/>
                    <a:pt x="687" y="65"/>
                    <a:pt x="690" y="62"/>
                  </a:cubicBezTo>
                  <a:cubicBezTo>
                    <a:pt x="692" y="60"/>
                    <a:pt x="691" y="45"/>
                    <a:pt x="686" y="45"/>
                  </a:cubicBezTo>
                  <a:cubicBezTo>
                    <a:pt x="684" y="45"/>
                    <a:pt x="682" y="45"/>
                    <a:pt x="680" y="45"/>
                  </a:cubicBezTo>
                  <a:cubicBezTo>
                    <a:pt x="678" y="44"/>
                    <a:pt x="678" y="45"/>
                    <a:pt x="677" y="43"/>
                  </a:cubicBezTo>
                  <a:cubicBezTo>
                    <a:pt x="676" y="41"/>
                    <a:pt x="676" y="37"/>
                    <a:pt x="673" y="37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6" y="44"/>
                    <a:pt x="676" y="45"/>
                    <a:pt x="676" y="45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5" y="42"/>
                    <a:pt x="673" y="41"/>
                    <a:pt x="672" y="40"/>
                  </a:cubicBezTo>
                  <a:cubicBezTo>
                    <a:pt x="672" y="39"/>
                    <a:pt x="668" y="36"/>
                    <a:pt x="668" y="35"/>
                  </a:cubicBezTo>
                  <a:cubicBezTo>
                    <a:pt x="666" y="32"/>
                    <a:pt x="668" y="31"/>
                    <a:pt x="669" y="29"/>
                  </a:cubicBezTo>
                  <a:cubicBezTo>
                    <a:pt x="670" y="27"/>
                    <a:pt x="671" y="26"/>
                    <a:pt x="671" y="23"/>
                  </a:cubicBezTo>
                  <a:cubicBezTo>
                    <a:pt x="670" y="19"/>
                    <a:pt x="668" y="21"/>
                    <a:pt x="666" y="19"/>
                  </a:cubicBezTo>
                  <a:cubicBezTo>
                    <a:pt x="665" y="18"/>
                    <a:pt x="664" y="18"/>
                    <a:pt x="664" y="17"/>
                  </a:cubicBezTo>
                  <a:cubicBezTo>
                    <a:pt x="662" y="13"/>
                    <a:pt x="662" y="10"/>
                    <a:pt x="658" y="7"/>
                  </a:cubicBezTo>
                  <a:cubicBezTo>
                    <a:pt x="655" y="4"/>
                    <a:pt x="652" y="0"/>
                    <a:pt x="649" y="6"/>
                  </a:cubicBezTo>
                  <a:cubicBezTo>
                    <a:pt x="646" y="12"/>
                    <a:pt x="647" y="15"/>
                    <a:pt x="639" y="14"/>
                  </a:cubicBezTo>
                  <a:cubicBezTo>
                    <a:pt x="639" y="10"/>
                    <a:pt x="639" y="10"/>
                    <a:pt x="636" y="9"/>
                  </a:cubicBezTo>
                  <a:cubicBezTo>
                    <a:pt x="634" y="8"/>
                    <a:pt x="632" y="8"/>
                    <a:pt x="630" y="8"/>
                  </a:cubicBezTo>
                  <a:cubicBezTo>
                    <a:pt x="629" y="9"/>
                    <a:pt x="629" y="10"/>
                    <a:pt x="628" y="11"/>
                  </a:cubicBezTo>
                  <a:cubicBezTo>
                    <a:pt x="627" y="11"/>
                    <a:pt x="625" y="11"/>
                    <a:pt x="624" y="11"/>
                  </a:cubicBezTo>
                  <a:cubicBezTo>
                    <a:pt x="621" y="11"/>
                    <a:pt x="618" y="10"/>
                    <a:pt x="615" y="11"/>
                  </a:cubicBezTo>
                  <a:cubicBezTo>
                    <a:pt x="615" y="11"/>
                    <a:pt x="612" y="14"/>
                    <a:pt x="612" y="14"/>
                  </a:cubicBezTo>
                  <a:cubicBezTo>
                    <a:pt x="612" y="14"/>
                    <a:pt x="610" y="16"/>
                    <a:pt x="609" y="17"/>
                  </a:cubicBezTo>
                  <a:cubicBezTo>
                    <a:pt x="608" y="18"/>
                    <a:pt x="606" y="18"/>
                    <a:pt x="603" y="17"/>
                  </a:cubicBezTo>
                  <a:cubicBezTo>
                    <a:pt x="601" y="17"/>
                    <a:pt x="600" y="16"/>
                    <a:pt x="598" y="16"/>
                  </a:cubicBezTo>
                  <a:cubicBezTo>
                    <a:pt x="596" y="15"/>
                    <a:pt x="595" y="15"/>
                    <a:pt x="594" y="15"/>
                  </a:cubicBezTo>
                  <a:cubicBezTo>
                    <a:pt x="593" y="15"/>
                    <a:pt x="592" y="15"/>
                    <a:pt x="592" y="15"/>
                  </a:cubicBezTo>
                  <a:cubicBezTo>
                    <a:pt x="591" y="15"/>
                    <a:pt x="590" y="14"/>
                    <a:pt x="590" y="13"/>
                  </a:cubicBezTo>
                  <a:cubicBezTo>
                    <a:pt x="589" y="12"/>
                    <a:pt x="589" y="11"/>
                    <a:pt x="587" y="10"/>
                  </a:cubicBezTo>
                  <a:cubicBezTo>
                    <a:pt x="586" y="9"/>
                    <a:pt x="585" y="9"/>
                    <a:pt x="584" y="9"/>
                  </a:cubicBezTo>
                  <a:cubicBezTo>
                    <a:pt x="582" y="8"/>
                    <a:pt x="584" y="7"/>
                    <a:pt x="582" y="7"/>
                  </a:cubicBezTo>
                  <a:cubicBezTo>
                    <a:pt x="582" y="7"/>
                    <a:pt x="579" y="10"/>
                    <a:pt x="579" y="9"/>
                  </a:cubicBezTo>
                  <a:cubicBezTo>
                    <a:pt x="575" y="14"/>
                    <a:pt x="577" y="17"/>
                    <a:pt x="576" y="23"/>
                  </a:cubicBezTo>
                  <a:cubicBezTo>
                    <a:pt x="576" y="24"/>
                    <a:pt x="575" y="28"/>
                    <a:pt x="574" y="29"/>
                  </a:cubicBezTo>
                  <a:cubicBezTo>
                    <a:pt x="573" y="30"/>
                    <a:pt x="570" y="30"/>
                    <a:pt x="569" y="31"/>
                  </a:cubicBezTo>
                  <a:cubicBezTo>
                    <a:pt x="567" y="33"/>
                    <a:pt x="566" y="35"/>
                    <a:pt x="564" y="36"/>
                  </a:cubicBezTo>
                  <a:cubicBezTo>
                    <a:pt x="561" y="36"/>
                    <a:pt x="554" y="36"/>
                    <a:pt x="552" y="34"/>
                  </a:cubicBezTo>
                  <a:cubicBezTo>
                    <a:pt x="550" y="31"/>
                    <a:pt x="552" y="30"/>
                    <a:pt x="549" y="29"/>
                  </a:cubicBezTo>
                  <a:cubicBezTo>
                    <a:pt x="549" y="30"/>
                    <a:pt x="549" y="30"/>
                    <a:pt x="549" y="31"/>
                  </a:cubicBezTo>
                  <a:cubicBezTo>
                    <a:pt x="548" y="33"/>
                    <a:pt x="545" y="31"/>
                    <a:pt x="543" y="30"/>
                  </a:cubicBezTo>
                  <a:cubicBezTo>
                    <a:pt x="537" y="29"/>
                    <a:pt x="530" y="27"/>
                    <a:pt x="523" y="27"/>
                  </a:cubicBezTo>
                  <a:cubicBezTo>
                    <a:pt x="521" y="27"/>
                    <a:pt x="521" y="27"/>
                    <a:pt x="520" y="29"/>
                  </a:cubicBezTo>
                  <a:cubicBezTo>
                    <a:pt x="519" y="31"/>
                    <a:pt x="517" y="34"/>
                    <a:pt x="516" y="35"/>
                  </a:cubicBezTo>
                  <a:cubicBezTo>
                    <a:pt x="514" y="35"/>
                    <a:pt x="510" y="36"/>
                    <a:pt x="508" y="35"/>
                  </a:cubicBezTo>
                  <a:cubicBezTo>
                    <a:pt x="506" y="34"/>
                    <a:pt x="507" y="34"/>
                    <a:pt x="506" y="33"/>
                  </a:cubicBezTo>
                  <a:cubicBezTo>
                    <a:pt x="505" y="32"/>
                    <a:pt x="504" y="29"/>
                    <a:pt x="502" y="31"/>
                  </a:cubicBezTo>
                  <a:cubicBezTo>
                    <a:pt x="501" y="32"/>
                    <a:pt x="502" y="35"/>
                    <a:pt x="502" y="36"/>
                  </a:cubicBezTo>
                  <a:cubicBezTo>
                    <a:pt x="502" y="38"/>
                    <a:pt x="501" y="40"/>
                    <a:pt x="500" y="42"/>
                  </a:cubicBezTo>
                  <a:cubicBezTo>
                    <a:pt x="499" y="42"/>
                    <a:pt x="499" y="42"/>
                    <a:pt x="498" y="43"/>
                  </a:cubicBezTo>
                  <a:cubicBezTo>
                    <a:pt x="497" y="44"/>
                    <a:pt x="497" y="45"/>
                    <a:pt x="496" y="46"/>
                  </a:cubicBezTo>
                  <a:cubicBezTo>
                    <a:pt x="495" y="48"/>
                    <a:pt x="493" y="51"/>
                    <a:pt x="492" y="52"/>
                  </a:cubicBezTo>
                  <a:cubicBezTo>
                    <a:pt x="491" y="53"/>
                    <a:pt x="490" y="53"/>
                    <a:pt x="490" y="54"/>
                  </a:cubicBezTo>
                  <a:cubicBezTo>
                    <a:pt x="488" y="55"/>
                    <a:pt x="488" y="56"/>
                    <a:pt x="487" y="58"/>
                  </a:cubicBezTo>
                  <a:cubicBezTo>
                    <a:pt x="485" y="61"/>
                    <a:pt x="483" y="64"/>
                    <a:pt x="481" y="67"/>
                  </a:cubicBezTo>
                  <a:cubicBezTo>
                    <a:pt x="476" y="75"/>
                    <a:pt x="478" y="84"/>
                    <a:pt x="480" y="92"/>
                  </a:cubicBezTo>
                  <a:cubicBezTo>
                    <a:pt x="481" y="95"/>
                    <a:pt x="483" y="98"/>
                    <a:pt x="482" y="101"/>
                  </a:cubicBezTo>
                  <a:cubicBezTo>
                    <a:pt x="481" y="103"/>
                    <a:pt x="479" y="106"/>
                    <a:pt x="476" y="105"/>
                  </a:cubicBezTo>
                  <a:cubicBezTo>
                    <a:pt x="474" y="105"/>
                    <a:pt x="473" y="104"/>
                    <a:pt x="472" y="103"/>
                  </a:cubicBezTo>
                  <a:cubicBezTo>
                    <a:pt x="470" y="101"/>
                    <a:pt x="468" y="99"/>
                    <a:pt x="466" y="97"/>
                  </a:cubicBezTo>
                  <a:cubicBezTo>
                    <a:pt x="464" y="94"/>
                    <a:pt x="461" y="94"/>
                    <a:pt x="459" y="92"/>
                  </a:cubicBezTo>
                  <a:cubicBezTo>
                    <a:pt x="457" y="91"/>
                    <a:pt x="456" y="86"/>
                    <a:pt x="453" y="85"/>
                  </a:cubicBezTo>
                  <a:cubicBezTo>
                    <a:pt x="450" y="83"/>
                    <a:pt x="446" y="87"/>
                    <a:pt x="442" y="88"/>
                  </a:cubicBezTo>
                  <a:cubicBezTo>
                    <a:pt x="439" y="88"/>
                    <a:pt x="435" y="88"/>
                    <a:pt x="432" y="88"/>
                  </a:cubicBezTo>
                  <a:cubicBezTo>
                    <a:pt x="432" y="85"/>
                    <a:pt x="431" y="82"/>
                    <a:pt x="428" y="81"/>
                  </a:cubicBezTo>
                  <a:cubicBezTo>
                    <a:pt x="424" y="79"/>
                    <a:pt x="419" y="82"/>
                    <a:pt x="418" y="87"/>
                  </a:cubicBezTo>
                  <a:cubicBezTo>
                    <a:pt x="418" y="89"/>
                    <a:pt x="418" y="90"/>
                    <a:pt x="417" y="92"/>
                  </a:cubicBezTo>
                  <a:cubicBezTo>
                    <a:pt x="416" y="93"/>
                    <a:pt x="416" y="94"/>
                    <a:pt x="414" y="95"/>
                  </a:cubicBezTo>
                  <a:cubicBezTo>
                    <a:pt x="412" y="95"/>
                    <a:pt x="409" y="94"/>
                    <a:pt x="408" y="93"/>
                  </a:cubicBezTo>
                  <a:cubicBezTo>
                    <a:pt x="405" y="90"/>
                    <a:pt x="403" y="83"/>
                    <a:pt x="403" y="79"/>
                  </a:cubicBezTo>
                  <a:cubicBezTo>
                    <a:pt x="402" y="76"/>
                    <a:pt x="400" y="71"/>
                    <a:pt x="395" y="73"/>
                  </a:cubicBezTo>
                  <a:cubicBezTo>
                    <a:pt x="393" y="74"/>
                    <a:pt x="393" y="76"/>
                    <a:pt x="392" y="77"/>
                  </a:cubicBezTo>
                  <a:cubicBezTo>
                    <a:pt x="391" y="79"/>
                    <a:pt x="389" y="80"/>
                    <a:pt x="387" y="80"/>
                  </a:cubicBezTo>
                  <a:cubicBezTo>
                    <a:pt x="385" y="81"/>
                    <a:pt x="384" y="81"/>
                    <a:pt x="382" y="82"/>
                  </a:cubicBezTo>
                  <a:cubicBezTo>
                    <a:pt x="379" y="83"/>
                    <a:pt x="379" y="82"/>
                    <a:pt x="378" y="84"/>
                  </a:cubicBezTo>
                  <a:cubicBezTo>
                    <a:pt x="378" y="86"/>
                    <a:pt x="380" y="91"/>
                    <a:pt x="378" y="92"/>
                  </a:cubicBezTo>
                  <a:cubicBezTo>
                    <a:pt x="377" y="93"/>
                    <a:pt x="374" y="93"/>
                    <a:pt x="372" y="93"/>
                  </a:cubicBezTo>
                  <a:cubicBezTo>
                    <a:pt x="372" y="88"/>
                    <a:pt x="374" y="79"/>
                    <a:pt x="368" y="77"/>
                  </a:cubicBezTo>
                  <a:cubicBezTo>
                    <a:pt x="367" y="77"/>
                    <a:pt x="364" y="77"/>
                    <a:pt x="363" y="77"/>
                  </a:cubicBezTo>
                  <a:cubicBezTo>
                    <a:pt x="361" y="78"/>
                    <a:pt x="360" y="80"/>
                    <a:pt x="359" y="81"/>
                  </a:cubicBezTo>
                  <a:cubicBezTo>
                    <a:pt x="357" y="82"/>
                    <a:pt x="356" y="81"/>
                    <a:pt x="354" y="78"/>
                  </a:cubicBezTo>
                  <a:cubicBezTo>
                    <a:pt x="353" y="75"/>
                    <a:pt x="351" y="66"/>
                    <a:pt x="347" y="66"/>
                  </a:cubicBezTo>
                  <a:cubicBezTo>
                    <a:pt x="344" y="65"/>
                    <a:pt x="343" y="70"/>
                    <a:pt x="343" y="72"/>
                  </a:cubicBezTo>
                  <a:cubicBezTo>
                    <a:pt x="342" y="74"/>
                    <a:pt x="341" y="75"/>
                    <a:pt x="338" y="75"/>
                  </a:cubicBezTo>
                  <a:cubicBezTo>
                    <a:pt x="336" y="75"/>
                    <a:pt x="333" y="72"/>
                    <a:pt x="332" y="73"/>
                  </a:cubicBezTo>
                  <a:cubicBezTo>
                    <a:pt x="330" y="74"/>
                    <a:pt x="331" y="77"/>
                    <a:pt x="331" y="79"/>
                  </a:cubicBezTo>
                  <a:cubicBezTo>
                    <a:pt x="330" y="81"/>
                    <a:pt x="329" y="82"/>
                    <a:pt x="327" y="84"/>
                  </a:cubicBezTo>
                  <a:cubicBezTo>
                    <a:pt x="324" y="86"/>
                    <a:pt x="323" y="86"/>
                    <a:pt x="321" y="83"/>
                  </a:cubicBezTo>
                  <a:cubicBezTo>
                    <a:pt x="320" y="81"/>
                    <a:pt x="319" y="78"/>
                    <a:pt x="318" y="75"/>
                  </a:cubicBezTo>
                  <a:cubicBezTo>
                    <a:pt x="317" y="72"/>
                    <a:pt x="314" y="72"/>
                    <a:pt x="311" y="72"/>
                  </a:cubicBezTo>
                  <a:cubicBezTo>
                    <a:pt x="308" y="72"/>
                    <a:pt x="305" y="75"/>
                    <a:pt x="303" y="74"/>
                  </a:cubicBezTo>
                  <a:cubicBezTo>
                    <a:pt x="302" y="73"/>
                    <a:pt x="302" y="72"/>
                    <a:pt x="302" y="71"/>
                  </a:cubicBezTo>
                  <a:cubicBezTo>
                    <a:pt x="301" y="70"/>
                    <a:pt x="301" y="70"/>
                    <a:pt x="300" y="68"/>
                  </a:cubicBezTo>
                  <a:cubicBezTo>
                    <a:pt x="300" y="67"/>
                    <a:pt x="300" y="67"/>
                    <a:pt x="299" y="66"/>
                  </a:cubicBezTo>
                  <a:cubicBezTo>
                    <a:pt x="299" y="65"/>
                    <a:pt x="298" y="64"/>
                    <a:pt x="298" y="64"/>
                  </a:cubicBezTo>
                  <a:cubicBezTo>
                    <a:pt x="297" y="62"/>
                    <a:pt x="297" y="60"/>
                    <a:pt x="296" y="59"/>
                  </a:cubicBezTo>
                  <a:cubicBezTo>
                    <a:pt x="291" y="53"/>
                    <a:pt x="284" y="62"/>
                    <a:pt x="279" y="61"/>
                  </a:cubicBezTo>
                  <a:cubicBezTo>
                    <a:pt x="276" y="60"/>
                    <a:pt x="274" y="58"/>
                    <a:pt x="272" y="57"/>
                  </a:cubicBezTo>
                  <a:cubicBezTo>
                    <a:pt x="270" y="56"/>
                    <a:pt x="267" y="55"/>
                    <a:pt x="265" y="54"/>
                  </a:cubicBezTo>
                  <a:cubicBezTo>
                    <a:pt x="262" y="54"/>
                    <a:pt x="259" y="54"/>
                    <a:pt x="255" y="54"/>
                  </a:cubicBezTo>
                  <a:cubicBezTo>
                    <a:pt x="253" y="55"/>
                    <a:pt x="250" y="56"/>
                    <a:pt x="248" y="55"/>
                  </a:cubicBezTo>
                  <a:cubicBezTo>
                    <a:pt x="246" y="54"/>
                    <a:pt x="247" y="51"/>
                    <a:pt x="244" y="50"/>
                  </a:cubicBezTo>
                  <a:cubicBezTo>
                    <a:pt x="243" y="49"/>
                    <a:pt x="240" y="50"/>
                    <a:pt x="239" y="50"/>
                  </a:cubicBezTo>
                  <a:cubicBezTo>
                    <a:pt x="237" y="50"/>
                    <a:pt x="235" y="49"/>
                    <a:pt x="234" y="49"/>
                  </a:cubicBezTo>
                  <a:cubicBezTo>
                    <a:pt x="231" y="48"/>
                    <a:pt x="229" y="48"/>
                    <a:pt x="227" y="48"/>
                  </a:cubicBezTo>
                  <a:cubicBezTo>
                    <a:pt x="226" y="48"/>
                    <a:pt x="224" y="48"/>
                    <a:pt x="223" y="47"/>
                  </a:cubicBezTo>
                  <a:cubicBezTo>
                    <a:pt x="222" y="47"/>
                    <a:pt x="221" y="46"/>
                    <a:pt x="220" y="46"/>
                  </a:cubicBezTo>
                  <a:cubicBezTo>
                    <a:pt x="219" y="45"/>
                    <a:pt x="216" y="46"/>
                    <a:pt x="214" y="46"/>
                  </a:cubicBezTo>
                  <a:cubicBezTo>
                    <a:pt x="210" y="46"/>
                    <a:pt x="206" y="45"/>
                    <a:pt x="202" y="45"/>
                  </a:cubicBezTo>
                  <a:cubicBezTo>
                    <a:pt x="198" y="45"/>
                    <a:pt x="194" y="44"/>
                    <a:pt x="190" y="44"/>
                  </a:cubicBezTo>
                  <a:cubicBezTo>
                    <a:pt x="188" y="44"/>
                    <a:pt x="187" y="44"/>
                    <a:pt x="185" y="44"/>
                  </a:cubicBezTo>
                  <a:cubicBezTo>
                    <a:pt x="182" y="43"/>
                    <a:pt x="179" y="46"/>
                    <a:pt x="176" y="46"/>
                  </a:cubicBezTo>
                  <a:cubicBezTo>
                    <a:pt x="174" y="47"/>
                    <a:pt x="172" y="47"/>
                    <a:pt x="171" y="47"/>
                  </a:cubicBezTo>
                  <a:cubicBezTo>
                    <a:pt x="169" y="47"/>
                    <a:pt x="167" y="45"/>
                    <a:pt x="165" y="45"/>
                  </a:cubicBezTo>
                  <a:cubicBezTo>
                    <a:pt x="163" y="44"/>
                    <a:pt x="161" y="44"/>
                    <a:pt x="159" y="44"/>
                  </a:cubicBezTo>
                  <a:cubicBezTo>
                    <a:pt x="156" y="43"/>
                    <a:pt x="153" y="44"/>
                    <a:pt x="151" y="46"/>
                  </a:cubicBezTo>
                  <a:cubicBezTo>
                    <a:pt x="151" y="46"/>
                    <a:pt x="149" y="48"/>
                    <a:pt x="149" y="48"/>
                  </a:cubicBezTo>
                  <a:cubicBezTo>
                    <a:pt x="148" y="48"/>
                    <a:pt x="147" y="48"/>
                    <a:pt x="146" y="48"/>
                  </a:cubicBezTo>
                  <a:cubicBezTo>
                    <a:pt x="145" y="48"/>
                    <a:pt x="143" y="49"/>
                    <a:pt x="142" y="51"/>
                  </a:cubicBezTo>
                  <a:cubicBezTo>
                    <a:pt x="139" y="54"/>
                    <a:pt x="141" y="57"/>
                    <a:pt x="139" y="60"/>
                  </a:cubicBezTo>
                  <a:cubicBezTo>
                    <a:pt x="138" y="64"/>
                    <a:pt x="133" y="64"/>
                    <a:pt x="131" y="66"/>
                  </a:cubicBezTo>
                  <a:cubicBezTo>
                    <a:pt x="128" y="68"/>
                    <a:pt x="127" y="68"/>
                    <a:pt x="124" y="68"/>
                  </a:cubicBezTo>
                  <a:cubicBezTo>
                    <a:pt x="121" y="69"/>
                    <a:pt x="118" y="70"/>
                    <a:pt x="115" y="70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6" y="71"/>
                    <a:pt x="116" y="74"/>
                    <a:pt x="117" y="76"/>
                  </a:cubicBezTo>
                  <a:cubicBezTo>
                    <a:pt x="117" y="78"/>
                    <a:pt x="117" y="79"/>
                    <a:pt x="117" y="81"/>
                  </a:cubicBezTo>
                  <a:cubicBezTo>
                    <a:pt x="117" y="84"/>
                    <a:pt x="118" y="87"/>
                    <a:pt x="119" y="90"/>
                  </a:cubicBezTo>
                  <a:cubicBezTo>
                    <a:pt x="120" y="94"/>
                    <a:pt x="122" y="97"/>
                    <a:pt x="124" y="101"/>
                  </a:cubicBezTo>
                  <a:cubicBezTo>
                    <a:pt x="124" y="103"/>
                    <a:pt x="125" y="104"/>
                    <a:pt x="126" y="106"/>
                  </a:cubicBezTo>
                  <a:cubicBezTo>
                    <a:pt x="126" y="107"/>
                    <a:pt x="126" y="107"/>
                    <a:pt x="127" y="108"/>
                  </a:cubicBezTo>
                  <a:cubicBezTo>
                    <a:pt x="127" y="108"/>
                    <a:pt x="127" y="109"/>
                    <a:pt x="127" y="109"/>
                  </a:cubicBezTo>
                  <a:cubicBezTo>
                    <a:pt x="127" y="110"/>
                    <a:pt x="127" y="111"/>
                    <a:pt x="128" y="111"/>
                  </a:cubicBezTo>
                  <a:cubicBezTo>
                    <a:pt x="129" y="111"/>
                    <a:pt x="130" y="111"/>
                    <a:pt x="130" y="111"/>
                  </a:cubicBezTo>
                  <a:cubicBezTo>
                    <a:pt x="131" y="112"/>
                    <a:pt x="132" y="115"/>
                    <a:pt x="132" y="116"/>
                  </a:cubicBezTo>
                  <a:cubicBezTo>
                    <a:pt x="134" y="119"/>
                    <a:pt x="136" y="122"/>
                    <a:pt x="138" y="124"/>
                  </a:cubicBezTo>
                  <a:cubicBezTo>
                    <a:pt x="138" y="126"/>
                    <a:pt x="138" y="128"/>
                    <a:pt x="139" y="130"/>
                  </a:cubicBezTo>
                  <a:cubicBezTo>
                    <a:pt x="140" y="131"/>
                    <a:pt x="140" y="130"/>
                    <a:pt x="141" y="132"/>
                  </a:cubicBezTo>
                  <a:cubicBezTo>
                    <a:pt x="141" y="133"/>
                    <a:pt x="141" y="134"/>
                    <a:pt x="140" y="135"/>
                  </a:cubicBezTo>
                  <a:cubicBezTo>
                    <a:pt x="140" y="135"/>
                    <a:pt x="125" y="134"/>
                    <a:pt x="129" y="139"/>
                  </a:cubicBezTo>
                  <a:cubicBezTo>
                    <a:pt x="129" y="139"/>
                    <a:pt x="131" y="140"/>
                    <a:pt x="132" y="140"/>
                  </a:cubicBezTo>
                  <a:cubicBezTo>
                    <a:pt x="132" y="140"/>
                    <a:pt x="134" y="141"/>
                    <a:pt x="135" y="142"/>
                  </a:cubicBezTo>
                  <a:cubicBezTo>
                    <a:pt x="136" y="144"/>
                    <a:pt x="136" y="145"/>
                    <a:pt x="136" y="147"/>
                  </a:cubicBezTo>
                  <a:cubicBezTo>
                    <a:pt x="136" y="152"/>
                    <a:pt x="136" y="157"/>
                    <a:pt x="136" y="162"/>
                  </a:cubicBezTo>
                  <a:cubicBezTo>
                    <a:pt x="136" y="162"/>
                    <a:pt x="135" y="163"/>
                    <a:pt x="135" y="164"/>
                  </a:cubicBezTo>
                  <a:cubicBezTo>
                    <a:pt x="136" y="163"/>
                    <a:pt x="136" y="163"/>
                    <a:pt x="136" y="162"/>
                  </a:cubicBezTo>
                  <a:cubicBezTo>
                    <a:pt x="136" y="162"/>
                    <a:pt x="136" y="161"/>
                    <a:pt x="136" y="161"/>
                  </a:cubicBezTo>
                  <a:cubicBezTo>
                    <a:pt x="136" y="161"/>
                    <a:pt x="136" y="162"/>
                    <a:pt x="136" y="162"/>
                  </a:cubicBezTo>
                  <a:cubicBezTo>
                    <a:pt x="136" y="165"/>
                    <a:pt x="137" y="169"/>
                    <a:pt x="135" y="170"/>
                  </a:cubicBezTo>
                  <a:cubicBezTo>
                    <a:pt x="134" y="171"/>
                    <a:pt x="128" y="170"/>
                    <a:pt x="126" y="170"/>
                  </a:cubicBezTo>
                  <a:cubicBezTo>
                    <a:pt x="120" y="170"/>
                    <a:pt x="114" y="172"/>
                    <a:pt x="109" y="176"/>
                  </a:cubicBezTo>
                  <a:cubicBezTo>
                    <a:pt x="105" y="178"/>
                    <a:pt x="101" y="183"/>
                    <a:pt x="98" y="186"/>
                  </a:cubicBezTo>
                  <a:cubicBezTo>
                    <a:pt x="96" y="190"/>
                    <a:pt x="92" y="192"/>
                    <a:pt x="90" y="196"/>
                  </a:cubicBezTo>
                  <a:cubicBezTo>
                    <a:pt x="89" y="197"/>
                    <a:pt x="87" y="197"/>
                    <a:pt x="86" y="199"/>
                  </a:cubicBezTo>
                  <a:cubicBezTo>
                    <a:pt x="85" y="199"/>
                    <a:pt x="85" y="201"/>
                    <a:pt x="85" y="203"/>
                  </a:cubicBezTo>
                  <a:cubicBezTo>
                    <a:pt x="84" y="203"/>
                    <a:pt x="84" y="204"/>
                    <a:pt x="84" y="204"/>
                  </a:cubicBezTo>
                  <a:cubicBezTo>
                    <a:pt x="84" y="205"/>
                    <a:pt x="84" y="206"/>
                    <a:pt x="84" y="206"/>
                  </a:cubicBezTo>
                  <a:cubicBezTo>
                    <a:pt x="83" y="207"/>
                    <a:pt x="82" y="209"/>
                    <a:pt x="81" y="211"/>
                  </a:cubicBezTo>
                  <a:cubicBezTo>
                    <a:pt x="78" y="216"/>
                    <a:pt x="75" y="220"/>
                    <a:pt x="72" y="225"/>
                  </a:cubicBezTo>
                  <a:cubicBezTo>
                    <a:pt x="71" y="228"/>
                    <a:pt x="69" y="231"/>
                    <a:pt x="68" y="233"/>
                  </a:cubicBezTo>
                  <a:cubicBezTo>
                    <a:pt x="68" y="234"/>
                    <a:pt x="67" y="235"/>
                    <a:pt x="66" y="235"/>
                  </a:cubicBezTo>
                  <a:cubicBezTo>
                    <a:pt x="65" y="237"/>
                    <a:pt x="64" y="237"/>
                    <a:pt x="62" y="238"/>
                  </a:cubicBezTo>
                  <a:cubicBezTo>
                    <a:pt x="61" y="239"/>
                    <a:pt x="60" y="241"/>
                    <a:pt x="58" y="242"/>
                  </a:cubicBezTo>
                  <a:cubicBezTo>
                    <a:pt x="57" y="244"/>
                    <a:pt x="57" y="242"/>
                    <a:pt x="57" y="244"/>
                  </a:cubicBezTo>
                  <a:cubicBezTo>
                    <a:pt x="57" y="244"/>
                    <a:pt x="57" y="245"/>
                    <a:pt x="57" y="246"/>
                  </a:cubicBezTo>
                  <a:cubicBezTo>
                    <a:pt x="57" y="247"/>
                    <a:pt x="57" y="247"/>
                    <a:pt x="57" y="248"/>
                  </a:cubicBezTo>
                  <a:cubicBezTo>
                    <a:pt x="58" y="251"/>
                    <a:pt x="59" y="252"/>
                    <a:pt x="59" y="254"/>
                  </a:cubicBezTo>
                  <a:cubicBezTo>
                    <a:pt x="59" y="255"/>
                    <a:pt x="59" y="257"/>
                    <a:pt x="59" y="258"/>
                  </a:cubicBezTo>
                  <a:cubicBezTo>
                    <a:pt x="60" y="258"/>
                    <a:pt x="60" y="259"/>
                    <a:pt x="61" y="259"/>
                  </a:cubicBezTo>
                  <a:cubicBezTo>
                    <a:pt x="62" y="261"/>
                    <a:pt x="61" y="264"/>
                    <a:pt x="61" y="266"/>
                  </a:cubicBezTo>
                  <a:cubicBezTo>
                    <a:pt x="61" y="269"/>
                    <a:pt x="60" y="274"/>
                    <a:pt x="64" y="275"/>
                  </a:cubicBezTo>
                  <a:cubicBezTo>
                    <a:pt x="65" y="275"/>
                    <a:pt x="66" y="275"/>
                    <a:pt x="66" y="275"/>
                  </a:cubicBezTo>
                  <a:cubicBezTo>
                    <a:pt x="67" y="275"/>
                    <a:pt x="67" y="276"/>
                    <a:pt x="67" y="276"/>
                  </a:cubicBezTo>
                  <a:cubicBezTo>
                    <a:pt x="68" y="277"/>
                    <a:pt x="68" y="277"/>
                    <a:pt x="69" y="277"/>
                  </a:cubicBezTo>
                  <a:cubicBezTo>
                    <a:pt x="69" y="280"/>
                    <a:pt x="72" y="282"/>
                    <a:pt x="71" y="285"/>
                  </a:cubicBezTo>
                  <a:cubicBezTo>
                    <a:pt x="69" y="285"/>
                    <a:pt x="65" y="285"/>
                    <a:pt x="63" y="285"/>
                  </a:cubicBezTo>
                  <a:cubicBezTo>
                    <a:pt x="62" y="284"/>
                    <a:pt x="62" y="283"/>
                    <a:pt x="61" y="283"/>
                  </a:cubicBezTo>
                  <a:cubicBezTo>
                    <a:pt x="60" y="283"/>
                    <a:pt x="59" y="283"/>
                    <a:pt x="58" y="283"/>
                  </a:cubicBezTo>
                  <a:cubicBezTo>
                    <a:pt x="55" y="283"/>
                    <a:pt x="54" y="282"/>
                    <a:pt x="52" y="280"/>
                  </a:cubicBezTo>
                  <a:cubicBezTo>
                    <a:pt x="52" y="281"/>
                    <a:pt x="52" y="281"/>
                    <a:pt x="51" y="281"/>
                  </a:cubicBezTo>
                  <a:cubicBezTo>
                    <a:pt x="51" y="283"/>
                    <a:pt x="50" y="284"/>
                    <a:pt x="50" y="285"/>
                  </a:cubicBezTo>
                  <a:cubicBezTo>
                    <a:pt x="47" y="289"/>
                    <a:pt x="44" y="290"/>
                    <a:pt x="40" y="291"/>
                  </a:cubicBezTo>
                  <a:cubicBezTo>
                    <a:pt x="39" y="291"/>
                    <a:pt x="37" y="291"/>
                    <a:pt x="35" y="291"/>
                  </a:cubicBezTo>
                  <a:cubicBezTo>
                    <a:pt x="33" y="291"/>
                    <a:pt x="31" y="290"/>
                    <a:pt x="29" y="290"/>
                  </a:cubicBezTo>
                  <a:cubicBezTo>
                    <a:pt x="28" y="290"/>
                    <a:pt x="27" y="291"/>
                    <a:pt x="25" y="291"/>
                  </a:cubicBezTo>
                  <a:cubicBezTo>
                    <a:pt x="24" y="292"/>
                    <a:pt x="21" y="291"/>
                    <a:pt x="20" y="292"/>
                  </a:cubicBezTo>
                  <a:cubicBezTo>
                    <a:pt x="19" y="292"/>
                    <a:pt x="18" y="293"/>
                    <a:pt x="18" y="293"/>
                  </a:cubicBezTo>
                  <a:cubicBezTo>
                    <a:pt x="17" y="294"/>
                    <a:pt x="18" y="294"/>
                    <a:pt x="17" y="295"/>
                  </a:cubicBezTo>
                  <a:cubicBezTo>
                    <a:pt x="17" y="297"/>
                    <a:pt x="15" y="299"/>
                    <a:pt x="14" y="300"/>
                  </a:cubicBezTo>
                  <a:cubicBezTo>
                    <a:pt x="13" y="302"/>
                    <a:pt x="12" y="303"/>
                    <a:pt x="12" y="305"/>
                  </a:cubicBezTo>
                  <a:cubicBezTo>
                    <a:pt x="11" y="307"/>
                    <a:pt x="11" y="308"/>
                    <a:pt x="11" y="310"/>
                  </a:cubicBezTo>
                  <a:cubicBezTo>
                    <a:pt x="11" y="311"/>
                    <a:pt x="9" y="313"/>
                    <a:pt x="9" y="314"/>
                  </a:cubicBezTo>
                  <a:cubicBezTo>
                    <a:pt x="8" y="315"/>
                    <a:pt x="7" y="317"/>
                    <a:pt x="7" y="318"/>
                  </a:cubicBezTo>
                  <a:cubicBezTo>
                    <a:pt x="6" y="320"/>
                    <a:pt x="6" y="321"/>
                    <a:pt x="5" y="322"/>
                  </a:cubicBezTo>
                  <a:cubicBezTo>
                    <a:pt x="5" y="324"/>
                    <a:pt x="4" y="324"/>
                    <a:pt x="4" y="326"/>
                  </a:cubicBezTo>
                  <a:cubicBezTo>
                    <a:pt x="4" y="328"/>
                    <a:pt x="4" y="327"/>
                    <a:pt x="3" y="328"/>
                  </a:cubicBezTo>
                  <a:cubicBezTo>
                    <a:pt x="2" y="329"/>
                    <a:pt x="1" y="330"/>
                    <a:pt x="0" y="331"/>
                  </a:cubicBezTo>
                  <a:cubicBezTo>
                    <a:pt x="20" y="353"/>
                    <a:pt x="20" y="353"/>
                    <a:pt x="20" y="353"/>
                  </a:cubicBezTo>
                  <a:cubicBezTo>
                    <a:pt x="22" y="353"/>
                    <a:pt x="22" y="353"/>
                    <a:pt x="23" y="354"/>
                  </a:cubicBezTo>
                  <a:cubicBezTo>
                    <a:pt x="23" y="355"/>
                    <a:pt x="23" y="356"/>
                    <a:pt x="23" y="357"/>
                  </a:cubicBezTo>
                  <a:cubicBezTo>
                    <a:pt x="23" y="359"/>
                    <a:pt x="22" y="362"/>
                    <a:pt x="24" y="362"/>
                  </a:cubicBezTo>
                  <a:cubicBezTo>
                    <a:pt x="25" y="360"/>
                    <a:pt x="28" y="362"/>
                    <a:pt x="31" y="362"/>
                  </a:cubicBezTo>
                  <a:cubicBezTo>
                    <a:pt x="32" y="362"/>
                    <a:pt x="33" y="362"/>
                    <a:pt x="34" y="362"/>
                  </a:cubicBezTo>
                  <a:cubicBezTo>
                    <a:pt x="35" y="363"/>
                    <a:pt x="36" y="363"/>
                    <a:pt x="37" y="363"/>
                  </a:cubicBezTo>
                  <a:cubicBezTo>
                    <a:pt x="37" y="364"/>
                    <a:pt x="38" y="364"/>
                    <a:pt x="39" y="365"/>
                  </a:cubicBezTo>
                  <a:cubicBezTo>
                    <a:pt x="39" y="366"/>
                    <a:pt x="39" y="368"/>
                    <a:pt x="39" y="369"/>
                  </a:cubicBezTo>
                  <a:cubicBezTo>
                    <a:pt x="39" y="370"/>
                    <a:pt x="39" y="371"/>
                    <a:pt x="39" y="372"/>
                  </a:cubicBezTo>
                  <a:cubicBezTo>
                    <a:pt x="42" y="371"/>
                    <a:pt x="46" y="373"/>
                    <a:pt x="49" y="372"/>
                  </a:cubicBezTo>
                  <a:cubicBezTo>
                    <a:pt x="50" y="371"/>
                    <a:pt x="51" y="370"/>
                    <a:pt x="52" y="369"/>
                  </a:cubicBezTo>
                  <a:cubicBezTo>
                    <a:pt x="53" y="368"/>
                    <a:pt x="54" y="367"/>
                    <a:pt x="56" y="366"/>
                  </a:cubicBezTo>
                  <a:cubicBezTo>
                    <a:pt x="59" y="364"/>
                    <a:pt x="62" y="365"/>
                    <a:pt x="64" y="367"/>
                  </a:cubicBezTo>
                  <a:cubicBezTo>
                    <a:pt x="66" y="370"/>
                    <a:pt x="65" y="372"/>
                    <a:pt x="69" y="373"/>
                  </a:cubicBezTo>
                  <a:cubicBezTo>
                    <a:pt x="73" y="373"/>
                    <a:pt x="76" y="372"/>
                    <a:pt x="80" y="372"/>
                  </a:cubicBezTo>
                  <a:cubicBezTo>
                    <a:pt x="81" y="372"/>
                    <a:pt x="83" y="371"/>
                    <a:pt x="85" y="373"/>
                  </a:cubicBezTo>
                  <a:cubicBezTo>
                    <a:pt x="86" y="373"/>
                    <a:pt x="88" y="377"/>
                    <a:pt x="88" y="378"/>
                  </a:cubicBezTo>
                  <a:cubicBezTo>
                    <a:pt x="89" y="376"/>
                    <a:pt x="89" y="375"/>
                    <a:pt x="91" y="375"/>
                  </a:cubicBezTo>
                  <a:cubicBezTo>
                    <a:pt x="93" y="375"/>
                    <a:pt x="95" y="375"/>
                    <a:pt x="97" y="375"/>
                  </a:cubicBezTo>
                  <a:cubicBezTo>
                    <a:pt x="99" y="375"/>
                    <a:pt x="104" y="375"/>
                    <a:pt x="106" y="376"/>
                  </a:cubicBezTo>
                  <a:cubicBezTo>
                    <a:pt x="107" y="377"/>
                    <a:pt x="107" y="378"/>
                    <a:pt x="108" y="378"/>
                  </a:cubicBezTo>
                  <a:cubicBezTo>
                    <a:pt x="108" y="378"/>
                    <a:pt x="109" y="378"/>
                    <a:pt x="110" y="378"/>
                  </a:cubicBezTo>
                  <a:cubicBezTo>
                    <a:pt x="114" y="380"/>
                    <a:pt x="117" y="380"/>
                    <a:pt x="122" y="378"/>
                  </a:cubicBezTo>
                  <a:cubicBezTo>
                    <a:pt x="123" y="378"/>
                    <a:pt x="133" y="374"/>
                    <a:pt x="132" y="378"/>
                  </a:cubicBezTo>
                  <a:cubicBezTo>
                    <a:pt x="135" y="378"/>
                    <a:pt x="134" y="379"/>
                    <a:pt x="135" y="380"/>
                  </a:cubicBezTo>
                  <a:cubicBezTo>
                    <a:pt x="136" y="381"/>
                    <a:pt x="138" y="382"/>
                    <a:pt x="139" y="383"/>
                  </a:cubicBezTo>
                  <a:cubicBezTo>
                    <a:pt x="140" y="384"/>
                    <a:pt x="141" y="386"/>
                    <a:pt x="143" y="388"/>
                  </a:cubicBezTo>
                  <a:cubicBezTo>
                    <a:pt x="147" y="391"/>
                    <a:pt x="153" y="393"/>
                    <a:pt x="158" y="391"/>
                  </a:cubicBezTo>
                  <a:cubicBezTo>
                    <a:pt x="161" y="390"/>
                    <a:pt x="162" y="386"/>
                    <a:pt x="163" y="384"/>
                  </a:cubicBezTo>
                  <a:cubicBezTo>
                    <a:pt x="165" y="381"/>
                    <a:pt x="166" y="379"/>
                    <a:pt x="170" y="379"/>
                  </a:cubicBezTo>
                  <a:cubicBezTo>
                    <a:pt x="175" y="379"/>
                    <a:pt x="181" y="379"/>
                    <a:pt x="187" y="379"/>
                  </a:cubicBezTo>
                  <a:cubicBezTo>
                    <a:pt x="187" y="379"/>
                    <a:pt x="189" y="379"/>
                    <a:pt x="189" y="379"/>
                  </a:cubicBezTo>
                  <a:cubicBezTo>
                    <a:pt x="190" y="379"/>
                    <a:pt x="190" y="378"/>
                    <a:pt x="190" y="378"/>
                  </a:cubicBezTo>
                  <a:cubicBezTo>
                    <a:pt x="192" y="377"/>
                    <a:pt x="195" y="376"/>
                    <a:pt x="197" y="376"/>
                  </a:cubicBezTo>
                  <a:cubicBezTo>
                    <a:pt x="202" y="376"/>
                    <a:pt x="207" y="374"/>
                    <a:pt x="211" y="374"/>
                  </a:cubicBezTo>
                  <a:cubicBezTo>
                    <a:pt x="215" y="374"/>
                    <a:pt x="216" y="375"/>
                    <a:pt x="218" y="372"/>
                  </a:cubicBezTo>
                  <a:cubicBezTo>
                    <a:pt x="220" y="370"/>
                    <a:pt x="220" y="367"/>
                    <a:pt x="222" y="365"/>
                  </a:cubicBezTo>
                  <a:cubicBezTo>
                    <a:pt x="223" y="362"/>
                    <a:pt x="227" y="360"/>
                    <a:pt x="230" y="359"/>
                  </a:cubicBezTo>
                  <a:cubicBezTo>
                    <a:pt x="233" y="357"/>
                    <a:pt x="235" y="356"/>
                    <a:pt x="238" y="355"/>
                  </a:cubicBezTo>
                  <a:cubicBezTo>
                    <a:pt x="238" y="355"/>
                    <a:pt x="238" y="355"/>
                    <a:pt x="238" y="355"/>
                  </a:cubicBezTo>
                  <a:cubicBezTo>
                    <a:pt x="241" y="354"/>
                    <a:pt x="244" y="351"/>
                    <a:pt x="248" y="351"/>
                  </a:cubicBezTo>
                  <a:cubicBezTo>
                    <a:pt x="248" y="350"/>
                    <a:pt x="248" y="350"/>
                    <a:pt x="248" y="350"/>
                  </a:cubicBezTo>
                  <a:cubicBezTo>
                    <a:pt x="249" y="349"/>
                    <a:pt x="249" y="349"/>
                    <a:pt x="250" y="348"/>
                  </a:cubicBezTo>
                  <a:cubicBezTo>
                    <a:pt x="250" y="347"/>
                    <a:pt x="250" y="346"/>
                    <a:pt x="250" y="345"/>
                  </a:cubicBezTo>
                  <a:cubicBezTo>
                    <a:pt x="250" y="344"/>
                    <a:pt x="249" y="344"/>
                    <a:pt x="249" y="343"/>
                  </a:cubicBezTo>
                  <a:cubicBezTo>
                    <a:pt x="249" y="342"/>
                    <a:pt x="249" y="341"/>
                    <a:pt x="249" y="340"/>
                  </a:cubicBezTo>
                  <a:cubicBezTo>
                    <a:pt x="249" y="338"/>
                    <a:pt x="250" y="338"/>
                    <a:pt x="252" y="337"/>
                  </a:cubicBezTo>
                  <a:cubicBezTo>
                    <a:pt x="252" y="337"/>
                    <a:pt x="253" y="337"/>
                    <a:pt x="254" y="337"/>
                  </a:cubicBezTo>
                  <a:cubicBezTo>
                    <a:pt x="255" y="337"/>
                    <a:pt x="254" y="340"/>
                    <a:pt x="256" y="340"/>
                  </a:cubicBezTo>
                  <a:cubicBezTo>
                    <a:pt x="257" y="341"/>
                    <a:pt x="258" y="340"/>
                    <a:pt x="259" y="341"/>
                  </a:cubicBezTo>
                  <a:cubicBezTo>
                    <a:pt x="260" y="341"/>
                    <a:pt x="260" y="342"/>
                    <a:pt x="260" y="343"/>
                  </a:cubicBezTo>
                  <a:cubicBezTo>
                    <a:pt x="261" y="344"/>
                    <a:pt x="262" y="344"/>
                    <a:pt x="263" y="343"/>
                  </a:cubicBezTo>
                  <a:cubicBezTo>
                    <a:pt x="266" y="342"/>
                    <a:pt x="266" y="341"/>
                    <a:pt x="267" y="339"/>
                  </a:cubicBezTo>
                  <a:cubicBezTo>
                    <a:pt x="267" y="337"/>
                    <a:pt x="267" y="337"/>
                    <a:pt x="269" y="338"/>
                  </a:cubicBezTo>
                  <a:cubicBezTo>
                    <a:pt x="271" y="338"/>
                    <a:pt x="272" y="339"/>
                    <a:pt x="273" y="341"/>
                  </a:cubicBezTo>
                  <a:cubicBezTo>
                    <a:pt x="273" y="342"/>
                    <a:pt x="273" y="342"/>
                    <a:pt x="274" y="342"/>
                  </a:cubicBezTo>
                  <a:cubicBezTo>
                    <a:pt x="276" y="342"/>
                    <a:pt x="279" y="341"/>
                    <a:pt x="280" y="340"/>
                  </a:cubicBezTo>
                  <a:cubicBezTo>
                    <a:pt x="281" y="339"/>
                    <a:pt x="282" y="339"/>
                    <a:pt x="283" y="338"/>
                  </a:cubicBezTo>
                  <a:cubicBezTo>
                    <a:pt x="283" y="337"/>
                    <a:pt x="283" y="336"/>
                    <a:pt x="284" y="336"/>
                  </a:cubicBezTo>
                  <a:cubicBezTo>
                    <a:pt x="284" y="335"/>
                    <a:pt x="285" y="336"/>
                    <a:pt x="285" y="337"/>
                  </a:cubicBezTo>
                  <a:cubicBezTo>
                    <a:pt x="286" y="337"/>
                    <a:pt x="286" y="338"/>
                    <a:pt x="287" y="339"/>
                  </a:cubicBezTo>
                  <a:cubicBezTo>
                    <a:pt x="288" y="340"/>
                    <a:pt x="289" y="340"/>
                    <a:pt x="290" y="340"/>
                  </a:cubicBezTo>
                  <a:cubicBezTo>
                    <a:pt x="293" y="339"/>
                    <a:pt x="296" y="337"/>
                    <a:pt x="296" y="334"/>
                  </a:cubicBezTo>
                  <a:cubicBezTo>
                    <a:pt x="296" y="334"/>
                    <a:pt x="296" y="332"/>
                    <a:pt x="297" y="332"/>
                  </a:cubicBezTo>
                  <a:cubicBezTo>
                    <a:pt x="299" y="330"/>
                    <a:pt x="301" y="335"/>
                    <a:pt x="302" y="335"/>
                  </a:cubicBezTo>
                  <a:cubicBezTo>
                    <a:pt x="302" y="336"/>
                    <a:pt x="304" y="336"/>
                    <a:pt x="305" y="336"/>
                  </a:cubicBezTo>
                  <a:cubicBezTo>
                    <a:pt x="307" y="336"/>
                    <a:pt x="306" y="336"/>
                    <a:pt x="308" y="337"/>
                  </a:cubicBezTo>
                  <a:cubicBezTo>
                    <a:pt x="308" y="338"/>
                    <a:pt x="309" y="338"/>
                    <a:pt x="309" y="338"/>
                  </a:cubicBezTo>
                  <a:cubicBezTo>
                    <a:pt x="310" y="339"/>
                    <a:pt x="311" y="340"/>
                    <a:pt x="312" y="341"/>
                  </a:cubicBezTo>
                  <a:cubicBezTo>
                    <a:pt x="314" y="342"/>
                    <a:pt x="316" y="342"/>
                    <a:pt x="317" y="343"/>
                  </a:cubicBezTo>
                  <a:cubicBezTo>
                    <a:pt x="319" y="344"/>
                    <a:pt x="321" y="347"/>
                    <a:pt x="323" y="348"/>
                  </a:cubicBezTo>
                  <a:cubicBezTo>
                    <a:pt x="324" y="348"/>
                    <a:pt x="325" y="348"/>
                    <a:pt x="325" y="349"/>
                  </a:cubicBezTo>
                  <a:cubicBezTo>
                    <a:pt x="325" y="349"/>
                    <a:pt x="325" y="350"/>
                    <a:pt x="325" y="350"/>
                  </a:cubicBezTo>
                  <a:cubicBezTo>
                    <a:pt x="325" y="352"/>
                    <a:pt x="325" y="351"/>
                    <a:pt x="327" y="351"/>
                  </a:cubicBezTo>
                  <a:cubicBezTo>
                    <a:pt x="328" y="352"/>
                    <a:pt x="327" y="352"/>
                    <a:pt x="328" y="353"/>
                  </a:cubicBezTo>
                  <a:cubicBezTo>
                    <a:pt x="328" y="354"/>
                    <a:pt x="330" y="355"/>
                    <a:pt x="331" y="355"/>
                  </a:cubicBezTo>
                  <a:cubicBezTo>
                    <a:pt x="331" y="354"/>
                    <a:pt x="332" y="354"/>
                    <a:pt x="332" y="353"/>
                  </a:cubicBezTo>
                  <a:cubicBezTo>
                    <a:pt x="334" y="353"/>
                    <a:pt x="335" y="354"/>
                    <a:pt x="336" y="353"/>
                  </a:cubicBezTo>
                  <a:cubicBezTo>
                    <a:pt x="338" y="353"/>
                    <a:pt x="339" y="352"/>
                    <a:pt x="340" y="354"/>
                  </a:cubicBezTo>
                  <a:cubicBezTo>
                    <a:pt x="341" y="356"/>
                    <a:pt x="340" y="358"/>
                    <a:pt x="339" y="359"/>
                  </a:cubicBezTo>
                  <a:cubicBezTo>
                    <a:pt x="338" y="360"/>
                    <a:pt x="337" y="360"/>
                    <a:pt x="337" y="361"/>
                  </a:cubicBezTo>
                  <a:cubicBezTo>
                    <a:pt x="338" y="362"/>
                    <a:pt x="339" y="361"/>
                    <a:pt x="340" y="361"/>
                  </a:cubicBezTo>
                  <a:cubicBezTo>
                    <a:pt x="341" y="361"/>
                    <a:pt x="342" y="359"/>
                    <a:pt x="343" y="359"/>
                  </a:cubicBezTo>
                  <a:cubicBezTo>
                    <a:pt x="343" y="360"/>
                    <a:pt x="343" y="362"/>
                    <a:pt x="343" y="362"/>
                  </a:cubicBezTo>
                  <a:cubicBezTo>
                    <a:pt x="343" y="363"/>
                    <a:pt x="343" y="365"/>
                    <a:pt x="343" y="365"/>
                  </a:cubicBezTo>
                  <a:cubicBezTo>
                    <a:pt x="344" y="365"/>
                    <a:pt x="344" y="365"/>
                    <a:pt x="345" y="365"/>
                  </a:cubicBezTo>
                  <a:cubicBezTo>
                    <a:pt x="345" y="366"/>
                    <a:pt x="345" y="367"/>
                    <a:pt x="345" y="367"/>
                  </a:cubicBezTo>
                  <a:cubicBezTo>
                    <a:pt x="346" y="367"/>
                    <a:pt x="347" y="365"/>
                    <a:pt x="347" y="364"/>
                  </a:cubicBezTo>
                  <a:cubicBezTo>
                    <a:pt x="347" y="364"/>
                    <a:pt x="347" y="361"/>
                    <a:pt x="347" y="360"/>
                  </a:cubicBezTo>
                  <a:cubicBezTo>
                    <a:pt x="348" y="359"/>
                    <a:pt x="351" y="360"/>
                    <a:pt x="352" y="360"/>
                  </a:cubicBezTo>
                  <a:cubicBezTo>
                    <a:pt x="353" y="360"/>
                    <a:pt x="354" y="360"/>
                    <a:pt x="355" y="361"/>
                  </a:cubicBezTo>
                  <a:cubicBezTo>
                    <a:pt x="356" y="361"/>
                    <a:pt x="357" y="362"/>
                    <a:pt x="357" y="362"/>
                  </a:cubicBezTo>
                  <a:cubicBezTo>
                    <a:pt x="358" y="362"/>
                    <a:pt x="359" y="362"/>
                    <a:pt x="359" y="362"/>
                  </a:cubicBezTo>
                  <a:cubicBezTo>
                    <a:pt x="361" y="362"/>
                    <a:pt x="360" y="362"/>
                    <a:pt x="361" y="363"/>
                  </a:cubicBezTo>
                  <a:cubicBezTo>
                    <a:pt x="362" y="363"/>
                    <a:pt x="362" y="364"/>
                    <a:pt x="363" y="365"/>
                  </a:cubicBezTo>
                  <a:cubicBezTo>
                    <a:pt x="364" y="365"/>
                    <a:pt x="364" y="364"/>
                    <a:pt x="365" y="365"/>
                  </a:cubicBezTo>
                  <a:cubicBezTo>
                    <a:pt x="366" y="365"/>
                    <a:pt x="365" y="367"/>
                    <a:pt x="365" y="368"/>
                  </a:cubicBezTo>
                  <a:cubicBezTo>
                    <a:pt x="365" y="370"/>
                    <a:pt x="365" y="370"/>
                    <a:pt x="367" y="372"/>
                  </a:cubicBezTo>
                  <a:cubicBezTo>
                    <a:pt x="368" y="373"/>
                    <a:pt x="368" y="375"/>
                    <a:pt x="369" y="375"/>
                  </a:cubicBezTo>
                  <a:cubicBezTo>
                    <a:pt x="371" y="375"/>
                    <a:pt x="371" y="375"/>
                    <a:pt x="372" y="376"/>
                  </a:cubicBezTo>
                  <a:cubicBezTo>
                    <a:pt x="373" y="377"/>
                    <a:pt x="372" y="377"/>
                    <a:pt x="373" y="378"/>
                  </a:cubicBezTo>
                  <a:cubicBezTo>
                    <a:pt x="374" y="378"/>
                    <a:pt x="376" y="378"/>
                    <a:pt x="377" y="378"/>
                  </a:cubicBezTo>
                  <a:cubicBezTo>
                    <a:pt x="377" y="378"/>
                    <a:pt x="378" y="378"/>
                    <a:pt x="378" y="378"/>
                  </a:cubicBezTo>
                  <a:cubicBezTo>
                    <a:pt x="379" y="378"/>
                    <a:pt x="379" y="377"/>
                    <a:pt x="380" y="376"/>
                  </a:cubicBezTo>
                  <a:cubicBezTo>
                    <a:pt x="381" y="375"/>
                    <a:pt x="383" y="376"/>
                    <a:pt x="384" y="376"/>
                  </a:cubicBezTo>
                  <a:cubicBezTo>
                    <a:pt x="385" y="377"/>
                    <a:pt x="386" y="377"/>
                    <a:pt x="387" y="378"/>
                  </a:cubicBezTo>
                  <a:cubicBezTo>
                    <a:pt x="388" y="378"/>
                    <a:pt x="389" y="378"/>
                    <a:pt x="389" y="378"/>
                  </a:cubicBezTo>
                  <a:cubicBezTo>
                    <a:pt x="391" y="379"/>
                    <a:pt x="391" y="381"/>
                    <a:pt x="390" y="382"/>
                  </a:cubicBezTo>
                  <a:cubicBezTo>
                    <a:pt x="390" y="383"/>
                    <a:pt x="390" y="383"/>
                    <a:pt x="390" y="383"/>
                  </a:cubicBezTo>
                  <a:cubicBezTo>
                    <a:pt x="389" y="384"/>
                    <a:pt x="389" y="384"/>
                    <a:pt x="389" y="385"/>
                  </a:cubicBezTo>
                  <a:cubicBezTo>
                    <a:pt x="389" y="385"/>
                    <a:pt x="389" y="386"/>
                    <a:pt x="389" y="386"/>
                  </a:cubicBezTo>
                  <a:cubicBezTo>
                    <a:pt x="389" y="388"/>
                    <a:pt x="389" y="388"/>
                    <a:pt x="388" y="389"/>
                  </a:cubicBezTo>
                  <a:cubicBezTo>
                    <a:pt x="388" y="389"/>
                    <a:pt x="388" y="390"/>
                    <a:pt x="388" y="390"/>
                  </a:cubicBezTo>
                  <a:cubicBezTo>
                    <a:pt x="388" y="391"/>
                    <a:pt x="389" y="391"/>
                    <a:pt x="390" y="392"/>
                  </a:cubicBezTo>
                  <a:cubicBezTo>
                    <a:pt x="391" y="393"/>
                    <a:pt x="390" y="393"/>
                    <a:pt x="389" y="393"/>
                  </a:cubicBezTo>
                  <a:cubicBezTo>
                    <a:pt x="389" y="394"/>
                    <a:pt x="388" y="395"/>
                    <a:pt x="388" y="396"/>
                  </a:cubicBezTo>
                  <a:cubicBezTo>
                    <a:pt x="388" y="397"/>
                    <a:pt x="388" y="398"/>
                    <a:pt x="387" y="400"/>
                  </a:cubicBezTo>
                  <a:cubicBezTo>
                    <a:pt x="387" y="400"/>
                    <a:pt x="387" y="401"/>
                    <a:pt x="387" y="402"/>
                  </a:cubicBezTo>
                  <a:cubicBezTo>
                    <a:pt x="387" y="403"/>
                    <a:pt x="387" y="404"/>
                    <a:pt x="387" y="404"/>
                  </a:cubicBezTo>
                  <a:cubicBezTo>
                    <a:pt x="387" y="406"/>
                    <a:pt x="384" y="406"/>
                    <a:pt x="383" y="408"/>
                  </a:cubicBezTo>
                  <a:cubicBezTo>
                    <a:pt x="382" y="409"/>
                    <a:pt x="382" y="410"/>
                    <a:pt x="383" y="411"/>
                  </a:cubicBezTo>
                  <a:cubicBezTo>
                    <a:pt x="383" y="412"/>
                    <a:pt x="383" y="413"/>
                    <a:pt x="383" y="414"/>
                  </a:cubicBezTo>
                  <a:cubicBezTo>
                    <a:pt x="383" y="414"/>
                    <a:pt x="383" y="414"/>
                    <a:pt x="384" y="415"/>
                  </a:cubicBezTo>
                  <a:cubicBezTo>
                    <a:pt x="385" y="416"/>
                    <a:pt x="385" y="418"/>
                    <a:pt x="386" y="419"/>
                  </a:cubicBezTo>
                  <a:cubicBezTo>
                    <a:pt x="387" y="419"/>
                    <a:pt x="387" y="420"/>
                    <a:pt x="388" y="421"/>
                  </a:cubicBezTo>
                  <a:cubicBezTo>
                    <a:pt x="389" y="422"/>
                    <a:pt x="389" y="423"/>
                    <a:pt x="389" y="424"/>
                  </a:cubicBezTo>
                  <a:cubicBezTo>
                    <a:pt x="389" y="425"/>
                    <a:pt x="391" y="426"/>
                    <a:pt x="392" y="426"/>
                  </a:cubicBezTo>
                  <a:cubicBezTo>
                    <a:pt x="392" y="426"/>
                    <a:pt x="393" y="425"/>
                    <a:pt x="393" y="424"/>
                  </a:cubicBezTo>
                  <a:cubicBezTo>
                    <a:pt x="393" y="425"/>
                    <a:pt x="394" y="426"/>
                    <a:pt x="394" y="426"/>
                  </a:cubicBezTo>
                  <a:cubicBezTo>
                    <a:pt x="394" y="427"/>
                    <a:pt x="394" y="429"/>
                    <a:pt x="395" y="430"/>
                  </a:cubicBezTo>
                  <a:cubicBezTo>
                    <a:pt x="396" y="430"/>
                    <a:pt x="397" y="431"/>
                    <a:pt x="398" y="431"/>
                  </a:cubicBezTo>
                  <a:cubicBezTo>
                    <a:pt x="401" y="433"/>
                    <a:pt x="402" y="430"/>
                    <a:pt x="404" y="428"/>
                  </a:cubicBezTo>
                  <a:cubicBezTo>
                    <a:pt x="404" y="428"/>
                    <a:pt x="405" y="428"/>
                    <a:pt x="405" y="428"/>
                  </a:cubicBezTo>
                  <a:cubicBezTo>
                    <a:pt x="406" y="427"/>
                    <a:pt x="407" y="427"/>
                    <a:pt x="408" y="427"/>
                  </a:cubicBezTo>
                  <a:cubicBezTo>
                    <a:pt x="408" y="428"/>
                    <a:pt x="408" y="430"/>
                    <a:pt x="408" y="431"/>
                  </a:cubicBezTo>
                  <a:cubicBezTo>
                    <a:pt x="408" y="433"/>
                    <a:pt x="410" y="435"/>
                    <a:pt x="409" y="437"/>
                  </a:cubicBezTo>
                  <a:cubicBezTo>
                    <a:pt x="408" y="439"/>
                    <a:pt x="406" y="439"/>
                    <a:pt x="407" y="442"/>
                  </a:cubicBezTo>
                  <a:cubicBezTo>
                    <a:pt x="407" y="442"/>
                    <a:pt x="407" y="443"/>
                    <a:pt x="407" y="443"/>
                  </a:cubicBezTo>
                  <a:cubicBezTo>
                    <a:pt x="407" y="444"/>
                    <a:pt x="407" y="444"/>
                    <a:pt x="407" y="445"/>
                  </a:cubicBezTo>
                  <a:cubicBezTo>
                    <a:pt x="406" y="446"/>
                    <a:pt x="406" y="445"/>
                    <a:pt x="405" y="447"/>
                  </a:cubicBezTo>
                  <a:cubicBezTo>
                    <a:pt x="405" y="448"/>
                    <a:pt x="405" y="449"/>
                    <a:pt x="406" y="450"/>
                  </a:cubicBezTo>
                  <a:cubicBezTo>
                    <a:pt x="404" y="449"/>
                    <a:pt x="403" y="448"/>
                    <a:pt x="402" y="450"/>
                  </a:cubicBezTo>
                  <a:cubicBezTo>
                    <a:pt x="400" y="452"/>
                    <a:pt x="404" y="453"/>
                    <a:pt x="406" y="453"/>
                  </a:cubicBezTo>
                  <a:cubicBezTo>
                    <a:pt x="407" y="453"/>
                    <a:pt x="410" y="453"/>
                    <a:pt x="411" y="453"/>
                  </a:cubicBezTo>
                  <a:cubicBezTo>
                    <a:pt x="412" y="454"/>
                    <a:pt x="412" y="456"/>
                    <a:pt x="412" y="456"/>
                  </a:cubicBezTo>
                  <a:cubicBezTo>
                    <a:pt x="412" y="457"/>
                    <a:pt x="412" y="458"/>
                    <a:pt x="412" y="458"/>
                  </a:cubicBezTo>
                  <a:cubicBezTo>
                    <a:pt x="411" y="460"/>
                    <a:pt x="411" y="462"/>
                    <a:pt x="411" y="463"/>
                  </a:cubicBezTo>
                  <a:cubicBezTo>
                    <a:pt x="411" y="463"/>
                    <a:pt x="412" y="464"/>
                    <a:pt x="412" y="464"/>
                  </a:cubicBezTo>
                  <a:cubicBezTo>
                    <a:pt x="413" y="465"/>
                    <a:pt x="413" y="465"/>
                    <a:pt x="413" y="466"/>
                  </a:cubicBezTo>
                  <a:cubicBezTo>
                    <a:pt x="413" y="468"/>
                    <a:pt x="415" y="471"/>
                    <a:pt x="415" y="473"/>
                  </a:cubicBezTo>
                  <a:cubicBezTo>
                    <a:pt x="416" y="474"/>
                    <a:pt x="416" y="474"/>
                    <a:pt x="417" y="474"/>
                  </a:cubicBezTo>
                  <a:cubicBezTo>
                    <a:pt x="418" y="473"/>
                    <a:pt x="419" y="473"/>
                    <a:pt x="421" y="472"/>
                  </a:cubicBezTo>
                  <a:cubicBezTo>
                    <a:pt x="422" y="471"/>
                    <a:pt x="423" y="472"/>
                    <a:pt x="424" y="473"/>
                  </a:cubicBezTo>
                  <a:cubicBezTo>
                    <a:pt x="426" y="474"/>
                    <a:pt x="428" y="474"/>
                    <a:pt x="428" y="477"/>
                  </a:cubicBezTo>
                  <a:cubicBezTo>
                    <a:pt x="428" y="481"/>
                    <a:pt x="428" y="486"/>
                    <a:pt x="427" y="490"/>
                  </a:cubicBezTo>
                  <a:cubicBezTo>
                    <a:pt x="427" y="491"/>
                    <a:pt x="426" y="493"/>
                    <a:pt x="426" y="495"/>
                  </a:cubicBezTo>
                  <a:cubicBezTo>
                    <a:pt x="426" y="496"/>
                    <a:pt x="427" y="497"/>
                    <a:pt x="426" y="498"/>
                  </a:cubicBezTo>
                  <a:cubicBezTo>
                    <a:pt x="424" y="499"/>
                    <a:pt x="423" y="497"/>
                    <a:pt x="421" y="498"/>
                  </a:cubicBezTo>
                  <a:cubicBezTo>
                    <a:pt x="421" y="499"/>
                    <a:pt x="421" y="500"/>
                    <a:pt x="421" y="500"/>
                  </a:cubicBezTo>
                  <a:cubicBezTo>
                    <a:pt x="420" y="501"/>
                    <a:pt x="420" y="501"/>
                    <a:pt x="419" y="502"/>
                  </a:cubicBezTo>
                  <a:cubicBezTo>
                    <a:pt x="418" y="503"/>
                    <a:pt x="419" y="504"/>
                    <a:pt x="418" y="505"/>
                  </a:cubicBezTo>
                  <a:cubicBezTo>
                    <a:pt x="418" y="506"/>
                    <a:pt x="417" y="507"/>
                    <a:pt x="416" y="508"/>
                  </a:cubicBezTo>
                  <a:cubicBezTo>
                    <a:pt x="414" y="510"/>
                    <a:pt x="414" y="512"/>
                    <a:pt x="414" y="515"/>
                  </a:cubicBezTo>
                  <a:cubicBezTo>
                    <a:pt x="413" y="515"/>
                    <a:pt x="411" y="515"/>
                    <a:pt x="411" y="515"/>
                  </a:cubicBezTo>
                  <a:cubicBezTo>
                    <a:pt x="410" y="514"/>
                    <a:pt x="409" y="513"/>
                    <a:pt x="408" y="512"/>
                  </a:cubicBezTo>
                  <a:cubicBezTo>
                    <a:pt x="408" y="511"/>
                    <a:pt x="407" y="510"/>
                    <a:pt x="407" y="510"/>
                  </a:cubicBezTo>
                  <a:cubicBezTo>
                    <a:pt x="407" y="509"/>
                    <a:pt x="406" y="508"/>
                    <a:pt x="406" y="507"/>
                  </a:cubicBezTo>
                  <a:cubicBezTo>
                    <a:pt x="405" y="507"/>
                    <a:pt x="404" y="506"/>
                    <a:pt x="403" y="506"/>
                  </a:cubicBezTo>
                  <a:cubicBezTo>
                    <a:pt x="403" y="505"/>
                    <a:pt x="403" y="505"/>
                    <a:pt x="403" y="504"/>
                  </a:cubicBezTo>
                  <a:cubicBezTo>
                    <a:pt x="403" y="503"/>
                    <a:pt x="403" y="502"/>
                    <a:pt x="402" y="502"/>
                  </a:cubicBezTo>
                  <a:cubicBezTo>
                    <a:pt x="399" y="501"/>
                    <a:pt x="397" y="506"/>
                    <a:pt x="396" y="507"/>
                  </a:cubicBezTo>
                  <a:cubicBezTo>
                    <a:pt x="395" y="506"/>
                    <a:pt x="394" y="502"/>
                    <a:pt x="394" y="501"/>
                  </a:cubicBezTo>
                  <a:cubicBezTo>
                    <a:pt x="394" y="500"/>
                    <a:pt x="395" y="499"/>
                    <a:pt x="394" y="498"/>
                  </a:cubicBezTo>
                  <a:cubicBezTo>
                    <a:pt x="393" y="499"/>
                    <a:pt x="392" y="502"/>
                    <a:pt x="392" y="505"/>
                  </a:cubicBezTo>
                  <a:cubicBezTo>
                    <a:pt x="392" y="506"/>
                    <a:pt x="392" y="507"/>
                    <a:pt x="391" y="508"/>
                  </a:cubicBezTo>
                  <a:cubicBezTo>
                    <a:pt x="391" y="509"/>
                    <a:pt x="390" y="509"/>
                    <a:pt x="390" y="510"/>
                  </a:cubicBezTo>
                  <a:cubicBezTo>
                    <a:pt x="390" y="510"/>
                    <a:pt x="390" y="511"/>
                    <a:pt x="389" y="512"/>
                  </a:cubicBezTo>
                  <a:cubicBezTo>
                    <a:pt x="388" y="513"/>
                    <a:pt x="388" y="510"/>
                    <a:pt x="387" y="509"/>
                  </a:cubicBezTo>
                  <a:cubicBezTo>
                    <a:pt x="387" y="507"/>
                    <a:pt x="387" y="506"/>
                    <a:pt x="389" y="504"/>
                  </a:cubicBezTo>
                  <a:cubicBezTo>
                    <a:pt x="390" y="502"/>
                    <a:pt x="391" y="501"/>
                    <a:pt x="391" y="499"/>
                  </a:cubicBezTo>
                  <a:cubicBezTo>
                    <a:pt x="391" y="494"/>
                    <a:pt x="385" y="496"/>
                    <a:pt x="383" y="498"/>
                  </a:cubicBezTo>
                  <a:cubicBezTo>
                    <a:pt x="382" y="499"/>
                    <a:pt x="383" y="499"/>
                    <a:pt x="382" y="499"/>
                  </a:cubicBezTo>
                  <a:cubicBezTo>
                    <a:pt x="381" y="500"/>
                    <a:pt x="380" y="500"/>
                    <a:pt x="379" y="500"/>
                  </a:cubicBezTo>
                  <a:cubicBezTo>
                    <a:pt x="378" y="500"/>
                    <a:pt x="377" y="501"/>
                    <a:pt x="375" y="502"/>
                  </a:cubicBezTo>
                  <a:cubicBezTo>
                    <a:pt x="374" y="502"/>
                    <a:pt x="374" y="502"/>
                    <a:pt x="373" y="504"/>
                  </a:cubicBezTo>
                  <a:cubicBezTo>
                    <a:pt x="373" y="504"/>
                    <a:pt x="372" y="506"/>
                    <a:pt x="372" y="507"/>
                  </a:cubicBezTo>
                  <a:cubicBezTo>
                    <a:pt x="373" y="508"/>
                    <a:pt x="374" y="507"/>
                    <a:pt x="375" y="509"/>
                  </a:cubicBezTo>
                  <a:cubicBezTo>
                    <a:pt x="375" y="510"/>
                    <a:pt x="374" y="511"/>
                    <a:pt x="374" y="512"/>
                  </a:cubicBezTo>
                  <a:cubicBezTo>
                    <a:pt x="374" y="514"/>
                    <a:pt x="374" y="516"/>
                    <a:pt x="373" y="518"/>
                  </a:cubicBezTo>
                  <a:cubicBezTo>
                    <a:pt x="373" y="519"/>
                    <a:pt x="371" y="522"/>
                    <a:pt x="372" y="523"/>
                  </a:cubicBezTo>
                  <a:cubicBezTo>
                    <a:pt x="372" y="524"/>
                    <a:pt x="374" y="523"/>
                    <a:pt x="375" y="523"/>
                  </a:cubicBezTo>
                  <a:cubicBezTo>
                    <a:pt x="376" y="524"/>
                    <a:pt x="376" y="524"/>
                    <a:pt x="376" y="525"/>
                  </a:cubicBezTo>
                  <a:cubicBezTo>
                    <a:pt x="377" y="527"/>
                    <a:pt x="377" y="528"/>
                    <a:pt x="376" y="530"/>
                  </a:cubicBezTo>
                  <a:cubicBezTo>
                    <a:pt x="375" y="532"/>
                    <a:pt x="373" y="534"/>
                    <a:pt x="374" y="536"/>
                  </a:cubicBezTo>
                  <a:cubicBezTo>
                    <a:pt x="375" y="537"/>
                    <a:pt x="376" y="538"/>
                    <a:pt x="376" y="539"/>
                  </a:cubicBezTo>
                  <a:cubicBezTo>
                    <a:pt x="376" y="540"/>
                    <a:pt x="375" y="540"/>
                    <a:pt x="374" y="541"/>
                  </a:cubicBezTo>
                  <a:cubicBezTo>
                    <a:pt x="370" y="543"/>
                    <a:pt x="366" y="544"/>
                    <a:pt x="363" y="546"/>
                  </a:cubicBezTo>
                  <a:cubicBezTo>
                    <a:pt x="361" y="547"/>
                    <a:pt x="358" y="549"/>
                    <a:pt x="359" y="551"/>
                  </a:cubicBezTo>
                  <a:cubicBezTo>
                    <a:pt x="360" y="553"/>
                    <a:pt x="361" y="555"/>
                    <a:pt x="359" y="557"/>
                  </a:cubicBezTo>
                  <a:cubicBezTo>
                    <a:pt x="358" y="557"/>
                    <a:pt x="357" y="558"/>
                    <a:pt x="356" y="558"/>
                  </a:cubicBezTo>
                  <a:cubicBezTo>
                    <a:pt x="355" y="558"/>
                    <a:pt x="355" y="558"/>
                    <a:pt x="354" y="558"/>
                  </a:cubicBezTo>
                  <a:cubicBezTo>
                    <a:pt x="353" y="559"/>
                    <a:pt x="352" y="559"/>
                    <a:pt x="352" y="560"/>
                  </a:cubicBezTo>
                  <a:cubicBezTo>
                    <a:pt x="351" y="560"/>
                    <a:pt x="350" y="561"/>
                    <a:pt x="350" y="562"/>
                  </a:cubicBezTo>
                  <a:cubicBezTo>
                    <a:pt x="350" y="563"/>
                    <a:pt x="350" y="563"/>
                    <a:pt x="349" y="564"/>
                  </a:cubicBezTo>
                  <a:cubicBezTo>
                    <a:pt x="348" y="564"/>
                    <a:pt x="347" y="564"/>
                    <a:pt x="347" y="565"/>
                  </a:cubicBezTo>
                  <a:cubicBezTo>
                    <a:pt x="347" y="566"/>
                    <a:pt x="347" y="567"/>
                    <a:pt x="347" y="568"/>
                  </a:cubicBezTo>
                  <a:cubicBezTo>
                    <a:pt x="347" y="570"/>
                    <a:pt x="349" y="571"/>
                    <a:pt x="348" y="573"/>
                  </a:cubicBezTo>
                  <a:cubicBezTo>
                    <a:pt x="348" y="573"/>
                    <a:pt x="347" y="574"/>
                    <a:pt x="347" y="574"/>
                  </a:cubicBezTo>
                  <a:cubicBezTo>
                    <a:pt x="347" y="574"/>
                    <a:pt x="347" y="575"/>
                    <a:pt x="347" y="575"/>
                  </a:cubicBezTo>
                  <a:cubicBezTo>
                    <a:pt x="347" y="576"/>
                    <a:pt x="347" y="577"/>
                    <a:pt x="347" y="578"/>
                  </a:cubicBezTo>
                  <a:cubicBezTo>
                    <a:pt x="346" y="579"/>
                    <a:pt x="346" y="580"/>
                    <a:pt x="346" y="580"/>
                  </a:cubicBezTo>
                  <a:cubicBezTo>
                    <a:pt x="346" y="581"/>
                    <a:pt x="346" y="582"/>
                    <a:pt x="346" y="583"/>
                  </a:cubicBezTo>
                  <a:cubicBezTo>
                    <a:pt x="346" y="583"/>
                    <a:pt x="345" y="583"/>
                    <a:pt x="345" y="584"/>
                  </a:cubicBezTo>
                  <a:cubicBezTo>
                    <a:pt x="344" y="584"/>
                    <a:pt x="344" y="585"/>
                    <a:pt x="344" y="585"/>
                  </a:cubicBezTo>
                  <a:cubicBezTo>
                    <a:pt x="343" y="586"/>
                    <a:pt x="343" y="586"/>
                    <a:pt x="342" y="586"/>
                  </a:cubicBezTo>
                  <a:cubicBezTo>
                    <a:pt x="339" y="586"/>
                    <a:pt x="339" y="579"/>
                    <a:pt x="336" y="582"/>
                  </a:cubicBezTo>
                  <a:cubicBezTo>
                    <a:pt x="335" y="582"/>
                    <a:pt x="334" y="583"/>
                    <a:pt x="333" y="584"/>
                  </a:cubicBezTo>
                  <a:cubicBezTo>
                    <a:pt x="332" y="585"/>
                    <a:pt x="331" y="586"/>
                    <a:pt x="330" y="586"/>
                  </a:cubicBezTo>
                  <a:cubicBezTo>
                    <a:pt x="330" y="587"/>
                    <a:pt x="331" y="587"/>
                    <a:pt x="331" y="588"/>
                  </a:cubicBezTo>
                  <a:cubicBezTo>
                    <a:pt x="332" y="588"/>
                    <a:pt x="337" y="596"/>
                    <a:pt x="337" y="597"/>
                  </a:cubicBezTo>
                  <a:cubicBezTo>
                    <a:pt x="339" y="598"/>
                    <a:pt x="345" y="601"/>
                    <a:pt x="347" y="601"/>
                  </a:cubicBezTo>
                  <a:cubicBezTo>
                    <a:pt x="349" y="602"/>
                    <a:pt x="351" y="603"/>
                    <a:pt x="353" y="605"/>
                  </a:cubicBezTo>
                  <a:cubicBezTo>
                    <a:pt x="356" y="606"/>
                    <a:pt x="357" y="608"/>
                    <a:pt x="360" y="605"/>
                  </a:cubicBezTo>
                  <a:cubicBezTo>
                    <a:pt x="361" y="604"/>
                    <a:pt x="361" y="601"/>
                    <a:pt x="362" y="601"/>
                  </a:cubicBezTo>
                  <a:cubicBezTo>
                    <a:pt x="364" y="600"/>
                    <a:pt x="366" y="601"/>
                    <a:pt x="368" y="601"/>
                  </a:cubicBezTo>
                  <a:cubicBezTo>
                    <a:pt x="370" y="601"/>
                    <a:pt x="372" y="601"/>
                    <a:pt x="377" y="599"/>
                  </a:cubicBezTo>
                  <a:cubicBezTo>
                    <a:pt x="381" y="598"/>
                    <a:pt x="384" y="596"/>
                    <a:pt x="385" y="595"/>
                  </a:cubicBezTo>
                  <a:cubicBezTo>
                    <a:pt x="387" y="593"/>
                    <a:pt x="387" y="592"/>
                    <a:pt x="390" y="592"/>
                  </a:cubicBezTo>
                  <a:cubicBezTo>
                    <a:pt x="397" y="590"/>
                    <a:pt x="401" y="593"/>
                    <a:pt x="406" y="596"/>
                  </a:cubicBezTo>
                  <a:cubicBezTo>
                    <a:pt x="408" y="597"/>
                    <a:pt x="413" y="599"/>
                    <a:pt x="416" y="600"/>
                  </a:cubicBezTo>
                  <a:cubicBezTo>
                    <a:pt x="417" y="597"/>
                    <a:pt x="414" y="596"/>
                    <a:pt x="412" y="592"/>
                  </a:cubicBezTo>
                  <a:cubicBezTo>
                    <a:pt x="409" y="588"/>
                    <a:pt x="406" y="582"/>
                    <a:pt x="406" y="578"/>
                  </a:cubicBezTo>
                  <a:cubicBezTo>
                    <a:pt x="405" y="574"/>
                    <a:pt x="410" y="572"/>
                    <a:pt x="409" y="569"/>
                  </a:cubicBezTo>
                  <a:cubicBezTo>
                    <a:pt x="409" y="573"/>
                    <a:pt x="414" y="575"/>
                    <a:pt x="415" y="580"/>
                  </a:cubicBezTo>
                  <a:cubicBezTo>
                    <a:pt x="417" y="580"/>
                    <a:pt x="423" y="578"/>
                    <a:pt x="424" y="576"/>
                  </a:cubicBezTo>
                  <a:cubicBezTo>
                    <a:pt x="425" y="573"/>
                    <a:pt x="422" y="570"/>
                    <a:pt x="423" y="568"/>
                  </a:cubicBezTo>
                  <a:cubicBezTo>
                    <a:pt x="428" y="567"/>
                    <a:pt x="435" y="568"/>
                    <a:pt x="434" y="561"/>
                  </a:cubicBezTo>
                  <a:cubicBezTo>
                    <a:pt x="439" y="560"/>
                    <a:pt x="438" y="564"/>
                    <a:pt x="442" y="561"/>
                  </a:cubicBezTo>
                  <a:cubicBezTo>
                    <a:pt x="443" y="560"/>
                    <a:pt x="444" y="558"/>
                    <a:pt x="445" y="557"/>
                  </a:cubicBezTo>
                  <a:cubicBezTo>
                    <a:pt x="447" y="556"/>
                    <a:pt x="450" y="556"/>
                    <a:pt x="452" y="553"/>
                  </a:cubicBezTo>
                  <a:cubicBezTo>
                    <a:pt x="453" y="550"/>
                    <a:pt x="452" y="546"/>
                    <a:pt x="452" y="543"/>
                  </a:cubicBezTo>
                  <a:cubicBezTo>
                    <a:pt x="453" y="542"/>
                    <a:pt x="454" y="541"/>
                    <a:pt x="453" y="539"/>
                  </a:cubicBezTo>
                  <a:cubicBezTo>
                    <a:pt x="452" y="538"/>
                    <a:pt x="447" y="537"/>
                    <a:pt x="446" y="536"/>
                  </a:cubicBezTo>
                  <a:cubicBezTo>
                    <a:pt x="444" y="535"/>
                    <a:pt x="432" y="528"/>
                    <a:pt x="434" y="523"/>
                  </a:cubicBezTo>
                  <a:cubicBezTo>
                    <a:pt x="436" y="519"/>
                    <a:pt x="446" y="521"/>
                    <a:pt x="448" y="523"/>
                  </a:cubicBezTo>
                  <a:cubicBezTo>
                    <a:pt x="450" y="526"/>
                    <a:pt x="452" y="529"/>
                    <a:pt x="454" y="532"/>
                  </a:cubicBezTo>
                  <a:cubicBezTo>
                    <a:pt x="455" y="534"/>
                    <a:pt x="459" y="535"/>
                    <a:pt x="460" y="538"/>
                  </a:cubicBezTo>
                  <a:cubicBezTo>
                    <a:pt x="459" y="532"/>
                    <a:pt x="464" y="532"/>
                    <a:pt x="467" y="528"/>
                  </a:cubicBezTo>
                  <a:cubicBezTo>
                    <a:pt x="469" y="527"/>
                    <a:pt x="469" y="525"/>
                    <a:pt x="470" y="523"/>
                  </a:cubicBezTo>
                  <a:cubicBezTo>
                    <a:pt x="472" y="522"/>
                    <a:pt x="474" y="520"/>
                    <a:pt x="474" y="517"/>
                  </a:cubicBezTo>
                  <a:cubicBezTo>
                    <a:pt x="473" y="513"/>
                    <a:pt x="466" y="511"/>
                    <a:pt x="474" y="508"/>
                  </a:cubicBezTo>
                  <a:cubicBezTo>
                    <a:pt x="476" y="507"/>
                    <a:pt x="479" y="507"/>
                    <a:pt x="482" y="507"/>
                  </a:cubicBezTo>
                  <a:cubicBezTo>
                    <a:pt x="484" y="507"/>
                    <a:pt x="487" y="508"/>
                    <a:pt x="489" y="507"/>
                  </a:cubicBezTo>
                  <a:cubicBezTo>
                    <a:pt x="491" y="506"/>
                    <a:pt x="491" y="505"/>
                    <a:pt x="492" y="503"/>
                  </a:cubicBezTo>
                  <a:cubicBezTo>
                    <a:pt x="495" y="499"/>
                    <a:pt x="501" y="496"/>
                    <a:pt x="506" y="496"/>
                  </a:cubicBezTo>
                  <a:cubicBezTo>
                    <a:pt x="508" y="495"/>
                    <a:pt x="510" y="496"/>
                    <a:pt x="513" y="495"/>
                  </a:cubicBezTo>
                  <a:cubicBezTo>
                    <a:pt x="515" y="495"/>
                    <a:pt x="517" y="493"/>
                    <a:pt x="519" y="493"/>
                  </a:cubicBezTo>
                  <a:cubicBezTo>
                    <a:pt x="520" y="493"/>
                    <a:pt x="522" y="494"/>
                    <a:pt x="523" y="495"/>
                  </a:cubicBezTo>
                  <a:cubicBezTo>
                    <a:pt x="524" y="495"/>
                    <a:pt x="528" y="495"/>
                    <a:pt x="529" y="495"/>
                  </a:cubicBezTo>
                  <a:cubicBezTo>
                    <a:pt x="533" y="496"/>
                    <a:pt x="533" y="495"/>
                    <a:pt x="535" y="492"/>
                  </a:cubicBezTo>
                  <a:cubicBezTo>
                    <a:pt x="537" y="489"/>
                    <a:pt x="538" y="489"/>
                    <a:pt x="538" y="486"/>
                  </a:cubicBezTo>
                  <a:cubicBezTo>
                    <a:pt x="538" y="485"/>
                    <a:pt x="537" y="483"/>
                    <a:pt x="539" y="481"/>
                  </a:cubicBezTo>
                  <a:cubicBezTo>
                    <a:pt x="543" y="484"/>
                    <a:pt x="541" y="491"/>
                    <a:pt x="542" y="495"/>
                  </a:cubicBezTo>
                  <a:cubicBezTo>
                    <a:pt x="545" y="495"/>
                    <a:pt x="548" y="494"/>
                    <a:pt x="550" y="496"/>
                  </a:cubicBezTo>
                  <a:cubicBezTo>
                    <a:pt x="553" y="497"/>
                    <a:pt x="558" y="502"/>
                    <a:pt x="557" y="505"/>
                  </a:cubicBezTo>
                  <a:cubicBezTo>
                    <a:pt x="552" y="506"/>
                    <a:pt x="547" y="503"/>
                    <a:pt x="543" y="502"/>
                  </a:cubicBezTo>
                  <a:cubicBezTo>
                    <a:pt x="540" y="502"/>
                    <a:pt x="537" y="501"/>
                    <a:pt x="534" y="501"/>
                  </a:cubicBezTo>
                  <a:cubicBezTo>
                    <a:pt x="532" y="501"/>
                    <a:pt x="521" y="502"/>
                    <a:pt x="521" y="506"/>
                  </a:cubicBezTo>
                  <a:cubicBezTo>
                    <a:pt x="526" y="507"/>
                    <a:pt x="529" y="510"/>
                    <a:pt x="533" y="512"/>
                  </a:cubicBezTo>
                  <a:cubicBezTo>
                    <a:pt x="535" y="514"/>
                    <a:pt x="539" y="516"/>
                    <a:pt x="537" y="519"/>
                  </a:cubicBezTo>
                  <a:cubicBezTo>
                    <a:pt x="536" y="521"/>
                    <a:pt x="532" y="519"/>
                    <a:pt x="531" y="521"/>
                  </a:cubicBezTo>
                  <a:cubicBezTo>
                    <a:pt x="528" y="525"/>
                    <a:pt x="533" y="524"/>
                    <a:pt x="534" y="525"/>
                  </a:cubicBezTo>
                  <a:cubicBezTo>
                    <a:pt x="537" y="526"/>
                    <a:pt x="538" y="528"/>
                    <a:pt x="540" y="530"/>
                  </a:cubicBezTo>
                  <a:cubicBezTo>
                    <a:pt x="542" y="532"/>
                    <a:pt x="545" y="533"/>
                    <a:pt x="548" y="534"/>
                  </a:cubicBezTo>
                  <a:cubicBezTo>
                    <a:pt x="550" y="535"/>
                    <a:pt x="552" y="536"/>
                    <a:pt x="555" y="536"/>
                  </a:cubicBezTo>
                  <a:cubicBezTo>
                    <a:pt x="557" y="537"/>
                    <a:pt x="558" y="536"/>
                    <a:pt x="560" y="536"/>
                  </a:cubicBezTo>
                  <a:cubicBezTo>
                    <a:pt x="563" y="537"/>
                    <a:pt x="563" y="540"/>
                    <a:pt x="566" y="542"/>
                  </a:cubicBezTo>
                  <a:cubicBezTo>
                    <a:pt x="569" y="543"/>
                    <a:pt x="569" y="540"/>
                    <a:pt x="571" y="538"/>
                  </a:cubicBezTo>
                  <a:cubicBezTo>
                    <a:pt x="574" y="537"/>
                    <a:pt x="578" y="539"/>
                    <a:pt x="581" y="539"/>
                  </a:cubicBezTo>
                  <a:cubicBezTo>
                    <a:pt x="584" y="539"/>
                    <a:pt x="586" y="540"/>
                    <a:pt x="589" y="540"/>
                  </a:cubicBezTo>
                  <a:cubicBezTo>
                    <a:pt x="591" y="540"/>
                    <a:pt x="595" y="540"/>
                    <a:pt x="597" y="540"/>
                  </a:cubicBezTo>
                  <a:cubicBezTo>
                    <a:pt x="599" y="540"/>
                    <a:pt x="603" y="540"/>
                    <a:pt x="604" y="539"/>
                  </a:cubicBezTo>
                  <a:cubicBezTo>
                    <a:pt x="606" y="538"/>
                    <a:pt x="608" y="535"/>
                    <a:pt x="610" y="535"/>
                  </a:cubicBezTo>
                  <a:cubicBezTo>
                    <a:pt x="612" y="534"/>
                    <a:pt x="616" y="534"/>
                    <a:pt x="618" y="534"/>
                  </a:cubicBezTo>
                  <a:cubicBezTo>
                    <a:pt x="618" y="537"/>
                    <a:pt x="621" y="537"/>
                    <a:pt x="622" y="538"/>
                  </a:cubicBezTo>
                  <a:cubicBezTo>
                    <a:pt x="624" y="540"/>
                    <a:pt x="623" y="542"/>
                    <a:pt x="627" y="542"/>
                  </a:cubicBezTo>
                  <a:cubicBezTo>
                    <a:pt x="632" y="541"/>
                    <a:pt x="633" y="533"/>
                    <a:pt x="637" y="532"/>
                  </a:cubicBezTo>
                  <a:cubicBezTo>
                    <a:pt x="637" y="532"/>
                    <a:pt x="637" y="532"/>
                    <a:pt x="637" y="531"/>
                  </a:cubicBezTo>
                  <a:cubicBezTo>
                    <a:pt x="634" y="526"/>
                    <a:pt x="640" y="526"/>
                    <a:pt x="642" y="526"/>
                  </a:cubicBezTo>
                  <a:cubicBezTo>
                    <a:pt x="646" y="526"/>
                    <a:pt x="647" y="524"/>
                    <a:pt x="650" y="526"/>
                  </a:cubicBezTo>
                  <a:cubicBezTo>
                    <a:pt x="653" y="528"/>
                    <a:pt x="654" y="534"/>
                    <a:pt x="658" y="536"/>
                  </a:cubicBezTo>
                  <a:cubicBezTo>
                    <a:pt x="661" y="537"/>
                    <a:pt x="663" y="535"/>
                    <a:pt x="666" y="535"/>
                  </a:cubicBezTo>
                  <a:cubicBezTo>
                    <a:pt x="668" y="535"/>
                    <a:pt x="669" y="536"/>
                    <a:pt x="671" y="536"/>
                  </a:cubicBezTo>
                  <a:cubicBezTo>
                    <a:pt x="676" y="536"/>
                    <a:pt x="678" y="531"/>
                    <a:pt x="675" y="527"/>
                  </a:cubicBezTo>
                  <a:cubicBezTo>
                    <a:pt x="678" y="527"/>
                    <a:pt x="681" y="528"/>
                    <a:pt x="683" y="529"/>
                  </a:cubicBezTo>
                  <a:cubicBezTo>
                    <a:pt x="686" y="530"/>
                    <a:pt x="690" y="533"/>
                    <a:pt x="692" y="533"/>
                  </a:cubicBezTo>
                  <a:cubicBezTo>
                    <a:pt x="693" y="533"/>
                    <a:pt x="694" y="533"/>
                    <a:pt x="695" y="533"/>
                  </a:cubicBezTo>
                  <a:cubicBezTo>
                    <a:pt x="695" y="533"/>
                    <a:pt x="695" y="532"/>
                    <a:pt x="696" y="532"/>
                  </a:cubicBezTo>
                  <a:cubicBezTo>
                    <a:pt x="696" y="533"/>
                    <a:pt x="695" y="533"/>
                    <a:pt x="695" y="533"/>
                  </a:cubicBezTo>
                  <a:cubicBezTo>
                    <a:pt x="693" y="535"/>
                    <a:pt x="691" y="537"/>
                    <a:pt x="690" y="539"/>
                  </a:cubicBezTo>
                  <a:cubicBezTo>
                    <a:pt x="688" y="541"/>
                    <a:pt x="687" y="542"/>
                    <a:pt x="688" y="545"/>
                  </a:cubicBezTo>
                  <a:cubicBezTo>
                    <a:pt x="692" y="545"/>
                    <a:pt x="696" y="544"/>
                    <a:pt x="698" y="540"/>
                  </a:cubicBezTo>
                  <a:cubicBezTo>
                    <a:pt x="698" y="538"/>
                    <a:pt x="698" y="535"/>
                    <a:pt x="698" y="533"/>
                  </a:cubicBezTo>
                  <a:cubicBezTo>
                    <a:pt x="700" y="533"/>
                    <a:pt x="701" y="532"/>
                    <a:pt x="702" y="532"/>
                  </a:cubicBezTo>
                  <a:cubicBezTo>
                    <a:pt x="705" y="531"/>
                    <a:pt x="707" y="530"/>
                    <a:pt x="709" y="530"/>
                  </a:cubicBezTo>
                  <a:cubicBezTo>
                    <a:pt x="712" y="529"/>
                    <a:pt x="719" y="527"/>
                    <a:pt x="721" y="525"/>
                  </a:cubicBezTo>
                  <a:cubicBezTo>
                    <a:pt x="723" y="522"/>
                    <a:pt x="722" y="518"/>
                    <a:pt x="722" y="515"/>
                  </a:cubicBezTo>
                  <a:cubicBezTo>
                    <a:pt x="723" y="513"/>
                    <a:pt x="723" y="510"/>
                    <a:pt x="724" y="509"/>
                  </a:cubicBezTo>
                  <a:cubicBezTo>
                    <a:pt x="725" y="508"/>
                    <a:pt x="728" y="505"/>
                    <a:pt x="730" y="506"/>
                  </a:cubicBezTo>
                  <a:cubicBezTo>
                    <a:pt x="734" y="508"/>
                    <a:pt x="729" y="514"/>
                    <a:pt x="736" y="512"/>
                  </a:cubicBezTo>
                  <a:cubicBezTo>
                    <a:pt x="737" y="510"/>
                    <a:pt x="737" y="507"/>
                    <a:pt x="737" y="506"/>
                  </a:cubicBezTo>
                  <a:cubicBezTo>
                    <a:pt x="736" y="504"/>
                    <a:pt x="734" y="503"/>
                    <a:pt x="734" y="501"/>
                  </a:cubicBezTo>
                  <a:cubicBezTo>
                    <a:pt x="733" y="499"/>
                    <a:pt x="733" y="493"/>
                    <a:pt x="734" y="490"/>
                  </a:cubicBezTo>
                  <a:cubicBezTo>
                    <a:pt x="737" y="489"/>
                    <a:pt x="740" y="501"/>
                    <a:pt x="742" y="502"/>
                  </a:cubicBezTo>
                  <a:cubicBezTo>
                    <a:pt x="746" y="506"/>
                    <a:pt x="752" y="500"/>
                    <a:pt x="754" y="497"/>
                  </a:cubicBezTo>
                  <a:cubicBezTo>
                    <a:pt x="758" y="491"/>
                    <a:pt x="761" y="484"/>
                    <a:pt x="769" y="482"/>
                  </a:cubicBezTo>
                  <a:cubicBezTo>
                    <a:pt x="772" y="482"/>
                    <a:pt x="775" y="482"/>
                    <a:pt x="778" y="482"/>
                  </a:cubicBezTo>
                  <a:cubicBezTo>
                    <a:pt x="781" y="482"/>
                    <a:pt x="784" y="483"/>
                    <a:pt x="786" y="483"/>
                  </a:cubicBezTo>
                  <a:cubicBezTo>
                    <a:pt x="792" y="485"/>
                    <a:pt x="791" y="482"/>
                    <a:pt x="796" y="479"/>
                  </a:cubicBezTo>
                  <a:cubicBezTo>
                    <a:pt x="797" y="478"/>
                    <a:pt x="800" y="478"/>
                    <a:pt x="801" y="478"/>
                  </a:cubicBezTo>
                  <a:cubicBezTo>
                    <a:pt x="805" y="477"/>
                    <a:pt x="809" y="477"/>
                    <a:pt x="813" y="477"/>
                  </a:cubicBezTo>
                  <a:cubicBezTo>
                    <a:pt x="816" y="476"/>
                    <a:pt x="821" y="475"/>
                    <a:pt x="823" y="477"/>
                  </a:cubicBezTo>
                  <a:cubicBezTo>
                    <a:pt x="824" y="473"/>
                    <a:pt x="832" y="470"/>
                    <a:pt x="836" y="469"/>
                  </a:cubicBezTo>
                  <a:cubicBezTo>
                    <a:pt x="839" y="468"/>
                    <a:pt x="846" y="470"/>
                    <a:pt x="848" y="467"/>
                  </a:cubicBezTo>
                  <a:cubicBezTo>
                    <a:pt x="851" y="470"/>
                    <a:pt x="856" y="461"/>
                    <a:pt x="857" y="459"/>
                  </a:cubicBezTo>
                  <a:cubicBezTo>
                    <a:pt x="860" y="456"/>
                    <a:pt x="861" y="454"/>
                    <a:pt x="865" y="453"/>
                  </a:cubicBezTo>
                  <a:cubicBezTo>
                    <a:pt x="867" y="453"/>
                    <a:pt x="870" y="453"/>
                    <a:pt x="872" y="453"/>
                  </a:cubicBezTo>
                  <a:cubicBezTo>
                    <a:pt x="876" y="452"/>
                    <a:pt x="879" y="449"/>
                    <a:pt x="883" y="448"/>
                  </a:cubicBezTo>
                  <a:cubicBezTo>
                    <a:pt x="886" y="448"/>
                    <a:pt x="889" y="449"/>
                    <a:pt x="892" y="448"/>
                  </a:cubicBezTo>
                  <a:cubicBezTo>
                    <a:pt x="895" y="448"/>
                    <a:pt x="898" y="448"/>
                    <a:pt x="901" y="447"/>
                  </a:cubicBezTo>
                  <a:cubicBezTo>
                    <a:pt x="905" y="447"/>
                    <a:pt x="907" y="446"/>
                    <a:pt x="910" y="443"/>
                  </a:cubicBezTo>
                  <a:cubicBezTo>
                    <a:pt x="912" y="442"/>
                    <a:pt x="914" y="441"/>
                    <a:pt x="916" y="441"/>
                  </a:cubicBezTo>
                  <a:cubicBezTo>
                    <a:pt x="919" y="440"/>
                    <a:pt x="920" y="444"/>
                    <a:pt x="923" y="444"/>
                  </a:cubicBezTo>
                  <a:cubicBezTo>
                    <a:pt x="924" y="444"/>
                    <a:pt x="926" y="443"/>
                    <a:pt x="927" y="442"/>
                  </a:cubicBezTo>
                  <a:cubicBezTo>
                    <a:pt x="922" y="441"/>
                    <a:pt x="918" y="438"/>
                    <a:pt x="912" y="437"/>
                  </a:cubicBezTo>
                  <a:cubicBezTo>
                    <a:pt x="907" y="437"/>
                    <a:pt x="906" y="438"/>
                    <a:pt x="906" y="432"/>
                  </a:cubicBezTo>
                  <a:cubicBezTo>
                    <a:pt x="905" y="427"/>
                    <a:pt x="904" y="422"/>
                    <a:pt x="905" y="417"/>
                  </a:cubicBezTo>
                  <a:cubicBezTo>
                    <a:pt x="906" y="414"/>
                    <a:pt x="908" y="410"/>
                    <a:pt x="911" y="408"/>
                  </a:cubicBezTo>
                  <a:cubicBezTo>
                    <a:pt x="914" y="407"/>
                    <a:pt x="915" y="407"/>
                    <a:pt x="917" y="405"/>
                  </a:cubicBezTo>
                  <a:cubicBezTo>
                    <a:pt x="919" y="403"/>
                    <a:pt x="920" y="402"/>
                    <a:pt x="923" y="401"/>
                  </a:cubicBezTo>
                  <a:cubicBezTo>
                    <a:pt x="926" y="400"/>
                    <a:pt x="931" y="403"/>
                    <a:pt x="934" y="401"/>
                  </a:cubicBezTo>
                  <a:cubicBezTo>
                    <a:pt x="938" y="399"/>
                    <a:pt x="935" y="394"/>
                    <a:pt x="937" y="391"/>
                  </a:cubicBezTo>
                  <a:cubicBezTo>
                    <a:pt x="939" y="389"/>
                    <a:pt x="943" y="390"/>
                    <a:pt x="946" y="390"/>
                  </a:cubicBezTo>
                  <a:cubicBezTo>
                    <a:pt x="947" y="390"/>
                    <a:pt x="949" y="389"/>
                    <a:pt x="949" y="389"/>
                  </a:cubicBezTo>
                  <a:cubicBezTo>
                    <a:pt x="951" y="389"/>
                    <a:pt x="952" y="391"/>
                    <a:pt x="954" y="391"/>
                  </a:cubicBezTo>
                  <a:cubicBezTo>
                    <a:pt x="955" y="391"/>
                    <a:pt x="957" y="389"/>
                    <a:pt x="958" y="389"/>
                  </a:cubicBezTo>
                  <a:cubicBezTo>
                    <a:pt x="961" y="387"/>
                    <a:pt x="964" y="387"/>
                    <a:pt x="967" y="387"/>
                  </a:cubicBezTo>
                  <a:cubicBezTo>
                    <a:pt x="972" y="387"/>
                    <a:pt x="976" y="387"/>
                    <a:pt x="979" y="388"/>
                  </a:cubicBezTo>
                  <a:cubicBezTo>
                    <a:pt x="984" y="390"/>
                    <a:pt x="987" y="391"/>
                    <a:pt x="992" y="387"/>
                  </a:cubicBezTo>
                  <a:cubicBezTo>
                    <a:pt x="993" y="386"/>
                    <a:pt x="994" y="384"/>
                    <a:pt x="995" y="383"/>
                  </a:cubicBezTo>
                  <a:cubicBezTo>
                    <a:pt x="997" y="382"/>
                    <a:pt x="998" y="382"/>
                    <a:pt x="999" y="381"/>
                  </a:cubicBezTo>
                  <a:cubicBezTo>
                    <a:pt x="1001" y="379"/>
                    <a:pt x="1000" y="379"/>
                    <a:pt x="1001" y="377"/>
                  </a:cubicBezTo>
                  <a:cubicBezTo>
                    <a:pt x="1002" y="371"/>
                    <a:pt x="1000" y="365"/>
                    <a:pt x="1002" y="359"/>
                  </a:cubicBezTo>
                  <a:cubicBezTo>
                    <a:pt x="1003" y="357"/>
                    <a:pt x="1005" y="355"/>
                    <a:pt x="1006" y="353"/>
                  </a:cubicBezTo>
                  <a:cubicBezTo>
                    <a:pt x="1007" y="352"/>
                    <a:pt x="1010" y="352"/>
                    <a:pt x="1009" y="349"/>
                  </a:cubicBezTo>
                  <a:cubicBezTo>
                    <a:pt x="1005" y="349"/>
                    <a:pt x="1004" y="349"/>
                    <a:pt x="1002" y="346"/>
                  </a:cubicBezTo>
                  <a:cubicBezTo>
                    <a:pt x="1002" y="347"/>
                    <a:pt x="1001" y="347"/>
                    <a:pt x="1001" y="347"/>
                  </a:cubicBezTo>
                  <a:cubicBezTo>
                    <a:pt x="998" y="342"/>
                    <a:pt x="998" y="336"/>
                    <a:pt x="997" y="331"/>
                  </a:cubicBezTo>
                  <a:cubicBezTo>
                    <a:pt x="995" y="331"/>
                    <a:pt x="994" y="331"/>
                    <a:pt x="992" y="331"/>
                  </a:cubicBezTo>
                  <a:cubicBezTo>
                    <a:pt x="991" y="326"/>
                    <a:pt x="992" y="319"/>
                    <a:pt x="992" y="314"/>
                  </a:cubicBezTo>
                  <a:cubicBezTo>
                    <a:pt x="992" y="313"/>
                    <a:pt x="991" y="308"/>
                    <a:pt x="992" y="306"/>
                  </a:cubicBezTo>
                  <a:cubicBezTo>
                    <a:pt x="994" y="302"/>
                    <a:pt x="1014" y="306"/>
                    <a:pt x="1011" y="300"/>
                  </a:cubicBezTo>
                  <a:cubicBezTo>
                    <a:pt x="1010" y="297"/>
                    <a:pt x="1003" y="298"/>
                    <a:pt x="1001" y="298"/>
                  </a:cubicBezTo>
                  <a:cubicBezTo>
                    <a:pt x="995" y="298"/>
                    <a:pt x="993" y="295"/>
                    <a:pt x="988" y="291"/>
                  </a:cubicBezTo>
                  <a:cubicBezTo>
                    <a:pt x="983" y="287"/>
                    <a:pt x="982" y="283"/>
                    <a:pt x="990" y="282"/>
                  </a:cubicBezTo>
                  <a:cubicBezTo>
                    <a:pt x="996" y="282"/>
                    <a:pt x="1002" y="283"/>
                    <a:pt x="1008" y="282"/>
                  </a:cubicBezTo>
                  <a:cubicBezTo>
                    <a:pt x="1008" y="280"/>
                    <a:pt x="1008" y="278"/>
                    <a:pt x="1009" y="276"/>
                  </a:cubicBezTo>
                  <a:cubicBezTo>
                    <a:pt x="1012" y="269"/>
                    <a:pt x="1018" y="273"/>
                    <a:pt x="1024" y="269"/>
                  </a:cubicBezTo>
                  <a:cubicBezTo>
                    <a:pt x="1026" y="267"/>
                    <a:pt x="1026" y="266"/>
                    <a:pt x="1024" y="264"/>
                  </a:cubicBezTo>
                  <a:moveTo>
                    <a:pt x="134" y="165"/>
                  </a:moveTo>
                  <a:cubicBezTo>
                    <a:pt x="134" y="165"/>
                    <a:pt x="134" y="165"/>
                    <a:pt x="134" y="165"/>
                  </a:cubicBezTo>
                  <a:cubicBezTo>
                    <a:pt x="134" y="165"/>
                    <a:pt x="134" y="165"/>
                    <a:pt x="133" y="165"/>
                  </a:cubicBezTo>
                  <a:lnTo>
                    <a:pt x="134" y="16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37" name="Freeform 6">
              <a:extLst>
                <a:ext uri="{FF2B5EF4-FFF2-40B4-BE49-F238E27FC236}">
                  <a16:creationId xmlns:a16="http://schemas.microsoft.com/office/drawing/2014/main" id="{87F47A36-7168-4564-9458-AABAB7621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5363" y="5638800"/>
              <a:ext cx="84138" cy="50800"/>
            </a:xfrm>
            <a:custGeom>
              <a:avLst/>
              <a:gdLst/>
              <a:ahLst/>
              <a:cxnLst>
                <a:cxn ang="0">
                  <a:pos x="17" y="3"/>
                </a:cxn>
                <a:cxn ang="0">
                  <a:pos x="15" y="1"/>
                </a:cxn>
                <a:cxn ang="0">
                  <a:pos x="13" y="0"/>
                </a:cxn>
                <a:cxn ang="0">
                  <a:pos x="10" y="4"/>
                </a:cxn>
                <a:cxn ang="0">
                  <a:pos x="9" y="5"/>
                </a:cxn>
                <a:cxn ang="0">
                  <a:pos x="8" y="6"/>
                </a:cxn>
                <a:cxn ang="0">
                  <a:pos x="7" y="6"/>
                </a:cxn>
                <a:cxn ang="0">
                  <a:pos x="7" y="7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9"/>
                </a:cxn>
                <a:cxn ang="0">
                  <a:pos x="9" y="22"/>
                </a:cxn>
                <a:cxn ang="0">
                  <a:pos x="15" y="22"/>
                </a:cxn>
                <a:cxn ang="0">
                  <a:pos x="18" y="22"/>
                </a:cxn>
                <a:cxn ang="0">
                  <a:pos x="20" y="21"/>
                </a:cxn>
                <a:cxn ang="0">
                  <a:pos x="22" y="21"/>
                </a:cxn>
                <a:cxn ang="0">
                  <a:pos x="25" y="21"/>
                </a:cxn>
                <a:cxn ang="0">
                  <a:pos x="29" y="22"/>
                </a:cxn>
                <a:cxn ang="0">
                  <a:pos x="32" y="24"/>
                </a:cxn>
                <a:cxn ang="0">
                  <a:pos x="39" y="26"/>
                </a:cxn>
                <a:cxn ang="0">
                  <a:pos x="44" y="25"/>
                </a:cxn>
                <a:cxn ang="0">
                  <a:pos x="44" y="19"/>
                </a:cxn>
                <a:cxn ang="0">
                  <a:pos x="43" y="16"/>
                </a:cxn>
                <a:cxn ang="0">
                  <a:pos x="42" y="13"/>
                </a:cxn>
                <a:cxn ang="0">
                  <a:pos x="38" y="10"/>
                </a:cxn>
                <a:cxn ang="0">
                  <a:pos x="35" y="9"/>
                </a:cxn>
                <a:cxn ang="0">
                  <a:pos x="33" y="9"/>
                </a:cxn>
                <a:cxn ang="0">
                  <a:pos x="27" y="5"/>
                </a:cxn>
                <a:cxn ang="0">
                  <a:pos x="23" y="4"/>
                </a:cxn>
                <a:cxn ang="0">
                  <a:pos x="20" y="3"/>
                </a:cxn>
                <a:cxn ang="0">
                  <a:pos x="17" y="3"/>
                </a:cxn>
              </a:cxnLst>
              <a:rect l="0" t="0" r="r" b="b"/>
              <a:pathLst>
                <a:path w="45" h="27">
                  <a:moveTo>
                    <a:pt x="17" y="3"/>
                  </a:moveTo>
                  <a:cubicBezTo>
                    <a:pt x="17" y="2"/>
                    <a:pt x="16" y="2"/>
                    <a:pt x="15" y="1"/>
                  </a:cubicBezTo>
                  <a:cubicBezTo>
                    <a:pt x="14" y="1"/>
                    <a:pt x="13" y="0"/>
                    <a:pt x="13" y="0"/>
                  </a:cubicBezTo>
                  <a:cubicBezTo>
                    <a:pt x="11" y="1"/>
                    <a:pt x="11" y="2"/>
                    <a:pt x="10" y="4"/>
                  </a:cubicBezTo>
                  <a:cubicBezTo>
                    <a:pt x="10" y="4"/>
                    <a:pt x="10" y="5"/>
                    <a:pt x="9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5" y="8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1" y="16"/>
                    <a:pt x="3" y="17"/>
                    <a:pt x="5" y="19"/>
                  </a:cubicBezTo>
                  <a:cubicBezTo>
                    <a:pt x="6" y="20"/>
                    <a:pt x="7" y="21"/>
                    <a:pt x="9" y="22"/>
                  </a:cubicBezTo>
                  <a:cubicBezTo>
                    <a:pt x="11" y="22"/>
                    <a:pt x="13" y="22"/>
                    <a:pt x="15" y="22"/>
                  </a:cubicBezTo>
                  <a:cubicBezTo>
                    <a:pt x="16" y="23"/>
                    <a:pt x="17" y="23"/>
                    <a:pt x="18" y="22"/>
                  </a:cubicBezTo>
                  <a:cubicBezTo>
                    <a:pt x="19" y="22"/>
                    <a:pt x="19" y="22"/>
                    <a:pt x="20" y="21"/>
                  </a:cubicBezTo>
                  <a:cubicBezTo>
                    <a:pt x="20" y="21"/>
                    <a:pt x="21" y="21"/>
                    <a:pt x="22" y="21"/>
                  </a:cubicBezTo>
                  <a:cubicBezTo>
                    <a:pt x="23" y="21"/>
                    <a:pt x="24" y="21"/>
                    <a:pt x="25" y="21"/>
                  </a:cubicBezTo>
                  <a:cubicBezTo>
                    <a:pt x="27" y="21"/>
                    <a:pt x="28" y="22"/>
                    <a:pt x="29" y="22"/>
                  </a:cubicBezTo>
                  <a:cubicBezTo>
                    <a:pt x="30" y="22"/>
                    <a:pt x="31" y="23"/>
                    <a:pt x="32" y="24"/>
                  </a:cubicBezTo>
                  <a:cubicBezTo>
                    <a:pt x="34" y="25"/>
                    <a:pt x="36" y="26"/>
                    <a:pt x="39" y="26"/>
                  </a:cubicBezTo>
                  <a:cubicBezTo>
                    <a:pt x="40" y="27"/>
                    <a:pt x="43" y="27"/>
                    <a:pt x="44" y="25"/>
                  </a:cubicBezTo>
                  <a:cubicBezTo>
                    <a:pt x="45" y="23"/>
                    <a:pt x="44" y="21"/>
                    <a:pt x="44" y="19"/>
                  </a:cubicBezTo>
                  <a:cubicBezTo>
                    <a:pt x="43" y="18"/>
                    <a:pt x="43" y="17"/>
                    <a:pt x="43" y="16"/>
                  </a:cubicBezTo>
                  <a:cubicBezTo>
                    <a:pt x="43" y="15"/>
                    <a:pt x="43" y="14"/>
                    <a:pt x="42" y="13"/>
                  </a:cubicBezTo>
                  <a:cubicBezTo>
                    <a:pt x="41" y="11"/>
                    <a:pt x="39" y="11"/>
                    <a:pt x="38" y="10"/>
                  </a:cubicBezTo>
                  <a:cubicBezTo>
                    <a:pt x="37" y="10"/>
                    <a:pt x="36" y="9"/>
                    <a:pt x="35" y="9"/>
                  </a:cubicBezTo>
                  <a:cubicBezTo>
                    <a:pt x="34" y="9"/>
                    <a:pt x="34" y="9"/>
                    <a:pt x="33" y="9"/>
                  </a:cubicBezTo>
                  <a:cubicBezTo>
                    <a:pt x="31" y="8"/>
                    <a:pt x="29" y="6"/>
                    <a:pt x="27" y="5"/>
                  </a:cubicBezTo>
                  <a:cubicBezTo>
                    <a:pt x="26" y="5"/>
                    <a:pt x="24" y="5"/>
                    <a:pt x="23" y="4"/>
                  </a:cubicBezTo>
                  <a:cubicBezTo>
                    <a:pt x="22" y="4"/>
                    <a:pt x="21" y="4"/>
                    <a:pt x="20" y="3"/>
                  </a:cubicBezTo>
                  <a:cubicBezTo>
                    <a:pt x="20" y="3"/>
                    <a:pt x="19" y="4"/>
                    <a:pt x="17" y="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38" name="Freeform 7">
              <a:extLst>
                <a:ext uri="{FF2B5EF4-FFF2-40B4-BE49-F238E27FC236}">
                  <a16:creationId xmlns:a16="http://schemas.microsoft.com/office/drawing/2014/main" id="{43AD5075-CF16-4449-A9A4-71F3A9F58E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5850" y="3716338"/>
              <a:ext cx="463550" cy="674688"/>
            </a:xfrm>
            <a:custGeom>
              <a:avLst/>
              <a:gdLst/>
              <a:ahLst/>
              <a:cxnLst>
                <a:cxn ang="0">
                  <a:pos x="182" y="8"/>
                </a:cxn>
                <a:cxn ang="0">
                  <a:pos x="163" y="8"/>
                </a:cxn>
                <a:cxn ang="0">
                  <a:pos x="124" y="24"/>
                </a:cxn>
                <a:cxn ang="0">
                  <a:pos x="114" y="53"/>
                </a:cxn>
                <a:cxn ang="0">
                  <a:pos x="94" y="68"/>
                </a:cxn>
                <a:cxn ang="0">
                  <a:pos x="127" y="72"/>
                </a:cxn>
                <a:cxn ang="0">
                  <a:pos x="110" y="90"/>
                </a:cxn>
                <a:cxn ang="0">
                  <a:pos x="100" y="105"/>
                </a:cxn>
                <a:cxn ang="0">
                  <a:pos x="75" y="113"/>
                </a:cxn>
                <a:cxn ang="0">
                  <a:pos x="33" y="106"/>
                </a:cxn>
                <a:cxn ang="0">
                  <a:pos x="31" y="131"/>
                </a:cxn>
                <a:cxn ang="0">
                  <a:pos x="14" y="139"/>
                </a:cxn>
                <a:cxn ang="0">
                  <a:pos x="40" y="142"/>
                </a:cxn>
                <a:cxn ang="0">
                  <a:pos x="35" y="153"/>
                </a:cxn>
                <a:cxn ang="0">
                  <a:pos x="24" y="179"/>
                </a:cxn>
                <a:cxn ang="0">
                  <a:pos x="37" y="189"/>
                </a:cxn>
                <a:cxn ang="0">
                  <a:pos x="45" y="197"/>
                </a:cxn>
                <a:cxn ang="0">
                  <a:pos x="74" y="214"/>
                </a:cxn>
                <a:cxn ang="0">
                  <a:pos x="55" y="240"/>
                </a:cxn>
                <a:cxn ang="0">
                  <a:pos x="39" y="257"/>
                </a:cxn>
                <a:cxn ang="0">
                  <a:pos x="70" y="260"/>
                </a:cxn>
                <a:cxn ang="0">
                  <a:pos x="40" y="289"/>
                </a:cxn>
                <a:cxn ang="0">
                  <a:pos x="4" y="292"/>
                </a:cxn>
                <a:cxn ang="0">
                  <a:pos x="24" y="304"/>
                </a:cxn>
                <a:cxn ang="0">
                  <a:pos x="23" y="310"/>
                </a:cxn>
                <a:cxn ang="0">
                  <a:pos x="10" y="331"/>
                </a:cxn>
                <a:cxn ang="0">
                  <a:pos x="51" y="325"/>
                </a:cxn>
                <a:cxn ang="0">
                  <a:pos x="19" y="346"/>
                </a:cxn>
                <a:cxn ang="0">
                  <a:pos x="56" y="341"/>
                </a:cxn>
                <a:cxn ang="0">
                  <a:pos x="60" y="357"/>
                </a:cxn>
                <a:cxn ang="0">
                  <a:pos x="104" y="344"/>
                </a:cxn>
                <a:cxn ang="0">
                  <a:pos x="134" y="322"/>
                </a:cxn>
                <a:cxn ang="0">
                  <a:pos x="173" y="302"/>
                </a:cxn>
                <a:cxn ang="0">
                  <a:pos x="208" y="294"/>
                </a:cxn>
                <a:cxn ang="0">
                  <a:pos x="219" y="277"/>
                </a:cxn>
                <a:cxn ang="0">
                  <a:pos x="238" y="240"/>
                </a:cxn>
                <a:cxn ang="0">
                  <a:pos x="230" y="195"/>
                </a:cxn>
                <a:cxn ang="0">
                  <a:pos x="245" y="187"/>
                </a:cxn>
                <a:cxn ang="0">
                  <a:pos x="225" y="161"/>
                </a:cxn>
                <a:cxn ang="0">
                  <a:pos x="231" y="134"/>
                </a:cxn>
                <a:cxn ang="0">
                  <a:pos x="234" y="126"/>
                </a:cxn>
                <a:cxn ang="0">
                  <a:pos x="218" y="123"/>
                </a:cxn>
                <a:cxn ang="0">
                  <a:pos x="201" y="112"/>
                </a:cxn>
                <a:cxn ang="0">
                  <a:pos x="184" y="95"/>
                </a:cxn>
                <a:cxn ang="0">
                  <a:pos x="172" y="114"/>
                </a:cxn>
                <a:cxn ang="0">
                  <a:pos x="153" y="114"/>
                </a:cxn>
                <a:cxn ang="0">
                  <a:pos x="137" y="104"/>
                </a:cxn>
                <a:cxn ang="0">
                  <a:pos x="130" y="90"/>
                </a:cxn>
                <a:cxn ang="0">
                  <a:pos x="149" y="73"/>
                </a:cxn>
                <a:cxn ang="0">
                  <a:pos x="147" y="63"/>
                </a:cxn>
                <a:cxn ang="0">
                  <a:pos x="165" y="46"/>
                </a:cxn>
                <a:cxn ang="0">
                  <a:pos x="184" y="28"/>
                </a:cxn>
                <a:cxn ang="0">
                  <a:pos x="191" y="16"/>
                </a:cxn>
                <a:cxn ang="0">
                  <a:pos x="240" y="128"/>
                </a:cxn>
                <a:cxn ang="0">
                  <a:pos x="216" y="17"/>
                </a:cxn>
                <a:cxn ang="0">
                  <a:pos x="214" y="18"/>
                </a:cxn>
              </a:cxnLst>
              <a:rect l="0" t="0" r="r" b="b"/>
              <a:pathLst>
                <a:path w="248" h="361">
                  <a:moveTo>
                    <a:pt x="203" y="10"/>
                  </a:moveTo>
                  <a:cubicBezTo>
                    <a:pt x="201" y="10"/>
                    <a:pt x="199" y="10"/>
                    <a:pt x="198" y="10"/>
                  </a:cubicBezTo>
                  <a:cubicBezTo>
                    <a:pt x="197" y="10"/>
                    <a:pt x="195" y="11"/>
                    <a:pt x="194" y="10"/>
                  </a:cubicBezTo>
                  <a:cubicBezTo>
                    <a:pt x="191" y="10"/>
                    <a:pt x="189" y="8"/>
                    <a:pt x="187" y="8"/>
                  </a:cubicBezTo>
                  <a:cubicBezTo>
                    <a:pt x="185" y="8"/>
                    <a:pt x="183" y="9"/>
                    <a:pt x="182" y="8"/>
                  </a:cubicBezTo>
                  <a:cubicBezTo>
                    <a:pt x="180" y="7"/>
                    <a:pt x="181" y="6"/>
                    <a:pt x="179" y="5"/>
                  </a:cubicBezTo>
                  <a:cubicBezTo>
                    <a:pt x="178" y="4"/>
                    <a:pt x="176" y="4"/>
                    <a:pt x="175" y="4"/>
                  </a:cubicBezTo>
                  <a:cubicBezTo>
                    <a:pt x="172" y="4"/>
                    <a:pt x="172" y="4"/>
                    <a:pt x="170" y="3"/>
                  </a:cubicBezTo>
                  <a:cubicBezTo>
                    <a:pt x="168" y="2"/>
                    <a:pt x="167" y="0"/>
                    <a:pt x="165" y="3"/>
                  </a:cubicBezTo>
                  <a:cubicBezTo>
                    <a:pt x="163" y="4"/>
                    <a:pt x="165" y="7"/>
                    <a:pt x="163" y="8"/>
                  </a:cubicBezTo>
                  <a:cubicBezTo>
                    <a:pt x="162" y="9"/>
                    <a:pt x="160" y="8"/>
                    <a:pt x="159" y="8"/>
                  </a:cubicBezTo>
                  <a:cubicBezTo>
                    <a:pt x="154" y="8"/>
                    <a:pt x="137" y="8"/>
                    <a:pt x="138" y="16"/>
                  </a:cubicBezTo>
                  <a:cubicBezTo>
                    <a:pt x="135" y="17"/>
                    <a:pt x="133" y="13"/>
                    <a:pt x="131" y="11"/>
                  </a:cubicBezTo>
                  <a:cubicBezTo>
                    <a:pt x="128" y="14"/>
                    <a:pt x="133" y="21"/>
                    <a:pt x="128" y="24"/>
                  </a:cubicBezTo>
                  <a:cubicBezTo>
                    <a:pt x="127" y="24"/>
                    <a:pt x="125" y="24"/>
                    <a:pt x="124" y="24"/>
                  </a:cubicBezTo>
                  <a:cubicBezTo>
                    <a:pt x="123" y="24"/>
                    <a:pt x="122" y="25"/>
                    <a:pt x="121" y="26"/>
                  </a:cubicBezTo>
                  <a:cubicBezTo>
                    <a:pt x="120" y="26"/>
                    <a:pt x="117" y="25"/>
                    <a:pt x="116" y="26"/>
                  </a:cubicBezTo>
                  <a:cubicBezTo>
                    <a:pt x="112" y="29"/>
                    <a:pt x="116" y="34"/>
                    <a:pt x="112" y="37"/>
                  </a:cubicBezTo>
                  <a:cubicBezTo>
                    <a:pt x="110" y="39"/>
                    <a:pt x="104" y="40"/>
                    <a:pt x="105" y="46"/>
                  </a:cubicBezTo>
                  <a:cubicBezTo>
                    <a:pt x="109" y="46"/>
                    <a:pt x="115" y="48"/>
                    <a:pt x="114" y="53"/>
                  </a:cubicBezTo>
                  <a:cubicBezTo>
                    <a:pt x="112" y="58"/>
                    <a:pt x="109" y="54"/>
                    <a:pt x="106" y="55"/>
                  </a:cubicBezTo>
                  <a:cubicBezTo>
                    <a:pt x="103" y="55"/>
                    <a:pt x="104" y="55"/>
                    <a:pt x="103" y="57"/>
                  </a:cubicBezTo>
                  <a:cubicBezTo>
                    <a:pt x="103" y="58"/>
                    <a:pt x="103" y="58"/>
                    <a:pt x="103" y="59"/>
                  </a:cubicBezTo>
                  <a:cubicBezTo>
                    <a:pt x="102" y="60"/>
                    <a:pt x="102" y="59"/>
                    <a:pt x="101" y="60"/>
                  </a:cubicBezTo>
                  <a:cubicBezTo>
                    <a:pt x="98" y="62"/>
                    <a:pt x="96" y="65"/>
                    <a:pt x="94" y="68"/>
                  </a:cubicBezTo>
                  <a:cubicBezTo>
                    <a:pt x="91" y="71"/>
                    <a:pt x="88" y="75"/>
                    <a:pt x="94" y="76"/>
                  </a:cubicBezTo>
                  <a:cubicBezTo>
                    <a:pt x="96" y="77"/>
                    <a:pt x="98" y="76"/>
                    <a:pt x="100" y="76"/>
                  </a:cubicBezTo>
                  <a:cubicBezTo>
                    <a:pt x="102" y="76"/>
                    <a:pt x="103" y="78"/>
                    <a:pt x="105" y="78"/>
                  </a:cubicBezTo>
                  <a:cubicBezTo>
                    <a:pt x="110" y="80"/>
                    <a:pt x="112" y="77"/>
                    <a:pt x="117" y="76"/>
                  </a:cubicBezTo>
                  <a:cubicBezTo>
                    <a:pt x="120" y="75"/>
                    <a:pt x="123" y="74"/>
                    <a:pt x="127" y="72"/>
                  </a:cubicBezTo>
                  <a:cubicBezTo>
                    <a:pt x="127" y="75"/>
                    <a:pt x="127" y="76"/>
                    <a:pt x="126" y="77"/>
                  </a:cubicBezTo>
                  <a:cubicBezTo>
                    <a:pt x="124" y="80"/>
                    <a:pt x="123" y="80"/>
                    <a:pt x="122" y="83"/>
                  </a:cubicBezTo>
                  <a:cubicBezTo>
                    <a:pt x="121" y="85"/>
                    <a:pt x="122" y="85"/>
                    <a:pt x="120" y="86"/>
                  </a:cubicBezTo>
                  <a:cubicBezTo>
                    <a:pt x="119" y="87"/>
                    <a:pt x="117" y="87"/>
                    <a:pt x="115" y="88"/>
                  </a:cubicBezTo>
                  <a:cubicBezTo>
                    <a:pt x="113" y="88"/>
                    <a:pt x="112" y="90"/>
                    <a:pt x="110" y="90"/>
                  </a:cubicBezTo>
                  <a:cubicBezTo>
                    <a:pt x="109" y="91"/>
                    <a:pt x="108" y="90"/>
                    <a:pt x="107" y="90"/>
                  </a:cubicBezTo>
                  <a:cubicBezTo>
                    <a:pt x="106" y="91"/>
                    <a:pt x="106" y="92"/>
                    <a:pt x="105" y="93"/>
                  </a:cubicBezTo>
                  <a:cubicBezTo>
                    <a:pt x="103" y="95"/>
                    <a:pt x="98" y="97"/>
                    <a:pt x="99" y="100"/>
                  </a:cubicBezTo>
                  <a:cubicBezTo>
                    <a:pt x="100" y="100"/>
                    <a:pt x="101" y="100"/>
                    <a:pt x="102" y="100"/>
                  </a:cubicBezTo>
                  <a:cubicBezTo>
                    <a:pt x="103" y="103"/>
                    <a:pt x="103" y="104"/>
                    <a:pt x="100" y="105"/>
                  </a:cubicBezTo>
                  <a:cubicBezTo>
                    <a:pt x="99" y="106"/>
                    <a:pt x="97" y="105"/>
                    <a:pt x="96" y="105"/>
                  </a:cubicBezTo>
                  <a:cubicBezTo>
                    <a:pt x="94" y="106"/>
                    <a:pt x="94" y="106"/>
                    <a:pt x="93" y="106"/>
                  </a:cubicBezTo>
                  <a:cubicBezTo>
                    <a:pt x="90" y="107"/>
                    <a:pt x="90" y="105"/>
                    <a:pt x="87" y="104"/>
                  </a:cubicBezTo>
                  <a:cubicBezTo>
                    <a:pt x="85" y="104"/>
                    <a:pt x="82" y="104"/>
                    <a:pt x="80" y="105"/>
                  </a:cubicBezTo>
                  <a:cubicBezTo>
                    <a:pt x="79" y="108"/>
                    <a:pt x="80" y="114"/>
                    <a:pt x="75" y="113"/>
                  </a:cubicBezTo>
                  <a:cubicBezTo>
                    <a:pt x="69" y="112"/>
                    <a:pt x="72" y="105"/>
                    <a:pt x="66" y="103"/>
                  </a:cubicBezTo>
                  <a:cubicBezTo>
                    <a:pt x="61" y="103"/>
                    <a:pt x="57" y="103"/>
                    <a:pt x="52" y="102"/>
                  </a:cubicBezTo>
                  <a:cubicBezTo>
                    <a:pt x="49" y="102"/>
                    <a:pt x="46" y="101"/>
                    <a:pt x="43" y="101"/>
                  </a:cubicBezTo>
                  <a:cubicBezTo>
                    <a:pt x="40" y="101"/>
                    <a:pt x="37" y="102"/>
                    <a:pt x="33" y="102"/>
                  </a:cubicBezTo>
                  <a:cubicBezTo>
                    <a:pt x="33" y="103"/>
                    <a:pt x="33" y="105"/>
                    <a:pt x="33" y="106"/>
                  </a:cubicBezTo>
                  <a:cubicBezTo>
                    <a:pt x="29" y="107"/>
                    <a:pt x="25" y="107"/>
                    <a:pt x="22" y="111"/>
                  </a:cubicBezTo>
                  <a:cubicBezTo>
                    <a:pt x="20" y="115"/>
                    <a:pt x="17" y="123"/>
                    <a:pt x="20" y="126"/>
                  </a:cubicBezTo>
                  <a:cubicBezTo>
                    <a:pt x="21" y="125"/>
                    <a:pt x="22" y="123"/>
                    <a:pt x="23" y="122"/>
                  </a:cubicBezTo>
                  <a:cubicBezTo>
                    <a:pt x="24" y="120"/>
                    <a:pt x="27" y="117"/>
                    <a:pt x="29" y="117"/>
                  </a:cubicBezTo>
                  <a:cubicBezTo>
                    <a:pt x="33" y="117"/>
                    <a:pt x="32" y="128"/>
                    <a:pt x="31" y="131"/>
                  </a:cubicBezTo>
                  <a:cubicBezTo>
                    <a:pt x="35" y="133"/>
                    <a:pt x="39" y="132"/>
                    <a:pt x="42" y="134"/>
                  </a:cubicBezTo>
                  <a:cubicBezTo>
                    <a:pt x="40" y="137"/>
                    <a:pt x="32" y="136"/>
                    <a:pt x="30" y="134"/>
                  </a:cubicBezTo>
                  <a:cubicBezTo>
                    <a:pt x="27" y="133"/>
                    <a:pt x="28" y="132"/>
                    <a:pt x="24" y="131"/>
                  </a:cubicBezTo>
                  <a:cubicBezTo>
                    <a:pt x="21" y="131"/>
                    <a:pt x="18" y="131"/>
                    <a:pt x="16" y="132"/>
                  </a:cubicBezTo>
                  <a:cubicBezTo>
                    <a:pt x="14" y="133"/>
                    <a:pt x="12" y="136"/>
                    <a:pt x="14" y="139"/>
                  </a:cubicBezTo>
                  <a:cubicBezTo>
                    <a:pt x="16" y="141"/>
                    <a:pt x="19" y="138"/>
                    <a:pt x="21" y="139"/>
                  </a:cubicBezTo>
                  <a:cubicBezTo>
                    <a:pt x="22" y="140"/>
                    <a:pt x="23" y="141"/>
                    <a:pt x="24" y="142"/>
                  </a:cubicBezTo>
                  <a:cubicBezTo>
                    <a:pt x="25" y="144"/>
                    <a:pt x="25" y="143"/>
                    <a:pt x="27" y="144"/>
                  </a:cubicBezTo>
                  <a:cubicBezTo>
                    <a:pt x="31" y="146"/>
                    <a:pt x="34" y="147"/>
                    <a:pt x="38" y="146"/>
                  </a:cubicBezTo>
                  <a:cubicBezTo>
                    <a:pt x="38" y="145"/>
                    <a:pt x="39" y="143"/>
                    <a:pt x="40" y="142"/>
                  </a:cubicBezTo>
                  <a:cubicBezTo>
                    <a:pt x="42" y="141"/>
                    <a:pt x="45" y="142"/>
                    <a:pt x="45" y="145"/>
                  </a:cubicBezTo>
                  <a:cubicBezTo>
                    <a:pt x="45" y="145"/>
                    <a:pt x="46" y="145"/>
                    <a:pt x="47" y="145"/>
                  </a:cubicBezTo>
                  <a:cubicBezTo>
                    <a:pt x="47" y="147"/>
                    <a:pt x="46" y="150"/>
                    <a:pt x="44" y="151"/>
                  </a:cubicBezTo>
                  <a:cubicBezTo>
                    <a:pt x="42" y="151"/>
                    <a:pt x="41" y="150"/>
                    <a:pt x="39" y="151"/>
                  </a:cubicBezTo>
                  <a:cubicBezTo>
                    <a:pt x="38" y="151"/>
                    <a:pt x="36" y="153"/>
                    <a:pt x="35" y="153"/>
                  </a:cubicBezTo>
                  <a:cubicBezTo>
                    <a:pt x="32" y="155"/>
                    <a:pt x="32" y="155"/>
                    <a:pt x="32" y="159"/>
                  </a:cubicBezTo>
                  <a:cubicBezTo>
                    <a:pt x="31" y="162"/>
                    <a:pt x="32" y="165"/>
                    <a:pt x="31" y="169"/>
                  </a:cubicBezTo>
                  <a:cubicBezTo>
                    <a:pt x="29" y="169"/>
                    <a:pt x="26" y="168"/>
                    <a:pt x="24" y="169"/>
                  </a:cubicBezTo>
                  <a:cubicBezTo>
                    <a:pt x="21" y="169"/>
                    <a:pt x="18" y="173"/>
                    <a:pt x="19" y="176"/>
                  </a:cubicBezTo>
                  <a:cubicBezTo>
                    <a:pt x="21" y="176"/>
                    <a:pt x="25" y="176"/>
                    <a:pt x="24" y="179"/>
                  </a:cubicBezTo>
                  <a:cubicBezTo>
                    <a:pt x="21" y="179"/>
                    <a:pt x="21" y="182"/>
                    <a:pt x="18" y="182"/>
                  </a:cubicBezTo>
                  <a:cubicBezTo>
                    <a:pt x="17" y="185"/>
                    <a:pt x="18" y="185"/>
                    <a:pt x="20" y="187"/>
                  </a:cubicBezTo>
                  <a:cubicBezTo>
                    <a:pt x="21" y="188"/>
                    <a:pt x="25" y="190"/>
                    <a:pt x="26" y="190"/>
                  </a:cubicBezTo>
                  <a:cubicBezTo>
                    <a:pt x="28" y="191"/>
                    <a:pt x="30" y="191"/>
                    <a:pt x="31" y="191"/>
                  </a:cubicBezTo>
                  <a:cubicBezTo>
                    <a:pt x="33" y="190"/>
                    <a:pt x="34" y="188"/>
                    <a:pt x="37" y="189"/>
                  </a:cubicBezTo>
                  <a:cubicBezTo>
                    <a:pt x="37" y="190"/>
                    <a:pt x="37" y="191"/>
                    <a:pt x="37" y="192"/>
                  </a:cubicBezTo>
                  <a:cubicBezTo>
                    <a:pt x="36" y="191"/>
                    <a:pt x="35" y="192"/>
                    <a:pt x="34" y="192"/>
                  </a:cubicBezTo>
                  <a:cubicBezTo>
                    <a:pt x="34" y="194"/>
                    <a:pt x="35" y="197"/>
                    <a:pt x="38" y="196"/>
                  </a:cubicBezTo>
                  <a:cubicBezTo>
                    <a:pt x="39" y="195"/>
                    <a:pt x="41" y="191"/>
                    <a:pt x="43" y="191"/>
                  </a:cubicBezTo>
                  <a:cubicBezTo>
                    <a:pt x="45" y="191"/>
                    <a:pt x="44" y="196"/>
                    <a:pt x="45" y="197"/>
                  </a:cubicBezTo>
                  <a:cubicBezTo>
                    <a:pt x="46" y="199"/>
                    <a:pt x="51" y="201"/>
                    <a:pt x="53" y="202"/>
                  </a:cubicBezTo>
                  <a:cubicBezTo>
                    <a:pt x="60" y="203"/>
                    <a:pt x="67" y="200"/>
                    <a:pt x="74" y="200"/>
                  </a:cubicBezTo>
                  <a:cubicBezTo>
                    <a:pt x="78" y="200"/>
                    <a:pt x="82" y="202"/>
                    <a:pt x="81" y="207"/>
                  </a:cubicBezTo>
                  <a:cubicBezTo>
                    <a:pt x="78" y="207"/>
                    <a:pt x="77" y="206"/>
                    <a:pt x="75" y="210"/>
                  </a:cubicBezTo>
                  <a:cubicBezTo>
                    <a:pt x="75" y="212"/>
                    <a:pt x="76" y="213"/>
                    <a:pt x="74" y="214"/>
                  </a:cubicBezTo>
                  <a:cubicBezTo>
                    <a:pt x="72" y="215"/>
                    <a:pt x="69" y="213"/>
                    <a:pt x="69" y="210"/>
                  </a:cubicBezTo>
                  <a:cubicBezTo>
                    <a:pt x="65" y="209"/>
                    <a:pt x="63" y="215"/>
                    <a:pt x="61" y="218"/>
                  </a:cubicBezTo>
                  <a:cubicBezTo>
                    <a:pt x="60" y="221"/>
                    <a:pt x="51" y="228"/>
                    <a:pt x="52" y="232"/>
                  </a:cubicBezTo>
                  <a:cubicBezTo>
                    <a:pt x="55" y="232"/>
                    <a:pt x="57" y="233"/>
                    <a:pt x="59" y="230"/>
                  </a:cubicBezTo>
                  <a:cubicBezTo>
                    <a:pt x="59" y="235"/>
                    <a:pt x="56" y="235"/>
                    <a:pt x="55" y="240"/>
                  </a:cubicBezTo>
                  <a:cubicBezTo>
                    <a:pt x="54" y="243"/>
                    <a:pt x="54" y="243"/>
                    <a:pt x="51" y="245"/>
                  </a:cubicBezTo>
                  <a:cubicBezTo>
                    <a:pt x="50" y="247"/>
                    <a:pt x="49" y="248"/>
                    <a:pt x="48" y="249"/>
                  </a:cubicBezTo>
                  <a:cubicBezTo>
                    <a:pt x="47" y="250"/>
                    <a:pt x="46" y="250"/>
                    <a:pt x="45" y="251"/>
                  </a:cubicBezTo>
                  <a:cubicBezTo>
                    <a:pt x="45" y="251"/>
                    <a:pt x="45" y="252"/>
                    <a:pt x="45" y="253"/>
                  </a:cubicBezTo>
                  <a:cubicBezTo>
                    <a:pt x="44" y="255"/>
                    <a:pt x="41" y="256"/>
                    <a:pt x="39" y="257"/>
                  </a:cubicBezTo>
                  <a:cubicBezTo>
                    <a:pt x="36" y="258"/>
                    <a:pt x="31" y="260"/>
                    <a:pt x="32" y="264"/>
                  </a:cubicBezTo>
                  <a:cubicBezTo>
                    <a:pt x="37" y="265"/>
                    <a:pt x="43" y="264"/>
                    <a:pt x="48" y="261"/>
                  </a:cubicBezTo>
                  <a:cubicBezTo>
                    <a:pt x="51" y="258"/>
                    <a:pt x="51" y="258"/>
                    <a:pt x="55" y="258"/>
                  </a:cubicBezTo>
                  <a:cubicBezTo>
                    <a:pt x="57" y="258"/>
                    <a:pt x="59" y="259"/>
                    <a:pt x="62" y="259"/>
                  </a:cubicBezTo>
                  <a:cubicBezTo>
                    <a:pt x="64" y="260"/>
                    <a:pt x="67" y="259"/>
                    <a:pt x="70" y="260"/>
                  </a:cubicBezTo>
                  <a:cubicBezTo>
                    <a:pt x="72" y="267"/>
                    <a:pt x="52" y="263"/>
                    <a:pt x="48" y="264"/>
                  </a:cubicBezTo>
                  <a:cubicBezTo>
                    <a:pt x="46" y="270"/>
                    <a:pt x="39" y="271"/>
                    <a:pt x="35" y="273"/>
                  </a:cubicBezTo>
                  <a:cubicBezTo>
                    <a:pt x="31" y="275"/>
                    <a:pt x="32" y="275"/>
                    <a:pt x="33" y="279"/>
                  </a:cubicBezTo>
                  <a:cubicBezTo>
                    <a:pt x="33" y="282"/>
                    <a:pt x="33" y="284"/>
                    <a:pt x="33" y="287"/>
                  </a:cubicBezTo>
                  <a:cubicBezTo>
                    <a:pt x="35" y="287"/>
                    <a:pt x="39" y="288"/>
                    <a:pt x="40" y="289"/>
                  </a:cubicBezTo>
                  <a:cubicBezTo>
                    <a:pt x="39" y="292"/>
                    <a:pt x="33" y="291"/>
                    <a:pt x="30" y="290"/>
                  </a:cubicBezTo>
                  <a:cubicBezTo>
                    <a:pt x="30" y="284"/>
                    <a:pt x="26" y="283"/>
                    <a:pt x="21" y="286"/>
                  </a:cubicBezTo>
                  <a:cubicBezTo>
                    <a:pt x="20" y="286"/>
                    <a:pt x="19" y="287"/>
                    <a:pt x="18" y="288"/>
                  </a:cubicBezTo>
                  <a:cubicBezTo>
                    <a:pt x="17" y="288"/>
                    <a:pt x="15" y="288"/>
                    <a:pt x="14" y="288"/>
                  </a:cubicBezTo>
                  <a:cubicBezTo>
                    <a:pt x="11" y="289"/>
                    <a:pt x="7" y="291"/>
                    <a:pt x="4" y="292"/>
                  </a:cubicBezTo>
                  <a:cubicBezTo>
                    <a:pt x="4" y="293"/>
                    <a:pt x="4" y="295"/>
                    <a:pt x="4" y="296"/>
                  </a:cubicBezTo>
                  <a:cubicBezTo>
                    <a:pt x="3" y="296"/>
                    <a:pt x="3" y="297"/>
                    <a:pt x="2" y="297"/>
                  </a:cubicBezTo>
                  <a:cubicBezTo>
                    <a:pt x="2" y="298"/>
                    <a:pt x="2" y="299"/>
                    <a:pt x="2" y="300"/>
                  </a:cubicBezTo>
                  <a:cubicBezTo>
                    <a:pt x="0" y="308"/>
                    <a:pt x="8" y="306"/>
                    <a:pt x="15" y="306"/>
                  </a:cubicBezTo>
                  <a:cubicBezTo>
                    <a:pt x="18" y="305"/>
                    <a:pt x="21" y="304"/>
                    <a:pt x="24" y="304"/>
                  </a:cubicBezTo>
                  <a:cubicBezTo>
                    <a:pt x="26" y="304"/>
                    <a:pt x="29" y="304"/>
                    <a:pt x="31" y="304"/>
                  </a:cubicBezTo>
                  <a:cubicBezTo>
                    <a:pt x="32" y="303"/>
                    <a:pt x="35" y="303"/>
                    <a:pt x="36" y="303"/>
                  </a:cubicBezTo>
                  <a:cubicBezTo>
                    <a:pt x="37" y="302"/>
                    <a:pt x="37" y="300"/>
                    <a:pt x="40" y="301"/>
                  </a:cubicBezTo>
                  <a:cubicBezTo>
                    <a:pt x="41" y="309"/>
                    <a:pt x="35" y="305"/>
                    <a:pt x="30" y="307"/>
                  </a:cubicBezTo>
                  <a:cubicBezTo>
                    <a:pt x="28" y="307"/>
                    <a:pt x="26" y="309"/>
                    <a:pt x="23" y="310"/>
                  </a:cubicBezTo>
                  <a:cubicBezTo>
                    <a:pt x="20" y="311"/>
                    <a:pt x="16" y="312"/>
                    <a:pt x="14" y="313"/>
                  </a:cubicBezTo>
                  <a:cubicBezTo>
                    <a:pt x="12" y="314"/>
                    <a:pt x="12" y="315"/>
                    <a:pt x="11" y="316"/>
                  </a:cubicBezTo>
                  <a:cubicBezTo>
                    <a:pt x="10" y="316"/>
                    <a:pt x="9" y="318"/>
                    <a:pt x="8" y="319"/>
                  </a:cubicBezTo>
                  <a:cubicBezTo>
                    <a:pt x="7" y="321"/>
                    <a:pt x="8" y="322"/>
                    <a:pt x="9" y="325"/>
                  </a:cubicBezTo>
                  <a:cubicBezTo>
                    <a:pt x="9" y="328"/>
                    <a:pt x="8" y="329"/>
                    <a:pt x="10" y="331"/>
                  </a:cubicBezTo>
                  <a:cubicBezTo>
                    <a:pt x="13" y="333"/>
                    <a:pt x="15" y="330"/>
                    <a:pt x="18" y="330"/>
                  </a:cubicBezTo>
                  <a:cubicBezTo>
                    <a:pt x="20" y="334"/>
                    <a:pt x="24" y="337"/>
                    <a:pt x="29" y="337"/>
                  </a:cubicBezTo>
                  <a:cubicBezTo>
                    <a:pt x="34" y="336"/>
                    <a:pt x="31" y="333"/>
                    <a:pt x="34" y="330"/>
                  </a:cubicBezTo>
                  <a:cubicBezTo>
                    <a:pt x="36" y="328"/>
                    <a:pt x="39" y="328"/>
                    <a:pt x="41" y="327"/>
                  </a:cubicBezTo>
                  <a:cubicBezTo>
                    <a:pt x="45" y="326"/>
                    <a:pt x="48" y="324"/>
                    <a:pt x="51" y="325"/>
                  </a:cubicBezTo>
                  <a:cubicBezTo>
                    <a:pt x="52" y="328"/>
                    <a:pt x="48" y="330"/>
                    <a:pt x="46" y="332"/>
                  </a:cubicBezTo>
                  <a:cubicBezTo>
                    <a:pt x="43" y="333"/>
                    <a:pt x="41" y="335"/>
                    <a:pt x="38" y="337"/>
                  </a:cubicBezTo>
                  <a:cubicBezTo>
                    <a:pt x="37" y="338"/>
                    <a:pt x="35" y="339"/>
                    <a:pt x="33" y="340"/>
                  </a:cubicBezTo>
                  <a:cubicBezTo>
                    <a:pt x="31" y="340"/>
                    <a:pt x="30" y="339"/>
                    <a:pt x="28" y="340"/>
                  </a:cubicBezTo>
                  <a:cubicBezTo>
                    <a:pt x="26" y="341"/>
                    <a:pt x="19" y="344"/>
                    <a:pt x="19" y="346"/>
                  </a:cubicBezTo>
                  <a:cubicBezTo>
                    <a:pt x="17" y="350"/>
                    <a:pt x="25" y="351"/>
                    <a:pt x="27" y="350"/>
                  </a:cubicBezTo>
                  <a:cubicBezTo>
                    <a:pt x="30" y="350"/>
                    <a:pt x="30" y="349"/>
                    <a:pt x="31" y="348"/>
                  </a:cubicBezTo>
                  <a:cubicBezTo>
                    <a:pt x="34" y="347"/>
                    <a:pt x="37" y="348"/>
                    <a:pt x="40" y="347"/>
                  </a:cubicBezTo>
                  <a:cubicBezTo>
                    <a:pt x="42" y="346"/>
                    <a:pt x="45" y="345"/>
                    <a:pt x="47" y="343"/>
                  </a:cubicBezTo>
                  <a:cubicBezTo>
                    <a:pt x="50" y="342"/>
                    <a:pt x="53" y="340"/>
                    <a:pt x="56" y="341"/>
                  </a:cubicBezTo>
                  <a:cubicBezTo>
                    <a:pt x="58" y="347"/>
                    <a:pt x="40" y="352"/>
                    <a:pt x="36" y="356"/>
                  </a:cubicBezTo>
                  <a:cubicBezTo>
                    <a:pt x="32" y="361"/>
                    <a:pt x="43" y="361"/>
                    <a:pt x="46" y="361"/>
                  </a:cubicBezTo>
                  <a:cubicBezTo>
                    <a:pt x="49" y="360"/>
                    <a:pt x="52" y="360"/>
                    <a:pt x="56" y="358"/>
                  </a:cubicBezTo>
                  <a:cubicBezTo>
                    <a:pt x="57" y="358"/>
                    <a:pt x="56" y="357"/>
                    <a:pt x="58" y="357"/>
                  </a:cubicBezTo>
                  <a:cubicBezTo>
                    <a:pt x="58" y="356"/>
                    <a:pt x="60" y="357"/>
                    <a:pt x="60" y="357"/>
                  </a:cubicBezTo>
                  <a:cubicBezTo>
                    <a:pt x="65" y="357"/>
                    <a:pt x="69" y="357"/>
                    <a:pt x="74" y="355"/>
                  </a:cubicBezTo>
                  <a:cubicBezTo>
                    <a:pt x="77" y="354"/>
                    <a:pt x="81" y="354"/>
                    <a:pt x="84" y="353"/>
                  </a:cubicBezTo>
                  <a:cubicBezTo>
                    <a:pt x="86" y="353"/>
                    <a:pt x="88" y="352"/>
                    <a:pt x="89" y="351"/>
                  </a:cubicBezTo>
                  <a:cubicBezTo>
                    <a:pt x="94" y="350"/>
                    <a:pt x="96" y="351"/>
                    <a:pt x="100" y="348"/>
                  </a:cubicBezTo>
                  <a:cubicBezTo>
                    <a:pt x="101" y="347"/>
                    <a:pt x="103" y="345"/>
                    <a:pt x="104" y="344"/>
                  </a:cubicBezTo>
                  <a:cubicBezTo>
                    <a:pt x="107" y="342"/>
                    <a:pt x="107" y="343"/>
                    <a:pt x="109" y="341"/>
                  </a:cubicBezTo>
                  <a:cubicBezTo>
                    <a:pt x="112" y="338"/>
                    <a:pt x="115" y="338"/>
                    <a:pt x="117" y="335"/>
                  </a:cubicBezTo>
                  <a:cubicBezTo>
                    <a:pt x="119" y="331"/>
                    <a:pt x="120" y="330"/>
                    <a:pt x="124" y="329"/>
                  </a:cubicBezTo>
                  <a:cubicBezTo>
                    <a:pt x="126" y="328"/>
                    <a:pt x="128" y="328"/>
                    <a:pt x="130" y="327"/>
                  </a:cubicBezTo>
                  <a:cubicBezTo>
                    <a:pt x="131" y="325"/>
                    <a:pt x="132" y="324"/>
                    <a:pt x="134" y="322"/>
                  </a:cubicBezTo>
                  <a:cubicBezTo>
                    <a:pt x="136" y="322"/>
                    <a:pt x="138" y="320"/>
                    <a:pt x="140" y="319"/>
                  </a:cubicBezTo>
                  <a:cubicBezTo>
                    <a:pt x="142" y="318"/>
                    <a:pt x="143" y="319"/>
                    <a:pt x="145" y="317"/>
                  </a:cubicBezTo>
                  <a:cubicBezTo>
                    <a:pt x="148" y="315"/>
                    <a:pt x="152" y="312"/>
                    <a:pt x="154" y="310"/>
                  </a:cubicBezTo>
                  <a:cubicBezTo>
                    <a:pt x="157" y="308"/>
                    <a:pt x="158" y="305"/>
                    <a:pt x="161" y="304"/>
                  </a:cubicBezTo>
                  <a:cubicBezTo>
                    <a:pt x="164" y="302"/>
                    <a:pt x="169" y="303"/>
                    <a:pt x="173" y="302"/>
                  </a:cubicBezTo>
                  <a:cubicBezTo>
                    <a:pt x="176" y="301"/>
                    <a:pt x="175" y="301"/>
                    <a:pt x="177" y="299"/>
                  </a:cubicBezTo>
                  <a:cubicBezTo>
                    <a:pt x="181" y="296"/>
                    <a:pt x="189" y="300"/>
                    <a:pt x="192" y="295"/>
                  </a:cubicBezTo>
                  <a:cubicBezTo>
                    <a:pt x="193" y="297"/>
                    <a:pt x="192" y="299"/>
                    <a:pt x="193" y="301"/>
                  </a:cubicBezTo>
                  <a:cubicBezTo>
                    <a:pt x="195" y="301"/>
                    <a:pt x="197" y="301"/>
                    <a:pt x="199" y="300"/>
                  </a:cubicBezTo>
                  <a:cubicBezTo>
                    <a:pt x="202" y="298"/>
                    <a:pt x="206" y="295"/>
                    <a:pt x="208" y="294"/>
                  </a:cubicBezTo>
                  <a:cubicBezTo>
                    <a:pt x="211" y="294"/>
                    <a:pt x="214" y="294"/>
                    <a:pt x="217" y="294"/>
                  </a:cubicBezTo>
                  <a:cubicBezTo>
                    <a:pt x="218" y="294"/>
                    <a:pt x="218" y="295"/>
                    <a:pt x="220" y="295"/>
                  </a:cubicBezTo>
                  <a:cubicBezTo>
                    <a:pt x="221" y="294"/>
                    <a:pt x="222" y="293"/>
                    <a:pt x="223" y="292"/>
                  </a:cubicBezTo>
                  <a:cubicBezTo>
                    <a:pt x="225" y="292"/>
                    <a:pt x="228" y="293"/>
                    <a:pt x="227" y="289"/>
                  </a:cubicBezTo>
                  <a:cubicBezTo>
                    <a:pt x="223" y="288"/>
                    <a:pt x="217" y="281"/>
                    <a:pt x="219" y="277"/>
                  </a:cubicBezTo>
                  <a:cubicBezTo>
                    <a:pt x="223" y="277"/>
                    <a:pt x="223" y="273"/>
                    <a:pt x="225" y="270"/>
                  </a:cubicBezTo>
                  <a:cubicBezTo>
                    <a:pt x="226" y="267"/>
                    <a:pt x="229" y="266"/>
                    <a:pt x="230" y="264"/>
                  </a:cubicBezTo>
                  <a:cubicBezTo>
                    <a:pt x="230" y="262"/>
                    <a:pt x="230" y="259"/>
                    <a:pt x="230" y="257"/>
                  </a:cubicBezTo>
                  <a:cubicBezTo>
                    <a:pt x="230" y="253"/>
                    <a:pt x="230" y="249"/>
                    <a:pt x="233" y="245"/>
                  </a:cubicBezTo>
                  <a:cubicBezTo>
                    <a:pt x="235" y="243"/>
                    <a:pt x="237" y="243"/>
                    <a:pt x="238" y="240"/>
                  </a:cubicBezTo>
                  <a:cubicBezTo>
                    <a:pt x="239" y="238"/>
                    <a:pt x="238" y="238"/>
                    <a:pt x="238" y="236"/>
                  </a:cubicBezTo>
                  <a:cubicBezTo>
                    <a:pt x="238" y="231"/>
                    <a:pt x="238" y="226"/>
                    <a:pt x="238" y="221"/>
                  </a:cubicBezTo>
                  <a:cubicBezTo>
                    <a:pt x="238" y="217"/>
                    <a:pt x="239" y="212"/>
                    <a:pt x="237" y="209"/>
                  </a:cubicBezTo>
                  <a:cubicBezTo>
                    <a:pt x="235" y="206"/>
                    <a:pt x="233" y="204"/>
                    <a:pt x="233" y="200"/>
                  </a:cubicBezTo>
                  <a:cubicBezTo>
                    <a:pt x="232" y="197"/>
                    <a:pt x="232" y="197"/>
                    <a:pt x="230" y="195"/>
                  </a:cubicBezTo>
                  <a:cubicBezTo>
                    <a:pt x="229" y="194"/>
                    <a:pt x="229" y="193"/>
                    <a:pt x="228" y="192"/>
                  </a:cubicBezTo>
                  <a:cubicBezTo>
                    <a:pt x="227" y="192"/>
                    <a:pt x="225" y="193"/>
                    <a:pt x="224" y="192"/>
                  </a:cubicBezTo>
                  <a:cubicBezTo>
                    <a:pt x="226" y="191"/>
                    <a:pt x="229" y="190"/>
                    <a:pt x="232" y="189"/>
                  </a:cubicBezTo>
                  <a:cubicBezTo>
                    <a:pt x="235" y="189"/>
                    <a:pt x="239" y="192"/>
                    <a:pt x="242" y="191"/>
                  </a:cubicBezTo>
                  <a:cubicBezTo>
                    <a:pt x="242" y="189"/>
                    <a:pt x="244" y="188"/>
                    <a:pt x="245" y="187"/>
                  </a:cubicBezTo>
                  <a:cubicBezTo>
                    <a:pt x="247" y="184"/>
                    <a:pt x="248" y="179"/>
                    <a:pt x="248" y="175"/>
                  </a:cubicBezTo>
                  <a:cubicBezTo>
                    <a:pt x="244" y="175"/>
                    <a:pt x="242" y="175"/>
                    <a:pt x="239" y="173"/>
                  </a:cubicBezTo>
                  <a:cubicBezTo>
                    <a:pt x="236" y="172"/>
                    <a:pt x="235" y="170"/>
                    <a:pt x="232" y="168"/>
                  </a:cubicBezTo>
                  <a:cubicBezTo>
                    <a:pt x="231" y="168"/>
                    <a:pt x="226" y="166"/>
                    <a:pt x="225" y="165"/>
                  </a:cubicBezTo>
                  <a:cubicBezTo>
                    <a:pt x="225" y="164"/>
                    <a:pt x="225" y="162"/>
                    <a:pt x="225" y="161"/>
                  </a:cubicBezTo>
                  <a:cubicBezTo>
                    <a:pt x="226" y="159"/>
                    <a:pt x="228" y="159"/>
                    <a:pt x="228" y="156"/>
                  </a:cubicBezTo>
                  <a:cubicBezTo>
                    <a:pt x="228" y="154"/>
                    <a:pt x="228" y="150"/>
                    <a:pt x="228" y="148"/>
                  </a:cubicBezTo>
                  <a:cubicBezTo>
                    <a:pt x="227" y="146"/>
                    <a:pt x="225" y="144"/>
                    <a:pt x="224" y="142"/>
                  </a:cubicBezTo>
                  <a:cubicBezTo>
                    <a:pt x="223" y="139"/>
                    <a:pt x="224" y="137"/>
                    <a:pt x="226" y="135"/>
                  </a:cubicBezTo>
                  <a:cubicBezTo>
                    <a:pt x="228" y="134"/>
                    <a:pt x="229" y="134"/>
                    <a:pt x="231" y="134"/>
                  </a:cubicBezTo>
                  <a:cubicBezTo>
                    <a:pt x="231" y="134"/>
                    <a:pt x="232" y="134"/>
                    <a:pt x="233" y="134"/>
                  </a:cubicBezTo>
                  <a:cubicBezTo>
                    <a:pt x="234" y="133"/>
                    <a:pt x="233" y="132"/>
                    <a:pt x="234" y="131"/>
                  </a:cubicBezTo>
                  <a:cubicBezTo>
                    <a:pt x="235" y="131"/>
                    <a:pt x="237" y="131"/>
                    <a:pt x="238" y="131"/>
                  </a:cubicBezTo>
                  <a:cubicBezTo>
                    <a:pt x="238" y="130"/>
                    <a:pt x="239" y="129"/>
                    <a:pt x="239" y="129"/>
                  </a:cubicBezTo>
                  <a:cubicBezTo>
                    <a:pt x="238" y="128"/>
                    <a:pt x="236" y="127"/>
                    <a:pt x="234" y="126"/>
                  </a:cubicBezTo>
                  <a:cubicBezTo>
                    <a:pt x="232" y="125"/>
                    <a:pt x="232" y="125"/>
                    <a:pt x="230" y="125"/>
                  </a:cubicBezTo>
                  <a:cubicBezTo>
                    <a:pt x="228" y="125"/>
                    <a:pt x="227" y="123"/>
                    <a:pt x="225" y="122"/>
                  </a:cubicBezTo>
                  <a:cubicBezTo>
                    <a:pt x="223" y="121"/>
                    <a:pt x="222" y="121"/>
                    <a:pt x="220" y="120"/>
                  </a:cubicBezTo>
                  <a:cubicBezTo>
                    <a:pt x="219" y="121"/>
                    <a:pt x="219" y="122"/>
                    <a:pt x="219" y="123"/>
                  </a:cubicBezTo>
                  <a:cubicBezTo>
                    <a:pt x="218" y="123"/>
                    <a:pt x="218" y="123"/>
                    <a:pt x="218" y="123"/>
                  </a:cubicBezTo>
                  <a:cubicBezTo>
                    <a:pt x="217" y="125"/>
                    <a:pt x="216" y="125"/>
                    <a:pt x="215" y="126"/>
                  </a:cubicBezTo>
                  <a:cubicBezTo>
                    <a:pt x="213" y="127"/>
                    <a:pt x="211" y="127"/>
                    <a:pt x="209" y="127"/>
                  </a:cubicBezTo>
                  <a:cubicBezTo>
                    <a:pt x="206" y="127"/>
                    <a:pt x="206" y="125"/>
                    <a:pt x="206" y="123"/>
                  </a:cubicBezTo>
                  <a:cubicBezTo>
                    <a:pt x="206" y="120"/>
                    <a:pt x="205" y="118"/>
                    <a:pt x="204" y="115"/>
                  </a:cubicBezTo>
                  <a:cubicBezTo>
                    <a:pt x="204" y="114"/>
                    <a:pt x="203" y="113"/>
                    <a:pt x="201" y="112"/>
                  </a:cubicBezTo>
                  <a:cubicBezTo>
                    <a:pt x="199" y="112"/>
                    <a:pt x="196" y="112"/>
                    <a:pt x="196" y="110"/>
                  </a:cubicBezTo>
                  <a:cubicBezTo>
                    <a:pt x="196" y="108"/>
                    <a:pt x="197" y="107"/>
                    <a:pt x="196" y="105"/>
                  </a:cubicBezTo>
                  <a:cubicBezTo>
                    <a:pt x="195" y="103"/>
                    <a:pt x="194" y="102"/>
                    <a:pt x="192" y="100"/>
                  </a:cubicBezTo>
                  <a:cubicBezTo>
                    <a:pt x="191" y="98"/>
                    <a:pt x="190" y="96"/>
                    <a:pt x="188" y="94"/>
                  </a:cubicBezTo>
                  <a:cubicBezTo>
                    <a:pt x="187" y="95"/>
                    <a:pt x="185" y="94"/>
                    <a:pt x="184" y="95"/>
                  </a:cubicBezTo>
                  <a:cubicBezTo>
                    <a:pt x="182" y="95"/>
                    <a:pt x="181" y="98"/>
                    <a:pt x="180" y="99"/>
                  </a:cubicBezTo>
                  <a:cubicBezTo>
                    <a:pt x="179" y="101"/>
                    <a:pt x="178" y="102"/>
                    <a:pt x="178" y="104"/>
                  </a:cubicBezTo>
                  <a:cubicBezTo>
                    <a:pt x="178" y="105"/>
                    <a:pt x="178" y="106"/>
                    <a:pt x="179" y="107"/>
                  </a:cubicBezTo>
                  <a:cubicBezTo>
                    <a:pt x="180" y="109"/>
                    <a:pt x="180" y="112"/>
                    <a:pt x="178" y="113"/>
                  </a:cubicBezTo>
                  <a:cubicBezTo>
                    <a:pt x="177" y="114"/>
                    <a:pt x="173" y="112"/>
                    <a:pt x="172" y="114"/>
                  </a:cubicBezTo>
                  <a:cubicBezTo>
                    <a:pt x="171" y="116"/>
                    <a:pt x="173" y="119"/>
                    <a:pt x="171" y="120"/>
                  </a:cubicBezTo>
                  <a:cubicBezTo>
                    <a:pt x="169" y="120"/>
                    <a:pt x="166" y="119"/>
                    <a:pt x="165" y="119"/>
                  </a:cubicBezTo>
                  <a:cubicBezTo>
                    <a:pt x="163" y="118"/>
                    <a:pt x="160" y="119"/>
                    <a:pt x="158" y="118"/>
                  </a:cubicBezTo>
                  <a:cubicBezTo>
                    <a:pt x="157" y="117"/>
                    <a:pt x="156" y="116"/>
                    <a:pt x="155" y="116"/>
                  </a:cubicBezTo>
                  <a:cubicBezTo>
                    <a:pt x="154" y="115"/>
                    <a:pt x="154" y="115"/>
                    <a:pt x="153" y="114"/>
                  </a:cubicBezTo>
                  <a:cubicBezTo>
                    <a:pt x="152" y="114"/>
                    <a:pt x="153" y="114"/>
                    <a:pt x="152" y="113"/>
                  </a:cubicBezTo>
                  <a:cubicBezTo>
                    <a:pt x="151" y="112"/>
                    <a:pt x="148" y="112"/>
                    <a:pt x="147" y="112"/>
                  </a:cubicBezTo>
                  <a:cubicBezTo>
                    <a:pt x="145" y="112"/>
                    <a:pt x="142" y="111"/>
                    <a:pt x="141" y="110"/>
                  </a:cubicBezTo>
                  <a:cubicBezTo>
                    <a:pt x="140" y="109"/>
                    <a:pt x="140" y="108"/>
                    <a:pt x="140" y="107"/>
                  </a:cubicBezTo>
                  <a:cubicBezTo>
                    <a:pt x="139" y="105"/>
                    <a:pt x="138" y="105"/>
                    <a:pt x="137" y="104"/>
                  </a:cubicBezTo>
                  <a:cubicBezTo>
                    <a:pt x="137" y="103"/>
                    <a:pt x="137" y="102"/>
                    <a:pt x="136" y="102"/>
                  </a:cubicBezTo>
                  <a:cubicBezTo>
                    <a:pt x="136" y="101"/>
                    <a:pt x="137" y="101"/>
                    <a:pt x="136" y="100"/>
                  </a:cubicBezTo>
                  <a:cubicBezTo>
                    <a:pt x="136" y="100"/>
                    <a:pt x="135" y="99"/>
                    <a:pt x="135" y="99"/>
                  </a:cubicBezTo>
                  <a:cubicBezTo>
                    <a:pt x="133" y="98"/>
                    <a:pt x="132" y="97"/>
                    <a:pt x="131" y="96"/>
                  </a:cubicBezTo>
                  <a:cubicBezTo>
                    <a:pt x="130" y="94"/>
                    <a:pt x="130" y="92"/>
                    <a:pt x="130" y="90"/>
                  </a:cubicBezTo>
                  <a:cubicBezTo>
                    <a:pt x="130" y="88"/>
                    <a:pt x="132" y="88"/>
                    <a:pt x="133" y="86"/>
                  </a:cubicBezTo>
                  <a:cubicBezTo>
                    <a:pt x="135" y="84"/>
                    <a:pt x="136" y="83"/>
                    <a:pt x="138" y="82"/>
                  </a:cubicBezTo>
                  <a:cubicBezTo>
                    <a:pt x="140" y="81"/>
                    <a:pt x="143" y="79"/>
                    <a:pt x="144" y="78"/>
                  </a:cubicBezTo>
                  <a:cubicBezTo>
                    <a:pt x="145" y="77"/>
                    <a:pt x="146" y="76"/>
                    <a:pt x="146" y="75"/>
                  </a:cubicBezTo>
                  <a:cubicBezTo>
                    <a:pt x="147" y="74"/>
                    <a:pt x="148" y="73"/>
                    <a:pt x="149" y="73"/>
                  </a:cubicBezTo>
                  <a:cubicBezTo>
                    <a:pt x="148" y="73"/>
                    <a:pt x="147" y="72"/>
                    <a:pt x="146" y="72"/>
                  </a:cubicBezTo>
                  <a:cubicBezTo>
                    <a:pt x="144" y="72"/>
                    <a:pt x="143" y="72"/>
                    <a:pt x="141" y="71"/>
                  </a:cubicBezTo>
                  <a:cubicBezTo>
                    <a:pt x="140" y="70"/>
                    <a:pt x="140" y="70"/>
                    <a:pt x="140" y="69"/>
                  </a:cubicBezTo>
                  <a:cubicBezTo>
                    <a:pt x="140" y="68"/>
                    <a:pt x="141" y="66"/>
                    <a:pt x="141" y="65"/>
                  </a:cubicBezTo>
                  <a:cubicBezTo>
                    <a:pt x="142" y="63"/>
                    <a:pt x="145" y="63"/>
                    <a:pt x="147" y="63"/>
                  </a:cubicBezTo>
                  <a:cubicBezTo>
                    <a:pt x="150" y="63"/>
                    <a:pt x="152" y="63"/>
                    <a:pt x="154" y="63"/>
                  </a:cubicBezTo>
                  <a:cubicBezTo>
                    <a:pt x="157" y="63"/>
                    <a:pt x="157" y="63"/>
                    <a:pt x="158" y="61"/>
                  </a:cubicBezTo>
                  <a:cubicBezTo>
                    <a:pt x="158" y="59"/>
                    <a:pt x="159" y="56"/>
                    <a:pt x="161" y="54"/>
                  </a:cubicBezTo>
                  <a:cubicBezTo>
                    <a:pt x="162" y="53"/>
                    <a:pt x="163" y="53"/>
                    <a:pt x="163" y="51"/>
                  </a:cubicBezTo>
                  <a:cubicBezTo>
                    <a:pt x="164" y="50"/>
                    <a:pt x="164" y="48"/>
                    <a:pt x="165" y="46"/>
                  </a:cubicBezTo>
                  <a:cubicBezTo>
                    <a:pt x="166" y="44"/>
                    <a:pt x="167" y="43"/>
                    <a:pt x="168" y="41"/>
                  </a:cubicBezTo>
                  <a:cubicBezTo>
                    <a:pt x="170" y="39"/>
                    <a:pt x="171" y="39"/>
                    <a:pt x="171" y="36"/>
                  </a:cubicBezTo>
                  <a:cubicBezTo>
                    <a:pt x="172" y="32"/>
                    <a:pt x="173" y="34"/>
                    <a:pt x="176" y="33"/>
                  </a:cubicBezTo>
                  <a:cubicBezTo>
                    <a:pt x="178" y="33"/>
                    <a:pt x="178" y="32"/>
                    <a:pt x="180" y="31"/>
                  </a:cubicBezTo>
                  <a:cubicBezTo>
                    <a:pt x="181" y="30"/>
                    <a:pt x="183" y="29"/>
                    <a:pt x="184" y="28"/>
                  </a:cubicBezTo>
                  <a:cubicBezTo>
                    <a:pt x="184" y="28"/>
                    <a:pt x="185" y="26"/>
                    <a:pt x="185" y="26"/>
                  </a:cubicBezTo>
                  <a:cubicBezTo>
                    <a:pt x="186" y="25"/>
                    <a:pt x="186" y="24"/>
                    <a:pt x="186" y="23"/>
                  </a:cubicBezTo>
                  <a:cubicBezTo>
                    <a:pt x="187" y="23"/>
                    <a:pt x="187" y="23"/>
                    <a:pt x="188" y="23"/>
                  </a:cubicBezTo>
                  <a:cubicBezTo>
                    <a:pt x="188" y="22"/>
                    <a:pt x="188" y="21"/>
                    <a:pt x="188" y="20"/>
                  </a:cubicBezTo>
                  <a:cubicBezTo>
                    <a:pt x="188" y="19"/>
                    <a:pt x="190" y="17"/>
                    <a:pt x="191" y="16"/>
                  </a:cubicBezTo>
                  <a:cubicBezTo>
                    <a:pt x="193" y="15"/>
                    <a:pt x="194" y="13"/>
                    <a:pt x="196" y="13"/>
                  </a:cubicBezTo>
                  <a:cubicBezTo>
                    <a:pt x="198" y="12"/>
                    <a:pt x="201" y="12"/>
                    <a:pt x="203" y="10"/>
                  </a:cubicBezTo>
                  <a:cubicBezTo>
                    <a:pt x="203" y="10"/>
                    <a:pt x="203" y="10"/>
                    <a:pt x="203" y="10"/>
                  </a:cubicBezTo>
                  <a:moveTo>
                    <a:pt x="240" y="128"/>
                  </a:moveTo>
                  <a:cubicBezTo>
                    <a:pt x="240" y="128"/>
                    <a:pt x="240" y="128"/>
                    <a:pt x="240" y="128"/>
                  </a:cubicBezTo>
                  <a:cubicBezTo>
                    <a:pt x="240" y="128"/>
                    <a:pt x="240" y="128"/>
                    <a:pt x="240" y="128"/>
                  </a:cubicBezTo>
                  <a:moveTo>
                    <a:pt x="203" y="10"/>
                  </a:moveTo>
                  <a:cubicBezTo>
                    <a:pt x="204" y="10"/>
                    <a:pt x="205" y="10"/>
                    <a:pt x="205" y="10"/>
                  </a:cubicBezTo>
                  <a:cubicBezTo>
                    <a:pt x="205" y="10"/>
                    <a:pt x="204" y="10"/>
                    <a:pt x="203" y="10"/>
                  </a:cubicBezTo>
                  <a:moveTo>
                    <a:pt x="216" y="17"/>
                  </a:moveTo>
                  <a:cubicBezTo>
                    <a:pt x="216" y="17"/>
                    <a:pt x="217" y="16"/>
                    <a:pt x="218" y="16"/>
                  </a:cubicBezTo>
                  <a:cubicBezTo>
                    <a:pt x="217" y="16"/>
                    <a:pt x="216" y="17"/>
                    <a:pt x="216" y="17"/>
                  </a:cubicBezTo>
                  <a:moveTo>
                    <a:pt x="214" y="18"/>
                  </a:moveTo>
                  <a:cubicBezTo>
                    <a:pt x="215" y="18"/>
                    <a:pt x="215" y="17"/>
                    <a:pt x="216" y="17"/>
                  </a:cubicBezTo>
                  <a:cubicBezTo>
                    <a:pt x="215" y="17"/>
                    <a:pt x="215" y="18"/>
                    <a:pt x="214" y="18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39" name="Freeform 9">
              <a:extLst>
                <a:ext uri="{FF2B5EF4-FFF2-40B4-BE49-F238E27FC236}">
                  <a16:creationId xmlns:a16="http://schemas.microsoft.com/office/drawing/2014/main" id="{2A0548C9-C9F6-478E-AF9A-B5A193923F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2688" y="4314825"/>
              <a:ext cx="388938" cy="311150"/>
            </a:xfrm>
            <a:custGeom>
              <a:avLst/>
              <a:gdLst/>
              <a:ahLst/>
              <a:cxnLst>
                <a:cxn ang="0">
                  <a:pos x="207" y="85"/>
                </a:cxn>
                <a:cxn ang="0">
                  <a:pos x="198" y="80"/>
                </a:cxn>
                <a:cxn ang="0">
                  <a:pos x="191" y="69"/>
                </a:cxn>
                <a:cxn ang="0">
                  <a:pos x="189" y="63"/>
                </a:cxn>
                <a:cxn ang="0">
                  <a:pos x="188" y="61"/>
                </a:cxn>
                <a:cxn ang="0">
                  <a:pos x="169" y="57"/>
                </a:cxn>
                <a:cxn ang="0">
                  <a:pos x="170" y="46"/>
                </a:cxn>
                <a:cxn ang="0">
                  <a:pos x="175" y="34"/>
                </a:cxn>
                <a:cxn ang="0">
                  <a:pos x="178" y="28"/>
                </a:cxn>
                <a:cxn ang="0">
                  <a:pos x="175" y="22"/>
                </a:cxn>
                <a:cxn ang="0">
                  <a:pos x="168" y="18"/>
                </a:cxn>
                <a:cxn ang="0">
                  <a:pos x="156" y="17"/>
                </a:cxn>
                <a:cxn ang="0">
                  <a:pos x="150" y="15"/>
                </a:cxn>
                <a:cxn ang="0">
                  <a:pos x="140" y="10"/>
                </a:cxn>
                <a:cxn ang="0">
                  <a:pos x="143" y="0"/>
                </a:cxn>
                <a:cxn ang="0">
                  <a:pos x="135" y="2"/>
                </a:cxn>
                <a:cxn ang="0">
                  <a:pos x="119" y="0"/>
                </a:cxn>
                <a:cxn ang="0">
                  <a:pos x="104" y="1"/>
                </a:cxn>
                <a:cxn ang="0">
                  <a:pos x="97" y="6"/>
                </a:cxn>
                <a:cxn ang="0">
                  <a:pos x="92" y="11"/>
                </a:cxn>
                <a:cxn ang="0">
                  <a:pos x="87" y="14"/>
                </a:cxn>
                <a:cxn ang="0">
                  <a:pos x="81" y="21"/>
                </a:cxn>
                <a:cxn ang="0">
                  <a:pos x="61" y="12"/>
                </a:cxn>
                <a:cxn ang="0">
                  <a:pos x="49" y="15"/>
                </a:cxn>
                <a:cxn ang="0">
                  <a:pos x="43" y="8"/>
                </a:cxn>
                <a:cxn ang="0">
                  <a:pos x="31" y="8"/>
                </a:cxn>
                <a:cxn ang="0">
                  <a:pos x="24" y="15"/>
                </a:cxn>
                <a:cxn ang="0">
                  <a:pos x="16" y="19"/>
                </a:cxn>
                <a:cxn ang="0">
                  <a:pos x="5" y="23"/>
                </a:cxn>
                <a:cxn ang="0">
                  <a:pos x="3" y="32"/>
                </a:cxn>
                <a:cxn ang="0">
                  <a:pos x="3" y="45"/>
                </a:cxn>
                <a:cxn ang="0">
                  <a:pos x="31" y="56"/>
                </a:cxn>
                <a:cxn ang="0">
                  <a:pos x="39" y="71"/>
                </a:cxn>
                <a:cxn ang="0">
                  <a:pos x="61" y="89"/>
                </a:cxn>
                <a:cxn ang="0">
                  <a:pos x="79" y="95"/>
                </a:cxn>
                <a:cxn ang="0">
                  <a:pos x="83" y="110"/>
                </a:cxn>
                <a:cxn ang="0">
                  <a:pos x="95" y="127"/>
                </a:cxn>
                <a:cxn ang="0">
                  <a:pos x="114" y="123"/>
                </a:cxn>
                <a:cxn ang="0">
                  <a:pos x="124" y="114"/>
                </a:cxn>
                <a:cxn ang="0">
                  <a:pos x="125" y="141"/>
                </a:cxn>
                <a:cxn ang="0">
                  <a:pos x="153" y="157"/>
                </a:cxn>
                <a:cxn ang="0">
                  <a:pos x="171" y="161"/>
                </a:cxn>
                <a:cxn ang="0">
                  <a:pos x="179" y="152"/>
                </a:cxn>
                <a:cxn ang="0">
                  <a:pos x="171" y="141"/>
                </a:cxn>
                <a:cxn ang="0">
                  <a:pos x="171" y="133"/>
                </a:cxn>
                <a:cxn ang="0">
                  <a:pos x="177" y="127"/>
                </a:cxn>
                <a:cxn ang="0">
                  <a:pos x="185" y="114"/>
                </a:cxn>
                <a:cxn ang="0">
                  <a:pos x="193" y="111"/>
                </a:cxn>
                <a:cxn ang="0">
                  <a:pos x="198" y="106"/>
                </a:cxn>
                <a:cxn ang="0">
                  <a:pos x="201" y="100"/>
                </a:cxn>
                <a:cxn ang="0">
                  <a:pos x="207" y="91"/>
                </a:cxn>
              </a:cxnLst>
              <a:rect l="0" t="0" r="r" b="b"/>
              <a:pathLst>
                <a:path w="208" h="167">
                  <a:moveTo>
                    <a:pt x="196" y="13"/>
                  </a:moveTo>
                  <a:cubicBezTo>
                    <a:pt x="196" y="13"/>
                    <a:pt x="196" y="13"/>
                    <a:pt x="196" y="13"/>
                  </a:cubicBezTo>
                  <a:moveTo>
                    <a:pt x="207" y="85"/>
                  </a:moveTo>
                  <a:cubicBezTo>
                    <a:pt x="206" y="83"/>
                    <a:pt x="205" y="83"/>
                    <a:pt x="203" y="83"/>
                  </a:cubicBezTo>
                  <a:cubicBezTo>
                    <a:pt x="203" y="83"/>
                    <a:pt x="202" y="82"/>
                    <a:pt x="202" y="82"/>
                  </a:cubicBezTo>
                  <a:cubicBezTo>
                    <a:pt x="200" y="81"/>
                    <a:pt x="199" y="81"/>
                    <a:pt x="198" y="80"/>
                  </a:cubicBezTo>
                  <a:cubicBezTo>
                    <a:pt x="197" y="79"/>
                    <a:pt x="197" y="79"/>
                    <a:pt x="196" y="79"/>
                  </a:cubicBezTo>
                  <a:cubicBezTo>
                    <a:pt x="194" y="78"/>
                    <a:pt x="193" y="77"/>
                    <a:pt x="191" y="76"/>
                  </a:cubicBezTo>
                  <a:cubicBezTo>
                    <a:pt x="190" y="74"/>
                    <a:pt x="190" y="71"/>
                    <a:pt x="191" y="69"/>
                  </a:cubicBezTo>
                  <a:cubicBezTo>
                    <a:pt x="191" y="68"/>
                    <a:pt x="191" y="67"/>
                    <a:pt x="191" y="66"/>
                  </a:cubicBezTo>
                  <a:cubicBezTo>
                    <a:pt x="191" y="66"/>
                    <a:pt x="191" y="65"/>
                    <a:pt x="191" y="65"/>
                  </a:cubicBezTo>
                  <a:cubicBezTo>
                    <a:pt x="191" y="64"/>
                    <a:pt x="190" y="63"/>
                    <a:pt x="189" y="63"/>
                  </a:cubicBezTo>
                  <a:cubicBezTo>
                    <a:pt x="189" y="63"/>
                    <a:pt x="188" y="62"/>
                    <a:pt x="188" y="62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5" y="61"/>
                    <a:pt x="182" y="61"/>
                    <a:pt x="180" y="59"/>
                  </a:cubicBezTo>
                  <a:cubicBezTo>
                    <a:pt x="178" y="59"/>
                    <a:pt x="177" y="58"/>
                    <a:pt x="176" y="58"/>
                  </a:cubicBezTo>
                  <a:cubicBezTo>
                    <a:pt x="174" y="58"/>
                    <a:pt x="170" y="59"/>
                    <a:pt x="169" y="57"/>
                  </a:cubicBezTo>
                  <a:cubicBezTo>
                    <a:pt x="168" y="56"/>
                    <a:pt x="169" y="52"/>
                    <a:pt x="169" y="51"/>
                  </a:cubicBezTo>
                  <a:cubicBezTo>
                    <a:pt x="169" y="50"/>
                    <a:pt x="169" y="49"/>
                    <a:pt x="169" y="49"/>
                  </a:cubicBezTo>
                  <a:cubicBezTo>
                    <a:pt x="169" y="47"/>
                    <a:pt x="169" y="47"/>
                    <a:pt x="170" y="46"/>
                  </a:cubicBezTo>
                  <a:cubicBezTo>
                    <a:pt x="171" y="45"/>
                    <a:pt x="171" y="44"/>
                    <a:pt x="171" y="42"/>
                  </a:cubicBezTo>
                  <a:cubicBezTo>
                    <a:pt x="172" y="41"/>
                    <a:pt x="172" y="40"/>
                    <a:pt x="172" y="39"/>
                  </a:cubicBezTo>
                  <a:cubicBezTo>
                    <a:pt x="173" y="37"/>
                    <a:pt x="174" y="36"/>
                    <a:pt x="175" y="34"/>
                  </a:cubicBezTo>
                  <a:cubicBezTo>
                    <a:pt x="175" y="33"/>
                    <a:pt x="175" y="33"/>
                    <a:pt x="175" y="32"/>
                  </a:cubicBezTo>
                  <a:cubicBezTo>
                    <a:pt x="176" y="32"/>
                    <a:pt x="176" y="32"/>
                    <a:pt x="177" y="31"/>
                  </a:cubicBezTo>
                  <a:cubicBezTo>
                    <a:pt x="177" y="30"/>
                    <a:pt x="178" y="29"/>
                    <a:pt x="178" y="28"/>
                  </a:cubicBezTo>
                  <a:cubicBezTo>
                    <a:pt x="179" y="27"/>
                    <a:pt x="179" y="27"/>
                    <a:pt x="180" y="26"/>
                  </a:cubicBezTo>
                  <a:cubicBezTo>
                    <a:pt x="180" y="25"/>
                    <a:pt x="179" y="24"/>
                    <a:pt x="179" y="23"/>
                  </a:cubicBezTo>
                  <a:cubicBezTo>
                    <a:pt x="178" y="23"/>
                    <a:pt x="176" y="23"/>
                    <a:pt x="175" y="22"/>
                  </a:cubicBezTo>
                  <a:cubicBezTo>
                    <a:pt x="174" y="22"/>
                    <a:pt x="173" y="22"/>
                    <a:pt x="172" y="21"/>
                  </a:cubicBezTo>
                  <a:cubicBezTo>
                    <a:pt x="171" y="21"/>
                    <a:pt x="170" y="20"/>
                    <a:pt x="170" y="20"/>
                  </a:cubicBezTo>
                  <a:cubicBezTo>
                    <a:pt x="169" y="19"/>
                    <a:pt x="169" y="19"/>
                    <a:pt x="168" y="18"/>
                  </a:cubicBezTo>
                  <a:cubicBezTo>
                    <a:pt x="168" y="18"/>
                    <a:pt x="167" y="17"/>
                    <a:pt x="167" y="17"/>
                  </a:cubicBezTo>
                  <a:cubicBezTo>
                    <a:pt x="166" y="15"/>
                    <a:pt x="166" y="15"/>
                    <a:pt x="164" y="15"/>
                  </a:cubicBezTo>
                  <a:cubicBezTo>
                    <a:pt x="161" y="15"/>
                    <a:pt x="159" y="16"/>
                    <a:pt x="156" y="17"/>
                  </a:cubicBezTo>
                  <a:cubicBezTo>
                    <a:pt x="155" y="18"/>
                    <a:pt x="154" y="18"/>
                    <a:pt x="152" y="17"/>
                  </a:cubicBezTo>
                  <a:cubicBezTo>
                    <a:pt x="152" y="17"/>
                    <a:pt x="152" y="16"/>
                    <a:pt x="151" y="16"/>
                  </a:cubicBezTo>
                  <a:cubicBezTo>
                    <a:pt x="151" y="16"/>
                    <a:pt x="150" y="15"/>
                    <a:pt x="150" y="15"/>
                  </a:cubicBezTo>
                  <a:cubicBezTo>
                    <a:pt x="149" y="14"/>
                    <a:pt x="149" y="14"/>
                    <a:pt x="147" y="13"/>
                  </a:cubicBezTo>
                  <a:cubicBezTo>
                    <a:pt x="145" y="12"/>
                    <a:pt x="144" y="12"/>
                    <a:pt x="142" y="11"/>
                  </a:cubicBezTo>
                  <a:cubicBezTo>
                    <a:pt x="141" y="11"/>
                    <a:pt x="140" y="11"/>
                    <a:pt x="140" y="10"/>
                  </a:cubicBezTo>
                  <a:cubicBezTo>
                    <a:pt x="140" y="9"/>
                    <a:pt x="141" y="9"/>
                    <a:pt x="141" y="9"/>
                  </a:cubicBezTo>
                  <a:cubicBezTo>
                    <a:pt x="143" y="8"/>
                    <a:pt x="146" y="6"/>
                    <a:pt x="146" y="5"/>
                  </a:cubicBezTo>
                  <a:cubicBezTo>
                    <a:pt x="147" y="3"/>
                    <a:pt x="146" y="0"/>
                    <a:pt x="143" y="0"/>
                  </a:cubicBezTo>
                  <a:cubicBezTo>
                    <a:pt x="143" y="0"/>
                    <a:pt x="142" y="0"/>
                    <a:pt x="141" y="0"/>
                  </a:cubicBezTo>
                  <a:cubicBezTo>
                    <a:pt x="140" y="0"/>
                    <a:pt x="139" y="0"/>
                    <a:pt x="139" y="0"/>
                  </a:cubicBezTo>
                  <a:cubicBezTo>
                    <a:pt x="137" y="1"/>
                    <a:pt x="136" y="2"/>
                    <a:pt x="135" y="2"/>
                  </a:cubicBezTo>
                  <a:cubicBezTo>
                    <a:pt x="134" y="2"/>
                    <a:pt x="132" y="2"/>
                    <a:pt x="131" y="2"/>
                  </a:cubicBezTo>
                  <a:cubicBezTo>
                    <a:pt x="129" y="2"/>
                    <a:pt x="127" y="3"/>
                    <a:pt x="125" y="2"/>
                  </a:cubicBezTo>
                  <a:cubicBezTo>
                    <a:pt x="123" y="2"/>
                    <a:pt x="122" y="0"/>
                    <a:pt x="119" y="0"/>
                  </a:cubicBezTo>
                  <a:cubicBezTo>
                    <a:pt x="116" y="0"/>
                    <a:pt x="113" y="0"/>
                    <a:pt x="110" y="0"/>
                  </a:cubicBezTo>
                  <a:cubicBezTo>
                    <a:pt x="109" y="0"/>
                    <a:pt x="108" y="1"/>
                    <a:pt x="107" y="1"/>
                  </a:cubicBezTo>
                  <a:cubicBezTo>
                    <a:pt x="106" y="1"/>
                    <a:pt x="105" y="1"/>
                    <a:pt x="104" y="1"/>
                  </a:cubicBezTo>
                  <a:cubicBezTo>
                    <a:pt x="103" y="2"/>
                    <a:pt x="103" y="3"/>
                    <a:pt x="102" y="3"/>
                  </a:cubicBezTo>
                  <a:cubicBezTo>
                    <a:pt x="101" y="4"/>
                    <a:pt x="100" y="4"/>
                    <a:pt x="99" y="5"/>
                  </a:cubicBezTo>
                  <a:cubicBezTo>
                    <a:pt x="98" y="5"/>
                    <a:pt x="98" y="5"/>
                    <a:pt x="97" y="6"/>
                  </a:cubicBezTo>
                  <a:cubicBezTo>
                    <a:pt x="96" y="6"/>
                    <a:pt x="95" y="7"/>
                    <a:pt x="94" y="8"/>
                  </a:cubicBezTo>
                  <a:cubicBezTo>
                    <a:pt x="94" y="9"/>
                    <a:pt x="94" y="9"/>
                    <a:pt x="93" y="10"/>
                  </a:cubicBezTo>
                  <a:cubicBezTo>
                    <a:pt x="92" y="10"/>
                    <a:pt x="92" y="10"/>
                    <a:pt x="92" y="11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1" y="12"/>
                    <a:pt x="90" y="12"/>
                    <a:pt x="89" y="12"/>
                  </a:cubicBezTo>
                  <a:cubicBezTo>
                    <a:pt x="87" y="13"/>
                    <a:pt x="87" y="13"/>
                    <a:pt x="87" y="14"/>
                  </a:cubicBezTo>
                  <a:cubicBezTo>
                    <a:pt x="86" y="15"/>
                    <a:pt x="85" y="16"/>
                    <a:pt x="85" y="17"/>
                  </a:cubicBezTo>
                  <a:cubicBezTo>
                    <a:pt x="85" y="17"/>
                    <a:pt x="84" y="18"/>
                    <a:pt x="84" y="19"/>
                  </a:cubicBezTo>
                  <a:cubicBezTo>
                    <a:pt x="83" y="20"/>
                    <a:pt x="82" y="21"/>
                    <a:pt x="81" y="21"/>
                  </a:cubicBezTo>
                  <a:cubicBezTo>
                    <a:pt x="79" y="22"/>
                    <a:pt x="78" y="21"/>
                    <a:pt x="76" y="20"/>
                  </a:cubicBezTo>
                  <a:cubicBezTo>
                    <a:pt x="73" y="19"/>
                    <a:pt x="68" y="18"/>
                    <a:pt x="66" y="16"/>
                  </a:cubicBezTo>
                  <a:cubicBezTo>
                    <a:pt x="65" y="14"/>
                    <a:pt x="64" y="12"/>
                    <a:pt x="61" y="12"/>
                  </a:cubicBezTo>
                  <a:cubicBezTo>
                    <a:pt x="60" y="12"/>
                    <a:pt x="56" y="13"/>
                    <a:pt x="55" y="14"/>
                  </a:cubicBezTo>
                  <a:cubicBezTo>
                    <a:pt x="55" y="14"/>
                    <a:pt x="55" y="15"/>
                    <a:pt x="54" y="16"/>
                  </a:cubicBezTo>
                  <a:cubicBezTo>
                    <a:pt x="52" y="17"/>
                    <a:pt x="50" y="16"/>
                    <a:pt x="49" y="15"/>
                  </a:cubicBezTo>
                  <a:cubicBezTo>
                    <a:pt x="48" y="15"/>
                    <a:pt x="47" y="15"/>
                    <a:pt x="46" y="14"/>
                  </a:cubicBezTo>
                  <a:cubicBezTo>
                    <a:pt x="45" y="13"/>
                    <a:pt x="45" y="12"/>
                    <a:pt x="44" y="11"/>
                  </a:cubicBezTo>
                  <a:cubicBezTo>
                    <a:pt x="44" y="10"/>
                    <a:pt x="43" y="10"/>
                    <a:pt x="43" y="8"/>
                  </a:cubicBezTo>
                  <a:cubicBezTo>
                    <a:pt x="44" y="7"/>
                    <a:pt x="44" y="6"/>
                    <a:pt x="44" y="5"/>
                  </a:cubicBezTo>
                  <a:cubicBezTo>
                    <a:pt x="42" y="5"/>
                    <a:pt x="40" y="5"/>
                    <a:pt x="38" y="5"/>
                  </a:cubicBezTo>
                  <a:cubicBezTo>
                    <a:pt x="35" y="6"/>
                    <a:pt x="34" y="7"/>
                    <a:pt x="31" y="8"/>
                  </a:cubicBezTo>
                  <a:cubicBezTo>
                    <a:pt x="29" y="9"/>
                    <a:pt x="28" y="10"/>
                    <a:pt x="27" y="13"/>
                  </a:cubicBezTo>
                  <a:cubicBezTo>
                    <a:pt x="27" y="13"/>
                    <a:pt x="26" y="14"/>
                    <a:pt x="26" y="14"/>
                  </a:cubicBezTo>
                  <a:cubicBezTo>
                    <a:pt x="25" y="14"/>
                    <a:pt x="25" y="15"/>
                    <a:pt x="24" y="15"/>
                  </a:cubicBezTo>
                  <a:cubicBezTo>
                    <a:pt x="23" y="16"/>
                    <a:pt x="23" y="16"/>
                    <a:pt x="22" y="16"/>
                  </a:cubicBezTo>
                  <a:cubicBezTo>
                    <a:pt x="21" y="17"/>
                    <a:pt x="20" y="16"/>
                    <a:pt x="19" y="17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5" y="20"/>
                    <a:pt x="13" y="21"/>
                    <a:pt x="11" y="22"/>
                  </a:cubicBezTo>
                  <a:cubicBezTo>
                    <a:pt x="10" y="22"/>
                    <a:pt x="8" y="22"/>
                    <a:pt x="7" y="22"/>
                  </a:cubicBezTo>
                  <a:cubicBezTo>
                    <a:pt x="5" y="22"/>
                    <a:pt x="6" y="23"/>
                    <a:pt x="5" y="23"/>
                  </a:cubicBezTo>
                  <a:cubicBezTo>
                    <a:pt x="3" y="25"/>
                    <a:pt x="1" y="26"/>
                    <a:pt x="0" y="28"/>
                  </a:cubicBezTo>
                  <a:cubicBezTo>
                    <a:pt x="1" y="28"/>
                    <a:pt x="1" y="29"/>
                    <a:pt x="2" y="29"/>
                  </a:cubicBezTo>
                  <a:cubicBezTo>
                    <a:pt x="2" y="29"/>
                    <a:pt x="3" y="32"/>
                    <a:pt x="3" y="32"/>
                  </a:cubicBezTo>
                  <a:cubicBezTo>
                    <a:pt x="4" y="33"/>
                    <a:pt x="4" y="32"/>
                    <a:pt x="4" y="3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8"/>
                    <a:pt x="3" y="42"/>
                    <a:pt x="3" y="45"/>
                  </a:cubicBezTo>
                  <a:cubicBezTo>
                    <a:pt x="4" y="49"/>
                    <a:pt x="5" y="51"/>
                    <a:pt x="8" y="54"/>
                  </a:cubicBezTo>
                  <a:cubicBezTo>
                    <a:pt x="12" y="57"/>
                    <a:pt x="14" y="61"/>
                    <a:pt x="19" y="60"/>
                  </a:cubicBezTo>
                  <a:cubicBezTo>
                    <a:pt x="23" y="60"/>
                    <a:pt x="27" y="56"/>
                    <a:pt x="31" y="56"/>
                  </a:cubicBezTo>
                  <a:cubicBezTo>
                    <a:pt x="36" y="55"/>
                    <a:pt x="40" y="59"/>
                    <a:pt x="42" y="63"/>
                  </a:cubicBezTo>
                  <a:cubicBezTo>
                    <a:pt x="42" y="64"/>
                    <a:pt x="43" y="65"/>
                    <a:pt x="43" y="66"/>
                  </a:cubicBezTo>
                  <a:cubicBezTo>
                    <a:pt x="43" y="68"/>
                    <a:pt x="40" y="69"/>
                    <a:pt x="39" y="71"/>
                  </a:cubicBezTo>
                  <a:cubicBezTo>
                    <a:pt x="39" y="75"/>
                    <a:pt x="46" y="81"/>
                    <a:pt x="50" y="81"/>
                  </a:cubicBezTo>
                  <a:cubicBezTo>
                    <a:pt x="53" y="82"/>
                    <a:pt x="58" y="80"/>
                    <a:pt x="60" y="84"/>
                  </a:cubicBezTo>
                  <a:cubicBezTo>
                    <a:pt x="61" y="85"/>
                    <a:pt x="60" y="87"/>
                    <a:pt x="61" y="89"/>
                  </a:cubicBezTo>
                  <a:cubicBezTo>
                    <a:pt x="61" y="92"/>
                    <a:pt x="64" y="94"/>
                    <a:pt x="68" y="94"/>
                  </a:cubicBezTo>
                  <a:cubicBezTo>
                    <a:pt x="70" y="94"/>
                    <a:pt x="72" y="92"/>
                    <a:pt x="75" y="92"/>
                  </a:cubicBezTo>
                  <a:cubicBezTo>
                    <a:pt x="76" y="93"/>
                    <a:pt x="78" y="94"/>
                    <a:pt x="79" y="95"/>
                  </a:cubicBezTo>
                  <a:cubicBezTo>
                    <a:pt x="82" y="96"/>
                    <a:pt x="88" y="97"/>
                    <a:pt x="87" y="101"/>
                  </a:cubicBezTo>
                  <a:cubicBezTo>
                    <a:pt x="87" y="105"/>
                    <a:pt x="84" y="102"/>
                    <a:pt x="83" y="105"/>
                  </a:cubicBezTo>
                  <a:cubicBezTo>
                    <a:pt x="82" y="105"/>
                    <a:pt x="82" y="110"/>
                    <a:pt x="83" y="110"/>
                  </a:cubicBezTo>
                  <a:cubicBezTo>
                    <a:pt x="84" y="112"/>
                    <a:pt x="86" y="110"/>
                    <a:pt x="88" y="111"/>
                  </a:cubicBezTo>
                  <a:cubicBezTo>
                    <a:pt x="90" y="113"/>
                    <a:pt x="90" y="120"/>
                    <a:pt x="91" y="122"/>
                  </a:cubicBezTo>
                  <a:cubicBezTo>
                    <a:pt x="92" y="126"/>
                    <a:pt x="92" y="125"/>
                    <a:pt x="95" y="127"/>
                  </a:cubicBezTo>
                  <a:cubicBezTo>
                    <a:pt x="97" y="129"/>
                    <a:pt x="96" y="129"/>
                    <a:pt x="99" y="130"/>
                  </a:cubicBezTo>
                  <a:cubicBezTo>
                    <a:pt x="102" y="131"/>
                    <a:pt x="106" y="128"/>
                    <a:pt x="109" y="126"/>
                  </a:cubicBezTo>
                  <a:cubicBezTo>
                    <a:pt x="110" y="125"/>
                    <a:pt x="113" y="124"/>
                    <a:pt x="114" y="123"/>
                  </a:cubicBezTo>
                  <a:cubicBezTo>
                    <a:pt x="115" y="121"/>
                    <a:pt x="114" y="118"/>
                    <a:pt x="114" y="116"/>
                  </a:cubicBezTo>
                  <a:cubicBezTo>
                    <a:pt x="115" y="115"/>
                    <a:pt x="117" y="113"/>
                    <a:pt x="119" y="112"/>
                  </a:cubicBezTo>
                  <a:cubicBezTo>
                    <a:pt x="121" y="112"/>
                    <a:pt x="122" y="113"/>
                    <a:pt x="124" y="114"/>
                  </a:cubicBezTo>
                  <a:cubicBezTo>
                    <a:pt x="127" y="117"/>
                    <a:pt x="124" y="119"/>
                    <a:pt x="123" y="122"/>
                  </a:cubicBezTo>
                  <a:cubicBezTo>
                    <a:pt x="122" y="124"/>
                    <a:pt x="123" y="126"/>
                    <a:pt x="123" y="127"/>
                  </a:cubicBezTo>
                  <a:cubicBezTo>
                    <a:pt x="123" y="132"/>
                    <a:pt x="124" y="136"/>
                    <a:pt x="125" y="141"/>
                  </a:cubicBezTo>
                  <a:cubicBezTo>
                    <a:pt x="134" y="141"/>
                    <a:pt x="139" y="148"/>
                    <a:pt x="147" y="151"/>
                  </a:cubicBezTo>
                  <a:cubicBezTo>
                    <a:pt x="149" y="152"/>
                    <a:pt x="151" y="151"/>
                    <a:pt x="152" y="153"/>
                  </a:cubicBezTo>
                  <a:cubicBezTo>
                    <a:pt x="153" y="154"/>
                    <a:pt x="153" y="156"/>
                    <a:pt x="153" y="157"/>
                  </a:cubicBezTo>
                  <a:cubicBezTo>
                    <a:pt x="154" y="159"/>
                    <a:pt x="159" y="167"/>
                    <a:pt x="163" y="165"/>
                  </a:cubicBezTo>
                  <a:cubicBezTo>
                    <a:pt x="164" y="164"/>
                    <a:pt x="165" y="162"/>
                    <a:pt x="167" y="162"/>
                  </a:cubicBezTo>
                  <a:cubicBezTo>
                    <a:pt x="168" y="161"/>
                    <a:pt x="170" y="161"/>
                    <a:pt x="171" y="161"/>
                  </a:cubicBezTo>
                  <a:cubicBezTo>
                    <a:pt x="174" y="161"/>
                    <a:pt x="176" y="162"/>
                    <a:pt x="177" y="162"/>
                  </a:cubicBezTo>
                  <a:cubicBezTo>
                    <a:pt x="178" y="161"/>
                    <a:pt x="178" y="159"/>
                    <a:pt x="179" y="158"/>
                  </a:cubicBezTo>
                  <a:cubicBezTo>
                    <a:pt x="179" y="156"/>
                    <a:pt x="180" y="154"/>
                    <a:pt x="179" y="152"/>
                  </a:cubicBezTo>
                  <a:cubicBezTo>
                    <a:pt x="178" y="151"/>
                    <a:pt x="178" y="151"/>
                    <a:pt x="176" y="151"/>
                  </a:cubicBezTo>
                  <a:cubicBezTo>
                    <a:pt x="174" y="151"/>
                    <a:pt x="173" y="151"/>
                    <a:pt x="171" y="149"/>
                  </a:cubicBezTo>
                  <a:cubicBezTo>
                    <a:pt x="168" y="146"/>
                    <a:pt x="171" y="144"/>
                    <a:pt x="171" y="141"/>
                  </a:cubicBezTo>
                  <a:cubicBezTo>
                    <a:pt x="172" y="140"/>
                    <a:pt x="171" y="139"/>
                    <a:pt x="171" y="139"/>
                  </a:cubicBezTo>
                  <a:cubicBezTo>
                    <a:pt x="171" y="138"/>
                    <a:pt x="171" y="137"/>
                    <a:pt x="171" y="136"/>
                  </a:cubicBezTo>
                  <a:cubicBezTo>
                    <a:pt x="171" y="135"/>
                    <a:pt x="170" y="134"/>
                    <a:pt x="171" y="133"/>
                  </a:cubicBezTo>
                  <a:cubicBezTo>
                    <a:pt x="171" y="133"/>
                    <a:pt x="172" y="132"/>
                    <a:pt x="172" y="131"/>
                  </a:cubicBezTo>
                  <a:cubicBezTo>
                    <a:pt x="173" y="129"/>
                    <a:pt x="172" y="129"/>
                    <a:pt x="174" y="128"/>
                  </a:cubicBezTo>
                  <a:cubicBezTo>
                    <a:pt x="175" y="128"/>
                    <a:pt x="176" y="128"/>
                    <a:pt x="177" y="127"/>
                  </a:cubicBezTo>
                  <a:cubicBezTo>
                    <a:pt x="180" y="125"/>
                    <a:pt x="178" y="122"/>
                    <a:pt x="179" y="119"/>
                  </a:cubicBezTo>
                  <a:cubicBezTo>
                    <a:pt x="180" y="118"/>
                    <a:pt x="181" y="118"/>
                    <a:pt x="182" y="117"/>
                  </a:cubicBezTo>
                  <a:cubicBezTo>
                    <a:pt x="183" y="116"/>
                    <a:pt x="184" y="115"/>
                    <a:pt x="185" y="114"/>
                  </a:cubicBezTo>
                  <a:cubicBezTo>
                    <a:pt x="185" y="114"/>
                    <a:pt x="186" y="111"/>
                    <a:pt x="187" y="110"/>
                  </a:cubicBezTo>
                  <a:cubicBezTo>
                    <a:pt x="187" y="110"/>
                    <a:pt x="189" y="110"/>
                    <a:pt x="189" y="110"/>
                  </a:cubicBezTo>
                  <a:cubicBezTo>
                    <a:pt x="191" y="110"/>
                    <a:pt x="192" y="111"/>
                    <a:pt x="193" y="111"/>
                  </a:cubicBezTo>
                  <a:cubicBezTo>
                    <a:pt x="194" y="111"/>
                    <a:pt x="195" y="111"/>
                    <a:pt x="196" y="111"/>
                  </a:cubicBezTo>
                  <a:cubicBezTo>
                    <a:pt x="196" y="111"/>
                    <a:pt x="196" y="110"/>
                    <a:pt x="196" y="110"/>
                  </a:cubicBezTo>
                  <a:cubicBezTo>
                    <a:pt x="197" y="109"/>
                    <a:pt x="198" y="108"/>
                    <a:pt x="198" y="106"/>
                  </a:cubicBezTo>
                  <a:cubicBezTo>
                    <a:pt x="198" y="106"/>
                    <a:pt x="198" y="106"/>
                    <a:pt x="198" y="105"/>
                  </a:cubicBezTo>
                  <a:cubicBezTo>
                    <a:pt x="198" y="103"/>
                    <a:pt x="200" y="102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2" y="98"/>
                    <a:pt x="204" y="97"/>
                    <a:pt x="205" y="95"/>
                  </a:cubicBezTo>
                  <a:cubicBezTo>
                    <a:pt x="206" y="93"/>
                    <a:pt x="206" y="92"/>
                    <a:pt x="207" y="91"/>
                  </a:cubicBezTo>
                  <a:cubicBezTo>
                    <a:pt x="207" y="89"/>
                    <a:pt x="208" y="87"/>
                    <a:pt x="207" y="8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0" name="Freeform 10">
              <a:extLst>
                <a:ext uri="{FF2B5EF4-FFF2-40B4-BE49-F238E27FC236}">
                  <a16:creationId xmlns:a16="http://schemas.microsoft.com/office/drawing/2014/main" id="{17DF2C0F-9935-4027-B1A6-F6FCD58CA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013" y="4519613"/>
              <a:ext cx="95250" cy="112713"/>
            </a:xfrm>
            <a:custGeom>
              <a:avLst/>
              <a:gdLst/>
              <a:ahLst/>
              <a:cxnLst>
                <a:cxn ang="0">
                  <a:pos x="29" y="15"/>
                </a:cxn>
                <a:cxn ang="0">
                  <a:pos x="28" y="11"/>
                </a:cxn>
                <a:cxn ang="0">
                  <a:pos x="27" y="6"/>
                </a:cxn>
                <a:cxn ang="0">
                  <a:pos x="28" y="0"/>
                </a:cxn>
                <a:cxn ang="0">
                  <a:pos x="28" y="1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7" y="4"/>
                </a:cxn>
                <a:cxn ang="0">
                  <a:pos x="14" y="7"/>
                </a:cxn>
                <a:cxn ang="0">
                  <a:pos x="11" y="9"/>
                </a:cxn>
                <a:cxn ang="0">
                  <a:pos x="9" y="17"/>
                </a:cxn>
                <a:cxn ang="0">
                  <a:pos x="6" y="18"/>
                </a:cxn>
                <a:cxn ang="0">
                  <a:pos x="4" y="21"/>
                </a:cxn>
                <a:cxn ang="0">
                  <a:pos x="3" y="23"/>
                </a:cxn>
                <a:cxn ang="0">
                  <a:pos x="3" y="26"/>
                </a:cxn>
                <a:cxn ang="0">
                  <a:pos x="3" y="29"/>
                </a:cxn>
                <a:cxn ang="0">
                  <a:pos x="3" y="31"/>
                </a:cxn>
                <a:cxn ang="0">
                  <a:pos x="3" y="39"/>
                </a:cxn>
                <a:cxn ang="0">
                  <a:pos x="8" y="41"/>
                </a:cxn>
                <a:cxn ang="0">
                  <a:pos x="11" y="42"/>
                </a:cxn>
                <a:cxn ang="0">
                  <a:pos x="11" y="48"/>
                </a:cxn>
                <a:cxn ang="0">
                  <a:pos x="9" y="52"/>
                </a:cxn>
                <a:cxn ang="0">
                  <a:pos x="14" y="54"/>
                </a:cxn>
                <a:cxn ang="0">
                  <a:pos x="26" y="57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9" y="46"/>
                </a:cxn>
                <a:cxn ang="0">
                  <a:pos x="42" y="42"/>
                </a:cxn>
                <a:cxn ang="0">
                  <a:pos x="44" y="38"/>
                </a:cxn>
                <a:cxn ang="0">
                  <a:pos x="51" y="35"/>
                </a:cxn>
                <a:cxn ang="0">
                  <a:pos x="48" y="33"/>
                </a:cxn>
                <a:cxn ang="0">
                  <a:pos x="43" y="32"/>
                </a:cxn>
                <a:cxn ang="0">
                  <a:pos x="39" y="28"/>
                </a:cxn>
                <a:cxn ang="0">
                  <a:pos x="37" y="25"/>
                </a:cxn>
                <a:cxn ang="0">
                  <a:pos x="34" y="24"/>
                </a:cxn>
                <a:cxn ang="0">
                  <a:pos x="32" y="20"/>
                </a:cxn>
                <a:cxn ang="0">
                  <a:pos x="29" y="15"/>
                </a:cxn>
              </a:cxnLst>
              <a:rect l="0" t="0" r="r" b="b"/>
              <a:pathLst>
                <a:path w="51" h="60">
                  <a:moveTo>
                    <a:pt x="29" y="15"/>
                  </a:moveTo>
                  <a:cubicBezTo>
                    <a:pt x="28" y="14"/>
                    <a:pt x="29" y="12"/>
                    <a:pt x="28" y="11"/>
                  </a:cubicBezTo>
                  <a:cubicBezTo>
                    <a:pt x="28" y="9"/>
                    <a:pt x="27" y="8"/>
                    <a:pt x="27" y="6"/>
                  </a:cubicBezTo>
                  <a:cubicBezTo>
                    <a:pt x="27" y="4"/>
                    <a:pt x="27" y="2"/>
                    <a:pt x="28" y="0"/>
                  </a:cubicBezTo>
                  <a:cubicBezTo>
                    <a:pt x="28" y="0"/>
                    <a:pt x="28" y="1"/>
                    <a:pt x="28" y="1"/>
                  </a:cubicBezTo>
                  <a:cubicBezTo>
                    <a:pt x="27" y="1"/>
                    <a:pt x="26" y="1"/>
                    <a:pt x="25" y="1"/>
                  </a:cubicBezTo>
                  <a:cubicBezTo>
                    <a:pt x="24" y="1"/>
                    <a:pt x="23" y="0"/>
                    <a:pt x="21" y="0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8" y="1"/>
                    <a:pt x="17" y="4"/>
                    <a:pt x="17" y="4"/>
                  </a:cubicBezTo>
                  <a:cubicBezTo>
                    <a:pt x="16" y="5"/>
                    <a:pt x="15" y="6"/>
                    <a:pt x="14" y="7"/>
                  </a:cubicBezTo>
                  <a:cubicBezTo>
                    <a:pt x="13" y="8"/>
                    <a:pt x="12" y="8"/>
                    <a:pt x="11" y="9"/>
                  </a:cubicBezTo>
                  <a:cubicBezTo>
                    <a:pt x="10" y="12"/>
                    <a:pt x="12" y="15"/>
                    <a:pt x="9" y="17"/>
                  </a:cubicBezTo>
                  <a:cubicBezTo>
                    <a:pt x="8" y="18"/>
                    <a:pt x="7" y="18"/>
                    <a:pt x="6" y="18"/>
                  </a:cubicBezTo>
                  <a:cubicBezTo>
                    <a:pt x="4" y="19"/>
                    <a:pt x="5" y="19"/>
                    <a:pt x="4" y="21"/>
                  </a:cubicBezTo>
                  <a:cubicBezTo>
                    <a:pt x="4" y="22"/>
                    <a:pt x="3" y="23"/>
                    <a:pt x="3" y="23"/>
                  </a:cubicBezTo>
                  <a:cubicBezTo>
                    <a:pt x="2" y="24"/>
                    <a:pt x="3" y="25"/>
                    <a:pt x="3" y="26"/>
                  </a:cubicBezTo>
                  <a:cubicBezTo>
                    <a:pt x="3" y="27"/>
                    <a:pt x="3" y="28"/>
                    <a:pt x="3" y="29"/>
                  </a:cubicBezTo>
                  <a:cubicBezTo>
                    <a:pt x="3" y="29"/>
                    <a:pt x="4" y="30"/>
                    <a:pt x="3" y="31"/>
                  </a:cubicBezTo>
                  <a:cubicBezTo>
                    <a:pt x="3" y="34"/>
                    <a:pt x="0" y="36"/>
                    <a:pt x="3" y="39"/>
                  </a:cubicBezTo>
                  <a:cubicBezTo>
                    <a:pt x="5" y="41"/>
                    <a:pt x="6" y="41"/>
                    <a:pt x="8" y="41"/>
                  </a:cubicBezTo>
                  <a:cubicBezTo>
                    <a:pt x="10" y="41"/>
                    <a:pt x="10" y="41"/>
                    <a:pt x="11" y="42"/>
                  </a:cubicBezTo>
                  <a:cubicBezTo>
                    <a:pt x="12" y="44"/>
                    <a:pt x="11" y="46"/>
                    <a:pt x="11" y="48"/>
                  </a:cubicBezTo>
                  <a:cubicBezTo>
                    <a:pt x="10" y="49"/>
                    <a:pt x="10" y="51"/>
                    <a:pt x="9" y="52"/>
                  </a:cubicBezTo>
                  <a:cubicBezTo>
                    <a:pt x="11" y="52"/>
                    <a:pt x="12" y="53"/>
                    <a:pt x="14" y="54"/>
                  </a:cubicBezTo>
                  <a:cubicBezTo>
                    <a:pt x="19" y="57"/>
                    <a:pt x="20" y="60"/>
                    <a:pt x="26" y="57"/>
                  </a:cubicBezTo>
                  <a:cubicBezTo>
                    <a:pt x="30" y="54"/>
                    <a:pt x="31" y="56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3"/>
                    <a:pt x="37" y="49"/>
                    <a:pt x="39" y="46"/>
                  </a:cubicBezTo>
                  <a:cubicBezTo>
                    <a:pt x="40" y="44"/>
                    <a:pt x="41" y="43"/>
                    <a:pt x="42" y="42"/>
                  </a:cubicBezTo>
                  <a:cubicBezTo>
                    <a:pt x="42" y="40"/>
                    <a:pt x="43" y="39"/>
                    <a:pt x="44" y="38"/>
                  </a:cubicBezTo>
                  <a:cubicBezTo>
                    <a:pt x="46" y="37"/>
                    <a:pt x="49" y="35"/>
                    <a:pt x="51" y="35"/>
                  </a:cubicBezTo>
                  <a:cubicBezTo>
                    <a:pt x="51" y="33"/>
                    <a:pt x="49" y="33"/>
                    <a:pt x="48" y="33"/>
                  </a:cubicBezTo>
                  <a:cubicBezTo>
                    <a:pt x="46" y="33"/>
                    <a:pt x="45" y="33"/>
                    <a:pt x="43" y="32"/>
                  </a:cubicBezTo>
                  <a:cubicBezTo>
                    <a:pt x="42" y="31"/>
                    <a:pt x="40" y="30"/>
                    <a:pt x="39" y="28"/>
                  </a:cubicBezTo>
                  <a:cubicBezTo>
                    <a:pt x="38" y="27"/>
                    <a:pt x="37" y="26"/>
                    <a:pt x="37" y="25"/>
                  </a:cubicBezTo>
                  <a:cubicBezTo>
                    <a:pt x="36" y="24"/>
                    <a:pt x="35" y="24"/>
                    <a:pt x="34" y="24"/>
                  </a:cubicBezTo>
                  <a:cubicBezTo>
                    <a:pt x="32" y="23"/>
                    <a:pt x="32" y="21"/>
                    <a:pt x="32" y="20"/>
                  </a:cubicBezTo>
                  <a:cubicBezTo>
                    <a:pt x="31" y="18"/>
                    <a:pt x="30" y="17"/>
                    <a:pt x="29" y="1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1" name="Freeform 11">
              <a:extLst>
                <a:ext uri="{FF2B5EF4-FFF2-40B4-BE49-F238E27FC236}">
                  <a16:creationId xmlns:a16="http://schemas.microsoft.com/office/drawing/2014/main" id="{DF0F6F68-6548-4C97-B20D-9C959932F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4000" y="4889500"/>
              <a:ext cx="452438" cy="293688"/>
            </a:xfrm>
            <a:custGeom>
              <a:avLst/>
              <a:gdLst/>
              <a:ahLst/>
              <a:cxnLst>
                <a:cxn ang="0">
                  <a:pos x="231" y="65"/>
                </a:cxn>
                <a:cxn ang="0">
                  <a:pos x="214" y="71"/>
                </a:cxn>
                <a:cxn ang="0">
                  <a:pos x="204" y="60"/>
                </a:cxn>
                <a:cxn ang="0">
                  <a:pos x="194" y="60"/>
                </a:cxn>
                <a:cxn ang="0">
                  <a:pos x="186" y="51"/>
                </a:cxn>
                <a:cxn ang="0">
                  <a:pos x="183" y="47"/>
                </a:cxn>
                <a:cxn ang="0">
                  <a:pos x="186" y="39"/>
                </a:cxn>
                <a:cxn ang="0">
                  <a:pos x="192" y="36"/>
                </a:cxn>
                <a:cxn ang="0">
                  <a:pos x="195" y="30"/>
                </a:cxn>
                <a:cxn ang="0">
                  <a:pos x="197" y="18"/>
                </a:cxn>
                <a:cxn ang="0">
                  <a:pos x="188" y="17"/>
                </a:cxn>
                <a:cxn ang="0">
                  <a:pos x="174" y="10"/>
                </a:cxn>
                <a:cxn ang="0">
                  <a:pos x="161" y="9"/>
                </a:cxn>
                <a:cxn ang="0">
                  <a:pos x="145" y="1"/>
                </a:cxn>
                <a:cxn ang="0">
                  <a:pos x="133" y="1"/>
                </a:cxn>
                <a:cxn ang="0">
                  <a:pos x="121" y="8"/>
                </a:cxn>
                <a:cxn ang="0">
                  <a:pos x="110" y="18"/>
                </a:cxn>
                <a:cxn ang="0">
                  <a:pos x="94" y="17"/>
                </a:cxn>
                <a:cxn ang="0">
                  <a:pos x="90" y="21"/>
                </a:cxn>
                <a:cxn ang="0">
                  <a:pos x="51" y="27"/>
                </a:cxn>
                <a:cxn ang="0">
                  <a:pos x="39" y="56"/>
                </a:cxn>
                <a:cxn ang="0">
                  <a:pos x="8" y="90"/>
                </a:cxn>
                <a:cxn ang="0">
                  <a:pos x="5" y="118"/>
                </a:cxn>
                <a:cxn ang="0">
                  <a:pos x="41" y="118"/>
                </a:cxn>
                <a:cxn ang="0">
                  <a:pos x="46" y="130"/>
                </a:cxn>
                <a:cxn ang="0">
                  <a:pos x="52" y="144"/>
                </a:cxn>
                <a:cxn ang="0">
                  <a:pos x="57" y="153"/>
                </a:cxn>
                <a:cxn ang="0">
                  <a:pos x="68" y="151"/>
                </a:cxn>
                <a:cxn ang="0">
                  <a:pos x="88" y="145"/>
                </a:cxn>
                <a:cxn ang="0">
                  <a:pos x="108" y="135"/>
                </a:cxn>
                <a:cxn ang="0">
                  <a:pos x="113" y="129"/>
                </a:cxn>
                <a:cxn ang="0">
                  <a:pos x="119" y="114"/>
                </a:cxn>
                <a:cxn ang="0">
                  <a:pos x="127" y="120"/>
                </a:cxn>
                <a:cxn ang="0">
                  <a:pos x="138" y="133"/>
                </a:cxn>
                <a:cxn ang="0">
                  <a:pos x="148" y="137"/>
                </a:cxn>
                <a:cxn ang="0">
                  <a:pos x="147" y="143"/>
                </a:cxn>
                <a:cxn ang="0">
                  <a:pos x="158" y="156"/>
                </a:cxn>
                <a:cxn ang="0">
                  <a:pos x="157" y="147"/>
                </a:cxn>
                <a:cxn ang="0">
                  <a:pos x="163" y="134"/>
                </a:cxn>
                <a:cxn ang="0">
                  <a:pos x="174" y="121"/>
                </a:cxn>
                <a:cxn ang="0">
                  <a:pos x="173" y="106"/>
                </a:cxn>
                <a:cxn ang="0">
                  <a:pos x="185" y="111"/>
                </a:cxn>
                <a:cxn ang="0">
                  <a:pos x="196" y="118"/>
                </a:cxn>
                <a:cxn ang="0">
                  <a:pos x="209" y="115"/>
                </a:cxn>
                <a:cxn ang="0">
                  <a:pos x="223" y="123"/>
                </a:cxn>
                <a:cxn ang="0">
                  <a:pos x="222" y="109"/>
                </a:cxn>
                <a:cxn ang="0">
                  <a:pos x="220" y="97"/>
                </a:cxn>
                <a:cxn ang="0">
                  <a:pos x="236" y="98"/>
                </a:cxn>
                <a:cxn ang="0">
                  <a:pos x="238" y="91"/>
                </a:cxn>
                <a:cxn ang="0">
                  <a:pos x="240" y="71"/>
                </a:cxn>
              </a:cxnLst>
              <a:rect l="0" t="0" r="r" b="b"/>
              <a:pathLst>
                <a:path w="242" h="157">
                  <a:moveTo>
                    <a:pt x="240" y="71"/>
                  </a:moveTo>
                  <a:cubicBezTo>
                    <a:pt x="240" y="69"/>
                    <a:pt x="240" y="67"/>
                    <a:pt x="238" y="65"/>
                  </a:cubicBezTo>
                  <a:cubicBezTo>
                    <a:pt x="237" y="64"/>
                    <a:pt x="234" y="62"/>
                    <a:pt x="233" y="62"/>
                  </a:cubicBezTo>
                  <a:cubicBezTo>
                    <a:pt x="232" y="63"/>
                    <a:pt x="232" y="64"/>
                    <a:pt x="231" y="65"/>
                  </a:cubicBezTo>
                  <a:cubicBezTo>
                    <a:pt x="230" y="65"/>
                    <a:pt x="229" y="65"/>
                    <a:pt x="228" y="66"/>
                  </a:cubicBezTo>
                  <a:cubicBezTo>
                    <a:pt x="226" y="67"/>
                    <a:pt x="227" y="69"/>
                    <a:pt x="226" y="70"/>
                  </a:cubicBezTo>
                  <a:cubicBezTo>
                    <a:pt x="225" y="72"/>
                    <a:pt x="225" y="73"/>
                    <a:pt x="222" y="73"/>
                  </a:cubicBezTo>
                  <a:cubicBezTo>
                    <a:pt x="219" y="73"/>
                    <a:pt x="217" y="72"/>
                    <a:pt x="214" y="71"/>
                  </a:cubicBezTo>
                  <a:cubicBezTo>
                    <a:pt x="213" y="71"/>
                    <a:pt x="212" y="70"/>
                    <a:pt x="212" y="69"/>
                  </a:cubicBezTo>
                  <a:cubicBezTo>
                    <a:pt x="211" y="69"/>
                    <a:pt x="210" y="69"/>
                    <a:pt x="210" y="68"/>
                  </a:cubicBezTo>
                  <a:cubicBezTo>
                    <a:pt x="208" y="67"/>
                    <a:pt x="208" y="66"/>
                    <a:pt x="208" y="64"/>
                  </a:cubicBezTo>
                  <a:cubicBezTo>
                    <a:pt x="208" y="61"/>
                    <a:pt x="206" y="61"/>
                    <a:pt x="204" y="60"/>
                  </a:cubicBezTo>
                  <a:cubicBezTo>
                    <a:pt x="204" y="60"/>
                    <a:pt x="204" y="60"/>
                    <a:pt x="203" y="59"/>
                  </a:cubicBezTo>
                  <a:cubicBezTo>
                    <a:pt x="203" y="59"/>
                    <a:pt x="202" y="59"/>
                    <a:pt x="201" y="59"/>
                  </a:cubicBezTo>
                  <a:cubicBezTo>
                    <a:pt x="200" y="60"/>
                    <a:pt x="200" y="60"/>
                    <a:pt x="198" y="60"/>
                  </a:cubicBezTo>
                  <a:cubicBezTo>
                    <a:pt x="197" y="60"/>
                    <a:pt x="195" y="60"/>
                    <a:pt x="194" y="60"/>
                  </a:cubicBezTo>
                  <a:cubicBezTo>
                    <a:pt x="193" y="60"/>
                    <a:pt x="192" y="60"/>
                    <a:pt x="191" y="60"/>
                  </a:cubicBezTo>
                  <a:cubicBezTo>
                    <a:pt x="190" y="60"/>
                    <a:pt x="189" y="60"/>
                    <a:pt x="188" y="60"/>
                  </a:cubicBezTo>
                  <a:cubicBezTo>
                    <a:pt x="185" y="59"/>
                    <a:pt x="183" y="60"/>
                    <a:pt x="183" y="57"/>
                  </a:cubicBezTo>
                  <a:cubicBezTo>
                    <a:pt x="182" y="53"/>
                    <a:pt x="184" y="53"/>
                    <a:pt x="186" y="51"/>
                  </a:cubicBezTo>
                  <a:cubicBezTo>
                    <a:pt x="186" y="51"/>
                    <a:pt x="187" y="51"/>
                    <a:pt x="187" y="50"/>
                  </a:cubicBezTo>
                  <a:cubicBezTo>
                    <a:pt x="187" y="50"/>
                    <a:pt x="186" y="50"/>
                    <a:pt x="186" y="50"/>
                  </a:cubicBezTo>
                  <a:cubicBezTo>
                    <a:pt x="185" y="50"/>
                    <a:pt x="185" y="50"/>
                    <a:pt x="184" y="49"/>
                  </a:cubicBezTo>
                  <a:cubicBezTo>
                    <a:pt x="183" y="49"/>
                    <a:pt x="183" y="48"/>
                    <a:pt x="183" y="47"/>
                  </a:cubicBezTo>
                  <a:cubicBezTo>
                    <a:pt x="183" y="47"/>
                    <a:pt x="183" y="46"/>
                    <a:pt x="183" y="45"/>
                  </a:cubicBezTo>
                  <a:cubicBezTo>
                    <a:pt x="183" y="44"/>
                    <a:pt x="184" y="44"/>
                    <a:pt x="184" y="43"/>
                  </a:cubicBezTo>
                  <a:cubicBezTo>
                    <a:pt x="184" y="42"/>
                    <a:pt x="185" y="42"/>
                    <a:pt x="185" y="41"/>
                  </a:cubicBezTo>
                  <a:cubicBezTo>
                    <a:pt x="186" y="40"/>
                    <a:pt x="186" y="40"/>
                    <a:pt x="186" y="39"/>
                  </a:cubicBezTo>
                  <a:cubicBezTo>
                    <a:pt x="187" y="38"/>
                    <a:pt x="187" y="38"/>
                    <a:pt x="188" y="38"/>
                  </a:cubicBezTo>
                  <a:cubicBezTo>
                    <a:pt x="188" y="37"/>
                    <a:pt x="189" y="37"/>
                    <a:pt x="189" y="36"/>
                  </a:cubicBezTo>
                  <a:cubicBezTo>
                    <a:pt x="189" y="36"/>
                    <a:pt x="192" y="35"/>
                    <a:pt x="192" y="35"/>
                  </a:cubicBezTo>
                  <a:cubicBezTo>
                    <a:pt x="192" y="36"/>
                    <a:pt x="192" y="36"/>
                    <a:pt x="192" y="36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4" y="36"/>
                    <a:pt x="196" y="36"/>
                    <a:pt x="196" y="35"/>
                  </a:cubicBezTo>
                  <a:cubicBezTo>
                    <a:pt x="197" y="34"/>
                    <a:pt x="196" y="33"/>
                    <a:pt x="196" y="33"/>
                  </a:cubicBezTo>
                  <a:cubicBezTo>
                    <a:pt x="195" y="32"/>
                    <a:pt x="195" y="31"/>
                    <a:pt x="195" y="30"/>
                  </a:cubicBezTo>
                  <a:cubicBezTo>
                    <a:pt x="195" y="28"/>
                    <a:pt x="195" y="26"/>
                    <a:pt x="195" y="24"/>
                  </a:cubicBezTo>
                  <a:cubicBezTo>
                    <a:pt x="195" y="23"/>
                    <a:pt x="196" y="22"/>
                    <a:pt x="196" y="20"/>
                  </a:cubicBezTo>
                  <a:cubicBezTo>
                    <a:pt x="197" y="19"/>
                    <a:pt x="198" y="19"/>
                    <a:pt x="198" y="18"/>
                  </a:cubicBezTo>
                  <a:cubicBezTo>
                    <a:pt x="198" y="18"/>
                    <a:pt x="197" y="18"/>
                    <a:pt x="197" y="18"/>
                  </a:cubicBezTo>
                  <a:cubicBezTo>
                    <a:pt x="196" y="18"/>
                    <a:pt x="195" y="18"/>
                    <a:pt x="195" y="18"/>
                  </a:cubicBezTo>
                  <a:cubicBezTo>
                    <a:pt x="195" y="18"/>
                    <a:pt x="195" y="17"/>
                    <a:pt x="194" y="17"/>
                  </a:cubicBezTo>
                  <a:cubicBezTo>
                    <a:pt x="193" y="17"/>
                    <a:pt x="191" y="17"/>
                    <a:pt x="190" y="17"/>
                  </a:cubicBezTo>
                  <a:cubicBezTo>
                    <a:pt x="189" y="17"/>
                    <a:pt x="189" y="17"/>
                    <a:pt x="188" y="17"/>
                  </a:cubicBezTo>
                  <a:cubicBezTo>
                    <a:pt x="186" y="16"/>
                    <a:pt x="184" y="16"/>
                    <a:pt x="182" y="15"/>
                  </a:cubicBezTo>
                  <a:cubicBezTo>
                    <a:pt x="181" y="15"/>
                    <a:pt x="180" y="15"/>
                    <a:pt x="179" y="13"/>
                  </a:cubicBezTo>
                  <a:cubicBezTo>
                    <a:pt x="178" y="13"/>
                    <a:pt x="178" y="13"/>
                    <a:pt x="178" y="12"/>
                  </a:cubicBezTo>
                  <a:cubicBezTo>
                    <a:pt x="177" y="12"/>
                    <a:pt x="175" y="11"/>
                    <a:pt x="174" y="10"/>
                  </a:cubicBezTo>
                  <a:cubicBezTo>
                    <a:pt x="173" y="10"/>
                    <a:pt x="172" y="9"/>
                    <a:pt x="171" y="8"/>
                  </a:cubicBezTo>
                  <a:cubicBezTo>
                    <a:pt x="170" y="7"/>
                    <a:pt x="171" y="7"/>
                    <a:pt x="169" y="7"/>
                  </a:cubicBezTo>
                  <a:cubicBezTo>
                    <a:pt x="168" y="7"/>
                    <a:pt x="167" y="7"/>
                    <a:pt x="166" y="8"/>
                  </a:cubicBezTo>
                  <a:cubicBezTo>
                    <a:pt x="164" y="8"/>
                    <a:pt x="163" y="9"/>
                    <a:pt x="161" y="9"/>
                  </a:cubicBezTo>
                  <a:cubicBezTo>
                    <a:pt x="159" y="9"/>
                    <a:pt x="157" y="8"/>
                    <a:pt x="155" y="7"/>
                  </a:cubicBezTo>
                  <a:cubicBezTo>
                    <a:pt x="154" y="6"/>
                    <a:pt x="154" y="5"/>
                    <a:pt x="153" y="5"/>
                  </a:cubicBezTo>
                  <a:cubicBezTo>
                    <a:pt x="152" y="4"/>
                    <a:pt x="149" y="3"/>
                    <a:pt x="147" y="2"/>
                  </a:cubicBezTo>
                  <a:cubicBezTo>
                    <a:pt x="147" y="1"/>
                    <a:pt x="146" y="1"/>
                    <a:pt x="145" y="1"/>
                  </a:cubicBezTo>
                  <a:cubicBezTo>
                    <a:pt x="145" y="1"/>
                    <a:pt x="144" y="1"/>
                    <a:pt x="143" y="1"/>
                  </a:cubicBezTo>
                  <a:cubicBezTo>
                    <a:pt x="143" y="1"/>
                    <a:pt x="142" y="0"/>
                    <a:pt x="141" y="0"/>
                  </a:cubicBezTo>
                  <a:cubicBezTo>
                    <a:pt x="141" y="0"/>
                    <a:pt x="140" y="0"/>
                    <a:pt x="139" y="0"/>
                  </a:cubicBezTo>
                  <a:cubicBezTo>
                    <a:pt x="137" y="0"/>
                    <a:pt x="134" y="0"/>
                    <a:pt x="133" y="1"/>
                  </a:cubicBezTo>
                  <a:cubicBezTo>
                    <a:pt x="131" y="3"/>
                    <a:pt x="129" y="6"/>
                    <a:pt x="129" y="8"/>
                  </a:cubicBezTo>
                  <a:cubicBezTo>
                    <a:pt x="129" y="11"/>
                    <a:pt x="129" y="14"/>
                    <a:pt x="126" y="14"/>
                  </a:cubicBezTo>
                  <a:cubicBezTo>
                    <a:pt x="124" y="14"/>
                    <a:pt x="124" y="13"/>
                    <a:pt x="123" y="12"/>
                  </a:cubicBezTo>
                  <a:cubicBezTo>
                    <a:pt x="122" y="11"/>
                    <a:pt x="123" y="9"/>
                    <a:pt x="121" y="8"/>
                  </a:cubicBezTo>
                  <a:cubicBezTo>
                    <a:pt x="120" y="8"/>
                    <a:pt x="119" y="10"/>
                    <a:pt x="118" y="11"/>
                  </a:cubicBezTo>
                  <a:cubicBezTo>
                    <a:pt x="118" y="12"/>
                    <a:pt x="118" y="12"/>
                    <a:pt x="118" y="13"/>
                  </a:cubicBezTo>
                  <a:cubicBezTo>
                    <a:pt x="118" y="15"/>
                    <a:pt x="117" y="15"/>
                    <a:pt x="116" y="15"/>
                  </a:cubicBezTo>
                  <a:cubicBezTo>
                    <a:pt x="114" y="16"/>
                    <a:pt x="113" y="18"/>
                    <a:pt x="110" y="18"/>
                  </a:cubicBezTo>
                  <a:cubicBezTo>
                    <a:pt x="110" y="18"/>
                    <a:pt x="109" y="17"/>
                    <a:pt x="108" y="17"/>
                  </a:cubicBezTo>
                  <a:cubicBezTo>
                    <a:pt x="107" y="17"/>
                    <a:pt x="105" y="17"/>
                    <a:pt x="104" y="18"/>
                  </a:cubicBezTo>
                  <a:cubicBezTo>
                    <a:pt x="102" y="19"/>
                    <a:pt x="100" y="19"/>
                    <a:pt x="97" y="18"/>
                  </a:cubicBezTo>
                  <a:cubicBezTo>
                    <a:pt x="96" y="18"/>
                    <a:pt x="95" y="18"/>
                    <a:pt x="94" y="17"/>
                  </a:cubicBezTo>
                  <a:cubicBezTo>
                    <a:pt x="94" y="17"/>
                    <a:pt x="94" y="17"/>
                    <a:pt x="93" y="17"/>
                  </a:cubicBezTo>
                  <a:cubicBezTo>
                    <a:pt x="93" y="16"/>
                    <a:pt x="93" y="16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7"/>
                    <a:pt x="93" y="19"/>
                    <a:pt x="90" y="21"/>
                  </a:cubicBezTo>
                  <a:cubicBezTo>
                    <a:pt x="87" y="23"/>
                    <a:pt x="83" y="25"/>
                    <a:pt x="80" y="26"/>
                  </a:cubicBezTo>
                  <a:cubicBezTo>
                    <a:pt x="78" y="27"/>
                    <a:pt x="77" y="27"/>
                    <a:pt x="75" y="27"/>
                  </a:cubicBezTo>
                  <a:cubicBezTo>
                    <a:pt x="69" y="27"/>
                    <a:pt x="64" y="30"/>
                    <a:pt x="58" y="29"/>
                  </a:cubicBezTo>
                  <a:cubicBezTo>
                    <a:pt x="56" y="28"/>
                    <a:pt x="54" y="27"/>
                    <a:pt x="51" y="27"/>
                  </a:cubicBezTo>
                  <a:cubicBezTo>
                    <a:pt x="40" y="28"/>
                    <a:pt x="58" y="37"/>
                    <a:pt x="52" y="42"/>
                  </a:cubicBezTo>
                  <a:cubicBezTo>
                    <a:pt x="50" y="44"/>
                    <a:pt x="49" y="43"/>
                    <a:pt x="47" y="44"/>
                  </a:cubicBezTo>
                  <a:cubicBezTo>
                    <a:pt x="47" y="45"/>
                    <a:pt x="46" y="47"/>
                    <a:pt x="46" y="47"/>
                  </a:cubicBezTo>
                  <a:cubicBezTo>
                    <a:pt x="44" y="51"/>
                    <a:pt x="42" y="53"/>
                    <a:pt x="39" y="56"/>
                  </a:cubicBezTo>
                  <a:cubicBezTo>
                    <a:pt x="34" y="62"/>
                    <a:pt x="30" y="69"/>
                    <a:pt x="23" y="74"/>
                  </a:cubicBezTo>
                  <a:cubicBezTo>
                    <a:pt x="22" y="75"/>
                    <a:pt x="20" y="76"/>
                    <a:pt x="19" y="78"/>
                  </a:cubicBezTo>
                  <a:cubicBezTo>
                    <a:pt x="17" y="80"/>
                    <a:pt x="17" y="82"/>
                    <a:pt x="15" y="83"/>
                  </a:cubicBezTo>
                  <a:cubicBezTo>
                    <a:pt x="13" y="86"/>
                    <a:pt x="11" y="88"/>
                    <a:pt x="8" y="90"/>
                  </a:cubicBezTo>
                  <a:cubicBezTo>
                    <a:pt x="6" y="93"/>
                    <a:pt x="6" y="95"/>
                    <a:pt x="6" y="98"/>
                  </a:cubicBezTo>
                  <a:cubicBezTo>
                    <a:pt x="6" y="100"/>
                    <a:pt x="7" y="104"/>
                    <a:pt x="6" y="105"/>
                  </a:cubicBezTo>
                  <a:cubicBezTo>
                    <a:pt x="5" y="107"/>
                    <a:pt x="3" y="106"/>
                    <a:pt x="2" y="108"/>
                  </a:cubicBezTo>
                  <a:cubicBezTo>
                    <a:pt x="0" y="111"/>
                    <a:pt x="3" y="117"/>
                    <a:pt x="5" y="118"/>
                  </a:cubicBezTo>
                  <a:cubicBezTo>
                    <a:pt x="8" y="119"/>
                    <a:pt x="11" y="118"/>
                    <a:pt x="13" y="117"/>
                  </a:cubicBezTo>
                  <a:cubicBezTo>
                    <a:pt x="18" y="115"/>
                    <a:pt x="22" y="112"/>
                    <a:pt x="27" y="112"/>
                  </a:cubicBezTo>
                  <a:cubicBezTo>
                    <a:pt x="31" y="112"/>
                    <a:pt x="35" y="115"/>
                    <a:pt x="38" y="117"/>
                  </a:cubicBezTo>
                  <a:cubicBezTo>
                    <a:pt x="38" y="117"/>
                    <a:pt x="40" y="118"/>
                    <a:pt x="41" y="118"/>
                  </a:cubicBezTo>
                  <a:cubicBezTo>
                    <a:pt x="42" y="118"/>
                    <a:pt x="43" y="119"/>
                    <a:pt x="44" y="119"/>
                  </a:cubicBezTo>
                  <a:cubicBezTo>
                    <a:pt x="45" y="121"/>
                    <a:pt x="44" y="123"/>
                    <a:pt x="45" y="125"/>
                  </a:cubicBezTo>
                  <a:cubicBezTo>
                    <a:pt x="45" y="125"/>
                    <a:pt x="46" y="126"/>
                    <a:pt x="46" y="126"/>
                  </a:cubicBezTo>
                  <a:cubicBezTo>
                    <a:pt x="46" y="127"/>
                    <a:pt x="46" y="129"/>
                    <a:pt x="46" y="130"/>
                  </a:cubicBezTo>
                  <a:cubicBezTo>
                    <a:pt x="46" y="132"/>
                    <a:pt x="46" y="134"/>
                    <a:pt x="47" y="136"/>
                  </a:cubicBezTo>
                  <a:cubicBezTo>
                    <a:pt x="47" y="137"/>
                    <a:pt x="48" y="138"/>
                    <a:pt x="49" y="139"/>
                  </a:cubicBezTo>
                  <a:cubicBezTo>
                    <a:pt x="49" y="140"/>
                    <a:pt x="50" y="141"/>
                    <a:pt x="50" y="141"/>
                  </a:cubicBezTo>
                  <a:cubicBezTo>
                    <a:pt x="51" y="143"/>
                    <a:pt x="51" y="143"/>
                    <a:pt x="52" y="144"/>
                  </a:cubicBezTo>
                  <a:cubicBezTo>
                    <a:pt x="52" y="145"/>
                    <a:pt x="53" y="145"/>
                    <a:pt x="53" y="147"/>
                  </a:cubicBezTo>
                  <a:cubicBezTo>
                    <a:pt x="53" y="147"/>
                    <a:pt x="53" y="149"/>
                    <a:pt x="53" y="150"/>
                  </a:cubicBezTo>
                  <a:cubicBezTo>
                    <a:pt x="53" y="151"/>
                    <a:pt x="51" y="152"/>
                    <a:pt x="51" y="153"/>
                  </a:cubicBezTo>
                  <a:cubicBezTo>
                    <a:pt x="53" y="154"/>
                    <a:pt x="55" y="153"/>
                    <a:pt x="57" y="153"/>
                  </a:cubicBezTo>
                  <a:cubicBezTo>
                    <a:pt x="58" y="153"/>
                    <a:pt x="59" y="154"/>
                    <a:pt x="60" y="154"/>
                  </a:cubicBezTo>
                  <a:cubicBezTo>
                    <a:pt x="61" y="154"/>
                    <a:pt x="62" y="154"/>
                    <a:pt x="63" y="153"/>
                  </a:cubicBezTo>
                  <a:cubicBezTo>
                    <a:pt x="63" y="153"/>
                    <a:pt x="65" y="153"/>
                    <a:pt x="66" y="153"/>
                  </a:cubicBezTo>
                  <a:cubicBezTo>
                    <a:pt x="67" y="152"/>
                    <a:pt x="67" y="151"/>
                    <a:pt x="68" y="151"/>
                  </a:cubicBezTo>
                  <a:cubicBezTo>
                    <a:pt x="71" y="150"/>
                    <a:pt x="74" y="150"/>
                    <a:pt x="77" y="149"/>
                  </a:cubicBezTo>
                  <a:cubicBezTo>
                    <a:pt x="79" y="149"/>
                    <a:pt x="80" y="148"/>
                    <a:pt x="81" y="147"/>
                  </a:cubicBezTo>
                  <a:cubicBezTo>
                    <a:pt x="82" y="145"/>
                    <a:pt x="82" y="144"/>
                    <a:pt x="84" y="143"/>
                  </a:cubicBezTo>
                  <a:cubicBezTo>
                    <a:pt x="85" y="143"/>
                    <a:pt x="86" y="144"/>
                    <a:pt x="88" y="145"/>
                  </a:cubicBezTo>
                  <a:cubicBezTo>
                    <a:pt x="91" y="146"/>
                    <a:pt x="95" y="149"/>
                    <a:pt x="99" y="147"/>
                  </a:cubicBezTo>
                  <a:cubicBezTo>
                    <a:pt x="100" y="146"/>
                    <a:pt x="100" y="145"/>
                    <a:pt x="102" y="144"/>
                  </a:cubicBezTo>
                  <a:cubicBezTo>
                    <a:pt x="103" y="143"/>
                    <a:pt x="105" y="142"/>
                    <a:pt x="105" y="140"/>
                  </a:cubicBezTo>
                  <a:cubicBezTo>
                    <a:pt x="106" y="139"/>
                    <a:pt x="106" y="136"/>
                    <a:pt x="108" y="135"/>
                  </a:cubicBezTo>
                  <a:cubicBezTo>
                    <a:pt x="109" y="135"/>
                    <a:pt x="110" y="135"/>
                    <a:pt x="110" y="135"/>
                  </a:cubicBezTo>
                  <a:cubicBezTo>
                    <a:pt x="110" y="135"/>
                    <a:pt x="111" y="134"/>
                    <a:pt x="111" y="134"/>
                  </a:cubicBezTo>
                  <a:cubicBezTo>
                    <a:pt x="113" y="133"/>
                    <a:pt x="113" y="133"/>
                    <a:pt x="113" y="132"/>
                  </a:cubicBezTo>
                  <a:cubicBezTo>
                    <a:pt x="113" y="131"/>
                    <a:pt x="113" y="130"/>
                    <a:pt x="113" y="129"/>
                  </a:cubicBezTo>
                  <a:cubicBezTo>
                    <a:pt x="112" y="127"/>
                    <a:pt x="111" y="128"/>
                    <a:pt x="110" y="127"/>
                  </a:cubicBezTo>
                  <a:cubicBezTo>
                    <a:pt x="109" y="125"/>
                    <a:pt x="109" y="123"/>
                    <a:pt x="111" y="122"/>
                  </a:cubicBezTo>
                  <a:cubicBezTo>
                    <a:pt x="113" y="120"/>
                    <a:pt x="115" y="120"/>
                    <a:pt x="117" y="119"/>
                  </a:cubicBezTo>
                  <a:cubicBezTo>
                    <a:pt x="118" y="118"/>
                    <a:pt x="119" y="116"/>
                    <a:pt x="119" y="114"/>
                  </a:cubicBezTo>
                  <a:cubicBezTo>
                    <a:pt x="120" y="112"/>
                    <a:pt x="120" y="109"/>
                    <a:pt x="123" y="110"/>
                  </a:cubicBezTo>
                  <a:cubicBezTo>
                    <a:pt x="125" y="111"/>
                    <a:pt x="127" y="113"/>
                    <a:pt x="127" y="115"/>
                  </a:cubicBezTo>
                  <a:cubicBezTo>
                    <a:pt x="127" y="116"/>
                    <a:pt x="127" y="117"/>
                    <a:pt x="127" y="118"/>
                  </a:cubicBezTo>
                  <a:cubicBezTo>
                    <a:pt x="127" y="118"/>
                    <a:pt x="127" y="120"/>
                    <a:pt x="127" y="120"/>
                  </a:cubicBezTo>
                  <a:cubicBezTo>
                    <a:pt x="127" y="121"/>
                    <a:pt x="128" y="121"/>
                    <a:pt x="128" y="122"/>
                  </a:cubicBezTo>
                  <a:cubicBezTo>
                    <a:pt x="129" y="123"/>
                    <a:pt x="130" y="124"/>
                    <a:pt x="131" y="125"/>
                  </a:cubicBezTo>
                  <a:cubicBezTo>
                    <a:pt x="132" y="126"/>
                    <a:pt x="133" y="128"/>
                    <a:pt x="134" y="130"/>
                  </a:cubicBezTo>
                  <a:cubicBezTo>
                    <a:pt x="135" y="132"/>
                    <a:pt x="136" y="133"/>
                    <a:pt x="138" y="133"/>
                  </a:cubicBezTo>
                  <a:cubicBezTo>
                    <a:pt x="139" y="134"/>
                    <a:pt x="140" y="134"/>
                    <a:pt x="141" y="134"/>
                  </a:cubicBezTo>
                  <a:cubicBezTo>
                    <a:pt x="142" y="134"/>
                    <a:pt x="142" y="135"/>
                    <a:pt x="142" y="135"/>
                  </a:cubicBezTo>
                  <a:cubicBezTo>
                    <a:pt x="143" y="135"/>
                    <a:pt x="144" y="135"/>
                    <a:pt x="144" y="135"/>
                  </a:cubicBezTo>
                  <a:cubicBezTo>
                    <a:pt x="146" y="135"/>
                    <a:pt x="147" y="136"/>
                    <a:pt x="148" y="137"/>
                  </a:cubicBezTo>
                  <a:cubicBezTo>
                    <a:pt x="149" y="137"/>
                    <a:pt x="149" y="137"/>
                    <a:pt x="150" y="138"/>
                  </a:cubicBezTo>
                  <a:cubicBezTo>
                    <a:pt x="150" y="139"/>
                    <a:pt x="148" y="140"/>
                    <a:pt x="148" y="141"/>
                  </a:cubicBezTo>
                  <a:cubicBezTo>
                    <a:pt x="148" y="141"/>
                    <a:pt x="148" y="142"/>
                    <a:pt x="148" y="142"/>
                  </a:cubicBezTo>
                  <a:cubicBezTo>
                    <a:pt x="148" y="142"/>
                    <a:pt x="147" y="143"/>
                    <a:pt x="147" y="143"/>
                  </a:cubicBezTo>
                  <a:cubicBezTo>
                    <a:pt x="147" y="143"/>
                    <a:pt x="147" y="144"/>
                    <a:pt x="147" y="145"/>
                  </a:cubicBezTo>
                  <a:cubicBezTo>
                    <a:pt x="149" y="145"/>
                    <a:pt x="151" y="145"/>
                    <a:pt x="152" y="147"/>
                  </a:cubicBezTo>
                  <a:cubicBezTo>
                    <a:pt x="153" y="149"/>
                    <a:pt x="153" y="152"/>
                    <a:pt x="153" y="154"/>
                  </a:cubicBezTo>
                  <a:cubicBezTo>
                    <a:pt x="154" y="156"/>
                    <a:pt x="157" y="156"/>
                    <a:pt x="158" y="156"/>
                  </a:cubicBezTo>
                  <a:cubicBezTo>
                    <a:pt x="161" y="157"/>
                    <a:pt x="162" y="156"/>
                    <a:pt x="163" y="153"/>
                  </a:cubicBezTo>
                  <a:cubicBezTo>
                    <a:pt x="163" y="152"/>
                    <a:pt x="164" y="151"/>
                    <a:pt x="162" y="150"/>
                  </a:cubicBezTo>
                  <a:cubicBezTo>
                    <a:pt x="162" y="149"/>
                    <a:pt x="161" y="149"/>
                    <a:pt x="160" y="148"/>
                  </a:cubicBezTo>
                  <a:cubicBezTo>
                    <a:pt x="160" y="148"/>
                    <a:pt x="158" y="148"/>
                    <a:pt x="157" y="147"/>
                  </a:cubicBezTo>
                  <a:cubicBezTo>
                    <a:pt x="157" y="147"/>
                    <a:pt x="157" y="144"/>
                    <a:pt x="157" y="143"/>
                  </a:cubicBezTo>
                  <a:cubicBezTo>
                    <a:pt x="158" y="143"/>
                    <a:pt x="159" y="142"/>
                    <a:pt x="159" y="141"/>
                  </a:cubicBezTo>
                  <a:cubicBezTo>
                    <a:pt x="160" y="140"/>
                    <a:pt x="160" y="140"/>
                    <a:pt x="160" y="139"/>
                  </a:cubicBezTo>
                  <a:cubicBezTo>
                    <a:pt x="161" y="137"/>
                    <a:pt x="163" y="136"/>
                    <a:pt x="163" y="134"/>
                  </a:cubicBezTo>
                  <a:cubicBezTo>
                    <a:pt x="164" y="132"/>
                    <a:pt x="164" y="130"/>
                    <a:pt x="166" y="129"/>
                  </a:cubicBezTo>
                  <a:cubicBezTo>
                    <a:pt x="168" y="128"/>
                    <a:pt x="169" y="127"/>
                    <a:pt x="171" y="126"/>
                  </a:cubicBezTo>
                  <a:cubicBezTo>
                    <a:pt x="171" y="125"/>
                    <a:pt x="171" y="125"/>
                    <a:pt x="172" y="124"/>
                  </a:cubicBezTo>
                  <a:cubicBezTo>
                    <a:pt x="173" y="123"/>
                    <a:pt x="174" y="122"/>
                    <a:pt x="174" y="121"/>
                  </a:cubicBezTo>
                  <a:cubicBezTo>
                    <a:pt x="175" y="120"/>
                    <a:pt x="175" y="118"/>
                    <a:pt x="175" y="117"/>
                  </a:cubicBezTo>
                  <a:cubicBezTo>
                    <a:pt x="174" y="116"/>
                    <a:pt x="174" y="115"/>
                    <a:pt x="173" y="114"/>
                  </a:cubicBezTo>
                  <a:cubicBezTo>
                    <a:pt x="172" y="113"/>
                    <a:pt x="171" y="110"/>
                    <a:pt x="172" y="108"/>
                  </a:cubicBezTo>
                  <a:cubicBezTo>
                    <a:pt x="172" y="108"/>
                    <a:pt x="173" y="107"/>
                    <a:pt x="173" y="106"/>
                  </a:cubicBezTo>
                  <a:cubicBezTo>
                    <a:pt x="174" y="106"/>
                    <a:pt x="175" y="105"/>
                    <a:pt x="175" y="105"/>
                  </a:cubicBezTo>
                  <a:cubicBezTo>
                    <a:pt x="176" y="104"/>
                    <a:pt x="180" y="104"/>
                    <a:pt x="181" y="105"/>
                  </a:cubicBezTo>
                  <a:cubicBezTo>
                    <a:pt x="181" y="105"/>
                    <a:pt x="183" y="107"/>
                    <a:pt x="183" y="107"/>
                  </a:cubicBezTo>
                  <a:cubicBezTo>
                    <a:pt x="184" y="109"/>
                    <a:pt x="184" y="110"/>
                    <a:pt x="185" y="111"/>
                  </a:cubicBezTo>
                  <a:cubicBezTo>
                    <a:pt x="185" y="112"/>
                    <a:pt x="185" y="114"/>
                    <a:pt x="185" y="115"/>
                  </a:cubicBezTo>
                  <a:cubicBezTo>
                    <a:pt x="186" y="117"/>
                    <a:pt x="187" y="117"/>
                    <a:pt x="189" y="117"/>
                  </a:cubicBezTo>
                  <a:cubicBezTo>
                    <a:pt x="190" y="118"/>
                    <a:pt x="192" y="119"/>
                    <a:pt x="194" y="119"/>
                  </a:cubicBezTo>
                  <a:cubicBezTo>
                    <a:pt x="195" y="118"/>
                    <a:pt x="195" y="118"/>
                    <a:pt x="196" y="118"/>
                  </a:cubicBezTo>
                  <a:cubicBezTo>
                    <a:pt x="197" y="118"/>
                    <a:pt x="198" y="118"/>
                    <a:pt x="198" y="118"/>
                  </a:cubicBezTo>
                  <a:cubicBezTo>
                    <a:pt x="199" y="117"/>
                    <a:pt x="199" y="116"/>
                    <a:pt x="200" y="116"/>
                  </a:cubicBezTo>
                  <a:cubicBezTo>
                    <a:pt x="201" y="115"/>
                    <a:pt x="202" y="115"/>
                    <a:pt x="203" y="115"/>
                  </a:cubicBezTo>
                  <a:cubicBezTo>
                    <a:pt x="205" y="115"/>
                    <a:pt x="207" y="115"/>
                    <a:pt x="209" y="115"/>
                  </a:cubicBezTo>
                  <a:cubicBezTo>
                    <a:pt x="210" y="115"/>
                    <a:pt x="212" y="114"/>
                    <a:pt x="213" y="115"/>
                  </a:cubicBezTo>
                  <a:cubicBezTo>
                    <a:pt x="214" y="115"/>
                    <a:pt x="214" y="118"/>
                    <a:pt x="214" y="118"/>
                  </a:cubicBezTo>
                  <a:cubicBezTo>
                    <a:pt x="215" y="119"/>
                    <a:pt x="215" y="120"/>
                    <a:pt x="216" y="121"/>
                  </a:cubicBezTo>
                  <a:cubicBezTo>
                    <a:pt x="218" y="122"/>
                    <a:pt x="220" y="123"/>
                    <a:pt x="223" y="123"/>
                  </a:cubicBezTo>
                  <a:cubicBezTo>
                    <a:pt x="223" y="121"/>
                    <a:pt x="222" y="120"/>
                    <a:pt x="221" y="118"/>
                  </a:cubicBezTo>
                  <a:cubicBezTo>
                    <a:pt x="221" y="117"/>
                    <a:pt x="220" y="117"/>
                    <a:pt x="220" y="116"/>
                  </a:cubicBezTo>
                  <a:cubicBezTo>
                    <a:pt x="221" y="115"/>
                    <a:pt x="221" y="115"/>
                    <a:pt x="222" y="114"/>
                  </a:cubicBezTo>
                  <a:cubicBezTo>
                    <a:pt x="222" y="113"/>
                    <a:pt x="224" y="110"/>
                    <a:pt x="222" y="109"/>
                  </a:cubicBezTo>
                  <a:cubicBezTo>
                    <a:pt x="221" y="108"/>
                    <a:pt x="219" y="109"/>
                    <a:pt x="217" y="109"/>
                  </a:cubicBezTo>
                  <a:cubicBezTo>
                    <a:pt x="217" y="107"/>
                    <a:pt x="217" y="105"/>
                    <a:pt x="217" y="104"/>
                  </a:cubicBezTo>
                  <a:cubicBezTo>
                    <a:pt x="217" y="102"/>
                    <a:pt x="217" y="101"/>
                    <a:pt x="218" y="99"/>
                  </a:cubicBezTo>
                  <a:cubicBezTo>
                    <a:pt x="218" y="98"/>
                    <a:pt x="219" y="97"/>
                    <a:pt x="220" y="97"/>
                  </a:cubicBezTo>
                  <a:cubicBezTo>
                    <a:pt x="222" y="96"/>
                    <a:pt x="223" y="96"/>
                    <a:pt x="224" y="95"/>
                  </a:cubicBezTo>
                  <a:cubicBezTo>
                    <a:pt x="225" y="95"/>
                    <a:pt x="225" y="94"/>
                    <a:pt x="226" y="94"/>
                  </a:cubicBezTo>
                  <a:cubicBezTo>
                    <a:pt x="229" y="94"/>
                    <a:pt x="229" y="97"/>
                    <a:pt x="231" y="98"/>
                  </a:cubicBezTo>
                  <a:cubicBezTo>
                    <a:pt x="232" y="99"/>
                    <a:pt x="234" y="99"/>
                    <a:pt x="236" y="98"/>
                  </a:cubicBezTo>
                  <a:cubicBezTo>
                    <a:pt x="237" y="98"/>
                    <a:pt x="239" y="97"/>
                    <a:pt x="240" y="97"/>
                  </a:cubicBezTo>
                  <a:cubicBezTo>
                    <a:pt x="240" y="96"/>
                    <a:pt x="241" y="93"/>
                    <a:pt x="241" y="93"/>
                  </a:cubicBezTo>
                  <a:cubicBezTo>
                    <a:pt x="240" y="92"/>
                    <a:pt x="239" y="92"/>
                    <a:pt x="239" y="92"/>
                  </a:cubicBezTo>
                  <a:cubicBezTo>
                    <a:pt x="238" y="92"/>
                    <a:pt x="238" y="91"/>
                    <a:pt x="238" y="91"/>
                  </a:cubicBezTo>
                  <a:cubicBezTo>
                    <a:pt x="237" y="90"/>
                    <a:pt x="236" y="90"/>
                    <a:pt x="236" y="89"/>
                  </a:cubicBezTo>
                  <a:cubicBezTo>
                    <a:pt x="235" y="85"/>
                    <a:pt x="237" y="84"/>
                    <a:pt x="239" y="82"/>
                  </a:cubicBezTo>
                  <a:cubicBezTo>
                    <a:pt x="240" y="80"/>
                    <a:pt x="240" y="78"/>
                    <a:pt x="241" y="77"/>
                  </a:cubicBezTo>
                  <a:cubicBezTo>
                    <a:pt x="242" y="74"/>
                    <a:pt x="241" y="73"/>
                    <a:pt x="240" y="7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2" name="Line 12">
              <a:extLst>
                <a:ext uri="{FF2B5EF4-FFF2-40B4-BE49-F238E27FC236}">
                  <a16:creationId xmlns:a16="http://schemas.microsoft.com/office/drawing/2014/main" id="{FB44E57E-563D-460A-93EE-6BDEE41737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3" name="Line 13">
              <a:extLst>
                <a:ext uri="{FF2B5EF4-FFF2-40B4-BE49-F238E27FC236}">
                  <a16:creationId xmlns:a16="http://schemas.microsoft.com/office/drawing/2014/main" id="{392FE1CC-0DC1-446F-BBF7-784B27C678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4" name="Freeform 14">
              <a:extLst>
                <a:ext uri="{FF2B5EF4-FFF2-40B4-BE49-F238E27FC236}">
                  <a16:creationId xmlns:a16="http://schemas.microsoft.com/office/drawing/2014/main" id="{791CE89C-80D8-498E-87FD-39E5D5211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725" y="4695825"/>
              <a:ext cx="779463" cy="398463"/>
            </a:xfrm>
            <a:custGeom>
              <a:avLst/>
              <a:gdLst/>
              <a:ahLst/>
              <a:cxnLst>
                <a:cxn ang="0">
                  <a:pos x="412" y="70"/>
                </a:cxn>
                <a:cxn ang="0">
                  <a:pos x="405" y="46"/>
                </a:cxn>
                <a:cxn ang="0">
                  <a:pos x="411" y="26"/>
                </a:cxn>
                <a:cxn ang="0">
                  <a:pos x="395" y="20"/>
                </a:cxn>
                <a:cxn ang="0">
                  <a:pos x="370" y="21"/>
                </a:cxn>
                <a:cxn ang="0">
                  <a:pos x="347" y="12"/>
                </a:cxn>
                <a:cxn ang="0">
                  <a:pos x="321" y="1"/>
                </a:cxn>
                <a:cxn ang="0">
                  <a:pos x="305" y="8"/>
                </a:cxn>
                <a:cxn ang="0">
                  <a:pos x="294" y="24"/>
                </a:cxn>
                <a:cxn ang="0">
                  <a:pos x="282" y="33"/>
                </a:cxn>
                <a:cxn ang="0">
                  <a:pos x="266" y="35"/>
                </a:cxn>
                <a:cxn ang="0">
                  <a:pos x="254" y="26"/>
                </a:cxn>
                <a:cxn ang="0">
                  <a:pos x="245" y="21"/>
                </a:cxn>
                <a:cxn ang="0">
                  <a:pos x="241" y="37"/>
                </a:cxn>
                <a:cxn ang="0">
                  <a:pos x="224" y="43"/>
                </a:cxn>
                <a:cxn ang="0">
                  <a:pos x="222" y="53"/>
                </a:cxn>
                <a:cxn ang="0">
                  <a:pos x="191" y="65"/>
                </a:cxn>
                <a:cxn ang="0">
                  <a:pos x="187" y="83"/>
                </a:cxn>
                <a:cxn ang="0">
                  <a:pos x="196" y="93"/>
                </a:cxn>
                <a:cxn ang="0">
                  <a:pos x="193" y="108"/>
                </a:cxn>
                <a:cxn ang="0">
                  <a:pos x="192" y="124"/>
                </a:cxn>
                <a:cxn ang="0">
                  <a:pos x="179" y="112"/>
                </a:cxn>
                <a:cxn ang="0">
                  <a:pos x="151" y="111"/>
                </a:cxn>
                <a:cxn ang="0">
                  <a:pos x="129" y="118"/>
                </a:cxn>
                <a:cxn ang="0">
                  <a:pos x="108" y="132"/>
                </a:cxn>
                <a:cxn ang="0">
                  <a:pos x="79" y="128"/>
                </a:cxn>
                <a:cxn ang="0">
                  <a:pos x="56" y="138"/>
                </a:cxn>
                <a:cxn ang="0">
                  <a:pos x="38" y="130"/>
                </a:cxn>
                <a:cxn ang="0">
                  <a:pos x="14" y="124"/>
                </a:cxn>
                <a:cxn ang="0">
                  <a:pos x="12" y="141"/>
                </a:cxn>
                <a:cxn ang="0">
                  <a:pos x="5" y="154"/>
                </a:cxn>
                <a:cxn ang="0">
                  <a:pos x="16" y="164"/>
                </a:cxn>
                <a:cxn ang="0">
                  <a:pos x="30" y="173"/>
                </a:cxn>
                <a:cxn ang="0">
                  <a:pos x="51" y="166"/>
                </a:cxn>
                <a:cxn ang="0">
                  <a:pos x="70" y="178"/>
                </a:cxn>
                <a:cxn ang="0">
                  <a:pos x="82" y="185"/>
                </a:cxn>
                <a:cxn ang="0">
                  <a:pos x="95" y="168"/>
                </a:cxn>
                <a:cxn ang="0">
                  <a:pos x="127" y="167"/>
                </a:cxn>
                <a:cxn ang="0">
                  <a:pos x="147" y="165"/>
                </a:cxn>
                <a:cxn ang="0">
                  <a:pos x="160" y="186"/>
                </a:cxn>
                <a:cxn ang="0">
                  <a:pos x="197" y="198"/>
                </a:cxn>
                <a:cxn ang="0">
                  <a:pos x="236" y="203"/>
                </a:cxn>
                <a:cxn ang="0">
                  <a:pos x="254" y="208"/>
                </a:cxn>
                <a:cxn ang="0">
                  <a:pos x="276" y="213"/>
                </a:cxn>
                <a:cxn ang="0">
                  <a:pos x="289" y="200"/>
                </a:cxn>
                <a:cxn ang="0">
                  <a:pos x="312" y="193"/>
                </a:cxn>
                <a:cxn ang="0">
                  <a:pos x="330" y="187"/>
                </a:cxn>
                <a:cxn ang="0">
                  <a:pos x="352" y="187"/>
                </a:cxn>
                <a:cxn ang="0">
                  <a:pos x="368" y="166"/>
                </a:cxn>
                <a:cxn ang="0">
                  <a:pos x="380" y="154"/>
                </a:cxn>
                <a:cxn ang="0">
                  <a:pos x="381" y="141"/>
                </a:cxn>
                <a:cxn ang="0">
                  <a:pos x="388" y="124"/>
                </a:cxn>
                <a:cxn ang="0">
                  <a:pos x="383" y="112"/>
                </a:cxn>
                <a:cxn ang="0">
                  <a:pos x="395" y="108"/>
                </a:cxn>
                <a:cxn ang="0">
                  <a:pos x="410" y="96"/>
                </a:cxn>
              </a:cxnLst>
              <a:rect l="0" t="0" r="r" b="b"/>
              <a:pathLst>
                <a:path w="417" h="213">
                  <a:moveTo>
                    <a:pt x="416" y="79"/>
                  </a:moveTo>
                  <a:cubicBezTo>
                    <a:pt x="415" y="77"/>
                    <a:pt x="415" y="76"/>
                    <a:pt x="415" y="75"/>
                  </a:cubicBezTo>
                  <a:cubicBezTo>
                    <a:pt x="415" y="75"/>
                    <a:pt x="414" y="75"/>
                    <a:pt x="414" y="74"/>
                  </a:cubicBezTo>
                  <a:cubicBezTo>
                    <a:pt x="414" y="74"/>
                    <a:pt x="414" y="74"/>
                    <a:pt x="414" y="73"/>
                  </a:cubicBezTo>
                  <a:cubicBezTo>
                    <a:pt x="414" y="73"/>
                    <a:pt x="414" y="72"/>
                    <a:pt x="413" y="71"/>
                  </a:cubicBezTo>
                  <a:cubicBezTo>
                    <a:pt x="413" y="71"/>
                    <a:pt x="412" y="71"/>
                    <a:pt x="412" y="70"/>
                  </a:cubicBezTo>
                  <a:cubicBezTo>
                    <a:pt x="411" y="69"/>
                    <a:pt x="410" y="67"/>
                    <a:pt x="410" y="66"/>
                  </a:cubicBezTo>
                  <a:cubicBezTo>
                    <a:pt x="409" y="63"/>
                    <a:pt x="410" y="60"/>
                    <a:pt x="409" y="57"/>
                  </a:cubicBezTo>
                  <a:cubicBezTo>
                    <a:pt x="409" y="56"/>
                    <a:pt x="409" y="55"/>
                    <a:pt x="408" y="54"/>
                  </a:cubicBezTo>
                  <a:cubicBezTo>
                    <a:pt x="408" y="54"/>
                    <a:pt x="407" y="53"/>
                    <a:pt x="406" y="53"/>
                  </a:cubicBezTo>
                  <a:cubicBezTo>
                    <a:pt x="406" y="52"/>
                    <a:pt x="405" y="50"/>
                    <a:pt x="405" y="49"/>
                  </a:cubicBezTo>
                  <a:cubicBezTo>
                    <a:pt x="404" y="48"/>
                    <a:pt x="405" y="47"/>
                    <a:pt x="405" y="46"/>
                  </a:cubicBezTo>
                  <a:cubicBezTo>
                    <a:pt x="406" y="44"/>
                    <a:pt x="407" y="42"/>
                    <a:pt x="408" y="41"/>
                  </a:cubicBezTo>
                  <a:cubicBezTo>
                    <a:pt x="409" y="40"/>
                    <a:pt x="410" y="39"/>
                    <a:pt x="410" y="38"/>
                  </a:cubicBezTo>
                  <a:cubicBezTo>
                    <a:pt x="411" y="37"/>
                    <a:pt x="412" y="35"/>
                    <a:pt x="412" y="33"/>
                  </a:cubicBezTo>
                  <a:cubicBezTo>
                    <a:pt x="412" y="32"/>
                    <a:pt x="412" y="30"/>
                    <a:pt x="412" y="29"/>
                  </a:cubicBezTo>
                  <a:cubicBezTo>
                    <a:pt x="412" y="28"/>
                    <a:pt x="411" y="27"/>
                    <a:pt x="411" y="26"/>
                  </a:cubicBezTo>
                  <a:cubicBezTo>
                    <a:pt x="411" y="26"/>
                    <a:pt x="411" y="26"/>
                    <a:pt x="411" y="26"/>
                  </a:cubicBezTo>
                  <a:cubicBezTo>
                    <a:pt x="411" y="26"/>
                    <a:pt x="411" y="26"/>
                    <a:pt x="410" y="26"/>
                  </a:cubicBezTo>
                  <a:cubicBezTo>
                    <a:pt x="410" y="26"/>
                    <a:pt x="410" y="25"/>
                    <a:pt x="409" y="25"/>
                  </a:cubicBezTo>
                  <a:cubicBezTo>
                    <a:pt x="409" y="25"/>
                    <a:pt x="409" y="24"/>
                    <a:pt x="408" y="24"/>
                  </a:cubicBezTo>
                  <a:cubicBezTo>
                    <a:pt x="407" y="23"/>
                    <a:pt x="405" y="23"/>
                    <a:pt x="404" y="23"/>
                  </a:cubicBezTo>
                  <a:cubicBezTo>
                    <a:pt x="402" y="23"/>
                    <a:pt x="396" y="25"/>
                    <a:pt x="395" y="22"/>
                  </a:cubicBezTo>
                  <a:cubicBezTo>
                    <a:pt x="395" y="22"/>
                    <a:pt x="395" y="21"/>
                    <a:pt x="395" y="20"/>
                  </a:cubicBezTo>
                  <a:cubicBezTo>
                    <a:pt x="394" y="19"/>
                    <a:pt x="394" y="19"/>
                    <a:pt x="393" y="18"/>
                  </a:cubicBezTo>
                  <a:cubicBezTo>
                    <a:pt x="392" y="17"/>
                    <a:pt x="390" y="18"/>
                    <a:pt x="389" y="16"/>
                  </a:cubicBezTo>
                  <a:cubicBezTo>
                    <a:pt x="388" y="15"/>
                    <a:pt x="387" y="14"/>
                    <a:pt x="385" y="15"/>
                  </a:cubicBezTo>
                  <a:cubicBezTo>
                    <a:pt x="383" y="15"/>
                    <a:pt x="384" y="17"/>
                    <a:pt x="383" y="19"/>
                  </a:cubicBezTo>
                  <a:cubicBezTo>
                    <a:pt x="382" y="20"/>
                    <a:pt x="380" y="21"/>
                    <a:pt x="379" y="21"/>
                  </a:cubicBezTo>
                  <a:cubicBezTo>
                    <a:pt x="376" y="22"/>
                    <a:pt x="373" y="21"/>
                    <a:pt x="370" y="21"/>
                  </a:cubicBezTo>
                  <a:cubicBezTo>
                    <a:pt x="368" y="21"/>
                    <a:pt x="367" y="21"/>
                    <a:pt x="365" y="20"/>
                  </a:cubicBezTo>
                  <a:cubicBezTo>
                    <a:pt x="362" y="19"/>
                    <a:pt x="359" y="18"/>
                    <a:pt x="357" y="17"/>
                  </a:cubicBezTo>
                  <a:cubicBezTo>
                    <a:pt x="355" y="16"/>
                    <a:pt x="356" y="14"/>
                    <a:pt x="355" y="13"/>
                  </a:cubicBezTo>
                  <a:cubicBezTo>
                    <a:pt x="354" y="11"/>
                    <a:pt x="353" y="10"/>
                    <a:pt x="351" y="11"/>
                  </a:cubicBezTo>
                  <a:cubicBezTo>
                    <a:pt x="350" y="11"/>
                    <a:pt x="350" y="11"/>
                    <a:pt x="349" y="12"/>
                  </a:cubicBezTo>
                  <a:cubicBezTo>
                    <a:pt x="348" y="12"/>
                    <a:pt x="347" y="12"/>
                    <a:pt x="347" y="12"/>
                  </a:cubicBezTo>
                  <a:cubicBezTo>
                    <a:pt x="345" y="12"/>
                    <a:pt x="343" y="12"/>
                    <a:pt x="342" y="12"/>
                  </a:cubicBezTo>
                  <a:cubicBezTo>
                    <a:pt x="341" y="11"/>
                    <a:pt x="341" y="10"/>
                    <a:pt x="340" y="9"/>
                  </a:cubicBezTo>
                  <a:cubicBezTo>
                    <a:pt x="338" y="7"/>
                    <a:pt x="334" y="6"/>
                    <a:pt x="332" y="5"/>
                  </a:cubicBezTo>
                  <a:cubicBezTo>
                    <a:pt x="330" y="4"/>
                    <a:pt x="329" y="4"/>
                    <a:pt x="327" y="3"/>
                  </a:cubicBezTo>
                  <a:cubicBezTo>
                    <a:pt x="327" y="3"/>
                    <a:pt x="326" y="2"/>
                    <a:pt x="326" y="2"/>
                  </a:cubicBezTo>
                  <a:cubicBezTo>
                    <a:pt x="326" y="0"/>
                    <a:pt x="322" y="0"/>
                    <a:pt x="321" y="1"/>
                  </a:cubicBezTo>
                  <a:cubicBezTo>
                    <a:pt x="321" y="2"/>
                    <a:pt x="322" y="4"/>
                    <a:pt x="320" y="4"/>
                  </a:cubicBezTo>
                  <a:cubicBezTo>
                    <a:pt x="318" y="5"/>
                    <a:pt x="316" y="5"/>
                    <a:pt x="314" y="3"/>
                  </a:cubicBezTo>
                  <a:cubicBezTo>
                    <a:pt x="313" y="2"/>
                    <a:pt x="314" y="0"/>
                    <a:pt x="312" y="0"/>
                  </a:cubicBezTo>
                  <a:cubicBezTo>
                    <a:pt x="311" y="0"/>
                    <a:pt x="310" y="0"/>
                    <a:pt x="309" y="0"/>
                  </a:cubicBezTo>
                  <a:cubicBezTo>
                    <a:pt x="308" y="0"/>
                    <a:pt x="308" y="0"/>
                    <a:pt x="308" y="1"/>
                  </a:cubicBezTo>
                  <a:cubicBezTo>
                    <a:pt x="307" y="3"/>
                    <a:pt x="305" y="5"/>
                    <a:pt x="305" y="8"/>
                  </a:cubicBezTo>
                  <a:cubicBezTo>
                    <a:pt x="305" y="9"/>
                    <a:pt x="304" y="11"/>
                    <a:pt x="305" y="13"/>
                  </a:cubicBezTo>
                  <a:cubicBezTo>
                    <a:pt x="305" y="15"/>
                    <a:pt x="306" y="16"/>
                    <a:pt x="306" y="17"/>
                  </a:cubicBezTo>
                  <a:cubicBezTo>
                    <a:pt x="305" y="19"/>
                    <a:pt x="303" y="19"/>
                    <a:pt x="302" y="18"/>
                  </a:cubicBezTo>
                  <a:cubicBezTo>
                    <a:pt x="300" y="17"/>
                    <a:pt x="298" y="17"/>
                    <a:pt x="297" y="18"/>
                  </a:cubicBezTo>
                  <a:cubicBezTo>
                    <a:pt x="297" y="18"/>
                    <a:pt x="297" y="20"/>
                    <a:pt x="296" y="20"/>
                  </a:cubicBezTo>
                  <a:cubicBezTo>
                    <a:pt x="296" y="22"/>
                    <a:pt x="294" y="22"/>
                    <a:pt x="294" y="24"/>
                  </a:cubicBezTo>
                  <a:cubicBezTo>
                    <a:pt x="293" y="27"/>
                    <a:pt x="293" y="30"/>
                    <a:pt x="291" y="32"/>
                  </a:cubicBezTo>
                  <a:cubicBezTo>
                    <a:pt x="290" y="33"/>
                    <a:pt x="289" y="34"/>
                    <a:pt x="288" y="34"/>
                  </a:cubicBezTo>
                  <a:cubicBezTo>
                    <a:pt x="287" y="34"/>
                    <a:pt x="286" y="34"/>
                    <a:pt x="286" y="34"/>
                  </a:cubicBezTo>
                  <a:cubicBezTo>
                    <a:pt x="285" y="34"/>
                    <a:pt x="284" y="35"/>
                    <a:pt x="284" y="34"/>
                  </a:cubicBezTo>
                  <a:cubicBezTo>
                    <a:pt x="283" y="34"/>
                    <a:pt x="283" y="34"/>
                    <a:pt x="283" y="34"/>
                  </a:cubicBezTo>
                  <a:cubicBezTo>
                    <a:pt x="283" y="33"/>
                    <a:pt x="282" y="33"/>
                    <a:pt x="282" y="33"/>
                  </a:cubicBezTo>
                  <a:cubicBezTo>
                    <a:pt x="281" y="32"/>
                    <a:pt x="281" y="32"/>
                    <a:pt x="281" y="31"/>
                  </a:cubicBezTo>
                  <a:cubicBezTo>
                    <a:pt x="280" y="30"/>
                    <a:pt x="279" y="29"/>
                    <a:pt x="278" y="29"/>
                  </a:cubicBezTo>
                  <a:cubicBezTo>
                    <a:pt x="275" y="29"/>
                    <a:pt x="275" y="33"/>
                    <a:pt x="274" y="34"/>
                  </a:cubicBezTo>
                  <a:cubicBezTo>
                    <a:pt x="274" y="34"/>
                    <a:pt x="273" y="34"/>
                    <a:pt x="272" y="34"/>
                  </a:cubicBezTo>
                  <a:cubicBezTo>
                    <a:pt x="271" y="34"/>
                    <a:pt x="270" y="35"/>
                    <a:pt x="269" y="35"/>
                  </a:cubicBezTo>
                  <a:cubicBezTo>
                    <a:pt x="268" y="35"/>
                    <a:pt x="267" y="35"/>
                    <a:pt x="266" y="35"/>
                  </a:cubicBezTo>
                  <a:cubicBezTo>
                    <a:pt x="265" y="35"/>
                    <a:pt x="264" y="35"/>
                    <a:pt x="263" y="35"/>
                  </a:cubicBezTo>
                  <a:cubicBezTo>
                    <a:pt x="263" y="35"/>
                    <a:pt x="263" y="35"/>
                    <a:pt x="262" y="35"/>
                  </a:cubicBezTo>
                  <a:cubicBezTo>
                    <a:pt x="261" y="34"/>
                    <a:pt x="260" y="35"/>
                    <a:pt x="259" y="34"/>
                  </a:cubicBezTo>
                  <a:cubicBezTo>
                    <a:pt x="259" y="34"/>
                    <a:pt x="257" y="33"/>
                    <a:pt x="257" y="32"/>
                  </a:cubicBezTo>
                  <a:cubicBezTo>
                    <a:pt x="256" y="31"/>
                    <a:pt x="256" y="30"/>
                    <a:pt x="256" y="29"/>
                  </a:cubicBezTo>
                  <a:cubicBezTo>
                    <a:pt x="256" y="28"/>
                    <a:pt x="256" y="26"/>
                    <a:pt x="254" y="26"/>
                  </a:cubicBezTo>
                  <a:cubicBezTo>
                    <a:pt x="254" y="25"/>
                    <a:pt x="253" y="24"/>
                    <a:pt x="252" y="23"/>
                  </a:cubicBezTo>
                  <a:cubicBezTo>
                    <a:pt x="252" y="23"/>
                    <a:pt x="251" y="22"/>
                    <a:pt x="250" y="21"/>
                  </a:cubicBezTo>
                  <a:cubicBezTo>
                    <a:pt x="249" y="20"/>
                    <a:pt x="247" y="20"/>
                    <a:pt x="246" y="19"/>
                  </a:cubicBezTo>
                  <a:cubicBezTo>
                    <a:pt x="245" y="19"/>
                    <a:pt x="245" y="18"/>
                    <a:pt x="244" y="18"/>
                  </a:cubicBezTo>
                  <a:cubicBezTo>
                    <a:pt x="244" y="19"/>
                    <a:pt x="244" y="19"/>
                    <a:pt x="244" y="19"/>
                  </a:cubicBezTo>
                  <a:cubicBezTo>
                    <a:pt x="244" y="20"/>
                    <a:pt x="245" y="21"/>
                    <a:pt x="245" y="21"/>
                  </a:cubicBezTo>
                  <a:cubicBezTo>
                    <a:pt x="245" y="21"/>
                    <a:pt x="244" y="21"/>
                    <a:pt x="244" y="22"/>
                  </a:cubicBezTo>
                  <a:cubicBezTo>
                    <a:pt x="244" y="22"/>
                    <a:pt x="244" y="23"/>
                    <a:pt x="244" y="24"/>
                  </a:cubicBezTo>
                  <a:cubicBezTo>
                    <a:pt x="244" y="25"/>
                    <a:pt x="243" y="25"/>
                    <a:pt x="243" y="26"/>
                  </a:cubicBezTo>
                  <a:cubicBezTo>
                    <a:pt x="243" y="27"/>
                    <a:pt x="243" y="29"/>
                    <a:pt x="243" y="30"/>
                  </a:cubicBezTo>
                  <a:cubicBezTo>
                    <a:pt x="243" y="32"/>
                    <a:pt x="242" y="33"/>
                    <a:pt x="242" y="34"/>
                  </a:cubicBezTo>
                  <a:cubicBezTo>
                    <a:pt x="242" y="35"/>
                    <a:pt x="242" y="36"/>
                    <a:pt x="241" y="37"/>
                  </a:cubicBezTo>
                  <a:cubicBezTo>
                    <a:pt x="241" y="38"/>
                    <a:pt x="240" y="40"/>
                    <a:pt x="239" y="41"/>
                  </a:cubicBezTo>
                  <a:cubicBezTo>
                    <a:pt x="238" y="42"/>
                    <a:pt x="232" y="41"/>
                    <a:pt x="231" y="40"/>
                  </a:cubicBezTo>
                  <a:cubicBezTo>
                    <a:pt x="230" y="39"/>
                    <a:pt x="230" y="38"/>
                    <a:pt x="229" y="38"/>
                  </a:cubicBezTo>
                  <a:cubicBezTo>
                    <a:pt x="228" y="38"/>
                    <a:pt x="227" y="38"/>
                    <a:pt x="226" y="38"/>
                  </a:cubicBezTo>
                  <a:cubicBezTo>
                    <a:pt x="226" y="38"/>
                    <a:pt x="225" y="40"/>
                    <a:pt x="225" y="41"/>
                  </a:cubicBezTo>
                  <a:cubicBezTo>
                    <a:pt x="224" y="41"/>
                    <a:pt x="224" y="42"/>
                    <a:pt x="224" y="43"/>
                  </a:cubicBezTo>
                  <a:cubicBezTo>
                    <a:pt x="223" y="44"/>
                    <a:pt x="224" y="45"/>
                    <a:pt x="224" y="46"/>
                  </a:cubicBezTo>
                  <a:cubicBezTo>
                    <a:pt x="223" y="46"/>
                    <a:pt x="223" y="47"/>
                    <a:pt x="223" y="48"/>
                  </a:cubicBezTo>
                  <a:cubicBezTo>
                    <a:pt x="223" y="48"/>
                    <a:pt x="223" y="48"/>
                    <a:pt x="223" y="47"/>
                  </a:cubicBezTo>
                  <a:cubicBezTo>
                    <a:pt x="223" y="48"/>
                    <a:pt x="223" y="49"/>
                    <a:pt x="223" y="50"/>
                  </a:cubicBezTo>
                  <a:cubicBezTo>
                    <a:pt x="222" y="50"/>
                    <a:pt x="222" y="51"/>
                    <a:pt x="222" y="52"/>
                  </a:cubicBezTo>
                  <a:cubicBezTo>
                    <a:pt x="222" y="52"/>
                    <a:pt x="222" y="53"/>
                    <a:pt x="222" y="53"/>
                  </a:cubicBezTo>
                  <a:cubicBezTo>
                    <a:pt x="222" y="54"/>
                    <a:pt x="222" y="54"/>
                    <a:pt x="221" y="55"/>
                  </a:cubicBezTo>
                  <a:cubicBezTo>
                    <a:pt x="221" y="56"/>
                    <a:pt x="220" y="56"/>
                    <a:pt x="219" y="57"/>
                  </a:cubicBezTo>
                  <a:cubicBezTo>
                    <a:pt x="216" y="59"/>
                    <a:pt x="212" y="59"/>
                    <a:pt x="208" y="59"/>
                  </a:cubicBezTo>
                  <a:cubicBezTo>
                    <a:pt x="206" y="59"/>
                    <a:pt x="204" y="60"/>
                    <a:pt x="202" y="61"/>
                  </a:cubicBezTo>
                  <a:cubicBezTo>
                    <a:pt x="200" y="62"/>
                    <a:pt x="198" y="63"/>
                    <a:pt x="196" y="63"/>
                  </a:cubicBezTo>
                  <a:cubicBezTo>
                    <a:pt x="194" y="63"/>
                    <a:pt x="192" y="64"/>
                    <a:pt x="191" y="65"/>
                  </a:cubicBezTo>
                  <a:cubicBezTo>
                    <a:pt x="190" y="66"/>
                    <a:pt x="189" y="67"/>
                    <a:pt x="189" y="67"/>
                  </a:cubicBezTo>
                  <a:cubicBezTo>
                    <a:pt x="188" y="68"/>
                    <a:pt x="187" y="68"/>
                    <a:pt x="186" y="68"/>
                  </a:cubicBezTo>
                  <a:cubicBezTo>
                    <a:pt x="185" y="69"/>
                    <a:pt x="186" y="70"/>
                    <a:pt x="186" y="71"/>
                  </a:cubicBezTo>
                  <a:cubicBezTo>
                    <a:pt x="186" y="72"/>
                    <a:pt x="186" y="73"/>
                    <a:pt x="186" y="74"/>
                  </a:cubicBezTo>
                  <a:cubicBezTo>
                    <a:pt x="186" y="74"/>
                    <a:pt x="186" y="74"/>
                    <a:pt x="187" y="75"/>
                  </a:cubicBezTo>
                  <a:cubicBezTo>
                    <a:pt x="187" y="77"/>
                    <a:pt x="187" y="80"/>
                    <a:pt x="187" y="83"/>
                  </a:cubicBezTo>
                  <a:cubicBezTo>
                    <a:pt x="187" y="84"/>
                    <a:pt x="188" y="85"/>
                    <a:pt x="188" y="85"/>
                  </a:cubicBezTo>
                  <a:cubicBezTo>
                    <a:pt x="189" y="86"/>
                    <a:pt x="189" y="86"/>
                    <a:pt x="189" y="86"/>
                  </a:cubicBezTo>
                  <a:cubicBezTo>
                    <a:pt x="190" y="87"/>
                    <a:pt x="190" y="88"/>
                    <a:pt x="190" y="88"/>
                  </a:cubicBezTo>
                  <a:cubicBezTo>
                    <a:pt x="190" y="88"/>
                    <a:pt x="191" y="88"/>
                    <a:pt x="192" y="89"/>
                  </a:cubicBezTo>
                  <a:cubicBezTo>
                    <a:pt x="192" y="89"/>
                    <a:pt x="193" y="90"/>
                    <a:pt x="193" y="90"/>
                  </a:cubicBezTo>
                  <a:cubicBezTo>
                    <a:pt x="194" y="91"/>
                    <a:pt x="195" y="92"/>
                    <a:pt x="196" y="93"/>
                  </a:cubicBezTo>
                  <a:cubicBezTo>
                    <a:pt x="197" y="94"/>
                    <a:pt x="196" y="96"/>
                    <a:pt x="196" y="98"/>
                  </a:cubicBezTo>
                  <a:cubicBezTo>
                    <a:pt x="195" y="99"/>
                    <a:pt x="195" y="100"/>
                    <a:pt x="194" y="100"/>
                  </a:cubicBezTo>
                  <a:cubicBezTo>
                    <a:pt x="193" y="101"/>
                    <a:pt x="192" y="101"/>
                    <a:pt x="192" y="102"/>
                  </a:cubicBezTo>
                  <a:cubicBezTo>
                    <a:pt x="192" y="103"/>
                    <a:pt x="191" y="104"/>
                    <a:pt x="191" y="105"/>
                  </a:cubicBezTo>
                  <a:cubicBezTo>
                    <a:pt x="191" y="105"/>
                    <a:pt x="192" y="105"/>
                    <a:pt x="192" y="106"/>
                  </a:cubicBezTo>
                  <a:cubicBezTo>
                    <a:pt x="192" y="107"/>
                    <a:pt x="192" y="107"/>
                    <a:pt x="193" y="108"/>
                  </a:cubicBezTo>
                  <a:cubicBezTo>
                    <a:pt x="195" y="110"/>
                    <a:pt x="197" y="110"/>
                    <a:pt x="199" y="111"/>
                  </a:cubicBezTo>
                  <a:cubicBezTo>
                    <a:pt x="202" y="112"/>
                    <a:pt x="200" y="115"/>
                    <a:pt x="199" y="116"/>
                  </a:cubicBezTo>
                  <a:cubicBezTo>
                    <a:pt x="199" y="117"/>
                    <a:pt x="199" y="118"/>
                    <a:pt x="199" y="119"/>
                  </a:cubicBezTo>
                  <a:cubicBezTo>
                    <a:pt x="199" y="120"/>
                    <a:pt x="199" y="121"/>
                    <a:pt x="198" y="122"/>
                  </a:cubicBezTo>
                  <a:cubicBezTo>
                    <a:pt x="197" y="123"/>
                    <a:pt x="197" y="123"/>
                    <a:pt x="196" y="124"/>
                  </a:cubicBezTo>
                  <a:cubicBezTo>
                    <a:pt x="195" y="124"/>
                    <a:pt x="193" y="124"/>
                    <a:pt x="192" y="124"/>
                  </a:cubicBezTo>
                  <a:cubicBezTo>
                    <a:pt x="191" y="124"/>
                    <a:pt x="191" y="123"/>
                    <a:pt x="190" y="123"/>
                  </a:cubicBezTo>
                  <a:cubicBezTo>
                    <a:pt x="189" y="123"/>
                    <a:pt x="187" y="124"/>
                    <a:pt x="186" y="122"/>
                  </a:cubicBezTo>
                  <a:cubicBezTo>
                    <a:pt x="186" y="122"/>
                    <a:pt x="186" y="121"/>
                    <a:pt x="186" y="121"/>
                  </a:cubicBezTo>
                  <a:cubicBezTo>
                    <a:pt x="186" y="120"/>
                    <a:pt x="185" y="118"/>
                    <a:pt x="184" y="117"/>
                  </a:cubicBezTo>
                  <a:cubicBezTo>
                    <a:pt x="183" y="116"/>
                    <a:pt x="182" y="114"/>
                    <a:pt x="181" y="113"/>
                  </a:cubicBezTo>
                  <a:cubicBezTo>
                    <a:pt x="180" y="113"/>
                    <a:pt x="181" y="113"/>
                    <a:pt x="179" y="112"/>
                  </a:cubicBezTo>
                  <a:cubicBezTo>
                    <a:pt x="177" y="112"/>
                    <a:pt x="175" y="114"/>
                    <a:pt x="172" y="114"/>
                  </a:cubicBezTo>
                  <a:cubicBezTo>
                    <a:pt x="171" y="114"/>
                    <a:pt x="168" y="115"/>
                    <a:pt x="167" y="114"/>
                  </a:cubicBezTo>
                  <a:cubicBezTo>
                    <a:pt x="166" y="113"/>
                    <a:pt x="166" y="112"/>
                    <a:pt x="165" y="111"/>
                  </a:cubicBezTo>
                  <a:cubicBezTo>
                    <a:pt x="164" y="111"/>
                    <a:pt x="161" y="110"/>
                    <a:pt x="160" y="110"/>
                  </a:cubicBezTo>
                  <a:cubicBezTo>
                    <a:pt x="158" y="110"/>
                    <a:pt x="156" y="110"/>
                    <a:pt x="154" y="110"/>
                  </a:cubicBezTo>
                  <a:cubicBezTo>
                    <a:pt x="153" y="110"/>
                    <a:pt x="151" y="110"/>
                    <a:pt x="151" y="111"/>
                  </a:cubicBezTo>
                  <a:cubicBezTo>
                    <a:pt x="150" y="114"/>
                    <a:pt x="156" y="116"/>
                    <a:pt x="153" y="118"/>
                  </a:cubicBezTo>
                  <a:cubicBezTo>
                    <a:pt x="152" y="118"/>
                    <a:pt x="152" y="118"/>
                    <a:pt x="151" y="118"/>
                  </a:cubicBezTo>
                  <a:cubicBezTo>
                    <a:pt x="150" y="118"/>
                    <a:pt x="149" y="118"/>
                    <a:pt x="149" y="119"/>
                  </a:cubicBezTo>
                  <a:cubicBezTo>
                    <a:pt x="148" y="119"/>
                    <a:pt x="148" y="119"/>
                    <a:pt x="147" y="119"/>
                  </a:cubicBezTo>
                  <a:cubicBezTo>
                    <a:pt x="144" y="119"/>
                    <a:pt x="142" y="119"/>
                    <a:pt x="140" y="119"/>
                  </a:cubicBezTo>
                  <a:cubicBezTo>
                    <a:pt x="136" y="118"/>
                    <a:pt x="132" y="118"/>
                    <a:pt x="129" y="118"/>
                  </a:cubicBezTo>
                  <a:cubicBezTo>
                    <a:pt x="127" y="118"/>
                    <a:pt x="126" y="118"/>
                    <a:pt x="126" y="119"/>
                  </a:cubicBezTo>
                  <a:cubicBezTo>
                    <a:pt x="125" y="121"/>
                    <a:pt x="126" y="122"/>
                    <a:pt x="126" y="123"/>
                  </a:cubicBezTo>
                  <a:cubicBezTo>
                    <a:pt x="125" y="125"/>
                    <a:pt x="123" y="124"/>
                    <a:pt x="122" y="124"/>
                  </a:cubicBezTo>
                  <a:cubicBezTo>
                    <a:pt x="119" y="124"/>
                    <a:pt x="115" y="123"/>
                    <a:pt x="113" y="125"/>
                  </a:cubicBezTo>
                  <a:cubicBezTo>
                    <a:pt x="112" y="126"/>
                    <a:pt x="112" y="127"/>
                    <a:pt x="111" y="128"/>
                  </a:cubicBezTo>
                  <a:cubicBezTo>
                    <a:pt x="110" y="129"/>
                    <a:pt x="109" y="131"/>
                    <a:pt x="108" y="132"/>
                  </a:cubicBezTo>
                  <a:cubicBezTo>
                    <a:pt x="106" y="132"/>
                    <a:pt x="105" y="130"/>
                    <a:pt x="103" y="131"/>
                  </a:cubicBezTo>
                  <a:cubicBezTo>
                    <a:pt x="102" y="131"/>
                    <a:pt x="101" y="132"/>
                    <a:pt x="99" y="133"/>
                  </a:cubicBezTo>
                  <a:cubicBezTo>
                    <a:pt x="97" y="133"/>
                    <a:pt x="94" y="133"/>
                    <a:pt x="91" y="133"/>
                  </a:cubicBezTo>
                  <a:cubicBezTo>
                    <a:pt x="92" y="133"/>
                    <a:pt x="88" y="133"/>
                    <a:pt x="87" y="132"/>
                  </a:cubicBezTo>
                  <a:cubicBezTo>
                    <a:pt x="87" y="130"/>
                    <a:pt x="81" y="128"/>
                    <a:pt x="79" y="12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7" y="128"/>
                    <a:pt x="77" y="126"/>
                    <a:pt x="76" y="125"/>
                  </a:cubicBezTo>
                  <a:cubicBezTo>
                    <a:pt x="74" y="122"/>
                    <a:pt x="71" y="123"/>
                    <a:pt x="68" y="123"/>
                  </a:cubicBezTo>
                  <a:cubicBezTo>
                    <a:pt x="64" y="124"/>
                    <a:pt x="60" y="122"/>
                    <a:pt x="56" y="123"/>
                  </a:cubicBezTo>
                  <a:cubicBezTo>
                    <a:pt x="53" y="124"/>
                    <a:pt x="53" y="125"/>
                    <a:pt x="53" y="128"/>
                  </a:cubicBezTo>
                  <a:cubicBezTo>
                    <a:pt x="54" y="131"/>
                    <a:pt x="58" y="133"/>
                    <a:pt x="57" y="137"/>
                  </a:cubicBezTo>
                  <a:cubicBezTo>
                    <a:pt x="57" y="137"/>
                    <a:pt x="57" y="138"/>
                    <a:pt x="56" y="138"/>
                  </a:cubicBezTo>
                  <a:cubicBezTo>
                    <a:pt x="56" y="139"/>
                    <a:pt x="55" y="141"/>
                    <a:pt x="54" y="141"/>
                  </a:cubicBezTo>
                  <a:cubicBezTo>
                    <a:pt x="50" y="143"/>
                    <a:pt x="49" y="141"/>
                    <a:pt x="46" y="139"/>
                  </a:cubicBezTo>
                  <a:cubicBezTo>
                    <a:pt x="44" y="138"/>
                    <a:pt x="41" y="137"/>
                    <a:pt x="40" y="135"/>
                  </a:cubicBezTo>
                  <a:cubicBezTo>
                    <a:pt x="39" y="134"/>
                    <a:pt x="39" y="135"/>
                    <a:pt x="39" y="134"/>
                  </a:cubicBezTo>
                  <a:cubicBezTo>
                    <a:pt x="39" y="133"/>
                    <a:pt x="39" y="132"/>
                    <a:pt x="39" y="131"/>
                  </a:cubicBezTo>
                  <a:cubicBezTo>
                    <a:pt x="38" y="131"/>
                    <a:pt x="38" y="131"/>
                    <a:pt x="38" y="130"/>
                  </a:cubicBezTo>
                  <a:cubicBezTo>
                    <a:pt x="37" y="129"/>
                    <a:pt x="35" y="130"/>
                    <a:pt x="34" y="130"/>
                  </a:cubicBezTo>
                  <a:cubicBezTo>
                    <a:pt x="32" y="129"/>
                    <a:pt x="32" y="129"/>
                    <a:pt x="31" y="128"/>
                  </a:cubicBezTo>
                  <a:cubicBezTo>
                    <a:pt x="30" y="126"/>
                    <a:pt x="30" y="124"/>
                    <a:pt x="28" y="122"/>
                  </a:cubicBezTo>
                  <a:cubicBezTo>
                    <a:pt x="27" y="121"/>
                    <a:pt x="25" y="122"/>
                    <a:pt x="24" y="122"/>
                  </a:cubicBezTo>
                  <a:cubicBezTo>
                    <a:pt x="21" y="122"/>
                    <a:pt x="19" y="122"/>
                    <a:pt x="16" y="122"/>
                  </a:cubicBezTo>
                  <a:cubicBezTo>
                    <a:pt x="16" y="123"/>
                    <a:pt x="15" y="123"/>
                    <a:pt x="14" y="124"/>
                  </a:cubicBezTo>
                  <a:cubicBezTo>
                    <a:pt x="14" y="126"/>
                    <a:pt x="13" y="127"/>
                    <a:pt x="13" y="128"/>
                  </a:cubicBezTo>
                  <a:cubicBezTo>
                    <a:pt x="13" y="130"/>
                    <a:pt x="13" y="132"/>
                    <a:pt x="13" y="134"/>
                  </a:cubicBezTo>
                  <a:cubicBezTo>
                    <a:pt x="13" y="135"/>
                    <a:pt x="13" y="136"/>
                    <a:pt x="14" y="137"/>
                  </a:cubicBezTo>
                  <a:cubicBezTo>
                    <a:pt x="14" y="137"/>
                    <a:pt x="15" y="138"/>
                    <a:pt x="14" y="139"/>
                  </a:cubicBezTo>
                  <a:cubicBezTo>
                    <a:pt x="14" y="140"/>
                    <a:pt x="12" y="140"/>
                    <a:pt x="10" y="141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2"/>
                    <a:pt x="12" y="143"/>
                    <a:pt x="13" y="143"/>
                  </a:cubicBezTo>
                  <a:cubicBezTo>
                    <a:pt x="13" y="144"/>
                    <a:pt x="13" y="144"/>
                    <a:pt x="13" y="145"/>
                  </a:cubicBezTo>
                  <a:cubicBezTo>
                    <a:pt x="14" y="146"/>
                    <a:pt x="13" y="148"/>
                    <a:pt x="13" y="150"/>
                  </a:cubicBezTo>
                  <a:cubicBezTo>
                    <a:pt x="12" y="151"/>
                    <a:pt x="12" y="153"/>
                    <a:pt x="10" y="154"/>
                  </a:cubicBezTo>
                  <a:cubicBezTo>
                    <a:pt x="10" y="155"/>
                    <a:pt x="9" y="155"/>
                    <a:pt x="8" y="155"/>
                  </a:cubicBezTo>
                  <a:cubicBezTo>
                    <a:pt x="7" y="155"/>
                    <a:pt x="6" y="155"/>
                    <a:pt x="5" y="154"/>
                  </a:cubicBezTo>
                  <a:cubicBezTo>
                    <a:pt x="5" y="155"/>
                    <a:pt x="4" y="155"/>
                    <a:pt x="4" y="155"/>
                  </a:cubicBezTo>
                  <a:cubicBezTo>
                    <a:pt x="2" y="157"/>
                    <a:pt x="0" y="157"/>
                    <a:pt x="1" y="161"/>
                  </a:cubicBezTo>
                  <a:cubicBezTo>
                    <a:pt x="1" y="164"/>
                    <a:pt x="3" y="163"/>
                    <a:pt x="6" y="164"/>
                  </a:cubicBezTo>
                  <a:cubicBezTo>
                    <a:pt x="7" y="164"/>
                    <a:pt x="8" y="164"/>
                    <a:pt x="9" y="164"/>
                  </a:cubicBezTo>
                  <a:cubicBezTo>
                    <a:pt x="10" y="164"/>
                    <a:pt x="11" y="164"/>
                    <a:pt x="12" y="164"/>
                  </a:cubicBezTo>
                  <a:cubicBezTo>
                    <a:pt x="13" y="164"/>
                    <a:pt x="15" y="164"/>
                    <a:pt x="16" y="164"/>
                  </a:cubicBezTo>
                  <a:cubicBezTo>
                    <a:pt x="18" y="164"/>
                    <a:pt x="18" y="164"/>
                    <a:pt x="19" y="163"/>
                  </a:cubicBezTo>
                  <a:cubicBezTo>
                    <a:pt x="20" y="163"/>
                    <a:pt x="21" y="163"/>
                    <a:pt x="21" y="163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4" y="165"/>
                    <a:pt x="26" y="165"/>
                    <a:pt x="26" y="168"/>
                  </a:cubicBezTo>
                  <a:cubicBezTo>
                    <a:pt x="26" y="170"/>
                    <a:pt x="26" y="171"/>
                    <a:pt x="28" y="172"/>
                  </a:cubicBezTo>
                  <a:cubicBezTo>
                    <a:pt x="28" y="173"/>
                    <a:pt x="29" y="173"/>
                    <a:pt x="30" y="173"/>
                  </a:cubicBezTo>
                  <a:cubicBezTo>
                    <a:pt x="30" y="174"/>
                    <a:pt x="31" y="175"/>
                    <a:pt x="32" y="175"/>
                  </a:cubicBezTo>
                  <a:cubicBezTo>
                    <a:pt x="35" y="176"/>
                    <a:pt x="37" y="177"/>
                    <a:pt x="40" y="177"/>
                  </a:cubicBezTo>
                  <a:cubicBezTo>
                    <a:pt x="43" y="177"/>
                    <a:pt x="43" y="176"/>
                    <a:pt x="44" y="174"/>
                  </a:cubicBezTo>
                  <a:cubicBezTo>
                    <a:pt x="45" y="173"/>
                    <a:pt x="44" y="171"/>
                    <a:pt x="46" y="170"/>
                  </a:cubicBezTo>
                  <a:cubicBezTo>
                    <a:pt x="47" y="169"/>
                    <a:pt x="48" y="169"/>
                    <a:pt x="49" y="169"/>
                  </a:cubicBezTo>
                  <a:cubicBezTo>
                    <a:pt x="50" y="168"/>
                    <a:pt x="50" y="167"/>
                    <a:pt x="51" y="166"/>
                  </a:cubicBezTo>
                  <a:cubicBezTo>
                    <a:pt x="52" y="166"/>
                    <a:pt x="55" y="168"/>
                    <a:pt x="56" y="169"/>
                  </a:cubicBezTo>
                  <a:cubicBezTo>
                    <a:pt x="58" y="171"/>
                    <a:pt x="58" y="173"/>
                    <a:pt x="58" y="175"/>
                  </a:cubicBezTo>
                  <a:cubicBezTo>
                    <a:pt x="59" y="176"/>
                    <a:pt x="59" y="176"/>
                    <a:pt x="59" y="177"/>
                  </a:cubicBezTo>
                  <a:cubicBezTo>
                    <a:pt x="61" y="177"/>
                    <a:pt x="62" y="177"/>
                    <a:pt x="63" y="177"/>
                  </a:cubicBezTo>
                  <a:cubicBezTo>
                    <a:pt x="64" y="177"/>
                    <a:pt x="65" y="177"/>
                    <a:pt x="66" y="177"/>
                  </a:cubicBezTo>
                  <a:cubicBezTo>
                    <a:pt x="67" y="177"/>
                    <a:pt x="69" y="178"/>
                    <a:pt x="70" y="178"/>
                  </a:cubicBezTo>
                  <a:cubicBezTo>
                    <a:pt x="71" y="178"/>
                    <a:pt x="72" y="178"/>
                    <a:pt x="72" y="179"/>
                  </a:cubicBezTo>
                  <a:cubicBezTo>
                    <a:pt x="73" y="180"/>
                    <a:pt x="72" y="181"/>
                    <a:pt x="73" y="182"/>
                  </a:cubicBezTo>
                  <a:cubicBezTo>
                    <a:pt x="73" y="183"/>
                    <a:pt x="75" y="183"/>
                    <a:pt x="76" y="183"/>
                  </a:cubicBezTo>
                  <a:cubicBezTo>
                    <a:pt x="76" y="183"/>
                    <a:pt x="78" y="183"/>
                    <a:pt x="78" y="183"/>
                  </a:cubicBezTo>
                  <a:cubicBezTo>
                    <a:pt x="79" y="184"/>
                    <a:pt x="79" y="184"/>
                    <a:pt x="80" y="184"/>
                  </a:cubicBezTo>
                  <a:cubicBezTo>
                    <a:pt x="80" y="185"/>
                    <a:pt x="81" y="185"/>
                    <a:pt x="82" y="185"/>
                  </a:cubicBezTo>
                  <a:cubicBezTo>
                    <a:pt x="83" y="185"/>
                    <a:pt x="85" y="185"/>
                    <a:pt x="87" y="185"/>
                  </a:cubicBezTo>
                  <a:cubicBezTo>
                    <a:pt x="89" y="184"/>
                    <a:pt x="89" y="182"/>
                    <a:pt x="89" y="180"/>
                  </a:cubicBezTo>
                  <a:cubicBezTo>
                    <a:pt x="90" y="179"/>
                    <a:pt x="91" y="178"/>
                    <a:pt x="92" y="176"/>
                  </a:cubicBezTo>
                  <a:cubicBezTo>
                    <a:pt x="92" y="175"/>
                    <a:pt x="92" y="174"/>
                    <a:pt x="92" y="173"/>
                  </a:cubicBezTo>
                  <a:cubicBezTo>
                    <a:pt x="92" y="171"/>
                    <a:pt x="92" y="171"/>
                    <a:pt x="93" y="170"/>
                  </a:cubicBezTo>
                  <a:cubicBezTo>
                    <a:pt x="93" y="169"/>
                    <a:pt x="93" y="169"/>
                    <a:pt x="95" y="168"/>
                  </a:cubicBezTo>
                  <a:cubicBezTo>
                    <a:pt x="96" y="168"/>
                    <a:pt x="97" y="167"/>
                    <a:pt x="99" y="167"/>
                  </a:cubicBezTo>
                  <a:cubicBezTo>
                    <a:pt x="100" y="167"/>
                    <a:pt x="101" y="167"/>
                    <a:pt x="102" y="167"/>
                  </a:cubicBezTo>
                  <a:cubicBezTo>
                    <a:pt x="107" y="167"/>
                    <a:pt x="112" y="168"/>
                    <a:pt x="117" y="168"/>
                  </a:cubicBezTo>
                  <a:cubicBezTo>
                    <a:pt x="118" y="168"/>
                    <a:pt x="119" y="168"/>
                    <a:pt x="120" y="168"/>
                  </a:cubicBezTo>
                  <a:cubicBezTo>
                    <a:pt x="121" y="167"/>
                    <a:pt x="122" y="166"/>
                    <a:pt x="123" y="166"/>
                  </a:cubicBezTo>
                  <a:cubicBezTo>
                    <a:pt x="125" y="165"/>
                    <a:pt x="126" y="166"/>
                    <a:pt x="127" y="167"/>
                  </a:cubicBezTo>
                  <a:cubicBezTo>
                    <a:pt x="129" y="169"/>
                    <a:pt x="132" y="166"/>
                    <a:pt x="134" y="165"/>
                  </a:cubicBezTo>
                  <a:cubicBezTo>
                    <a:pt x="136" y="163"/>
                    <a:pt x="139" y="162"/>
                    <a:pt x="142" y="161"/>
                  </a:cubicBezTo>
                  <a:cubicBezTo>
                    <a:pt x="143" y="160"/>
                    <a:pt x="145" y="159"/>
                    <a:pt x="147" y="159"/>
                  </a:cubicBezTo>
                  <a:cubicBezTo>
                    <a:pt x="149" y="159"/>
                    <a:pt x="152" y="159"/>
                    <a:pt x="152" y="162"/>
                  </a:cubicBezTo>
                  <a:cubicBezTo>
                    <a:pt x="152" y="163"/>
                    <a:pt x="150" y="164"/>
                    <a:pt x="149" y="165"/>
                  </a:cubicBezTo>
                  <a:cubicBezTo>
                    <a:pt x="149" y="165"/>
                    <a:pt x="147" y="165"/>
                    <a:pt x="147" y="165"/>
                  </a:cubicBezTo>
                  <a:cubicBezTo>
                    <a:pt x="146" y="166"/>
                    <a:pt x="146" y="167"/>
                    <a:pt x="146" y="168"/>
                  </a:cubicBezTo>
                  <a:cubicBezTo>
                    <a:pt x="146" y="169"/>
                    <a:pt x="145" y="169"/>
                    <a:pt x="147" y="171"/>
                  </a:cubicBezTo>
                  <a:cubicBezTo>
                    <a:pt x="147" y="171"/>
                    <a:pt x="148" y="172"/>
                    <a:pt x="149" y="173"/>
                  </a:cubicBezTo>
                  <a:cubicBezTo>
                    <a:pt x="150" y="174"/>
                    <a:pt x="151" y="175"/>
                    <a:pt x="152" y="176"/>
                  </a:cubicBezTo>
                  <a:cubicBezTo>
                    <a:pt x="154" y="177"/>
                    <a:pt x="154" y="179"/>
                    <a:pt x="155" y="181"/>
                  </a:cubicBezTo>
                  <a:cubicBezTo>
                    <a:pt x="156" y="183"/>
                    <a:pt x="158" y="185"/>
                    <a:pt x="160" y="186"/>
                  </a:cubicBezTo>
                  <a:cubicBezTo>
                    <a:pt x="163" y="189"/>
                    <a:pt x="168" y="192"/>
                    <a:pt x="172" y="194"/>
                  </a:cubicBezTo>
                  <a:cubicBezTo>
                    <a:pt x="173" y="194"/>
                    <a:pt x="174" y="194"/>
                    <a:pt x="175" y="194"/>
                  </a:cubicBezTo>
                  <a:cubicBezTo>
                    <a:pt x="178" y="194"/>
                    <a:pt x="180" y="194"/>
                    <a:pt x="183" y="195"/>
                  </a:cubicBezTo>
                  <a:cubicBezTo>
                    <a:pt x="185" y="195"/>
                    <a:pt x="187" y="195"/>
                    <a:pt x="189" y="196"/>
                  </a:cubicBezTo>
                  <a:cubicBezTo>
                    <a:pt x="190" y="196"/>
                    <a:pt x="192" y="196"/>
                    <a:pt x="193" y="196"/>
                  </a:cubicBezTo>
                  <a:cubicBezTo>
                    <a:pt x="195" y="197"/>
                    <a:pt x="196" y="198"/>
                    <a:pt x="197" y="198"/>
                  </a:cubicBezTo>
                  <a:cubicBezTo>
                    <a:pt x="201" y="200"/>
                    <a:pt x="205" y="200"/>
                    <a:pt x="209" y="201"/>
                  </a:cubicBezTo>
                  <a:cubicBezTo>
                    <a:pt x="212" y="201"/>
                    <a:pt x="214" y="201"/>
                    <a:pt x="217" y="201"/>
                  </a:cubicBezTo>
                  <a:cubicBezTo>
                    <a:pt x="220" y="201"/>
                    <a:pt x="224" y="201"/>
                    <a:pt x="227" y="201"/>
                  </a:cubicBezTo>
                  <a:cubicBezTo>
                    <a:pt x="229" y="201"/>
                    <a:pt x="230" y="202"/>
                    <a:pt x="232" y="202"/>
                  </a:cubicBezTo>
                  <a:cubicBezTo>
                    <a:pt x="233" y="202"/>
                    <a:pt x="234" y="202"/>
                    <a:pt x="235" y="203"/>
                  </a:cubicBezTo>
                  <a:cubicBezTo>
                    <a:pt x="235" y="203"/>
                    <a:pt x="236" y="202"/>
                    <a:pt x="236" y="203"/>
                  </a:cubicBezTo>
                  <a:cubicBezTo>
                    <a:pt x="238" y="203"/>
                    <a:pt x="239" y="204"/>
                    <a:pt x="240" y="204"/>
                  </a:cubicBezTo>
                  <a:cubicBezTo>
                    <a:pt x="245" y="206"/>
                    <a:pt x="250" y="205"/>
                    <a:pt x="255" y="206"/>
                  </a:cubicBezTo>
                  <a:cubicBezTo>
                    <a:pt x="255" y="206"/>
                    <a:pt x="255" y="206"/>
                    <a:pt x="255" y="206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5" y="207"/>
                    <a:pt x="255" y="208"/>
                    <a:pt x="254" y="208"/>
                  </a:cubicBezTo>
                  <a:cubicBezTo>
                    <a:pt x="255" y="208"/>
                    <a:pt x="256" y="208"/>
                    <a:pt x="257" y="208"/>
                  </a:cubicBezTo>
                  <a:cubicBezTo>
                    <a:pt x="259" y="209"/>
                    <a:pt x="262" y="209"/>
                    <a:pt x="264" y="209"/>
                  </a:cubicBezTo>
                  <a:cubicBezTo>
                    <a:pt x="264" y="210"/>
                    <a:pt x="266" y="209"/>
                    <a:pt x="267" y="210"/>
                  </a:cubicBezTo>
                  <a:cubicBezTo>
                    <a:pt x="267" y="210"/>
                    <a:pt x="267" y="210"/>
                    <a:pt x="267" y="210"/>
                  </a:cubicBezTo>
                  <a:cubicBezTo>
                    <a:pt x="268" y="211"/>
                    <a:pt x="269" y="211"/>
                    <a:pt x="270" y="211"/>
                  </a:cubicBezTo>
                  <a:cubicBezTo>
                    <a:pt x="272" y="212"/>
                    <a:pt x="274" y="213"/>
                    <a:pt x="276" y="213"/>
                  </a:cubicBezTo>
                  <a:cubicBezTo>
                    <a:pt x="279" y="212"/>
                    <a:pt x="278" y="209"/>
                    <a:pt x="279" y="207"/>
                  </a:cubicBezTo>
                  <a:cubicBezTo>
                    <a:pt x="280" y="207"/>
                    <a:pt x="280" y="206"/>
                    <a:pt x="281" y="205"/>
                  </a:cubicBezTo>
                  <a:cubicBezTo>
                    <a:pt x="281" y="205"/>
                    <a:pt x="282" y="204"/>
                    <a:pt x="283" y="204"/>
                  </a:cubicBezTo>
                  <a:cubicBezTo>
                    <a:pt x="283" y="203"/>
                    <a:pt x="284" y="204"/>
                    <a:pt x="285" y="204"/>
                  </a:cubicBezTo>
                  <a:cubicBezTo>
                    <a:pt x="286" y="204"/>
                    <a:pt x="287" y="203"/>
                    <a:pt x="288" y="202"/>
                  </a:cubicBezTo>
                  <a:cubicBezTo>
                    <a:pt x="288" y="201"/>
                    <a:pt x="288" y="201"/>
                    <a:pt x="289" y="200"/>
                  </a:cubicBezTo>
                  <a:cubicBezTo>
                    <a:pt x="289" y="200"/>
                    <a:pt x="290" y="200"/>
                    <a:pt x="290" y="199"/>
                  </a:cubicBezTo>
                  <a:cubicBezTo>
                    <a:pt x="290" y="199"/>
                    <a:pt x="291" y="198"/>
                    <a:pt x="291" y="197"/>
                  </a:cubicBezTo>
                  <a:cubicBezTo>
                    <a:pt x="292" y="195"/>
                    <a:pt x="295" y="195"/>
                    <a:pt x="297" y="195"/>
                  </a:cubicBezTo>
                  <a:cubicBezTo>
                    <a:pt x="300" y="194"/>
                    <a:pt x="302" y="194"/>
                    <a:pt x="304" y="193"/>
                  </a:cubicBezTo>
                  <a:cubicBezTo>
                    <a:pt x="306" y="192"/>
                    <a:pt x="307" y="191"/>
                    <a:pt x="309" y="192"/>
                  </a:cubicBezTo>
                  <a:cubicBezTo>
                    <a:pt x="310" y="192"/>
                    <a:pt x="311" y="193"/>
                    <a:pt x="312" y="193"/>
                  </a:cubicBezTo>
                  <a:cubicBezTo>
                    <a:pt x="314" y="193"/>
                    <a:pt x="316" y="193"/>
                    <a:pt x="318" y="193"/>
                  </a:cubicBezTo>
                  <a:cubicBezTo>
                    <a:pt x="318" y="194"/>
                    <a:pt x="318" y="194"/>
                    <a:pt x="319" y="194"/>
                  </a:cubicBezTo>
                  <a:cubicBezTo>
                    <a:pt x="320" y="194"/>
                    <a:pt x="322" y="193"/>
                    <a:pt x="323" y="194"/>
                  </a:cubicBezTo>
                  <a:cubicBezTo>
                    <a:pt x="325" y="194"/>
                    <a:pt x="325" y="195"/>
                    <a:pt x="326" y="195"/>
                  </a:cubicBezTo>
                  <a:cubicBezTo>
                    <a:pt x="326" y="192"/>
                    <a:pt x="328" y="190"/>
                    <a:pt x="329" y="188"/>
                  </a:cubicBezTo>
                  <a:cubicBezTo>
                    <a:pt x="329" y="187"/>
                    <a:pt x="329" y="187"/>
                    <a:pt x="330" y="187"/>
                  </a:cubicBezTo>
                  <a:cubicBezTo>
                    <a:pt x="330" y="187"/>
                    <a:pt x="331" y="187"/>
                    <a:pt x="331" y="187"/>
                  </a:cubicBezTo>
                  <a:cubicBezTo>
                    <a:pt x="332" y="186"/>
                    <a:pt x="331" y="187"/>
                    <a:pt x="332" y="186"/>
                  </a:cubicBezTo>
                  <a:cubicBezTo>
                    <a:pt x="333" y="185"/>
                    <a:pt x="335" y="182"/>
                    <a:pt x="336" y="183"/>
                  </a:cubicBezTo>
                  <a:cubicBezTo>
                    <a:pt x="338" y="184"/>
                    <a:pt x="336" y="187"/>
                    <a:pt x="338" y="189"/>
                  </a:cubicBezTo>
                  <a:cubicBezTo>
                    <a:pt x="340" y="190"/>
                    <a:pt x="343" y="189"/>
                    <a:pt x="345" y="190"/>
                  </a:cubicBezTo>
                  <a:cubicBezTo>
                    <a:pt x="348" y="190"/>
                    <a:pt x="351" y="190"/>
                    <a:pt x="352" y="187"/>
                  </a:cubicBezTo>
                  <a:cubicBezTo>
                    <a:pt x="353" y="185"/>
                    <a:pt x="353" y="183"/>
                    <a:pt x="353" y="181"/>
                  </a:cubicBezTo>
                  <a:cubicBezTo>
                    <a:pt x="353" y="178"/>
                    <a:pt x="354" y="176"/>
                    <a:pt x="356" y="175"/>
                  </a:cubicBezTo>
                  <a:cubicBezTo>
                    <a:pt x="357" y="174"/>
                    <a:pt x="359" y="175"/>
                    <a:pt x="360" y="173"/>
                  </a:cubicBezTo>
                  <a:cubicBezTo>
                    <a:pt x="361" y="173"/>
                    <a:pt x="361" y="172"/>
                    <a:pt x="362" y="172"/>
                  </a:cubicBezTo>
                  <a:cubicBezTo>
                    <a:pt x="363" y="171"/>
                    <a:pt x="363" y="171"/>
                    <a:pt x="364" y="170"/>
                  </a:cubicBezTo>
                  <a:cubicBezTo>
                    <a:pt x="365" y="167"/>
                    <a:pt x="366" y="167"/>
                    <a:pt x="368" y="166"/>
                  </a:cubicBezTo>
                  <a:cubicBezTo>
                    <a:pt x="370" y="165"/>
                    <a:pt x="370" y="164"/>
                    <a:pt x="372" y="164"/>
                  </a:cubicBezTo>
                  <a:cubicBezTo>
                    <a:pt x="374" y="164"/>
                    <a:pt x="375" y="163"/>
                    <a:pt x="376" y="163"/>
                  </a:cubicBezTo>
                  <a:cubicBezTo>
                    <a:pt x="378" y="163"/>
                    <a:pt x="379" y="163"/>
                    <a:pt x="379" y="161"/>
                  </a:cubicBezTo>
                  <a:cubicBezTo>
                    <a:pt x="379" y="160"/>
                    <a:pt x="379" y="160"/>
                    <a:pt x="379" y="159"/>
                  </a:cubicBezTo>
                  <a:cubicBezTo>
                    <a:pt x="379" y="158"/>
                    <a:pt x="380" y="157"/>
                    <a:pt x="380" y="156"/>
                  </a:cubicBezTo>
                  <a:cubicBezTo>
                    <a:pt x="380" y="156"/>
                    <a:pt x="380" y="155"/>
                    <a:pt x="380" y="154"/>
                  </a:cubicBezTo>
                  <a:cubicBezTo>
                    <a:pt x="380" y="152"/>
                    <a:pt x="380" y="152"/>
                    <a:pt x="379" y="152"/>
                  </a:cubicBezTo>
                  <a:cubicBezTo>
                    <a:pt x="377" y="151"/>
                    <a:pt x="377" y="151"/>
                    <a:pt x="376" y="149"/>
                  </a:cubicBezTo>
                  <a:cubicBezTo>
                    <a:pt x="376" y="149"/>
                    <a:pt x="376" y="148"/>
                    <a:pt x="376" y="147"/>
                  </a:cubicBezTo>
                  <a:cubicBezTo>
                    <a:pt x="376" y="147"/>
                    <a:pt x="375" y="146"/>
                    <a:pt x="376" y="145"/>
                  </a:cubicBezTo>
                  <a:cubicBezTo>
                    <a:pt x="376" y="144"/>
                    <a:pt x="378" y="142"/>
                    <a:pt x="379" y="142"/>
                  </a:cubicBezTo>
                  <a:cubicBezTo>
                    <a:pt x="379" y="142"/>
                    <a:pt x="381" y="141"/>
                    <a:pt x="381" y="141"/>
                  </a:cubicBezTo>
                  <a:cubicBezTo>
                    <a:pt x="382" y="138"/>
                    <a:pt x="378" y="139"/>
                    <a:pt x="378" y="138"/>
                  </a:cubicBezTo>
                  <a:cubicBezTo>
                    <a:pt x="376" y="136"/>
                    <a:pt x="377" y="131"/>
                    <a:pt x="379" y="130"/>
                  </a:cubicBezTo>
                  <a:cubicBezTo>
                    <a:pt x="379" y="130"/>
                    <a:pt x="380" y="129"/>
                    <a:pt x="381" y="129"/>
                  </a:cubicBezTo>
                  <a:cubicBezTo>
                    <a:pt x="382" y="129"/>
                    <a:pt x="383" y="130"/>
                    <a:pt x="384" y="130"/>
                  </a:cubicBezTo>
                  <a:cubicBezTo>
                    <a:pt x="385" y="129"/>
                    <a:pt x="385" y="129"/>
                    <a:pt x="386" y="128"/>
                  </a:cubicBezTo>
                  <a:cubicBezTo>
                    <a:pt x="386" y="127"/>
                    <a:pt x="387" y="125"/>
                    <a:pt x="388" y="124"/>
                  </a:cubicBezTo>
                  <a:cubicBezTo>
                    <a:pt x="389" y="123"/>
                    <a:pt x="390" y="122"/>
                    <a:pt x="390" y="121"/>
                  </a:cubicBezTo>
                  <a:cubicBezTo>
                    <a:pt x="390" y="121"/>
                    <a:pt x="390" y="119"/>
                    <a:pt x="390" y="118"/>
                  </a:cubicBezTo>
                  <a:cubicBezTo>
                    <a:pt x="390" y="117"/>
                    <a:pt x="390" y="117"/>
                    <a:pt x="389" y="116"/>
                  </a:cubicBezTo>
                  <a:cubicBezTo>
                    <a:pt x="389" y="115"/>
                    <a:pt x="389" y="115"/>
                    <a:pt x="389" y="114"/>
                  </a:cubicBezTo>
                  <a:cubicBezTo>
                    <a:pt x="388" y="114"/>
                    <a:pt x="388" y="113"/>
                    <a:pt x="388" y="113"/>
                  </a:cubicBezTo>
                  <a:cubicBezTo>
                    <a:pt x="386" y="112"/>
                    <a:pt x="384" y="113"/>
                    <a:pt x="383" y="112"/>
                  </a:cubicBezTo>
                  <a:cubicBezTo>
                    <a:pt x="381" y="111"/>
                    <a:pt x="380" y="110"/>
                    <a:pt x="379" y="109"/>
                  </a:cubicBezTo>
                  <a:cubicBezTo>
                    <a:pt x="379" y="109"/>
                    <a:pt x="378" y="108"/>
                    <a:pt x="379" y="107"/>
                  </a:cubicBezTo>
                  <a:cubicBezTo>
                    <a:pt x="379" y="106"/>
                    <a:pt x="382" y="107"/>
                    <a:pt x="383" y="107"/>
                  </a:cubicBezTo>
                  <a:cubicBezTo>
                    <a:pt x="386" y="107"/>
                    <a:pt x="385" y="105"/>
                    <a:pt x="387" y="103"/>
                  </a:cubicBezTo>
                  <a:cubicBezTo>
                    <a:pt x="388" y="102"/>
                    <a:pt x="392" y="103"/>
                    <a:pt x="393" y="105"/>
                  </a:cubicBezTo>
                  <a:cubicBezTo>
                    <a:pt x="394" y="106"/>
                    <a:pt x="394" y="108"/>
                    <a:pt x="395" y="108"/>
                  </a:cubicBezTo>
                  <a:cubicBezTo>
                    <a:pt x="396" y="109"/>
                    <a:pt x="397" y="108"/>
                    <a:pt x="398" y="108"/>
                  </a:cubicBezTo>
                  <a:cubicBezTo>
                    <a:pt x="400" y="108"/>
                    <a:pt x="401" y="106"/>
                    <a:pt x="404" y="106"/>
                  </a:cubicBezTo>
                  <a:cubicBezTo>
                    <a:pt x="405" y="106"/>
                    <a:pt x="405" y="106"/>
                    <a:pt x="406" y="105"/>
                  </a:cubicBezTo>
                  <a:cubicBezTo>
                    <a:pt x="407" y="105"/>
                    <a:pt x="408" y="105"/>
                    <a:pt x="409" y="104"/>
                  </a:cubicBezTo>
                  <a:cubicBezTo>
                    <a:pt x="410" y="103"/>
                    <a:pt x="413" y="102"/>
                    <a:pt x="414" y="100"/>
                  </a:cubicBezTo>
                  <a:cubicBezTo>
                    <a:pt x="415" y="97"/>
                    <a:pt x="412" y="98"/>
                    <a:pt x="410" y="96"/>
                  </a:cubicBezTo>
                  <a:cubicBezTo>
                    <a:pt x="408" y="94"/>
                    <a:pt x="411" y="91"/>
                    <a:pt x="413" y="88"/>
                  </a:cubicBezTo>
                  <a:cubicBezTo>
                    <a:pt x="414" y="87"/>
                    <a:pt x="415" y="86"/>
                    <a:pt x="416" y="85"/>
                  </a:cubicBezTo>
                  <a:cubicBezTo>
                    <a:pt x="416" y="85"/>
                    <a:pt x="416" y="85"/>
                    <a:pt x="416" y="84"/>
                  </a:cubicBezTo>
                  <a:cubicBezTo>
                    <a:pt x="416" y="84"/>
                    <a:pt x="417" y="83"/>
                    <a:pt x="417" y="83"/>
                  </a:cubicBezTo>
                  <a:cubicBezTo>
                    <a:pt x="417" y="82"/>
                    <a:pt x="417" y="80"/>
                    <a:pt x="416" y="79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5" name="Freeform 15">
              <a:extLst>
                <a:ext uri="{FF2B5EF4-FFF2-40B4-BE49-F238E27FC236}">
                  <a16:creationId xmlns:a16="http://schemas.microsoft.com/office/drawing/2014/main" id="{1EC20CC7-4B44-416D-A881-6B26D23D2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5313" y="4954588"/>
              <a:ext cx="25400" cy="30163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9" y="1"/>
                </a:cxn>
                <a:cxn ang="0">
                  <a:pos x="9" y="0"/>
                </a:cxn>
                <a:cxn ang="0">
                  <a:pos x="6" y="1"/>
                </a:cxn>
                <a:cxn ang="0">
                  <a:pos x="5" y="3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1" y="8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3" y="15"/>
                </a:cxn>
                <a:cxn ang="0">
                  <a:pos x="7" y="16"/>
                </a:cxn>
                <a:cxn ang="0">
                  <a:pos x="9" y="15"/>
                </a:cxn>
                <a:cxn ang="0">
                  <a:pos x="12" y="11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1" y="2"/>
                </a:cxn>
              </a:cxnLst>
              <a:rect l="0" t="0" r="r" b="b"/>
              <a:pathLst>
                <a:path w="13" h="16">
                  <a:moveTo>
                    <a:pt x="11" y="2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9" y="0"/>
                    <a:pt x="6" y="1"/>
                    <a:pt x="6" y="1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5"/>
                    <a:pt x="3" y="5"/>
                    <a:pt x="2" y="6"/>
                  </a:cubicBezTo>
                  <a:cubicBezTo>
                    <a:pt x="2" y="7"/>
                    <a:pt x="1" y="7"/>
                    <a:pt x="1" y="8"/>
                  </a:cubicBezTo>
                  <a:cubicBezTo>
                    <a:pt x="1" y="9"/>
                    <a:pt x="0" y="9"/>
                    <a:pt x="0" y="10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6"/>
                    <a:pt x="9" y="15"/>
                  </a:cubicBezTo>
                  <a:cubicBezTo>
                    <a:pt x="11" y="14"/>
                    <a:pt x="11" y="12"/>
                    <a:pt x="12" y="11"/>
                  </a:cubicBezTo>
                  <a:cubicBezTo>
                    <a:pt x="12" y="9"/>
                    <a:pt x="13" y="7"/>
                    <a:pt x="12" y="6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1" y="4"/>
                    <a:pt x="11" y="3"/>
                    <a:pt x="11" y="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6" name="Freeform 16">
              <a:extLst>
                <a:ext uri="{FF2B5EF4-FFF2-40B4-BE49-F238E27FC236}">
                  <a16:creationId xmlns:a16="http://schemas.microsoft.com/office/drawing/2014/main" id="{0DE24886-ADFA-4D1B-8DFB-911E83A190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9413" y="4360863"/>
              <a:ext cx="1379538" cy="1341438"/>
            </a:xfrm>
            <a:custGeom>
              <a:avLst/>
              <a:gdLst/>
              <a:ahLst/>
              <a:cxnLst>
                <a:cxn ang="0">
                  <a:pos x="737" y="191"/>
                </a:cxn>
                <a:cxn ang="0">
                  <a:pos x="702" y="174"/>
                </a:cxn>
                <a:cxn ang="0">
                  <a:pos x="633" y="143"/>
                </a:cxn>
                <a:cxn ang="0">
                  <a:pos x="577" y="126"/>
                </a:cxn>
                <a:cxn ang="0">
                  <a:pos x="539" y="101"/>
                </a:cxn>
                <a:cxn ang="0">
                  <a:pos x="509" y="70"/>
                </a:cxn>
                <a:cxn ang="0">
                  <a:pos x="472" y="38"/>
                </a:cxn>
                <a:cxn ang="0">
                  <a:pos x="432" y="4"/>
                </a:cxn>
                <a:cxn ang="0">
                  <a:pos x="374" y="39"/>
                </a:cxn>
                <a:cxn ang="0">
                  <a:pos x="323" y="113"/>
                </a:cxn>
                <a:cxn ang="0">
                  <a:pos x="290" y="145"/>
                </a:cxn>
                <a:cxn ang="0">
                  <a:pos x="210" y="138"/>
                </a:cxn>
                <a:cxn ang="0">
                  <a:pos x="190" y="179"/>
                </a:cxn>
                <a:cxn ang="0">
                  <a:pos x="171" y="211"/>
                </a:cxn>
                <a:cxn ang="0">
                  <a:pos x="129" y="219"/>
                </a:cxn>
                <a:cxn ang="0">
                  <a:pos x="81" y="208"/>
                </a:cxn>
                <a:cxn ang="0">
                  <a:pos x="38" y="213"/>
                </a:cxn>
                <a:cxn ang="0">
                  <a:pos x="10" y="238"/>
                </a:cxn>
                <a:cxn ang="0">
                  <a:pos x="32" y="250"/>
                </a:cxn>
                <a:cxn ang="0">
                  <a:pos x="17" y="266"/>
                </a:cxn>
                <a:cxn ang="0">
                  <a:pos x="52" y="283"/>
                </a:cxn>
                <a:cxn ang="0">
                  <a:pos x="90" y="299"/>
                </a:cxn>
                <a:cxn ang="0">
                  <a:pos x="133" y="320"/>
                </a:cxn>
                <a:cxn ang="0">
                  <a:pos x="153" y="355"/>
                </a:cxn>
                <a:cxn ang="0">
                  <a:pos x="172" y="389"/>
                </a:cxn>
                <a:cxn ang="0">
                  <a:pos x="214" y="405"/>
                </a:cxn>
                <a:cxn ang="0">
                  <a:pos x="211" y="434"/>
                </a:cxn>
                <a:cxn ang="0">
                  <a:pos x="198" y="438"/>
                </a:cxn>
                <a:cxn ang="0">
                  <a:pos x="233" y="507"/>
                </a:cxn>
                <a:cxn ang="0">
                  <a:pos x="203" y="491"/>
                </a:cxn>
                <a:cxn ang="0">
                  <a:pos x="189" y="565"/>
                </a:cxn>
                <a:cxn ang="0">
                  <a:pos x="166" y="637"/>
                </a:cxn>
                <a:cxn ang="0">
                  <a:pos x="197" y="661"/>
                </a:cxn>
                <a:cxn ang="0">
                  <a:pos x="265" y="684"/>
                </a:cxn>
                <a:cxn ang="0">
                  <a:pos x="324" y="681"/>
                </a:cxn>
                <a:cxn ang="0">
                  <a:pos x="346" y="687"/>
                </a:cxn>
                <a:cxn ang="0">
                  <a:pos x="372" y="700"/>
                </a:cxn>
                <a:cxn ang="0">
                  <a:pos x="382" y="707"/>
                </a:cxn>
                <a:cxn ang="0">
                  <a:pos x="431" y="685"/>
                </a:cxn>
                <a:cxn ang="0">
                  <a:pos x="464" y="634"/>
                </a:cxn>
                <a:cxn ang="0">
                  <a:pos x="511" y="626"/>
                </a:cxn>
                <a:cxn ang="0">
                  <a:pos x="536" y="632"/>
                </a:cxn>
                <a:cxn ang="0">
                  <a:pos x="566" y="642"/>
                </a:cxn>
                <a:cxn ang="0">
                  <a:pos x="621" y="658"/>
                </a:cxn>
                <a:cxn ang="0">
                  <a:pos x="650" y="627"/>
                </a:cxn>
                <a:cxn ang="0">
                  <a:pos x="687" y="597"/>
                </a:cxn>
                <a:cxn ang="0">
                  <a:pos x="660" y="562"/>
                </a:cxn>
                <a:cxn ang="0">
                  <a:pos x="652" y="515"/>
                </a:cxn>
                <a:cxn ang="0">
                  <a:pos x="667" y="480"/>
                </a:cxn>
                <a:cxn ang="0">
                  <a:pos x="663" y="436"/>
                </a:cxn>
                <a:cxn ang="0">
                  <a:pos x="658" y="409"/>
                </a:cxn>
                <a:cxn ang="0">
                  <a:pos x="614" y="391"/>
                </a:cxn>
                <a:cxn ang="0">
                  <a:pos x="658" y="330"/>
                </a:cxn>
                <a:cxn ang="0">
                  <a:pos x="703" y="303"/>
                </a:cxn>
                <a:cxn ang="0">
                  <a:pos x="704" y="300"/>
                </a:cxn>
                <a:cxn ang="0">
                  <a:pos x="716" y="221"/>
                </a:cxn>
              </a:cxnLst>
              <a:rect l="0" t="0" r="r" b="b"/>
              <a:pathLst>
                <a:path w="738" h="718">
                  <a:moveTo>
                    <a:pt x="437" y="718"/>
                  </a:moveTo>
                  <a:cubicBezTo>
                    <a:pt x="439" y="716"/>
                    <a:pt x="441" y="714"/>
                    <a:pt x="442" y="710"/>
                  </a:cubicBezTo>
                  <a:cubicBezTo>
                    <a:pt x="442" y="710"/>
                    <a:pt x="442" y="710"/>
                    <a:pt x="442" y="710"/>
                  </a:cubicBezTo>
                  <a:cubicBezTo>
                    <a:pt x="440" y="711"/>
                    <a:pt x="438" y="715"/>
                    <a:pt x="437" y="718"/>
                  </a:cubicBezTo>
                  <a:moveTo>
                    <a:pt x="350" y="705"/>
                  </a:moveTo>
                  <a:cubicBezTo>
                    <a:pt x="350" y="705"/>
                    <a:pt x="349" y="705"/>
                    <a:pt x="349" y="705"/>
                  </a:cubicBezTo>
                  <a:cubicBezTo>
                    <a:pt x="349" y="705"/>
                    <a:pt x="350" y="705"/>
                    <a:pt x="350" y="705"/>
                  </a:cubicBezTo>
                  <a:moveTo>
                    <a:pt x="737" y="191"/>
                  </a:moveTo>
                  <a:cubicBezTo>
                    <a:pt x="738" y="189"/>
                    <a:pt x="738" y="186"/>
                    <a:pt x="737" y="184"/>
                  </a:cubicBezTo>
                  <a:cubicBezTo>
                    <a:pt x="735" y="181"/>
                    <a:pt x="733" y="182"/>
                    <a:pt x="731" y="181"/>
                  </a:cubicBezTo>
                  <a:cubicBezTo>
                    <a:pt x="730" y="181"/>
                    <a:pt x="729" y="180"/>
                    <a:pt x="728" y="179"/>
                  </a:cubicBezTo>
                  <a:cubicBezTo>
                    <a:pt x="729" y="179"/>
                    <a:pt x="725" y="177"/>
                    <a:pt x="726" y="177"/>
                  </a:cubicBezTo>
                  <a:cubicBezTo>
                    <a:pt x="723" y="176"/>
                    <a:pt x="720" y="176"/>
                    <a:pt x="717" y="176"/>
                  </a:cubicBezTo>
                  <a:cubicBezTo>
                    <a:pt x="714" y="176"/>
                    <a:pt x="708" y="177"/>
                    <a:pt x="705" y="176"/>
                  </a:cubicBezTo>
                  <a:cubicBezTo>
                    <a:pt x="704" y="176"/>
                    <a:pt x="705" y="175"/>
                    <a:pt x="704" y="175"/>
                  </a:cubicBezTo>
                  <a:cubicBezTo>
                    <a:pt x="703" y="174"/>
                    <a:pt x="702" y="174"/>
                    <a:pt x="702" y="174"/>
                  </a:cubicBezTo>
                  <a:cubicBezTo>
                    <a:pt x="699" y="171"/>
                    <a:pt x="699" y="168"/>
                    <a:pt x="697" y="166"/>
                  </a:cubicBezTo>
                  <a:cubicBezTo>
                    <a:pt x="691" y="162"/>
                    <a:pt x="685" y="162"/>
                    <a:pt x="678" y="162"/>
                  </a:cubicBezTo>
                  <a:cubicBezTo>
                    <a:pt x="674" y="162"/>
                    <a:pt x="671" y="162"/>
                    <a:pt x="668" y="163"/>
                  </a:cubicBezTo>
                  <a:cubicBezTo>
                    <a:pt x="664" y="164"/>
                    <a:pt x="662" y="167"/>
                    <a:pt x="658" y="167"/>
                  </a:cubicBezTo>
                  <a:cubicBezTo>
                    <a:pt x="654" y="166"/>
                    <a:pt x="654" y="164"/>
                    <a:pt x="652" y="161"/>
                  </a:cubicBezTo>
                  <a:cubicBezTo>
                    <a:pt x="652" y="159"/>
                    <a:pt x="652" y="159"/>
                    <a:pt x="651" y="157"/>
                  </a:cubicBezTo>
                  <a:cubicBezTo>
                    <a:pt x="651" y="156"/>
                    <a:pt x="649" y="155"/>
                    <a:pt x="648" y="154"/>
                  </a:cubicBezTo>
                  <a:cubicBezTo>
                    <a:pt x="643" y="148"/>
                    <a:pt x="639" y="146"/>
                    <a:pt x="633" y="143"/>
                  </a:cubicBezTo>
                  <a:cubicBezTo>
                    <a:pt x="629" y="141"/>
                    <a:pt x="628" y="139"/>
                    <a:pt x="624" y="142"/>
                  </a:cubicBezTo>
                  <a:cubicBezTo>
                    <a:pt x="618" y="145"/>
                    <a:pt x="617" y="142"/>
                    <a:pt x="612" y="139"/>
                  </a:cubicBezTo>
                  <a:cubicBezTo>
                    <a:pt x="609" y="137"/>
                    <a:pt x="606" y="136"/>
                    <a:pt x="601" y="136"/>
                  </a:cubicBezTo>
                  <a:cubicBezTo>
                    <a:pt x="600" y="136"/>
                    <a:pt x="598" y="136"/>
                    <a:pt x="597" y="137"/>
                  </a:cubicBezTo>
                  <a:cubicBezTo>
                    <a:pt x="595" y="137"/>
                    <a:pt x="594" y="139"/>
                    <a:pt x="593" y="140"/>
                  </a:cubicBezTo>
                  <a:cubicBezTo>
                    <a:pt x="589" y="142"/>
                    <a:pt x="584" y="134"/>
                    <a:pt x="583" y="132"/>
                  </a:cubicBezTo>
                  <a:cubicBezTo>
                    <a:pt x="583" y="131"/>
                    <a:pt x="583" y="129"/>
                    <a:pt x="582" y="128"/>
                  </a:cubicBezTo>
                  <a:cubicBezTo>
                    <a:pt x="581" y="126"/>
                    <a:pt x="579" y="127"/>
                    <a:pt x="577" y="126"/>
                  </a:cubicBezTo>
                  <a:cubicBezTo>
                    <a:pt x="569" y="123"/>
                    <a:pt x="564" y="116"/>
                    <a:pt x="555" y="116"/>
                  </a:cubicBezTo>
                  <a:cubicBezTo>
                    <a:pt x="554" y="111"/>
                    <a:pt x="553" y="107"/>
                    <a:pt x="553" y="102"/>
                  </a:cubicBezTo>
                  <a:cubicBezTo>
                    <a:pt x="553" y="101"/>
                    <a:pt x="552" y="99"/>
                    <a:pt x="553" y="97"/>
                  </a:cubicBezTo>
                  <a:cubicBezTo>
                    <a:pt x="554" y="94"/>
                    <a:pt x="557" y="92"/>
                    <a:pt x="554" y="89"/>
                  </a:cubicBezTo>
                  <a:cubicBezTo>
                    <a:pt x="552" y="88"/>
                    <a:pt x="551" y="87"/>
                    <a:pt x="549" y="87"/>
                  </a:cubicBezTo>
                  <a:cubicBezTo>
                    <a:pt x="547" y="88"/>
                    <a:pt x="545" y="90"/>
                    <a:pt x="544" y="91"/>
                  </a:cubicBezTo>
                  <a:cubicBezTo>
                    <a:pt x="544" y="93"/>
                    <a:pt x="545" y="96"/>
                    <a:pt x="544" y="98"/>
                  </a:cubicBezTo>
                  <a:cubicBezTo>
                    <a:pt x="543" y="99"/>
                    <a:pt x="540" y="100"/>
                    <a:pt x="539" y="101"/>
                  </a:cubicBezTo>
                  <a:cubicBezTo>
                    <a:pt x="536" y="103"/>
                    <a:pt x="532" y="106"/>
                    <a:pt x="529" y="105"/>
                  </a:cubicBezTo>
                  <a:cubicBezTo>
                    <a:pt x="526" y="104"/>
                    <a:pt x="527" y="104"/>
                    <a:pt x="525" y="102"/>
                  </a:cubicBezTo>
                  <a:cubicBezTo>
                    <a:pt x="522" y="100"/>
                    <a:pt x="522" y="101"/>
                    <a:pt x="521" y="97"/>
                  </a:cubicBezTo>
                  <a:cubicBezTo>
                    <a:pt x="520" y="95"/>
                    <a:pt x="520" y="88"/>
                    <a:pt x="518" y="86"/>
                  </a:cubicBezTo>
                  <a:cubicBezTo>
                    <a:pt x="516" y="85"/>
                    <a:pt x="514" y="87"/>
                    <a:pt x="513" y="85"/>
                  </a:cubicBezTo>
                  <a:cubicBezTo>
                    <a:pt x="512" y="85"/>
                    <a:pt x="512" y="80"/>
                    <a:pt x="513" y="80"/>
                  </a:cubicBezTo>
                  <a:cubicBezTo>
                    <a:pt x="514" y="77"/>
                    <a:pt x="517" y="80"/>
                    <a:pt x="517" y="76"/>
                  </a:cubicBezTo>
                  <a:cubicBezTo>
                    <a:pt x="518" y="72"/>
                    <a:pt x="512" y="71"/>
                    <a:pt x="509" y="70"/>
                  </a:cubicBezTo>
                  <a:cubicBezTo>
                    <a:pt x="508" y="69"/>
                    <a:pt x="506" y="68"/>
                    <a:pt x="505" y="67"/>
                  </a:cubicBezTo>
                  <a:cubicBezTo>
                    <a:pt x="502" y="67"/>
                    <a:pt x="500" y="69"/>
                    <a:pt x="498" y="69"/>
                  </a:cubicBezTo>
                  <a:cubicBezTo>
                    <a:pt x="494" y="69"/>
                    <a:pt x="491" y="67"/>
                    <a:pt x="491" y="64"/>
                  </a:cubicBezTo>
                  <a:cubicBezTo>
                    <a:pt x="490" y="62"/>
                    <a:pt x="491" y="60"/>
                    <a:pt x="490" y="59"/>
                  </a:cubicBezTo>
                  <a:cubicBezTo>
                    <a:pt x="488" y="55"/>
                    <a:pt x="483" y="57"/>
                    <a:pt x="480" y="56"/>
                  </a:cubicBezTo>
                  <a:cubicBezTo>
                    <a:pt x="476" y="56"/>
                    <a:pt x="469" y="50"/>
                    <a:pt x="469" y="46"/>
                  </a:cubicBezTo>
                  <a:cubicBezTo>
                    <a:pt x="470" y="44"/>
                    <a:pt x="473" y="43"/>
                    <a:pt x="473" y="41"/>
                  </a:cubicBezTo>
                  <a:cubicBezTo>
                    <a:pt x="473" y="40"/>
                    <a:pt x="472" y="39"/>
                    <a:pt x="472" y="38"/>
                  </a:cubicBezTo>
                  <a:cubicBezTo>
                    <a:pt x="470" y="34"/>
                    <a:pt x="466" y="30"/>
                    <a:pt x="461" y="31"/>
                  </a:cubicBezTo>
                  <a:cubicBezTo>
                    <a:pt x="457" y="31"/>
                    <a:pt x="453" y="35"/>
                    <a:pt x="449" y="35"/>
                  </a:cubicBezTo>
                  <a:cubicBezTo>
                    <a:pt x="444" y="36"/>
                    <a:pt x="442" y="32"/>
                    <a:pt x="438" y="29"/>
                  </a:cubicBezTo>
                  <a:cubicBezTo>
                    <a:pt x="435" y="26"/>
                    <a:pt x="434" y="24"/>
                    <a:pt x="433" y="20"/>
                  </a:cubicBezTo>
                  <a:cubicBezTo>
                    <a:pt x="433" y="17"/>
                    <a:pt x="433" y="13"/>
                    <a:pt x="433" y="10"/>
                  </a:cubicBezTo>
                  <a:cubicBezTo>
                    <a:pt x="434" y="8"/>
                    <a:pt x="434" y="8"/>
                    <a:pt x="434" y="8"/>
                  </a:cubicBezTo>
                  <a:cubicBezTo>
                    <a:pt x="434" y="7"/>
                    <a:pt x="434" y="8"/>
                    <a:pt x="433" y="7"/>
                  </a:cubicBezTo>
                  <a:cubicBezTo>
                    <a:pt x="433" y="7"/>
                    <a:pt x="432" y="4"/>
                    <a:pt x="432" y="4"/>
                  </a:cubicBezTo>
                  <a:cubicBezTo>
                    <a:pt x="431" y="3"/>
                    <a:pt x="429" y="2"/>
                    <a:pt x="427" y="1"/>
                  </a:cubicBezTo>
                  <a:cubicBezTo>
                    <a:pt x="422" y="0"/>
                    <a:pt x="418" y="1"/>
                    <a:pt x="416" y="5"/>
                  </a:cubicBezTo>
                  <a:cubicBezTo>
                    <a:pt x="415" y="6"/>
                    <a:pt x="415" y="7"/>
                    <a:pt x="415" y="8"/>
                  </a:cubicBezTo>
                  <a:cubicBezTo>
                    <a:pt x="414" y="8"/>
                    <a:pt x="412" y="9"/>
                    <a:pt x="411" y="10"/>
                  </a:cubicBezTo>
                  <a:cubicBezTo>
                    <a:pt x="410" y="11"/>
                    <a:pt x="410" y="14"/>
                    <a:pt x="408" y="15"/>
                  </a:cubicBezTo>
                  <a:cubicBezTo>
                    <a:pt x="406" y="18"/>
                    <a:pt x="403" y="20"/>
                    <a:pt x="401" y="23"/>
                  </a:cubicBezTo>
                  <a:cubicBezTo>
                    <a:pt x="396" y="31"/>
                    <a:pt x="387" y="29"/>
                    <a:pt x="380" y="33"/>
                  </a:cubicBezTo>
                  <a:cubicBezTo>
                    <a:pt x="378" y="35"/>
                    <a:pt x="375" y="37"/>
                    <a:pt x="374" y="39"/>
                  </a:cubicBezTo>
                  <a:cubicBezTo>
                    <a:pt x="372" y="41"/>
                    <a:pt x="373" y="43"/>
                    <a:pt x="373" y="45"/>
                  </a:cubicBezTo>
                  <a:cubicBezTo>
                    <a:pt x="372" y="51"/>
                    <a:pt x="370" y="55"/>
                    <a:pt x="368" y="61"/>
                  </a:cubicBezTo>
                  <a:cubicBezTo>
                    <a:pt x="367" y="65"/>
                    <a:pt x="369" y="70"/>
                    <a:pt x="368" y="74"/>
                  </a:cubicBezTo>
                  <a:cubicBezTo>
                    <a:pt x="367" y="79"/>
                    <a:pt x="365" y="86"/>
                    <a:pt x="361" y="90"/>
                  </a:cubicBezTo>
                  <a:cubicBezTo>
                    <a:pt x="358" y="94"/>
                    <a:pt x="352" y="95"/>
                    <a:pt x="348" y="97"/>
                  </a:cubicBezTo>
                  <a:cubicBezTo>
                    <a:pt x="345" y="99"/>
                    <a:pt x="341" y="102"/>
                    <a:pt x="338" y="105"/>
                  </a:cubicBezTo>
                  <a:cubicBezTo>
                    <a:pt x="335" y="106"/>
                    <a:pt x="334" y="107"/>
                    <a:pt x="331" y="108"/>
                  </a:cubicBezTo>
                  <a:cubicBezTo>
                    <a:pt x="328" y="109"/>
                    <a:pt x="326" y="112"/>
                    <a:pt x="323" y="113"/>
                  </a:cubicBezTo>
                  <a:cubicBezTo>
                    <a:pt x="321" y="115"/>
                    <a:pt x="317" y="114"/>
                    <a:pt x="314" y="115"/>
                  </a:cubicBezTo>
                  <a:cubicBezTo>
                    <a:pt x="311" y="116"/>
                    <a:pt x="310" y="118"/>
                    <a:pt x="307" y="119"/>
                  </a:cubicBezTo>
                  <a:cubicBezTo>
                    <a:pt x="304" y="122"/>
                    <a:pt x="298" y="120"/>
                    <a:pt x="295" y="122"/>
                  </a:cubicBezTo>
                  <a:cubicBezTo>
                    <a:pt x="293" y="123"/>
                    <a:pt x="293" y="125"/>
                    <a:pt x="292" y="126"/>
                  </a:cubicBezTo>
                  <a:cubicBezTo>
                    <a:pt x="290" y="128"/>
                    <a:pt x="287" y="128"/>
                    <a:pt x="284" y="128"/>
                  </a:cubicBezTo>
                  <a:cubicBezTo>
                    <a:pt x="282" y="128"/>
                    <a:pt x="280" y="127"/>
                    <a:pt x="279" y="129"/>
                  </a:cubicBezTo>
                  <a:cubicBezTo>
                    <a:pt x="278" y="131"/>
                    <a:pt x="280" y="134"/>
                    <a:pt x="280" y="136"/>
                  </a:cubicBezTo>
                  <a:cubicBezTo>
                    <a:pt x="282" y="141"/>
                    <a:pt x="285" y="144"/>
                    <a:pt x="290" y="145"/>
                  </a:cubicBezTo>
                  <a:cubicBezTo>
                    <a:pt x="292" y="151"/>
                    <a:pt x="286" y="152"/>
                    <a:pt x="282" y="154"/>
                  </a:cubicBezTo>
                  <a:cubicBezTo>
                    <a:pt x="278" y="156"/>
                    <a:pt x="275" y="158"/>
                    <a:pt x="271" y="157"/>
                  </a:cubicBezTo>
                  <a:cubicBezTo>
                    <a:pt x="269" y="156"/>
                    <a:pt x="268" y="155"/>
                    <a:pt x="266" y="155"/>
                  </a:cubicBezTo>
                  <a:cubicBezTo>
                    <a:pt x="263" y="155"/>
                    <a:pt x="262" y="156"/>
                    <a:pt x="259" y="157"/>
                  </a:cubicBezTo>
                  <a:cubicBezTo>
                    <a:pt x="255" y="159"/>
                    <a:pt x="249" y="159"/>
                    <a:pt x="245" y="157"/>
                  </a:cubicBezTo>
                  <a:cubicBezTo>
                    <a:pt x="237" y="152"/>
                    <a:pt x="224" y="155"/>
                    <a:pt x="219" y="148"/>
                  </a:cubicBezTo>
                  <a:cubicBezTo>
                    <a:pt x="218" y="147"/>
                    <a:pt x="217" y="145"/>
                    <a:pt x="216" y="143"/>
                  </a:cubicBezTo>
                  <a:cubicBezTo>
                    <a:pt x="214" y="142"/>
                    <a:pt x="211" y="141"/>
                    <a:pt x="210" y="138"/>
                  </a:cubicBezTo>
                  <a:cubicBezTo>
                    <a:pt x="210" y="136"/>
                    <a:pt x="210" y="133"/>
                    <a:pt x="210" y="131"/>
                  </a:cubicBezTo>
                  <a:cubicBezTo>
                    <a:pt x="210" y="129"/>
                    <a:pt x="209" y="127"/>
                    <a:pt x="209" y="124"/>
                  </a:cubicBezTo>
                  <a:cubicBezTo>
                    <a:pt x="205" y="122"/>
                    <a:pt x="192" y="122"/>
                    <a:pt x="188" y="126"/>
                  </a:cubicBezTo>
                  <a:cubicBezTo>
                    <a:pt x="185" y="128"/>
                    <a:pt x="182" y="130"/>
                    <a:pt x="179" y="132"/>
                  </a:cubicBezTo>
                  <a:cubicBezTo>
                    <a:pt x="177" y="136"/>
                    <a:pt x="177" y="142"/>
                    <a:pt x="179" y="146"/>
                  </a:cubicBezTo>
                  <a:cubicBezTo>
                    <a:pt x="181" y="150"/>
                    <a:pt x="180" y="154"/>
                    <a:pt x="182" y="158"/>
                  </a:cubicBezTo>
                  <a:cubicBezTo>
                    <a:pt x="183" y="160"/>
                    <a:pt x="184" y="161"/>
                    <a:pt x="185" y="163"/>
                  </a:cubicBezTo>
                  <a:cubicBezTo>
                    <a:pt x="188" y="168"/>
                    <a:pt x="190" y="174"/>
                    <a:pt x="190" y="179"/>
                  </a:cubicBezTo>
                  <a:cubicBezTo>
                    <a:pt x="191" y="186"/>
                    <a:pt x="192" y="194"/>
                    <a:pt x="193" y="202"/>
                  </a:cubicBezTo>
                  <a:cubicBezTo>
                    <a:pt x="193" y="205"/>
                    <a:pt x="193" y="207"/>
                    <a:pt x="192" y="208"/>
                  </a:cubicBezTo>
                  <a:cubicBezTo>
                    <a:pt x="192" y="207"/>
                    <a:pt x="188" y="210"/>
                    <a:pt x="189" y="210"/>
                  </a:cubicBezTo>
                  <a:cubicBezTo>
                    <a:pt x="188" y="210"/>
                    <a:pt x="187" y="211"/>
                    <a:pt x="186" y="211"/>
                  </a:cubicBezTo>
                  <a:cubicBezTo>
                    <a:pt x="184" y="211"/>
                    <a:pt x="183" y="211"/>
                    <a:pt x="182" y="211"/>
                  </a:cubicBezTo>
                  <a:cubicBezTo>
                    <a:pt x="182" y="211"/>
                    <a:pt x="179" y="213"/>
                    <a:pt x="180" y="213"/>
                  </a:cubicBezTo>
                  <a:cubicBezTo>
                    <a:pt x="177" y="213"/>
                    <a:pt x="179" y="212"/>
                    <a:pt x="176" y="211"/>
                  </a:cubicBezTo>
                  <a:cubicBezTo>
                    <a:pt x="175" y="211"/>
                    <a:pt x="171" y="211"/>
                    <a:pt x="171" y="211"/>
                  </a:cubicBezTo>
                  <a:cubicBezTo>
                    <a:pt x="169" y="211"/>
                    <a:pt x="169" y="213"/>
                    <a:pt x="168" y="213"/>
                  </a:cubicBezTo>
                  <a:cubicBezTo>
                    <a:pt x="167" y="214"/>
                    <a:pt x="166" y="213"/>
                    <a:pt x="165" y="214"/>
                  </a:cubicBezTo>
                  <a:cubicBezTo>
                    <a:pt x="164" y="214"/>
                    <a:pt x="164" y="215"/>
                    <a:pt x="164" y="215"/>
                  </a:cubicBezTo>
                  <a:cubicBezTo>
                    <a:pt x="162" y="216"/>
                    <a:pt x="161" y="216"/>
                    <a:pt x="160" y="216"/>
                  </a:cubicBezTo>
                  <a:cubicBezTo>
                    <a:pt x="158" y="216"/>
                    <a:pt x="155" y="216"/>
                    <a:pt x="153" y="216"/>
                  </a:cubicBezTo>
                  <a:cubicBezTo>
                    <a:pt x="149" y="215"/>
                    <a:pt x="144" y="210"/>
                    <a:pt x="141" y="214"/>
                  </a:cubicBezTo>
                  <a:cubicBezTo>
                    <a:pt x="138" y="217"/>
                    <a:pt x="140" y="218"/>
                    <a:pt x="137" y="219"/>
                  </a:cubicBezTo>
                  <a:cubicBezTo>
                    <a:pt x="135" y="220"/>
                    <a:pt x="131" y="219"/>
                    <a:pt x="129" y="219"/>
                  </a:cubicBezTo>
                  <a:cubicBezTo>
                    <a:pt x="122" y="219"/>
                    <a:pt x="120" y="217"/>
                    <a:pt x="118" y="210"/>
                  </a:cubicBezTo>
                  <a:cubicBezTo>
                    <a:pt x="117" y="205"/>
                    <a:pt x="115" y="203"/>
                    <a:pt x="110" y="201"/>
                  </a:cubicBezTo>
                  <a:cubicBezTo>
                    <a:pt x="107" y="199"/>
                    <a:pt x="101" y="201"/>
                    <a:pt x="100" y="198"/>
                  </a:cubicBezTo>
                  <a:cubicBezTo>
                    <a:pt x="98" y="200"/>
                    <a:pt x="98" y="202"/>
                    <a:pt x="95" y="203"/>
                  </a:cubicBezTo>
                  <a:cubicBezTo>
                    <a:pt x="94" y="203"/>
                    <a:pt x="92" y="202"/>
                    <a:pt x="91" y="203"/>
                  </a:cubicBezTo>
                  <a:cubicBezTo>
                    <a:pt x="89" y="203"/>
                    <a:pt x="88" y="205"/>
                    <a:pt x="86" y="206"/>
                  </a:cubicBezTo>
                  <a:cubicBezTo>
                    <a:pt x="85" y="206"/>
                    <a:pt x="84" y="206"/>
                    <a:pt x="83" y="206"/>
                  </a:cubicBezTo>
                  <a:cubicBezTo>
                    <a:pt x="82" y="206"/>
                    <a:pt x="82" y="207"/>
                    <a:pt x="81" y="208"/>
                  </a:cubicBezTo>
                  <a:cubicBezTo>
                    <a:pt x="80" y="209"/>
                    <a:pt x="80" y="210"/>
                    <a:pt x="78" y="210"/>
                  </a:cubicBezTo>
                  <a:cubicBezTo>
                    <a:pt x="76" y="212"/>
                    <a:pt x="74" y="211"/>
                    <a:pt x="71" y="210"/>
                  </a:cubicBezTo>
                  <a:cubicBezTo>
                    <a:pt x="69" y="210"/>
                    <a:pt x="64" y="209"/>
                    <a:pt x="62" y="210"/>
                  </a:cubicBezTo>
                  <a:cubicBezTo>
                    <a:pt x="59" y="211"/>
                    <a:pt x="60" y="215"/>
                    <a:pt x="56" y="213"/>
                  </a:cubicBezTo>
                  <a:cubicBezTo>
                    <a:pt x="53" y="212"/>
                    <a:pt x="54" y="209"/>
                    <a:pt x="50" y="208"/>
                  </a:cubicBezTo>
                  <a:cubicBezTo>
                    <a:pt x="46" y="208"/>
                    <a:pt x="44" y="209"/>
                    <a:pt x="41" y="211"/>
                  </a:cubicBezTo>
                  <a:cubicBezTo>
                    <a:pt x="41" y="211"/>
                    <a:pt x="40" y="211"/>
                    <a:pt x="39" y="211"/>
                  </a:cubicBezTo>
                  <a:cubicBezTo>
                    <a:pt x="39" y="211"/>
                    <a:pt x="38" y="212"/>
                    <a:pt x="38" y="213"/>
                  </a:cubicBezTo>
                  <a:cubicBezTo>
                    <a:pt x="36" y="213"/>
                    <a:pt x="35" y="213"/>
                    <a:pt x="33" y="213"/>
                  </a:cubicBezTo>
                  <a:cubicBezTo>
                    <a:pt x="31" y="213"/>
                    <a:pt x="27" y="213"/>
                    <a:pt x="26" y="214"/>
                  </a:cubicBezTo>
                  <a:cubicBezTo>
                    <a:pt x="23" y="215"/>
                    <a:pt x="21" y="218"/>
                    <a:pt x="20" y="220"/>
                  </a:cubicBezTo>
                  <a:cubicBezTo>
                    <a:pt x="20" y="221"/>
                    <a:pt x="19" y="221"/>
                    <a:pt x="18" y="222"/>
                  </a:cubicBezTo>
                  <a:cubicBezTo>
                    <a:pt x="18" y="222"/>
                    <a:pt x="17" y="222"/>
                    <a:pt x="17" y="222"/>
                  </a:cubicBezTo>
                  <a:cubicBezTo>
                    <a:pt x="16" y="223"/>
                    <a:pt x="14" y="224"/>
                    <a:pt x="13" y="224"/>
                  </a:cubicBezTo>
                  <a:cubicBezTo>
                    <a:pt x="11" y="225"/>
                    <a:pt x="9" y="232"/>
                    <a:pt x="8" y="234"/>
                  </a:cubicBezTo>
                  <a:cubicBezTo>
                    <a:pt x="8" y="237"/>
                    <a:pt x="8" y="237"/>
                    <a:pt x="10" y="238"/>
                  </a:cubicBezTo>
                  <a:cubicBezTo>
                    <a:pt x="10" y="238"/>
                    <a:pt x="11" y="237"/>
                    <a:pt x="12" y="237"/>
                  </a:cubicBezTo>
                  <a:cubicBezTo>
                    <a:pt x="14" y="238"/>
                    <a:pt x="14" y="240"/>
                    <a:pt x="16" y="240"/>
                  </a:cubicBezTo>
                  <a:cubicBezTo>
                    <a:pt x="17" y="240"/>
                    <a:pt x="18" y="240"/>
                    <a:pt x="19" y="240"/>
                  </a:cubicBezTo>
                  <a:cubicBezTo>
                    <a:pt x="21" y="241"/>
                    <a:pt x="23" y="241"/>
                    <a:pt x="24" y="242"/>
                  </a:cubicBezTo>
                  <a:cubicBezTo>
                    <a:pt x="28" y="243"/>
                    <a:pt x="27" y="241"/>
                    <a:pt x="31" y="240"/>
                  </a:cubicBezTo>
                  <a:cubicBezTo>
                    <a:pt x="34" y="239"/>
                    <a:pt x="38" y="242"/>
                    <a:pt x="36" y="246"/>
                  </a:cubicBezTo>
                  <a:cubicBezTo>
                    <a:pt x="32" y="247"/>
                    <a:pt x="28" y="244"/>
                    <a:pt x="23" y="245"/>
                  </a:cubicBezTo>
                  <a:cubicBezTo>
                    <a:pt x="21" y="249"/>
                    <a:pt x="30" y="249"/>
                    <a:pt x="32" y="250"/>
                  </a:cubicBezTo>
                  <a:cubicBezTo>
                    <a:pt x="34" y="251"/>
                    <a:pt x="35" y="252"/>
                    <a:pt x="35" y="254"/>
                  </a:cubicBezTo>
                  <a:cubicBezTo>
                    <a:pt x="34" y="256"/>
                    <a:pt x="33" y="255"/>
                    <a:pt x="31" y="255"/>
                  </a:cubicBezTo>
                  <a:cubicBezTo>
                    <a:pt x="28" y="256"/>
                    <a:pt x="26" y="255"/>
                    <a:pt x="23" y="255"/>
                  </a:cubicBezTo>
                  <a:cubicBezTo>
                    <a:pt x="19" y="256"/>
                    <a:pt x="16" y="254"/>
                    <a:pt x="11" y="254"/>
                  </a:cubicBezTo>
                  <a:cubicBezTo>
                    <a:pt x="9" y="254"/>
                    <a:pt x="4" y="253"/>
                    <a:pt x="2" y="254"/>
                  </a:cubicBezTo>
                  <a:cubicBezTo>
                    <a:pt x="1" y="254"/>
                    <a:pt x="0" y="254"/>
                    <a:pt x="0" y="257"/>
                  </a:cubicBezTo>
                  <a:cubicBezTo>
                    <a:pt x="1" y="260"/>
                    <a:pt x="7" y="260"/>
                    <a:pt x="10" y="262"/>
                  </a:cubicBezTo>
                  <a:cubicBezTo>
                    <a:pt x="12" y="264"/>
                    <a:pt x="14" y="266"/>
                    <a:pt x="17" y="266"/>
                  </a:cubicBezTo>
                  <a:cubicBezTo>
                    <a:pt x="22" y="268"/>
                    <a:pt x="27" y="271"/>
                    <a:pt x="33" y="272"/>
                  </a:cubicBezTo>
                  <a:cubicBezTo>
                    <a:pt x="33" y="273"/>
                    <a:pt x="33" y="276"/>
                    <a:pt x="33" y="277"/>
                  </a:cubicBezTo>
                  <a:cubicBezTo>
                    <a:pt x="32" y="279"/>
                    <a:pt x="31" y="279"/>
                    <a:pt x="30" y="281"/>
                  </a:cubicBezTo>
                  <a:cubicBezTo>
                    <a:pt x="28" y="286"/>
                    <a:pt x="33" y="287"/>
                    <a:pt x="36" y="288"/>
                  </a:cubicBezTo>
                  <a:cubicBezTo>
                    <a:pt x="37" y="288"/>
                    <a:pt x="39" y="288"/>
                    <a:pt x="40" y="288"/>
                  </a:cubicBezTo>
                  <a:cubicBezTo>
                    <a:pt x="43" y="287"/>
                    <a:pt x="41" y="285"/>
                    <a:pt x="43" y="283"/>
                  </a:cubicBezTo>
                  <a:cubicBezTo>
                    <a:pt x="45" y="281"/>
                    <a:pt x="47" y="283"/>
                    <a:pt x="49" y="285"/>
                  </a:cubicBezTo>
                  <a:cubicBezTo>
                    <a:pt x="49" y="284"/>
                    <a:pt x="51" y="283"/>
                    <a:pt x="52" y="283"/>
                  </a:cubicBezTo>
                  <a:cubicBezTo>
                    <a:pt x="52" y="280"/>
                    <a:pt x="57" y="279"/>
                    <a:pt x="58" y="281"/>
                  </a:cubicBezTo>
                  <a:cubicBezTo>
                    <a:pt x="60" y="282"/>
                    <a:pt x="58" y="284"/>
                    <a:pt x="60" y="286"/>
                  </a:cubicBezTo>
                  <a:cubicBezTo>
                    <a:pt x="62" y="286"/>
                    <a:pt x="63" y="286"/>
                    <a:pt x="65" y="286"/>
                  </a:cubicBezTo>
                  <a:cubicBezTo>
                    <a:pt x="67" y="287"/>
                    <a:pt x="68" y="288"/>
                    <a:pt x="71" y="289"/>
                  </a:cubicBezTo>
                  <a:cubicBezTo>
                    <a:pt x="73" y="289"/>
                    <a:pt x="75" y="289"/>
                    <a:pt x="77" y="289"/>
                  </a:cubicBezTo>
                  <a:cubicBezTo>
                    <a:pt x="83" y="288"/>
                    <a:pt x="81" y="290"/>
                    <a:pt x="84" y="294"/>
                  </a:cubicBezTo>
                  <a:cubicBezTo>
                    <a:pt x="85" y="297"/>
                    <a:pt x="84" y="295"/>
                    <a:pt x="87" y="296"/>
                  </a:cubicBezTo>
                  <a:cubicBezTo>
                    <a:pt x="89" y="297"/>
                    <a:pt x="88" y="297"/>
                    <a:pt x="90" y="299"/>
                  </a:cubicBezTo>
                  <a:cubicBezTo>
                    <a:pt x="93" y="301"/>
                    <a:pt x="93" y="301"/>
                    <a:pt x="96" y="302"/>
                  </a:cubicBezTo>
                  <a:cubicBezTo>
                    <a:pt x="100" y="302"/>
                    <a:pt x="98" y="302"/>
                    <a:pt x="101" y="305"/>
                  </a:cubicBezTo>
                  <a:cubicBezTo>
                    <a:pt x="104" y="308"/>
                    <a:pt x="108" y="306"/>
                    <a:pt x="112" y="305"/>
                  </a:cubicBezTo>
                  <a:cubicBezTo>
                    <a:pt x="114" y="303"/>
                    <a:pt x="118" y="303"/>
                    <a:pt x="120" y="304"/>
                  </a:cubicBezTo>
                  <a:cubicBezTo>
                    <a:pt x="123" y="309"/>
                    <a:pt x="113" y="305"/>
                    <a:pt x="114" y="310"/>
                  </a:cubicBezTo>
                  <a:cubicBezTo>
                    <a:pt x="114" y="313"/>
                    <a:pt x="126" y="312"/>
                    <a:pt x="129" y="312"/>
                  </a:cubicBezTo>
                  <a:cubicBezTo>
                    <a:pt x="132" y="312"/>
                    <a:pt x="136" y="311"/>
                    <a:pt x="136" y="315"/>
                  </a:cubicBezTo>
                  <a:cubicBezTo>
                    <a:pt x="136" y="317"/>
                    <a:pt x="134" y="319"/>
                    <a:pt x="133" y="320"/>
                  </a:cubicBezTo>
                  <a:cubicBezTo>
                    <a:pt x="132" y="321"/>
                    <a:pt x="131" y="325"/>
                    <a:pt x="132" y="326"/>
                  </a:cubicBezTo>
                  <a:cubicBezTo>
                    <a:pt x="132" y="331"/>
                    <a:pt x="139" y="327"/>
                    <a:pt x="142" y="328"/>
                  </a:cubicBezTo>
                  <a:cubicBezTo>
                    <a:pt x="145" y="329"/>
                    <a:pt x="147" y="333"/>
                    <a:pt x="148" y="335"/>
                  </a:cubicBezTo>
                  <a:cubicBezTo>
                    <a:pt x="148" y="337"/>
                    <a:pt x="147" y="340"/>
                    <a:pt x="147" y="341"/>
                  </a:cubicBezTo>
                  <a:cubicBezTo>
                    <a:pt x="148" y="343"/>
                    <a:pt x="151" y="343"/>
                    <a:pt x="153" y="344"/>
                  </a:cubicBezTo>
                  <a:cubicBezTo>
                    <a:pt x="155" y="346"/>
                    <a:pt x="155" y="346"/>
                    <a:pt x="156" y="349"/>
                  </a:cubicBezTo>
                  <a:cubicBezTo>
                    <a:pt x="157" y="350"/>
                    <a:pt x="158" y="354"/>
                    <a:pt x="157" y="355"/>
                  </a:cubicBezTo>
                  <a:cubicBezTo>
                    <a:pt x="156" y="355"/>
                    <a:pt x="154" y="356"/>
                    <a:pt x="153" y="355"/>
                  </a:cubicBezTo>
                  <a:cubicBezTo>
                    <a:pt x="152" y="355"/>
                    <a:pt x="150" y="351"/>
                    <a:pt x="149" y="350"/>
                  </a:cubicBezTo>
                  <a:cubicBezTo>
                    <a:pt x="148" y="349"/>
                    <a:pt x="148" y="347"/>
                    <a:pt x="145" y="347"/>
                  </a:cubicBezTo>
                  <a:cubicBezTo>
                    <a:pt x="142" y="347"/>
                    <a:pt x="141" y="351"/>
                    <a:pt x="142" y="353"/>
                  </a:cubicBezTo>
                  <a:cubicBezTo>
                    <a:pt x="143" y="355"/>
                    <a:pt x="146" y="356"/>
                    <a:pt x="147" y="358"/>
                  </a:cubicBezTo>
                  <a:cubicBezTo>
                    <a:pt x="149" y="360"/>
                    <a:pt x="150" y="362"/>
                    <a:pt x="152" y="364"/>
                  </a:cubicBezTo>
                  <a:cubicBezTo>
                    <a:pt x="156" y="368"/>
                    <a:pt x="161" y="373"/>
                    <a:pt x="161" y="379"/>
                  </a:cubicBezTo>
                  <a:cubicBezTo>
                    <a:pt x="165" y="379"/>
                    <a:pt x="165" y="385"/>
                    <a:pt x="167" y="387"/>
                  </a:cubicBezTo>
                  <a:cubicBezTo>
                    <a:pt x="169" y="388"/>
                    <a:pt x="171" y="388"/>
                    <a:pt x="172" y="389"/>
                  </a:cubicBezTo>
                  <a:cubicBezTo>
                    <a:pt x="174" y="390"/>
                    <a:pt x="174" y="393"/>
                    <a:pt x="175" y="395"/>
                  </a:cubicBezTo>
                  <a:cubicBezTo>
                    <a:pt x="176" y="396"/>
                    <a:pt x="179" y="400"/>
                    <a:pt x="180" y="400"/>
                  </a:cubicBezTo>
                  <a:cubicBezTo>
                    <a:pt x="182" y="401"/>
                    <a:pt x="184" y="401"/>
                    <a:pt x="187" y="401"/>
                  </a:cubicBezTo>
                  <a:cubicBezTo>
                    <a:pt x="191" y="401"/>
                    <a:pt x="192" y="403"/>
                    <a:pt x="196" y="403"/>
                  </a:cubicBezTo>
                  <a:cubicBezTo>
                    <a:pt x="199" y="403"/>
                    <a:pt x="199" y="403"/>
                    <a:pt x="201" y="404"/>
                  </a:cubicBezTo>
                  <a:cubicBezTo>
                    <a:pt x="202" y="405"/>
                    <a:pt x="203" y="407"/>
                    <a:pt x="205" y="408"/>
                  </a:cubicBezTo>
                  <a:cubicBezTo>
                    <a:pt x="207" y="408"/>
                    <a:pt x="207" y="407"/>
                    <a:pt x="208" y="406"/>
                  </a:cubicBezTo>
                  <a:cubicBezTo>
                    <a:pt x="210" y="406"/>
                    <a:pt x="212" y="405"/>
                    <a:pt x="214" y="405"/>
                  </a:cubicBezTo>
                  <a:cubicBezTo>
                    <a:pt x="218" y="405"/>
                    <a:pt x="222" y="405"/>
                    <a:pt x="226" y="405"/>
                  </a:cubicBezTo>
                  <a:cubicBezTo>
                    <a:pt x="228" y="405"/>
                    <a:pt x="231" y="404"/>
                    <a:pt x="231" y="406"/>
                  </a:cubicBezTo>
                  <a:cubicBezTo>
                    <a:pt x="232" y="409"/>
                    <a:pt x="226" y="409"/>
                    <a:pt x="224" y="409"/>
                  </a:cubicBezTo>
                  <a:cubicBezTo>
                    <a:pt x="221" y="409"/>
                    <a:pt x="218" y="409"/>
                    <a:pt x="215" y="409"/>
                  </a:cubicBezTo>
                  <a:cubicBezTo>
                    <a:pt x="211" y="409"/>
                    <a:pt x="208" y="407"/>
                    <a:pt x="208" y="412"/>
                  </a:cubicBezTo>
                  <a:cubicBezTo>
                    <a:pt x="208" y="414"/>
                    <a:pt x="208" y="417"/>
                    <a:pt x="209" y="419"/>
                  </a:cubicBezTo>
                  <a:cubicBezTo>
                    <a:pt x="210" y="420"/>
                    <a:pt x="211" y="421"/>
                    <a:pt x="212" y="422"/>
                  </a:cubicBezTo>
                  <a:cubicBezTo>
                    <a:pt x="214" y="426"/>
                    <a:pt x="212" y="431"/>
                    <a:pt x="211" y="434"/>
                  </a:cubicBezTo>
                  <a:cubicBezTo>
                    <a:pt x="211" y="436"/>
                    <a:pt x="211" y="443"/>
                    <a:pt x="208" y="443"/>
                  </a:cubicBezTo>
                  <a:cubicBezTo>
                    <a:pt x="208" y="442"/>
                    <a:pt x="204" y="438"/>
                    <a:pt x="204" y="438"/>
                  </a:cubicBezTo>
                  <a:cubicBezTo>
                    <a:pt x="203" y="437"/>
                    <a:pt x="202" y="436"/>
                    <a:pt x="202" y="434"/>
                  </a:cubicBezTo>
                  <a:cubicBezTo>
                    <a:pt x="199" y="430"/>
                    <a:pt x="198" y="432"/>
                    <a:pt x="194" y="430"/>
                  </a:cubicBezTo>
                  <a:cubicBezTo>
                    <a:pt x="189" y="428"/>
                    <a:pt x="193" y="424"/>
                    <a:pt x="189" y="422"/>
                  </a:cubicBezTo>
                  <a:cubicBezTo>
                    <a:pt x="186" y="424"/>
                    <a:pt x="190" y="429"/>
                    <a:pt x="192" y="431"/>
                  </a:cubicBezTo>
                  <a:cubicBezTo>
                    <a:pt x="193" y="433"/>
                    <a:pt x="193" y="434"/>
                    <a:pt x="194" y="435"/>
                  </a:cubicBezTo>
                  <a:cubicBezTo>
                    <a:pt x="196" y="437"/>
                    <a:pt x="196" y="437"/>
                    <a:pt x="198" y="438"/>
                  </a:cubicBezTo>
                  <a:cubicBezTo>
                    <a:pt x="202" y="441"/>
                    <a:pt x="201" y="446"/>
                    <a:pt x="203" y="450"/>
                  </a:cubicBezTo>
                  <a:cubicBezTo>
                    <a:pt x="205" y="454"/>
                    <a:pt x="206" y="458"/>
                    <a:pt x="210" y="460"/>
                  </a:cubicBezTo>
                  <a:cubicBezTo>
                    <a:pt x="212" y="461"/>
                    <a:pt x="214" y="463"/>
                    <a:pt x="216" y="464"/>
                  </a:cubicBezTo>
                  <a:cubicBezTo>
                    <a:pt x="217" y="465"/>
                    <a:pt x="220" y="467"/>
                    <a:pt x="221" y="468"/>
                  </a:cubicBezTo>
                  <a:cubicBezTo>
                    <a:pt x="223" y="470"/>
                    <a:pt x="222" y="473"/>
                    <a:pt x="223" y="475"/>
                  </a:cubicBezTo>
                  <a:cubicBezTo>
                    <a:pt x="225" y="480"/>
                    <a:pt x="227" y="485"/>
                    <a:pt x="229" y="490"/>
                  </a:cubicBezTo>
                  <a:cubicBezTo>
                    <a:pt x="231" y="494"/>
                    <a:pt x="230" y="499"/>
                    <a:pt x="231" y="503"/>
                  </a:cubicBezTo>
                  <a:cubicBezTo>
                    <a:pt x="232" y="505"/>
                    <a:pt x="233" y="506"/>
                    <a:pt x="233" y="507"/>
                  </a:cubicBezTo>
                  <a:cubicBezTo>
                    <a:pt x="234" y="509"/>
                    <a:pt x="234" y="511"/>
                    <a:pt x="234" y="514"/>
                  </a:cubicBezTo>
                  <a:cubicBezTo>
                    <a:pt x="234" y="510"/>
                    <a:pt x="232" y="505"/>
                    <a:pt x="229" y="502"/>
                  </a:cubicBezTo>
                  <a:cubicBezTo>
                    <a:pt x="227" y="498"/>
                    <a:pt x="225" y="494"/>
                    <a:pt x="223" y="491"/>
                  </a:cubicBezTo>
                  <a:cubicBezTo>
                    <a:pt x="221" y="487"/>
                    <a:pt x="221" y="482"/>
                    <a:pt x="219" y="479"/>
                  </a:cubicBezTo>
                  <a:cubicBezTo>
                    <a:pt x="216" y="476"/>
                    <a:pt x="213" y="472"/>
                    <a:pt x="210" y="470"/>
                  </a:cubicBezTo>
                  <a:cubicBezTo>
                    <a:pt x="210" y="470"/>
                    <a:pt x="206" y="467"/>
                    <a:pt x="206" y="467"/>
                  </a:cubicBezTo>
                  <a:cubicBezTo>
                    <a:pt x="204" y="467"/>
                    <a:pt x="203" y="472"/>
                    <a:pt x="203" y="474"/>
                  </a:cubicBezTo>
                  <a:cubicBezTo>
                    <a:pt x="202" y="479"/>
                    <a:pt x="203" y="485"/>
                    <a:pt x="203" y="491"/>
                  </a:cubicBezTo>
                  <a:cubicBezTo>
                    <a:pt x="203" y="494"/>
                    <a:pt x="203" y="497"/>
                    <a:pt x="203" y="500"/>
                  </a:cubicBezTo>
                  <a:cubicBezTo>
                    <a:pt x="202" y="502"/>
                    <a:pt x="201" y="503"/>
                    <a:pt x="200" y="505"/>
                  </a:cubicBezTo>
                  <a:cubicBezTo>
                    <a:pt x="199" y="508"/>
                    <a:pt x="200" y="512"/>
                    <a:pt x="199" y="516"/>
                  </a:cubicBezTo>
                  <a:cubicBezTo>
                    <a:pt x="198" y="519"/>
                    <a:pt x="197" y="521"/>
                    <a:pt x="196" y="524"/>
                  </a:cubicBezTo>
                  <a:cubicBezTo>
                    <a:pt x="196" y="528"/>
                    <a:pt x="195" y="532"/>
                    <a:pt x="194" y="535"/>
                  </a:cubicBezTo>
                  <a:cubicBezTo>
                    <a:pt x="194" y="538"/>
                    <a:pt x="194" y="541"/>
                    <a:pt x="194" y="543"/>
                  </a:cubicBezTo>
                  <a:cubicBezTo>
                    <a:pt x="193" y="546"/>
                    <a:pt x="192" y="548"/>
                    <a:pt x="191" y="551"/>
                  </a:cubicBezTo>
                  <a:cubicBezTo>
                    <a:pt x="191" y="556"/>
                    <a:pt x="190" y="560"/>
                    <a:pt x="189" y="565"/>
                  </a:cubicBezTo>
                  <a:cubicBezTo>
                    <a:pt x="189" y="567"/>
                    <a:pt x="188" y="570"/>
                    <a:pt x="188" y="573"/>
                  </a:cubicBezTo>
                  <a:cubicBezTo>
                    <a:pt x="187" y="577"/>
                    <a:pt x="186" y="576"/>
                    <a:pt x="184" y="579"/>
                  </a:cubicBezTo>
                  <a:cubicBezTo>
                    <a:pt x="181" y="583"/>
                    <a:pt x="182" y="589"/>
                    <a:pt x="182" y="594"/>
                  </a:cubicBezTo>
                  <a:cubicBezTo>
                    <a:pt x="182" y="600"/>
                    <a:pt x="182" y="606"/>
                    <a:pt x="181" y="610"/>
                  </a:cubicBezTo>
                  <a:cubicBezTo>
                    <a:pt x="179" y="617"/>
                    <a:pt x="176" y="619"/>
                    <a:pt x="170" y="623"/>
                  </a:cubicBezTo>
                  <a:cubicBezTo>
                    <a:pt x="168" y="624"/>
                    <a:pt x="166" y="626"/>
                    <a:pt x="165" y="627"/>
                  </a:cubicBezTo>
                  <a:cubicBezTo>
                    <a:pt x="164" y="629"/>
                    <a:pt x="164" y="633"/>
                    <a:pt x="164" y="635"/>
                  </a:cubicBezTo>
                  <a:cubicBezTo>
                    <a:pt x="165" y="636"/>
                    <a:pt x="166" y="637"/>
                    <a:pt x="166" y="637"/>
                  </a:cubicBezTo>
                  <a:cubicBezTo>
                    <a:pt x="168" y="637"/>
                    <a:pt x="169" y="638"/>
                    <a:pt x="169" y="638"/>
                  </a:cubicBezTo>
                  <a:cubicBezTo>
                    <a:pt x="170" y="639"/>
                    <a:pt x="171" y="639"/>
                    <a:pt x="172" y="640"/>
                  </a:cubicBezTo>
                  <a:cubicBezTo>
                    <a:pt x="173" y="640"/>
                    <a:pt x="174" y="640"/>
                    <a:pt x="175" y="640"/>
                  </a:cubicBezTo>
                  <a:cubicBezTo>
                    <a:pt x="176" y="641"/>
                    <a:pt x="178" y="640"/>
                    <a:pt x="179" y="642"/>
                  </a:cubicBezTo>
                  <a:cubicBezTo>
                    <a:pt x="182" y="646"/>
                    <a:pt x="176" y="649"/>
                    <a:pt x="177" y="653"/>
                  </a:cubicBezTo>
                  <a:cubicBezTo>
                    <a:pt x="178" y="657"/>
                    <a:pt x="180" y="658"/>
                    <a:pt x="182" y="656"/>
                  </a:cubicBezTo>
                  <a:cubicBezTo>
                    <a:pt x="184" y="655"/>
                    <a:pt x="185" y="652"/>
                    <a:pt x="188" y="653"/>
                  </a:cubicBezTo>
                  <a:cubicBezTo>
                    <a:pt x="188" y="657"/>
                    <a:pt x="194" y="659"/>
                    <a:pt x="197" y="661"/>
                  </a:cubicBezTo>
                  <a:cubicBezTo>
                    <a:pt x="199" y="663"/>
                    <a:pt x="201" y="664"/>
                    <a:pt x="203" y="665"/>
                  </a:cubicBezTo>
                  <a:cubicBezTo>
                    <a:pt x="210" y="668"/>
                    <a:pt x="217" y="665"/>
                    <a:pt x="219" y="674"/>
                  </a:cubicBezTo>
                  <a:cubicBezTo>
                    <a:pt x="225" y="675"/>
                    <a:pt x="230" y="677"/>
                    <a:pt x="235" y="677"/>
                  </a:cubicBezTo>
                  <a:cubicBezTo>
                    <a:pt x="238" y="678"/>
                    <a:pt x="242" y="676"/>
                    <a:pt x="244" y="677"/>
                  </a:cubicBezTo>
                  <a:cubicBezTo>
                    <a:pt x="245" y="677"/>
                    <a:pt x="247" y="679"/>
                    <a:pt x="247" y="680"/>
                  </a:cubicBezTo>
                  <a:cubicBezTo>
                    <a:pt x="249" y="681"/>
                    <a:pt x="251" y="682"/>
                    <a:pt x="253" y="683"/>
                  </a:cubicBezTo>
                  <a:cubicBezTo>
                    <a:pt x="254" y="684"/>
                    <a:pt x="256" y="685"/>
                    <a:pt x="258" y="685"/>
                  </a:cubicBezTo>
                  <a:cubicBezTo>
                    <a:pt x="260" y="685"/>
                    <a:pt x="262" y="684"/>
                    <a:pt x="265" y="684"/>
                  </a:cubicBezTo>
                  <a:cubicBezTo>
                    <a:pt x="273" y="684"/>
                    <a:pt x="282" y="685"/>
                    <a:pt x="290" y="684"/>
                  </a:cubicBezTo>
                  <a:cubicBezTo>
                    <a:pt x="292" y="684"/>
                    <a:pt x="293" y="685"/>
                    <a:pt x="294" y="683"/>
                  </a:cubicBezTo>
                  <a:cubicBezTo>
                    <a:pt x="295" y="682"/>
                    <a:pt x="294" y="681"/>
                    <a:pt x="295" y="680"/>
                  </a:cubicBezTo>
                  <a:cubicBezTo>
                    <a:pt x="295" y="678"/>
                    <a:pt x="296" y="678"/>
                    <a:pt x="296" y="677"/>
                  </a:cubicBezTo>
                  <a:cubicBezTo>
                    <a:pt x="297" y="676"/>
                    <a:pt x="297" y="674"/>
                    <a:pt x="297" y="672"/>
                  </a:cubicBezTo>
                  <a:cubicBezTo>
                    <a:pt x="300" y="673"/>
                    <a:pt x="302" y="675"/>
                    <a:pt x="305" y="675"/>
                  </a:cubicBezTo>
                  <a:cubicBezTo>
                    <a:pt x="309" y="676"/>
                    <a:pt x="313" y="679"/>
                    <a:pt x="318" y="680"/>
                  </a:cubicBezTo>
                  <a:cubicBezTo>
                    <a:pt x="320" y="680"/>
                    <a:pt x="322" y="680"/>
                    <a:pt x="324" y="681"/>
                  </a:cubicBezTo>
                  <a:cubicBezTo>
                    <a:pt x="327" y="682"/>
                    <a:pt x="328" y="683"/>
                    <a:pt x="330" y="684"/>
                  </a:cubicBezTo>
                  <a:cubicBezTo>
                    <a:pt x="333" y="685"/>
                    <a:pt x="336" y="687"/>
                    <a:pt x="337" y="690"/>
                  </a:cubicBezTo>
                  <a:cubicBezTo>
                    <a:pt x="337" y="690"/>
                    <a:pt x="337" y="690"/>
                    <a:pt x="337" y="690"/>
                  </a:cubicBezTo>
                  <a:cubicBezTo>
                    <a:pt x="338" y="690"/>
                    <a:pt x="338" y="689"/>
                    <a:pt x="338" y="689"/>
                  </a:cubicBezTo>
                  <a:cubicBezTo>
                    <a:pt x="339" y="689"/>
                    <a:pt x="339" y="688"/>
                    <a:pt x="339" y="688"/>
                  </a:cubicBezTo>
                  <a:cubicBezTo>
                    <a:pt x="340" y="686"/>
                    <a:pt x="340" y="685"/>
                    <a:pt x="342" y="684"/>
                  </a:cubicBezTo>
                  <a:cubicBezTo>
                    <a:pt x="342" y="684"/>
                    <a:pt x="343" y="685"/>
                    <a:pt x="344" y="685"/>
                  </a:cubicBezTo>
                  <a:cubicBezTo>
                    <a:pt x="345" y="686"/>
                    <a:pt x="346" y="686"/>
                    <a:pt x="346" y="687"/>
                  </a:cubicBezTo>
                  <a:cubicBezTo>
                    <a:pt x="348" y="688"/>
                    <a:pt x="349" y="687"/>
                    <a:pt x="349" y="687"/>
                  </a:cubicBezTo>
                  <a:cubicBezTo>
                    <a:pt x="350" y="688"/>
                    <a:pt x="351" y="688"/>
                    <a:pt x="352" y="688"/>
                  </a:cubicBezTo>
                  <a:cubicBezTo>
                    <a:pt x="353" y="689"/>
                    <a:pt x="355" y="689"/>
                    <a:pt x="356" y="689"/>
                  </a:cubicBezTo>
                  <a:cubicBezTo>
                    <a:pt x="358" y="690"/>
                    <a:pt x="360" y="692"/>
                    <a:pt x="362" y="693"/>
                  </a:cubicBezTo>
                  <a:cubicBezTo>
                    <a:pt x="363" y="693"/>
                    <a:pt x="363" y="693"/>
                    <a:pt x="364" y="693"/>
                  </a:cubicBezTo>
                  <a:cubicBezTo>
                    <a:pt x="365" y="693"/>
                    <a:pt x="366" y="694"/>
                    <a:pt x="367" y="694"/>
                  </a:cubicBezTo>
                  <a:cubicBezTo>
                    <a:pt x="368" y="695"/>
                    <a:pt x="370" y="695"/>
                    <a:pt x="371" y="697"/>
                  </a:cubicBezTo>
                  <a:cubicBezTo>
                    <a:pt x="372" y="698"/>
                    <a:pt x="372" y="699"/>
                    <a:pt x="372" y="700"/>
                  </a:cubicBezTo>
                  <a:cubicBezTo>
                    <a:pt x="372" y="701"/>
                    <a:pt x="372" y="702"/>
                    <a:pt x="373" y="703"/>
                  </a:cubicBezTo>
                  <a:cubicBezTo>
                    <a:pt x="373" y="705"/>
                    <a:pt x="374" y="707"/>
                    <a:pt x="373" y="709"/>
                  </a:cubicBezTo>
                  <a:cubicBezTo>
                    <a:pt x="373" y="710"/>
                    <a:pt x="373" y="710"/>
                    <a:pt x="372" y="710"/>
                  </a:cubicBezTo>
                  <a:cubicBezTo>
                    <a:pt x="372" y="710"/>
                    <a:pt x="372" y="710"/>
                    <a:pt x="372" y="710"/>
                  </a:cubicBezTo>
                  <a:cubicBezTo>
                    <a:pt x="374" y="711"/>
                    <a:pt x="374" y="712"/>
                    <a:pt x="376" y="711"/>
                  </a:cubicBezTo>
                  <a:cubicBezTo>
                    <a:pt x="378" y="711"/>
                    <a:pt x="378" y="710"/>
                    <a:pt x="380" y="709"/>
                  </a:cubicBezTo>
                  <a:cubicBezTo>
                    <a:pt x="380" y="709"/>
                    <a:pt x="381" y="709"/>
                    <a:pt x="381" y="709"/>
                  </a:cubicBezTo>
                  <a:cubicBezTo>
                    <a:pt x="382" y="708"/>
                    <a:pt x="382" y="708"/>
                    <a:pt x="382" y="707"/>
                  </a:cubicBezTo>
                  <a:cubicBezTo>
                    <a:pt x="383" y="707"/>
                    <a:pt x="384" y="706"/>
                    <a:pt x="385" y="706"/>
                  </a:cubicBezTo>
                  <a:cubicBezTo>
                    <a:pt x="390" y="705"/>
                    <a:pt x="397" y="708"/>
                    <a:pt x="402" y="709"/>
                  </a:cubicBezTo>
                  <a:cubicBezTo>
                    <a:pt x="407" y="710"/>
                    <a:pt x="408" y="707"/>
                    <a:pt x="412" y="705"/>
                  </a:cubicBezTo>
                  <a:cubicBezTo>
                    <a:pt x="416" y="704"/>
                    <a:pt x="418" y="703"/>
                    <a:pt x="422" y="703"/>
                  </a:cubicBezTo>
                  <a:cubicBezTo>
                    <a:pt x="427" y="703"/>
                    <a:pt x="432" y="703"/>
                    <a:pt x="437" y="704"/>
                  </a:cubicBezTo>
                  <a:cubicBezTo>
                    <a:pt x="439" y="704"/>
                    <a:pt x="440" y="705"/>
                    <a:pt x="442" y="706"/>
                  </a:cubicBezTo>
                  <a:cubicBezTo>
                    <a:pt x="441" y="703"/>
                    <a:pt x="439" y="702"/>
                    <a:pt x="436" y="699"/>
                  </a:cubicBezTo>
                  <a:cubicBezTo>
                    <a:pt x="431" y="695"/>
                    <a:pt x="431" y="690"/>
                    <a:pt x="431" y="685"/>
                  </a:cubicBezTo>
                  <a:cubicBezTo>
                    <a:pt x="431" y="682"/>
                    <a:pt x="431" y="679"/>
                    <a:pt x="432" y="677"/>
                  </a:cubicBezTo>
                  <a:cubicBezTo>
                    <a:pt x="432" y="675"/>
                    <a:pt x="432" y="675"/>
                    <a:pt x="433" y="674"/>
                  </a:cubicBezTo>
                  <a:cubicBezTo>
                    <a:pt x="434" y="672"/>
                    <a:pt x="434" y="672"/>
                    <a:pt x="435" y="671"/>
                  </a:cubicBezTo>
                  <a:cubicBezTo>
                    <a:pt x="438" y="667"/>
                    <a:pt x="438" y="664"/>
                    <a:pt x="440" y="659"/>
                  </a:cubicBezTo>
                  <a:cubicBezTo>
                    <a:pt x="442" y="655"/>
                    <a:pt x="445" y="654"/>
                    <a:pt x="448" y="651"/>
                  </a:cubicBezTo>
                  <a:cubicBezTo>
                    <a:pt x="450" y="649"/>
                    <a:pt x="451" y="648"/>
                    <a:pt x="452" y="646"/>
                  </a:cubicBezTo>
                  <a:cubicBezTo>
                    <a:pt x="453" y="644"/>
                    <a:pt x="453" y="641"/>
                    <a:pt x="455" y="639"/>
                  </a:cubicBezTo>
                  <a:cubicBezTo>
                    <a:pt x="458" y="636"/>
                    <a:pt x="460" y="635"/>
                    <a:pt x="464" y="634"/>
                  </a:cubicBezTo>
                  <a:cubicBezTo>
                    <a:pt x="469" y="634"/>
                    <a:pt x="471" y="630"/>
                    <a:pt x="474" y="627"/>
                  </a:cubicBezTo>
                  <a:cubicBezTo>
                    <a:pt x="478" y="623"/>
                    <a:pt x="481" y="621"/>
                    <a:pt x="487" y="621"/>
                  </a:cubicBezTo>
                  <a:cubicBezTo>
                    <a:pt x="489" y="621"/>
                    <a:pt x="489" y="622"/>
                    <a:pt x="491" y="622"/>
                  </a:cubicBezTo>
                  <a:cubicBezTo>
                    <a:pt x="492" y="623"/>
                    <a:pt x="493" y="624"/>
                    <a:pt x="494" y="624"/>
                  </a:cubicBezTo>
                  <a:cubicBezTo>
                    <a:pt x="495" y="624"/>
                    <a:pt x="496" y="624"/>
                    <a:pt x="497" y="624"/>
                  </a:cubicBezTo>
                  <a:cubicBezTo>
                    <a:pt x="500" y="624"/>
                    <a:pt x="503" y="624"/>
                    <a:pt x="505" y="624"/>
                  </a:cubicBezTo>
                  <a:cubicBezTo>
                    <a:pt x="506" y="625"/>
                    <a:pt x="506" y="626"/>
                    <a:pt x="507" y="626"/>
                  </a:cubicBezTo>
                  <a:cubicBezTo>
                    <a:pt x="508" y="626"/>
                    <a:pt x="510" y="626"/>
                    <a:pt x="511" y="626"/>
                  </a:cubicBezTo>
                  <a:cubicBezTo>
                    <a:pt x="513" y="626"/>
                    <a:pt x="515" y="626"/>
                    <a:pt x="517" y="626"/>
                  </a:cubicBezTo>
                  <a:cubicBezTo>
                    <a:pt x="518" y="626"/>
                    <a:pt x="519" y="626"/>
                    <a:pt x="520" y="626"/>
                  </a:cubicBezTo>
                  <a:cubicBezTo>
                    <a:pt x="521" y="626"/>
                    <a:pt x="522" y="625"/>
                    <a:pt x="523" y="625"/>
                  </a:cubicBezTo>
                  <a:cubicBezTo>
                    <a:pt x="524" y="625"/>
                    <a:pt x="524" y="624"/>
                    <a:pt x="526" y="624"/>
                  </a:cubicBezTo>
                  <a:cubicBezTo>
                    <a:pt x="526" y="626"/>
                    <a:pt x="525" y="631"/>
                    <a:pt x="526" y="633"/>
                  </a:cubicBezTo>
                  <a:cubicBezTo>
                    <a:pt x="527" y="635"/>
                    <a:pt x="529" y="634"/>
                    <a:pt x="532" y="634"/>
                  </a:cubicBezTo>
                  <a:cubicBezTo>
                    <a:pt x="532" y="634"/>
                    <a:pt x="534" y="635"/>
                    <a:pt x="534" y="634"/>
                  </a:cubicBezTo>
                  <a:cubicBezTo>
                    <a:pt x="536" y="634"/>
                    <a:pt x="535" y="634"/>
                    <a:pt x="536" y="632"/>
                  </a:cubicBezTo>
                  <a:cubicBezTo>
                    <a:pt x="537" y="631"/>
                    <a:pt x="537" y="630"/>
                    <a:pt x="538" y="629"/>
                  </a:cubicBezTo>
                  <a:cubicBezTo>
                    <a:pt x="539" y="628"/>
                    <a:pt x="541" y="630"/>
                    <a:pt x="541" y="627"/>
                  </a:cubicBezTo>
                  <a:cubicBezTo>
                    <a:pt x="546" y="630"/>
                    <a:pt x="542" y="632"/>
                    <a:pt x="543" y="635"/>
                  </a:cubicBezTo>
                  <a:cubicBezTo>
                    <a:pt x="545" y="635"/>
                    <a:pt x="545" y="637"/>
                    <a:pt x="547" y="637"/>
                  </a:cubicBezTo>
                  <a:cubicBezTo>
                    <a:pt x="549" y="638"/>
                    <a:pt x="549" y="636"/>
                    <a:pt x="551" y="635"/>
                  </a:cubicBezTo>
                  <a:cubicBezTo>
                    <a:pt x="552" y="635"/>
                    <a:pt x="557" y="635"/>
                    <a:pt x="558" y="635"/>
                  </a:cubicBezTo>
                  <a:cubicBezTo>
                    <a:pt x="560" y="636"/>
                    <a:pt x="560" y="636"/>
                    <a:pt x="560" y="639"/>
                  </a:cubicBezTo>
                  <a:cubicBezTo>
                    <a:pt x="562" y="640"/>
                    <a:pt x="565" y="640"/>
                    <a:pt x="566" y="642"/>
                  </a:cubicBezTo>
                  <a:cubicBezTo>
                    <a:pt x="567" y="644"/>
                    <a:pt x="566" y="647"/>
                    <a:pt x="568" y="648"/>
                  </a:cubicBezTo>
                  <a:cubicBezTo>
                    <a:pt x="569" y="650"/>
                    <a:pt x="572" y="651"/>
                    <a:pt x="574" y="652"/>
                  </a:cubicBezTo>
                  <a:cubicBezTo>
                    <a:pt x="576" y="653"/>
                    <a:pt x="577" y="653"/>
                    <a:pt x="580" y="653"/>
                  </a:cubicBezTo>
                  <a:cubicBezTo>
                    <a:pt x="582" y="653"/>
                    <a:pt x="584" y="654"/>
                    <a:pt x="585" y="654"/>
                  </a:cubicBezTo>
                  <a:cubicBezTo>
                    <a:pt x="588" y="654"/>
                    <a:pt x="592" y="653"/>
                    <a:pt x="594" y="654"/>
                  </a:cubicBezTo>
                  <a:cubicBezTo>
                    <a:pt x="596" y="656"/>
                    <a:pt x="596" y="657"/>
                    <a:pt x="599" y="658"/>
                  </a:cubicBezTo>
                  <a:cubicBezTo>
                    <a:pt x="602" y="659"/>
                    <a:pt x="605" y="658"/>
                    <a:pt x="608" y="658"/>
                  </a:cubicBezTo>
                  <a:cubicBezTo>
                    <a:pt x="612" y="658"/>
                    <a:pt x="616" y="658"/>
                    <a:pt x="621" y="658"/>
                  </a:cubicBezTo>
                  <a:cubicBezTo>
                    <a:pt x="628" y="658"/>
                    <a:pt x="634" y="656"/>
                    <a:pt x="639" y="650"/>
                  </a:cubicBezTo>
                  <a:cubicBezTo>
                    <a:pt x="640" y="651"/>
                    <a:pt x="641" y="651"/>
                    <a:pt x="641" y="650"/>
                  </a:cubicBezTo>
                  <a:cubicBezTo>
                    <a:pt x="642" y="649"/>
                    <a:pt x="641" y="646"/>
                    <a:pt x="641" y="645"/>
                  </a:cubicBezTo>
                  <a:cubicBezTo>
                    <a:pt x="640" y="643"/>
                    <a:pt x="636" y="641"/>
                    <a:pt x="638" y="638"/>
                  </a:cubicBezTo>
                  <a:cubicBezTo>
                    <a:pt x="639" y="638"/>
                    <a:pt x="643" y="637"/>
                    <a:pt x="644" y="637"/>
                  </a:cubicBezTo>
                  <a:cubicBezTo>
                    <a:pt x="645" y="637"/>
                    <a:pt x="646" y="637"/>
                    <a:pt x="647" y="637"/>
                  </a:cubicBezTo>
                  <a:cubicBezTo>
                    <a:pt x="648" y="636"/>
                    <a:pt x="648" y="635"/>
                    <a:pt x="650" y="635"/>
                  </a:cubicBezTo>
                  <a:cubicBezTo>
                    <a:pt x="650" y="633"/>
                    <a:pt x="649" y="630"/>
                    <a:pt x="650" y="627"/>
                  </a:cubicBezTo>
                  <a:cubicBezTo>
                    <a:pt x="651" y="624"/>
                    <a:pt x="654" y="624"/>
                    <a:pt x="657" y="622"/>
                  </a:cubicBezTo>
                  <a:cubicBezTo>
                    <a:pt x="658" y="620"/>
                    <a:pt x="659" y="618"/>
                    <a:pt x="659" y="616"/>
                  </a:cubicBezTo>
                  <a:cubicBezTo>
                    <a:pt x="661" y="612"/>
                    <a:pt x="659" y="613"/>
                    <a:pt x="664" y="612"/>
                  </a:cubicBezTo>
                  <a:cubicBezTo>
                    <a:pt x="667" y="612"/>
                    <a:pt x="670" y="611"/>
                    <a:pt x="673" y="610"/>
                  </a:cubicBezTo>
                  <a:cubicBezTo>
                    <a:pt x="676" y="610"/>
                    <a:pt x="678" y="610"/>
                    <a:pt x="681" y="608"/>
                  </a:cubicBezTo>
                  <a:cubicBezTo>
                    <a:pt x="683" y="606"/>
                    <a:pt x="684" y="605"/>
                    <a:pt x="685" y="602"/>
                  </a:cubicBezTo>
                  <a:cubicBezTo>
                    <a:pt x="685" y="602"/>
                    <a:pt x="686" y="602"/>
                    <a:pt x="687" y="601"/>
                  </a:cubicBezTo>
                  <a:cubicBezTo>
                    <a:pt x="687" y="600"/>
                    <a:pt x="687" y="598"/>
                    <a:pt x="687" y="597"/>
                  </a:cubicBezTo>
                  <a:cubicBezTo>
                    <a:pt x="687" y="595"/>
                    <a:pt x="687" y="592"/>
                    <a:pt x="688" y="589"/>
                  </a:cubicBezTo>
                  <a:cubicBezTo>
                    <a:pt x="690" y="589"/>
                    <a:pt x="691" y="585"/>
                    <a:pt x="693" y="583"/>
                  </a:cubicBezTo>
                  <a:cubicBezTo>
                    <a:pt x="694" y="582"/>
                    <a:pt x="697" y="581"/>
                    <a:pt x="698" y="578"/>
                  </a:cubicBezTo>
                  <a:cubicBezTo>
                    <a:pt x="699" y="577"/>
                    <a:pt x="699" y="568"/>
                    <a:pt x="697" y="567"/>
                  </a:cubicBezTo>
                  <a:cubicBezTo>
                    <a:pt x="695" y="566"/>
                    <a:pt x="690" y="568"/>
                    <a:pt x="688" y="569"/>
                  </a:cubicBezTo>
                  <a:cubicBezTo>
                    <a:pt x="685" y="570"/>
                    <a:pt x="679" y="573"/>
                    <a:pt x="675" y="571"/>
                  </a:cubicBezTo>
                  <a:cubicBezTo>
                    <a:pt x="673" y="570"/>
                    <a:pt x="673" y="567"/>
                    <a:pt x="671" y="566"/>
                  </a:cubicBezTo>
                  <a:cubicBezTo>
                    <a:pt x="668" y="563"/>
                    <a:pt x="663" y="564"/>
                    <a:pt x="660" y="562"/>
                  </a:cubicBezTo>
                  <a:cubicBezTo>
                    <a:pt x="658" y="561"/>
                    <a:pt x="651" y="554"/>
                    <a:pt x="652" y="552"/>
                  </a:cubicBezTo>
                  <a:cubicBezTo>
                    <a:pt x="653" y="550"/>
                    <a:pt x="655" y="553"/>
                    <a:pt x="656" y="550"/>
                  </a:cubicBezTo>
                  <a:cubicBezTo>
                    <a:pt x="657" y="548"/>
                    <a:pt x="653" y="545"/>
                    <a:pt x="652" y="543"/>
                  </a:cubicBezTo>
                  <a:cubicBezTo>
                    <a:pt x="649" y="538"/>
                    <a:pt x="653" y="536"/>
                    <a:pt x="658" y="534"/>
                  </a:cubicBezTo>
                  <a:cubicBezTo>
                    <a:pt x="663" y="532"/>
                    <a:pt x="663" y="527"/>
                    <a:pt x="662" y="522"/>
                  </a:cubicBezTo>
                  <a:cubicBezTo>
                    <a:pt x="659" y="522"/>
                    <a:pt x="659" y="519"/>
                    <a:pt x="658" y="517"/>
                  </a:cubicBezTo>
                  <a:cubicBezTo>
                    <a:pt x="658" y="517"/>
                    <a:pt x="655" y="516"/>
                    <a:pt x="655" y="516"/>
                  </a:cubicBezTo>
                  <a:cubicBezTo>
                    <a:pt x="654" y="515"/>
                    <a:pt x="652" y="515"/>
                    <a:pt x="652" y="515"/>
                  </a:cubicBezTo>
                  <a:cubicBezTo>
                    <a:pt x="647" y="511"/>
                    <a:pt x="648" y="504"/>
                    <a:pt x="641" y="502"/>
                  </a:cubicBezTo>
                  <a:cubicBezTo>
                    <a:pt x="640" y="499"/>
                    <a:pt x="642" y="500"/>
                    <a:pt x="644" y="499"/>
                  </a:cubicBezTo>
                  <a:cubicBezTo>
                    <a:pt x="645" y="499"/>
                    <a:pt x="647" y="500"/>
                    <a:pt x="649" y="499"/>
                  </a:cubicBezTo>
                  <a:cubicBezTo>
                    <a:pt x="651" y="498"/>
                    <a:pt x="649" y="499"/>
                    <a:pt x="651" y="497"/>
                  </a:cubicBezTo>
                  <a:cubicBezTo>
                    <a:pt x="654" y="495"/>
                    <a:pt x="657" y="494"/>
                    <a:pt x="660" y="491"/>
                  </a:cubicBezTo>
                  <a:cubicBezTo>
                    <a:pt x="660" y="491"/>
                    <a:pt x="661" y="490"/>
                    <a:pt x="662" y="490"/>
                  </a:cubicBezTo>
                  <a:cubicBezTo>
                    <a:pt x="663" y="489"/>
                    <a:pt x="665" y="489"/>
                    <a:pt x="666" y="488"/>
                  </a:cubicBezTo>
                  <a:cubicBezTo>
                    <a:pt x="668" y="486"/>
                    <a:pt x="666" y="482"/>
                    <a:pt x="667" y="480"/>
                  </a:cubicBezTo>
                  <a:cubicBezTo>
                    <a:pt x="668" y="477"/>
                    <a:pt x="671" y="476"/>
                    <a:pt x="669" y="473"/>
                  </a:cubicBezTo>
                  <a:cubicBezTo>
                    <a:pt x="668" y="471"/>
                    <a:pt x="666" y="471"/>
                    <a:pt x="665" y="470"/>
                  </a:cubicBezTo>
                  <a:cubicBezTo>
                    <a:pt x="663" y="468"/>
                    <a:pt x="662" y="465"/>
                    <a:pt x="662" y="463"/>
                  </a:cubicBezTo>
                  <a:cubicBezTo>
                    <a:pt x="661" y="461"/>
                    <a:pt x="661" y="459"/>
                    <a:pt x="661" y="457"/>
                  </a:cubicBezTo>
                  <a:cubicBezTo>
                    <a:pt x="660" y="455"/>
                    <a:pt x="657" y="454"/>
                    <a:pt x="656" y="453"/>
                  </a:cubicBezTo>
                  <a:cubicBezTo>
                    <a:pt x="653" y="450"/>
                    <a:pt x="657" y="450"/>
                    <a:pt x="655" y="446"/>
                  </a:cubicBezTo>
                  <a:cubicBezTo>
                    <a:pt x="654" y="444"/>
                    <a:pt x="657" y="443"/>
                    <a:pt x="659" y="438"/>
                  </a:cubicBezTo>
                  <a:cubicBezTo>
                    <a:pt x="661" y="437"/>
                    <a:pt x="662" y="436"/>
                    <a:pt x="663" y="436"/>
                  </a:cubicBezTo>
                  <a:cubicBezTo>
                    <a:pt x="663" y="435"/>
                    <a:pt x="665" y="434"/>
                    <a:pt x="665" y="433"/>
                  </a:cubicBezTo>
                  <a:cubicBezTo>
                    <a:pt x="665" y="432"/>
                    <a:pt x="665" y="430"/>
                    <a:pt x="665" y="430"/>
                  </a:cubicBezTo>
                  <a:cubicBezTo>
                    <a:pt x="665" y="428"/>
                    <a:pt x="664" y="428"/>
                    <a:pt x="664" y="427"/>
                  </a:cubicBezTo>
                  <a:cubicBezTo>
                    <a:pt x="663" y="426"/>
                    <a:pt x="663" y="426"/>
                    <a:pt x="662" y="424"/>
                  </a:cubicBezTo>
                  <a:cubicBezTo>
                    <a:pt x="662" y="424"/>
                    <a:pt x="661" y="423"/>
                    <a:pt x="661" y="422"/>
                  </a:cubicBezTo>
                  <a:cubicBezTo>
                    <a:pt x="660" y="421"/>
                    <a:pt x="659" y="420"/>
                    <a:pt x="659" y="419"/>
                  </a:cubicBezTo>
                  <a:cubicBezTo>
                    <a:pt x="658" y="417"/>
                    <a:pt x="658" y="415"/>
                    <a:pt x="658" y="413"/>
                  </a:cubicBezTo>
                  <a:cubicBezTo>
                    <a:pt x="658" y="412"/>
                    <a:pt x="658" y="410"/>
                    <a:pt x="658" y="409"/>
                  </a:cubicBezTo>
                  <a:cubicBezTo>
                    <a:pt x="658" y="409"/>
                    <a:pt x="657" y="408"/>
                    <a:pt x="657" y="408"/>
                  </a:cubicBezTo>
                  <a:cubicBezTo>
                    <a:pt x="656" y="406"/>
                    <a:pt x="657" y="404"/>
                    <a:pt x="656" y="402"/>
                  </a:cubicBezTo>
                  <a:cubicBezTo>
                    <a:pt x="655" y="402"/>
                    <a:pt x="654" y="401"/>
                    <a:pt x="653" y="401"/>
                  </a:cubicBezTo>
                  <a:cubicBezTo>
                    <a:pt x="652" y="401"/>
                    <a:pt x="650" y="400"/>
                    <a:pt x="650" y="400"/>
                  </a:cubicBezTo>
                  <a:cubicBezTo>
                    <a:pt x="647" y="398"/>
                    <a:pt x="643" y="395"/>
                    <a:pt x="639" y="395"/>
                  </a:cubicBezTo>
                  <a:cubicBezTo>
                    <a:pt x="634" y="395"/>
                    <a:pt x="630" y="398"/>
                    <a:pt x="625" y="400"/>
                  </a:cubicBezTo>
                  <a:cubicBezTo>
                    <a:pt x="623" y="401"/>
                    <a:pt x="620" y="402"/>
                    <a:pt x="617" y="401"/>
                  </a:cubicBezTo>
                  <a:cubicBezTo>
                    <a:pt x="615" y="400"/>
                    <a:pt x="612" y="394"/>
                    <a:pt x="614" y="391"/>
                  </a:cubicBezTo>
                  <a:cubicBezTo>
                    <a:pt x="615" y="389"/>
                    <a:pt x="617" y="390"/>
                    <a:pt x="618" y="388"/>
                  </a:cubicBezTo>
                  <a:cubicBezTo>
                    <a:pt x="619" y="387"/>
                    <a:pt x="618" y="383"/>
                    <a:pt x="618" y="381"/>
                  </a:cubicBezTo>
                  <a:cubicBezTo>
                    <a:pt x="618" y="378"/>
                    <a:pt x="618" y="376"/>
                    <a:pt x="620" y="373"/>
                  </a:cubicBezTo>
                  <a:cubicBezTo>
                    <a:pt x="623" y="371"/>
                    <a:pt x="625" y="369"/>
                    <a:pt x="627" y="366"/>
                  </a:cubicBezTo>
                  <a:cubicBezTo>
                    <a:pt x="629" y="365"/>
                    <a:pt x="629" y="363"/>
                    <a:pt x="631" y="361"/>
                  </a:cubicBezTo>
                  <a:cubicBezTo>
                    <a:pt x="632" y="359"/>
                    <a:pt x="634" y="358"/>
                    <a:pt x="635" y="357"/>
                  </a:cubicBezTo>
                  <a:cubicBezTo>
                    <a:pt x="642" y="352"/>
                    <a:pt x="646" y="345"/>
                    <a:pt x="651" y="339"/>
                  </a:cubicBezTo>
                  <a:cubicBezTo>
                    <a:pt x="654" y="336"/>
                    <a:pt x="656" y="334"/>
                    <a:pt x="658" y="330"/>
                  </a:cubicBezTo>
                  <a:cubicBezTo>
                    <a:pt x="658" y="330"/>
                    <a:pt x="659" y="328"/>
                    <a:pt x="659" y="327"/>
                  </a:cubicBezTo>
                  <a:cubicBezTo>
                    <a:pt x="661" y="326"/>
                    <a:pt x="662" y="327"/>
                    <a:pt x="664" y="325"/>
                  </a:cubicBezTo>
                  <a:cubicBezTo>
                    <a:pt x="670" y="320"/>
                    <a:pt x="652" y="311"/>
                    <a:pt x="663" y="310"/>
                  </a:cubicBezTo>
                  <a:cubicBezTo>
                    <a:pt x="666" y="310"/>
                    <a:pt x="668" y="311"/>
                    <a:pt x="670" y="312"/>
                  </a:cubicBezTo>
                  <a:cubicBezTo>
                    <a:pt x="676" y="313"/>
                    <a:pt x="681" y="310"/>
                    <a:pt x="687" y="310"/>
                  </a:cubicBezTo>
                  <a:cubicBezTo>
                    <a:pt x="689" y="310"/>
                    <a:pt x="690" y="310"/>
                    <a:pt x="692" y="309"/>
                  </a:cubicBezTo>
                  <a:cubicBezTo>
                    <a:pt x="695" y="308"/>
                    <a:pt x="699" y="306"/>
                    <a:pt x="702" y="304"/>
                  </a:cubicBezTo>
                  <a:cubicBezTo>
                    <a:pt x="702" y="304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0"/>
                  </a:cubicBezTo>
                  <a:cubicBezTo>
                    <a:pt x="704" y="300"/>
                    <a:pt x="704" y="300"/>
                    <a:pt x="704" y="300"/>
                  </a:cubicBezTo>
                  <a:cubicBezTo>
                    <a:pt x="704" y="300"/>
                    <a:pt x="704" y="299"/>
                    <a:pt x="704" y="298"/>
                  </a:cubicBezTo>
                  <a:cubicBezTo>
                    <a:pt x="703" y="297"/>
                    <a:pt x="702" y="295"/>
                    <a:pt x="702" y="293"/>
                  </a:cubicBezTo>
                  <a:cubicBezTo>
                    <a:pt x="702" y="285"/>
                    <a:pt x="702" y="278"/>
                    <a:pt x="702" y="270"/>
                  </a:cubicBezTo>
                  <a:cubicBezTo>
                    <a:pt x="702" y="264"/>
                    <a:pt x="701" y="259"/>
                    <a:pt x="705" y="254"/>
                  </a:cubicBezTo>
                  <a:cubicBezTo>
                    <a:pt x="710" y="249"/>
                    <a:pt x="708" y="244"/>
                    <a:pt x="710" y="238"/>
                  </a:cubicBezTo>
                  <a:cubicBezTo>
                    <a:pt x="711" y="233"/>
                    <a:pt x="710" y="228"/>
                    <a:pt x="713" y="224"/>
                  </a:cubicBezTo>
                  <a:cubicBezTo>
                    <a:pt x="714" y="222"/>
                    <a:pt x="715" y="222"/>
                    <a:pt x="716" y="221"/>
                  </a:cubicBezTo>
                  <a:cubicBezTo>
                    <a:pt x="719" y="219"/>
                    <a:pt x="719" y="218"/>
                    <a:pt x="720" y="216"/>
                  </a:cubicBezTo>
                  <a:cubicBezTo>
                    <a:pt x="722" y="210"/>
                    <a:pt x="724" y="207"/>
                    <a:pt x="729" y="203"/>
                  </a:cubicBezTo>
                  <a:cubicBezTo>
                    <a:pt x="733" y="200"/>
                    <a:pt x="736" y="196"/>
                    <a:pt x="737" y="19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7" name="Freeform 17">
              <a:extLst>
                <a:ext uri="{FF2B5EF4-FFF2-40B4-BE49-F238E27FC236}">
                  <a16:creationId xmlns:a16="http://schemas.microsoft.com/office/drawing/2014/main" id="{460AF2BC-86E7-4C33-A36B-B66BD707F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0375" y="5575300"/>
              <a:ext cx="120650" cy="241300"/>
            </a:xfrm>
            <a:custGeom>
              <a:avLst/>
              <a:gdLst/>
              <a:ahLst/>
              <a:cxnLst>
                <a:cxn ang="0">
                  <a:pos x="61" y="5"/>
                </a:cxn>
                <a:cxn ang="0">
                  <a:pos x="60" y="2"/>
                </a:cxn>
                <a:cxn ang="0">
                  <a:pos x="53" y="3"/>
                </a:cxn>
                <a:cxn ang="0">
                  <a:pos x="51" y="18"/>
                </a:cxn>
                <a:cxn ang="0">
                  <a:pos x="51" y="23"/>
                </a:cxn>
                <a:cxn ang="0">
                  <a:pos x="49" y="27"/>
                </a:cxn>
                <a:cxn ang="0">
                  <a:pos x="41" y="25"/>
                </a:cxn>
                <a:cxn ang="0">
                  <a:pos x="35" y="30"/>
                </a:cxn>
                <a:cxn ang="0">
                  <a:pos x="29" y="32"/>
                </a:cxn>
                <a:cxn ang="0">
                  <a:pos x="22" y="34"/>
                </a:cxn>
                <a:cxn ang="0">
                  <a:pos x="15" y="39"/>
                </a:cxn>
                <a:cxn ang="0">
                  <a:pos x="13" y="47"/>
                </a:cxn>
                <a:cxn ang="0">
                  <a:pos x="12" y="51"/>
                </a:cxn>
                <a:cxn ang="0">
                  <a:pos x="17" y="58"/>
                </a:cxn>
                <a:cxn ang="0">
                  <a:pos x="10" y="62"/>
                </a:cxn>
                <a:cxn ang="0">
                  <a:pos x="5" y="64"/>
                </a:cxn>
                <a:cxn ang="0">
                  <a:pos x="0" y="74"/>
                </a:cxn>
                <a:cxn ang="0">
                  <a:pos x="4" y="77"/>
                </a:cxn>
                <a:cxn ang="0">
                  <a:pos x="8" y="80"/>
                </a:cxn>
                <a:cxn ang="0">
                  <a:pos x="13" y="82"/>
                </a:cxn>
                <a:cxn ang="0">
                  <a:pos x="17" y="83"/>
                </a:cxn>
                <a:cxn ang="0">
                  <a:pos x="16" y="95"/>
                </a:cxn>
                <a:cxn ang="0">
                  <a:pos x="14" y="100"/>
                </a:cxn>
                <a:cxn ang="0">
                  <a:pos x="18" y="101"/>
                </a:cxn>
                <a:cxn ang="0">
                  <a:pos x="21" y="102"/>
                </a:cxn>
                <a:cxn ang="0">
                  <a:pos x="22" y="106"/>
                </a:cxn>
                <a:cxn ang="0">
                  <a:pos x="19" y="108"/>
                </a:cxn>
                <a:cxn ang="0">
                  <a:pos x="21" y="115"/>
                </a:cxn>
                <a:cxn ang="0">
                  <a:pos x="29" y="122"/>
                </a:cxn>
                <a:cxn ang="0">
                  <a:pos x="33" y="126"/>
                </a:cxn>
                <a:cxn ang="0">
                  <a:pos x="39" y="129"/>
                </a:cxn>
                <a:cxn ang="0">
                  <a:pos x="41" y="121"/>
                </a:cxn>
                <a:cxn ang="0">
                  <a:pos x="44" y="116"/>
                </a:cxn>
                <a:cxn ang="0">
                  <a:pos x="45" y="113"/>
                </a:cxn>
                <a:cxn ang="0">
                  <a:pos x="49" y="109"/>
                </a:cxn>
                <a:cxn ang="0">
                  <a:pos x="52" y="99"/>
                </a:cxn>
                <a:cxn ang="0">
                  <a:pos x="53" y="87"/>
                </a:cxn>
                <a:cxn ang="0">
                  <a:pos x="54" y="82"/>
                </a:cxn>
                <a:cxn ang="0">
                  <a:pos x="59" y="76"/>
                </a:cxn>
                <a:cxn ang="0">
                  <a:pos x="60" y="74"/>
                </a:cxn>
                <a:cxn ang="0">
                  <a:pos x="63" y="52"/>
                </a:cxn>
                <a:cxn ang="0">
                  <a:pos x="63" y="40"/>
                </a:cxn>
                <a:cxn ang="0">
                  <a:pos x="60" y="32"/>
                </a:cxn>
                <a:cxn ang="0">
                  <a:pos x="59" y="23"/>
                </a:cxn>
                <a:cxn ang="0">
                  <a:pos x="60" y="22"/>
                </a:cxn>
                <a:cxn ang="0">
                  <a:pos x="63" y="18"/>
                </a:cxn>
                <a:cxn ang="0">
                  <a:pos x="63" y="13"/>
                </a:cxn>
                <a:cxn ang="0">
                  <a:pos x="61" y="20"/>
                </a:cxn>
              </a:cxnLst>
              <a:rect l="0" t="0" r="r" b="b"/>
              <a:pathLst>
                <a:path w="64" h="129">
                  <a:moveTo>
                    <a:pt x="61" y="20"/>
                  </a:moveTo>
                  <a:cubicBezTo>
                    <a:pt x="61" y="15"/>
                    <a:pt x="61" y="10"/>
                    <a:pt x="61" y="5"/>
                  </a:cubicBezTo>
                  <a:cubicBezTo>
                    <a:pt x="61" y="4"/>
                    <a:pt x="62" y="3"/>
                    <a:pt x="61" y="2"/>
                  </a:cubicBezTo>
                  <a:cubicBezTo>
                    <a:pt x="61" y="2"/>
                    <a:pt x="60" y="2"/>
                    <a:pt x="60" y="2"/>
                  </a:cubicBezTo>
                  <a:cubicBezTo>
                    <a:pt x="60" y="2"/>
                    <a:pt x="59" y="1"/>
                    <a:pt x="59" y="1"/>
                  </a:cubicBezTo>
                  <a:cubicBezTo>
                    <a:pt x="57" y="0"/>
                    <a:pt x="54" y="1"/>
                    <a:pt x="53" y="3"/>
                  </a:cubicBezTo>
                  <a:cubicBezTo>
                    <a:pt x="51" y="6"/>
                    <a:pt x="52" y="10"/>
                    <a:pt x="51" y="13"/>
                  </a:cubicBezTo>
                  <a:cubicBezTo>
                    <a:pt x="51" y="15"/>
                    <a:pt x="51" y="16"/>
                    <a:pt x="51" y="18"/>
                  </a:cubicBezTo>
                  <a:cubicBezTo>
                    <a:pt x="51" y="19"/>
                    <a:pt x="51" y="20"/>
                    <a:pt x="51" y="20"/>
                  </a:cubicBezTo>
                  <a:cubicBezTo>
                    <a:pt x="51" y="21"/>
                    <a:pt x="51" y="22"/>
                    <a:pt x="51" y="23"/>
                  </a:cubicBezTo>
                  <a:cubicBezTo>
                    <a:pt x="52" y="25"/>
                    <a:pt x="52" y="26"/>
                    <a:pt x="51" y="27"/>
                  </a:cubicBezTo>
                  <a:cubicBezTo>
                    <a:pt x="50" y="28"/>
                    <a:pt x="50" y="28"/>
                    <a:pt x="49" y="27"/>
                  </a:cubicBezTo>
                  <a:cubicBezTo>
                    <a:pt x="47" y="26"/>
                    <a:pt x="47" y="25"/>
                    <a:pt x="46" y="25"/>
                  </a:cubicBezTo>
                  <a:cubicBezTo>
                    <a:pt x="45" y="24"/>
                    <a:pt x="42" y="24"/>
                    <a:pt x="41" y="25"/>
                  </a:cubicBezTo>
                  <a:cubicBezTo>
                    <a:pt x="40" y="25"/>
                    <a:pt x="39" y="27"/>
                    <a:pt x="38" y="28"/>
                  </a:cubicBezTo>
                  <a:cubicBezTo>
                    <a:pt x="37" y="29"/>
                    <a:pt x="36" y="30"/>
                    <a:pt x="35" y="30"/>
                  </a:cubicBezTo>
                  <a:cubicBezTo>
                    <a:pt x="34" y="31"/>
                    <a:pt x="32" y="30"/>
                    <a:pt x="31" y="30"/>
                  </a:cubicBezTo>
                  <a:cubicBezTo>
                    <a:pt x="30" y="31"/>
                    <a:pt x="30" y="31"/>
                    <a:pt x="29" y="32"/>
                  </a:cubicBezTo>
                  <a:cubicBezTo>
                    <a:pt x="28" y="32"/>
                    <a:pt x="27" y="33"/>
                    <a:pt x="26" y="33"/>
                  </a:cubicBezTo>
                  <a:cubicBezTo>
                    <a:pt x="24" y="34"/>
                    <a:pt x="23" y="33"/>
                    <a:pt x="22" y="34"/>
                  </a:cubicBezTo>
                  <a:cubicBezTo>
                    <a:pt x="20" y="35"/>
                    <a:pt x="20" y="36"/>
                    <a:pt x="19" y="37"/>
                  </a:cubicBezTo>
                  <a:cubicBezTo>
                    <a:pt x="18" y="38"/>
                    <a:pt x="17" y="39"/>
                    <a:pt x="15" y="39"/>
                  </a:cubicBezTo>
                  <a:cubicBezTo>
                    <a:pt x="12" y="41"/>
                    <a:pt x="16" y="41"/>
                    <a:pt x="16" y="43"/>
                  </a:cubicBezTo>
                  <a:cubicBezTo>
                    <a:pt x="13" y="43"/>
                    <a:pt x="13" y="45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2" y="49"/>
                    <a:pt x="12" y="51"/>
                  </a:cubicBezTo>
                  <a:cubicBezTo>
                    <a:pt x="12" y="52"/>
                    <a:pt x="13" y="54"/>
                    <a:pt x="14" y="54"/>
                  </a:cubicBezTo>
                  <a:cubicBezTo>
                    <a:pt x="15" y="55"/>
                    <a:pt x="17" y="57"/>
                    <a:pt x="17" y="58"/>
                  </a:cubicBezTo>
                  <a:cubicBezTo>
                    <a:pt x="15" y="59"/>
                    <a:pt x="13" y="58"/>
                    <a:pt x="11" y="58"/>
                  </a:cubicBezTo>
                  <a:cubicBezTo>
                    <a:pt x="10" y="59"/>
                    <a:pt x="10" y="61"/>
                    <a:pt x="10" y="62"/>
                  </a:cubicBezTo>
                  <a:cubicBezTo>
                    <a:pt x="10" y="64"/>
                    <a:pt x="10" y="64"/>
                    <a:pt x="8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5"/>
                    <a:pt x="4" y="67"/>
                    <a:pt x="3" y="68"/>
                  </a:cubicBezTo>
                  <a:cubicBezTo>
                    <a:pt x="3" y="69"/>
                    <a:pt x="0" y="73"/>
                    <a:pt x="0" y="74"/>
                  </a:cubicBezTo>
                  <a:cubicBezTo>
                    <a:pt x="1" y="75"/>
                    <a:pt x="2" y="74"/>
                    <a:pt x="3" y="75"/>
                  </a:cubicBezTo>
                  <a:cubicBezTo>
                    <a:pt x="3" y="76"/>
                    <a:pt x="3" y="76"/>
                    <a:pt x="4" y="77"/>
                  </a:cubicBezTo>
                  <a:cubicBezTo>
                    <a:pt x="4" y="77"/>
                    <a:pt x="5" y="76"/>
                    <a:pt x="6" y="77"/>
                  </a:cubicBezTo>
                  <a:cubicBezTo>
                    <a:pt x="7" y="77"/>
                    <a:pt x="7" y="79"/>
                    <a:pt x="8" y="80"/>
                  </a:cubicBezTo>
                  <a:cubicBezTo>
                    <a:pt x="9" y="80"/>
                    <a:pt x="10" y="81"/>
                    <a:pt x="10" y="81"/>
                  </a:cubicBezTo>
                  <a:cubicBezTo>
                    <a:pt x="11" y="81"/>
                    <a:pt x="12" y="82"/>
                    <a:pt x="13" y="82"/>
                  </a:cubicBezTo>
                  <a:cubicBezTo>
                    <a:pt x="13" y="82"/>
                    <a:pt x="13" y="82"/>
                    <a:pt x="13" y="83"/>
                  </a:cubicBezTo>
                  <a:cubicBezTo>
                    <a:pt x="14" y="83"/>
                    <a:pt x="16" y="83"/>
                    <a:pt x="17" y="83"/>
                  </a:cubicBezTo>
                  <a:cubicBezTo>
                    <a:pt x="18" y="84"/>
                    <a:pt x="17" y="87"/>
                    <a:pt x="17" y="88"/>
                  </a:cubicBezTo>
                  <a:cubicBezTo>
                    <a:pt x="17" y="90"/>
                    <a:pt x="18" y="93"/>
                    <a:pt x="16" y="95"/>
                  </a:cubicBezTo>
                  <a:cubicBezTo>
                    <a:pt x="15" y="95"/>
                    <a:pt x="15" y="95"/>
                    <a:pt x="14" y="97"/>
                  </a:cubicBezTo>
                  <a:cubicBezTo>
                    <a:pt x="14" y="98"/>
                    <a:pt x="14" y="99"/>
                    <a:pt x="14" y="100"/>
                  </a:cubicBezTo>
                  <a:cubicBezTo>
                    <a:pt x="14" y="100"/>
                    <a:pt x="15" y="101"/>
                    <a:pt x="15" y="101"/>
                  </a:cubicBezTo>
                  <a:cubicBezTo>
                    <a:pt x="16" y="101"/>
                    <a:pt x="17" y="101"/>
                    <a:pt x="18" y="101"/>
                  </a:cubicBezTo>
                  <a:cubicBezTo>
                    <a:pt x="18" y="101"/>
                    <a:pt x="18" y="102"/>
                    <a:pt x="19" y="102"/>
                  </a:cubicBezTo>
                  <a:cubicBezTo>
                    <a:pt x="20" y="102"/>
                    <a:pt x="21" y="102"/>
                    <a:pt x="21" y="102"/>
                  </a:cubicBezTo>
                  <a:cubicBezTo>
                    <a:pt x="22" y="102"/>
                    <a:pt x="23" y="102"/>
                    <a:pt x="24" y="102"/>
                  </a:cubicBezTo>
                  <a:cubicBezTo>
                    <a:pt x="25" y="104"/>
                    <a:pt x="23" y="105"/>
                    <a:pt x="22" y="106"/>
                  </a:cubicBezTo>
                  <a:cubicBezTo>
                    <a:pt x="22" y="107"/>
                    <a:pt x="21" y="107"/>
                    <a:pt x="21" y="107"/>
                  </a:cubicBezTo>
                  <a:cubicBezTo>
                    <a:pt x="20" y="107"/>
                    <a:pt x="20" y="107"/>
                    <a:pt x="19" y="108"/>
                  </a:cubicBezTo>
                  <a:cubicBezTo>
                    <a:pt x="19" y="108"/>
                    <a:pt x="19" y="109"/>
                    <a:pt x="19" y="110"/>
                  </a:cubicBezTo>
                  <a:cubicBezTo>
                    <a:pt x="18" y="113"/>
                    <a:pt x="19" y="113"/>
                    <a:pt x="21" y="115"/>
                  </a:cubicBezTo>
                  <a:cubicBezTo>
                    <a:pt x="22" y="116"/>
                    <a:pt x="22" y="118"/>
                    <a:pt x="24" y="120"/>
                  </a:cubicBezTo>
                  <a:cubicBezTo>
                    <a:pt x="25" y="121"/>
                    <a:pt x="27" y="122"/>
                    <a:pt x="29" y="122"/>
                  </a:cubicBezTo>
                  <a:cubicBezTo>
                    <a:pt x="30" y="122"/>
                    <a:pt x="34" y="121"/>
                    <a:pt x="34" y="123"/>
                  </a:cubicBezTo>
                  <a:cubicBezTo>
                    <a:pt x="34" y="124"/>
                    <a:pt x="33" y="125"/>
                    <a:pt x="33" y="126"/>
                  </a:cubicBezTo>
                  <a:cubicBezTo>
                    <a:pt x="33" y="127"/>
                    <a:pt x="35" y="128"/>
                    <a:pt x="36" y="128"/>
                  </a:cubicBezTo>
                  <a:cubicBezTo>
                    <a:pt x="37" y="129"/>
                    <a:pt x="38" y="129"/>
                    <a:pt x="39" y="129"/>
                  </a:cubicBezTo>
                  <a:cubicBezTo>
                    <a:pt x="40" y="129"/>
                    <a:pt x="41" y="129"/>
                    <a:pt x="41" y="127"/>
                  </a:cubicBezTo>
                  <a:cubicBezTo>
                    <a:pt x="41" y="125"/>
                    <a:pt x="40" y="122"/>
                    <a:pt x="41" y="121"/>
                  </a:cubicBezTo>
                  <a:cubicBezTo>
                    <a:pt x="42" y="120"/>
                    <a:pt x="42" y="120"/>
                    <a:pt x="43" y="119"/>
                  </a:cubicBezTo>
                  <a:cubicBezTo>
                    <a:pt x="43" y="118"/>
                    <a:pt x="43" y="117"/>
                    <a:pt x="44" y="116"/>
                  </a:cubicBezTo>
                  <a:cubicBezTo>
                    <a:pt x="44" y="115"/>
                    <a:pt x="44" y="114"/>
                    <a:pt x="45" y="114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2"/>
                    <a:pt x="46" y="112"/>
                    <a:pt x="47" y="112"/>
                  </a:cubicBezTo>
                  <a:cubicBezTo>
                    <a:pt x="49" y="111"/>
                    <a:pt x="48" y="110"/>
                    <a:pt x="49" y="109"/>
                  </a:cubicBezTo>
                  <a:cubicBezTo>
                    <a:pt x="49" y="107"/>
                    <a:pt x="50" y="106"/>
                    <a:pt x="51" y="104"/>
                  </a:cubicBezTo>
                  <a:cubicBezTo>
                    <a:pt x="51" y="102"/>
                    <a:pt x="52" y="101"/>
                    <a:pt x="52" y="99"/>
                  </a:cubicBezTo>
                  <a:cubicBezTo>
                    <a:pt x="52" y="98"/>
                    <a:pt x="52" y="97"/>
                    <a:pt x="52" y="96"/>
                  </a:cubicBezTo>
                  <a:cubicBezTo>
                    <a:pt x="52" y="93"/>
                    <a:pt x="53" y="90"/>
                    <a:pt x="53" y="87"/>
                  </a:cubicBezTo>
                  <a:cubicBezTo>
                    <a:pt x="53" y="86"/>
                    <a:pt x="52" y="85"/>
                    <a:pt x="53" y="84"/>
                  </a:cubicBezTo>
                  <a:cubicBezTo>
                    <a:pt x="53" y="83"/>
                    <a:pt x="54" y="83"/>
                    <a:pt x="54" y="82"/>
                  </a:cubicBezTo>
                  <a:cubicBezTo>
                    <a:pt x="54" y="82"/>
                    <a:pt x="54" y="81"/>
                    <a:pt x="54" y="81"/>
                  </a:cubicBezTo>
                  <a:cubicBezTo>
                    <a:pt x="54" y="78"/>
                    <a:pt x="58" y="78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3"/>
                    <a:pt x="61" y="72"/>
                    <a:pt x="61" y="71"/>
                  </a:cubicBezTo>
                  <a:cubicBezTo>
                    <a:pt x="61" y="64"/>
                    <a:pt x="63" y="58"/>
                    <a:pt x="63" y="52"/>
                  </a:cubicBezTo>
                  <a:cubicBezTo>
                    <a:pt x="63" y="49"/>
                    <a:pt x="63" y="47"/>
                    <a:pt x="63" y="44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39"/>
                    <a:pt x="64" y="37"/>
                    <a:pt x="63" y="36"/>
                  </a:cubicBezTo>
                  <a:cubicBezTo>
                    <a:pt x="62" y="34"/>
                    <a:pt x="60" y="34"/>
                    <a:pt x="60" y="32"/>
                  </a:cubicBezTo>
                  <a:cubicBezTo>
                    <a:pt x="59" y="30"/>
                    <a:pt x="59" y="29"/>
                    <a:pt x="59" y="27"/>
                  </a:cubicBezTo>
                  <a:cubicBezTo>
                    <a:pt x="59" y="26"/>
                    <a:pt x="59" y="24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1"/>
                    <a:pt x="61" y="20"/>
                    <a:pt x="61" y="20"/>
                  </a:cubicBezTo>
                  <a:cubicBezTo>
                    <a:pt x="62" y="19"/>
                    <a:pt x="63" y="19"/>
                    <a:pt x="63" y="18"/>
                  </a:cubicBezTo>
                  <a:cubicBezTo>
                    <a:pt x="63" y="17"/>
                    <a:pt x="63" y="16"/>
                    <a:pt x="63" y="15"/>
                  </a:cubicBezTo>
                  <a:cubicBezTo>
                    <a:pt x="63" y="14"/>
                    <a:pt x="62" y="14"/>
                    <a:pt x="63" y="13"/>
                  </a:cubicBezTo>
                  <a:cubicBezTo>
                    <a:pt x="61" y="12"/>
                    <a:pt x="61" y="11"/>
                    <a:pt x="61" y="9"/>
                  </a:cubicBezTo>
                  <a:lnTo>
                    <a:pt x="61" y="2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8" name="Freeform 18">
              <a:extLst>
                <a:ext uri="{FF2B5EF4-FFF2-40B4-BE49-F238E27FC236}">
                  <a16:creationId xmlns:a16="http://schemas.microsoft.com/office/drawing/2014/main" id="{7C403AC3-AB8A-4112-BDC5-EF6BA1EB03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6388" y="4992688"/>
              <a:ext cx="1143000" cy="1347788"/>
            </a:xfrm>
            <a:custGeom>
              <a:avLst/>
              <a:gdLst/>
              <a:ahLst/>
              <a:cxnLst>
                <a:cxn ang="0">
                  <a:pos x="600" y="532"/>
                </a:cxn>
                <a:cxn ang="0">
                  <a:pos x="571" y="505"/>
                </a:cxn>
                <a:cxn ang="0">
                  <a:pos x="530" y="474"/>
                </a:cxn>
                <a:cxn ang="0">
                  <a:pos x="479" y="433"/>
                </a:cxn>
                <a:cxn ang="0">
                  <a:pos x="489" y="411"/>
                </a:cxn>
                <a:cxn ang="0">
                  <a:pos x="432" y="405"/>
                </a:cxn>
                <a:cxn ang="0">
                  <a:pos x="398" y="374"/>
                </a:cxn>
                <a:cxn ang="0">
                  <a:pos x="378" y="341"/>
                </a:cxn>
                <a:cxn ang="0">
                  <a:pos x="358" y="280"/>
                </a:cxn>
                <a:cxn ang="0">
                  <a:pos x="319" y="243"/>
                </a:cxn>
                <a:cxn ang="0">
                  <a:pos x="296" y="196"/>
                </a:cxn>
                <a:cxn ang="0">
                  <a:pos x="314" y="171"/>
                </a:cxn>
                <a:cxn ang="0">
                  <a:pos x="320" y="143"/>
                </a:cxn>
                <a:cxn ang="0">
                  <a:pos x="329" y="129"/>
                </a:cxn>
                <a:cxn ang="0">
                  <a:pos x="354" y="109"/>
                </a:cxn>
                <a:cxn ang="0">
                  <a:pos x="375" y="120"/>
                </a:cxn>
                <a:cxn ang="0">
                  <a:pos x="373" y="95"/>
                </a:cxn>
                <a:cxn ang="0">
                  <a:pos x="361" y="68"/>
                </a:cxn>
                <a:cxn ang="0">
                  <a:pos x="347" y="37"/>
                </a:cxn>
                <a:cxn ang="0">
                  <a:pos x="303" y="6"/>
                </a:cxn>
                <a:cxn ang="0">
                  <a:pos x="247" y="11"/>
                </a:cxn>
                <a:cxn ang="0">
                  <a:pos x="220" y="18"/>
                </a:cxn>
                <a:cxn ang="0">
                  <a:pos x="198" y="39"/>
                </a:cxn>
                <a:cxn ang="0">
                  <a:pos x="186" y="63"/>
                </a:cxn>
                <a:cxn ang="0">
                  <a:pos x="153" y="50"/>
                </a:cxn>
                <a:cxn ang="0">
                  <a:pos x="131" y="86"/>
                </a:cxn>
                <a:cxn ang="0">
                  <a:pos x="120" y="86"/>
                </a:cxn>
                <a:cxn ang="0">
                  <a:pos x="99" y="60"/>
                </a:cxn>
                <a:cxn ang="0">
                  <a:pos x="74" y="89"/>
                </a:cxn>
                <a:cxn ang="0">
                  <a:pos x="23" y="98"/>
                </a:cxn>
                <a:cxn ang="0">
                  <a:pos x="11" y="159"/>
                </a:cxn>
                <a:cxn ang="0">
                  <a:pos x="20" y="224"/>
                </a:cxn>
                <a:cxn ang="0">
                  <a:pos x="55" y="262"/>
                </a:cxn>
                <a:cxn ang="0">
                  <a:pos x="85" y="238"/>
                </a:cxn>
                <a:cxn ang="0">
                  <a:pos x="140" y="218"/>
                </a:cxn>
                <a:cxn ang="0">
                  <a:pos x="168" y="236"/>
                </a:cxn>
                <a:cxn ang="0">
                  <a:pos x="190" y="257"/>
                </a:cxn>
                <a:cxn ang="0">
                  <a:pos x="199" y="303"/>
                </a:cxn>
                <a:cxn ang="0">
                  <a:pos x="213" y="336"/>
                </a:cxn>
                <a:cxn ang="0">
                  <a:pos x="237" y="363"/>
                </a:cxn>
                <a:cxn ang="0">
                  <a:pos x="264" y="398"/>
                </a:cxn>
                <a:cxn ang="0">
                  <a:pos x="292" y="428"/>
                </a:cxn>
                <a:cxn ang="0">
                  <a:pos x="319" y="461"/>
                </a:cxn>
                <a:cxn ang="0">
                  <a:pos x="365" y="477"/>
                </a:cxn>
                <a:cxn ang="0">
                  <a:pos x="391" y="505"/>
                </a:cxn>
                <a:cxn ang="0">
                  <a:pos x="408" y="513"/>
                </a:cxn>
                <a:cxn ang="0">
                  <a:pos x="427" y="547"/>
                </a:cxn>
                <a:cxn ang="0">
                  <a:pos x="462" y="570"/>
                </a:cxn>
                <a:cxn ang="0">
                  <a:pos x="475" y="628"/>
                </a:cxn>
                <a:cxn ang="0">
                  <a:pos x="458" y="691"/>
                </a:cxn>
                <a:cxn ang="0">
                  <a:pos x="445" y="719"/>
                </a:cxn>
                <a:cxn ang="0">
                  <a:pos x="478" y="708"/>
                </a:cxn>
                <a:cxn ang="0">
                  <a:pos x="510" y="649"/>
                </a:cxn>
                <a:cxn ang="0">
                  <a:pos x="533" y="631"/>
                </a:cxn>
                <a:cxn ang="0">
                  <a:pos x="511" y="590"/>
                </a:cxn>
                <a:cxn ang="0">
                  <a:pos x="518" y="543"/>
                </a:cxn>
                <a:cxn ang="0">
                  <a:pos x="548" y="534"/>
                </a:cxn>
                <a:cxn ang="0">
                  <a:pos x="581" y="549"/>
                </a:cxn>
                <a:cxn ang="0">
                  <a:pos x="612" y="557"/>
                </a:cxn>
              </a:cxnLst>
              <a:rect l="0" t="0" r="r" b="b"/>
              <a:pathLst>
                <a:path w="612" h="721">
                  <a:moveTo>
                    <a:pt x="532" y="476"/>
                  </a:moveTo>
                  <a:cubicBezTo>
                    <a:pt x="533" y="475"/>
                    <a:pt x="533" y="475"/>
                    <a:pt x="533" y="475"/>
                  </a:cubicBezTo>
                  <a:cubicBezTo>
                    <a:pt x="533" y="475"/>
                    <a:pt x="532" y="475"/>
                    <a:pt x="532" y="476"/>
                  </a:cubicBezTo>
                  <a:moveTo>
                    <a:pt x="612" y="551"/>
                  </a:moveTo>
                  <a:cubicBezTo>
                    <a:pt x="612" y="550"/>
                    <a:pt x="611" y="550"/>
                    <a:pt x="611" y="550"/>
                  </a:cubicBezTo>
                  <a:cubicBezTo>
                    <a:pt x="611" y="549"/>
                    <a:pt x="611" y="548"/>
                    <a:pt x="611" y="548"/>
                  </a:cubicBezTo>
                  <a:cubicBezTo>
                    <a:pt x="610" y="547"/>
                    <a:pt x="610" y="547"/>
                    <a:pt x="609" y="546"/>
                  </a:cubicBezTo>
                  <a:cubicBezTo>
                    <a:pt x="609" y="545"/>
                    <a:pt x="609" y="544"/>
                    <a:pt x="609" y="543"/>
                  </a:cubicBezTo>
                  <a:cubicBezTo>
                    <a:pt x="608" y="542"/>
                    <a:pt x="608" y="542"/>
                    <a:pt x="607" y="541"/>
                  </a:cubicBezTo>
                  <a:cubicBezTo>
                    <a:pt x="606" y="540"/>
                    <a:pt x="606" y="538"/>
                    <a:pt x="605" y="537"/>
                  </a:cubicBezTo>
                  <a:cubicBezTo>
                    <a:pt x="604" y="536"/>
                    <a:pt x="603" y="535"/>
                    <a:pt x="602" y="534"/>
                  </a:cubicBezTo>
                  <a:cubicBezTo>
                    <a:pt x="601" y="533"/>
                    <a:pt x="601" y="533"/>
                    <a:pt x="600" y="532"/>
                  </a:cubicBezTo>
                  <a:cubicBezTo>
                    <a:pt x="600" y="532"/>
                    <a:pt x="599" y="531"/>
                    <a:pt x="599" y="531"/>
                  </a:cubicBezTo>
                  <a:cubicBezTo>
                    <a:pt x="598" y="530"/>
                    <a:pt x="598" y="529"/>
                    <a:pt x="597" y="528"/>
                  </a:cubicBezTo>
                  <a:cubicBezTo>
                    <a:pt x="596" y="527"/>
                    <a:pt x="596" y="527"/>
                    <a:pt x="595" y="526"/>
                  </a:cubicBezTo>
                  <a:cubicBezTo>
                    <a:pt x="594" y="525"/>
                    <a:pt x="594" y="524"/>
                    <a:pt x="593" y="523"/>
                  </a:cubicBezTo>
                  <a:cubicBezTo>
                    <a:pt x="592" y="522"/>
                    <a:pt x="591" y="522"/>
                    <a:pt x="591" y="522"/>
                  </a:cubicBezTo>
                  <a:cubicBezTo>
                    <a:pt x="589" y="520"/>
                    <a:pt x="588" y="518"/>
                    <a:pt x="587" y="517"/>
                  </a:cubicBezTo>
                  <a:cubicBezTo>
                    <a:pt x="587" y="516"/>
                    <a:pt x="585" y="515"/>
                    <a:pt x="584" y="514"/>
                  </a:cubicBezTo>
                  <a:cubicBezTo>
                    <a:pt x="582" y="512"/>
                    <a:pt x="580" y="510"/>
                    <a:pt x="578" y="509"/>
                  </a:cubicBezTo>
                  <a:cubicBezTo>
                    <a:pt x="577" y="509"/>
                    <a:pt x="576" y="508"/>
                    <a:pt x="575" y="507"/>
                  </a:cubicBezTo>
                  <a:cubicBezTo>
                    <a:pt x="575" y="507"/>
                    <a:pt x="575" y="507"/>
                    <a:pt x="575" y="507"/>
                  </a:cubicBezTo>
                  <a:cubicBezTo>
                    <a:pt x="575" y="507"/>
                    <a:pt x="574" y="507"/>
                    <a:pt x="574" y="507"/>
                  </a:cubicBezTo>
                  <a:cubicBezTo>
                    <a:pt x="573" y="506"/>
                    <a:pt x="572" y="505"/>
                    <a:pt x="571" y="505"/>
                  </a:cubicBezTo>
                  <a:cubicBezTo>
                    <a:pt x="570" y="504"/>
                    <a:pt x="569" y="504"/>
                    <a:pt x="568" y="503"/>
                  </a:cubicBezTo>
                  <a:cubicBezTo>
                    <a:pt x="566" y="502"/>
                    <a:pt x="565" y="501"/>
                    <a:pt x="563" y="500"/>
                  </a:cubicBezTo>
                  <a:cubicBezTo>
                    <a:pt x="562" y="499"/>
                    <a:pt x="560" y="499"/>
                    <a:pt x="559" y="498"/>
                  </a:cubicBezTo>
                  <a:cubicBezTo>
                    <a:pt x="558" y="497"/>
                    <a:pt x="557" y="497"/>
                    <a:pt x="556" y="496"/>
                  </a:cubicBezTo>
                  <a:cubicBezTo>
                    <a:pt x="555" y="495"/>
                    <a:pt x="554" y="494"/>
                    <a:pt x="552" y="494"/>
                  </a:cubicBezTo>
                  <a:cubicBezTo>
                    <a:pt x="552" y="493"/>
                    <a:pt x="551" y="493"/>
                    <a:pt x="550" y="492"/>
                  </a:cubicBezTo>
                  <a:cubicBezTo>
                    <a:pt x="549" y="491"/>
                    <a:pt x="548" y="490"/>
                    <a:pt x="547" y="489"/>
                  </a:cubicBezTo>
                  <a:cubicBezTo>
                    <a:pt x="546" y="488"/>
                    <a:pt x="545" y="487"/>
                    <a:pt x="544" y="486"/>
                  </a:cubicBezTo>
                  <a:cubicBezTo>
                    <a:pt x="544" y="485"/>
                    <a:pt x="543" y="484"/>
                    <a:pt x="543" y="483"/>
                  </a:cubicBezTo>
                  <a:cubicBezTo>
                    <a:pt x="542" y="481"/>
                    <a:pt x="540" y="481"/>
                    <a:pt x="538" y="479"/>
                  </a:cubicBezTo>
                  <a:cubicBezTo>
                    <a:pt x="537" y="479"/>
                    <a:pt x="532" y="477"/>
                    <a:pt x="532" y="476"/>
                  </a:cubicBezTo>
                  <a:cubicBezTo>
                    <a:pt x="532" y="476"/>
                    <a:pt x="530" y="475"/>
                    <a:pt x="530" y="474"/>
                  </a:cubicBezTo>
                  <a:cubicBezTo>
                    <a:pt x="528" y="473"/>
                    <a:pt x="526" y="471"/>
                    <a:pt x="523" y="471"/>
                  </a:cubicBezTo>
                  <a:cubicBezTo>
                    <a:pt x="521" y="470"/>
                    <a:pt x="519" y="470"/>
                    <a:pt x="517" y="469"/>
                  </a:cubicBezTo>
                  <a:cubicBezTo>
                    <a:pt x="512" y="469"/>
                    <a:pt x="509" y="466"/>
                    <a:pt x="506" y="463"/>
                  </a:cubicBezTo>
                  <a:cubicBezTo>
                    <a:pt x="504" y="462"/>
                    <a:pt x="503" y="460"/>
                    <a:pt x="501" y="460"/>
                  </a:cubicBezTo>
                  <a:cubicBezTo>
                    <a:pt x="499" y="459"/>
                    <a:pt x="497" y="459"/>
                    <a:pt x="495" y="459"/>
                  </a:cubicBezTo>
                  <a:cubicBezTo>
                    <a:pt x="493" y="458"/>
                    <a:pt x="491" y="457"/>
                    <a:pt x="490" y="457"/>
                  </a:cubicBezTo>
                  <a:cubicBezTo>
                    <a:pt x="489" y="455"/>
                    <a:pt x="488" y="454"/>
                    <a:pt x="487" y="452"/>
                  </a:cubicBezTo>
                  <a:cubicBezTo>
                    <a:pt x="486" y="450"/>
                    <a:pt x="485" y="449"/>
                    <a:pt x="483" y="448"/>
                  </a:cubicBezTo>
                  <a:cubicBezTo>
                    <a:pt x="482" y="447"/>
                    <a:pt x="481" y="447"/>
                    <a:pt x="480" y="446"/>
                  </a:cubicBezTo>
                  <a:cubicBezTo>
                    <a:pt x="478" y="445"/>
                    <a:pt x="477" y="444"/>
                    <a:pt x="477" y="443"/>
                  </a:cubicBezTo>
                  <a:cubicBezTo>
                    <a:pt x="476" y="442"/>
                    <a:pt x="477" y="440"/>
                    <a:pt x="477" y="439"/>
                  </a:cubicBezTo>
                  <a:cubicBezTo>
                    <a:pt x="477" y="437"/>
                    <a:pt x="478" y="435"/>
                    <a:pt x="479" y="433"/>
                  </a:cubicBezTo>
                  <a:cubicBezTo>
                    <a:pt x="480" y="432"/>
                    <a:pt x="481" y="431"/>
                    <a:pt x="482" y="430"/>
                  </a:cubicBezTo>
                  <a:cubicBezTo>
                    <a:pt x="482" y="429"/>
                    <a:pt x="483" y="428"/>
                    <a:pt x="484" y="427"/>
                  </a:cubicBezTo>
                  <a:cubicBezTo>
                    <a:pt x="485" y="427"/>
                    <a:pt x="486" y="426"/>
                    <a:pt x="486" y="426"/>
                  </a:cubicBezTo>
                  <a:cubicBezTo>
                    <a:pt x="487" y="426"/>
                    <a:pt x="487" y="426"/>
                    <a:pt x="488" y="426"/>
                  </a:cubicBezTo>
                  <a:cubicBezTo>
                    <a:pt x="488" y="426"/>
                    <a:pt x="488" y="425"/>
                    <a:pt x="489" y="425"/>
                  </a:cubicBezTo>
                  <a:cubicBezTo>
                    <a:pt x="489" y="424"/>
                    <a:pt x="490" y="425"/>
                    <a:pt x="490" y="424"/>
                  </a:cubicBezTo>
                  <a:cubicBezTo>
                    <a:pt x="491" y="424"/>
                    <a:pt x="491" y="424"/>
                    <a:pt x="491" y="423"/>
                  </a:cubicBezTo>
                  <a:cubicBezTo>
                    <a:pt x="492" y="422"/>
                    <a:pt x="493" y="422"/>
                    <a:pt x="494" y="421"/>
                  </a:cubicBezTo>
                  <a:cubicBezTo>
                    <a:pt x="495" y="420"/>
                    <a:pt x="495" y="418"/>
                    <a:pt x="495" y="417"/>
                  </a:cubicBezTo>
                  <a:cubicBezTo>
                    <a:pt x="495" y="417"/>
                    <a:pt x="494" y="416"/>
                    <a:pt x="494" y="416"/>
                  </a:cubicBezTo>
                  <a:cubicBezTo>
                    <a:pt x="494" y="415"/>
                    <a:pt x="493" y="415"/>
                    <a:pt x="493" y="414"/>
                  </a:cubicBezTo>
                  <a:cubicBezTo>
                    <a:pt x="492" y="412"/>
                    <a:pt x="490" y="412"/>
                    <a:pt x="489" y="411"/>
                  </a:cubicBezTo>
                  <a:cubicBezTo>
                    <a:pt x="487" y="409"/>
                    <a:pt x="486" y="408"/>
                    <a:pt x="483" y="408"/>
                  </a:cubicBezTo>
                  <a:cubicBezTo>
                    <a:pt x="482" y="408"/>
                    <a:pt x="481" y="409"/>
                    <a:pt x="479" y="409"/>
                  </a:cubicBezTo>
                  <a:cubicBezTo>
                    <a:pt x="477" y="410"/>
                    <a:pt x="474" y="410"/>
                    <a:pt x="473" y="409"/>
                  </a:cubicBezTo>
                  <a:cubicBezTo>
                    <a:pt x="471" y="408"/>
                    <a:pt x="470" y="408"/>
                    <a:pt x="467" y="409"/>
                  </a:cubicBezTo>
                  <a:cubicBezTo>
                    <a:pt x="466" y="409"/>
                    <a:pt x="464" y="409"/>
                    <a:pt x="463" y="409"/>
                  </a:cubicBezTo>
                  <a:cubicBezTo>
                    <a:pt x="462" y="409"/>
                    <a:pt x="461" y="410"/>
                    <a:pt x="460" y="410"/>
                  </a:cubicBezTo>
                  <a:cubicBezTo>
                    <a:pt x="459" y="410"/>
                    <a:pt x="458" y="410"/>
                    <a:pt x="458" y="410"/>
                  </a:cubicBezTo>
                  <a:cubicBezTo>
                    <a:pt x="456" y="410"/>
                    <a:pt x="454" y="411"/>
                    <a:pt x="452" y="411"/>
                  </a:cubicBezTo>
                  <a:cubicBezTo>
                    <a:pt x="451" y="411"/>
                    <a:pt x="449" y="411"/>
                    <a:pt x="448" y="411"/>
                  </a:cubicBezTo>
                  <a:cubicBezTo>
                    <a:pt x="444" y="411"/>
                    <a:pt x="439" y="411"/>
                    <a:pt x="436" y="408"/>
                  </a:cubicBezTo>
                  <a:cubicBezTo>
                    <a:pt x="435" y="407"/>
                    <a:pt x="435" y="406"/>
                    <a:pt x="434" y="406"/>
                  </a:cubicBezTo>
                  <a:cubicBezTo>
                    <a:pt x="433" y="405"/>
                    <a:pt x="433" y="405"/>
                    <a:pt x="432" y="405"/>
                  </a:cubicBezTo>
                  <a:cubicBezTo>
                    <a:pt x="431" y="403"/>
                    <a:pt x="430" y="403"/>
                    <a:pt x="428" y="402"/>
                  </a:cubicBezTo>
                  <a:cubicBezTo>
                    <a:pt x="427" y="401"/>
                    <a:pt x="426" y="401"/>
                    <a:pt x="425" y="400"/>
                  </a:cubicBezTo>
                  <a:cubicBezTo>
                    <a:pt x="424" y="399"/>
                    <a:pt x="424" y="398"/>
                    <a:pt x="423" y="398"/>
                  </a:cubicBezTo>
                  <a:cubicBezTo>
                    <a:pt x="422" y="397"/>
                    <a:pt x="420" y="398"/>
                    <a:pt x="419" y="398"/>
                  </a:cubicBezTo>
                  <a:cubicBezTo>
                    <a:pt x="418" y="397"/>
                    <a:pt x="418" y="396"/>
                    <a:pt x="416" y="396"/>
                  </a:cubicBezTo>
                  <a:cubicBezTo>
                    <a:pt x="416" y="395"/>
                    <a:pt x="415" y="393"/>
                    <a:pt x="414" y="391"/>
                  </a:cubicBezTo>
                  <a:cubicBezTo>
                    <a:pt x="414" y="390"/>
                    <a:pt x="414" y="388"/>
                    <a:pt x="413" y="387"/>
                  </a:cubicBezTo>
                  <a:cubicBezTo>
                    <a:pt x="413" y="386"/>
                    <a:pt x="412" y="386"/>
                    <a:pt x="411" y="385"/>
                  </a:cubicBezTo>
                  <a:cubicBezTo>
                    <a:pt x="410" y="385"/>
                    <a:pt x="411" y="385"/>
                    <a:pt x="410" y="384"/>
                  </a:cubicBezTo>
                  <a:cubicBezTo>
                    <a:pt x="408" y="383"/>
                    <a:pt x="407" y="382"/>
                    <a:pt x="405" y="381"/>
                  </a:cubicBezTo>
                  <a:cubicBezTo>
                    <a:pt x="403" y="379"/>
                    <a:pt x="401" y="378"/>
                    <a:pt x="399" y="375"/>
                  </a:cubicBezTo>
                  <a:cubicBezTo>
                    <a:pt x="399" y="375"/>
                    <a:pt x="398" y="374"/>
                    <a:pt x="398" y="374"/>
                  </a:cubicBezTo>
                  <a:cubicBezTo>
                    <a:pt x="397" y="372"/>
                    <a:pt x="397" y="371"/>
                    <a:pt x="395" y="370"/>
                  </a:cubicBezTo>
                  <a:cubicBezTo>
                    <a:pt x="395" y="370"/>
                    <a:pt x="391" y="367"/>
                    <a:pt x="391" y="366"/>
                  </a:cubicBezTo>
                  <a:cubicBezTo>
                    <a:pt x="391" y="366"/>
                    <a:pt x="391" y="366"/>
                    <a:pt x="391" y="366"/>
                  </a:cubicBezTo>
                  <a:cubicBezTo>
                    <a:pt x="391" y="366"/>
                    <a:pt x="390" y="366"/>
                    <a:pt x="390" y="366"/>
                  </a:cubicBezTo>
                  <a:cubicBezTo>
                    <a:pt x="390" y="366"/>
                    <a:pt x="390" y="365"/>
                    <a:pt x="390" y="365"/>
                  </a:cubicBezTo>
                  <a:cubicBezTo>
                    <a:pt x="389" y="365"/>
                    <a:pt x="389" y="364"/>
                    <a:pt x="389" y="364"/>
                  </a:cubicBezTo>
                  <a:cubicBezTo>
                    <a:pt x="388" y="363"/>
                    <a:pt x="388" y="363"/>
                    <a:pt x="387" y="363"/>
                  </a:cubicBezTo>
                  <a:cubicBezTo>
                    <a:pt x="387" y="362"/>
                    <a:pt x="387" y="361"/>
                    <a:pt x="386" y="361"/>
                  </a:cubicBezTo>
                  <a:cubicBezTo>
                    <a:pt x="386" y="360"/>
                    <a:pt x="385" y="359"/>
                    <a:pt x="385" y="358"/>
                  </a:cubicBezTo>
                  <a:cubicBezTo>
                    <a:pt x="384" y="357"/>
                    <a:pt x="383" y="356"/>
                    <a:pt x="383" y="355"/>
                  </a:cubicBezTo>
                  <a:cubicBezTo>
                    <a:pt x="382" y="354"/>
                    <a:pt x="382" y="352"/>
                    <a:pt x="381" y="352"/>
                  </a:cubicBezTo>
                  <a:cubicBezTo>
                    <a:pt x="381" y="348"/>
                    <a:pt x="379" y="345"/>
                    <a:pt x="378" y="341"/>
                  </a:cubicBezTo>
                  <a:cubicBezTo>
                    <a:pt x="377" y="338"/>
                    <a:pt x="376" y="335"/>
                    <a:pt x="376" y="332"/>
                  </a:cubicBezTo>
                  <a:cubicBezTo>
                    <a:pt x="375" y="329"/>
                    <a:pt x="375" y="325"/>
                    <a:pt x="374" y="323"/>
                  </a:cubicBezTo>
                  <a:cubicBezTo>
                    <a:pt x="373" y="321"/>
                    <a:pt x="373" y="320"/>
                    <a:pt x="372" y="319"/>
                  </a:cubicBezTo>
                  <a:cubicBezTo>
                    <a:pt x="372" y="318"/>
                    <a:pt x="372" y="317"/>
                    <a:pt x="372" y="316"/>
                  </a:cubicBezTo>
                  <a:cubicBezTo>
                    <a:pt x="372" y="316"/>
                    <a:pt x="371" y="315"/>
                    <a:pt x="371" y="315"/>
                  </a:cubicBezTo>
                  <a:cubicBezTo>
                    <a:pt x="370" y="311"/>
                    <a:pt x="370" y="307"/>
                    <a:pt x="369" y="303"/>
                  </a:cubicBezTo>
                  <a:cubicBezTo>
                    <a:pt x="368" y="301"/>
                    <a:pt x="366" y="299"/>
                    <a:pt x="365" y="297"/>
                  </a:cubicBezTo>
                  <a:cubicBezTo>
                    <a:pt x="364" y="296"/>
                    <a:pt x="364" y="295"/>
                    <a:pt x="364" y="294"/>
                  </a:cubicBezTo>
                  <a:cubicBezTo>
                    <a:pt x="364" y="293"/>
                    <a:pt x="363" y="291"/>
                    <a:pt x="362" y="290"/>
                  </a:cubicBezTo>
                  <a:cubicBezTo>
                    <a:pt x="361" y="288"/>
                    <a:pt x="360" y="287"/>
                    <a:pt x="360" y="285"/>
                  </a:cubicBezTo>
                  <a:cubicBezTo>
                    <a:pt x="360" y="285"/>
                    <a:pt x="359" y="284"/>
                    <a:pt x="359" y="283"/>
                  </a:cubicBezTo>
                  <a:cubicBezTo>
                    <a:pt x="358" y="282"/>
                    <a:pt x="358" y="282"/>
                    <a:pt x="358" y="280"/>
                  </a:cubicBezTo>
                  <a:cubicBezTo>
                    <a:pt x="358" y="279"/>
                    <a:pt x="358" y="279"/>
                    <a:pt x="357" y="279"/>
                  </a:cubicBezTo>
                  <a:cubicBezTo>
                    <a:pt x="355" y="278"/>
                    <a:pt x="354" y="280"/>
                    <a:pt x="352" y="277"/>
                  </a:cubicBezTo>
                  <a:cubicBezTo>
                    <a:pt x="350" y="275"/>
                    <a:pt x="351" y="271"/>
                    <a:pt x="349" y="269"/>
                  </a:cubicBezTo>
                  <a:cubicBezTo>
                    <a:pt x="347" y="268"/>
                    <a:pt x="346" y="267"/>
                    <a:pt x="345" y="266"/>
                  </a:cubicBezTo>
                  <a:cubicBezTo>
                    <a:pt x="344" y="265"/>
                    <a:pt x="343" y="265"/>
                    <a:pt x="342" y="265"/>
                  </a:cubicBezTo>
                  <a:cubicBezTo>
                    <a:pt x="342" y="264"/>
                    <a:pt x="342" y="264"/>
                    <a:pt x="341" y="264"/>
                  </a:cubicBezTo>
                  <a:cubicBezTo>
                    <a:pt x="341" y="264"/>
                    <a:pt x="340" y="263"/>
                    <a:pt x="340" y="263"/>
                  </a:cubicBezTo>
                  <a:cubicBezTo>
                    <a:pt x="338" y="262"/>
                    <a:pt x="337" y="260"/>
                    <a:pt x="336" y="259"/>
                  </a:cubicBezTo>
                  <a:cubicBezTo>
                    <a:pt x="335" y="257"/>
                    <a:pt x="333" y="256"/>
                    <a:pt x="331" y="254"/>
                  </a:cubicBezTo>
                  <a:cubicBezTo>
                    <a:pt x="330" y="253"/>
                    <a:pt x="328" y="251"/>
                    <a:pt x="327" y="250"/>
                  </a:cubicBezTo>
                  <a:cubicBezTo>
                    <a:pt x="326" y="248"/>
                    <a:pt x="324" y="248"/>
                    <a:pt x="323" y="247"/>
                  </a:cubicBezTo>
                  <a:cubicBezTo>
                    <a:pt x="321" y="246"/>
                    <a:pt x="320" y="244"/>
                    <a:pt x="319" y="243"/>
                  </a:cubicBezTo>
                  <a:cubicBezTo>
                    <a:pt x="318" y="242"/>
                    <a:pt x="317" y="241"/>
                    <a:pt x="316" y="241"/>
                  </a:cubicBezTo>
                  <a:cubicBezTo>
                    <a:pt x="315" y="241"/>
                    <a:pt x="315" y="241"/>
                    <a:pt x="314" y="241"/>
                  </a:cubicBezTo>
                  <a:cubicBezTo>
                    <a:pt x="314" y="240"/>
                    <a:pt x="314" y="240"/>
                    <a:pt x="313" y="240"/>
                  </a:cubicBezTo>
                  <a:cubicBezTo>
                    <a:pt x="313" y="239"/>
                    <a:pt x="312" y="239"/>
                    <a:pt x="311" y="238"/>
                  </a:cubicBezTo>
                  <a:cubicBezTo>
                    <a:pt x="309" y="237"/>
                    <a:pt x="308" y="236"/>
                    <a:pt x="307" y="234"/>
                  </a:cubicBezTo>
                  <a:cubicBezTo>
                    <a:pt x="305" y="231"/>
                    <a:pt x="304" y="228"/>
                    <a:pt x="302" y="225"/>
                  </a:cubicBezTo>
                  <a:cubicBezTo>
                    <a:pt x="302" y="224"/>
                    <a:pt x="302" y="224"/>
                    <a:pt x="302" y="224"/>
                  </a:cubicBezTo>
                  <a:cubicBezTo>
                    <a:pt x="302" y="223"/>
                    <a:pt x="301" y="223"/>
                    <a:pt x="301" y="223"/>
                  </a:cubicBezTo>
                  <a:cubicBezTo>
                    <a:pt x="300" y="221"/>
                    <a:pt x="299" y="219"/>
                    <a:pt x="299" y="218"/>
                  </a:cubicBezTo>
                  <a:cubicBezTo>
                    <a:pt x="299" y="214"/>
                    <a:pt x="300" y="210"/>
                    <a:pt x="299" y="206"/>
                  </a:cubicBezTo>
                  <a:cubicBezTo>
                    <a:pt x="298" y="203"/>
                    <a:pt x="296" y="201"/>
                    <a:pt x="296" y="198"/>
                  </a:cubicBezTo>
                  <a:cubicBezTo>
                    <a:pt x="296" y="198"/>
                    <a:pt x="296" y="197"/>
                    <a:pt x="296" y="196"/>
                  </a:cubicBezTo>
                  <a:cubicBezTo>
                    <a:pt x="296" y="196"/>
                    <a:pt x="297" y="196"/>
                    <a:pt x="297" y="195"/>
                  </a:cubicBezTo>
                  <a:cubicBezTo>
                    <a:pt x="297" y="194"/>
                    <a:pt x="297" y="192"/>
                    <a:pt x="297" y="191"/>
                  </a:cubicBezTo>
                  <a:cubicBezTo>
                    <a:pt x="297" y="190"/>
                    <a:pt x="296" y="190"/>
                    <a:pt x="296" y="189"/>
                  </a:cubicBezTo>
                  <a:cubicBezTo>
                    <a:pt x="296" y="189"/>
                    <a:pt x="296" y="188"/>
                    <a:pt x="296" y="187"/>
                  </a:cubicBezTo>
                  <a:cubicBezTo>
                    <a:pt x="296" y="186"/>
                    <a:pt x="296" y="186"/>
                    <a:pt x="297" y="185"/>
                  </a:cubicBezTo>
                  <a:cubicBezTo>
                    <a:pt x="297" y="184"/>
                    <a:pt x="297" y="183"/>
                    <a:pt x="298" y="182"/>
                  </a:cubicBezTo>
                  <a:cubicBezTo>
                    <a:pt x="298" y="181"/>
                    <a:pt x="298" y="181"/>
                    <a:pt x="299" y="181"/>
                  </a:cubicBezTo>
                  <a:cubicBezTo>
                    <a:pt x="299" y="181"/>
                    <a:pt x="299" y="181"/>
                    <a:pt x="300" y="181"/>
                  </a:cubicBezTo>
                  <a:cubicBezTo>
                    <a:pt x="300" y="180"/>
                    <a:pt x="301" y="180"/>
                    <a:pt x="302" y="180"/>
                  </a:cubicBezTo>
                  <a:cubicBezTo>
                    <a:pt x="305" y="179"/>
                    <a:pt x="305" y="176"/>
                    <a:pt x="306" y="173"/>
                  </a:cubicBezTo>
                  <a:cubicBezTo>
                    <a:pt x="307" y="172"/>
                    <a:pt x="307" y="172"/>
                    <a:pt x="308" y="171"/>
                  </a:cubicBezTo>
                  <a:cubicBezTo>
                    <a:pt x="310" y="171"/>
                    <a:pt x="312" y="171"/>
                    <a:pt x="314" y="171"/>
                  </a:cubicBezTo>
                  <a:cubicBezTo>
                    <a:pt x="316" y="171"/>
                    <a:pt x="318" y="170"/>
                    <a:pt x="321" y="171"/>
                  </a:cubicBezTo>
                  <a:cubicBezTo>
                    <a:pt x="321" y="171"/>
                    <a:pt x="322" y="171"/>
                    <a:pt x="323" y="170"/>
                  </a:cubicBezTo>
                  <a:cubicBezTo>
                    <a:pt x="324" y="170"/>
                    <a:pt x="324" y="169"/>
                    <a:pt x="324" y="168"/>
                  </a:cubicBezTo>
                  <a:cubicBezTo>
                    <a:pt x="324" y="166"/>
                    <a:pt x="322" y="165"/>
                    <a:pt x="320" y="164"/>
                  </a:cubicBezTo>
                  <a:cubicBezTo>
                    <a:pt x="318" y="163"/>
                    <a:pt x="317" y="163"/>
                    <a:pt x="316" y="161"/>
                  </a:cubicBezTo>
                  <a:cubicBezTo>
                    <a:pt x="316" y="159"/>
                    <a:pt x="315" y="158"/>
                    <a:pt x="315" y="156"/>
                  </a:cubicBezTo>
                  <a:cubicBezTo>
                    <a:pt x="315" y="154"/>
                    <a:pt x="315" y="155"/>
                    <a:pt x="317" y="154"/>
                  </a:cubicBezTo>
                  <a:cubicBezTo>
                    <a:pt x="318" y="154"/>
                    <a:pt x="319" y="153"/>
                    <a:pt x="319" y="152"/>
                  </a:cubicBezTo>
                  <a:cubicBezTo>
                    <a:pt x="321" y="151"/>
                    <a:pt x="322" y="149"/>
                    <a:pt x="323" y="148"/>
                  </a:cubicBezTo>
                  <a:cubicBezTo>
                    <a:pt x="324" y="147"/>
                    <a:pt x="326" y="147"/>
                    <a:pt x="327" y="146"/>
                  </a:cubicBezTo>
                  <a:cubicBezTo>
                    <a:pt x="328" y="145"/>
                    <a:pt x="328" y="145"/>
                    <a:pt x="328" y="144"/>
                  </a:cubicBezTo>
                  <a:cubicBezTo>
                    <a:pt x="325" y="143"/>
                    <a:pt x="323" y="144"/>
                    <a:pt x="320" y="143"/>
                  </a:cubicBezTo>
                  <a:cubicBezTo>
                    <a:pt x="317" y="141"/>
                    <a:pt x="312" y="142"/>
                    <a:pt x="308" y="142"/>
                  </a:cubicBezTo>
                  <a:cubicBezTo>
                    <a:pt x="308" y="140"/>
                    <a:pt x="310" y="138"/>
                    <a:pt x="310" y="137"/>
                  </a:cubicBezTo>
                  <a:cubicBezTo>
                    <a:pt x="311" y="136"/>
                    <a:pt x="311" y="136"/>
                    <a:pt x="311" y="135"/>
                  </a:cubicBezTo>
                  <a:cubicBezTo>
                    <a:pt x="312" y="135"/>
                    <a:pt x="312" y="135"/>
                    <a:pt x="313" y="134"/>
                  </a:cubicBezTo>
                  <a:cubicBezTo>
                    <a:pt x="315" y="133"/>
                    <a:pt x="314" y="132"/>
                    <a:pt x="314" y="130"/>
                  </a:cubicBezTo>
                  <a:cubicBezTo>
                    <a:pt x="315" y="128"/>
                    <a:pt x="316" y="128"/>
                    <a:pt x="317" y="130"/>
                  </a:cubicBezTo>
                  <a:cubicBezTo>
                    <a:pt x="318" y="131"/>
                    <a:pt x="316" y="133"/>
                    <a:pt x="318" y="134"/>
                  </a:cubicBezTo>
                  <a:cubicBezTo>
                    <a:pt x="319" y="134"/>
                    <a:pt x="320" y="134"/>
                    <a:pt x="321" y="134"/>
                  </a:cubicBezTo>
                  <a:cubicBezTo>
                    <a:pt x="321" y="134"/>
                    <a:pt x="321" y="134"/>
                    <a:pt x="322" y="134"/>
                  </a:cubicBezTo>
                  <a:cubicBezTo>
                    <a:pt x="322" y="134"/>
                    <a:pt x="322" y="134"/>
                    <a:pt x="322" y="133"/>
                  </a:cubicBezTo>
                  <a:cubicBezTo>
                    <a:pt x="324" y="133"/>
                    <a:pt x="325" y="132"/>
                    <a:pt x="326" y="131"/>
                  </a:cubicBezTo>
                  <a:cubicBezTo>
                    <a:pt x="327" y="130"/>
                    <a:pt x="329" y="130"/>
                    <a:pt x="329" y="129"/>
                  </a:cubicBezTo>
                  <a:cubicBezTo>
                    <a:pt x="330" y="128"/>
                    <a:pt x="330" y="128"/>
                    <a:pt x="331" y="127"/>
                  </a:cubicBezTo>
                  <a:cubicBezTo>
                    <a:pt x="331" y="127"/>
                    <a:pt x="332" y="127"/>
                    <a:pt x="333" y="127"/>
                  </a:cubicBezTo>
                  <a:cubicBezTo>
                    <a:pt x="334" y="126"/>
                    <a:pt x="336" y="127"/>
                    <a:pt x="338" y="126"/>
                  </a:cubicBezTo>
                  <a:cubicBezTo>
                    <a:pt x="339" y="126"/>
                    <a:pt x="340" y="124"/>
                    <a:pt x="341" y="124"/>
                  </a:cubicBezTo>
                  <a:cubicBezTo>
                    <a:pt x="342" y="123"/>
                    <a:pt x="343" y="123"/>
                    <a:pt x="345" y="123"/>
                  </a:cubicBezTo>
                  <a:cubicBezTo>
                    <a:pt x="346" y="122"/>
                    <a:pt x="347" y="121"/>
                    <a:pt x="347" y="120"/>
                  </a:cubicBezTo>
                  <a:cubicBezTo>
                    <a:pt x="348" y="119"/>
                    <a:pt x="348" y="118"/>
                    <a:pt x="349" y="118"/>
                  </a:cubicBezTo>
                  <a:cubicBezTo>
                    <a:pt x="350" y="118"/>
                    <a:pt x="351" y="118"/>
                    <a:pt x="351" y="118"/>
                  </a:cubicBezTo>
                  <a:cubicBezTo>
                    <a:pt x="352" y="118"/>
                    <a:pt x="355" y="118"/>
                    <a:pt x="355" y="117"/>
                  </a:cubicBezTo>
                  <a:cubicBezTo>
                    <a:pt x="357" y="115"/>
                    <a:pt x="354" y="114"/>
                    <a:pt x="354" y="112"/>
                  </a:cubicBezTo>
                  <a:cubicBezTo>
                    <a:pt x="353" y="112"/>
                    <a:pt x="353" y="112"/>
                    <a:pt x="353" y="112"/>
                  </a:cubicBezTo>
                  <a:cubicBezTo>
                    <a:pt x="352" y="110"/>
                    <a:pt x="353" y="111"/>
                    <a:pt x="354" y="109"/>
                  </a:cubicBezTo>
                  <a:cubicBezTo>
                    <a:pt x="354" y="108"/>
                    <a:pt x="354" y="107"/>
                    <a:pt x="355" y="106"/>
                  </a:cubicBezTo>
                  <a:cubicBezTo>
                    <a:pt x="355" y="105"/>
                    <a:pt x="356" y="104"/>
                    <a:pt x="358" y="104"/>
                  </a:cubicBezTo>
                  <a:cubicBezTo>
                    <a:pt x="359" y="105"/>
                    <a:pt x="359" y="106"/>
                    <a:pt x="359" y="107"/>
                  </a:cubicBezTo>
                  <a:cubicBezTo>
                    <a:pt x="360" y="108"/>
                    <a:pt x="361" y="108"/>
                    <a:pt x="362" y="109"/>
                  </a:cubicBezTo>
                  <a:cubicBezTo>
                    <a:pt x="363" y="109"/>
                    <a:pt x="364" y="109"/>
                    <a:pt x="365" y="109"/>
                  </a:cubicBezTo>
                  <a:cubicBezTo>
                    <a:pt x="366" y="108"/>
                    <a:pt x="366" y="108"/>
                    <a:pt x="367" y="108"/>
                  </a:cubicBezTo>
                  <a:cubicBezTo>
                    <a:pt x="368" y="107"/>
                    <a:pt x="370" y="104"/>
                    <a:pt x="371" y="105"/>
                  </a:cubicBezTo>
                  <a:cubicBezTo>
                    <a:pt x="372" y="105"/>
                    <a:pt x="372" y="107"/>
                    <a:pt x="372" y="108"/>
                  </a:cubicBezTo>
                  <a:cubicBezTo>
                    <a:pt x="373" y="108"/>
                    <a:pt x="373" y="110"/>
                    <a:pt x="373" y="110"/>
                  </a:cubicBezTo>
                  <a:cubicBezTo>
                    <a:pt x="375" y="111"/>
                    <a:pt x="378" y="111"/>
                    <a:pt x="377" y="114"/>
                  </a:cubicBezTo>
                  <a:cubicBezTo>
                    <a:pt x="376" y="115"/>
                    <a:pt x="375" y="115"/>
                    <a:pt x="375" y="116"/>
                  </a:cubicBezTo>
                  <a:cubicBezTo>
                    <a:pt x="374" y="117"/>
                    <a:pt x="374" y="119"/>
                    <a:pt x="375" y="120"/>
                  </a:cubicBezTo>
                  <a:cubicBezTo>
                    <a:pt x="375" y="120"/>
                    <a:pt x="380" y="120"/>
                    <a:pt x="381" y="120"/>
                  </a:cubicBezTo>
                  <a:cubicBezTo>
                    <a:pt x="383" y="119"/>
                    <a:pt x="384" y="118"/>
                    <a:pt x="385" y="117"/>
                  </a:cubicBezTo>
                  <a:cubicBezTo>
                    <a:pt x="386" y="116"/>
                    <a:pt x="386" y="116"/>
                    <a:pt x="387" y="115"/>
                  </a:cubicBezTo>
                  <a:cubicBezTo>
                    <a:pt x="387" y="115"/>
                    <a:pt x="387" y="115"/>
                    <a:pt x="388" y="114"/>
                  </a:cubicBezTo>
                  <a:cubicBezTo>
                    <a:pt x="389" y="112"/>
                    <a:pt x="389" y="111"/>
                    <a:pt x="389" y="108"/>
                  </a:cubicBezTo>
                  <a:cubicBezTo>
                    <a:pt x="389" y="107"/>
                    <a:pt x="389" y="107"/>
                    <a:pt x="389" y="105"/>
                  </a:cubicBezTo>
                  <a:cubicBezTo>
                    <a:pt x="388" y="105"/>
                    <a:pt x="389" y="105"/>
                    <a:pt x="388" y="104"/>
                  </a:cubicBezTo>
                  <a:cubicBezTo>
                    <a:pt x="388" y="103"/>
                    <a:pt x="386" y="103"/>
                    <a:pt x="385" y="102"/>
                  </a:cubicBezTo>
                  <a:cubicBezTo>
                    <a:pt x="384" y="101"/>
                    <a:pt x="384" y="100"/>
                    <a:pt x="383" y="100"/>
                  </a:cubicBezTo>
                  <a:cubicBezTo>
                    <a:pt x="382" y="100"/>
                    <a:pt x="381" y="100"/>
                    <a:pt x="380" y="100"/>
                  </a:cubicBezTo>
                  <a:cubicBezTo>
                    <a:pt x="379" y="100"/>
                    <a:pt x="377" y="100"/>
                    <a:pt x="376" y="99"/>
                  </a:cubicBezTo>
                  <a:cubicBezTo>
                    <a:pt x="374" y="98"/>
                    <a:pt x="374" y="97"/>
                    <a:pt x="373" y="95"/>
                  </a:cubicBezTo>
                  <a:cubicBezTo>
                    <a:pt x="372" y="94"/>
                    <a:pt x="371" y="92"/>
                    <a:pt x="370" y="91"/>
                  </a:cubicBezTo>
                  <a:cubicBezTo>
                    <a:pt x="370" y="91"/>
                    <a:pt x="370" y="91"/>
                    <a:pt x="370" y="90"/>
                  </a:cubicBezTo>
                  <a:cubicBezTo>
                    <a:pt x="370" y="89"/>
                    <a:pt x="371" y="89"/>
                    <a:pt x="371" y="89"/>
                  </a:cubicBezTo>
                  <a:cubicBezTo>
                    <a:pt x="372" y="88"/>
                    <a:pt x="372" y="89"/>
                    <a:pt x="372" y="87"/>
                  </a:cubicBezTo>
                  <a:cubicBezTo>
                    <a:pt x="372" y="87"/>
                    <a:pt x="372" y="86"/>
                    <a:pt x="372" y="86"/>
                  </a:cubicBezTo>
                  <a:cubicBezTo>
                    <a:pt x="369" y="85"/>
                    <a:pt x="364" y="86"/>
                    <a:pt x="367" y="82"/>
                  </a:cubicBezTo>
                  <a:cubicBezTo>
                    <a:pt x="368" y="81"/>
                    <a:pt x="368" y="80"/>
                    <a:pt x="370" y="79"/>
                  </a:cubicBezTo>
                  <a:cubicBezTo>
                    <a:pt x="371" y="78"/>
                    <a:pt x="372" y="76"/>
                    <a:pt x="374" y="75"/>
                  </a:cubicBezTo>
                  <a:cubicBezTo>
                    <a:pt x="375" y="75"/>
                    <a:pt x="378" y="75"/>
                    <a:pt x="377" y="73"/>
                  </a:cubicBezTo>
                  <a:cubicBezTo>
                    <a:pt x="376" y="72"/>
                    <a:pt x="373" y="71"/>
                    <a:pt x="372" y="70"/>
                  </a:cubicBezTo>
                  <a:cubicBezTo>
                    <a:pt x="370" y="70"/>
                    <a:pt x="369" y="69"/>
                    <a:pt x="368" y="69"/>
                  </a:cubicBezTo>
                  <a:cubicBezTo>
                    <a:pt x="365" y="69"/>
                    <a:pt x="363" y="68"/>
                    <a:pt x="361" y="68"/>
                  </a:cubicBezTo>
                  <a:cubicBezTo>
                    <a:pt x="361" y="67"/>
                    <a:pt x="361" y="66"/>
                    <a:pt x="362" y="65"/>
                  </a:cubicBezTo>
                  <a:cubicBezTo>
                    <a:pt x="362" y="64"/>
                    <a:pt x="363" y="64"/>
                    <a:pt x="364" y="63"/>
                  </a:cubicBezTo>
                  <a:cubicBezTo>
                    <a:pt x="366" y="62"/>
                    <a:pt x="366" y="62"/>
                    <a:pt x="366" y="61"/>
                  </a:cubicBezTo>
                  <a:cubicBezTo>
                    <a:pt x="366" y="59"/>
                    <a:pt x="366" y="58"/>
                    <a:pt x="367" y="57"/>
                  </a:cubicBezTo>
                  <a:cubicBezTo>
                    <a:pt x="369" y="55"/>
                    <a:pt x="371" y="54"/>
                    <a:pt x="374" y="54"/>
                  </a:cubicBezTo>
                  <a:cubicBezTo>
                    <a:pt x="376" y="54"/>
                    <a:pt x="378" y="54"/>
                    <a:pt x="380" y="53"/>
                  </a:cubicBezTo>
                  <a:cubicBezTo>
                    <a:pt x="382" y="42"/>
                    <a:pt x="382" y="42"/>
                    <a:pt x="382" y="42"/>
                  </a:cubicBezTo>
                  <a:cubicBezTo>
                    <a:pt x="382" y="42"/>
                    <a:pt x="382" y="42"/>
                    <a:pt x="381" y="42"/>
                  </a:cubicBezTo>
                  <a:cubicBezTo>
                    <a:pt x="378" y="42"/>
                    <a:pt x="374" y="42"/>
                    <a:pt x="371" y="42"/>
                  </a:cubicBezTo>
                  <a:cubicBezTo>
                    <a:pt x="368" y="42"/>
                    <a:pt x="366" y="42"/>
                    <a:pt x="363" y="42"/>
                  </a:cubicBezTo>
                  <a:cubicBezTo>
                    <a:pt x="359" y="41"/>
                    <a:pt x="355" y="41"/>
                    <a:pt x="351" y="39"/>
                  </a:cubicBezTo>
                  <a:cubicBezTo>
                    <a:pt x="350" y="39"/>
                    <a:pt x="349" y="38"/>
                    <a:pt x="347" y="37"/>
                  </a:cubicBezTo>
                  <a:cubicBezTo>
                    <a:pt x="346" y="37"/>
                    <a:pt x="344" y="37"/>
                    <a:pt x="343" y="37"/>
                  </a:cubicBezTo>
                  <a:cubicBezTo>
                    <a:pt x="341" y="36"/>
                    <a:pt x="339" y="36"/>
                    <a:pt x="337" y="36"/>
                  </a:cubicBezTo>
                  <a:cubicBezTo>
                    <a:pt x="334" y="35"/>
                    <a:pt x="332" y="35"/>
                    <a:pt x="329" y="35"/>
                  </a:cubicBezTo>
                  <a:cubicBezTo>
                    <a:pt x="328" y="35"/>
                    <a:pt x="327" y="35"/>
                    <a:pt x="326" y="35"/>
                  </a:cubicBezTo>
                  <a:cubicBezTo>
                    <a:pt x="322" y="33"/>
                    <a:pt x="317" y="30"/>
                    <a:pt x="314" y="27"/>
                  </a:cubicBezTo>
                  <a:cubicBezTo>
                    <a:pt x="312" y="26"/>
                    <a:pt x="310" y="24"/>
                    <a:pt x="309" y="22"/>
                  </a:cubicBezTo>
                  <a:cubicBezTo>
                    <a:pt x="308" y="20"/>
                    <a:pt x="308" y="18"/>
                    <a:pt x="306" y="17"/>
                  </a:cubicBezTo>
                  <a:cubicBezTo>
                    <a:pt x="305" y="16"/>
                    <a:pt x="304" y="15"/>
                    <a:pt x="303" y="14"/>
                  </a:cubicBezTo>
                  <a:cubicBezTo>
                    <a:pt x="302" y="13"/>
                    <a:pt x="301" y="12"/>
                    <a:pt x="301" y="12"/>
                  </a:cubicBezTo>
                  <a:cubicBezTo>
                    <a:pt x="299" y="10"/>
                    <a:pt x="300" y="10"/>
                    <a:pt x="300" y="9"/>
                  </a:cubicBezTo>
                  <a:cubicBezTo>
                    <a:pt x="300" y="8"/>
                    <a:pt x="300" y="7"/>
                    <a:pt x="301" y="6"/>
                  </a:cubicBezTo>
                  <a:cubicBezTo>
                    <a:pt x="301" y="6"/>
                    <a:pt x="303" y="6"/>
                    <a:pt x="303" y="6"/>
                  </a:cubicBezTo>
                  <a:cubicBezTo>
                    <a:pt x="304" y="5"/>
                    <a:pt x="306" y="4"/>
                    <a:pt x="306" y="3"/>
                  </a:cubicBezTo>
                  <a:cubicBezTo>
                    <a:pt x="306" y="0"/>
                    <a:pt x="303" y="0"/>
                    <a:pt x="301" y="0"/>
                  </a:cubicBezTo>
                  <a:cubicBezTo>
                    <a:pt x="299" y="0"/>
                    <a:pt x="297" y="1"/>
                    <a:pt x="296" y="2"/>
                  </a:cubicBezTo>
                  <a:cubicBezTo>
                    <a:pt x="293" y="3"/>
                    <a:pt x="290" y="4"/>
                    <a:pt x="288" y="6"/>
                  </a:cubicBezTo>
                  <a:cubicBezTo>
                    <a:pt x="286" y="7"/>
                    <a:pt x="283" y="10"/>
                    <a:pt x="281" y="8"/>
                  </a:cubicBezTo>
                  <a:cubicBezTo>
                    <a:pt x="280" y="7"/>
                    <a:pt x="279" y="6"/>
                    <a:pt x="277" y="7"/>
                  </a:cubicBezTo>
                  <a:cubicBezTo>
                    <a:pt x="276" y="7"/>
                    <a:pt x="275" y="8"/>
                    <a:pt x="274" y="9"/>
                  </a:cubicBezTo>
                  <a:cubicBezTo>
                    <a:pt x="273" y="9"/>
                    <a:pt x="272" y="9"/>
                    <a:pt x="271" y="9"/>
                  </a:cubicBezTo>
                  <a:cubicBezTo>
                    <a:pt x="266" y="9"/>
                    <a:pt x="261" y="8"/>
                    <a:pt x="256" y="8"/>
                  </a:cubicBezTo>
                  <a:cubicBezTo>
                    <a:pt x="255" y="8"/>
                    <a:pt x="254" y="8"/>
                    <a:pt x="253" y="8"/>
                  </a:cubicBezTo>
                  <a:cubicBezTo>
                    <a:pt x="251" y="8"/>
                    <a:pt x="250" y="9"/>
                    <a:pt x="249" y="9"/>
                  </a:cubicBezTo>
                  <a:cubicBezTo>
                    <a:pt x="247" y="10"/>
                    <a:pt x="247" y="10"/>
                    <a:pt x="247" y="11"/>
                  </a:cubicBezTo>
                  <a:cubicBezTo>
                    <a:pt x="246" y="12"/>
                    <a:pt x="246" y="12"/>
                    <a:pt x="246" y="14"/>
                  </a:cubicBezTo>
                  <a:cubicBezTo>
                    <a:pt x="246" y="15"/>
                    <a:pt x="246" y="16"/>
                    <a:pt x="246" y="17"/>
                  </a:cubicBezTo>
                  <a:cubicBezTo>
                    <a:pt x="245" y="19"/>
                    <a:pt x="244" y="20"/>
                    <a:pt x="243" y="21"/>
                  </a:cubicBezTo>
                  <a:cubicBezTo>
                    <a:pt x="243" y="23"/>
                    <a:pt x="243" y="25"/>
                    <a:pt x="241" y="26"/>
                  </a:cubicBezTo>
                  <a:cubicBezTo>
                    <a:pt x="239" y="26"/>
                    <a:pt x="237" y="26"/>
                    <a:pt x="236" y="26"/>
                  </a:cubicBezTo>
                  <a:cubicBezTo>
                    <a:pt x="235" y="26"/>
                    <a:pt x="234" y="26"/>
                    <a:pt x="234" y="25"/>
                  </a:cubicBezTo>
                  <a:cubicBezTo>
                    <a:pt x="233" y="25"/>
                    <a:pt x="233" y="25"/>
                    <a:pt x="232" y="24"/>
                  </a:cubicBezTo>
                  <a:cubicBezTo>
                    <a:pt x="232" y="24"/>
                    <a:pt x="230" y="24"/>
                    <a:pt x="230" y="24"/>
                  </a:cubicBezTo>
                  <a:cubicBezTo>
                    <a:pt x="229" y="24"/>
                    <a:pt x="227" y="24"/>
                    <a:pt x="227" y="23"/>
                  </a:cubicBezTo>
                  <a:cubicBezTo>
                    <a:pt x="226" y="22"/>
                    <a:pt x="227" y="21"/>
                    <a:pt x="226" y="20"/>
                  </a:cubicBezTo>
                  <a:cubicBezTo>
                    <a:pt x="226" y="19"/>
                    <a:pt x="225" y="19"/>
                    <a:pt x="224" y="19"/>
                  </a:cubicBezTo>
                  <a:cubicBezTo>
                    <a:pt x="223" y="19"/>
                    <a:pt x="221" y="18"/>
                    <a:pt x="220" y="18"/>
                  </a:cubicBezTo>
                  <a:cubicBezTo>
                    <a:pt x="219" y="18"/>
                    <a:pt x="218" y="18"/>
                    <a:pt x="217" y="18"/>
                  </a:cubicBezTo>
                  <a:cubicBezTo>
                    <a:pt x="216" y="18"/>
                    <a:pt x="215" y="18"/>
                    <a:pt x="213" y="18"/>
                  </a:cubicBezTo>
                  <a:cubicBezTo>
                    <a:pt x="213" y="19"/>
                    <a:pt x="213" y="20"/>
                    <a:pt x="213" y="22"/>
                  </a:cubicBezTo>
                  <a:cubicBezTo>
                    <a:pt x="212" y="23"/>
                    <a:pt x="212" y="25"/>
                    <a:pt x="211" y="27"/>
                  </a:cubicBezTo>
                  <a:cubicBezTo>
                    <a:pt x="209" y="29"/>
                    <a:pt x="207" y="30"/>
                    <a:pt x="208" y="34"/>
                  </a:cubicBezTo>
                  <a:cubicBezTo>
                    <a:pt x="208" y="35"/>
                    <a:pt x="209" y="35"/>
                    <a:pt x="210" y="36"/>
                  </a:cubicBezTo>
                  <a:cubicBezTo>
                    <a:pt x="210" y="36"/>
                    <a:pt x="210" y="37"/>
                    <a:pt x="211" y="37"/>
                  </a:cubicBezTo>
                  <a:cubicBezTo>
                    <a:pt x="211" y="37"/>
                    <a:pt x="212" y="37"/>
                    <a:pt x="213" y="38"/>
                  </a:cubicBezTo>
                  <a:cubicBezTo>
                    <a:pt x="213" y="38"/>
                    <a:pt x="212" y="41"/>
                    <a:pt x="212" y="42"/>
                  </a:cubicBezTo>
                  <a:cubicBezTo>
                    <a:pt x="211" y="42"/>
                    <a:pt x="209" y="43"/>
                    <a:pt x="208" y="43"/>
                  </a:cubicBezTo>
                  <a:cubicBezTo>
                    <a:pt x="206" y="44"/>
                    <a:pt x="204" y="44"/>
                    <a:pt x="203" y="43"/>
                  </a:cubicBezTo>
                  <a:cubicBezTo>
                    <a:pt x="201" y="42"/>
                    <a:pt x="201" y="39"/>
                    <a:pt x="198" y="39"/>
                  </a:cubicBezTo>
                  <a:cubicBezTo>
                    <a:pt x="197" y="39"/>
                    <a:pt x="197" y="40"/>
                    <a:pt x="196" y="40"/>
                  </a:cubicBezTo>
                  <a:cubicBezTo>
                    <a:pt x="195" y="41"/>
                    <a:pt x="194" y="41"/>
                    <a:pt x="192" y="42"/>
                  </a:cubicBezTo>
                  <a:cubicBezTo>
                    <a:pt x="191" y="42"/>
                    <a:pt x="190" y="43"/>
                    <a:pt x="190" y="44"/>
                  </a:cubicBezTo>
                  <a:cubicBezTo>
                    <a:pt x="189" y="46"/>
                    <a:pt x="189" y="47"/>
                    <a:pt x="189" y="49"/>
                  </a:cubicBezTo>
                  <a:cubicBezTo>
                    <a:pt x="189" y="50"/>
                    <a:pt x="189" y="52"/>
                    <a:pt x="189" y="54"/>
                  </a:cubicBezTo>
                  <a:cubicBezTo>
                    <a:pt x="191" y="54"/>
                    <a:pt x="193" y="53"/>
                    <a:pt x="194" y="54"/>
                  </a:cubicBezTo>
                  <a:cubicBezTo>
                    <a:pt x="196" y="55"/>
                    <a:pt x="194" y="58"/>
                    <a:pt x="194" y="59"/>
                  </a:cubicBezTo>
                  <a:cubicBezTo>
                    <a:pt x="193" y="60"/>
                    <a:pt x="193" y="60"/>
                    <a:pt x="192" y="61"/>
                  </a:cubicBezTo>
                  <a:cubicBezTo>
                    <a:pt x="192" y="62"/>
                    <a:pt x="193" y="62"/>
                    <a:pt x="193" y="63"/>
                  </a:cubicBezTo>
                  <a:cubicBezTo>
                    <a:pt x="194" y="65"/>
                    <a:pt x="195" y="66"/>
                    <a:pt x="195" y="68"/>
                  </a:cubicBezTo>
                  <a:cubicBezTo>
                    <a:pt x="192" y="68"/>
                    <a:pt x="190" y="67"/>
                    <a:pt x="188" y="66"/>
                  </a:cubicBezTo>
                  <a:cubicBezTo>
                    <a:pt x="187" y="65"/>
                    <a:pt x="187" y="64"/>
                    <a:pt x="186" y="63"/>
                  </a:cubicBezTo>
                  <a:cubicBezTo>
                    <a:pt x="186" y="63"/>
                    <a:pt x="186" y="60"/>
                    <a:pt x="185" y="60"/>
                  </a:cubicBezTo>
                  <a:cubicBezTo>
                    <a:pt x="184" y="59"/>
                    <a:pt x="182" y="60"/>
                    <a:pt x="181" y="60"/>
                  </a:cubicBezTo>
                  <a:cubicBezTo>
                    <a:pt x="179" y="60"/>
                    <a:pt x="177" y="60"/>
                    <a:pt x="175" y="60"/>
                  </a:cubicBezTo>
                  <a:cubicBezTo>
                    <a:pt x="174" y="60"/>
                    <a:pt x="173" y="60"/>
                    <a:pt x="172" y="61"/>
                  </a:cubicBezTo>
                  <a:cubicBezTo>
                    <a:pt x="171" y="61"/>
                    <a:pt x="171" y="62"/>
                    <a:pt x="170" y="63"/>
                  </a:cubicBezTo>
                  <a:cubicBezTo>
                    <a:pt x="170" y="63"/>
                    <a:pt x="169" y="63"/>
                    <a:pt x="168" y="63"/>
                  </a:cubicBezTo>
                  <a:cubicBezTo>
                    <a:pt x="167" y="63"/>
                    <a:pt x="167" y="63"/>
                    <a:pt x="166" y="64"/>
                  </a:cubicBezTo>
                  <a:cubicBezTo>
                    <a:pt x="164" y="64"/>
                    <a:pt x="162" y="63"/>
                    <a:pt x="161" y="62"/>
                  </a:cubicBezTo>
                  <a:cubicBezTo>
                    <a:pt x="159" y="62"/>
                    <a:pt x="158" y="62"/>
                    <a:pt x="157" y="60"/>
                  </a:cubicBezTo>
                  <a:cubicBezTo>
                    <a:pt x="157" y="59"/>
                    <a:pt x="157" y="57"/>
                    <a:pt x="157" y="56"/>
                  </a:cubicBezTo>
                  <a:cubicBezTo>
                    <a:pt x="156" y="55"/>
                    <a:pt x="156" y="54"/>
                    <a:pt x="155" y="52"/>
                  </a:cubicBezTo>
                  <a:cubicBezTo>
                    <a:pt x="155" y="52"/>
                    <a:pt x="153" y="50"/>
                    <a:pt x="153" y="50"/>
                  </a:cubicBezTo>
                  <a:cubicBezTo>
                    <a:pt x="152" y="49"/>
                    <a:pt x="148" y="49"/>
                    <a:pt x="147" y="50"/>
                  </a:cubicBezTo>
                  <a:cubicBezTo>
                    <a:pt x="147" y="50"/>
                    <a:pt x="146" y="51"/>
                    <a:pt x="145" y="51"/>
                  </a:cubicBezTo>
                  <a:cubicBezTo>
                    <a:pt x="145" y="52"/>
                    <a:pt x="144" y="53"/>
                    <a:pt x="144" y="53"/>
                  </a:cubicBezTo>
                  <a:cubicBezTo>
                    <a:pt x="143" y="55"/>
                    <a:pt x="144" y="58"/>
                    <a:pt x="145" y="59"/>
                  </a:cubicBezTo>
                  <a:cubicBezTo>
                    <a:pt x="146" y="60"/>
                    <a:pt x="146" y="61"/>
                    <a:pt x="147" y="62"/>
                  </a:cubicBezTo>
                  <a:cubicBezTo>
                    <a:pt x="147" y="63"/>
                    <a:pt x="147" y="65"/>
                    <a:pt x="146" y="66"/>
                  </a:cubicBezTo>
                  <a:cubicBezTo>
                    <a:pt x="146" y="67"/>
                    <a:pt x="145" y="68"/>
                    <a:pt x="144" y="69"/>
                  </a:cubicBezTo>
                  <a:cubicBezTo>
                    <a:pt x="143" y="70"/>
                    <a:pt x="143" y="70"/>
                    <a:pt x="143" y="71"/>
                  </a:cubicBezTo>
                  <a:cubicBezTo>
                    <a:pt x="141" y="72"/>
                    <a:pt x="140" y="73"/>
                    <a:pt x="138" y="74"/>
                  </a:cubicBezTo>
                  <a:cubicBezTo>
                    <a:pt x="136" y="75"/>
                    <a:pt x="136" y="77"/>
                    <a:pt x="135" y="79"/>
                  </a:cubicBezTo>
                  <a:cubicBezTo>
                    <a:pt x="135" y="81"/>
                    <a:pt x="133" y="82"/>
                    <a:pt x="132" y="84"/>
                  </a:cubicBezTo>
                  <a:cubicBezTo>
                    <a:pt x="132" y="85"/>
                    <a:pt x="132" y="85"/>
                    <a:pt x="131" y="86"/>
                  </a:cubicBezTo>
                  <a:cubicBezTo>
                    <a:pt x="131" y="87"/>
                    <a:pt x="130" y="88"/>
                    <a:pt x="129" y="88"/>
                  </a:cubicBezTo>
                  <a:cubicBezTo>
                    <a:pt x="129" y="89"/>
                    <a:pt x="129" y="92"/>
                    <a:pt x="129" y="92"/>
                  </a:cubicBezTo>
                  <a:cubicBezTo>
                    <a:pt x="130" y="93"/>
                    <a:pt x="132" y="93"/>
                    <a:pt x="132" y="93"/>
                  </a:cubicBezTo>
                  <a:cubicBezTo>
                    <a:pt x="133" y="94"/>
                    <a:pt x="134" y="94"/>
                    <a:pt x="134" y="95"/>
                  </a:cubicBezTo>
                  <a:cubicBezTo>
                    <a:pt x="136" y="96"/>
                    <a:pt x="135" y="97"/>
                    <a:pt x="135" y="98"/>
                  </a:cubicBezTo>
                  <a:cubicBezTo>
                    <a:pt x="134" y="101"/>
                    <a:pt x="133" y="102"/>
                    <a:pt x="130" y="101"/>
                  </a:cubicBezTo>
                  <a:cubicBezTo>
                    <a:pt x="129" y="101"/>
                    <a:pt x="126" y="101"/>
                    <a:pt x="125" y="99"/>
                  </a:cubicBezTo>
                  <a:cubicBezTo>
                    <a:pt x="124" y="97"/>
                    <a:pt x="125" y="94"/>
                    <a:pt x="124" y="92"/>
                  </a:cubicBezTo>
                  <a:cubicBezTo>
                    <a:pt x="123" y="90"/>
                    <a:pt x="121" y="90"/>
                    <a:pt x="119" y="90"/>
                  </a:cubicBezTo>
                  <a:cubicBezTo>
                    <a:pt x="119" y="89"/>
                    <a:pt x="119" y="88"/>
                    <a:pt x="119" y="88"/>
                  </a:cubicBezTo>
                  <a:cubicBezTo>
                    <a:pt x="119" y="88"/>
                    <a:pt x="120" y="87"/>
                    <a:pt x="120" y="87"/>
                  </a:cubicBezTo>
                  <a:cubicBezTo>
                    <a:pt x="120" y="87"/>
                    <a:pt x="120" y="86"/>
                    <a:pt x="120" y="86"/>
                  </a:cubicBezTo>
                  <a:cubicBezTo>
                    <a:pt x="120" y="85"/>
                    <a:pt x="122" y="84"/>
                    <a:pt x="122" y="83"/>
                  </a:cubicBezTo>
                  <a:cubicBezTo>
                    <a:pt x="121" y="82"/>
                    <a:pt x="121" y="82"/>
                    <a:pt x="120" y="82"/>
                  </a:cubicBezTo>
                  <a:cubicBezTo>
                    <a:pt x="119" y="81"/>
                    <a:pt x="118" y="80"/>
                    <a:pt x="116" y="80"/>
                  </a:cubicBezTo>
                  <a:cubicBezTo>
                    <a:pt x="116" y="80"/>
                    <a:pt x="115" y="80"/>
                    <a:pt x="114" y="80"/>
                  </a:cubicBezTo>
                  <a:cubicBezTo>
                    <a:pt x="114" y="80"/>
                    <a:pt x="114" y="79"/>
                    <a:pt x="113" y="79"/>
                  </a:cubicBezTo>
                  <a:cubicBezTo>
                    <a:pt x="112" y="79"/>
                    <a:pt x="111" y="79"/>
                    <a:pt x="110" y="78"/>
                  </a:cubicBezTo>
                  <a:cubicBezTo>
                    <a:pt x="108" y="78"/>
                    <a:pt x="107" y="77"/>
                    <a:pt x="106" y="75"/>
                  </a:cubicBezTo>
                  <a:cubicBezTo>
                    <a:pt x="105" y="73"/>
                    <a:pt x="104" y="71"/>
                    <a:pt x="103" y="70"/>
                  </a:cubicBezTo>
                  <a:cubicBezTo>
                    <a:pt x="102" y="69"/>
                    <a:pt x="101" y="68"/>
                    <a:pt x="100" y="67"/>
                  </a:cubicBezTo>
                  <a:cubicBezTo>
                    <a:pt x="100" y="66"/>
                    <a:pt x="99" y="66"/>
                    <a:pt x="99" y="65"/>
                  </a:cubicBezTo>
                  <a:cubicBezTo>
                    <a:pt x="99" y="65"/>
                    <a:pt x="99" y="63"/>
                    <a:pt x="99" y="63"/>
                  </a:cubicBezTo>
                  <a:cubicBezTo>
                    <a:pt x="99" y="62"/>
                    <a:pt x="99" y="61"/>
                    <a:pt x="99" y="60"/>
                  </a:cubicBezTo>
                  <a:cubicBezTo>
                    <a:pt x="99" y="58"/>
                    <a:pt x="97" y="56"/>
                    <a:pt x="95" y="55"/>
                  </a:cubicBezTo>
                  <a:cubicBezTo>
                    <a:pt x="92" y="54"/>
                    <a:pt x="92" y="57"/>
                    <a:pt x="91" y="59"/>
                  </a:cubicBezTo>
                  <a:cubicBezTo>
                    <a:pt x="91" y="61"/>
                    <a:pt x="90" y="63"/>
                    <a:pt x="89" y="64"/>
                  </a:cubicBezTo>
                  <a:cubicBezTo>
                    <a:pt x="87" y="65"/>
                    <a:pt x="85" y="65"/>
                    <a:pt x="83" y="67"/>
                  </a:cubicBezTo>
                  <a:cubicBezTo>
                    <a:pt x="81" y="68"/>
                    <a:pt x="81" y="70"/>
                    <a:pt x="82" y="72"/>
                  </a:cubicBezTo>
                  <a:cubicBezTo>
                    <a:pt x="83" y="73"/>
                    <a:pt x="84" y="72"/>
                    <a:pt x="85" y="74"/>
                  </a:cubicBezTo>
                  <a:cubicBezTo>
                    <a:pt x="85" y="75"/>
                    <a:pt x="85" y="76"/>
                    <a:pt x="85" y="77"/>
                  </a:cubicBezTo>
                  <a:cubicBezTo>
                    <a:pt x="85" y="78"/>
                    <a:pt x="85" y="78"/>
                    <a:pt x="83" y="79"/>
                  </a:cubicBezTo>
                  <a:cubicBezTo>
                    <a:pt x="83" y="79"/>
                    <a:pt x="82" y="80"/>
                    <a:pt x="82" y="80"/>
                  </a:cubicBezTo>
                  <a:cubicBezTo>
                    <a:pt x="82" y="80"/>
                    <a:pt x="81" y="80"/>
                    <a:pt x="80" y="80"/>
                  </a:cubicBezTo>
                  <a:cubicBezTo>
                    <a:pt x="78" y="81"/>
                    <a:pt x="78" y="84"/>
                    <a:pt x="77" y="85"/>
                  </a:cubicBezTo>
                  <a:cubicBezTo>
                    <a:pt x="77" y="87"/>
                    <a:pt x="75" y="88"/>
                    <a:pt x="74" y="89"/>
                  </a:cubicBezTo>
                  <a:cubicBezTo>
                    <a:pt x="72" y="90"/>
                    <a:pt x="72" y="91"/>
                    <a:pt x="71" y="92"/>
                  </a:cubicBezTo>
                  <a:cubicBezTo>
                    <a:pt x="67" y="94"/>
                    <a:pt x="63" y="91"/>
                    <a:pt x="60" y="90"/>
                  </a:cubicBezTo>
                  <a:cubicBezTo>
                    <a:pt x="58" y="89"/>
                    <a:pt x="57" y="88"/>
                    <a:pt x="56" y="88"/>
                  </a:cubicBezTo>
                  <a:cubicBezTo>
                    <a:pt x="54" y="89"/>
                    <a:pt x="54" y="90"/>
                    <a:pt x="53" y="92"/>
                  </a:cubicBezTo>
                  <a:cubicBezTo>
                    <a:pt x="52" y="93"/>
                    <a:pt x="51" y="94"/>
                    <a:pt x="49" y="94"/>
                  </a:cubicBezTo>
                  <a:cubicBezTo>
                    <a:pt x="46" y="95"/>
                    <a:pt x="43" y="95"/>
                    <a:pt x="40" y="96"/>
                  </a:cubicBezTo>
                  <a:cubicBezTo>
                    <a:pt x="39" y="96"/>
                    <a:pt x="39" y="97"/>
                    <a:pt x="38" y="98"/>
                  </a:cubicBezTo>
                  <a:cubicBezTo>
                    <a:pt x="37" y="98"/>
                    <a:pt x="35" y="98"/>
                    <a:pt x="35" y="98"/>
                  </a:cubicBezTo>
                  <a:cubicBezTo>
                    <a:pt x="34" y="99"/>
                    <a:pt x="33" y="99"/>
                    <a:pt x="32" y="99"/>
                  </a:cubicBezTo>
                  <a:cubicBezTo>
                    <a:pt x="31" y="99"/>
                    <a:pt x="30" y="98"/>
                    <a:pt x="29" y="98"/>
                  </a:cubicBezTo>
                  <a:cubicBezTo>
                    <a:pt x="27" y="98"/>
                    <a:pt x="25" y="99"/>
                    <a:pt x="23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8"/>
                    <a:pt x="21" y="99"/>
                    <a:pt x="19" y="100"/>
                  </a:cubicBezTo>
                  <a:cubicBezTo>
                    <a:pt x="17" y="105"/>
                    <a:pt x="14" y="106"/>
                    <a:pt x="15" y="108"/>
                  </a:cubicBezTo>
                  <a:cubicBezTo>
                    <a:pt x="17" y="112"/>
                    <a:pt x="13" y="112"/>
                    <a:pt x="16" y="115"/>
                  </a:cubicBezTo>
                  <a:cubicBezTo>
                    <a:pt x="17" y="116"/>
                    <a:pt x="20" y="117"/>
                    <a:pt x="21" y="119"/>
                  </a:cubicBezTo>
                  <a:cubicBezTo>
                    <a:pt x="21" y="121"/>
                    <a:pt x="21" y="123"/>
                    <a:pt x="22" y="125"/>
                  </a:cubicBezTo>
                  <a:cubicBezTo>
                    <a:pt x="22" y="127"/>
                    <a:pt x="23" y="130"/>
                    <a:pt x="25" y="132"/>
                  </a:cubicBezTo>
                  <a:cubicBezTo>
                    <a:pt x="26" y="133"/>
                    <a:pt x="28" y="133"/>
                    <a:pt x="29" y="135"/>
                  </a:cubicBezTo>
                  <a:cubicBezTo>
                    <a:pt x="31" y="138"/>
                    <a:pt x="28" y="139"/>
                    <a:pt x="27" y="142"/>
                  </a:cubicBezTo>
                  <a:cubicBezTo>
                    <a:pt x="26" y="144"/>
                    <a:pt x="28" y="148"/>
                    <a:pt x="26" y="150"/>
                  </a:cubicBezTo>
                  <a:cubicBezTo>
                    <a:pt x="25" y="151"/>
                    <a:pt x="23" y="151"/>
                    <a:pt x="22" y="152"/>
                  </a:cubicBezTo>
                  <a:cubicBezTo>
                    <a:pt x="21" y="152"/>
                    <a:pt x="20" y="153"/>
                    <a:pt x="20" y="153"/>
                  </a:cubicBezTo>
                  <a:cubicBezTo>
                    <a:pt x="17" y="156"/>
                    <a:pt x="14" y="157"/>
                    <a:pt x="11" y="159"/>
                  </a:cubicBezTo>
                  <a:cubicBezTo>
                    <a:pt x="9" y="161"/>
                    <a:pt x="11" y="160"/>
                    <a:pt x="9" y="161"/>
                  </a:cubicBezTo>
                  <a:cubicBezTo>
                    <a:pt x="7" y="162"/>
                    <a:pt x="5" y="161"/>
                    <a:pt x="4" y="161"/>
                  </a:cubicBezTo>
                  <a:cubicBezTo>
                    <a:pt x="2" y="162"/>
                    <a:pt x="0" y="161"/>
                    <a:pt x="1" y="164"/>
                  </a:cubicBezTo>
                  <a:cubicBezTo>
                    <a:pt x="8" y="166"/>
                    <a:pt x="7" y="173"/>
                    <a:pt x="12" y="177"/>
                  </a:cubicBezTo>
                  <a:cubicBezTo>
                    <a:pt x="12" y="177"/>
                    <a:pt x="14" y="177"/>
                    <a:pt x="15" y="178"/>
                  </a:cubicBezTo>
                  <a:cubicBezTo>
                    <a:pt x="15" y="178"/>
                    <a:pt x="18" y="179"/>
                    <a:pt x="18" y="179"/>
                  </a:cubicBezTo>
                  <a:cubicBezTo>
                    <a:pt x="19" y="181"/>
                    <a:pt x="19" y="184"/>
                    <a:pt x="22" y="184"/>
                  </a:cubicBezTo>
                  <a:cubicBezTo>
                    <a:pt x="23" y="189"/>
                    <a:pt x="23" y="194"/>
                    <a:pt x="18" y="196"/>
                  </a:cubicBezTo>
                  <a:cubicBezTo>
                    <a:pt x="13" y="198"/>
                    <a:pt x="9" y="200"/>
                    <a:pt x="12" y="205"/>
                  </a:cubicBezTo>
                  <a:cubicBezTo>
                    <a:pt x="13" y="207"/>
                    <a:pt x="17" y="210"/>
                    <a:pt x="16" y="212"/>
                  </a:cubicBezTo>
                  <a:cubicBezTo>
                    <a:pt x="15" y="215"/>
                    <a:pt x="13" y="212"/>
                    <a:pt x="12" y="214"/>
                  </a:cubicBezTo>
                  <a:cubicBezTo>
                    <a:pt x="11" y="216"/>
                    <a:pt x="18" y="223"/>
                    <a:pt x="20" y="224"/>
                  </a:cubicBezTo>
                  <a:cubicBezTo>
                    <a:pt x="23" y="226"/>
                    <a:pt x="28" y="225"/>
                    <a:pt x="31" y="228"/>
                  </a:cubicBezTo>
                  <a:cubicBezTo>
                    <a:pt x="33" y="229"/>
                    <a:pt x="33" y="232"/>
                    <a:pt x="35" y="233"/>
                  </a:cubicBezTo>
                  <a:cubicBezTo>
                    <a:pt x="39" y="235"/>
                    <a:pt x="45" y="232"/>
                    <a:pt x="48" y="231"/>
                  </a:cubicBezTo>
                  <a:cubicBezTo>
                    <a:pt x="50" y="230"/>
                    <a:pt x="55" y="228"/>
                    <a:pt x="57" y="229"/>
                  </a:cubicBezTo>
                  <a:cubicBezTo>
                    <a:pt x="59" y="230"/>
                    <a:pt x="59" y="239"/>
                    <a:pt x="58" y="240"/>
                  </a:cubicBezTo>
                  <a:cubicBezTo>
                    <a:pt x="57" y="243"/>
                    <a:pt x="54" y="244"/>
                    <a:pt x="53" y="245"/>
                  </a:cubicBezTo>
                  <a:cubicBezTo>
                    <a:pt x="51" y="247"/>
                    <a:pt x="50" y="251"/>
                    <a:pt x="48" y="251"/>
                  </a:cubicBezTo>
                  <a:cubicBezTo>
                    <a:pt x="47" y="254"/>
                    <a:pt x="47" y="257"/>
                    <a:pt x="47" y="259"/>
                  </a:cubicBezTo>
                  <a:cubicBezTo>
                    <a:pt x="47" y="260"/>
                    <a:pt x="47" y="262"/>
                    <a:pt x="47" y="263"/>
                  </a:cubicBezTo>
                  <a:cubicBezTo>
                    <a:pt x="47" y="263"/>
                    <a:pt x="47" y="263"/>
                    <a:pt x="46" y="263"/>
                  </a:cubicBezTo>
                  <a:cubicBezTo>
                    <a:pt x="48" y="263"/>
                    <a:pt x="50" y="263"/>
                    <a:pt x="52" y="263"/>
                  </a:cubicBezTo>
                  <a:cubicBezTo>
                    <a:pt x="54" y="263"/>
                    <a:pt x="54" y="262"/>
                    <a:pt x="55" y="262"/>
                  </a:cubicBezTo>
                  <a:cubicBezTo>
                    <a:pt x="56" y="261"/>
                    <a:pt x="56" y="261"/>
                    <a:pt x="57" y="260"/>
                  </a:cubicBezTo>
                  <a:cubicBezTo>
                    <a:pt x="58" y="259"/>
                    <a:pt x="57" y="259"/>
                    <a:pt x="59" y="259"/>
                  </a:cubicBezTo>
                  <a:cubicBezTo>
                    <a:pt x="62" y="258"/>
                    <a:pt x="65" y="259"/>
                    <a:pt x="68" y="259"/>
                  </a:cubicBezTo>
                  <a:cubicBezTo>
                    <a:pt x="69" y="258"/>
                    <a:pt x="71" y="258"/>
                    <a:pt x="72" y="257"/>
                  </a:cubicBezTo>
                  <a:cubicBezTo>
                    <a:pt x="74" y="257"/>
                    <a:pt x="74" y="256"/>
                    <a:pt x="75" y="255"/>
                  </a:cubicBezTo>
                  <a:cubicBezTo>
                    <a:pt x="76" y="254"/>
                    <a:pt x="78" y="254"/>
                    <a:pt x="79" y="253"/>
                  </a:cubicBezTo>
                  <a:cubicBezTo>
                    <a:pt x="79" y="253"/>
                    <a:pt x="79" y="252"/>
                    <a:pt x="80" y="252"/>
                  </a:cubicBezTo>
                  <a:cubicBezTo>
                    <a:pt x="80" y="251"/>
                    <a:pt x="81" y="251"/>
                    <a:pt x="81" y="251"/>
                  </a:cubicBezTo>
                  <a:cubicBezTo>
                    <a:pt x="82" y="250"/>
                    <a:pt x="83" y="248"/>
                    <a:pt x="84" y="246"/>
                  </a:cubicBezTo>
                  <a:cubicBezTo>
                    <a:pt x="84" y="245"/>
                    <a:pt x="84" y="244"/>
                    <a:pt x="84" y="243"/>
                  </a:cubicBezTo>
                  <a:cubicBezTo>
                    <a:pt x="84" y="243"/>
                    <a:pt x="85" y="242"/>
                    <a:pt x="85" y="242"/>
                  </a:cubicBezTo>
                  <a:cubicBezTo>
                    <a:pt x="85" y="240"/>
                    <a:pt x="85" y="239"/>
                    <a:pt x="85" y="238"/>
                  </a:cubicBezTo>
                  <a:cubicBezTo>
                    <a:pt x="86" y="237"/>
                    <a:pt x="86" y="237"/>
                    <a:pt x="87" y="236"/>
                  </a:cubicBezTo>
                  <a:cubicBezTo>
                    <a:pt x="88" y="235"/>
                    <a:pt x="89" y="233"/>
                    <a:pt x="91" y="232"/>
                  </a:cubicBezTo>
                  <a:cubicBezTo>
                    <a:pt x="92" y="231"/>
                    <a:pt x="94" y="231"/>
                    <a:pt x="95" y="230"/>
                  </a:cubicBezTo>
                  <a:cubicBezTo>
                    <a:pt x="97" y="229"/>
                    <a:pt x="97" y="226"/>
                    <a:pt x="97" y="225"/>
                  </a:cubicBezTo>
                  <a:cubicBezTo>
                    <a:pt x="98" y="223"/>
                    <a:pt x="97" y="222"/>
                    <a:pt x="99" y="221"/>
                  </a:cubicBezTo>
                  <a:cubicBezTo>
                    <a:pt x="100" y="219"/>
                    <a:pt x="103" y="218"/>
                    <a:pt x="105" y="217"/>
                  </a:cubicBezTo>
                  <a:cubicBezTo>
                    <a:pt x="106" y="216"/>
                    <a:pt x="108" y="214"/>
                    <a:pt x="109" y="213"/>
                  </a:cubicBezTo>
                  <a:cubicBezTo>
                    <a:pt x="110" y="212"/>
                    <a:pt x="111" y="212"/>
                    <a:pt x="112" y="212"/>
                  </a:cubicBezTo>
                  <a:cubicBezTo>
                    <a:pt x="113" y="212"/>
                    <a:pt x="113" y="212"/>
                    <a:pt x="114" y="211"/>
                  </a:cubicBezTo>
                  <a:cubicBezTo>
                    <a:pt x="116" y="210"/>
                    <a:pt x="117" y="210"/>
                    <a:pt x="119" y="209"/>
                  </a:cubicBezTo>
                  <a:cubicBezTo>
                    <a:pt x="119" y="206"/>
                    <a:pt x="126" y="209"/>
                    <a:pt x="128" y="210"/>
                  </a:cubicBezTo>
                  <a:cubicBezTo>
                    <a:pt x="132" y="213"/>
                    <a:pt x="136" y="215"/>
                    <a:pt x="140" y="218"/>
                  </a:cubicBezTo>
                  <a:cubicBezTo>
                    <a:pt x="141" y="218"/>
                    <a:pt x="143" y="218"/>
                    <a:pt x="142" y="220"/>
                  </a:cubicBezTo>
                  <a:cubicBezTo>
                    <a:pt x="143" y="220"/>
                    <a:pt x="143" y="221"/>
                    <a:pt x="143" y="221"/>
                  </a:cubicBezTo>
                  <a:cubicBezTo>
                    <a:pt x="145" y="221"/>
                    <a:pt x="146" y="221"/>
                    <a:pt x="148" y="222"/>
                  </a:cubicBezTo>
                  <a:cubicBezTo>
                    <a:pt x="148" y="222"/>
                    <a:pt x="149" y="222"/>
                    <a:pt x="149" y="223"/>
                  </a:cubicBezTo>
                  <a:cubicBezTo>
                    <a:pt x="150" y="223"/>
                    <a:pt x="151" y="222"/>
                    <a:pt x="152" y="223"/>
                  </a:cubicBezTo>
                  <a:cubicBezTo>
                    <a:pt x="152" y="223"/>
                    <a:pt x="153" y="224"/>
                    <a:pt x="154" y="224"/>
                  </a:cubicBezTo>
                  <a:cubicBezTo>
                    <a:pt x="154" y="225"/>
                    <a:pt x="154" y="225"/>
                    <a:pt x="156" y="225"/>
                  </a:cubicBezTo>
                  <a:cubicBezTo>
                    <a:pt x="157" y="226"/>
                    <a:pt x="158" y="226"/>
                    <a:pt x="159" y="227"/>
                  </a:cubicBezTo>
                  <a:cubicBezTo>
                    <a:pt x="160" y="228"/>
                    <a:pt x="160" y="228"/>
                    <a:pt x="161" y="229"/>
                  </a:cubicBezTo>
                  <a:cubicBezTo>
                    <a:pt x="161" y="229"/>
                    <a:pt x="161" y="229"/>
                    <a:pt x="162" y="229"/>
                  </a:cubicBezTo>
                  <a:cubicBezTo>
                    <a:pt x="162" y="229"/>
                    <a:pt x="163" y="230"/>
                    <a:pt x="163" y="230"/>
                  </a:cubicBezTo>
                  <a:cubicBezTo>
                    <a:pt x="165" y="231"/>
                    <a:pt x="166" y="234"/>
                    <a:pt x="168" y="236"/>
                  </a:cubicBezTo>
                  <a:cubicBezTo>
                    <a:pt x="168" y="236"/>
                    <a:pt x="168" y="236"/>
                    <a:pt x="168" y="236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0" y="238"/>
                    <a:pt x="171" y="238"/>
                    <a:pt x="171" y="238"/>
                  </a:cubicBezTo>
                  <a:cubicBezTo>
                    <a:pt x="172" y="239"/>
                    <a:pt x="172" y="239"/>
                    <a:pt x="173" y="240"/>
                  </a:cubicBezTo>
                  <a:cubicBezTo>
                    <a:pt x="174" y="240"/>
                    <a:pt x="175" y="240"/>
                    <a:pt x="176" y="240"/>
                  </a:cubicBezTo>
                  <a:cubicBezTo>
                    <a:pt x="177" y="240"/>
                    <a:pt x="178" y="240"/>
                    <a:pt x="179" y="240"/>
                  </a:cubicBezTo>
                  <a:cubicBezTo>
                    <a:pt x="180" y="240"/>
                    <a:pt x="181" y="240"/>
                    <a:pt x="181" y="240"/>
                  </a:cubicBezTo>
                  <a:cubicBezTo>
                    <a:pt x="183" y="241"/>
                    <a:pt x="184" y="242"/>
                    <a:pt x="185" y="243"/>
                  </a:cubicBezTo>
                  <a:cubicBezTo>
                    <a:pt x="186" y="243"/>
                    <a:pt x="187" y="244"/>
                    <a:pt x="188" y="245"/>
                  </a:cubicBezTo>
                  <a:cubicBezTo>
                    <a:pt x="188" y="245"/>
                    <a:pt x="188" y="247"/>
                    <a:pt x="188" y="248"/>
                  </a:cubicBezTo>
                  <a:cubicBezTo>
                    <a:pt x="188" y="250"/>
                    <a:pt x="188" y="251"/>
                    <a:pt x="189" y="253"/>
                  </a:cubicBezTo>
                  <a:cubicBezTo>
                    <a:pt x="189" y="254"/>
                    <a:pt x="189" y="256"/>
                    <a:pt x="190" y="257"/>
                  </a:cubicBezTo>
                  <a:cubicBezTo>
                    <a:pt x="190" y="258"/>
                    <a:pt x="191" y="258"/>
                    <a:pt x="191" y="259"/>
                  </a:cubicBezTo>
                  <a:cubicBezTo>
                    <a:pt x="191" y="260"/>
                    <a:pt x="191" y="262"/>
                    <a:pt x="191" y="263"/>
                  </a:cubicBezTo>
                  <a:cubicBezTo>
                    <a:pt x="191" y="263"/>
                    <a:pt x="191" y="264"/>
                    <a:pt x="191" y="265"/>
                  </a:cubicBezTo>
                  <a:cubicBezTo>
                    <a:pt x="191" y="265"/>
                    <a:pt x="190" y="266"/>
                    <a:pt x="190" y="266"/>
                  </a:cubicBezTo>
                  <a:cubicBezTo>
                    <a:pt x="190" y="268"/>
                    <a:pt x="190" y="270"/>
                    <a:pt x="190" y="272"/>
                  </a:cubicBezTo>
                  <a:cubicBezTo>
                    <a:pt x="190" y="274"/>
                    <a:pt x="190" y="277"/>
                    <a:pt x="191" y="278"/>
                  </a:cubicBezTo>
                  <a:cubicBezTo>
                    <a:pt x="192" y="280"/>
                    <a:pt x="193" y="281"/>
                    <a:pt x="193" y="282"/>
                  </a:cubicBezTo>
                  <a:cubicBezTo>
                    <a:pt x="194" y="283"/>
                    <a:pt x="194" y="284"/>
                    <a:pt x="194" y="285"/>
                  </a:cubicBezTo>
                  <a:cubicBezTo>
                    <a:pt x="195" y="287"/>
                    <a:pt x="195" y="289"/>
                    <a:pt x="197" y="290"/>
                  </a:cubicBezTo>
                  <a:cubicBezTo>
                    <a:pt x="197" y="292"/>
                    <a:pt x="199" y="293"/>
                    <a:pt x="199" y="294"/>
                  </a:cubicBezTo>
                  <a:cubicBezTo>
                    <a:pt x="200" y="295"/>
                    <a:pt x="200" y="296"/>
                    <a:pt x="200" y="298"/>
                  </a:cubicBezTo>
                  <a:cubicBezTo>
                    <a:pt x="200" y="299"/>
                    <a:pt x="199" y="301"/>
                    <a:pt x="199" y="303"/>
                  </a:cubicBezTo>
                  <a:cubicBezTo>
                    <a:pt x="199" y="304"/>
                    <a:pt x="199" y="304"/>
                    <a:pt x="199" y="305"/>
                  </a:cubicBezTo>
                  <a:cubicBezTo>
                    <a:pt x="199" y="308"/>
                    <a:pt x="199" y="312"/>
                    <a:pt x="199" y="314"/>
                  </a:cubicBezTo>
                  <a:cubicBezTo>
                    <a:pt x="198" y="315"/>
                    <a:pt x="198" y="316"/>
                    <a:pt x="197" y="316"/>
                  </a:cubicBezTo>
                  <a:cubicBezTo>
                    <a:pt x="196" y="317"/>
                    <a:pt x="196" y="317"/>
                    <a:pt x="196" y="319"/>
                  </a:cubicBezTo>
                  <a:cubicBezTo>
                    <a:pt x="196" y="320"/>
                    <a:pt x="197" y="322"/>
                    <a:pt x="197" y="323"/>
                  </a:cubicBezTo>
                  <a:cubicBezTo>
                    <a:pt x="198" y="326"/>
                    <a:pt x="199" y="324"/>
                    <a:pt x="200" y="323"/>
                  </a:cubicBezTo>
                  <a:cubicBezTo>
                    <a:pt x="201" y="322"/>
                    <a:pt x="203" y="322"/>
                    <a:pt x="205" y="323"/>
                  </a:cubicBezTo>
                  <a:cubicBezTo>
                    <a:pt x="207" y="323"/>
                    <a:pt x="209" y="322"/>
                    <a:pt x="209" y="324"/>
                  </a:cubicBezTo>
                  <a:cubicBezTo>
                    <a:pt x="210" y="325"/>
                    <a:pt x="209" y="325"/>
                    <a:pt x="210" y="326"/>
                  </a:cubicBezTo>
                  <a:cubicBezTo>
                    <a:pt x="210" y="327"/>
                    <a:pt x="211" y="327"/>
                    <a:pt x="211" y="327"/>
                  </a:cubicBezTo>
                  <a:cubicBezTo>
                    <a:pt x="212" y="328"/>
                    <a:pt x="211" y="330"/>
                    <a:pt x="211" y="331"/>
                  </a:cubicBezTo>
                  <a:cubicBezTo>
                    <a:pt x="211" y="333"/>
                    <a:pt x="211" y="335"/>
                    <a:pt x="213" y="336"/>
                  </a:cubicBezTo>
                  <a:cubicBezTo>
                    <a:pt x="215" y="337"/>
                    <a:pt x="220" y="336"/>
                    <a:pt x="221" y="338"/>
                  </a:cubicBezTo>
                  <a:cubicBezTo>
                    <a:pt x="221" y="338"/>
                    <a:pt x="222" y="340"/>
                    <a:pt x="222" y="341"/>
                  </a:cubicBezTo>
                  <a:cubicBezTo>
                    <a:pt x="222" y="342"/>
                    <a:pt x="221" y="343"/>
                    <a:pt x="221" y="344"/>
                  </a:cubicBezTo>
                  <a:cubicBezTo>
                    <a:pt x="222" y="346"/>
                    <a:pt x="223" y="345"/>
                    <a:pt x="224" y="346"/>
                  </a:cubicBezTo>
                  <a:cubicBezTo>
                    <a:pt x="226" y="346"/>
                    <a:pt x="227" y="346"/>
                    <a:pt x="228" y="347"/>
                  </a:cubicBezTo>
                  <a:cubicBezTo>
                    <a:pt x="228" y="348"/>
                    <a:pt x="229" y="349"/>
                    <a:pt x="229" y="350"/>
                  </a:cubicBezTo>
                  <a:cubicBezTo>
                    <a:pt x="230" y="351"/>
                    <a:pt x="229" y="353"/>
                    <a:pt x="230" y="354"/>
                  </a:cubicBezTo>
                  <a:cubicBezTo>
                    <a:pt x="230" y="354"/>
                    <a:pt x="231" y="354"/>
                    <a:pt x="231" y="355"/>
                  </a:cubicBezTo>
                  <a:cubicBezTo>
                    <a:pt x="231" y="355"/>
                    <a:pt x="231" y="356"/>
                    <a:pt x="232" y="356"/>
                  </a:cubicBezTo>
                  <a:cubicBezTo>
                    <a:pt x="232" y="357"/>
                    <a:pt x="233" y="357"/>
                    <a:pt x="233" y="358"/>
                  </a:cubicBezTo>
                  <a:cubicBezTo>
                    <a:pt x="233" y="360"/>
                    <a:pt x="233" y="360"/>
                    <a:pt x="234" y="361"/>
                  </a:cubicBezTo>
                  <a:cubicBezTo>
                    <a:pt x="235" y="362"/>
                    <a:pt x="236" y="363"/>
                    <a:pt x="237" y="363"/>
                  </a:cubicBezTo>
                  <a:cubicBezTo>
                    <a:pt x="239" y="364"/>
                    <a:pt x="240" y="367"/>
                    <a:pt x="243" y="367"/>
                  </a:cubicBezTo>
                  <a:cubicBezTo>
                    <a:pt x="244" y="367"/>
                    <a:pt x="246" y="367"/>
                    <a:pt x="247" y="368"/>
                  </a:cubicBezTo>
                  <a:cubicBezTo>
                    <a:pt x="247" y="369"/>
                    <a:pt x="247" y="370"/>
                    <a:pt x="248" y="371"/>
                  </a:cubicBezTo>
                  <a:cubicBezTo>
                    <a:pt x="249" y="371"/>
                    <a:pt x="250" y="372"/>
                    <a:pt x="251" y="372"/>
                  </a:cubicBezTo>
                  <a:cubicBezTo>
                    <a:pt x="251" y="373"/>
                    <a:pt x="251" y="373"/>
                    <a:pt x="252" y="373"/>
                  </a:cubicBezTo>
                  <a:cubicBezTo>
                    <a:pt x="252" y="373"/>
                    <a:pt x="252" y="373"/>
                    <a:pt x="252" y="373"/>
                  </a:cubicBezTo>
                  <a:cubicBezTo>
                    <a:pt x="252" y="374"/>
                    <a:pt x="252" y="374"/>
                    <a:pt x="253" y="375"/>
                  </a:cubicBezTo>
                  <a:cubicBezTo>
                    <a:pt x="253" y="375"/>
                    <a:pt x="253" y="375"/>
                    <a:pt x="253" y="376"/>
                  </a:cubicBezTo>
                  <a:cubicBezTo>
                    <a:pt x="254" y="378"/>
                    <a:pt x="255" y="381"/>
                    <a:pt x="255" y="384"/>
                  </a:cubicBezTo>
                  <a:cubicBezTo>
                    <a:pt x="255" y="386"/>
                    <a:pt x="256" y="386"/>
                    <a:pt x="257" y="387"/>
                  </a:cubicBezTo>
                  <a:cubicBezTo>
                    <a:pt x="258" y="389"/>
                    <a:pt x="260" y="392"/>
                    <a:pt x="260" y="394"/>
                  </a:cubicBezTo>
                  <a:cubicBezTo>
                    <a:pt x="262" y="395"/>
                    <a:pt x="263" y="397"/>
                    <a:pt x="264" y="398"/>
                  </a:cubicBezTo>
                  <a:cubicBezTo>
                    <a:pt x="265" y="398"/>
                    <a:pt x="267" y="398"/>
                    <a:pt x="268" y="399"/>
                  </a:cubicBezTo>
                  <a:cubicBezTo>
                    <a:pt x="269" y="400"/>
                    <a:pt x="270" y="401"/>
                    <a:pt x="271" y="402"/>
                  </a:cubicBezTo>
                  <a:cubicBezTo>
                    <a:pt x="272" y="403"/>
                    <a:pt x="274" y="404"/>
                    <a:pt x="276" y="405"/>
                  </a:cubicBezTo>
                  <a:cubicBezTo>
                    <a:pt x="276" y="406"/>
                    <a:pt x="277" y="407"/>
                    <a:pt x="277" y="408"/>
                  </a:cubicBezTo>
                  <a:cubicBezTo>
                    <a:pt x="278" y="408"/>
                    <a:pt x="279" y="409"/>
                    <a:pt x="280" y="410"/>
                  </a:cubicBezTo>
                  <a:cubicBezTo>
                    <a:pt x="281" y="413"/>
                    <a:pt x="280" y="416"/>
                    <a:pt x="281" y="419"/>
                  </a:cubicBezTo>
                  <a:cubicBezTo>
                    <a:pt x="282" y="419"/>
                    <a:pt x="282" y="419"/>
                    <a:pt x="283" y="420"/>
                  </a:cubicBezTo>
                  <a:cubicBezTo>
                    <a:pt x="283" y="420"/>
                    <a:pt x="284" y="420"/>
                    <a:pt x="284" y="420"/>
                  </a:cubicBezTo>
                  <a:cubicBezTo>
                    <a:pt x="285" y="421"/>
                    <a:pt x="286" y="422"/>
                    <a:pt x="287" y="423"/>
                  </a:cubicBezTo>
                  <a:cubicBezTo>
                    <a:pt x="287" y="424"/>
                    <a:pt x="287" y="424"/>
                    <a:pt x="288" y="424"/>
                  </a:cubicBezTo>
                  <a:cubicBezTo>
                    <a:pt x="288" y="425"/>
                    <a:pt x="289" y="426"/>
                    <a:pt x="289" y="426"/>
                  </a:cubicBezTo>
                  <a:cubicBezTo>
                    <a:pt x="290" y="427"/>
                    <a:pt x="291" y="427"/>
                    <a:pt x="292" y="428"/>
                  </a:cubicBezTo>
                  <a:cubicBezTo>
                    <a:pt x="293" y="430"/>
                    <a:pt x="294" y="432"/>
                    <a:pt x="295" y="433"/>
                  </a:cubicBezTo>
                  <a:cubicBezTo>
                    <a:pt x="296" y="434"/>
                    <a:pt x="297" y="434"/>
                    <a:pt x="297" y="435"/>
                  </a:cubicBezTo>
                  <a:cubicBezTo>
                    <a:pt x="297" y="436"/>
                    <a:pt x="297" y="437"/>
                    <a:pt x="297" y="438"/>
                  </a:cubicBezTo>
                  <a:cubicBezTo>
                    <a:pt x="298" y="440"/>
                    <a:pt x="298" y="439"/>
                    <a:pt x="301" y="440"/>
                  </a:cubicBezTo>
                  <a:cubicBezTo>
                    <a:pt x="302" y="440"/>
                    <a:pt x="303" y="441"/>
                    <a:pt x="304" y="442"/>
                  </a:cubicBezTo>
                  <a:cubicBezTo>
                    <a:pt x="304" y="442"/>
                    <a:pt x="305" y="445"/>
                    <a:pt x="306" y="443"/>
                  </a:cubicBezTo>
                  <a:cubicBezTo>
                    <a:pt x="306" y="443"/>
                    <a:pt x="306" y="444"/>
                    <a:pt x="306" y="444"/>
                  </a:cubicBezTo>
                  <a:cubicBezTo>
                    <a:pt x="308" y="444"/>
                    <a:pt x="310" y="444"/>
                    <a:pt x="311" y="444"/>
                  </a:cubicBezTo>
                  <a:cubicBezTo>
                    <a:pt x="313" y="445"/>
                    <a:pt x="312" y="447"/>
                    <a:pt x="313" y="448"/>
                  </a:cubicBezTo>
                  <a:cubicBezTo>
                    <a:pt x="313" y="449"/>
                    <a:pt x="314" y="450"/>
                    <a:pt x="315" y="450"/>
                  </a:cubicBezTo>
                  <a:cubicBezTo>
                    <a:pt x="316" y="451"/>
                    <a:pt x="317" y="451"/>
                    <a:pt x="318" y="452"/>
                  </a:cubicBezTo>
                  <a:cubicBezTo>
                    <a:pt x="319" y="454"/>
                    <a:pt x="317" y="460"/>
                    <a:pt x="319" y="461"/>
                  </a:cubicBezTo>
                  <a:cubicBezTo>
                    <a:pt x="322" y="457"/>
                    <a:pt x="327" y="457"/>
                    <a:pt x="332" y="457"/>
                  </a:cubicBezTo>
                  <a:cubicBezTo>
                    <a:pt x="333" y="457"/>
                    <a:pt x="334" y="456"/>
                    <a:pt x="336" y="456"/>
                  </a:cubicBezTo>
                  <a:cubicBezTo>
                    <a:pt x="337" y="456"/>
                    <a:pt x="338" y="456"/>
                    <a:pt x="339" y="456"/>
                  </a:cubicBezTo>
                  <a:cubicBezTo>
                    <a:pt x="341" y="456"/>
                    <a:pt x="343" y="458"/>
                    <a:pt x="345" y="460"/>
                  </a:cubicBezTo>
                  <a:cubicBezTo>
                    <a:pt x="347" y="462"/>
                    <a:pt x="348" y="463"/>
                    <a:pt x="350" y="462"/>
                  </a:cubicBezTo>
                  <a:cubicBezTo>
                    <a:pt x="351" y="462"/>
                    <a:pt x="352" y="462"/>
                    <a:pt x="353" y="462"/>
                  </a:cubicBezTo>
                  <a:cubicBezTo>
                    <a:pt x="353" y="461"/>
                    <a:pt x="354" y="460"/>
                    <a:pt x="354" y="460"/>
                  </a:cubicBezTo>
                  <a:cubicBezTo>
                    <a:pt x="355" y="460"/>
                    <a:pt x="357" y="460"/>
                    <a:pt x="358" y="460"/>
                  </a:cubicBezTo>
                  <a:cubicBezTo>
                    <a:pt x="359" y="461"/>
                    <a:pt x="359" y="463"/>
                    <a:pt x="360" y="464"/>
                  </a:cubicBezTo>
                  <a:cubicBezTo>
                    <a:pt x="360" y="465"/>
                    <a:pt x="361" y="466"/>
                    <a:pt x="361" y="467"/>
                  </a:cubicBezTo>
                  <a:cubicBezTo>
                    <a:pt x="362" y="469"/>
                    <a:pt x="363" y="470"/>
                    <a:pt x="363" y="473"/>
                  </a:cubicBezTo>
                  <a:cubicBezTo>
                    <a:pt x="364" y="474"/>
                    <a:pt x="364" y="475"/>
                    <a:pt x="365" y="477"/>
                  </a:cubicBezTo>
                  <a:cubicBezTo>
                    <a:pt x="365" y="477"/>
                    <a:pt x="366" y="478"/>
                    <a:pt x="366" y="479"/>
                  </a:cubicBezTo>
                  <a:cubicBezTo>
                    <a:pt x="366" y="480"/>
                    <a:pt x="365" y="481"/>
                    <a:pt x="365" y="482"/>
                  </a:cubicBezTo>
                  <a:cubicBezTo>
                    <a:pt x="365" y="483"/>
                    <a:pt x="365" y="484"/>
                    <a:pt x="365" y="484"/>
                  </a:cubicBezTo>
                  <a:cubicBezTo>
                    <a:pt x="367" y="485"/>
                    <a:pt x="368" y="485"/>
                    <a:pt x="370" y="486"/>
                  </a:cubicBezTo>
                  <a:cubicBezTo>
                    <a:pt x="370" y="486"/>
                    <a:pt x="371" y="486"/>
                    <a:pt x="371" y="487"/>
                  </a:cubicBezTo>
                  <a:cubicBezTo>
                    <a:pt x="373" y="489"/>
                    <a:pt x="372" y="491"/>
                    <a:pt x="373" y="493"/>
                  </a:cubicBezTo>
                  <a:cubicBezTo>
                    <a:pt x="374" y="494"/>
                    <a:pt x="375" y="495"/>
                    <a:pt x="377" y="494"/>
                  </a:cubicBezTo>
                  <a:cubicBezTo>
                    <a:pt x="378" y="494"/>
                    <a:pt x="378" y="493"/>
                    <a:pt x="379" y="492"/>
                  </a:cubicBezTo>
                  <a:cubicBezTo>
                    <a:pt x="380" y="491"/>
                    <a:pt x="382" y="492"/>
                    <a:pt x="384" y="492"/>
                  </a:cubicBezTo>
                  <a:cubicBezTo>
                    <a:pt x="385" y="493"/>
                    <a:pt x="386" y="492"/>
                    <a:pt x="387" y="492"/>
                  </a:cubicBezTo>
                  <a:cubicBezTo>
                    <a:pt x="393" y="490"/>
                    <a:pt x="394" y="495"/>
                    <a:pt x="394" y="499"/>
                  </a:cubicBezTo>
                  <a:cubicBezTo>
                    <a:pt x="394" y="502"/>
                    <a:pt x="394" y="504"/>
                    <a:pt x="391" y="505"/>
                  </a:cubicBezTo>
                  <a:cubicBezTo>
                    <a:pt x="391" y="505"/>
                    <a:pt x="391" y="505"/>
                    <a:pt x="390" y="505"/>
                  </a:cubicBezTo>
                  <a:cubicBezTo>
                    <a:pt x="389" y="505"/>
                    <a:pt x="389" y="506"/>
                    <a:pt x="388" y="507"/>
                  </a:cubicBezTo>
                  <a:cubicBezTo>
                    <a:pt x="388" y="507"/>
                    <a:pt x="386" y="508"/>
                    <a:pt x="386" y="509"/>
                  </a:cubicBezTo>
                  <a:cubicBezTo>
                    <a:pt x="386" y="509"/>
                    <a:pt x="387" y="509"/>
                    <a:pt x="388" y="509"/>
                  </a:cubicBezTo>
                  <a:cubicBezTo>
                    <a:pt x="388" y="510"/>
                    <a:pt x="388" y="510"/>
                    <a:pt x="388" y="510"/>
                  </a:cubicBezTo>
                  <a:cubicBezTo>
                    <a:pt x="389" y="510"/>
                    <a:pt x="389" y="512"/>
                    <a:pt x="389" y="512"/>
                  </a:cubicBezTo>
                  <a:cubicBezTo>
                    <a:pt x="390" y="513"/>
                    <a:pt x="392" y="513"/>
                    <a:pt x="393" y="514"/>
                  </a:cubicBezTo>
                  <a:cubicBezTo>
                    <a:pt x="394" y="514"/>
                    <a:pt x="396" y="515"/>
                    <a:pt x="398" y="515"/>
                  </a:cubicBezTo>
                  <a:cubicBezTo>
                    <a:pt x="399" y="515"/>
                    <a:pt x="400" y="512"/>
                    <a:pt x="401" y="512"/>
                  </a:cubicBezTo>
                  <a:cubicBezTo>
                    <a:pt x="402" y="511"/>
                    <a:pt x="402" y="511"/>
                    <a:pt x="403" y="511"/>
                  </a:cubicBezTo>
                  <a:cubicBezTo>
                    <a:pt x="404" y="511"/>
                    <a:pt x="406" y="511"/>
                    <a:pt x="407" y="512"/>
                  </a:cubicBezTo>
                  <a:cubicBezTo>
                    <a:pt x="408" y="512"/>
                    <a:pt x="408" y="512"/>
                    <a:pt x="408" y="513"/>
                  </a:cubicBezTo>
                  <a:cubicBezTo>
                    <a:pt x="409" y="513"/>
                    <a:pt x="409" y="513"/>
                    <a:pt x="409" y="513"/>
                  </a:cubicBezTo>
                  <a:cubicBezTo>
                    <a:pt x="410" y="513"/>
                    <a:pt x="411" y="514"/>
                    <a:pt x="412" y="514"/>
                  </a:cubicBezTo>
                  <a:cubicBezTo>
                    <a:pt x="414" y="514"/>
                    <a:pt x="415" y="514"/>
                    <a:pt x="417" y="516"/>
                  </a:cubicBezTo>
                  <a:cubicBezTo>
                    <a:pt x="418" y="517"/>
                    <a:pt x="418" y="518"/>
                    <a:pt x="418" y="520"/>
                  </a:cubicBezTo>
                  <a:cubicBezTo>
                    <a:pt x="418" y="521"/>
                    <a:pt x="418" y="522"/>
                    <a:pt x="419" y="522"/>
                  </a:cubicBezTo>
                  <a:cubicBezTo>
                    <a:pt x="419" y="523"/>
                    <a:pt x="419" y="524"/>
                    <a:pt x="420" y="525"/>
                  </a:cubicBezTo>
                  <a:cubicBezTo>
                    <a:pt x="420" y="525"/>
                    <a:pt x="421" y="525"/>
                    <a:pt x="422" y="526"/>
                  </a:cubicBezTo>
                  <a:cubicBezTo>
                    <a:pt x="423" y="526"/>
                    <a:pt x="422" y="528"/>
                    <a:pt x="422" y="529"/>
                  </a:cubicBezTo>
                  <a:cubicBezTo>
                    <a:pt x="422" y="531"/>
                    <a:pt x="422" y="532"/>
                    <a:pt x="422" y="534"/>
                  </a:cubicBezTo>
                  <a:cubicBezTo>
                    <a:pt x="421" y="537"/>
                    <a:pt x="419" y="538"/>
                    <a:pt x="416" y="538"/>
                  </a:cubicBezTo>
                  <a:cubicBezTo>
                    <a:pt x="416" y="540"/>
                    <a:pt x="418" y="541"/>
                    <a:pt x="419" y="542"/>
                  </a:cubicBezTo>
                  <a:cubicBezTo>
                    <a:pt x="422" y="543"/>
                    <a:pt x="425" y="545"/>
                    <a:pt x="427" y="547"/>
                  </a:cubicBezTo>
                  <a:cubicBezTo>
                    <a:pt x="428" y="547"/>
                    <a:pt x="429" y="547"/>
                    <a:pt x="430" y="548"/>
                  </a:cubicBezTo>
                  <a:cubicBezTo>
                    <a:pt x="431" y="548"/>
                    <a:pt x="432" y="549"/>
                    <a:pt x="432" y="550"/>
                  </a:cubicBezTo>
                  <a:cubicBezTo>
                    <a:pt x="433" y="550"/>
                    <a:pt x="434" y="551"/>
                    <a:pt x="435" y="551"/>
                  </a:cubicBezTo>
                  <a:cubicBezTo>
                    <a:pt x="436" y="552"/>
                    <a:pt x="436" y="554"/>
                    <a:pt x="437" y="555"/>
                  </a:cubicBezTo>
                  <a:cubicBezTo>
                    <a:pt x="438" y="556"/>
                    <a:pt x="439" y="557"/>
                    <a:pt x="441" y="557"/>
                  </a:cubicBezTo>
                  <a:cubicBezTo>
                    <a:pt x="441" y="557"/>
                    <a:pt x="444" y="557"/>
                    <a:pt x="444" y="556"/>
                  </a:cubicBezTo>
                  <a:cubicBezTo>
                    <a:pt x="445" y="556"/>
                    <a:pt x="445" y="556"/>
                    <a:pt x="445" y="555"/>
                  </a:cubicBezTo>
                  <a:cubicBezTo>
                    <a:pt x="446" y="555"/>
                    <a:pt x="446" y="554"/>
                    <a:pt x="447" y="553"/>
                  </a:cubicBezTo>
                  <a:cubicBezTo>
                    <a:pt x="447" y="553"/>
                    <a:pt x="447" y="552"/>
                    <a:pt x="447" y="551"/>
                  </a:cubicBezTo>
                  <a:cubicBezTo>
                    <a:pt x="447" y="550"/>
                    <a:pt x="448" y="548"/>
                    <a:pt x="449" y="548"/>
                  </a:cubicBezTo>
                  <a:cubicBezTo>
                    <a:pt x="453" y="553"/>
                    <a:pt x="457" y="558"/>
                    <a:pt x="460" y="564"/>
                  </a:cubicBezTo>
                  <a:cubicBezTo>
                    <a:pt x="461" y="566"/>
                    <a:pt x="462" y="568"/>
                    <a:pt x="462" y="570"/>
                  </a:cubicBezTo>
                  <a:cubicBezTo>
                    <a:pt x="462" y="573"/>
                    <a:pt x="463" y="577"/>
                    <a:pt x="464" y="580"/>
                  </a:cubicBezTo>
                  <a:cubicBezTo>
                    <a:pt x="464" y="583"/>
                    <a:pt x="464" y="587"/>
                    <a:pt x="466" y="589"/>
                  </a:cubicBezTo>
                  <a:cubicBezTo>
                    <a:pt x="467" y="590"/>
                    <a:pt x="468" y="591"/>
                    <a:pt x="469" y="593"/>
                  </a:cubicBezTo>
                  <a:cubicBezTo>
                    <a:pt x="469" y="594"/>
                    <a:pt x="469" y="595"/>
                    <a:pt x="469" y="596"/>
                  </a:cubicBezTo>
                  <a:cubicBezTo>
                    <a:pt x="470" y="597"/>
                    <a:pt x="470" y="599"/>
                    <a:pt x="471" y="600"/>
                  </a:cubicBezTo>
                  <a:cubicBezTo>
                    <a:pt x="471" y="602"/>
                    <a:pt x="471" y="603"/>
                    <a:pt x="472" y="605"/>
                  </a:cubicBezTo>
                  <a:cubicBezTo>
                    <a:pt x="472" y="606"/>
                    <a:pt x="473" y="607"/>
                    <a:pt x="473" y="608"/>
                  </a:cubicBezTo>
                  <a:cubicBezTo>
                    <a:pt x="473" y="611"/>
                    <a:pt x="473" y="614"/>
                    <a:pt x="474" y="616"/>
                  </a:cubicBezTo>
                  <a:cubicBezTo>
                    <a:pt x="474" y="617"/>
                    <a:pt x="474" y="617"/>
                    <a:pt x="474" y="617"/>
                  </a:cubicBezTo>
                  <a:cubicBezTo>
                    <a:pt x="474" y="618"/>
                    <a:pt x="474" y="619"/>
                    <a:pt x="474" y="619"/>
                  </a:cubicBezTo>
                  <a:cubicBezTo>
                    <a:pt x="474" y="620"/>
                    <a:pt x="474" y="621"/>
                    <a:pt x="474" y="622"/>
                  </a:cubicBezTo>
                  <a:cubicBezTo>
                    <a:pt x="475" y="624"/>
                    <a:pt x="475" y="625"/>
                    <a:pt x="475" y="628"/>
                  </a:cubicBezTo>
                  <a:cubicBezTo>
                    <a:pt x="475" y="630"/>
                    <a:pt x="475" y="634"/>
                    <a:pt x="475" y="637"/>
                  </a:cubicBezTo>
                  <a:cubicBezTo>
                    <a:pt x="476" y="641"/>
                    <a:pt x="481" y="643"/>
                    <a:pt x="482" y="647"/>
                  </a:cubicBezTo>
                  <a:cubicBezTo>
                    <a:pt x="482" y="648"/>
                    <a:pt x="482" y="650"/>
                    <a:pt x="481" y="652"/>
                  </a:cubicBezTo>
                  <a:cubicBezTo>
                    <a:pt x="481" y="653"/>
                    <a:pt x="481" y="655"/>
                    <a:pt x="480" y="657"/>
                  </a:cubicBezTo>
                  <a:cubicBezTo>
                    <a:pt x="479" y="658"/>
                    <a:pt x="479" y="659"/>
                    <a:pt x="477" y="659"/>
                  </a:cubicBezTo>
                  <a:cubicBezTo>
                    <a:pt x="474" y="659"/>
                    <a:pt x="472" y="659"/>
                    <a:pt x="470" y="660"/>
                  </a:cubicBezTo>
                  <a:cubicBezTo>
                    <a:pt x="468" y="660"/>
                    <a:pt x="466" y="661"/>
                    <a:pt x="464" y="662"/>
                  </a:cubicBezTo>
                  <a:cubicBezTo>
                    <a:pt x="462" y="662"/>
                    <a:pt x="461" y="663"/>
                    <a:pt x="460" y="663"/>
                  </a:cubicBezTo>
                  <a:cubicBezTo>
                    <a:pt x="459" y="668"/>
                    <a:pt x="464" y="670"/>
                    <a:pt x="464" y="675"/>
                  </a:cubicBezTo>
                  <a:cubicBezTo>
                    <a:pt x="465" y="677"/>
                    <a:pt x="463" y="678"/>
                    <a:pt x="463" y="680"/>
                  </a:cubicBezTo>
                  <a:cubicBezTo>
                    <a:pt x="461" y="682"/>
                    <a:pt x="461" y="685"/>
                    <a:pt x="460" y="688"/>
                  </a:cubicBezTo>
                  <a:cubicBezTo>
                    <a:pt x="459" y="689"/>
                    <a:pt x="459" y="690"/>
                    <a:pt x="458" y="691"/>
                  </a:cubicBezTo>
                  <a:cubicBezTo>
                    <a:pt x="456" y="692"/>
                    <a:pt x="455" y="692"/>
                    <a:pt x="454" y="693"/>
                  </a:cubicBezTo>
                  <a:cubicBezTo>
                    <a:pt x="454" y="693"/>
                    <a:pt x="453" y="693"/>
                    <a:pt x="453" y="694"/>
                  </a:cubicBezTo>
                  <a:cubicBezTo>
                    <a:pt x="452" y="694"/>
                    <a:pt x="452" y="694"/>
                    <a:pt x="452" y="694"/>
                  </a:cubicBezTo>
                  <a:cubicBezTo>
                    <a:pt x="451" y="694"/>
                    <a:pt x="451" y="695"/>
                    <a:pt x="451" y="695"/>
                  </a:cubicBezTo>
                  <a:cubicBezTo>
                    <a:pt x="450" y="696"/>
                    <a:pt x="449" y="697"/>
                    <a:pt x="447" y="698"/>
                  </a:cubicBezTo>
                  <a:cubicBezTo>
                    <a:pt x="446" y="699"/>
                    <a:pt x="446" y="699"/>
                    <a:pt x="445" y="700"/>
                  </a:cubicBezTo>
                  <a:cubicBezTo>
                    <a:pt x="445" y="701"/>
                    <a:pt x="445" y="702"/>
                    <a:pt x="445" y="703"/>
                  </a:cubicBezTo>
                  <a:cubicBezTo>
                    <a:pt x="445" y="704"/>
                    <a:pt x="446" y="707"/>
                    <a:pt x="445" y="708"/>
                  </a:cubicBezTo>
                  <a:cubicBezTo>
                    <a:pt x="444" y="709"/>
                    <a:pt x="443" y="709"/>
                    <a:pt x="443" y="710"/>
                  </a:cubicBezTo>
                  <a:cubicBezTo>
                    <a:pt x="442" y="711"/>
                    <a:pt x="441" y="713"/>
                    <a:pt x="441" y="714"/>
                  </a:cubicBezTo>
                  <a:cubicBezTo>
                    <a:pt x="442" y="716"/>
                    <a:pt x="443" y="717"/>
                    <a:pt x="444" y="718"/>
                  </a:cubicBezTo>
                  <a:cubicBezTo>
                    <a:pt x="445" y="718"/>
                    <a:pt x="444" y="718"/>
                    <a:pt x="445" y="719"/>
                  </a:cubicBezTo>
                  <a:cubicBezTo>
                    <a:pt x="446" y="719"/>
                    <a:pt x="447" y="720"/>
                    <a:pt x="447" y="720"/>
                  </a:cubicBezTo>
                  <a:cubicBezTo>
                    <a:pt x="448" y="720"/>
                    <a:pt x="448" y="721"/>
                    <a:pt x="449" y="721"/>
                  </a:cubicBezTo>
                  <a:cubicBezTo>
                    <a:pt x="451" y="721"/>
                    <a:pt x="453" y="721"/>
                    <a:pt x="455" y="721"/>
                  </a:cubicBezTo>
                  <a:cubicBezTo>
                    <a:pt x="458" y="721"/>
                    <a:pt x="460" y="720"/>
                    <a:pt x="463" y="720"/>
                  </a:cubicBezTo>
                  <a:cubicBezTo>
                    <a:pt x="464" y="720"/>
                    <a:pt x="465" y="720"/>
                    <a:pt x="466" y="720"/>
                  </a:cubicBezTo>
                  <a:cubicBezTo>
                    <a:pt x="468" y="720"/>
                    <a:pt x="469" y="719"/>
                    <a:pt x="470" y="719"/>
                  </a:cubicBezTo>
                  <a:cubicBezTo>
                    <a:pt x="471" y="719"/>
                    <a:pt x="471" y="719"/>
                    <a:pt x="472" y="719"/>
                  </a:cubicBezTo>
                  <a:cubicBezTo>
                    <a:pt x="473" y="718"/>
                    <a:pt x="474" y="717"/>
                    <a:pt x="474" y="717"/>
                  </a:cubicBezTo>
                  <a:cubicBezTo>
                    <a:pt x="475" y="716"/>
                    <a:pt x="475" y="715"/>
                    <a:pt x="475" y="714"/>
                  </a:cubicBezTo>
                  <a:cubicBezTo>
                    <a:pt x="476" y="714"/>
                    <a:pt x="476" y="713"/>
                    <a:pt x="477" y="712"/>
                  </a:cubicBezTo>
                  <a:cubicBezTo>
                    <a:pt x="477" y="712"/>
                    <a:pt x="477" y="711"/>
                    <a:pt x="477" y="710"/>
                  </a:cubicBezTo>
                  <a:cubicBezTo>
                    <a:pt x="478" y="709"/>
                    <a:pt x="478" y="709"/>
                    <a:pt x="478" y="708"/>
                  </a:cubicBezTo>
                  <a:cubicBezTo>
                    <a:pt x="479" y="705"/>
                    <a:pt x="478" y="704"/>
                    <a:pt x="480" y="702"/>
                  </a:cubicBezTo>
                  <a:cubicBezTo>
                    <a:pt x="481" y="700"/>
                    <a:pt x="483" y="698"/>
                    <a:pt x="485" y="697"/>
                  </a:cubicBezTo>
                  <a:cubicBezTo>
                    <a:pt x="485" y="695"/>
                    <a:pt x="489" y="692"/>
                    <a:pt x="491" y="691"/>
                  </a:cubicBezTo>
                  <a:cubicBezTo>
                    <a:pt x="493" y="690"/>
                    <a:pt x="495" y="688"/>
                    <a:pt x="498" y="686"/>
                  </a:cubicBezTo>
                  <a:cubicBezTo>
                    <a:pt x="502" y="683"/>
                    <a:pt x="500" y="678"/>
                    <a:pt x="500" y="674"/>
                  </a:cubicBezTo>
                  <a:cubicBezTo>
                    <a:pt x="501" y="671"/>
                    <a:pt x="500" y="668"/>
                    <a:pt x="500" y="665"/>
                  </a:cubicBezTo>
                  <a:cubicBezTo>
                    <a:pt x="500" y="663"/>
                    <a:pt x="500" y="661"/>
                    <a:pt x="500" y="660"/>
                  </a:cubicBezTo>
                  <a:cubicBezTo>
                    <a:pt x="500" y="659"/>
                    <a:pt x="500" y="657"/>
                    <a:pt x="501" y="656"/>
                  </a:cubicBezTo>
                  <a:cubicBezTo>
                    <a:pt x="501" y="656"/>
                    <a:pt x="502" y="655"/>
                    <a:pt x="503" y="655"/>
                  </a:cubicBezTo>
                  <a:cubicBezTo>
                    <a:pt x="503" y="654"/>
                    <a:pt x="504" y="653"/>
                    <a:pt x="505" y="652"/>
                  </a:cubicBezTo>
                  <a:cubicBezTo>
                    <a:pt x="505" y="651"/>
                    <a:pt x="505" y="651"/>
                    <a:pt x="506" y="651"/>
                  </a:cubicBezTo>
                  <a:cubicBezTo>
                    <a:pt x="507" y="650"/>
                    <a:pt x="508" y="649"/>
                    <a:pt x="510" y="649"/>
                  </a:cubicBezTo>
                  <a:cubicBezTo>
                    <a:pt x="512" y="648"/>
                    <a:pt x="515" y="648"/>
                    <a:pt x="517" y="647"/>
                  </a:cubicBezTo>
                  <a:cubicBezTo>
                    <a:pt x="517" y="647"/>
                    <a:pt x="517" y="646"/>
                    <a:pt x="517" y="646"/>
                  </a:cubicBezTo>
                  <a:cubicBezTo>
                    <a:pt x="517" y="646"/>
                    <a:pt x="519" y="646"/>
                    <a:pt x="518" y="646"/>
                  </a:cubicBezTo>
                  <a:cubicBezTo>
                    <a:pt x="520" y="646"/>
                    <a:pt x="520" y="646"/>
                    <a:pt x="521" y="646"/>
                  </a:cubicBezTo>
                  <a:cubicBezTo>
                    <a:pt x="523" y="646"/>
                    <a:pt x="525" y="646"/>
                    <a:pt x="526" y="645"/>
                  </a:cubicBezTo>
                  <a:cubicBezTo>
                    <a:pt x="527" y="645"/>
                    <a:pt x="528" y="644"/>
                    <a:pt x="529" y="644"/>
                  </a:cubicBezTo>
                  <a:cubicBezTo>
                    <a:pt x="530" y="644"/>
                    <a:pt x="530" y="644"/>
                    <a:pt x="531" y="643"/>
                  </a:cubicBezTo>
                  <a:cubicBezTo>
                    <a:pt x="531" y="643"/>
                    <a:pt x="532" y="643"/>
                    <a:pt x="532" y="642"/>
                  </a:cubicBezTo>
                  <a:cubicBezTo>
                    <a:pt x="532" y="641"/>
                    <a:pt x="532" y="640"/>
                    <a:pt x="532" y="639"/>
                  </a:cubicBezTo>
                  <a:cubicBezTo>
                    <a:pt x="532" y="638"/>
                    <a:pt x="531" y="636"/>
                    <a:pt x="531" y="635"/>
                  </a:cubicBezTo>
                  <a:cubicBezTo>
                    <a:pt x="531" y="634"/>
                    <a:pt x="531" y="633"/>
                    <a:pt x="532" y="632"/>
                  </a:cubicBezTo>
                  <a:cubicBezTo>
                    <a:pt x="532" y="632"/>
                    <a:pt x="533" y="631"/>
                    <a:pt x="533" y="631"/>
                  </a:cubicBezTo>
                  <a:cubicBezTo>
                    <a:pt x="534" y="629"/>
                    <a:pt x="534" y="626"/>
                    <a:pt x="534" y="624"/>
                  </a:cubicBezTo>
                  <a:cubicBezTo>
                    <a:pt x="534" y="622"/>
                    <a:pt x="534" y="620"/>
                    <a:pt x="534" y="617"/>
                  </a:cubicBezTo>
                  <a:cubicBezTo>
                    <a:pt x="534" y="616"/>
                    <a:pt x="534" y="614"/>
                    <a:pt x="534" y="613"/>
                  </a:cubicBezTo>
                  <a:cubicBezTo>
                    <a:pt x="534" y="611"/>
                    <a:pt x="533" y="609"/>
                    <a:pt x="533" y="607"/>
                  </a:cubicBezTo>
                  <a:cubicBezTo>
                    <a:pt x="532" y="605"/>
                    <a:pt x="531" y="604"/>
                    <a:pt x="529" y="604"/>
                  </a:cubicBezTo>
                  <a:cubicBezTo>
                    <a:pt x="529" y="603"/>
                    <a:pt x="528" y="601"/>
                    <a:pt x="527" y="600"/>
                  </a:cubicBezTo>
                  <a:cubicBezTo>
                    <a:pt x="526" y="598"/>
                    <a:pt x="526" y="597"/>
                    <a:pt x="524" y="597"/>
                  </a:cubicBezTo>
                  <a:cubicBezTo>
                    <a:pt x="523" y="597"/>
                    <a:pt x="522" y="597"/>
                    <a:pt x="521" y="597"/>
                  </a:cubicBezTo>
                  <a:cubicBezTo>
                    <a:pt x="520" y="596"/>
                    <a:pt x="520" y="596"/>
                    <a:pt x="520" y="595"/>
                  </a:cubicBezTo>
                  <a:cubicBezTo>
                    <a:pt x="519" y="594"/>
                    <a:pt x="518" y="594"/>
                    <a:pt x="517" y="593"/>
                  </a:cubicBezTo>
                  <a:cubicBezTo>
                    <a:pt x="516" y="592"/>
                    <a:pt x="516" y="591"/>
                    <a:pt x="515" y="590"/>
                  </a:cubicBezTo>
                  <a:cubicBezTo>
                    <a:pt x="514" y="590"/>
                    <a:pt x="512" y="591"/>
                    <a:pt x="511" y="590"/>
                  </a:cubicBezTo>
                  <a:cubicBezTo>
                    <a:pt x="510" y="590"/>
                    <a:pt x="509" y="590"/>
                    <a:pt x="508" y="590"/>
                  </a:cubicBezTo>
                  <a:cubicBezTo>
                    <a:pt x="506" y="590"/>
                    <a:pt x="506" y="589"/>
                    <a:pt x="504" y="589"/>
                  </a:cubicBezTo>
                  <a:cubicBezTo>
                    <a:pt x="503" y="585"/>
                    <a:pt x="503" y="581"/>
                    <a:pt x="503" y="577"/>
                  </a:cubicBezTo>
                  <a:cubicBezTo>
                    <a:pt x="503" y="575"/>
                    <a:pt x="503" y="574"/>
                    <a:pt x="503" y="572"/>
                  </a:cubicBezTo>
                  <a:cubicBezTo>
                    <a:pt x="504" y="571"/>
                    <a:pt x="504" y="568"/>
                    <a:pt x="505" y="567"/>
                  </a:cubicBezTo>
                  <a:cubicBezTo>
                    <a:pt x="506" y="566"/>
                    <a:pt x="507" y="566"/>
                    <a:pt x="508" y="565"/>
                  </a:cubicBezTo>
                  <a:cubicBezTo>
                    <a:pt x="509" y="564"/>
                    <a:pt x="509" y="562"/>
                    <a:pt x="509" y="561"/>
                  </a:cubicBezTo>
                  <a:cubicBezTo>
                    <a:pt x="509" y="558"/>
                    <a:pt x="510" y="555"/>
                    <a:pt x="511" y="553"/>
                  </a:cubicBezTo>
                  <a:cubicBezTo>
                    <a:pt x="512" y="552"/>
                    <a:pt x="513" y="551"/>
                    <a:pt x="514" y="550"/>
                  </a:cubicBezTo>
                  <a:cubicBezTo>
                    <a:pt x="515" y="550"/>
                    <a:pt x="515" y="550"/>
                    <a:pt x="515" y="549"/>
                  </a:cubicBezTo>
                  <a:cubicBezTo>
                    <a:pt x="516" y="549"/>
                    <a:pt x="516" y="548"/>
                    <a:pt x="516" y="548"/>
                  </a:cubicBezTo>
                  <a:cubicBezTo>
                    <a:pt x="517" y="546"/>
                    <a:pt x="518" y="544"/>
                    <a:pt x="518" y="543"/>
                  </a:cubicBezTo>
                  <a:cubicBezTo>
                    <a:pt x="519" y="541"/>
                    <a:pt x="519" y="540"/>
                    <a:pt x="520" y="538"/>
                  </a:cubicBezTo>
                  <a:cubicBezTo>
                    <a:pt x="521" y="537"/>
                    <a:pt x="521" y="536"/>
                    <a:pt x="522" y="535"/>
                  </a:cubicBezTo>
                  <a:cubicBezTo>
                    <a:pt x="523" y="534"/>
                    <a:pt x="523" y="534"/>
                    <a:pt x="523" y="533"/>
                  </a:cubicBezTo>
                  <a:cubicBezTo>
                    <a:pt x="524" y="532"/>
                    <a:pt x="524" y="532"/>
                    <a:pt x="525" y="531"/>
                  </a:cubicBezTo>
                  <a:cubicBezTo>
                    <a:pt x="526" y="530"/>
                    <a:pt x="526" y="529"/>
                    <a:pt x="527" y="528"/>
                  </a:cubicBezTo>
                  <a:cubicBezTo>
                    <a:pt x="528" y="527"/>
                    <a:pt x="530" y="526"/>
                    <a:pt x="531" y="525"/>
                  </a:cubicBezTo>
                  <a:cubicBezTo>
                    <a:pt x="533" y="524"/>
                    <a:pt x="535" y="521"/>
                    <a:pt x="537" y="522"/>
                  </a:cubicBezTo>
                  <a:cubicBezTo>
                    <a:pt x="538" y="523"/>
                    <a:pt x="539" y="524"/>
                    <a:pt x="539" y="525"/>
                  </a:cubicBezTo>
                  <a:cubicBezTo>
                    <a:pt x="540" y="525"/>
                    <a:pt x="540" y="526"/>
                    <a:pt x="541" y="527"/>
                  </a:cubicBezTo>
                  <a:cubicBezTo>
                    <a:pt x="542" y="528"/>
                    <a:pt x="542" y="528"/>
                    <a:pt x="543" y="530"/>
                  </a:cubicBezTo>
                  <a:cubicBezTo>
                    <a:pt x="543" y="531"/>
                    <a:pt x="545" y="533"/>
                    <a:pt x="546" y="534"/>
                  </a:cubicBezTo>
                  <a:cubicBezTo>
                    <a:pt x="547" y="534"/>
                    <a:pt x="547" y="534"/>
                    <a:pt x="548" y="534"/>
                  </a:cubicBezTo>
                  <a:cubicBezTo>
                    <a:pt x="548" y="535"/>
                    <a:pt x="548" y="536"/>
                    <a:pt x="549" y="536"/>
                  </a:cubicBezTo>
                  <a:cubicBezTo>
                    <a:pt x="551" y="537"/>
                    <a:pt x="552" y="538"/>
                    <a:pt x="554" y="539"/>
                  </a:cubicBezTo>
                  <a:cubicBezTo>
                    <a:pt x="555" y="540"/>
                    <a:pt x="557" y="540"/>
                    <a:pt x="558" y="540"/>
                  </a:cubicBezTo>
                  <a:cubicBezTo>
                    <a:pt x="559" y="541"/>
                    <a:pt x="559" y="541"/>
                    <a:pt x="561" y="542"/>
                  </a:cubicBezTo>
                  <a:cubicBezTo>
                    <a:pt x="561" y="542"/>
                    <a:pt x="562" y="542"/>
                    <a:pt x="562" y="542"/>
                  </a:cubicBezTo>
                  <a:cubicBezTo>
                    <a:pt x="563" y="543"/>
                    <a:pt x="564" y="542"/>
                    <a:pt x="565" y="542"/>
                  </a:cubicBezTo>
                  <a:cubicBezTo>
                    <a:pt x="567" y="542"/>
                    <a:pt x="568" y="542"/>
                    <a:pt x="570" y="542"/>
                  </a:cubicBezTo>
                  <a:cubicBezTo>
                    <a:pt x="571" y="542"/>
                    <a:pt x="571" y="542"/>
                    <a:pt x="572" y="542"/>
                  </a:cubicBezTo>
                  <a:cubicBezTo>
                    <a:pt x="572" y="542"/>
                    <a:pt x="572" y="541"/>
                    <a:pt x="573" y="541"/>
                  </a:cubicBezTo>
                  <a:cubicBezTo>
                    <a:pt x="574" y="541"/>
                    <a:pt x="575" y="543"/>
                    <a:pt x="575" y="544"/>
                  </a:cubicBezTo>
                  <a:cubicBezTo>
                    <a:pt x="576" y="545"/>
                    <a:pt x="576" y="546"/>
                    <a:pt x="578" y="547"/>
                  </a:cubicBezTo>
                  <a:cubicBezTo>
                    <a:pt x="579" y="547"/>
                    <a:pt x="580" y="548"/>
                    <a:pt x="581" y="549"/>
                  </a:cubicBezTo>
                  <a:cubicBezTo>
                    <a:pt x="581" y="551"/>
                    <a:pt x="582" y="553"/>
                    <a:pt x="582" y="555"/>
                  </a:cubicBezTo>
                  <a:cubicBezTo>
                    <a:pt x="582" y="559"/>
                    <a:pt x="583" y="562"/>
                    <a:pt x="583" y="566"/>
                  </a:cubicBezTo>
                  <a:cubicBezTo>
                    <a:pt x="583" y="568"/>
                    <a:pt x="582" y="572"/>
                    <a:pt x="584" y="574"/>
                  </a:cubicBezTo>
                  <a:cubicBezTo>
                    <a:pt x="585" y="575"/>
                    <a:pt x="588" y="576"/>
                    <a:pt x="589" y="577"/>
                  </a:cubicBezTo>
                  <a:cubicBezTo>
                    <a:pt x="591" y="578"/>
                    <a:pt x="593" y="579"/>
                    <a:pt x="595" y="580"/>
                  </a:cubicBezTo>
                  <a:cubicBezTo>
                    <a:pt x="597" y="580"/>
                    <a:pt x="598" y="581"/>
                    <a:pt x="600" y="582"/>
                  </a:cubicBezTo>
                  <a:cubicBezTo>
                    <a:pt x="601" y="582"/>
                    <a:pt x="604" y="582"/>
                    <a:pt x="605" y="582"/>
                  </a:cubicBezTo>
                  <a:cubicBezTo>
                    <a:pt x="606" y="581"/>
                    <a:pt x="605" y="579"/>
                    <a:pt x="605" y="578"/>
                  </a:cubicBezTo>
                  <a:cubicBezTo>
                    <a:pt x="605" y="577"/>
                    <a:pt x="606" y="576"/>
                    <a:pt x="606" y="574"/>
                  </a:cubicBezTo>
                  <a:cubicBezTo>
                    <a:pt x="606" y="572"/>
                    <a:pt x="606" y="570"/>
                    <a:pt x="606" y="568"/>
                  </a:cubicBezTo>
                  <a:cubicBezTo>
                    <a:pt x="607" y="565"/>
                    <a:pt x="608" y="562"/>
                    <a:pt x="610" y="560"/>
                  </a:cubicBezTo>
                  <a:cubicBezTo>
                    <a:pt x="611" y="559"/>
                    <a:pt x="612" y="559"/>
                    <a:pt x="612" y="557"/>
                  </a:cubicBezTo>
                  <a:cubicBezTo>
                    <a:pt x="612" y="556"/>
                    <a:pt x="612" y="555"/>
                    <a:pt x="612" y="555"/>
                  </a:cubicBezTo>
                  <a:cubicBezTo>
                    <a:pt x="612" y="554"/>
                    <a:pt x="612" y="552"/>
                    <a:pt x="612" y="55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49" name="Freeform 19">
              <a:extLst>
                <a:ext uri="{FF2B5EF4-FFF2-40B4-BE49-F238E27FC236}">
                  <a16:creationId xmlns:a16="http://schemas.microsoft.com/office/drawing/2014/main" id="{E4B53D0C-2228-4FD0-BEBB-44BD29C2ED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6280150"/>
              <a:ext cx="320675" cy="239713"/>
            </a:xfrm>
            <a:custGeom>
              <a:avLst/>
              <a:gdLst/>
              <a:ahLst/>
              <a:cxnLst>
                <a:cxn ang="0">
                  <a:pos x="135" y="7"/>
                </a:cxn>
                <a:cxn ang="0">
                  <a:pos x="121" y="12"/>
                </a:cxn>
                <a:cxn ang="0">
                  <a:pos x="110" y="16"/>
                </a:cxn>
                <a:cxn ang="0">
                  <a:pos x="103" y="19"/>
                </a:cxn>
                <a:cxn ang="0">
                  <a:pos x="86" y="19"/>
                </a:cxn>
                <a:cxn ang="0">
                  <a:pos x="77" y="17"/>
                </a:cxn>
                <a:cxn ang="0">
                  <a:pos x="67" y="19"/>
                </a:cxn>
                <a:cxn ang="0">
                  <a:pos x="58" y="14"/>
                </a:cxn>
                <a:cxn ang="0">
                  <a:pos x="53" y="6"/>
                </a:cxn>
                <a:cxn ang="0">
                  <a:pos x="37" y="1"/>
                </a:cxn>
                <a:cxn ang="0">
                  <a:pos x="32" y="14"/>
                </a:cxn>
                <a:cxn ang="0">
                  <a:pos x="22" y="9"/>
                </a:cxn>
                <a:cxn ang="0">
                  <a:pos x="15" y="3"/>
                </a:cxn>
                <a:cxn ang="0">
                  <a:pos x="6" y="14"/>
                </a:cxn>
                <a:cxn ang="0">
                  <a:pos x="7" y="28"/>
                </a:cxn>
                <a:cxn ang="0">
                  <a:pos x="1" y="34"/>
                </a:cxn>
                <a:cxn ang="0">
                  <a:pos x="6" y="47"/>
                </a:cxn>
                <a:cxn ang="0">
                  <a:pos x="13" y="51"/>
                </a:cxn>
                <a:cxn ang="0">
                  <a:pos x="35" y="57"/>
                </a:cxn>
                <a:cxn ang="0">
                  <a:pos x="52" y="69"/>
                </a:cxn>
                <a:cxn ang="0">
                  <a:pos x="69" y="88"/>
                </a:cxn>
                <a:cxn ang="0">
                  <a:pos x="77" y="88"/>
                </a:cxn>
                <a:cxn ang="0">
                  <a:pos x="83" y="90"/>
                </a:cxn>
                <a:cxn ang="0">
                  <a:pos x="92" y="94"/>
                </a:cxn>
                <a:cxn ang="0">
                  <a:pos x="103" y="109"/>
                </a:cxn>
                <a:cxn ang="0">
                  <a:pos x="109" y="125"/>
                </a:cxn>
                <a:cxn ang="0">
                  <a:pos x="122" y="126"/>
                </a:cxn>
                <a:cxn ang="0">
                  <a:pos x="144" y="121"/>
                </a:cxn>
                <a:cxn ang="0">
                  <a:pos x="142" y="106"/>
                </a:cxn>
                <a:cxn ang="0">
                  <a:pos x="150" y="98"/>
                </a:cxn>
                <a:cxn ang="0">
                  <a:pos x="147" y="87"/>
                </a:cxn>
                <a:cxn ang="0">
                  <a:pos x="148" y="79"/>
                </a:cxn>
                <a:cxn ang="0">
                  <a:pos x="141" y="61"/>
                </a:cxn>
                <a:cxn ang="0">
                  <a:pos x="156" y="52"/>
                </a:cxn>
                <a:cxn ang="0">
                  <a:pos x="163" y="45"/>
                </a:cxn>
                <a:cxn ang="0">
                  <a:pos x="154" y="42"/>
                </a:cxn>
                <a:cxn ang="0">
                  <a:pos x="159" y="31"/>
                </a:cxn>
                <a:cxn ang="0">
                  <a:pos x="164" y="19"/>
                </a:cxn>
                <a:cxn ang="0">
                  <a:pos x="167" y="10"/>
                </a:cxn>
                <a:cxn ang="0">
                  <a:pos x="168" y="1"/>
                </a:cxn>
                <a:cxn ang="0">
                  <a:pos x="144" y="12"/>
                </a:cxn>
              </a:cxnLst>
              <a:rect l="0" t="0" r="r" b="b"/>
              <a:pathLst>
                <a:path w="171" h="128">
                  <a:moveTo>
                    <a:pt x="144" y="12"/>
                  </a:moveTo>
                  <a:cubicBezTo>
                    <a:pt x="141" y="11"/>
                    <a:pt x="138" y="8"/>
                    <a:pt x="135" y="7"/>
                  </a:cubicBezTo>
                  <a:cubicBezTo>
                    <a:pt x="133" y="7"/>
                    <a:pt x="132" y="8"/>
                    <a:pt x="130" y="8"/>
                  </a:cubicBezTo>
                  <a:cubicBezTo>
                    <a:pt x="126" y="8"/>
                    <a:pt x="123" y="10"/>
                    <a:pt x="121" y="12"/>
                  </a:cubicBezTo>
                  <a:cubicBezTo>
                    <a:pt x="120" y="13"/>
                    <a:pt x="118" y="14"/>
                    <a:pt x="117" y="15"/>
                  </a:cubicBezTo>
                  <a:cubicBezTo>
                    <a:pt x="115" y="16"/>
                    <a:pt x="113" y="15"/>
                    <a:pt x="110" y="16"/>
                  </a:cubicBezTo>
                  <a:cubicBezTo>
                    <a:pt x="109" y="17"/>
                    <a:pt x="108" y="17"/>
                    <a:pt x="106" y="17"/>
                  </a:cubicBezTo>
                  <a:cubicBezTo>
                    <a:pt x="105" y="18"/>
                    <a:pt x="105" y="19"/>
                    <a:pt x="103" y="19"/>
                  </a:cubicBezTo>
                  <a:cubicBezTo>
                    <a:pt x="100" y="21"/>
                    <a:pt x="95" y="19"/>
                    <a:pt x="91" y="19"/>
                  </a:cubicBezTo>
                  <a:cubicBezTo>
                    <a:pt x="90" y="19"/>
                    <a:pt x="87" y="20"/>
                    <a:pt x="86" y="19"/>
                  </a:cubicBezTo>
                  <a:cubicBezTo>
                    <a:pt x="85" y="19"/>
                    <a:pt x="86" y="18"/>
                    <a:pt x="85" y="18"/>
                  </a:cubicBezTo>
                  <a:cubicBezTo>
                    <a:pt x="82" y="17"/>
                    <a:pt x="80" y="17"/>
                    <a:pt x="77" y="17"/>
                  </a:cubicBezTo>
                  <a:cubicBezTo>
                    <a:pt x="74" y="17"/>
                    <a:pt x="71" y="17"/>
                    <a:pt x="68" y="18"/>
                  </a:cubicBezTo>
                  <a:cubicBezTo>
                    <a:pt x="67" y="19"/>
                    <a:pt x="68" y="19"/>
                    <a:pt x="67" y="19"/>
                  </a:cubicBezTo>
                  <a:cubicBezTo>
                    <a:pt x="65" y="20"/>
                    <a:pt x="64" y="19"/>
                    <a:pt x="63" y="18"/>
                  </a:cubicBezTo>
                  <a:cubicBezTo>
                    <a:pt x="61" y="17"/>
                    <a:pt x="59" y="15"/>
                    <a:pt x="58" y="14"/>
                  </a:cubicBezTo>
                  <a:cubicBezTo>
                    <a:pt x="57" y="13"/>
                    <a:pt x="57" y="11"/>
                    <a:pt x="56" y="10"/>
                  </a:cubicBezTo>
                  <a:cubicBezTo>
                    <a:pt x="55" y="9"/>
                    <a:pt x="54" y="8"/>
                    <a:pt x="53" y="6"/>
                  </a:cubicBezTo>
                  <a:cubicBezTo>
                    <a:pt x="51" y="3"/>
                    <a:pt x="49" y="1"/>
                    <a:pt x="44" y="0"/>
                  </a:cubicBezTo>
                  <a:cubicBezTo>
                    <a:pt x="42" y="0"/>
                    <a:pt x="39" y="0"/>
                    <a:pt x="37" y="1"/>
                  </a:cubicBezTo>
                  <a:cubicBezTo>
                    <a:pt x="36" y="2"/>
                    <a:pt x="37" y="6"/>
                    <a:pt x="36" y="7"/>
                  </a:cubicBezTo>
                  <a:cubicBezTo>
                    <a:pt x="36" y="11"/>
                    <a:pt x="34" y="12"/>
                    <a:pt x="32" y="14"/>
                  </a:cubicBezTo>
                  <a:cubicBezTo>
                    <a:pt x="31" y="14"/>
                    <a:pt x="28" y="16"/>
                    <a:pt x="27" y="16"/>
                  </a:cubicBezTo>
                  <a:cubicBezTo>
                    <a:pt x="26" y="16"/>
                    <a:pt x="23" y="10"/>
                    <a:pt x="22" y="9"/>
                  </a:cubicBezTo>
                  <a:cubicBezTo>
                    <a:pt x="21" y="7"/>
                    <a:pt x="20" y="3"/>
                    <a:pt x="19" y="2"/>
                  </a:cubicBezTo>
                  <a:cubicBezTo>
                    <a:pt x="18" y="1"/>
                    <a:pt x="16" y="2"/>
                    <a:pt x="15" y="3"/>
                  </a:cubicBezTo>
                  <a:cubicBezTo>
                    <a:pt x="14" y="5"/>
                    <a:pt x="15" y="6"/>
                    <a:pt x="13" y="8"/>
                  </a:cubicBezTo>
                  <a:cubicBezTo>
                    <a:pt x="10" y="10"/>
                    <a:pt x="7" y="11"/>
                    <a:pt x="6" y="14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21"/>
                    <a:pt x="8" y="25"/>
                    <a:pt x="7" y="28"/>
                  </a:cubicBezTo>
                  <a:cubicBezTo>
                    <a:pt x="7" y="30"/>
                    <a:pt x="5" y="30"/>
                    <a:pt x="4" y="31"/>
                  </a:cubicBezTo>
                  <a:cubicBezTo>
                    <a:pt x="3" y="31"/>
                    <a:pt x="2" y="33"/>
                    <a:pt x="1" y="34"/>
                  </a:cubicBezTo>
                  <a:cubicBezTo>
                    <a:pt x="0" y="37"/>
                    <a:pt x="2" y="41"/>
                    <a:pt x="3" y="43"/>
                  </a:cubicBezTo>
                  <a:cubicBezTo>
                    <a:pt x="4" y="46"/>
                    <a:pt x="4" y="46"/>
                    <a:pt x="6" y="47"/>
                  </a:cubicBezTo>
                  <a:cubicBezTo>
                    <a:pt x="8" y="47"/>
                    <a:pt x="9" y="47"/>
                    <a:pt x="11" y="48"/>
                  </a:cubicBezTo>
                  <a:cubicBezTo>
                    <a:pt x="11" y="49"/>
                    <a:pt x="12" y="50"/>
                    <a:pt x="13" y="51"/>
                  </a:cubicBezTo>
                  <a:cubicBezTo>
                    <a:pt x="16" y="54"/>
                    <a:pt x="19" y="52"/>
                    <a:pt x="23" y="52"/>
                  </a:cubicBezTo>
                  <a:cubicBezTo>
                    <a:pt x="28" y="52"/>
                    <a:pt x="32" y="52"/>
                    <a:pt x="35" y="57"/>
                  </a:cubicBezTo>
                  <a:cubicBezTo>
                    <a:pt x="37" y="60"/>
                    <a:pt x="40" y="60"/>
                    <a:pt x="43" y="62"/>
                  </a:cubicBezTo>
                  <a:cubicBezTo>
                    <a:pt x="46" y="63"/>
                    <a:pt x="50" y="66"/>
                    <a:pt x="52" y="69"/>
                  </a:cubicBezTo>
                  <a:cubicBezTo>
                    <a:pt x="54" y="74"/>
                    <a:pt x="58" y="81"/>
                    <a:pt x="62" y="84"/>
                  </a:cubicBezTo>
                  <a:cubicBezTo>
                    <a:pt x="64" y="85"/>
                    <a:pt x="67" y="86"/>
                    <a:pt x="69" y="88"/>
                  </a:cubicBezTo>
                  <a:cubicBezTo>
                    <a:pt x="71" y="88"/>
                    <a:pt x="72" y="89"/>
                    <a:pt x="74" y="89"/>
                  </a:cubicBezTo>
                  <a:cubicBezTo>
                    <a:pt x="75" y="89"/>
                    <a:pt x="75" y="88"/>
                    <a:pt x="77" y="88"/>
                  </a:cubicBezTo>
                  <a:cubicBezTo>
                    <a:pt x="78" y="88"/>
                    <a:pt x="79" y="89"/>
                    <a:pt x="80" y="90"/>
                  </a:cubicBezTo>
                  <a:cubicBezTo>
                    <a:pt x="81" y="90"/>
                    <a:pt x="82" y="90"/>
                    <a:pt x="83" y="90"/>
                  </a:cubicBezTo>
                  <a:cubicBezTo>
                    <a:pt x="85" y="90"/>
                    <a:pt x="86" y="90"/>
                    <a:pt x="88" y="90"/>
                  </a:cubicBezTo>
                  <a:cubicBezTo>
                    <a:pt x="91" y="90"/>
                    <a:pt x="91" y="92"/>
                    <a:pt x="92" y="94"/>
                  </a:cubicBezTo>
                  <a:cubicBezTo>
                    <a:pt x="94" y="97"/>
                    <a:pt x="97" y="98"/>
                    <a:pt x="100" y="101"/>
                  </a:cubicBezTo>
                  <a:cubicBezTo>
                    <a:pt x="103" y="103"/>
                    <a:pt x="103" y="106"/>
                    <a:pt x="103" y="109"/>
                  </a:cubicBezTo>
                  <a:cubicBezTo>
                    <a:pt x="103" y="113"/>
                    <a:pt x="103" y="117"/>
                    <a:pt x="105" y="121"/>
                  </a:cubicBezTo>
                  <a:cubicBezTo>
                    <a:pt x="106" y="124"/>
                    <a:pt x="106" y="125"/>
                    <a:pt x="109" y="125"/>
                  </a:cubicBezTo>
                  <a:cubicBezTo>
                    <a:pt x="111" y="125"/>
                    <a:pt x="114" y="124"/>
                    <a:pt x="116" y="124"/>
                  </a:cubicBezTo>
                  <a:cubicBezTo>
                    <a:pt x="118" y="124"/>
                    <a:pt x="120" y="125"/>
                    <a:pt x="122" y="126"/>
                  </a:cubicBezTo>
                  <a:cubicBezTo>
                    <a:pt x="127" y="128"/>
                    <a:pt x="132" y="127"/>
                    <a:pt x="136" y="128"/>
                  </a:cubicBezTo>
                  <a:cubicBezTo>
                    <a:pt x="140" y="128"/>
                    <a:pt x="146" y="125"/>
                    <a:pt x="144" y="121"/>
                  </a:cubicBezTo>
                  <a:cubicBezTo>
                    <a:pt x="143" y="117"/>
                    <a:pt x="138" y="114"/>
                    <a:pt x="140" y="110"/>
                  </a:cubicBezTo>
                  <a:cubicBezTo>
                    <a:pt x="140" y="108"/>
                    <a:pt x="141" y="107"/>
                    <a:pt x="142" y="106"/>
                  </a:cubicBezTo>
                  <a:cubicBezTo>
                    <a:pt x="144" y="103"/>
                    <a:pt x="146" y="103"/>
                    <a:pt x="148" y="101"/>
                  </a:cubicBezTo>
                  <a:cubicBezTo>
                    <a:pt x="149" y="100"/>
                    <a:pt x="149" y="99"/>
                    <a:pt x="150" y="98"/>
                  </a:cubicBezTo>
                  <a:cubicBezTo>
                    <a:pt x="152" y="97"/>
                    <a:pt x="153" y="97"/>
                    <a:pt x="153" y="94"/>
                  </a:cubicBezTo>
                  <a:cubicBezTo>
                    <a:pt x="153" y="89"/>
                    <a:pt x="149" y="91"/>
                    <a:pt x="147" y="87"/>
                  </a:cubicBezTo>
                  <a:cubicBezTo>
                    <a:pt x="146" y="86"/>
                    <a:pt x="146" y="84"/>
                    <a:pt x="146" y="83"/>
                  </a:cubicBezTo>
                  <a:cubicBezTo>
                    <a:pt x="146" y="81"/>
                    <a:pt x="147" y="81"/>
                    <a:pt x="148" y="79"/>
                  </a:cubicBezTo>
                  <a:cubicBezTo>
                    <a:pt x="149" y="76"/>
                    <a:pt x="143" y="72"/>
                    <a:pt x="142" y="70"/>
                  </a:cubicBezTo>
                  <a:cubicBezTo>
                    <a:pt x="139" y="66"/>
                    <a:pt x="140" y="65"/>
                    <a:pt x="141" y="61"/>
                  </a:cubicBezTo>
                  <a:cubicBezTo>
                    <a:pt x="142" y="57"/>
                    <a:pt x="147" y="52"/>
                    <a:pt x="151" y="52"/>
                  </a:cubicBezTo>
                  <a:cubicBezTo>
                    <a:pt x="153" y="52"/>
                    <a:pt x="154" y="52"/>
                    <a:pt x="156" y="52"/>
                  </a:cubicBezTo>
                  <a:cubicBezTo>
                    <a:pt x="157" y="53"/>
                    <a:pt x="158" y="55"/>
                    <a:pt x="160" y="54"/>
                  </a:cubicBezTo>
                  <a:cubicBezTo>
                    <a:pt x="165" y="53"/>
                    <a:pt x="167" y="48"/>
                    <a:pt x="163" y="45"/>
                  </a:cubicBezTo>
                  <a:cubicBezTo>
                    <a:pt x="162" y="44"/>
                    <a:pt x="160" y="43"/>
                    <a:pt x="158" y="43"/>
                  </a:cubicBezTo>
                  <a:cubicBezTo>
                    <a:pt x="157" y="42"/>
                    <a:pt x="155" y="43"/>
                    <a:pt x="154" y="42"/>
                  </a:cubicBezTo>
                  <a:cubicBezTo>
                    <a:pt x="152" y="41"/>
                    <a:pt x="152" y="37"/>
                    <a:pt x="152" y="35"/>
                  </a:cubicBezTo>
                  <a:cubicBezTo>
                    <a:pt x="153" y="31"/>
                    <a:pt x="156" y="31"/>
                    <a:pt x="159" y="31"/>
                  </a:cubicBezTo>
                  <a:cubicBezTo>
                    <a:pt x="165" y="29"/>
                    <a:pt x="162" y="27"/>
                    <a:pt x="163" y="22"/>
                  </a:cubicBezTo>
                  <a:cubicBezTo>
                    <a:pt x="163" y="21"/>
                    <a:pt x="164" y="20"/>
                    <a:pt x="164" y="19"/>
                  </a:cubicBezTo>
                  <a:cubicBezTo>
                    <a:pt x="164" y="17"/>
                    <a:pt x="163" y="15"/>
                    <a:pt x="164" y="14"/>
                  </a:cubicBezTo>
                  <a:cubicBezTo>
                    <a:pt x="164" y="12"/>
                    <a:pt x="166" y="11"/>
                    <a:pt x="167" y="10"/>
                  </a:cubicBezTo>
                  <a:cubicBezTo>
                    <a:pt x="169" y="9"/>
                    <a:pt x="170" y="6"/>
                    <a:pt x="171" y="5"/>
                  </a:cubicBezTo>
                  <a:cubicBezTo>
                    <a:pt x="171" y="3"/>
                    <a:pt x="170" y="1"/>
                    <a:pt x="168" y="1"/>
                  </a:cubicBezTo>
                  <a:cubicBezTo>
                    <a:pt x="166" y="1"/>
                    <a:pt x="165" y="4"/>
                    <a:pt x="164" y="5"/>
                  </a:cubicBezTo>
                  <a:lnTo>
                    <a:pt x="144" y="1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0" name="Freeform 20">
              <a:extLst>
                <a:ext uri="{FF2B5EF4-FFF2-40B4-BE49-F238E27FC236}">
                  <a16:creationId xmlns:a16="http://schemas.microsoft.com/office/drawing/2014/main" id="{F1991827-19A4-4DD6-A233-34474FF90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0688" y="5835650"/>
              <a:ext cx="161925" cy="334963"/>
            </a:xfrm>
            <a:custGeom>
              <a:avLst/>
              <a:gdLst/>
              <a:ahLst/>
              <a:cxnLst>
                <a:cxn ang="0">
                  <a:pos x="69" y="8"/>
                </a:cxn>
                <a:cxn ang="0">
                  <a:pos x="74" y="14"/>
                </a:cxn>
                <a:cxn ang="0">
                  <a:pos x="77" y="21"/>
                </a:cxn>
                <a:cxn ang="0">
                  <a:pos x="77" y="28"/>
                </a:cxn>
                <a:cxn ang="0">
                  <a:pos x="85" y="34"/>
                </a:cxn>
                <a:cxn ang="0">
                  <a:pos x="87" y="46"/>
                </a:cxn>
                <a:cxn ang="0">
                  <a:pos x="86" y="56"/>
                </a:cxn>
                <a:cxn ang="0">
                  <a:pos x="85" y="65"/>
                </a:cxn>
                <a:cxn ang="0">
                  <a:pos x="83" y="72"/>
                </a:cxn>
                <a:cxn ang="0">
                  <a:pos x="77" y="76"/>
                </a:cxn>
                <a:cxn ang="0">
                  <a:pos x="75" y="80"/>
                </a:cxn>
                <a:cxn ang="0">
                  <a:pos x="79" y="90"/>
                </a:cxn>
                <a:cxn ang="0">
                  <a:pos x="76" y="114"/>
                </a:cxn>
                <a:cxn ang="0">
                  <a:pos x="75" y="126"/>
                </a:cxn>
                <a:cxn ang="0">
                  <a:pos x="74" y="132"/>
                </a:cxn>
                <a:cxn ang="0">
                  <a:pos x="73" y="138"/>
                </a:cxn>
                <a:cxn ang="0">
                  <a:pos x="72" y="145"/>
                </a:cxn>
                <a:cxn ang="0">
                  <a:pos x="70" y="152"/>
                </a:cxn>
                <a:cxn ang="0">
                  <a:pos x="69" y="153"/>
                </a:cxn>
                <a:cxn ang="0">
                  <a:pos x="68" y="162"/>
                </a:cxn>
                <a:cxn ang="0">
                  <a:pos x="64" y="162"/>
                </a:cxn>
                <a:cxn ang="0">
                  <a:pos x="57" y="156"/>
                </a:cxn>
                <a:cxn ang="0">
                  <a:pos x="53" y="155"/>
                </a:cxn>
                <a:cxn ang="0">
                  <a:pos x="40" y="150"/>
                </a:cxn>
                <a:cxn ang="0">
                  <a:pos x="41" y="157"/>
                </a:cxn>
                <a:cxn ang="0">
                  <a:pos x="34" y="175"/>
                </a:cxn>
                <a:cxn ang="0">
                  <a:pos x="21" y="178"/>
                </a:cxn>
                <a:cxn ang="0">
                  <a:pos x="17" y="179"/>
                </a:cxn>
                <a:cxn ang="0">
                  <a:pos x="14" y="165"/>
                </a:cxn>
                <a:cxn ang="0">
                  <a:pos x="8" y="155"/>
                </a:cxn>
                <a:cxn ang="0">
                  <a:pos x="6" y="151"/>
                </a:cxn>
                <a:cxn ang="0">
                  <a:pos x="9" y="138"/>
                </a:cxn>
                <a:cxn ang="0">
                  <a:pos x="14" y="131"/>
                </a:cxn>
                <a:cxn ang="0">
                  <a:pos x="12" y="120"/>
                </a:cxn>
                <a:cxn ang="0">
                  <a:pos x="17" y="116"/>
                </a:cxn>
                <a:cxn ang="0">
                  <a:pos x="19" y="110"/>
                </a:cxn>
                <a:cxn ang="0">
                  <a:pos x="18" y="104"/>
                </a:cxn>
                <a:cxn ang="0">
                  <a:pos x="13" y="102"/>
                </a:cxn>
                <a:cxn ang="0">
                  <a:pos x="10" y="105"/>
                </a:cxn>
                <a:cxn ang="0">
                  <a:pos x="11" y="98"/>
                </a:cxn>
                <a:cxn ang="0">
                  <a:pos x="13" y="88"/>
                </a:cxn>
                <a:cxn ang="0">
                  <a:pos x="17" y="85"/>
                </a:cxn>
                <a:cxn ang="0">
                  <a:pos x="17" y="68"/>
                </a:cxn>
                <a:cxn ang="0">
                  <a:pos x="12" y="58"/>
                </a:cxn>
                <a:cxn ang="0">
                  <a:pos x="11" y="52"/>
                </a:cxn>
                <a:cxn ang="0">
                  <a:pos x="8" y="48"/>
                </a:cxn>
                <a:cxn ang="0">
                  <a:pos x="3" y="43"/>
                </a:cxn>
                <a:cxn ang="0">
                  <a:pos x="6" y="32"/>
                </a:cxn>
                <a:cxn ang="0">
                  <a:pos x="7" y="24"/>
                </a:cxn>
                <a:cxn ang="0">
                  <a:pos x="9" y="16"/>
                </a:cxn>
                <a:cxn ang="0">
                  <a:pos x="13" y="12"/>
                </a:cxn>
                <a:cxn ang="0">
                  <a:pos x="10" y="19"/>
                </a:cxn>
                <a:cxn ang="0">
                  <a:pos x="17" y="22"/>
                </a:cxn>
                <a:cxn ang="0">
                  <a:pos x="27" y="23"/>
                </a:cxn>
                <a:cxn ang="0">
                  <a:pos x="32" y="25"/>
                </a:cxn>
                <a:cxn ang="0">
                  <a:pos x="38" y="22"/>
                </a:cxn>
                <a:cxn ang="0">
                  <a:pos x="47" y="14"/>
                </a:cxn>
                <a:cxn ang="0">
                  <a:pos x="52" y="10"/>
                </a:cxn>
                <a:cxn ang="0">
                  <a:pos x="56" y="2"/>
                </a:cxn>
              </a:cxnLst>
              <a:rect l="0" t="0" r="r" b="b"/>
              <a:pathLst>
                <a:path w="87" h="179">
                  <a:moveTo>
                    <a:pt x="67" y="5"/>
                  </a:moveTo>
                  <a:cubicBezTo>
                    <a:pt x="67" y="6"/>
                    <a:pt x="68" y="8"/>
                    <a:pt x="69" y="8"/>
                  </a:cubicBezTo>
                  <a:cubicBezTo>
                    <a:pt x="71" y="9"/>
                    <a:pt x="73" y="9"/>
                    <a:pt x="73" y="11"/>
                  </a:cubicBezTo>
                  <a:cubicBezTo>
                    <a:pt x="74" y="12"/>
                    <a:pt x="73" y="13"/>
                    <a:pt x="74" y="14"/>
                  </a:cubicBezTo>
                  <a:cubicBezTo>
                    <a:pt x="74" y="15"/>
                    <a:pt x="75" y="14"/>
                    <a:pt x="76" y="15"/>
                  </a:cubicBezTo>
                  <a:cubicBezTo>
                    <a:pt x="77" y="16"/>
                    <a:pt x="77" y="19"/>
                    <a:pt x="77" y="21"/>
                  </a:cubicBezTo>
                  <a:cubicBezTo>
                    <a:pt x="77" y="22"/>
                    <a:pt x="77" y="23"/>
                    <a:pt x="76" y="25"/>
                  </a:cubicBezTo>
                  <a:cubicBezTo>
                    <a:pt x="76" y="26"/>
                    <a:pt x="76" y="27"/>
                    <a:pt x="77" y="28"/>
                  </a:cubicBezTo>
                  <a:cubicBezTo>
                    <a:pt x="79" y="30"/>
                    <a:pt x="81" y="29"/>
                    <a:pt x="83" y="30"/>
                  </a:cubicBezTo>
                  <a:cubicBezTo>
                    <a:pt x="85" y="31"/>
                    <a:pt x="85" y="32"/>
                    <a:pt x="85" y="34"/>
                  </a:cubicBezTo>
                  <a:cubicBezTo>
                    <a:pt x="85" y="37"/>
                    <a:pt x="87" y="40"/>
                    <a:pt x="87" y="43"/>
                  </a:cubicBezTo>
                  <a:cubicBezTo>
                    <a:pt x="87" y="44"/>
                    <a:pt x="87" y="45"/>
                    <a:pt x="87" y="46"/>
                  </a:cubicBezTo>
                  <a:cubicBezTo>
                    <a:pt x="87" y="48"/>
                    <a:pt x="86" y="49"/>
                    <a:pt x="86" y="50"/>
                  </a:cubicBezTo>
                  <a:cubicBezTo>
                    <a:pt x="86" y="52"/>
                    <a:pt x="86" y="54"/>
                    <a:pt x="86" y="56"/>
                  </a:cubicBezTo>
                  <a:cubicBezTo>
                    <a:pt x="86" y="58"/>
                    <a:pt x="86" y="60"/>
                    <a:pt x="86" y="62"/>
                  </a:cubicBezTo>
                  <a:cubicBezTo>
                    <a:pt x="85" y="63"/>
                    <a:pt x="85" y="64"/>
                    <a:pt x="85" y="65"/>
                  </a:cubicBezTo>
                  <a:cubicBezTo>
                    <a:pt x="85" y="66"/>
                    <a:pt x="85" y="67"/>
                    <a:pt x="85" y="68"/>
                  </a:cubicBezTo>
                  <a:cubicBezTo>
                    <a:pt x="84" y="69"/>
                    <a:pt x="83" y="71"/>
                    <a:pt x="83" y="72"/>
                  </a:cubicBezTo>
                  <a:cubicBezTo>
                    <a:pt x="82" y="73"/>
                    <a:pt x="81" y="74"/>
                    <a:pt x="81" y="74"/>
                  </a:cubicBezTo>
                  <a:cubicBezTo>
                    <a:pt x="79" y="75"/>
                    <a:pt x="77" y="74"/>
                    <a:pt x="77" y="76"/>
                  </a:cubicBezTo>
                  <a:cubicBezTo>
                    <a:pt x="76" y="76"/>
                    <a:pt x="77" y="77"/>
                    <a:pt x="76" y="78"/>
                  </a:cubicBezTo>
                  <a:cubicBezTo>
                    <a:pt x="76" y="79"/>
                    <a:pt x="76" y="79"/>
                    <a:pt x="75" y="80"/>
                  </a:cubicBezTo>
                  <a:cubicBezTo>
                    <a:pt x="75" y="81"/>
                    <a:pt x="75" y="84"/>
                    <a:pt x="76" y="86"/>
                  </a:cubicBezTo>
                  <a:cubicBezTo>
                    <a:pt x="77" y="87"/>
                    <a:pt x="78" y="88"/>
                    <a:pt x="79" y="90"/>
                  </a:cubicBezTo>
                  <a:cubicBezTo>
                    <a:pt x="79" y="91"/>
                    <a:pt x="80" y="92"/>
                    <a:pt x="80" y="94"/>
                  </a:cubicBezTo>
                  <a:cubicBezTo>
                    <a:pt x="79" y="101"/>
                    <a:pt x="77" y="107"/>
                    <a:pt x="76" y="114"/>
                  </a:cubicBezTo>
                  <a:cubicBezTo>
                    <a:pt x="76" y="117"/>
                    <a:pt x="76" y="119"/>
                    <a:pt x="76" y="122"/>
                  </a:cubicBezTo>
                  <a:cubicBezTo>
                    <a:pt x="76" y="123"/>
                    <a:pt x="76" y="125"/>
                    <a:pt x="75" y="126"/>
                  </a:cubicBezTo>
                  <a:cubicBezTo>
                    <a:pt x="75" y="128"/>
                    <a:pt x="75" y="129"/>
                    <a:pt x="75" y="130"/>
                  </a:cubicBezTo>
                  <a:cubicBezTo>
                    <a:pt x="75" y="131"/>
                    <a:pt x="74" y="131"/>
                    <a:pt x="74" y="132"/>
                  </a:cubicBezTo>
                  <a:cubicBezTo>
                    <a:pt x="74" y="133"/>
                    <a:pt x="74" y="134"/>
                    <a:pt x="73" y="135"/>
                  </a:cubicBezTo>
                  <a:cubicBezTo>
                    <a:pt x="73" y="136"/>
                    <a:pt x="73" y="137"/>
                    <a:pt x="73" y="138"/>
                  </a:cubicBezTo>
                  <a:cubicBezTo>
                    <a:pt x="72" y="140"/>
                    <a:pt x="73" y="142"/>
                    <a:pt x="72" y="143"/>
                  </a:cubicBezTo>
                  <a:cubicBezTo>
                    <a:pt x="72" y="144"/>
                    <a:pt x="72" y="145"/>
                    <a:pt x="72" y="145"/>
                  </a:cubicBezTo>
                  <a:cubicBezTo>
                    <a:pt x="71" y="147"/>
                    <a:pt x="71" y="148"/>
                    <a:pt x="71" y="150"/>
                  </a:cubicBezTo>
                  <a:cubicBezTo>
                    <a:pt x="71" y="151"/>
                    <a:pt x="70" y="151"/>
                    <a:pt x="70" y="152"/>
                  </a:cubicBezTo>
                  <a:cubicBezTo>
                    <a:pt x="70" y="152"/>
                    <a:pt x="69" y="152"/>
                    <a:pt x="69" y="153"/>
                  </a:cubicBezTo>
                  <a:cubicBezTo>
                    <a:pt x="69" y="153"/>
                    <a:pt x="69" y="153"/>
                    <a:pt x="69" y="153"/>
                  </a:cubicBezTo>
                  <a:cubicBezTo>
                    <a:pt x="68" y="155"/>
                    <a:pt x="68" y="156"/>
                    <a:pt x="68" y="158"/>
                  </a:cubicBezTo>
                  <a:cubicBezTo>
                    <a:pt x="68" y="158"/>
                    <a:pt x="68" y="161"/>
                    <a:pt x="68" y="162"/>
                  </a:cubicBezTo>
                  <a:cubicBezTo>
                    <a:pt x="67" y="162"/>
                    <a:pt x="67" y="161"/>
                    <a:pt x="66" y="161"/>
                  </a:cubicBezTo>
                  <a:cubicBezTo>
                    <a:pt x="65" y="161"/>
                    <a:pt x="65" y="162"/>
                    <a:pt x="64" y="162"/>
                  </a:cubicBezTo>
                  <a:cubicBezTo>
                    <a:pt x="63" y="163"/>
                    <a:pt x="61" y="163"/>
                    <a:pt x="60" y="161"/>
                  </a:cubicBezTo>
                  <a:cubicBezTo>
                    <a:pt x="59" y="159"/>
                    <a:pt x="59" y="158"/>
                    <a:pt x="57" y="156"/>
                  </a:cubicBezTo>
                  <a:cubicBezTo>
                    <a:pt x="57" y="155"/>
                    <a:pt x="57" y="155"/>
                    <a:pt x="55" y="155"/>
                  </a:cubicBezTo>
                  <a:cubicBezTo>
                    <a:pt x="55" y="154"/>
                    <a:pt x="54" y="155"/>
                    <a:pt x="53" y="155"/>
                  </a:cubicBezTo>
                  <a:cubicBezTo>
                    <a:pt x="49" y="154"/>
                    <a:pt x="47" y="152"/>
                    <a:pt x="44" y="150"/>
                  </a:cubicBezTo>
                  <a:cubicBezTo>
                    <a:pt x="44" y="150"/>
                    <a:pt x="41" y="149"/>
                    <a:pt x="40" y="150"/>
                  </a:cubicBezTo>
                  <a:cubicBezTo>
                    <a:pt x="39" y="152"/>
                    <a:pt x="42" y="153"/>
                    <a:pt x="42" y="154"/>
                  </a:cubicBezTo>
                  <a:cubicBezTo>
                    <a:pt x="43" y="155"/>
                    <a:pt x="42" y="156"/>
                    <a:pt x="41" y="157"/>
                  </a:cubicBezTo>
                  <a:cubicBezTo>
                    <a:pt x="39" y="160"/>
                    <a:pt x="41" y="162"/>
                    <a:pt x="41" y="166"/>
                  </a:cubicBezTo>
                  <a:cubicBezTo>
                    <a:pt x="41" y="170"/>
                    <a:pt x="38" y="173"/>
                    <a:pt x="34" y="175"/>
                  </a:cubicBezTo>
                  <a:cubicBezTo>
                    <a:pt x="31" y="176"/>
                    <a:pt x="28" y="176"/>
                    <a:pt x="25" y="177"/>
                  </a:cubicBezTo>
                  <a:cubicBezTo>
                    <a:pt x="24" y="177"/>
                    <a:pt x="23" y="178"/>
                    <a:pt x="21" y="178"/>
                  </a:cubicBezTo>
                  <a:cubicBezTo>
                    <a:pt x="21" y="178"/>
                    <a:pt x="20" y="177"/>
                    <a:pt x="19" y="178"/>
                  </a:cubicBezTo>
                  <a:cubicBezTo>
                    <a:pt x="18" y="178"/>
                    <a:pt x="18" y="179"/>
                    <a:pt x="17" y="179"/>
                  </a:cubicBezTo>
                  <a:cubicBezTo>
                    <a:pt x="16" y="176"/>
                    <a:pt x="16" y="173"/>
                    <a:pt x="15" y="170"/>
                  </a:cubicBezTo>
                  <a:cubicBezTo>
                    <a:pt x="15" y="168"/>
                    <a:pt x="15" y="167"/>
                    <a:pt x="14" y="165"/>
                  </a:cubicBezTo>
                  <a:cubicBezTo>
                    <a:pt x="13" y="163"/>
                    <a:pt x="11" y="161"/>
                    <a:pt x="10" y="158"/>
                  </a:cubicBezTo>
                  <a:cubicBezTo>
                    <a:pt x="10" y="157"/>
                    <a:pt x="9" y="157"/>
                    <a:pt x="8" y="155"/>
                  </a:cubicBezTo>
                  <a:cubicBezTo>
                    <a:pt x="7" y="154"/>
                    <a:pt x="6" y="154"/>
                    <a:pt x="5" y="153"/>
                  </a:cubicBezTo>
                  <a:cubicBezTo>
                    <a:pt x="4" y="152"/>
                    <a:pt x="5" y="152"/>
                    <a:pt x="6" y="151"/>
                  </a:cubicBezTo>
                  <a:cubicBezTo>
                    <a:pt x="8" y="149"/>
                    <a:pt x="9" y="144"/>
                    <a:pt x="9" y="141"/>
                  </a:cubicBezTo>
                  <a:cubicBezTo>
                    <a:pt x="9" y="140"/>
                    <a:pt x="8" y="139"/>
                    <a:pt x="9" y="138"/>
                  </a:cubicBezTo>
                  <a:cubicBezTo>
                    <a:pt x="9" y="137"/>
                    <a:pt x="9" y="137"/>
                    <a:pt x="10" y="137"/>
                  </a:cubicBezTo>
                  <a:cubicBezTo>
                    <a:pt x="12" y="135"/>
                    <a:pt x="13" y="133"/>
                    <a:pt x="14" y="131"/>
                  </a:cubicBezTo>
                  <a:cubicBezTo>
                    <a:pt x="14" y="129"/>
                    <a:pt x="15" y="126"/>
                    <a:pt x="14" y="124"/>
                  </a:cubicBezTo>
                  <a:cubicBezTo>
                    <a:pt x="14" y="123"/>
                    <a:pt x="13" y="122"/>
                    <a:pt x="12" y="120"/>
                  </a:cubicBezTo>
                  <a:cubicBezTo>
                    <a:pt x="12" y="117"/>
                    <a:pt x="15" y="116"/>
                    <a:pt x="15" y="113"/>
                  </a:cubicBezTo>
                  <a:cubicBezTo>
                    <a:pt x="15" y="114"/>
                    <a:pt x="16" y="116"/>
                    <a:pt x="17" y="116"/>
                  </a:cubicBezTo>
                  <a:cubicBezTo>
                    <a:pt x="17" y="115"/>
                    <a:pt x="17" y="115"/>
                    <a:pt x="18" y="114"/>
                  </a:cubicBezTo>
                  <a:cubicBezTo>
                    <a:pt x="19" y="112"/>
                    <a:pt x="19" y="111"/>
                    <a:pt x="19" y="110"/>
                  </a:cubicBezTo>
                  <a:cubicBezTo>
                    <a:pt x="20" y="108"/>
                    <a:pt x="24" y="106"/>
                    <a:pt x="22" y="104"/>
                  </a:cubicBezTo>
                  <a:cubicBezTo>
                    <a:pt x="21" y="104"/>
                    <a:pt x="19" y="104"/>
                    <a:pt x="18" y="104"/>
                  </a:cubicBezTo>
                  <a:cubicBezTo>
                    <a:pt x="16" y="104"/>
                    <a:pt x="17" y="103"/>
                    <a:pt x="16" y="102"/>
                  </a:cubicBezTo>
                  <a:cubicBezTo>
                    <a:pt x="15" y="100"/>
                    <a:pt x="15" y="101"/>
                    <a:pt x="13" y="102"/>
                  </a:cubicBezTo>
                  <a:cubicBezTo>
                    <a:pt x="13" y="102"/>
                    <a:pt x="12" y="102"/>
                    <a:pt x="12" y="103"/>
                  </a:cubicBezTo>
                  <a:cubicBezTo>
                    <a:pt x="11" y="103"/>
                    <a:pt x="11" y="104"/>
                    <a:pt x="10" y="105"/>
                  </a:cubicBezTo>
                  <a:cubicBezTo>
                    <a:pt x="9" y="105"/>
                    <a:pt x="9" y="104"/>
                    <a:pt x="9" y="103"/>
                  </a:cubicBezTo>
                  <a:cubicBezTo>
                    <a:pt x="10" y="101"/>
                    <a:pt x="11" y="100"/>
                    <a:pt x="11" y="98"/>
                  </a:cubicBezTo>
                  <a:cubicBezTo>
                    <a:pt x="11" y="97"/>
                    <a:pt x="11" y="94"/>
                    <a:pt x="12" y="93"/>
                  </a:cubicBezTo>
                  <a:cubicBezTo>
                    <a:pt x="13" y="91"/>
                    <a:pt x="13" y="90"/>
                    <a:pt x="13" y="88"/>
                  </a:cubicBezTo>
                  <a:cubicBezTo>
                    <a:pt x="15" y="87"/>
                    <a:pt x="20" y="89"/>
                    <a:pt x="21" y="87"/>
                  </a:cubicBezTo>
                  <a:cubicBezTo>
                    <a:pt x="22" y="85"/>
                    <a:pt x="18" y="85"/>
                    <a:pt x="17" y="85"/>
                  </a:cubicBezTo>
                  <a:cubicBezTo>
                    <a:pt x="16" y="82"/>
                    <a:pt x="17" y="78"/>
                    <a:pt x="17" y="74"/>
                  </a:cubicBezTo>
                  <a:cubicBezTo>
                    <a:pt x="17" y="73"/>
                    <a:pt x="17" y="69"/>
                    <a:pt x="17" y="68"/>
                  </a:cubicBezTo>
                  <a:cubicBezTo>
                    <a:pt x="16" y="67"/>
                    <a:pt x="14" y="66"/>
                    <a:pt x="13" y="66"/>
                  </a:cubicBezTo>
                  <a:cubicBezTo>
                    <a:pt x="12" y="63"/>
                    <a:pt x="13" y="61"/>
                    <a:pt x="12" y="58"/>
                  </a:cubicBezTo>
                  <a:cubicBezTo>
                    <a:pt x="12" y="56"/>
                    <a:pt x="12" y="55"/>
                    <a:pt x="11" y="53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1"/>
                    <a:pt x="9" y="51"/>
                    <a:pt x="9" y="50"/>
                  </a:cubicBezTo>
                  <a:cubicBezTo>
                    <a:pt x="8" y="49"/>
                    <a:pt x="8" y="48"/>
                    <a:pt x="8" y="48"/>
                  </a:cubicBezTo>
                  <a:cubicBezTo>
                    <a:pt x="7" y="46"/>
                    <a:pt x="7" y="47"/>
                    <a:pt x="5" y="47"/>
                  </a:cubicBezTo>
                  <a:cubicBezTo>
                    <a:pt x="3" y="46"/>
                    <a:pt x="0" y="45"/>
                    <a:pt x="3" y="43"/>
                  </a:cubicBezTo>
                  <a:cubicBezTo>
                    <a:pt x="4" y="41"/>
                    <a:pt x="5" y="41"/>
                    <a:pt x="5" y="39"/>
                  </a:cubicBezTo>
                  <a:cubicBezTo>
                    <a:pt x="5" y="36"/>
                    <a:pt x="5" y="34"/>
                    <a:pt x="6" y="32"/>
                  </a:cubicBezTo>
                  <a:cubicBezTo>
                    <a:pt x="6" y="30"/>
                    <a:pt x="5" y="28"/>
                    <a:pt x="6" y="27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8" y="23"/>
                    <a:pt x="8" y="21"/>
                    <a:pt x="8" y="20"/>
                  </a:cubicBezTo>
                  <a:cubicBezTo>
                    <a:pt x="9" y="19"/>
                    <a:pt x="9" y="17"/>
                    <a:pt x="9" y="16"/>
                  </a:cubicBezTo>
                  <a:cubicBezTo>
                    <a:pt x="9" y="14"/>
                    <a:pt x="9" y="13"/>
                    <a:pt x="11" y="12"/>
                  </a:cubicBezTo>
                  <a:cubicBezTo>
                    <a:pt x="11" y="12"/>
                    <a:pt x="12" y="11"/>
                    <a:pt x="13" y="12"/>
                  </a:cubicBezTo>
                  <a:cubicBezTo>
                    <a:pt x="13" y="13"/>
                    <a:pt x="11" y="15"/>
                    <a:pt x="11" y="15"/>
                  </a:cubicBezTo>
                  <a:cubicBezTo>
                    <a:pt x="9" y="17"/>
                    <a:pt x="10" y="17"/>
                    <a:pt x="10" y="19"/>
                  </a:cubicBezTo>
                  <a:cubicBezTo>
                    <a:pt x="10" y="21"/>
                    <a:pt x="10" y="20"/>
                    <a:pt x="11" y="21"/>
                  </a:cubicBezTo>
                  <a:cubicBezTo>
                    <a:pt x="13" y="22"/>
                    <a:pt x="15" y="22"/>
                    <a:pt x="17" y="22"/>
                  </a:cubicBezTo>
                  <a:cubicBezTo>
                    <a:pt x="19" y="22"/>
                    <a:pt x="21" y="21"/>
                    <a:pt x="24" y="21"/>
                  </a:cubicBezTo>
                  <a:cubicBezTo>
                    <a:pt x="25" y="22"/>
                    <a:pt x="26" y="23"/>
                    <a:pt x="27" y="23"/>
                  </a:cubicBezTo>
                  <a:cubicBezTo>
                    <a:pt x="27" y="23"/>
                    <a:pt x="28" y="23"/>
                    <a:pt x="29" y="23"/>
                  </a:cubicBezTo>
                  <a:cubicBezTo>
                    <a:pt x="29" y="24"/>
                    <a:pt x="31" y="25"/>
                    <a:pt x="32" y="25"/>
                  </a:cubicBezTo>
                  <a:cubicBezTo>
                    <a:pt x="32" y="25"/>
                    <a:pt x="33" y="24"/>
                    <a:pt x="34" y="23"/>
                  </a:cubicBezTo>
                  <a:cubicBezTo>
                    <a:pt x="35" y="22"/>
                    <a:pt x="36" y="22"/>
                    <a:pt x="38" y="22"/>
                  </a:cubicBezTo>
                  <a:cubicBezTo>
                    <a:pt x="41" y="21"/>
                    <a:pt x="40" y="18"/>
                    <a:pt x="42" y="16"/>
                  </a:cubicBezTo>
                  <a:cubicBezTo>
                    <a:pt x="44" y="14"/>
                    <a:pt x="45" y="14"/>
                    <a:pt x="47" y="14"/>
                  </a:cubicBezTo>
                  <a:cubicBezTo>
                    <a:pt x="48" y="13"/>
                    <a:pt x="49" y="12"/>
                    <a:pt x="50" y="11"/>
                  </a:cubicBezTo>
                  <a:cubicBezTo>
                    <a:pt x="51" y="11"/>
                    <a:pt x="52" y="10"/>
                    <a:pt x="52" y="10"/>
                  </a:cubicBezTo>
                  <a:cubicBezTo>
                    <a:pt x="53" y="9"/>
                    <a:pt x="53" y="8"/>
                    <a:pt x="53" y="7"/>
                  </a:cubicBezTo>
                  <a:cubicBezTo>
                    <a:pt x="53" y="4"/>
                    <a:pt x="54" y="3"/>
                    <a:pt x="56" y="2"/>
                  </a:cubicBezTo>
                  <a:cubicBezTo>
                    <a:pt x="59" y="0"/>
                    <a:pt x="65" y="1"/>
                    <a:pt x="67" y="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1" name="Freeform 21">
              <a:extLst>
                <a:ext uri="{FF2B5EF4-FFF2-40B4-BE49-F238E27FC236}">
                  <a16:creationId xmlns:a16="http://schemas.microsoft.com/office/drawing/2014/main" id="{A7A1D21B-ED4F-4CD2-85A3-CD8BDA8E96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9500" y="3751263"/>
              <a:ext cx="1041400" cy="944563"/>
            </a:xfrm>
            <a:custGeom>
              <a:avLst/>
              <a:gdLst/>
              <a:ahLst/>
              <a:cxnLst>
                <a:cxn ang="0">
                  <a:pos x="549" y="385"/>
                </a:cxn>
                <a:cxn ang="0">
                  <a:pos x="543" y="329"/>
                </a:cxn>
                <a:cxn ang="0">
                  <a:pos x="531" y="290"/>
                </a:cxn>
                <a:cxn ang="0">
                  <a:pos x="533" y="257"/>
                </a:cxn>
                <a:cxn ang="0">
                  <a:pos x="522" y="235"/>
                </a:cxn>
                <a:cxn ang="0">
                  <a:pos x="532" y="203"/>
                </a:cxn>
                <a:cxn ang="0">
                  <a:pos x="552" y="184"/>
                </a:cxn>
                <a:cxn ang="0">
                  <a:pos x="546" y="161"/>
                </a:cxn>
                <a:cxn ang="0">
                  <a:pos x="524" y="97"/>
                </a:cxn>
                <a:cxn ang="0">
                  <a:pos x="518" y="61"/>
                </a:cxn>
                <a:cxn ang="0">
                  <a:pos x="473" y="42"/>
                </a:cxn>
                <a:cxn ang="0">
                  <a:pos x="315" y="39"/>
                </a:cxn>
                <a:cxn ang="0">
                  <a:pos x="293" y="41"/>
                </a:cxn>
                <a:cxn ang="0">
                  <a:pos x="243" y="1"/>
                </a:cxn>
                <a:cxn ang="0">
                  <a:pos x="187" y="10"/>
                </a:cxn>
                <a:cxn ang="0">
                  <a:pos x="156" y="17"/>
                </a:cxn>
                <a:cxn ang="0">
                  <a:pos x="114" y="50"/>
                </a:cxn>
                <a:cxn ang="0">
                  <a:pos x="77" y="63"/>
                </a:cxn>
                <a:cxn ang="0">
                  <a:pos x="36" y="71"/>
                </a:cxn>
                <a:cxn ang="0">
                  <a:pos x="14" y="81"/>
                </a:cxn>
                <a:cxn ang="0">
                  <a:pos x="16" y="93"/>
                </a:cxn>
                <a:cxn ang="0">
                  <a:pos x="33" y="138"/>
                </a:cxn>
                <a:cxn ang="0">
                  <a:pos x="16" y="170"/>
                </a:cxn>
                <a:cxn ang="0">
                  <a:pos x="31" y="187"/>
                </a:cxn>
                <a:cxn ang="0">
                  <a:pos x="37" y="212"/>
                </a:cxn>
                <a:cxn ang="0">
                  <a:pos x="43" y="231"/>
                </a:cxn>
                <a:cxn ang="0">
                  <a:pos x="38" y="260"/>
                </a:cxn>
                <a:cxn ang="0">
                  <a:pos x="44" y="276"/>
                </a:cxn>
                <a:cxn ang="0">
                  <a:pos x="47" y="292"/>
                </a:cxn>
                <a:cxn ang="0">
                  <a:pos x="60" y="310"/>
                </a:cxn>
                <a:cxn ang="0">
                  <a:pos x="61" y="338"/>
                </a:cxn>
                <a:cxn ang="0">
                  <a:pos x="88" y="356"/>
                </a:cxn>
                <a:cxn ang="0">
                  <a:pos x="118" y="367"/>
                </a:cxn>
                <a:cxn ang="0">
                  <a:pos x="138" y="375"/>
                </a:cxn>
                <a:cxn ang="0">
                  <a:pos x="140" y="398"/>
                </a:cxn>
                <a:cxn ang="0">
                  <a:pos x="157" y="412"/>
                </a:cxn>
                <a:cxn ang="0">
                  <a:pos x="167" y="393"/>
                </a:cxn>
                <a:cxn ang="0">
                  <a:pos x="191" y="400"/>
                </a:cxn>
                <a:cxn ang="0">
                  <a:pos x="208" y="414"/>
                </a:cxn>
                <a:cxn ang="0">
                  <a:pos x="231" y="426"/>
                </a:cxn>
                <a:cxn ang="0">
                  <a:pos x="269" y="455"/>
                </a:cxn>
                <a:cxn ang="0">
                  <a:pos x="286" y="475"/>
                </a:cxn>
                <a:cxn ang="0">
                  <a:pos x="308" y="466"/>
                </a:cxn>
                <a:cxn ang="0">
                  <a:pos x="321" y="487"/>
                </a:cxn>
                <a:cxn ang="0">
                  <a:pos x="338" y="483"/>
                </a:cxn>
                <a:cxn ang="0">
                  <a:pos x="376" y="480"/>
                </a:cxn>
                <a:cxn ang="0">
                  <a:pos x="393" y="473"/>
                </a:cxn>
                <a:cxn ang="0">
                  <a:pos x="427" y="479"/>
                </a:cxn>
                <a:cxn ang="0">
                  <a:pos x="445" y="490"/>
                </a:cxn>
                <a:cxn ang="0">
                  <a:pos x="477" y="503"/>
                </a:cxn>
                <a:cxn ang="0">
                  <a:pos x="477" y="486"/>
                </a:cxn>
                <a:cxn ang="0">
                  <a:pos x="474" y="462"/>
                </a:cxn>
                <a:cxn ang="0">
                  <a:pos x="500" y="424"/>
                </a:cxn>
                <a:cxn ang="0">
                  <a:pos x="551" y="390"/>
                </a:cxn>
                <a:cxn ang="0">
                  <a:pos x="545" y="359"/>
                </a:cxn>
              </a:cxnLst>
              <a:rect l="0" t="0" r="r" b="b"/>
              <a:pathLst>
                <a:path w="557" h="505">
                  <a:moveTo>
                    <a:pt x="552" y="381"/>
                  </a:moveTo>
                  <a:cubicBezTo>
                    <a:pt x="552" y="381"/>
                    <a:pt x="552" y="382"/>
                    <a:pt x="552" y="382"/>
                  </a:cubicBezTo>
                  <a:cubicBezTo>
                    <a:pt x="552" y="382"/>
                    <a:pt x="552" y="381"/>
                    <a:pt x="552" y="381"/>
                  </a:cubicBezTo>
                  <a:moveTo>
                    <a:pt x="549" y="385"/>
                  </a:moveTo>
                  <a:cubicBezTo>
                    <a:pt x="550" y="385"/>
                    <a:pt x="550" y="385"/>
                    <a:pt x="550" y="385"/>
                  </a:cubicBezTo>
                  <a:cubicBezTo>
                    <a:pt x="550" y="385"/>
                    <a:pt x="550" y="385"/>
                    <a:pt x="550" y="385"/>
                  </a:cubicBezTo>
                  <a:lnTo>
                    <a:pt x="549" y="385"/>
                  </a:lnTo>
                  <a:close/>
                  <a:moveTo>
                    <a:pt x="557" y="352"/>
                  </a:moveTo>
                  <a:cubicBezTo>
                    <a:pt x="556" y="350"/>
                    <a:pt x="556" y="351"/>
                    <a:pt x="555" y="350"/>
                  </a:cubicBezTo>
                  <a:cubicBezTo>
                    <a:pt x="554" y="348"/>
                    <a:pt x="554" y="346"/>
                    <a:pt x="554" y="344"/>
                  </a:cubicBezTo>
                  <a:cubicBezTo>
                    <a:pt x="552" y="342"/>
                    <a:pt x="550" y="339"/>
                    <a:pt x="548" y="336"/>
                  </a:cubicBezTo>
                  <a:cubicBezTo>
                    <a:pt x="548" y="335"/>
                    <a:pt x="547" y="332"/>
                    <a:pt x="546" y="331"/>
                  </a:cubicBezTo>
                  <a:cubicBezTo>
                    <a:pt x="546" y="331"/>
                    <a:pt x="545" y="331"/>
                    <a:pt x="544" y="331"/>
                  </a:cubicBezTo>
                  <a:cubicBezTo>
                    <a:pt x="543" y="331"/>
                    <a:pt x="543" y="330"/>
                    <a:pt x="543" y="329"/>
                  </a:cubicBezTo>
                  <a:cubicBezTo>
                    <a:pt x="543" y="329"/>
                    <a:pt x="543" y="328"/>
                    <a:pt x="543" y="328"/>
                  </a:cubicBezTo>
                  <a:cubicBezTo>
                    <a:pt x="542" y="327"/>
                    <a:pt x="542" y="327"/>
                    <a:pt x="542" y="326"/>
                  </a:cubicBezTo>
                  <a:cubicBezTo>
                    <a:pt x="541" y="324"/>
                    <a:pt x="540" y="323"/>
                    <a:pt x="540" y="321"/>
                  </a:cubicBezTo>
                  <a:cubicBezTo>
                    <a:pt x="538" y="317"/>
                    <a:pt x="536" y="314"/>
                    <a:pt x="535" y="310"/>
                  </a:cubicBezTo>
                  <a:cubicBezTo>
                    <a:pt x="534" y="307"/>
                    <a:pt x="533" y="304"/>
                    <a:pt x="533" y="301"/>
                  </a:cubicBezTo>
                  <a:cubicBezTo>
                    <a:pt x="533" y="299"/>
                    <a:pt x="533" y="298"/>
                    <a:pt x="533" y="296"/>
                  </a:cubicBezTo>
                  <a:cubicBezTo>
                    <a:pt x="532" y="294"/>
                    <a:pt x="532" y="291"/>
                    <a:pt x="531" y="290"/>
                  </a:cubicBezTo>
                  <a:cubicBezTo>
                    <a:pt x="530" y="288"/>
                    <a:pt x="529" y="290"/>
                    <a:pt x="527" y="289"/>
                  </a:cubicBezTo>
                  <a:cubicBezTo>
                    <a:pt x="524" y="288"/>
                    <a:pt x="525" y="285"/>
                    <a:pt x="525" y="282"/>
                  </a:cubicBezTo>
                  <a:cubicBezTo>
                    <a:pt x="525" y="280"/>
                    <a:pt x="525" y="278"/>
                    <a:pt x="525" y="276"/>
                  </a:cubicBezTo>
                  <a:cubicBezTo>
                    <a:pt x="526" y="274"/>
                    <a:pt x="527" y="274"/>
                    <a:pt x="528" y="272"/>
                  </a:cubicBezTo>
                  <a:cubicBezTo>
                    <a:pt x="528" y="271"/>
                    <a:pt x="528" y="269"/>
                    <a:pt x="528" y="268"/>
                  </a:cubicBezTo>
                  <a:cubicBezTo>
                    <a:pt x="529" y="266"/>
                    <a:pt x="529" y="266"/>
                    <a:pt x="530" y="264"/>
                  </a:cubicBezTo>
                  <a:cubicBezTo>
                    <a:pt x="531" y="262"/>
                    <a:pt x="532" y="260"/>
                    <a:pt x="533" y="257"/>
                  </a:cubicBezTo>
                  <a:cubicBezTo>
                    <a:pt x="533" y="255"/>
                    <a:pt x="532" y="254"/>
                    <a:pt x="534" y="253"/>
                  </a:cubicBezTo>
                  <a:cubicBezTo>
                    <a:pt x="534" y="252"/>
                    <a:pt x="535" y="253"/>
                    <a:pt x="535" y="252"/>
                  </a:cubicBezTo>
                  <a:cubicBezTo>
                    <a:pt x="535" y="251"/>
                    <a:pt x="535" y="249"/>
                    <a:pt x="535" y="249"/>
                  </a:cubicBezTo>
                  <a:cubicBezTo>
                    <a:pt x="535" y="247"/>
                    <a:pt x="534" y="247"/>
                    <a:pt x="533" y="245"/>
                  </a:cubicBezTo>
                  <a:cubicBezTo>
                    <a:pt x="532" y="244"/>
                    <a:pt x="531" y="243"/>
                    <a:pt x="530" y="242"/>
                  </a:cubicBezTo>
                  <a:cubicBezTo>
                    <a:pt x="528" y="240"/>
                    <a:pt x="528" y="240"/>
                    <a:pt x="526" y="240"/>
                  </a:cubicBezTo>
                  <a:cubicBezTo>
                    <a:pt x="524" y="239"/>
                    <a:pt x="523" y="237"/>
                    <a:pt x="522" y="235"/>
                  </a:cubicBezTo>
                  <a:cubicBezTo>
                    <a:pt x="520" y="232"/>
                    <a:pt x="520" y="231"/>
                    <a:pt x="516" y="232"/>
                  </a:cubicBezTo>
                  <a:cubicBezTo>
                    <a:pt x="512" y="232"/>
                    <a:pt x="513" y="227"/>
                    <a:pt x="514" y="224"/>
                  </a:cubicBezTo>
                  <a:cubicBezTo>
                    <a:pt x="515" y="223"/>
                    <a:pt x="515" y="221"/>
                    <a:pt x="515" y="219"/>
                  </a:cubicBezTo>
                  <a:cubicBezTo>
                    <a:pt x="516" y="218"/>
                    <a:pt x="518" y="217"/>
                    <a:pt x="520" y="216"/>
                  </a:cubicBezTo>
                  <a:cubicBezTo>
                    <a:pt x="523" y="214"/>
                    <a:pt x="526" y="213"/>
                    <a:pt x="528" y="210"/>
                  </a:cubicBezTo>
                  <a:cubicBezTo>
                    <a:pt x="530" y="209"/>
                    <a:pt x="529" y="210"/>
                    <a:pt x="530" y="208"/>
                  </a:cubicBezTo>
                  <a:cubicBezTo>
                    <a:pt x="531" y="206"/>
                    <a:pt x="531" y="205"/>
                    <a:pt x="532" y="203"/>
                  </a:cubicBezTo>
                  <a:cubicBezTo>
                    <a:pt x="532" y="203"/>
                    <a:pt x="532" y="201"/>
                    <a:pt x="533" y="201"/>
                  </a:cubicBezTo>
                  <a:cubicBezTo>
                    <a:pt x="533" y="200"/>
                    <a:pt x="534" y="200"/>
                    <a:pt x="535" y="199"/>
                  </a:cubicBezTo>
                  <a:cubicBezTo>
                    <a:pt x="536" y="198"/>
                    <a:pt x="537" y="197"/>
                    <a:pt x="539" y="196"/>
                  </a:cubicBezTo>
                  <a:cubicBezTo>
                    <a:pt x="542" y="195"/>
                    <a:pt x="544" y="196"/>
                    <a:pt x="547" y="196"/>
                  </a:cubicBezTo>
                  <a:cubicBezTo>
                    <a:pt x="550" y="195"/>
                    <a:pt x="549" y="195"/>
                    <a:pt x="550" y="193"/>
                  </a:cubicBezTo>
                  <a:cubicBezTo>
                    <a:pt x="551" y="192"/>
                    <a:pt x="552" y="190"/>
                    <a:pt x="552" y="188"/>
                  </a:cubicBezTo>
                  <a:cubicBezTo>
                    <a:pt x="552" y="187"/>
                    <a:pt x="552" y="185"/>
                    <a:pt x="552" y="184"/>
                  </a:cubicBezTo>
                  <a:cubicBezTo>
                    <a:pt x="553" y="183"/>
                    <a:pt x="554" y="182"/>
                    <a:pt x="554" y="181"/>
                  </a:cubicBezTo>
                  <a:cubicBezTo>
                    <a:pt x="555" y="179"/>
                    <a:pt x="555" y="178"/>
                    <a:pt x="555" y="176"/>
                  </a:cubicBezTo>
                  <a:cubicBezTo>
                    <a:pt x="555" y="174"/>
                    <a:pt x="555" y="172"/>
                    <a:pt x="555" y="170"/>
                  </a:cubicBezTo>
                  <a:cubicBezTo>
                    <a:pt x="555" y="168"/>
                    <a:pt x="556" y="164"/>
                    <a:pt x="552" y="165"/>
                  </a:cubicBezTo>
                  <a:cubicBezTo>
                    <a:pt x="551" y="165"/>
                    <a:pt x="551" y="167"/>
                    <a:pt x="550" y="166"/>
                  </a:cubicBezTo>
                  <a:cubicBezTo>
                    <a:pt x="549" y="166"/>
                    <a:pt x="549" y="165"/>
                    <a:pt x="548" y="165"/>
                  </a:cubicBezTo>
                  <a:cubicBezTo>
                    <a:pt x="547" y="163"/>
                    <a:pt x="547" y="163"/>
                    <a:pt x="546" y="161"/>
                  </a:cubicBezTo>
                  <a:cubicBezTo>
                    <a:pt x="546" y="159"/>
                    <a:pt x="547" y="156"/>
                    <a:pt x="547" y="154"/>
                  </a:cubicBezTo>
                  <a:cubicBezTo>
                    <a:pt x="546" y="153"/>
                    <a:pt x="545" y="153"/>
                    <a:pt x="545" y="151"/>
                  </a:cubicBezTo>
                  <a:cubicBezTo>
                    <a:pt x="543" y="149"/>
                    <a:pt x="542" y="145"/>
                    <a:pt x="540" y="142"/>
                  </a:cubicBezTo>
                  <a:cubicBezTo>
                    <a:pt x="538" y="136"/>
                    <a:pt x="537" y="131"/>
                    <a:pt x="534" y="125"/>
                  </a:cubicBezTo>
                  <a:cubicBezTo>
                    <a:pt x="532" y="120"/>
                    <a:pt x="529" y="116"/>
                    <a:pt x="527" y="111"/>
                  </a:cubicBezTo>
                  <a:cubicBezTo>
                    <a:pt x="526" y="108"/>
                    <a:pt x="523" y="106"/>
                    <a:pt x="523" y="102"/>
                  </a:cubicBezTo>
                  <a:cubicBezTo>
                    <a:pt x="523" y="99"/>
                    <a:pt x="523" y="99"/>
                    <a:pt x="524" y="97"/>
                  </a:cubicBezTo>
                  <a:cubicBezTo>
                    <a:pt x="525" y="95"/>
                    <a:pt x="526" y="94"/>
                    <a:pt x="526" y="92"/>
                  </a:cubicBezTo>
                  <a:cubicBezTo>
                    <a:pt x="525" y="88"/>
                    <a:pt x="521" y="85"/>
                    <a:pt x="521" y="81"/>
                  </a:cubicBezTo>
                  <a:cubicBezTo>
                    <a:pt x="520" y="80"/>
                    <a:pt x="521" y="78"/>
                    <a:pt x="521" y="77"/>
                  </a:cubicBezTo>
                  <a:cubicBezTo>
                    <a:pt x="521" y="77"/>
                    <a:pt x="520" y="76"/>
                    <a:pt x="521" y="75"/>
                  </a:cubicBezTo>
                  <a:cubicBezTo>
                    <a:pt x="521" y="74"/>
                    <a:pt x="522" y="75"/>
                    <a:pt x="522" y="74"/>
                  </a:cubicBezTo>
                  <a:cubicBezTo>
                    <a:pt x="523" y="72"/>
                    <a:pt x="523" y="67"/>
                    <a:pt x="522" y="65"/>
                  </a:cubicBezTo>
                  <a:cubicBezTo>
                    <a:pt x="521" y="63"/>
                    <a:pt x="519" y="62"/>
                    <a:pt x="518" y="61"/>
                  </a:cubicBezTo>
                  <a:cubicBezTo>
                    <a:pt x="518" y="60"/>
                    <a:pt x="516" y="59"/>
                    <a:pt x="516" y="57"/>
                  </a:cubicBezTo>
                  <a:cubicBezTo>
                    <a:pt x="516" y="56"/>
                    <a:pt x="516" y="55"/>
                    <a:pt x="516" y="54"/>
                  </a:cubicBezTo>
                  <a:cubicBezTo>
                    <a:pt x="515" y="54"/>
                    <a:pt x="513" y="52"/>
                    <a:pt x="512" y="51"/>
                  </a:cubicBezTo>
                  <a:cubicBezTo>
                    <a:pt x="508" y="49"/>
                    <a:pt x="504" y="50"/>
                    <a:pt x="500" y="49"/>
                  </a:cubicBezTo>
                  <a:cubicBezTo>
                    <a:pt x="495" y="48"/>
                    <a:pt x="491" y="45"/>
                    <a:pt x="486" y="43"/>
                  </a:cubicBezTo>
                  <a:cubicBezTo>
                    <a:pt x="484" y="43"/>
                    <a:pt x="482" y="42"/>
                    <a:pt x="480" y="42"/>
                  </a:cubicBezTo>
                  <a:cubicBezTo>
                    <a:pt x="478" y="42"/>
                    <a:pt x="475" y="42"/>
                    <a:pt x="473" y="42"/>
                  </a:cubicBezTo>
                  <a:cubicBezTo>
                    <a:pt x="466" y="42"/>
                    <a:pt x="460" y="42"/>
                    <a:pt x="453" y="42"/>
                  </a:cubicBezTo>
                  <a:cubicBezTo>
                    <a:pt x="445" y="42"/>
                    <a:pt x="436" y="41"/>
                    <a:pt x="428" y="41"/>
                  </a:cubicBezTo>
                  <a:cubicBezTo>
                    <a:pt x="416" y="41"/>
                    <a:pt x="404" y="42"/>
                    <a:pt x="392" y="41"/>
                  </a:cubicBezTo>
                  <a:cubicBezTo>
                    <a:pt x="375" y="41"/>
                    <a:pt x="359" y="40"/>
                    <a:pt x="343" y="39"/>
                  </a:cubicBezTo>
                  <a:cubicBezTo>
                    <a:pt x="336" y="38"/>
                    <a:pt x="329" y="37"/>
                    <a:pt x="322" y="36"/>
                  </a:cubicBezTo>
                  <a:cubicBezTo>
                    <a:pt x="321" y="35"/>
                    <a:pt x="320" y="35"/>
                    <a:pt x="319" y="35"/>
                  </a:cubicBezTo>
                  <a:cubicBezTo>
                    <a:pt x="319" y="37"/>
                    <a:pt x="317" y="38"/>
                    <a:pt x="315" y="39"/>
                  </a:cubicBezTo>
                  <a:cubicBezTo>
                    <a:pt x="314" y="41"/>
                    <a:pt x="310" y="41"/>
                    <a:pt x="309" y="43"/>
                  </a:cubicBezTo>
                  <a:cubicBezTo>
                    <a:pt x="308" y="45"/>
                    <a:pt x="309" y="46"/>
                    <a:pt x="307" y="48"/>
                  </a:cubicBezTo>
                  <a:cubicBezTo>
                    <a:pt x="306" y="49"/>
                    <a:pt x="303" y="48"/>
                    <a:pt x="301" y="48"/>
                  </a:cubicBezTo>
                  <a:cubicBezTo>
                    <a:pt x="298" y="49"/>
                    <a:pt x="295" y="51"/>
                    <a:pt x="292" y="50"/>
                  </a:cubicBezTo>
                  <a:cubicBezTo>
                    <a:pt x="292" y="49"/>
                    <a:pt x="292" y="48"/>
                    <a:pt x="292" y="47"/>
                  </a:cubicBezTo>
                  <a:cubicBezTo>
                    <a:pt x="293" y="45"/>
                    <a:pt x="296" y="43"/>
                    <a:pt x="296" y="42"/>
                  </a:cubicBezTo>
                  <a:cubicBezTo>
                    <a:pt x="296" y="40"/>
                    <a:pt x="295" y="39"/>
                    <a:pt x="293" y="41"/>
                  </a:cubicBezTo>
                  <a:cubicBezTo>
                    <a:pt x="292" y="41"/>
                    <a:pt x="292" y="44"/>
                    <a:pt x="291" y="44"/>
                  </a:cubicBezTo>
                  <a:cubicBezTo>
                    <a:pt x="290" y="45"/>
                    <a:pt x="289" y="43"/>
                    <a:pt x="287" y="43"/>
                  </a:cubicBezTo>
                  <a:cubicBezTo>
                    <a:pt x="286" y="43"/>
                    <a:pt x="283" y="44"/>
                    <a:pt x="282" y="44"/>
                  </a:cubicBezTo>
                  <a:cubicBezTo>
                    <a:pt x="280" y="44"/>
                    <a:pt x="269" y="46"/>
                    <a:pt x="253" y="35"/>
                  </a:cubicBezTo>
                  <a:cubicBezTo>
                    <a:pt x="252" y="27"/>
                    <a:pt x="252" y="27"/>
                    <a:pt x="252" y="27"/>
                  </a:cubicBezTo>
                  <a:cubicBezTo>
                    <a:pt x="253" y="20"/>
                    <a:pt x="246" y="10"/>
                    <a:pt x="245" y="7"/>
                  </a:cubicBezTo>
                  <a:cubicBezTo>
                    <a:pt x="245" y="5"/>
                    <a:pt x="243" y="3"/>
                    <a:pt x="243" y="1"/>
                  </a:cubicBezTo>
                  <a:cubicBezTo>
                    <a:pt x="237" y="0"/>
                    <a:pt x="230" y="1"/>
                    <a:pt x="225" y="1"/>
                  </a:cubicBezTo>
                  <a:cubicBezTo>
                    <a:pt x="220" y="1"/>
                    <a:pt x="214" y="1"/>
                    <a:pt x="210" y="1"/>
                  </a:cubicBezTo>
                  <a:cubicBezTo>
                    <a:pt x="208" y="1"/>
                    <a:pt x="206" y="1"/>
                    <a:pt x="205" y="2"/>
                  </a:cubicBezTo>
                  <a:cubicBezTo>
                    <a:pt x="202" y="2"/>
                    <a:pt x="201" y="4"/>
                    <a:pt x="199" y="5"/>
                  </a:cubicBezTo>
                  <a:cubicBezTo>
                    <a:pt x="196" y="8"/>
                    <a:pt x="193" y="9"/>
                    <a:pt x="192" y="13"/>
                  </a:cubicBezTo>
                  <a:cubicBezTo>
                    <a:pt x="191" y="13"/>
                    <a:pt x="190" y="13"/>
                    <a:pt x="189" y="13"/>
                  </a:cubicBezTo>
                  <a:cubicBezTo>
                    <a:pt x="188" y="12"/>
                    <a:pt x="187" y="10"/>
                    <a:pt x="187" y="10"/>
                  </a:cubicBezTo>
                  <a:cubicBezTo>
                    <a:pt x="184" y="8"/>
                    <a:pt x="181" y="11"/>
                    <a:pt x="178" y="12"/>
                  </a:cubicBezTo>
                  <a:cubicBezTo>
                    <a:pt x="178" y="12"/>
                    <a:pt x="176" y="12"/>
                    <a:pt x="176" y="12"/>
                  </a:cubicBezTo>
                  <a:cubicBezTo>
                    <a:pt x="174" y="13"/>
                    <a:pt x="174" y="16"/>
                    <a:pt x="172" y="16"/>
                  </a:cubicBezTo>
                  <a:cubicBezTo>
                    <a:pt x="171" y="17"/>
                    <a:pt x="168" y="18"/>
                    <a:pt x="166" y="17"/>
                  </a:cubicBezTo>
                  <a:cubicBezTo>
                    <a:pt x="164" y="17"/>
                    <a:pt x="164" y="16"/>
                    <a:pt x="163" y="15"/>
                  </a:cubicBezTo>
                  <a:cubicBezTo>
                    <a:pt x="162" y="14"/>
                    <a:pt x="157" y="14"/>
                    <a:pt x="156" y="15"/>
                  </a:cubicBezTo>
                  <a:cubicBezTo>
                    <a:pt x="155" y="15"/>
                    <a:pt x="156" y="17"/>
                    <a:pt x="156" y="17"/>
                  </a:cubicBezTo>
                  <a:cubicBezTo>
                    <a:pt x="156" y="18"/>
                    <a:pt x="155" y="18"/>
                    <a:pt x="155" y="19"/>
                  </a:cubicBezTo>
                  <a:cubicBezTo>
                    <a:pt x="152" y="21"/>
                    <a:pt x="148" y="21"/>
                    <a:pt x="145" y="24"/>
                  </a:cubicBezTo>
                  <a:cubicBezTo>
                    <a:pt x="144" y="24"/>
                    <a:pt x="143" y="26"/>
                    <a:pt x="143" y="27"/>
                  </a:cubicBezTo>
                  <a:cubicBezTo>
                    <a:pt x="141" y="28"/>
                    <a:pt x="139" y="30"/>
                    <a:pt x="137" y="32"/>
                  </a:cubicBezTo>
                  <a:cubicBezTo>
                    <a:pt x="135" y="34"/>
                    <a:pt x="135" y="37"/>
                    <a:pt x="133" y="40"/>
                  </a:cubicBezTo>
                  <a:cubicBezTo>
                    <a:pt x="131" y="43"/>
                    <a:pt x="129" y="47"/>
                    <a:pt x="125" y="47"/>
                  </a:cubicBezTo>
                  <a:cubicBezTo>
                    <a:pt x="121" y="47"/>
                    <a:pt x="117" y="47"/>
                    <a:pt x="114" y="50"/>
                  </a:cubicBezTo>
                  <a:cubicBezTo>
                    <a:pt x="113" y="50"/>
                    <a:pt x="113" y="51"/>
                    <a:pt x="112" y="51"/>
                  </a:cubicBezTo>
                  <a:cubicBezTo>
                    <a:pt x="109" y="53"/>
                    <a:pt x="105" y="53"/>
                    <a:pt x="102" y="54"/>
                  </a:cubicBezTo>
                  <a:cubicBezTo>
                    <a:pt x="101" y="54"/>
                    <a:pt x="101" y="54"/>
                    <a:pt x="100" y="55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8"/>
                    <a:pt x="98" y="57"/>
                    <a:pt x="97" y="58"/>
                  </a:cubicBezTo>
                  <a:cubicBezTo>
                    <a:pt x="95" y="58"/>
                    <a:pt x="95" y="59"/>
                    <a:pt x="93" y="59"/>
                  </a:cubicBezTo>
                  <a:cubicBezTo>
                    <a:pt x="88" y="62"/>
                    <a:pt x="83" y="63"/>
                    <a:pt x="77" y="63"/>
                  </a:cubicBezTo>
                  <a:cubicBezTo>
                    <a:pt x="72" y="63"/>
                    <a:pt x="69" y="63"/>
                    <a:pt x="65" y="65"/>
                  </a:cubicBezTo>
                  <a:cubicBezTo>
                    <a:pt x="61" y="67"/>
                    <a:pt x="57" y="69"/>
                    <a:pt x="54" y="71"/>
                  </a:cubicBezTo>
                  <a:cubicBezTo>
                    <a:pt x="50" y="73"/>
                    <a:pt x="46" y="74"/>
                    <a:pt x="43" y="76"/>
                  </a:cubicBezTo>
                  <a:cubicBezTo>
                    <a:pt x="46" y="75"/>
                    <a:pt x="46" y="70"/>
                    <a:pt x="48" y="69"/>
                  </a:cubicBezTo>
                  <a:cubicBezTo>
                    <a:pt x="45" y="68"/>
                    <a:pt x="43" y="68"/>
                    <a:pt x="40" y="70"/>
                  </a:cubicBezTo>
                  <a:cubicBezTo>
                    <a:pt x="39" y="70"/>
                    <a:pt x="38" y="71"/>
                    <a:pt x="38" y="71"/>
                  </a:cubicBezTo>
                  <a:cubicBezTo>
                    <a:pt x="37" y="72"/>
                    <a:pt x="36" y="71"/>
                    <a:pt x="36" y="71"/>
                  </a:cubicBezTo>
                  <a:cubicBezTo>
                    <a:pt x="34" y="72"/>
                    <a:pt x="31" y="72"/>
                    <a:pt x="29" y="73"/>
                  </a:cubicBezTo>
                  <a:cubicBezTo>
                    <a:pt x="29" y="73"/>
                    <a:pt x="28" y="74"/>
                    <a:pt x="27" y="74"/>
                  </a:cubicBezTo>
                  <a:cubicBezTo>
                    <a:pt x="25" y="75"/>
                    <a:pt x="21" y="76"/>
                    <a:pt x="18" y="77"/>
                  </a:cubicBezTo>
                  <a:cubicBezTo>
                    <a:pt x="18" y="77"/>
                    <a:pt x="18" y="78"/>
                    <a:pt x="19" y="78"/>
                  </a:cubicBezTo>
                  <a:cubicBezTo>
                    <a:pt x="19" y="79"/>
                    <a:pt x="20" y="79"/>
                    <a:pt x="20" y="80"/>
                  </a:cubicBezTo>
                  <a:cubicBezTo>
                    <a:pt x="19" y="80"/>
                    <a:pt x="18" y="80"/>
                    <a:pt x="17" y="80"/>
                  </a:cubicBezTo>
                  <a:cubicBezTo>
                    <a:pt x="16" y="80"/>
                    <a:pt x="15" y="80"/>
                    <a:pt x="14" y="81"/>
                  </a:cubicBezTo>
                  <a:cubicBezTo>
                    <a:pt x="12" y="81"/>
                    <a:pt x="11" y="82"/>
                    <a:pt x="9" y="82"/>
                  </a:cubicBezTo>
                  <a:cubicBezTo>
                    <a:pt x="6" y="82"/>
                    <a:pt x="3" y="81"/>
                    <a:pt x="0" y="83"/>
                  </a:cubicBezTo>
                  <a:cubicBezTo>
                    <a:pt x="0" y="84"/>
                    <a:pt x="1" y="85"/>
                    <a:pt x="1" y="85"/>
                  </a:cubicBezTo>
                  <a:cubicBezTo>
                    <a:pt x="1" y="86"/>
                    <a:pt x="1" y="87"/>
                    <a:pt x="1" y="87"/>
                  </a:cubicBezTo>
                  <a:cubicBezTo>
                    <a:pt x="2" y="88"/>
                    <a:pt x="5" y="89"/>
                    <a:pt x="7" y="90"/>
                  </a:cubicBezTo>
                  <a:cubicBezTo>
                    <a:pt x="8" y="91"/>
                    <a:pt x="9" y="92"/>
                    <a:pt x="10" y="93"/>
                  </a:cubicBezTo>
                  <a:cubicBezTo>
                    <a:pt x="11" y="93"/>
                    <a:pt x="14" y="94"/>
                    <a:pt x="16" y="93"/>
                  </a:cubicBezTo>
                  <a:cubicBezTo>
                    <a:pt x="18" y="93"/>
                    <a:pt x="20" y="90"/>
                    <a:pt x="21" y="89"/>
                  </a:cubicBezTo>
                  <a:cubicBezTo>
                    <a:pt x="22" y="88"/>
                    <a:pt x="23" y="93"/>
                    <a:pt x="23" y="94"/>
                  </a:cubicBezTo>
                  <a:cubicBezTo>
                    <a:pt x="23" y="96"/>
                    <a:pt x="22" y="99"/>
                    <a:pt x="23" y="101"/>
                  </a:cubicBezTo>
                  <a:cubicBezTo>
                    <a:pt x="23" y="103"/>
                    <a:pt x="24" y="106"/>
                    <a:pt x="24" y="108"/>
                  </a:cubicBezTo>
                  <a:cubicBezTo>
                    <a:pt x="26" y="113"/>
                    <a:pt x="27" y="117"/>
                    <a:pt x="29" y="122"/>
                  </a:cubicBezTo>
                  <a:cubicBezTo>
                    <a:pt x="30" y="124"/>
                    <a:pt x="32" y="127"/>
                    <a:pt x="33" y="130"/>
                  </a:cubicBezTo>
                  <a:cubicBezTo>
                    <a:pt x="34" y="132"/>
                    <a:pt x="33" y="136"/>
                    <a:pt x="33" y="138"/>
                  </a:cubicBezTo>
                  <a:cubicBezTo>
                    <a:pt x="33" y="141"/>
                    <a:pt x="33" y="143"/>
                    <a:pt x="32" y="145"/>
                  </a:cubicBezTo>
                  <a:cubicBezTo>
                    <a:pt x="31" y="148"/>
                    <a:pt x="30" y="149"/>
                    <a:pt x="28" y="151"/>
                  </a:cubicBezTo>
                  <a:cubicBezTo>
                    <a:pt x="27" y="152"/>
                    <a:pt x="26" y="155"/>
                    <a:pt x="25" y="156"/>
                  </a:cubicBezTo>
                  <a:cubicBezTo>
                    <a:pt x="25" y="156"/>
                    <a:pt x="24" y="156"/>
                    <a:pt x="23" y="157"/>
                  </a:cubicBezTo>
                  <a:cubicBezTo>
                    <a:pt x="23" y="158"/>
                    <a:pt x="22" y="159"/>
                    <a:pt x="22" y="160"/>
                  </a:cubicBezTo>
                  <a:cubicBezTo>
                    <a:pt x="21" y="162"/>
                    <a:pt x="20" y="163"/>
                    <a:pt x="19" y="164"/>
                  </a:cubicBezTo>
                  <a:cubicBezTo>
                    <a:pt x="18" y="166"/>
                    <a:pt x="17" y="168"/>
                    <a:pt x="16" y="170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5" y="172"/>
                    <a:pt x="15" y="172"/>
                  </a:cubicBezTo>
                  <a:cubicBezTo>
                    <a:pt x="15" y="174"/>
                    <a:pt x="17" y="174"/>
                    <a:pt x="17" y="175"/>
                  </a:cubicBezTo>
                  <a:cubicBezTo>
                    <a:pt x="19" y="176"/>
                    <a:pt x="20" y="177"/>
                    <a:pt x="21" y="178"/>
                  </a:cubicBezTo>
                  <a:cubicBezTo>
                    <a:pt x="22" y="180"/>
                    <a:pt x="23" y="181"/>
                    <a:pt x="25" y="182"/>
                  </a:cubicBezTo>
                  <a:cubicBezTo>
                    <a:pt x="26" y="183"/>
                    <a:pt x="27" y="183"/>
                    <a:pt x="28" y="184"/>
                  </a:cubicBezTo>
                  <a:cubicBezTo>
                    <a:pt x="29" y="185"/>
                    <a:pt x="30" y="185"/>
                    <a:pt x="31" y="187"/>
                  </a:cubicBezTo>
                  <a:cubicBezTo>
                    <a:pt x="33" y="188"/>
                    <a:pt x="33" y="190"/>
                    <a:pt x="34" y="192"/>
                  </a:cubicBezTo>
                  <a:cubicBezTo>
                    <a:pt x="34" y="192"/>
                    <a:pt x="34" y="193"/>
                    <a:pt x="34" y="193"/>
                  </a:cubicBezTo>
                  <a:cubicBezTo>
                    <a:pt x="36" y="196"/>
                    <a:pt x="40" y="196"/>
                    <a:pt x="41" y="199"/>
                  </a:cubicBezTo>
                  <a:cubicBezTo>
                    <a:pt x="41" y="200"/>
                    <a:pt x="40" y="202"/>
                    <a:pt x="40" y="203"/>
                  </a:cubicBezTo>
                  <a:cubicBezTo>
                    <a:pt x="40" y="204"/>
                    <a:pt x="40" y="205"/>
                    <a:pt x="39" y="206"/>
                  </a:cubicBezTo>
                  <a:cubicBezTo>
                    <a:pt x="39" y="208"/>
                    <a:pt x="38" y="208"/>
                    <a:pt x="37" y="210"/>
                  </a:cubicBezTo>
                  <a:cubicBezTo>
                    <a:pt x="36" y="211"/>
                    <a:pt x="36" y="210"/>
                    <a:pt x="37" y="212"/>
                  </a:cubicBezTo>
                  <a:cubicBezTo>
                    <a:pt x="37" y="214"/>
                    <a:pt x="37" y="215"/>
                    <a:pt x="37" y="217"/>
                  </a:cubicBezTo>
                  <a:cubicBezTo>
                    <a:pt x="37" y="218"/>
                    <a:pt x="38" y="221"/>
                    <a:pt x="38" y="222"/>
                  </a:cubicBezTo>
                  <a:cubicBezTo>
                    <a:pt x="39" y="223"/>
                    <a:pt x="39" y="223"/>
                    <a:pt x="39" y="223"/>
                  </a:cubicBezTo>
                  <a:cubicBezTo>
                    <a:pt x="40" y="223"/>
                    <a:pt x="40" y="224"/>
                    <a:pt x="40" y="224"/>
                  </a:cubicBezTo>
                  <a:cubicBezTo>
                    <a:pt x="40" y="224"/>
                    <a:pt x="41" y="224"/>
                    <a:pt x="42" y="225"/>
                  </a:cubicBezTo>
                  <a:cubicBezTo>
                    <a:pt x="42" y="225"/>
                    <a:pt x="42" y="227"/>
                    <a:pt x="42" y="227"/>
                  </a:cubicBezTo>
                  <a:cubicBezTo>
                    <a:pt x="42" y="229"/>
                    <a:pt x="43" y="230"/>
                    <a:pt x="43" y="231"/>
                  </a:cubicBezTo>
                  <a:cubicBezTo>
                    <a:pt x="43" y="232"/>
                    <a:pt x="42" y="232"/>
                    <a:pt x="43" y="233"/>
                  </a:cubicBezTo>
                  <a:cubicBezTo>
                    <a:pt x="43" y="234"/>
                    <a:pt x="46" y="235"/>
                    <a:pt x="46" y="236"/>
                  </a:cubicBezTo>
                  <a:cubicBezTo>
                    <a:pt x="49" y="238"/>
                    <a:pt x="47" y="241"/>
                    <a:pt x="47" y="244"/>
                  </a:cubicBezTo>
                  <a:cubicBezTo>
                    <a:pt x="46" y="247"/>
                    <a:pt x="46" y="249"/>
                    <a:pt x="46" y="252"/>
                  </a:cubicBezTo>
                  <a:cubicBezTo>
                    <a:pt x="46" y="252"/>
                    <a:pt x="46" y="252"/>
                    <a:pt x="46" y="253"/>
                  </a:cubicBezTo>
                  <a:cubicBezTo>
                    <a:pt x="45" y="255"/>
                    <a:pt x="43" y="255"/>
                    <a:pt x="41" y="255"/>
                  </a:cubicBezTo>
                  <a:cubicBezTo>
                    <a:pt x="37" y="256"/>
                    <a:pt x="38" y="257"/>
                    <a:pt x="38" y="260"/>
                  </a:cubicBezTo>
                  <a:cubicBezTo>
                    <a:pt x="38" y="261"/>
                    <a:pt x="38" y="264"/>
                    <a:pt x="38" y="265"/>
                  </a:cubicBezTo>
                  <a:cubicBezTo>
                    <a:pt x="39" y="266"/>
                    <a:pt x="40" y="265"/>
                    <a:pt x="41" y="265"/>
                  </a:cubicBezTo>
                  <a:cubicBezTo>
                    <a:pt x="40" y="265"/>
                    <a:pt x="39" y="266"/>
                    <a:pt x="38" y="267"/>
                  </a:cubicBezTo>
                  <a:cubicBezTo>
                    <a:pt x="39" y="269"/>
                    <a:pt x="41" y="271"/>
                    <a:pt x="42" y="273"/>
                  </a:cubicBezTo>
                  <a:cubicBezTo>
                    <a:pt x="42" y="273"/>
                    <a:pt x="42" y="274"/>
                    <a:pt x="42" y="274"/>
                  </a:cubicBezTo>
                  <a:cubicBezTo>
                    <a:pt x="42" y="275"/>
                    <a:pt x="43" y="275"/>
                    <a:pt x="43" y="275"/>
                  </a:cubicBezTo>
                  <a:cubicBezTo>
                    <a:pt x="43" y="275"/>
                    <a:pt x="44" y="277"/>
                    <a:pt x="44" y="276"/>
                  </a:cubicBezTo>
                  <a:cubicBezTo>
                    <a:pt x="44" y="278"/>
                    <a:pt x="45" y="280"/>
                    <a:pt x="45" y="282"/>
                  </a:cubicBezTo>
                  <a:cubicBezTo>
                    <a:pt x="45" y="283"/>
                    <a:pt x="44" y="283"/>
                    <a:pt x="44" y="284"/>
                  </a:cubicBezTo>
                  <a:cubicBezTo>
                    <a:pt x="44" y="284"/>
                    <a:pt x="43" y="284"/>
                    <a:pt x="43" y="284"/>
                  </a:cubicBezTo>
                  <a:cubicBezTo>
                    <a:pt x="43" y="285"/>
                    <a:pt x="42" y="285"/>
                    <a:pt x="41" y="285"/>
                  </a:cubicBezTo>
                  <a:cubicBezTo>
                    <a:pt x="40" y="286"/>
                    <a:pt x="41" y="287"/>
                    <a:pt x="42" y="288"/>
                  </a:cubicBezTo>
                  <a:cubicBezTo>
                    <a:pt x="42" y="288"/>
                    <a:pt x="42" y="288"/>
                    <a:pt x="43" y="289"/>
                  </a:cubicBezTo>
                  <a:cubicBezTo>
                    <a:pt x="45" y="290"/>
                    <a:pt x="46" y="291"/>
                    <a:pt x="47" y="292"/>
                  </a:cubicBezTo>
                  <a:cubicBezTo>
                    <a:pt x="48" y="293"/>
                    <a:pt x="50" y="293"/>
                    <a:pt x="51" y="294"/>
                  </a:cubicBezTo>
                  <a:cubicBezTo>
                    <a:pt x="52" y="295"/>
                    <a:pt x="52" y="295"/>
                    <a:pt x="53" y="296"/>
                  </a:cubicBezTo>
                  <a:cubicBezTo>
                    <a:pt x="54" y="298"/>
                    <a:pt x="54" y="299"/>
                    <a:pt x="54" y="301"/>
                  </a:cubicBezTo>
                  <a:cubicBezTo>
                    <a:pt x="55" y="302"/>
                    <a:pt x="55" y="303"/>
                    <a:pt x="55" y="303"/>
                  </a:cubicBezTo>
                  <a:cubicBezTo>
                    <a:pt x="55" y="304"/>
                    <a:pt x="56" y="304"/>
                    <a:pt x="56" y="304"/>
                  </a:cubicBezTo>
                  <a:cubicBezTo>
                    <a:pt x="57" y="305"/>
                    <a:pt x="58" y="306"/>
                    <a:pt x="58" y="307"/>
                  </a:cubicBezTo>
                  <a:cubicBezTo>
                    <a:pt x="59" y="308"/>
                    <a:pt x="59" y="309"/>
                    <a:pt x="60" y="310"/>
                  </a:cubicBezTo>
                  <a:cubicBezTo>
                    <a:pt x="60" y="312"/>
                    <a:pt x="60" y="311"/>
                    <a:pt x="60" y="313"/>
                  </a:cubicBezTo>
                  <a:cubicBezTo>
                    <a:pt x="59" y="315"/>
                    <a:pt x="59" y="317"/>
                    <a:pt x="58" y="319"/>
                  </a:cubicBezTo>
                  <a:cubicBezTo>
                    <a:pt x="57" y="321"/>
                    <a:pt x="57" y="322"/>
                    <a:pt x="57" y="324"/>
                  </a:cubicBezTo>
                  <a:cubicBezTo>
                    <a:pt x="56" y="326"/>
                    <a:pt x="57" y="328"/>
                    <a:pt x="56" y="330"/>
                  </a:cubicBezTo>
                  <a:cubicBezTo>
                    <a:pt x="56" y="332"/>
                    <a:pt x="54" y="333"/>
                    <a:pt x="54" y="336"/>
                  </a:cubicBezTo>
                  <a:cubicBezTo>
                    <a:pt x="54" y="337"/>
                    <a:pt x="54" y="337"/>
                    <a:pt x="54" y="338"/>
                  </a:cubicBezTo>
                  <a:cubicBezTo>
                    <a:pt x="56" y="338"/>
                    <a:pt x="59" y="338"/>
                    <a:pt x="61" y="338"/>
                  </a:cubicBezTo>
                  <a:cubicBezTo>
                    <a:pt x="65" y="338"/>
                    <a:pt x="68" y="338"/>
                    <a:pt x="72" y="338"/>
                  </a:cubicBezTo>
                  <a:cubicBezTo>
                    <a:pt x="75" y="338"/>
                    <a:pt x="75" y="338"/>
                    <a:pt x="76" y="340"/>
                  </a:cubicBezTo>
                  <a:cubicBezTo>
                    <a:pt x="76" y="340"/>
                    <a:pt x="77" y="340"/>
                    <a:pt x="77" y="341"/>
                  </a:cubicBezTo>
                  <a:cubicBezTo>
                    <a:pt x="78" y="341"/>
                    <a:pt x="78" y="341"/>
                    <a:pt x="78" y="342"/>
                  </a:cubicBezTo>
                  <a:cubicBezTo>
                    <a:pt x="78" y="342"/>
                    <a:pt x="79" y="343"/>
                    <a:pt x="79" y="343"/>
                  </a:cubicBezTo>
                  <a:cubicBezTo>
                    <a:pt x="81" y="346"/>
                    <a:pt x="82" y="348"/>
                    <a:pt x="84" y="350"/>
                  </a:cubicBezTo>
                  <a:cubicBezTo>
                    <a:pt x="85" y="352"/>
                    <a:pt x="86" y="355"/>
                    <a:pt x="88" y="356"/>
                  </a:cubicBezTo>
                  <a:cubicBezTo>
                    <a:pt x="89" y="356"/>
                    <a:pt x="90" y="356"/>
                    <a:pt x="91" y="356"/>
                  </a:cubicBezTo>
                  <a:cubicBezTo>
                    <a:pt x="93" y="356"/>
                    <a:pt x="95" y="358"/>
                    <a:pt x="97" y="358"/>
                  </a:cubicBezTo>
                  <a:cubicBezTo>
                    <a:pt x="99" y="359"/>
                    <a:pt x="102" y="361"/>
                    <a:pt x="104" y="362"/>
                  </a:cubicBezTo>
                  <a:cubicBezTo>
                    <a:pt x="106" y="362"/>
                    <a:pt x="107" y="363"/>
                    <a:pt x="108" y="363"/>
                  </a:cubicBezTo>
                  <a:cubicBezTo>
                    <a:pt x="110" y="364"/>
                    <a:pt x="111" y="364"/>
                    <a:pt x="113" y="365"/>
                  </a:cubicBezTo>
                  <a:cubicBezTo>
                    <a:pt x="114" y="365"/>
                    <a:pt x="114" y="366"/>
                    <a:pt x="115" y="366"/>
                  </a:cubicBezTo>
                  <a:cubicBezTo>
                    <a:pt x="116" y="367"/>
                    <a:pt x="117" y="366"/>
                    <a:pt x="118" y="367"/>
                  </a:cubicBezTo>
                  <a:cubicBezTo>
                    <a:pt x="118" y="367"/>
                    <a:pt x="119" y="368"/>
                    <a:pt x="120" y="369"/>
                  </a:cubicBezTo>
                  <a:cubicBezTo>
                    <a:pt x="120" y="369"/>
                    <a:pt x="122" y="369"/>
                    <a:pt x="122" y="369"/>
                  </a:cubicBezTo>
                  <a:cubicBezTo>
                    <a:pt x="124" y="370"/>
                    <a:pt x="125" y="370"/>
                    <a:pt x="127" y="370"/>
                  </a:cubicBezTo>
                  <a:cubicBezTo>
                    <a:pt x="129" y="370"/>
                    <a:pt x="131" y="369"/>
                    <a:pt x="133" y="370"/>
                  </a:cubicBezTo>
                  <a:cubicBezTo>
                    <a:pt x="135" y="370"/>
                    <a:pt x="135" y="370"/>
                    <a:pt x="136" y="371"/>
                  </a:cubicBezTo>
                  <a:cubicBezTo>
                    <a:pt x="138" y="372"/>
                    <a:pt x="137" y="370"/>
                    <a:pt x="138" y="372"/>
                  </a:cubicBezTo>
                  <a:cubicBezTo>
                    <a:pt x="138" y="372"/>
                    <a:pt x="138" y="374"/>
                    <a:pt x="138" y="375"/>
                  </a:cubicBezTo>
                  <a:cubicBezTo>
                    <a:pt x="137" y="376"/>
                    <a:pt x="136" y="377"/>
                    <a:pt x="136" y="378"/>
                  </a:cubicBezTo>
                  <a:cubicBezTo>
                    <a:pt x="135" y="379"/>
                    <a:pt x="134" y="380"/>
                    <a:pt x="133" y="381"/>
                  </a:cubicBezTo>
                  <a:cubicBezTo>
                    <a:pt x="132" y="382"/>
                    <a:pt x="130" y="383"/>
                    <a:pt x="129" y="385"/>
                  </a:cubicBezTo>
                  <a:cubicBezTo>
                    <a:pt x="128" y="386"/>
                    <a:pt x="128" y="388"/>
                    <a:pt x="128" y="389"/>
                  </a:cubicBezTo>
                  <a:cubicBezTo>
                    <a:pt x="129" y="392"/>
                    <a:pt x="131" y="392"/>
                    <a:pt x="133" y="393"/>
                  </a:cubicBezTo>
                  <a:cubicBezTo>
                    <a:pt x="135" y="394"/>
                    <a:pt x="136" y="395"/>
                    <a:pt x="137" y="396"/>
                  </a:cubicBezTo>
                  <a:cubicBezTo>
                    <a:pt x="138" y="397"/>
                    <a:pt x="139" y="397"/>
                    <a:pt x="140" y="398"/>
                  </a:cubicBezTo>
                  <a:cubicBezTo>
                    <a:pt x="140" y="398"/>
                    <a:pt x="141" y="400"/>
                    <a:pt x="141" y="400"/>
                  </a:cubicBezTo>
                  <a:cubicBezTo>
                    <a:pt x="142" y="401"/>
                    <a:pt x="142" y="401"/>
                    <a:pt x="143" y="402"/>
                  </a:cubicBezTo>
                  <a:cubicBezTo>
                    <a:pt x="144" y="404"/>
                    <a:pt x="145" y="405"/>
                    <a:pt x="145" y="407"/>
                  </a:cubicBezTo>
                  <a:cubicBezTo>
                    <a:pt x="145" y="409"/>
                    <a:pt x="146" y="410"/>
                    <a:pt x="147" y="412"/>
                  </a:cubicBezTo>
                  <a:cubicBezTo>
                    <a:pt x="148" y="413"/>
                    <a:pt x="148" y="414"/>
                    <a:pt x="149" y="415"/>
                  </a:cubicBezTo>
                  <a:cubicBezTo>
                    <a:pt x="152" y="417"/>
                    <a:pt x="154" y="415"/>
                    <a:pt x="156" y="413"/>
                  </a:cubicBezTo>
                  <a:cubicBezTo>
                    <a:pt x="156" y="412"/>
                    <a:pt x="157" y="412"/>
                    <a:pt x="157" y="412"/>
                  </a:cubicBezTo>
                  <a:cubicBezTo>
                    <a:pt x="158" y="410"/>
                    <a:pt x="158" y="411"/>
                    <a:pt x="160" y="410"/>
                  </a:cubicBezTo>
                  <a:cubicBezTo>
                    <a:pt x="162" y="408"/>
                    <a:pt x="161" y="407"/>
                    <a:pt x="163" y="406"/>
                  </a:cubicBezTo>
                  <a:cubicBezTo>
                    <a:pt x="164" y="405"/>
                    <a:pt x="165" y="405"/>
                    <a:pt x="166" y="405"/>
                  </a:cubicBezTo>
                  <a:cubicBezTo>
                    <a:pt x="167" y="404"/>
                    <a:pt x="169" y="403"/>
                    <a:pt x="171" y="403"/>
                  </a:cubicBezTo>
                  <a:cubicBezTo>
                    <a:pt x="173" y="402"/>
                    <a:pt x="174" y="402"/>
                    <a:pt x="174" y="400"/>
                  </a:cubicBezTo>
                  <a:cubicBezTo>
                    <a:pt x="173" y="397"/>
                    <a:pt x="171" y="397"/>
                    <a:pt x="169" y="395"/>
                  </a:cubicBezTo>
                  <a:cubicBezTo>
                    <a:pt x="168" y="394"/>
                    <a:pt x="168" y="394"/>
                    <a:pt x="167" y="393"/>
                  </a:cubicBezTo>
                  <a:cubicBezTo>
                    <a:pt x="166" y="391"/>
                    <a:pt x="165" y="390"/>
                    <a:pt x="165" y="388"/>
                  </a:cubicBezTo>
                  <a:cubicBezTo>
                    <a:pt x="169" y="388"/>
                    <a:pt x="174" y="388"/>
                    <a:pt x="177" y="390"/>
                  </a:cubicBezTo>
                  <a:cubicBezTo>
                    <a:pt x="177" y="390"/>
                    <a:pt x="178" y="391"/>
                    <a:pt x="177" y="392"/>
                  </a:cubicBezTo>
                  <a:cubicBezTo>
                    <a:pt x="179" y="393"/>
                    <a:pt x="179" y="392"/>
                    <a:pt x="180" y="393"/>
                  </a:cubicBezTo>
                  <a:cubicBezTo>
                    <a:pt x="181" y="394"/>
                    <a:pt x="183" y="395"/>
                    <a:pt x="184" y="395"/>
                  </a:cubicBezTo>
                  <a:cubicBezTo>
                    <a:pt x="184" y="397"/>
                    <a:pt x="185" y="397"/>
                    <a:pt x="187" y="398"/>
                  </a:cubicBezTo>
                  <a:cubicBezTo>
                    <a:pt x="189" y="398"/>
                    <a:pt x="190" y="400"/>
                    <a:pt x="191" y="400"/>
                  </a:cubicBezTo>
                  <a:cubicBezTo>
                    <a:pt x="192" y="401"/>
                    <a:pt x="192" y="400"/>
                    <a:pt x="193" y="401"/>
                  </a:cubicBezTo>
                  <a:cubicBezTo>
                    <a:pt x="194" y="401"/>
                    <a:pt x="193" y="402"/>
                    <a:pt x="194" y="402"/>
                  </a:cubicBezTo>
                  <a:cubicBezTo>
                    <a:pt x="196" y="403"/>
                    <a:pt x="200" y="402"/>
                    <a:pt x="201" y="402"/>
                  </a:cubicBezTo>
                  <a:cubicBezTo>
                    <a:pt x="204" y="402"/>
                    <a:pt x="208" y="399"/>
                    <a:pt x="210" y="402"/>
                  </a:cubicBezTo>
                  <a:cubicBezTo>
                    <a:pt x="210" y="403"/>
                    <a:pt x="210" y="406"/>
                    <a:pt x="210" y="407"/>
                  </a:cubicBezTo>
                  <a:cubicBezTo>
                    <a:pt x="209" y="409"/>
                    <a:pt x="207" y="409"/>
                    <a:pt x="206" y="411"/>
                  </a:cubicBezTo>
                  <a:cubicBezTo>
                    <a:pt x="206" y="412"/>
                    <a:pt x="207" y="413"/>
                    <a:pt x="208" y="414"/>
                  </a:cubicBezTo>
                  <a:cubicBezTo>
                    <a:pt x="209" y="415"/>
                    <a:pt x="210" y="417"/>
                    <a:pt x="212" y="417"/>
                  </a:cubicBezTo>
                  <a:cubicBezTo>
                    <a:pt x="213" y="418"/>
                    <a:pt x="214" y="420"/>
                    <a:pt x="215" y="421"/>
                  </a:cubicBezTo>
                  <a:cubicBezTo>
                    <a:pt x="217" y="422"/>
                    <a:pt x="219" y="421"/>
                    <a:pt x="220" y="421"/>
                  </a:cubicBezTo>
                  <a:cubicBezTo>
                    <a:pt x="221" y="422"/>
                    <a:pt x="221" y="422"/>
                    <a:pt x="222" y="423"/>
                  </a:cubicBezTo>
                  <a:cubicBezTo>
                    <a:pt x="222" y="423"/>
                    <a:pt x="222" y="423"/>
                    <a:pt x="223" y="423"/>
                  </a:cubicBezTo>
                  <a:cubicBezTo>
                    <a:pt x="225" y="424"/>
                    <a:pt x="226" y="423"/>
                    <a:pt x="227" y="424"/>
                  </a:cubicBezTo>
                  <a:cubicBezTo>
                    <a:pt x="229" y="424"/>
                    <a:pt x="229" y="425"/>
                    <a:pt x="231" y="426"/>
                  </a:cubicBezTo>
                  <a:cubicBezTo>
                    <a:pt x="233" y="426"/>
                    <a:pt x="235" y="426"/>
                    <a:pt x="237" y="427"/>
                  </a:cubicBezTo>
                  <a:cubicBezTo>
                    <a:pt x="239" y="427"/>
                    <a:pt x="240" y="428"/>
                    <a:pt x="243" y="428"/>
                  </a:cubicBezTo>
                  <a:cubicBezTo>
                    <a:pt x="243" y="429"/>
                    <a:pt x="243" y="429"/>
                    <a:pt x="243" y="429"/>
                  </a:cubicBezTo>
                  <a:cubicBezTo>
                    <a:pt x="245" y="429"/>
                    <a:pt x="247" y="430"/>
                    <a:pt x="249" y="431"/>
                  </a:cubicBezTo>
                  <a:cubicBezTo>
                    <a:pt x="253" y="433"/>
                    <a:pt x="256" y="433"/>
                    <a:pt x="260" y="434"/>
                  </a:cubicBezTo>
                  <a:cubicBezTo>
                    <a:pt x="257" y="440"/>
                    <a:pt x="259" y="446"/>
                    <a:pt x="264" y="449"/>
                  </a:cubicBezTo>
                  <a:cubicBezTo>
                    <a:pt x="267" y="451"/>
                    <a:pt x="269" y="452"/>
                    <a:pt x="269" y="455"/>
                  </a:cubicBezTo>
                  <a:cubicBezTo>
                    <a:pt x="269" y="457"/>
                    <a:pt x="269" y="459"/>
                    <a:pt x="269" y="460"/>
                  </a:cubicBezTo>
                  <a:cubicBezTo>
                    <a:pt x="268" y="462"/>
                    <a:pt x="267" y="463"/>
                    <a:pt x="268" y="465"/>
                  </a:cubicBezTo>
                  <a:cubicBezTo>
                    <a:pt x="268" y="465"/>
                    <a:pt x="269" y="465"/>
                    <a:pt x="270" y="465"/>
                  </a:cubicBezTo>
                  <a:cubicBezTo>
                    <a:pt x="271" y="465"/>
                    <a:pt x="271" y="465"/>
                    <a:pt x="271" y="466"/>
                  </a:cubicBezTo>
                  <a:cubicBezTo>
                    <a:pt x="272" y="467"/>
                    <a:pt x="272" y="469"/>
                    <a:pt x="272" y="470"/>
                  </a:cubicBezTo>
                  <a:cubicBezTo>
                    <a:pt x="273" y="473"/>
                    <a:pt x="272" y="475"/>
                    <a:pt x="276" y="475"/>
                  </a:cubicBezTo>
                  <a:cubicBezTo>
                    <a:pt x="279" y="476"/>
                    <a:pt x="283" y="476"/>
                    <a:pt x="286" y="475"/>
                  </a:cubicBezTo>
                  <a:cubicBezTo>
                    <a:pt x="290" y="475"/>
                    <a:pt x="289" y="473"/>
                    <a:pt x="289" y="469"/>
                  </a:cubicBezTo>
                  <a:cubicBezTo>
                    <a:pt x="290" y="466"/>
                    <a:pt x="291" y="465"/>
                    <a:pt x="294" y="464"/>
                  </a:cubicBezTo>
                  <a:cubicBezTo>
                    <a:pt x="296" y="464"/>
                    <a:pt x="296" y="463"/>
                    <a:pt x="298" y="463"/>
                  </a:cubicBezTo>
                  <a:cubicBezTo>
                    <a:pt x="298" y="463"/>
                    <a:pt x="299" y="463"/>
                    <a:pt x="299" y="462"/>
                  </a:cubicBezTo>
                  <a:cubicBezTo>
                    <a:pt x="301" y="462"/>
                    <a:pt x="301" y="461"/>
                    <a:pt x="302" y="460"/>
                  </a:cubicBezTo>
                  <a:cubicBezTo>
                    <a:pt x="304" y="458"/>
                    <a:pt x="307" y="460"/>
                    <a:pt x="307" y="463"/>
                  </a:cubicBezTo>
                  <a:cubicBezTo>
                    <a:pt x="307" y="464"/>
                    <a:pt x="307" y="465"/>
                    <a:pt x="308" y="466"/>
                  </a:cubicBezTo>
                  <a:cubicBezTo>
                    <a:pt x="309" y="467"/>
                    <a:pt x="311" y="466"/>
                    <a:pt x="311" y="468"/>
                  </a:cubicBezTo>
                  <a:cubicBezTo>
                    <a:pt x="312" y="468"/>
                    <a:pt x="315" y="470"/>
                    <a:pt x="315" y="471"/>
                  </a:cubicBezTo>
                  <a:cubicBezTo>
                    <a:pt x="316" y="472"/>
                    <a:pt x="316" y="473"/>
                    <a:pt x="316" y="473"/>
                  </a:cubicBezTo>
                  <a:cubicBezTo>
                    <a:pt x="317" y="474"/>
                    <a:pt x="318" y="475"/>
                    <a:pt x="318" y="476"/>
                  </a:cubicBezTo>
                  <a:cubicBezTo>
                    <a:pt x="319" y="477"/>
                    <a:pt x="319" y="477"/>
                    <a:pt x="319" y="479"/>
                  </a:cubicBezTo>
                  <a:cubicBezTo>
                    <a:pt x="319" y="481"/>
                    <a:pt x="319" y="483"/>
                    <a:pt x="319" y="485"/>
                  </a:cubicBezTo>
                  <a:cubicBezTo>
                    <a:pt x="319" y="487"/>
                    <a:pt x="319" y="486"/>
                    <a:pt x="321" y="487"/>
                  </a:cubicBezTo>
                  <a:cubicBezTo>
                    <a:pt x="321" y="488"/>
                    <a:pt x="322" y="488"/>
                    <a:pt x="323" y="488"/>
                  </a:cubicBezTo>
                  <a:cubicBezTo>
                    <a:pt x="323" y="489"/>
                    <a:pt x="324" y="490"/>
                    <a:pt x="325" y="490"/>
                  </a:cubicBezTo>
                  <a:cubicBezTo>
                    <a:pt x="326" y="491"/>
                    <a:pt x="326" y="491"/>
                    <a:pt x="327" y="491"/>
                  </a:cubicBezTo>
                  <a:cubicBezTo>
                    <a:pt x="328" y="491"/>
                    <a:pt x="329" y="492"/>
                    <a:pt x="329" y="493"/>
                  </a:cubicBezTo>
                  <a:cubicBezTo>
                    <a:pt x="331" y="493"/>
                    <a:pt x="333" y="493"/>
                    <a:pt x="334" y="493"/>
                  </a:cubicBezTo>
                  <a:cubicBezTo>
                    <a:pt x="334" y="491"/>
                    <a:pt x="334" y="490"/>
                    <a:pt x="334" y="488"/>
                  </a:cubicBezTo>
                  <a:cubicBezTo>
                    <a:pt x="334" y="485"/>
                    <a:pt x="335" y="484"/>
                    <a:pt x="338" y="483"/>
                  </a:cubicBezTo>
                  <a:cubicBezTo>
                    <a:pt x="341" y="480"/>
                    <a:pt x="345" y="482"/>
                    <a:pt x="349" y="481"/>
                  </a:cubicBezTo>
                  <a:cubicBezTo>
                    <a:pt x="350" y="479"/>
                    <a:pt x="349" y="478"/>
                    <a:pt x="349" y="476"/>
                  </a:cubicBezTo>
                  <a:cubicBezTo>
                    <a:pt x="351" y="476"/>
                    <a:pt x="354" y="476"/>
                    <a:pt x="356" y="476"/>
                  </a:cubicBezTo>
                  <a:cubicBezTo>
                    <a:pt x="359" y="476"/>
                    <a:pt x="361" y="473"/>
                    <a:pt x="365" y="473"/>
                  </a:cubicBezTo>
                  <a:cubicBezTo>
                    <a:pt x="366" y="474"/>
                    <a:pt x="366" y="475"/>
                    <a:pt x="368" y="475"/>
                  </a:cubicBezTo>
                  <a:cubicBezTo>
                    <a:pt x="369" y="476"/>
                    <a:pt x="370" y="475"/>
                    <a:pt x="371" y="475"/>
                  </a:cubicBezTo>
                  <a:cubicBezTo>
                    <a:pt x="373" y="476"/>
                    <a:pt x="374" y="479"/>
                    <a:pt x="376" y="480"/>
                  </a:cubicBezTo>
                  <a:cubicBezTo>
                    <a:pt x="376" y="480"/>
                    <a:pt x="378" y="480"/>
                    <a:pt x="378" y="480"/>
                  </a:cubicBezTo>
                  <a:cubicBezTo>
                    <a:pt x="379" y="481"/>
                    <a:pt x="380" y="481"/>
                    <a:pt x="381" y="481"/>
                  </a:cubicBezTo>
                  <a:cubicBezTo>
                    <a:pt x="381" y="482"/>
                    <a:pt x="381" y="483"/>
                    <a:pt x="382" y="483"/>
                  </a:cubicBezTo>
                  <a:cubicBezTo>
                    <a:pt x="382" y="483"/>
                    <a:pt x="385" y="483"/>
                    <a:pt x="385" y="483"/>
                  </a:cubicBezTo>
                  <a:cubicBezTo>
                    <a:pt x="386" y="483"/>
                    <a:pt x="389" y="481"/>
                    <a:pt x="389" y="480"/>
                  </a:cubicBezTo>
                  <a:cubicBezTo>
                    <a:pt x="390" y="478"/>
                    <a:pt x="389" y="477"/>
                    <a:pt x="390" y="475"/>
                  </a:cubicBezTo>
                  <a:cubicBezTo>
                    <a:pt x="391" y="474"/>
                    <a:pt x="392" y="473"/>
                    <a:pt x="393" y="473"/>
                  </a:cubicBezTo>
                  <a:cubicBezTo>
                    <a:pt x="395" y="473"/>
                    <a:pt x="398" y="475"/>
                    <a:pt x="399" y="471"/>
                  </a:cubicBezTo>
                  <a:cubicBezTo>
                    <a:pt x="399" y="471"/>
                    <a:pt x="400" y="470"/>
                    <a:pt x="401" y="470"/>
                  </a:cubicBezTo>
                  <a:cubicBezTo>
                    <a:pt x="402" y="470"/>
                    <a:pt x="402" y="471"/>
                    <a:pt x="403" y="471"/>
                  </a:cubicBezTo>
                  <a:cubicBezTo>
                    <a:pt x="405" y="471"/>
                    <a:pt x="408" y="471"/>
                    <a:pt x="410" y="471"/>
                  </a:cubicBezTo>
                  <a:cubicBezTo>
                    <a:pt x="413" y="472"/>
                    <a:pt x="417" y="473"/>
                    <a:pt x="420" y="474"/>
                  </a:cubicBezTo>
                  <a:cubicBezTo>
                    <a:pt x="422" y="475"/>
                    <a:pt x="423" y="476"/>
                    <a:pt x="425" y="477"/>
                  </a:cubicBezTo>
                  <a:cubicBezTo>
                    <a:pt x="426" y="478"/>
                    <a:pt x="425" y="478"/>
                    <a:pt x="427" y="479"/>
                  </a:cubicBezTo>
                  <a:cubicBezTo>
                    <a:pt x="428" y="479"/>
                    <a:pt x="429" y="478"/>
                    <a:pt x="430" y="478"/>
                  </a:cubicBezTo>
                  <a:cubicBezTo>
                    <a:pt x="431" y="479"/>
                    <a:pt x="432" y="480"/>
                    <a:pt x="433" y="481"/>
                  </a:cubicBezTo>
                  <a:cubicBezTo>
                    <a:pt x="433" y="482"/>
                    <a:pt x="433" y="482"/>
                    <a:pt x="434" y="483"/>
                  </a:cubicBezTo>
                  <a:cubicBezTo>
                    <a:pt x="434" y="483"/>
                    <a:pt x="435" y="485"/>
                    <a:pt x="435" y="485"/>
                  </a:cubicBezTo>
                  <a:cubicBezTo>
                    <a:pt x="436" y="485"/>
                    <a:pt x="436" y="485"/>
                    <a:pt x="437" y="485"/>
                  </a:cubicBezTo>
                  <a:cubicBezTo>
                    <a:pt x="439" y="486"/>
                    <a:pt x="441" y="487"/>
                    <a:pt x="442" y="488"/>
                  </a:cubicBezTo>
                  <a:cubicBezTo>
                    <a:pt x="444" y="489"/>
                    <a:pt x="444" y="489"/>
                    <a:pt x="445" y="490"/>
                  </a:cubicBezTo>
                  <a:cubicBezTo>
                    <a:pt x="446" y="492"/>
                    <a:pt x="447" y="492"/>
                    <a:pt x="448" y="493"/>
                  </a:cubicBezTo>
                  <a:cubicBezTo>
                    <a:pt x="452" y="494"/>
                    <a:pt x="455" y="494"/>
                    <a:pt x="459" y="496"/>
                  </a:cubicBezTo>
                  <a:cubicBezTo>
                    <a:pt x="460" y="496"/>
                    <a:pt x="462" y="497"/>
                    <a:pt x="464" y="498"/>
                  </a:cubicBezTo>
                  <a:cubicBezTo>
                    <a:pt x="464" y="498"/>
                    <a:pt x="465" y="499"/>
                    <a:pt x="466" y="499"/>
                  </a:cubicBezTo>
                  <a:cubicBezTo>
                    <a:pt x="466" y="500"/>
                    <a:pt x="467" y="500"/>
                    <a:pt x="468" y="500"/>
                  </a:cubicBezTo>
                  <a:cubicBezTo>
                    <a:pt x="470" y="501"/>
                    <a:pt x="471" y="503"/>
                    <a:pt x="474" y="503"/>
                  </a:cubicBezTo>
                  <a:cubicBezTo>
                    <a:pt x="475" y="503"/>
                    <a:pt x="476" y="503"/>
                    <a:pt x="477" y="503"/>
                  </a:cubicBezTo>
                  <a:cubicBezTo>
                    <a:pt x="478" y="503"/>
                    <a:pt x="478" y="504"/>
                    <a:pt x="479" y="505"/>
                  </a:cubicBezTo>
                  <a:cubicBezTo>
                    <a:pt x="481" y="505"/>
                    <a:pt x="485" y="505"/>
                    <a:pt x="487" y="505"/>
                  </a:cubicBezTo>
                  <a:cubicBezTo>
                    <a:pt x="488" y="502"/>
                    <a:pt x="485" y="500"/>
                    <a:pt x="485" y="497"/>
                  </a:cubicBezTo>
                  <a:cubicBezTo>
                    <a:pt x="484" y="497"/>
                    <a:pt x="484" y="497"/>
                    <a:pt x="483" y="496"/>
                  </a:cubicBezTo>
                  <a:cubicBezTo>
                    <a:pt x="483" y="496"/>
                    <a:pt x="483" y="495"/>
                    <a:pt x="482" y="495"/>
                  </a:cubicBezTo>
                  <a:cubicBezTo>
                    <a:pt x="482" y="495"/>
                    <a:pt x="481" y="495"/>
                    <a:pt x="480" y="495"/>
                  </a:cubicBezTo>
                  <a:cubicBezTo>
                    <a:pt x="476" y="494"/>
                    <a:pt x="477" y="489"/>
                    <a:pt x="477" y="486"/>
                  </a:cubicBezTo>
                  <a:cubicBezTo>
                    <a:pt x="477" y="484"/>
                    <a:pt x="478" y="481"/>
                    <a:pt x="477" y="479"/>
                  </a:cubicBezTo>
                  <a:cubicBezTo>
                    <a:pt x="476" y="479"/>
                    <a:pt x="476" y="478"/>
                    <a:pt x="475" y="478"/>
                  </a:cubicBezTo>
                  <a:cubicBezTo>
                    <a:pt x="475" y="477"/>
                    <a:pt x="475" y="475"/>
                    <a:pt x="475" y="474"/>
                  </a:cubicBezTo>
                  <a:cubicBezTo>
                    <a:pt x="475" y="472"/>
                    <a:pt x="474" y="471"/>
                    <a:pt x="473" y="468"/>
                  </a:cubicBezTo>
                  <a:cubicBezTo>
                    <a:pt x="473" y="467"/>
                    <a:pt x="473" y="467"/>
                    <a:pt x="473" y="466"/>
                  </a:cubicBezTo>
                  <a:cubicBezTo>
                    <a:pt x="473" y="465"/>
                    <a:pt x="473" y="464"/>
                    <a:pt x="473" y="464"/>
                  </a:cubicBezTo>
                  <a:cubicBezTo>
                    <a:pt x="473" y="462"/>
                    <a:pt x="473" y="464"/>
                    <a:pt x="474" y="462"/>
                  </a:cubicBezTo>
                  <a:cubicBezTo>
                    <a:pt x="476" y="461"/>
                    <a:pt x="477" y="459"/>
                    <a:pt x="478" y="458"/>
                  </a:cubicBezTo>
                  <a:cubicBezTo>
                    <a:pt x="480" y="457"/>
                    <a:pt x="481" y="457"/>
                    <a:pt x="482" y="455"/>
                  </a:cubicBezTo>
                  <a:cubicBezTo>
                    <a:pt x="483" y="455"/>
                    <a:pt x="484" y="454"/>
                    <a:pt x="484" y="453"/>
                  </a:cubicBezTo>
                  <a:cubicBezTo>
                    <a:pt x="485" y="451"/>
                    <a:pt x="487" y="448"/>
                    <a:pt x="488" y="445"/>
                  </a:cubicBezTo>
                  <a:cubicBezTo>
                    <a:pt x="491" y="440"/>
                    <a:pt x="494" y="436"/>
                    <a:pt x="497" y="431"/>
                  </a:cubicBezTo>
                  <a:cubicBezTo>
                    <a:pt x="498" y="429"/>
                    <a:pt x="499" y="427"/>
                    <a:pt x="500" y="426"/>
                  </a:cubicBezTo>
                  <a:cubicBezTo>
                    <a:pt x="500" y="426"/>
                    <a:pt x="500" y="425"/>
                    <a:pt x="500" y="424"/>
                  </a:cubicBezTo>
                  <a:cubicBezTo>
                    <a:pt x="500" y="424"/>
                    <a:pt x="500" y="423"/>
                    <a:pt x="501" y="423"/>
                  </a:cubicBezTo>
                  <a:cubicBezTo>
                    <a:pt x="501" y="421"/>
                    <a:pt x="501" y="419"/>
                    <a:pt x="502" y="419"/>
                  </a:cubicBezTo>
                  <a:cubicBezTo>
                    <a:pt x="503" y="417"/>
                    <a:pt x="505" y="417"/>
                    <a:pt x="506" y="416"/>
                  </a:cubicBezTo>
                  <a:cubicBezTo>
                    <a:pt x="508" y="412"/>
                    <a:pt x="512" y="410"/>
                    <a:pt x="514" y="406"/>
                  </a:cubicBezTo>
                  <a:cubicBezTo>
                    <a:pt x="517" y="403"/>
                    <a:pt x="521" y="398"/>
                    <a:pt x="525" y="396"/>
                  </a:cubicBezTo>
                  <a:cubicBezTo>
                    <a:pt x="530" y="392"/>
                    <a:pt x="536" y="390"/>
                    <a:pt x="542" y="390"/>
                  </a:cubicBezTo>
                  <a:cubicBezTo>
                    <a:pt x="544" y="390"/>
                    <a:pt x="550" y="391"/>
                    <a:pt x="551" y="390"/>
                  </a:cubicBezTo>
                  <a:cubicBezTo>
                    <a:pt x="553" y="389"/>
                    <a:pt x="552" y="385"/>
                    <a:pt x="552" y="382"/>
                  </a:cubicBezTo>
                  <a:cubicBezTo>
                    <a:pt x="552" y="383"/>
                    <a:pt x="552" y="383"/>
                    <a:pt x="551" y="384"/>
                  </a:cubicBezTo>
                  <a:cubicBezTo>
                    <a:pt x="551" y="383"/>
                    <a:pt x="552" y="382"/>
                    <a:pt x="552" y="382"/>
                  </a:cubicBezTo>
                  <a:cubicBezTo>
                    <a:pt x="552" y="377"/>
                    <a:pt x="552" y="372"/>
                    <a:pt x="552" y="367"/>
                  </a:cubicBezTo>
                  <a:cubicBezTo>
                    <a:pt x="552" y="365"/>
                    <a:pt x="552" y="364"/>
                    <a:pt x="551" y="362"/>
                  </a:cubicBezTo>
                  <a:cubicBezTo>
                    <a:pt x="550" y="361"/>
                    <a:pt x="548" y="360"/>
                    <a:pt x="548" y="360"/>
                  </a:cubicBezTo>
                  <a:cubicBezTo>
                    <a:pt x="547" y="360"/>
                    <a:pt x="545" y="359"/>
                    <a:pt x="545" y="359"/>
                  </a:cubicBezTo>
                  <a:cubicBezTo>
                    <a:pt x="541" y="354"/>
                    <a:pt x="556" y="355"/>
                    <a:pt x="556" y="355"/>
                  </a:cubicBezTo>
                  <a:cubicBezTo>
                    <a:pt x="557" y="354"/>
                    <a:pt x="557" y="353"/>
                    <a:pt x="557" y="35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2" name="Freeform 22">
              <a:extLst>
                <a:ext uri="{FF2B5EF4-FFF2-40B4-BE49-F238E27FC236}">
                  <a16:creationId xmlns:a16="http://schemas.microsoft.com/office/drawing/2014/main" id="{E1D9E57A-5787-4CE6-83D5-201029BE53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94238" y="4368800"/>
              <a:ext cx="700088" cy="392113"/>
            </a:xfrm>
            <a:custGeom>
              <a:avLst/>
              <a:gdLst/>
              <a:ahLst/>
              <a:cxnLst>
                <a:cxn ang="0">
                  <a:pos x="261" y="202"/>
                </a:cxn>
                <a:cxn ang="0">
                  <a:pos x="275" y="194"/>
                </a:cxn>
                <a:cxn ang="0">
                  <a:pos x="288" y="192"/>
                </a:cxn>
                <a:cxn ang="0">
                  <a:pos x="306" y="190"/>
                </a:cxn>
                <a:cxn ang="0">
                  <a:pos x="322" y="178"/>
                </a:cxn>
                <a:cxn ang="0">
                  <a:pos x="334" y="162"/>
                </a:cxn>
                <a:cxn ang="0">
                  <a:pos x="344" y="152"/>
                </a:cxn>
                <a:cxn ang="0">
                  <a:pos x="354" y="140"/>
                </a:cxn>
                <a:cxn ang="0">
                  <a:pos x="368" y="137"/>
                </a:cxn>
                <a:cxn ang="0">
                  <a:pos x="373" y="135"/>
                </a:cxn>
                <a:cxn ang="0">
                  <a:pos x="354" y="101"/>
                </a:cxn>
                <a:cxn ang="0">
                  <a:pos x="332" y="94"/>
                </a:cxn>
                <a:cxn ang="0">
                  <a:pos x="317" y="87"/>
                </a:cxn>
                <a:cxn ang="0">
                  <a:pos x="306" y="72"/>
                </a:cxn>
                <a:cxn ang="0">
                  <a:pos x="289" y="65"/>
                </a:cxn>
                <a:cxn ang="0">
                  <a:pos x="272" y="63"/>
                </a:cxn>
                <a:cxn ang="0">
                  <a:pos x="268" y="76"/>
                </a:cxn>
                <a:cxn ang="0">
                  <a:pos x="252" y="82"/>
                </a:cxn>
                <a:cxn ang="0">
                  <a:pos x="242" y="66"/>
                </a:cxn>
                <a:cxn ang="0">
                  <a:pos x="241" y="48"/>
                </a:cxn>
                <a:cxn ang="0">
                  <a:pos x="232" y="40"/>
                </a:cxn>
                <a:cxn ang="0">
                  <a:pos x="218" y="35"/>
                </a:cxn>
                <a:cxn ang="0">
                  <a:pos x="193" y="26"/>
                </a:cxn>
                <a:cxn ang="0">
                  <a:pos x="181" y="10"/>
                </a:cxn>
                <a:cxn ang="0">
                  <a:pos x="157" y="13"/>
                </a:cxn>
                <a:cxn ang="0">
                  <a:pos x="145" y="19"/>
                </a:cxn>
                <a:cxn ang="0">
                  <a:pos x="137" y="4"/>
                </a:cxn>
                <a:cxn ang="0">
                  <a:pos x="126" y="9"/>
                </a:cxn>
                <a:cxn ang="0">
                  <a:pos x="115" y="20"/>
                </a:cxn>
                <a:cxn ang="0">
                  <a:pos x="102" y="26"/>
                </a:cxn>
                <a:cxn ang="0">
                  <a:pos x="86" y="30"/>
                </a:cxn>
                <a:cxn ang="0">
                  <a:pos x="78" y="41"/>
                </a:cxn>
                <a:cxn ang="0">
                  <a:pos x="71" y="41"/>
                </a:cxn>
                <a:cxn ang="0">
                  <a:pos x="61" y="48"/>
                </a:cxn>
                <a:cxn ang="0">
                  <a:pos x="51" y="56"/>
                </a:cxn>
                <a:cxn ang="0">
                  <a:pos x="39" y="55"/>
                </a:cxn>
                <a:cxn ang="0">
                  <a:pos x="28" y="59"/>
                </a:cxn>
                <a:cxn ang="0">
                  <a:pos x="15" y="73"/>
                </a:cxn>
                <a:cxn ang="0">
                  <a:pos x="11" y="75"/>
                </a:cxn>
                <a:cxn ang="0">
                  <a:pos x="2" y="68"/>
                </a:cxn>
                <a:cxn ang="0">
                  <a:pos x="11" y="88"/>
                </a:cxn>
                <a:cxn ang="0">
                  <a:pos x="23" y="102"/>
                </a:cxn>
                <a:cxn ang="0">
                  <a:pos x="18" y="117"/>
                </a:cxn>
                <a:cxn ang="0">
                  <a:pos x="29" y="137"/>
                </a:cxn>
                <a:cxn ang="0">
                  <a:pos x="40" y="148"/>
                </a:cxn>
                <a:cxn ang="0">
                  <a:pos x="54" y="164"/>
                </a:cxn>
                <a:cxn ang="0">
                  <a:pos x="66" y="171"/>
                </a:cxn>
                <a:cxn ang="0">
                  <a:pos x="83" y="186"/>
                </a:cxn>
                <a:cxn ang="0">
                  <a:pos x="91" y="194"/>
                </a:cxn>
                <a:cxn ang="0">
                  <a:pos x="102" y="207"/>
                </a:cxn>
                <a:cxn ang="0">
                  <a:pos x="114" y="210"/>
                </a:cxn>
                <a:cxn ang="0">
                  <a:pos x="127" y="208"/>
                </a:cxn>
                <a:cxn ang="0">
                  <a:pos x="136" y="207"/>
                </a:cxn>
                <a:cxn ang="0">
                  <a:pos x="151" y="192"/>
                </a:cxn>
                <a:cxn ang="0">
                  <a:pos x="157" y="175"/>
                </a:cxn>
                <a:cxn ang="0">
                  <a:pos x="172" y="178"/>
                </a:cxn>
                <a:cxn ang="0">
                  <a:pos x="194" y="187"/>
                </a:cxn>
                <a:cxn ang="0">
                  <a:pos x="215" y="196"/>
                </a:cxn>
                <a:cxn ang="0">
                  <a:pos x="238" y="193"/>
                </a:cxn>
                <a:cxn ang="0">
                  <a:pos x="254" y="200"/>
                </a:cxn>
                <a:cxn ang="0">
                  <a:pos x="261" y="202"/>
                </a:cxn>
              </a:cxnLst>
              <a:rect l="0" t="0" r="r" b="b"/>
              <a:pathLst>
                <a:path w="375" h="210">
                  <a:moveTo>
                    <a:pt x="159" y="8"/>
                  </a:move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7"/>
                    <a:pt x="159" y="7"/>
                  </a:cubicBezTo>
                  <a:cubicBezTo>
                    <a:pt x="159" y="7"/>
                    <a:pt x="159" y="8"/>
                    <a:pt x="159" y="8"/>
                  </a:cubicBezTo>
                  <a:moveTo>
                    <a:pt x="261" y="202"/>
                  </a:moveTo>
                  <a:cubicBezTo>
                    <a:pt x="262" y="202"/>
                    <a:pt x="263" y="203"/>
                    <a:pt x="264" y="202"/>
                  </a:cubicBezTo>
                  <a:cubicBezTo>
                    <a:pt x="267" y="202"/>
                    <a:pt x="268" y="201"/>
                    <a:pt x="270" y="200"/>
                  </a:cubicBezTo>
                  <a:cubicBezTo>
                    <a:pt x="271" y="199"/>
                    <a:pt x="271" y="198"/>
                    <a:pt x="272" y="197"/>
                  </a:cubicBezTo>
                  <a:cubicBezTo>
                    <a:pt x="272" y="196"/>
                    <a:pt x="273" y="196"/>
                    <a:pt x="273" y="196"/>
                  </a:cubicBezTo>
                  <a:cubicBezTo>
                    <a:pt x="274" y="195"/>
                    <a:pt x="274" y="194"/>
                    <a:pt x="275" y="194"/>
                  </a:cubicBezTo>
                  <a:cubicBezTo>
                    <a:pt x="276" y="193"/>
                    <a:pt x="277" y="192"/>
                    <a:pt x="278" y="191"/>
                  </a:cubicBezTo>
                  <a:cubicBezTo>
                    <a:pt x="279" y="191"/>
                    <a:pt x="279" y="189"/>
                    <a:pt x="280" y="188"/>
                  </a:cubicBezTo>
                  <a:cubicBezTo>
                    <a:pt x="282" y="188"/>
                    <a:pt x="282" y="189"/>
                    <a:pt x="282" y="190"/>
                  </a:cubicBezTo>
                  <a:cubicBezTo>
                    <a:pt x="283" y="190"/>
                    <a:pt x="284" y="190"/>
                    <a:pt x="285" y="191"/>
                  </a:cubicBezTo>
                  <a:cubicBezTo>
                    <a:pt x="286" y="191"/>
                    <a:pt x="287" y="192"/>
                    <a:pt x="288" y="192"/>
                  </a:cubicBezTo>
                  <a:cubicBezTo>
                    <a:pt x="292" y="194"/>
                    <a:pt x="296" y="193"/>
                    <a:pt x="300" y="192"/>
                  </a:cubicBezTo>
                  <a:cubicBezTo>
                    <a:pt x="301" y="192"/>
                    <a:pt x="302" y="193"/>
                    <a:pt x="303" y="192"/>
                  </a:cubicBezTo>
                  <a:cubicBezTo>
                    <a:pt x="303" y="192"/>
                    <a:pt x="303" y="192"/>
                    <a:pt x="303" y="191"/>
                  </a:cubicBezTo>
                  <a:cubicBezTo>
                    <a:pt x="303" y="191"/>
                    <a:pt x="304" y="191"/>
                    <a:pt x="304" y="191"/>
                  </a:cubicBezTo>
                  <a:cubicBezTo>
                    <a:pt x="305" y="190"/>
                    <a:pt x="305" y="190"/>
                    <a:pt x="306" y="190"/>
                  </a:cubicBezTo>
                  <a:cubicBezTo>
                    <a:pt x="308" y="189"/>
                    <a:pt x="310" y="188"/>
                    <a:pt x="311" y="187"/>
                  </a:cubicBezTo>
                  <a:cubicBezTo>
                    <a:pt x="312" y="186"/>
                    <a:pt x="314" y="185"/>
                    <a:pt x="315" y="184"/>
                  </a:cubicBezTo>
                  <a:cubicBezTo>
                    <a:pt x="316" y="184"/>
                    <a:pt x="317" y="183"/>
                    <a:pt x="318" y="182"/>
                  </a:cubicBezTo>
                  <a:cubicBezTo>
                    <a:pt x="319" y="181"/>
                    <a:pt x="319" y="181"/>
                    <a:pt x="319" y="180"/>
                  </a:cubicBezTo>
                  <a:cubicBezTo>
                    <a:pt x="320" y="179"/>
                    <a:pt x="320" y="179"/>
                    <a:pt x="322" y="178"/>
                  </a:cubicBezTo>
                  <a:cubicBezTo>
                    <a:pt x="323" y="178"/>
                    <a:pt x="323" y="178"/>
                    <a:pt x="324" y="178"/>
                  </a:cubicBezTo>
                  <a:cubicBezTo>
                    <a:pt x="325" y="177"/>
                    <a:pt x="326" y="178"/>
                    <a:pt x="326" y="178"/>
                  </a:cubicBezTo>
                  <a:cubicBezTo>
                    <a:pt x="327" y="177"/>
                    <a:pt x="327" y="176"/>
                    <a:pt x="327" y="175"/>
                  </a:cubicBezTo>
                  <a:cubicBezTo>
                    <a:pt x="329" y="173"/>
                    <a:pt x="331" y="171"/>
                    <a:pt x="331" y="168"/>
                  </a:cubicBezTo>
                  <a:cubicBezTo>
                    <a:pt x="331" y="165"/>
                    <a:pt x="333" y="164"/>
                    <a:pt x="334" y="162"/>
                  </a:cubicBezTo>
                  <a:cubicBezTo>
                    <a:pt x="334" y="161"/>
                    <a:pt x="334" y="159"/>
                    <a:pt x="334" y="159"/>
                  </a:cubicBezTo>
                  <a:cubicBezTo>
                    <a:pt x="335" y="158"/>
                    <a:pt x="335" y="157"/>
                    <a:pt x="336" y="156"/>
                  </a:cubicBezTo>
                  <a:cubicBezTo>
                    <a:pt x="336" y="155"/>
                    <a:pt x="336" y="153"/>
                    <a:pt x="337" y="153"/>
                  </a:cubicBezTo>
                  <a:cubicBezTo>
                    <a:pt x="338" y="153"/>
                    <a:pt x="340" y="153"/>
                    <a:pt x="341" y="153"/>
                  </a:cubicBezTo>
                  <a:cubicBezTo>
                    <a:pt x="342" y="153"/>
                    <a:pt x="343" y="152"/>
                    <a:pt x="344" y="152"/>
                  </a:cubicBezTo>
                  <a:cubicBezTo>
                    <a:pt x="344" y="151"/>
                    <a:pt x="345" y="150"/>
                    <a:pt x="345" y="150"/>
                  </a:cubicBezTo>
                  <a:cubicBezTo>
                    <a:pt x="345" y="149"/>
                    <a:pt x="345" y="149"/>
                    <a:pt x="346" y="149"/>
                  </a:cubicBezTo>
                  <a:cubicBezTo>
                    <a:pt x="347" y="147"/>
                    <a:pt x="347" y="145"/>
                    <a:pt x="350" y="143"/>
                  </a:cubicBezTo>
                  <a:cubicBezTo>
                    <a:pt x="351" y="143"/>
                    <a:pt x="352" y="143"/>
                    <a:pt x="352" y="142"/>
                  </a:cubicBezTo>
                  <a:cubicBezTo>
                    <a:pt x="353" y="141"/>
                    <a:pt x="353" y="141"/>
                    <a:pt x="354" y="140"/>
                  </a:cubicBezTo>
                  <a:cubicBezTo>
                    <a:pt x="355" y="140"/>
                    <a:pt x="356" y="139"/>
                    <a:pt x="357" y="138"/>
                  </a:cubicBezTo>
                  <a:cubicBezTo>
                    <a:pt x="358" y="137"/>
                    <a:pt x="357" y="136"/>
                    <a:pt x="359" y="136"/>
                  </a:cubicBezTo>
                  <a:cubicBezTo>
                    <a:pt x="360" y="136"/>
                    <a:pt x="361" y="137"/>
                    <a:pt x="363" y="138"/>
                  </a:cubicBezTo>
                  <a:cubicBezTo>
                    <a:pt x="364" y="138"/>
                    <a:pt x="365" y="138"/>
                    <a:pt x="366" y="137"/>
                  </a:cubicBezTo>
                  <a:cubicBezTo>
                    <a:pt x="368" y="137"/>
                    <a:pt x="367" y="137"/>
                    <a:pt x="368" y="137"/>
                  </a:cubicBezTo>
                  <a:cubicBezTo>
                    <a:pt x="369" y="136"/>
                    <a:pt x="369" y="136"/>
                    <a:pt x="370" y="136"/>
                  </a:cubicBezTo>
                  <a:cubicBezTo>
                    <a:pt x="371" y="135"/>
                    <a:pt x="373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4" y="135"/>
                    <a:pt x="373" y="135"/>
                    <a:pt x="373" y="135"/>
                  </a:cubicBezTo>
                  <a:cubicBezTo>
                    <a:pt x="372" y="133"/>
                    <a:pt x="373" y="132"/>
                    <a:pt x="374" y="130"/>
                  </a:cubicBezTo>
                  <a:cubicBezTo>
                    <a:pt x="374" y="129"/>
                    <a:pt x="374" y="127"/>
                    <a:pt x="374" y="125"/>
                  </a:cubicBezTo>
                  <a:cubicBezTo>
                    <a:pt x="374" y="122"/>
                    <a:pt x="372" y="121"/>
                    <a:pt x="369" y="119"/>
                  </a:cubicBezTo>
                  <a:cubicBezTo>
                    <a:pt x="364" y="116"/>
                    <a:pt x="362" y="110"/>
                    <a:pt x="365" y="104"/>
                  </a:cubicBezTo>
                  <a:cubicBezTo>
                    <a:pt x="361" y="103"/>
                    <a:pt x="358" y="103"/>
                    <a:pt x="354" y="101"/>
                  </a:cubicBezTo>
                  <a:cubicBezTo>
                    <a:pt x="352" y="100"/>
                    <a:pt x="350" y="99"/>
                    <a:pt x="348" y="99"/>
                  </a:cubicBezTo>
                  <a:cubicBezTo>
                    <a:pt x="348" y="99"/>
                    <a:pt x="348" y="99"/>
                    <a:pt x="348" y="98"/>
                  </a:cubicBezTo>
                  <a:cubicBezTo>
                    <a:pt x="345" y="98"/>
                    <a:pt x="344" y="97"/>
                    <a:pt x="342" y="97"/>
                  </a:cubicBezTo>
                  <a:cubicBezTo>
                    <a:pt x="340" y="96"/>
                    <a:pt x="338" y="96"/>
                    <a:pt x="336" y="96"/>
                  </a:cubicBezTo>
                  <a:cubicBezTo>
                    <a:pt x="334" y="95"/>
                    <a:pt x="334" y="94"/>
                    <a:pt x="332" y="94"/>
                  </a:cubicBezTo>
                  <a:cubicBezTo>
                    <a:pt x="331" y="93"/>
                    <a:pt x="330" y="94"/>
                    <a:pt x="328" y="93"/>
                  </a:cubicBezTo>
                  <a:cubicBezTo>
                    <a:pt x="327" y="93"/>
                    <a:pt x="327" y="93"/>
                    <a:pt x="327" y="93"/>
                  </a:cubicBezTo>
                  <a:cubicBezTo>
                    <a:pt x="326" y="92"/>
                    <a:pt x="326" y="92"/>
                    <a:pt x="325" y="91"/>
                  </a:cubicBezTo>
                  <a:cubicBezTo>
                    <a:pt x="324" y="91"/>
                    <a:pt x="322" y="92"/>
                    <a:pt x="320" y="91"/>
                  </a:cubicBezTo>
                  <a:cubicBezTo>
                    <a:pt x="319" y="90"/>
                    <a:pt x="318" y="88"/>
                    <a:pt x="317" y="87"/>
                  </a:cubicBezTo>
                  <a:cubicBezTo>
                    <a:pt x="315" y="87"/>
                    <a:pt x="314" y="85"/>
                    <a:pt x="313" y="84"/>
                  </a:cubicBezTo>
                  <a:cubicBezTo>
                    <a:pt x="312" y="83"/>
                    <a:pt x="311" y="82"/>
                    <a:pt x="311" y="81"/>
                  </a:cubicBezTo>
                  <a:cubicBezTo>
                    <a:pt x="312" y="79"/>
                    <a:pt x="314" y="79"/>
                    <a:pt x="315" y="77"/>
                  </a:cubicBezTo>
                  <a:cubicBezTo>
                    <a:pt x="315" y="76"/>
                    <a:pt x="315" y="73"/>
                    <a:pt x="315" y="72"/>
                  </a:cubicBezTo>
                  <a:cubicBezTo>
                    <a:pt x="313" y="69"/>
                    <a:pt x="309" y="72"/>
                    <a:pt x="306" y="72"/>
                  </a:cubicBezTo>
                  <a:cubicBezTo>
                    <a:pt x="305" y="72"/>
                    <a:pt x="301" y="73"/>
                    <a:pt x="299" y="72"/>
                  </a:cubicBezTo>
                  <a:cubicBezTo>
                    <a:pt x="298" y="72"/>
                    <a:pt x="299" y="71"/>
                    <a:pt x="298" y="71"/>
                  </a:cubicBezTo>
                  <a:cubicBezTo>
                    <a:pt x="297" y="70"/>
                    <a:pt x="297" y="71"/>
                    <a:pt x="296" y="70"/>
                  </a:cubicBezTo>
                  <a:cubicBezTo>
                    <a:pt x="295" y="70"/>
                    <a:pt x="294" y="68"/>
                    <a:pt x="292" y="68"/>
                  </a:cubicBezTo>
                  <a:cubicBezTo>
                    <a:pt x="290" y="67"/>
                    <a:pt x="289" y="67"/>
                    <a:pt x="289" y="65"/>
                  </a:cubicBezTo>
                  <a:cubicBezTo>
                    <a:pt x="288" y="65"/>
                    <a:pt x="286" y="64"/>
                    <a:pt x="285" y="63"/>
                  </a:cubicBezTo>
                  <a:cubicBezTo>
                    <a:pt x="284" y="62"/>
                    <a:pt x="284" y="63"/>
                    <a:pt x="282" y="62"/>
                  </a:cubicBezTo>
                  <a:cubicBezTo>
                    <a:pt x="283" y="61"/>
                    <a:pt x="282" y="60"/>
                    <a:pt x="282" y="60"/>
                  </a:cubicBezTo>
                  <a:cubicBezTo>
                    <a:pt x="279" y="58"/>
                    <a:pt x="274" y="58"/>
                    <a:pt x="270" y="58"/>
                  </a:cubicBezTo>
                  <a:cubicBezTo>
                    <a:pt x="270" y="60"/>
                    <a:pt x="271" y="61"/>
                    <a:pt x="272" y="63"/>
                  </a:cubicBezTo>
                  <a:cubicBezTo>
                    <a:pt x="273" y="64"/>
                    <a:pt x="273" y="64"/>
                    <a:pt x="274" y="65"/>
                  </a:cubicBezTo>
                  <a:cubicBezTo>
                    <a:pt x="276" y="67"/>
                    <a:pt x="278" y="67"/>
                    <a:pt x="279" y="70"/>
                  </a:cubicBezTo>
                  <a:cubicBezTo>
                    <a:pt x="279" y="72"/>
                    <a:pt x="278" y="72"/>
                    <a:pt x="276" y="73"/>
                  </a:cubicBezTo>
                  <a:cubicBezTo>
                    <a:pt x="274" y="73"/>
                    <a:pt x="272" y="74"/>
                    <a:pt x="271" y="75"/>
                  </a:cubicBezTo>
                  <a:cubicBezTo>
                    <a:pt x="270" y="75"/>
                    <a:pt x="269" y="75"/>
                    <a:pt x="268" y="76"/>
                  </a:cubicBezTo>
                  <a:cubicBezTo>
                    <a:pt x="266" y="77"/>
                    <a:pt x="267" y="78"/>
                    <a:pt x="265" y="80"/>
                  </a:cubicBezTo>
                  <a:cubicBezTo>
                    <a:pt x="263" y="81"/>
                    <a:pt x="263" y="80"/>
                    <a:pt x="262" y="82"/>
                  </a:cubicBezTo>
                  <a:cubicBezTo>
                    <a:pt x="262" y="82"/>
                    <a:pt x="261" y="82"/>
                    <a:pt x="261" y="83"/>
                  </a:cubicBezTo>
                  <a:cubicBezTo>
                    <a:pt x="259" y="85"/>
                    <a:pt x="257" y="87"/>
                    <a:pt x="254" y="85"/>
                  </a:cubicBezTo>
                  <a:cubicBezTo>
                    <a:pt x="253" y="84"/>
                    <a:pt x="253" y="83"/>
                    <a:pt x="252" y="82"/>
                  </a:cubicBezTo>
                  <a:cubicBezTo>
                    <a:pt x="251" y="80"/>
                    <a:pt x="250" y="79"/>
                    <a:pt x="250" y="77"/>
                  </a:cubicBezTo>
                  <a:cubicBezTo>
                    <a:pt x="250" y="75"/>
                    <a:pt x="249" y="74"/>
                    <a:pt x="248" y="72"/>
                  </a:cubicBezTo>
                  <a:cubicBezTo>
                    <a:pt x="247" y="71"/>
                    <a:pt x="247" y="71"/>
                    <a:pt x="246" y="70"/>
                  </a:cubicBezTo>
                  <a:cubicBezTo>
                    <a:pt x="246" y="70"/>
                    <a:pt x="245" y="68"/>
                    <a:pt x="245" y="68"/>
                  </a:cubicBezTo>
                  <a:cubicBezTo>
                    <a:pt x="244" y="67"/>
                    <a:pt x="243" y="67"/>
                    <a:pt x="242" y="66"/>
                  </a:cubicBezTo>
                  <a:cubicBezTo>
                    <a:pt x="241" y="65"/>
                    <a:pt x="240" y="64"/>
                    <a:pt x="238" y="63"/>
                  </a:cubicBezTo>
                  <a:cubicBezTo>
                    <a:pt x="236" y="62"/>
                    <a:pt x="234" y="62"/>
                    <a:pt x="233" y="59"/>
                  </a:cubicBezTo>
                  <a:cubicBezTo>
                    <a:pt x="233" y="58"/>
                    <a:pt x="233" y="56"/>
                    <a:pt x="234" y="55"/>
                  </a:cubicBezTo>
                  <a:cubicBezTo>
                    <a:pt x="235" y="53"/>
                    <a:pt x="237" y="52"/>
                    <a:pt x="238" y="51"/>
                  </a:cubicBezTo>
                  <a:cubicBezTo>
                    <a:pt x="239" y="50"/>
                    <a:pt x="240" y="49"/>
                    <a:pt x="241" y="48"/>
                  </a:cubicBezTo>
                  <a:cubicBezTo>
                    <a:pt x="241" y="47"/>
                    <a:pt x="242" y="46"/>
                    <a:pt x="243" y="45"/>
                  </a:cubicBezTo>
                  <a:cubicBezTo>
                    <a:pt x="243" y="44"/>
                    <a:pt x="243" y="42"/>
                    <a:pt x="243" y="42"/>
                  </a:cubicBezTo>
                  <a:cubicBezTo>
                    <a:pt x="242" y="40"/>
                    <a:pt x="243" y="42"/>
                    <a:pt x="241" y="41"/>
                  </a:cubicBezTo>
                  <a:cubicBezTo>
                    <a:pt x="240" y="40"/>
                    <a:pt x="240" y="40"/>
                    <a:pt x="238" y="40"/>
                  </a:cubicBezTo>
                  <a:cubicBezTo>
                    <a:pt x="236" y="39"/>
                    <a:pt x="234" y="40"/>
                    <a:pt x="232" y="40"/>
                  </a:cubicBezTo>
                  <a:cubicBezTo>
                    <a:pt x="230" y="40"/>
                    <a:pt x="229" y="40"/>
                    <a:pt x="227" y="39"/>
                  </a:cubicBezTo>
                  <a:cubicBezTo>
                    <a:pt x="227" y="39"/>
                    <a:pt x="225" y="39"/>
                    <a:pt x="225" y="39"/>
                  </a:cubicBezTo>
                  <a:cubicBezTo>
                    <a:pt x="224" y="38"/>
                    <a:pt x="223" y="37"/>
                    <a:pt x="223" y="37"/>
                  </a:cubicBezTo>
                  <a:cubicBezTo>
                    <a:pt x="222" y="36"/>
                    <a:pt x="221" y="37"/>
                    <a:pt x="220" y="36"/>
                  </a:cubicBezTo>
                  <a:cubicBezTo>
                    <a:pt x="219" y="36"/>
                    <a:pt x="219" y="35"/>
                    <a:pt x="218" y="35"/>
                  </a:cubicBezTo>
                  <a:cubicBezTo>
                    <a:pt x="216" y="34"/>
                    <a:pt x="215" y="34"/>
                    <a:pt x="213" y="33"/>
                  </a:cubicBezTo>
                  <a:cubicBezTo>
                    <a:pt x="212" y="33"/>
                    <a:pt x="211" y="32"/>
                    <a:pt x="209" y="32"/>
                  </a:cubicBezTo>
                  <a:cubicBezTo>
                    <a:pt x="207" y="31"/>
                    <a:pt x="204" y="29"/>
                    <a:pt x="202" y="28"/>
                  </a:cubicBezTo>
                  <a:cubicBezTo>
                    <a:pt x="200" y="28"/>
                    <a:pt x="198" y="26"/>
                    <a:pt x="196" y="26"/>
                  </a:cubicBezTo>
                  <a:cubicBezTo>
                    <a:pt x="195" y="26"/>
                    <a:pt x="194" y="26"/>
                    <a:pt x="193" y="26"/>
                  </a:cubicBezTo>
                  <a:cubicBezTo>
                    <a:pt x="191" y="25"/>
                    <a:pt x="190" y="22"/>
                    <a:pt x="189" y="20"/>
                  </a:cubicBezTo>
                  <a:cubicBezTo>
                    <a:pt x="187" y="18"/>
                    <a:pt x="186" y="16"/>
                    <a:pt x="184" y="13"/>
                  </a:cubicBezTo>
                  <a:cubicBezTo>
                    <a:pt x="184" y="13"/>
                    <a:pt x="183" y="12"/>
                    <a:pt x="183" y="12"/>
                  </a:cubicBezTo>
                  <a:cubicBezTo>
                    <a:pt x="183" y="11"/>
                    <a:pt x="183" y="11"/>
                    <a:pt x="182" y="11"/>
                  </a:cubicBezTo>
                  <a:cubicBezTo>
                    <a:pt x="182" y="10"/>
                    <a:pt x="181" y="10"/>
                    <a:pt x="181" y="10"/>
                  </a:cubicBezTo>
                  <a:cubicBezTo>
                    <a:pt x="180" y="8"/>
                    <a:pt x="180" y="8"/>
                    <a:pt x="177" y="8"/>
                  </a:cubicBezTo>
                  <a:cubicBezTo>
                    <a:pt x="173" y="8"/>
                    <a:pt x="170" y="8"/>
                    <a:pt x="166" y="8"/>
                  </a:cubicBezTo>
                  <a:cubicBezTo>
                    <a:pt x="164" y="8"/>
                    <a:pt x="161" y="8"/>
                    <a:pt x="159" y="8"/>
                  </a:cubicBezTo>
                  <a:cubicBezTo>
                    <a:pt x="160" y="8"/>
                    <a:pt x="160" y="8"/>
                    <a:pt x="160" y="9"/>
                  </a:cubicBezTo>
                  <a:cubicBezTo>
                    <a:pt x="161" y="11"/>
                    <a:pt x="158" y="12"/>
                    <a:pt x="157" y="13"/>
                  </a:cubicBezTo>
                  <a:cubicBezTo>
                    <a:pt x="157" y="14"/>
                    <a:pt x="157" y="17"/>
                    <a:pt x="158" y="18"/>
                  </a:cubicBezTo>
                  <a:cubicBezTo>
                    <a:pt x="156" y="16"/>
                    <a:pt x="154" y="19"/>
                    <a:pt x="153" y="20"/>
                  </a:cubicBezTo>
                  <a:cubicBezTo>
                    <a:pt x="152" y="21"/>
                    <a:pt x="151" y="22"/>
                    <a:pt x="150" y="22"/>
                  </a:cubicBezTo>
                  <a:cubicBezTo>
                    <a:pt x="149" y="22"/>
                    <a:pt x="146" y="22"/>
                    <a:pt x="146" y="22"/>
                  </a:cubicBezTo>
                  <a:cubicBezTo>
                    <a:pt x="145" y="21"/>
                    <a:pt x="145" y="20"/>
                    <a:pt x="145" y="19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4" y="17"/>
                    <a:pt x="142" y="16"/>
                    <a:pt x="141" y="16"/>
                  </a:cubicBezTo>
                  <a:cubicBezTo>
                    <a:pt x="139" y="15"/>
                    <a:pt x="139" y="15"/>
                    <a:pt x="140" y="13"/>
                  </a:cubicBezTo>
                  <a:cubicBezTo>
                    <a:pt x="141" y="12"/>
                    <a:pt x="141" y="11"/>
                    <a:pt x="142" y="10"/>
                  </a:cubicBezTo>
                  <a:cubicBezTo>
                    <a:pt x="142" y="8"/>
                    <a:pt x="139" y="4"/>
                    <a:pt x="137" y="4"/>
                  </a:cubicBezTo>
                  <a:cubicBezTo>
                    <a:pt x="136" y="3"/>
                    <a:pt x="135" y="2"/>
                    <a:pt x="134" y="1"/>
                  </a:cubicBezTo>
                  <a:cubicBezTo>
                    <a:pt x="133" y="0"/>
                    <a:pt x="133" y="0"/>
                    <a:pt x="131" y="1"/>
                  </a:cubicBezTo>
                  <a:cubicBezTo>
                    <a:pt x="130" y="1"/>
                    <a:pt x="129" y="3"/>
                    <a:pt x="128" y="4"/>
                  </a:cubicBezTo>
                  <a:cubicBezTo>
                    <a:pt x="126" y="5"/>
                    <a:pt x="123" y="6"/>
                    <a:pt x="121" y="6"/>
                  </a:cubicBezTo>
                  <a:cubicBezTo>
                    <a:pt x="122" y="7"/>
                    <a:pt x="124" y="8"/>
                    <a:pt x="126" y="9"/>
                  </a:cubicBezTo>
                  <a:cubicBezTo>
                    <a:pt x="126" y="10"/>
                    <a:pt x="130" y="12"/>
                    <a:pt x="129" y="13"/>
                  </a:cubicBezTo>
                  <a:cubicBezTo>
                    <a:pt x="129" y="14"/>
                    <a:pt x="128" y="14"/>
                    <a:pt x="127" y="15"/>
                  </a:cubicBezTo>
                  <a:cubicBezTo>
                    <a:pt x="125" y="16"/>
                    <a:pt x="123" y="17"/>
                    <a:pt x="121" y="17"/>
                  </a:cubicBezTo>
                  <a:cubicBezTo>
                    <a:pt x="120" y="18"/>
                    <a:pt x="118" y="19"/>
                    <a:pt x="117" y="20"/>
                  </a:cubicBezTo>
                  <a:cubicBezTo>
                    <a:pt x="116" y="20"/>
                    <a:pt x="116" y="21"/>
                    <a:pt x="115" y="20"/>
                  </a:cubicBezTo>
                  <a:cubicBezTo>
                    <a:pt x="114" y="19"/>
                    <a:pt x="113" y="21"/>
                    <a:pt x="112" y="21"/>
                  </a:cubicBezTo>
                  <a:cubicBezTo>
                    <a:pt x="111" y="22"/>
                    <a:pt x="110" y="21"/>
                    <a:pt x="109" y="21"/>
                  </a:cubicBezTo>
                  <a:cubicBezTo>
                    <a:pt x="108" y="21"/>
                    <a:pt x="105" y="22"/>
                    <a:pt x="105" y="23"/>
                  </a:cubicBezTo>
                  <a:cubicBezTo>
                    <a:pt x="105" y="23"/>
                    <a:pt x="105" y="24"/>
                    <a:pt x="105" y="24"/>
                  </a:cubicBezTo>
                  <a:cubicBezTo>
                    <a:pt x="104" y="25"/>
                    <a:pt x="103" y="26"/>
                    <a:pt x="102" y="26"/>
                  </a:cubicBezTo>
                  <a:cubicBezTo>
                    <a:pt x="101" y="27"/>
                    <a:pt x="101" y="28"/>
                    <a:pt x="100" y="28"/>
                  </a:cubicBezTo>
                  <a:cubicBezTo>
                    <a:pt x="99" y="28"/>
                    <a:pt x="98" y="28"/>
                    <a:pt x="97" y="28"/>
                  </a:cubicBezTo>
                  <a:cubicBezTo>
                    <a:pt x="96" y="28"/>
                    <a:pt x="94" y="29"/>
                    <a:pt x="93" y="29"/>
                  </a:cubicBezTo>
                  <a:cubicBezTo>
                    <a:pt x="91" y="29"/>
                    <a:pt x="90" y="30"/>
                    <a:pt x="88" y="30"/>
                  </a:cubicBezTo>
                  <a:cubicBezTo>
                    <a:pt x="87" y="30"/>
                    <a:pt x="87" y="30"/>
                    <a:pt x="86" y="30"/>
                  </a:cubicBezTo>
                  <a:cubicBezTo>
                    <a:pt x="85" y="30"/>
                    <a:pt x="84" y="31"/>
                    <a:pt x="83" y="32"/>
                  </a:cubicBezTo>
                  <a:cubicBezTo>
                    <a:pt x="83" y="32"/>
                    <a:pt x="82" y="32"/>
                    <a:pt x="82" y="33"/>
                  </a:cubicBezTo>
                  <a:cubicBezTo>
                    <a:pt x="81" y="34"/>
                    <a:pt x="81" y="36"/>
                    <a:pt x="81" y="37"/>
                  </a:cubicBezTo>
                  <a:cubicBezTo>
                    <a:pt x="81" y="38"/>
                    <a:pt x="82" y="40"/>
                    <a:pt x="81" y="40"/>
                  </a:cubicBezTo>
                  <a:cubicBezTo>
                    <a:pt x="80" y="41"/>
                    <a:pt x="79" y="41"/>
                    <a:pt x="78" y="41"/>
                  </a:cubicBezTo>
                  <a:cubicBezTo>
                    <a:pt x="78" y="41"/>
                    <a:pt x="76" y="41"/>
                    <a:pt x="75" y="41"/>
                  </a:cubicBezTo>
                  <a:cubicBezTo>
                    <a:pt x="75" y="40"/>
                    <a:pt x="75" y="38"/>
                    <a:pt x="74" y="38"/>
                  </a:cubicBezTo>
                  <a:cubicBezTo>
                    <a:pt x="74" y="37"/>
                    <a:pt x="72" y="36"/>
                    <a:pt x="71" y="38"/>
                  </a:cubicBezTo>
                  <a:cubicBezTo>
                    <a:pt x="71" y="38"/>
                    <a:pt x="71" y="39"/>
                    <a:pt x="71" y="40"/>
                  </a:cubicBezTo>
                  <a:cubicBezTo>
                    <a:pt x="71" y="40"/>
                    <a:pt x="71" y="40"/>
                    <a:pt x="71" y="41"/>
                  </a:cubicBezTo>
                  <a:cubicBezTo>
                    <a:pt x="70" y="42"/>
                    <a:pt x="70" y="43"/>
                    <a:pt x="70" y="44"/>
                  </a:cubicBezTo>
                  <a:cubicBezTo>
                    <a:pt x="68" y="44"/>
                    <a:pt x="66" y="41"/>
                    <a:pt x="65" y="43"/>
                  </a:cubicBezTo>
                  <a:cubicBezTo>
                    <a:pt x="64" y="43"/>
                    <a:pt x="64" y="44"/>
                    <a:pt x="64" y="45"/>
                  </a:cubicBezTo>
                  <a:cubicBezTo>
                    <a:pt x="64" y="46"/>
                    <a:pt x="63" y="46"/>
                    <a:pt x="63" y="47"/>
                  </a:cubicBezTo>
                  <a:cubicBezTo>
                    <a:pt x="63" y="47"/>
                    <a:pt x="62" y="48"/>
                    <a:pt x="61" y="48"/>
                  </a:cubicBezTo>
                  <a:cubicBezTo>
                    <a:pt x="61" y="48"/>
                    <a:pt x="61" y="49"/>
                    <a:pt x="61" y="49"/>
                  </a:cubicBezTo>
                  <a:cubicBezTo>
                    <a:pt x="61" y="49"/>
                    <a:pt x="60" y="49"/>
                    <a:pt x="60" y="49"/>
                  </a:cubicBezTo>
                  <a:cubicBezTo>
                    <a:pt x="57" y="49"/>
                    <a:pt x="57" y="49"/>
                    <a:pt x="55" y="51"/>
                  </a:cubicBezTo>
                  <a:cubicBezTo>
                    <a:pt x="55" y="52"/>
                    <a:pt x="54" y="53"/>
                    <a:pt x="53" y="54"/>
                  </a:cubicBezTo>
                  <a:cubicBezTo>
                    <a:pt x="52" y="55"/>
                    <a:pt x="51" y="55"/>
                    <a:pt x="51" y="56"/>
                  </a:cubicBezTo>
                  <a:cubicBezTo>
                    <a:pt x="50" y="57"/>
                    <a:pt x="50" y="58"/>
                    <a:pt x="49" y="57"/>
                  </a:cubicBezTo>
                  <a:cubicBezTo>
                    <a:pt x="49" y="57"/>
                    <a:pt x="48" y="56"/>
                    <a:pt x="48" y="56"/>
                  </a:cubicBezTo>
                  <a:cubicBezTo>
                    <a:pt x="46" y="55"/>
                    <a:pt x="45" y="56"/>
                    <a:pt x="44" y="56"/>
                  </a:cubicBezTo>
                  <a:cubicBezTo>
                    <a:pt x="43" y="56"/>
                    <a:pt x="43" y="55"/>
                    <a:pt x="42" y="55"/>
                  </a:cubicBezTo>
                  <a:cubicBezTo>
                    <a:pt x="42" y="55"/>
                    <a:pt x="40" y="55"/>
                    <a:pt x="39" y="55"/>
                  </a:cubicBezTo>
                  <a:cubicBezTo>
                    <a:pt x="39" y="55"/>
                    <a:pt x="39" y="57"/>
                    <a:pt x="38" y="57"/>
                  </a:cubicBezTo>
                  <a:cubicBezTo>
                    <a:pt x="37" y="59"/>
                    <a:pt x="36" y="59"/>
                    <a:pt x="34" y="59"/>
                  </a:cubicBezTo>
                  <a:cubicBezTo>
                    <a:pt x="33" y="59"/>
                    <a:pt x="33" y="60"/>
                    <a:pt x="32" y="59"/>
                  </a:cubicBezTo>
                  <a:cubicBezTo>
                    <a:pt x="31" y="59"/>
                    <a:pt x="31" y="58"/>
                    <a:pt x="30" y="58"/>
                  </a:cubicBezTo>
                  <a:cubicBezTo>
                    <a:pt x="29" y="57"/>
                    <a:pt x="29" y="59"/>
                    <a:pt x="28" y="59"/>
                  </a:cubicBezTo>
                  <a:cubicBezTo>
                    <a:pt x="27" y="60"/>
                    <a:pt x="26" y="60"/>
                    <a:pt x="26" y="61"/>
                  </a:cubicBezTo>
                  <a:cubicBezTo>
                    <a:pt x="24" y="61"/>
                    <a:pt x="23" y="63"/>
                    <a:pt x="22" y="64"/>
                  </a:cubicBezTo>
                  <a:cubicBezTo>
                    <a:pt x="20" y="65"/>
                    <a:pt x="18" y="66"/>
                    <a:pt x="17" y="68"/>
                  </a:cubicBezTo>
                  <a:cubicBezTo>
                    <a:pt x="16" y="69"/>
                    <a:pt x="15" y="70"/>
                    <a:pt x="15" y="70"/>
                  </a:cubicBezTo>
                  <a:cubicBezTo>
                    <a:pt x="15" y="71"/>
                    <a:pt x="15" y="72"/>
                    <a:pt x="15" y="73"/>
                  </a:cubicBezTo>
                  <a:cubicBezTo>
                    <a:pt x="15" y="74"/>
                    <a:pt x="14" y="74"/>
                    <a:pt x="13" y="76"/>
                  </a:cubicBezTo>
                  <a:cubicBezTo>
                    <a:pt x="13" y="77"/>
                    <a:pt x="13" y="78"/>
                    <a:pt x="12" y="79"/>
                  </a:cubicBezTo>
                  <a:cubicBezTo>
                    <a:pt x="12" y="78"/>
                    <a:pt x="12" y="78"/>
                    <a:pt x="12" y="77"/>
                  </a:cubicBezTo>
                  <a:cubicBezTo>
                    <a:pt x="11" y="76"/>
                    <a:pt x="11" y="77"/>
                    <a:pt x="11" y="76"/>
                  </a:cubicBezTo>
                  <a:cubicBezTo>
                    <a:pt x="11" y="76"/>
                    <a:pt x="11" y="75"/>
                    <a:pt x="11" y="75"/>
                  </a:cubicBezTo>
                  <a:cubicBezTo>
                    <a:pt x="10" y="74"/>
                    <a:pt x="9" y="74"/>
                    <a:pt x="9" y="73"/>
                  </a:cubicBezTo>
                  <a:cubicBezTo>
                    <a:pt x="8" y="72"/>
                    <a:pt x="8" y="71"/>
                    <a:pt x="8" y="70"/>
                  </a:cubicBezTo>
                  <a:cubicBezTo>
                    <a:pt x="8" y="68"/>
                    <a:pt x="7" y="64"/>
                    <a:pt x="5" y="65"/>
                  </a:cubicBezTo>
                  <a:cubicBezTo>
                    <a:pt x="3" y="66"/>
                    <a:pt x="3" y="66"/>
                    <a:pt x="2" y="67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9"/>
                    <a:pt x="2" y="69"/>
                    <a:pt x="1" y="69"/>
                  </a:cubicBezTo>
                  <a:cubicBezTo>
                    <a:pt x="0" y="73"/>
                    <a:pt x="6" y="73"/>
                    <a:pt x="6" y="76"/>
                  </a:cubicBezTo>
                  <a:cubicBezTo>
                    <a:pt x="7" y="78"/>
                    <a:pt x="7" y="80"/>
                    <a:pt x="7" y="81"/>
                  </a:cubicBezTo>
                  <a:cubicBezTo>
                    <a:pt x="7" y="83"/>
                    <a:pt x="7" y="84"/>
                    <a:pt x="8" y="86"/>
                  </a:cubicBezTo>
                  <a:cubicBezTo>
                    <a:pt x="8" y="88"/>
                    <a:pt x="9" y="87"/>
                    <a:pt x="11" y="88"/>
                  </a:cubicBezTo>
                  <a:cubicBezTo>
                    <a:pt x="13" y="89"/>
                    <a:pt x="12" y="91"/>
                    <a:pt x="14" y="92"/>
                  </a:cubicBezTo>
                  <a:cubicBezTo>
                    <a:pt x="14" y="93"/>
                    <a:pt x="16" y="93"/>
                    <a:pt x="17" y="94"/>
                  </a:cubicBezTo>
                  <a:cubicBezTo>
                    <a:pt x="18" y="95"/>
                    <a:pt x="18" y="96"/>
                    <a:pt x="20" y="96"/>
                  </a:cubicBezTo>
                  <a:cubicBezTo>
                    <a:pt x="21" y="97"/>
                    <a:pt x="23" y="97"/>
                    <a:pt x="24" y="99"/>
                  </a:cubicBezTo>
                  <a:cubicBezTo>
                    <a:pt x="24" y="100"/>
                    <a:pt x="23" y="101"/>
                    <a:pt x="23" y="102"/>
                  </a:cubicBezTo>
                  <a:cubicBezTo>
                    <a:pt x="23" y="103"/>
                    <a:pt x="23" y="104"/>
                    <a:pt x="23" y="105"/>
                  </a:cubicBezTo>
                  <a:cubicBezTo>
                    <a:pt x="23" y="106"/>
                    <a:pt x="22" y="107"/>
                    <a:pt x="21" y="108"/>
                  </a:cubicBezTo>
                  <a:cubicBezTo>
                    <a:pt x="21" y="108"/>
                    <a:pt x="20" y="109"/>
                    <a:pt x="20" y="110"/>
                  </a:cubicBezTo>
                  <a:cubicBezTo>
                    <a:pt x="19" y="111"/>
                    <a:pt x="18" y="112"/>
                    <a:pt x="18" y="113"/>
                  </a:cubicBezTo>
                  <a:cubicBezTo>
                    <a:pt x="17" y="114"/>
                    <a:pt x="17" y="116"/>
                    <a:pt x="18" y="117"/>
                  </a:cubicBezTo>
                  <a:cubicBezTo>
                    <a:pt x="20" y="118"/>
                    <a:pt x="21" y="119"/>
                    <a:pt x="22" y="120"/>
                  </a:cubicBezTo>
                  <a:cubicBezTo>
                    <a:pt x="23" y="121"/>
                    <a:pt x="24" y="123"/>
                    <a:pt x="24" y="124"/>
                  </a:cubicBezTo>
                  <a:cubicBezTo>
                    <a:pt x="25" y="126"/>
                    <a:pt x="26" y="128"/>
                    <a:pt x="27" y="130"/>
                  </a:cubicBezTo>
                  <a:cubicBezTo>
                    <a:pt x="27" y="131"/>
                    <a:pt x="27" y="131"/>
                    <a:pt x="28" y="132"/>
                  </a:cubicBezTo>
                  <a:cubicBezTo>
                    <a:pt x="28" y="133"/>
                    <a:pt x="28" y="136"/>
                    <a:pt x="29" y="137"/>
                  </a:cubicBezTo>
                  <a:cubicBezTo>
                    <a:pt x="29" y="139"/>
                    <a:pt x="29" y="139"/>
                    <a:pt x="30" y="140"/>
                  </a:cubicBezTo>
                  <a:cubicBezTo>
                    <a:pt x="31" y="141"/>
                    <a:pt x="32" y="142"/>
                    <a:pt x="33" y="144"/>
                  </a:cubicBezTo>
                  <a:cubicBezTo>
                    <a:pt x="33" y="145"/>
                    <a:pt x="33" y="145"/>
                    <a:pt x="34" y="145"/>
                  </a:cubicBezTo>
                  <a:cubicBezTo>
                    <a:pt x="34" y="146"/>
                    <a:pt x="36" y="146"/>
                    <a:pt x="37" y="147"/>
                  </a:cubicBezTo>
                  <a:cubicBezTo>
                    <a:pt x="38" y="147"/>
                    <a:pt x="38" y="148"/>
                    <a:pt x="40" y="148"/>
                  </a:cubicBezTo>
                  <a:cubicBezTo>
                    <a:pt x="40" y="148"/>
                    <a:pt x="42" y="147"/>
                    <a:pt x="42" y="147"/>
                  </a:cubicBezTo>
                  <a:cubicBezTo>
                    <a:pt x="43" y="148"/>
                    <a:pt x="43" y="148"/>
                    <a:pt x="44" y="148"/>
                  </a:cubicBezTo>
                  <a:cubicBezTo>
                    <a:pt x="45" y="150"/>
                    <a:pt x="47" y="151"/>
                    <a:pt x="48" y="152"/>
                  </a:cubicBezTo>
                  <a:cubicBezTo>
                    <a:pt x="49" y="153"/>
                    <a:pt x="50" y="155"/>
                    <a:pt x="51" y="156"/>
                  </a:cubicBezTo>
                  <a:cubicBezTo>
                    <a:pt x="53" y="159"/>
                    <a:pt x="54" y="161"/>
                    <a:pt x="54" y="164"/>
                  </a:cubicBezTo>
                  <a:cubicBezTo>
                    <a:pt x="54" y="164"/>
                    <a:pt x="54" y="164"/>
                    <a:pt x="54" y="165"/>
                  </a:cubicBezTo>
                  <a:cubicBezTo>
                    <a:pt x="55" y="166"/>
                    <a:pt x="58" y="166"/>
                    <a:pt x="59" y="167"/>
                  </a:cubicBezTo>
                  <a:cubicBezTo>
                    <a:pt x="60" y="167"/>
                    <a:pt x="62" y="168"/>
                    <a:pt x="63" y="169"/>
                  </a:cubicBezTo>
                  <a:cubicBezTo>
                    <a:pt x="63" y="169"/>
                    <a:pt x="63" y="169"/>
                    <a:pt x="63" y="170"/>
                  </a:cubicBezTo>
                  <a:cubicBezTo>
                    <a:pt x="64" y="170"/>
                    <a:pt x="65" y="171"/>
                    <a:pt x="66" y="171"/>
                  </a:cubicBezTo>
                  <a:cubicBezTo>
                    <a:pt x="66" y="172"/>
                    <a:pt x="67" y="173"/>
                    <a:pt x="67" y="174"/>
                  </a:cubicBezTo>
                  <a:cubicBezTo>
                    <a:pt x="68" y="175"/>
                    <a:pt x="69" y="176"/>
                    <a:pt x="69" y="177"/>
                  </a:cubicBezTo>
                  <a:cubicBezTo>
                    <a:pt x="71" y="183"/>
                    <a:pt x="77" y="176"/>
                    <a:pt x="79" y="181"/>
                  </a:cubicBezTo>
                  <a:cubicBezTo>
                    <a:pt x="79" y="182"/>
                    <a:pt x="79" y="183"/>
                    <a:pt x="80" y="184"/>
                  </a:cubicBezTo>
                  <a:cubicBezTo>
                    <a:pt x="81" y="184"/>
                    <a:pt x="82" y="185"/>
                    <a:pt x="83" y="186"/>
                  </a:cubicBezTo>
                  <a:cubicBezTo>
                    <a:pt x="84" y="187"/>
                    <a:pt x="85" y="188"/>
                    <a:pt x="86" y="188"/>
                  </a:cubicBezTo>
                  <a:cubicBezTo>
                    <a:pt x="86" y="189"/>
                    <a:pt x="87" y="189"/>
                    <a:pt x="88" y="190"/>
                  </a:cubicBezTo>
                  <a:cubicBezTo>
                    <a:pt x="88" y="190"/>
                    <a:pt x="89" y="192"/>
                    <a:pt x="89" y="193"/>
                  </a:cubicBezTo>
                  <a:cubicBezTo>
                    <a:pt x="89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1" y="194"/>
                  </a:cubicBezTo>
                  <a:cubicBezTo>
                    <a:pt x="92" y="195"/>
                    <a:pt x="94" y="195"/>
                    <a:pt x="95" y="196"/>
                  </a:cubicBezTo>
                  <a:cubicBezTo>
                    <a:pt x="96" y="197"/>
                    <a:pt x="97" y="198"/>
                    <a:pt x="97" y="198"/>
                  </a:cubicBezTo>
                  <a:cubicBezTo>
                    <a:pt x="98" y="199"/>
                    <a:pt x="99" y="200"/>
                    <a:pt x="99" y="201"/>
                  </a:cubicBezTo>
                  <a:cubicBezTo>
                    <a:pt x="101" y="201"/>
                    <a:pt x="101" y="203"/>
                    <a:pt x="101" y="204"/>
                  </a:cubicBezTo>
                  <a:cubicBezTo>
                    <a:pt x="101" y="205"/>
                    <a:pt x="101" y="206"/>
                    <a:pt x="102" y="207"/>
                  </a:cubicBezTo>
                  <a:cubicBezTo>
                    <a:pt x="102" y="208"/>
                    <a:pt x="104" y="209"/>
                    <a:pt x="104" y="209"/>
                  </a:cubicBezTo>
                  <a:cubicBezTo>
                    <a:pt x="105" y="210"/>
                    <a:pt x="106" y="209"/>
                    <a:pt x="107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9" y="210"/>
                    <a:pt x="110" y="210"/>
                    <a:pt x="111" y="210"/>
                  </a:cubicBezTo>
                  <a:cubicBezTo>
                    <a:pt x="112" y="210"/>
                    <a:pt x="113" y="210"/>
                    <a:pt x="114" y="210"/>
                  </a:cubicBezTo>
                  <a:cubicBezTo>
                    <a:pt x="115" y="210"/>
                    <a:pt x="116" y="209"/>
                    <a:pt x="117" y="209"/>
                  </a:cubicBezTo>
                  <a:cubicBezTo>
                    <a:pt x="118" y="209"/>
                    <a:pt x="119" y="209"/>
                    <a:pt x="119" y="209"/>
                  </a:cubicBezTo>
                  <a:cubicBezTo>
                    <a:pt x="120" y="208"/>
                    <a:pt x="120" y="204"/>
                    <a:pt x="123" y="204"/>
                  </a:cubicBezTo>
                  <a:cubicBezTo>
                    <a:pt x="124" y="204"/>
                    <a:pt x="125" y="205"/>
                    <a:pt x="126" y="206"/>
                  </a:cubicBezTo>
                  <a:cubicBezTo>
                    <a:pt x="126" y="207"/>
                    <a:pt x="126" y="207"/>
                    <a:pt x="127" y="208"/>
                  </a:cubicBezTo>
                  <a:cubicBezTo>
                    <a:pt x="127" y="208"/>
                    <a:pt x="128" y="208"/>
                    <a:pt x="128" y="209"/>
                  </a:cubicBezTo>
                  <a:cubicBezTo>
                    <a:pt x="128" y="209"/>
                    <a:pt x="128" y="209"/>
                    <a:pt x="129" y="209"/>
                  </a:cubicBezTo>
                  <a:cubicBezTo>
                    <a:pt x="129" y="210"/>
                    <a:pt x="130" y="209"/>
                    <a:pt x="131" y="209"/>
                  </a:cubicBezTo>
                  <a:cubicBezTo>
                    <a:pt x="131" y="209"/>
                    <a:pt x="132" y="209"/>
                    <a:pt x="133" y="209"/>
                  </a:cubicBezTo>
                  <a:cubicBezTo>
                    <a:pt x="134" y="209"/>
                    <a:pt x="135" y="208"/>
                    <a:pt x="136" y="207"/>
                  </a:cubicBezTo>
                  <a:cubicBezTo>
                    <a:pt x="138" y="205"/>
                    <a:pt x="138" y="202"/>
                    <a:pt x="139" y="199"/>
                  </a:cubicBezTo>
                  <a:cubicBezTo>
                    <a:pt x="139" y="197"/>
                    <a:pt x="141" y="197"/>
                    <a:pt x="141" y="195"/>
                  </a:cubicBezTo>
                  <a:cubicBezTo>
                    <a:pt x="142" y="195"/>
                    <a:pt x="142" y="193"/>
                    <a:pt x="142" y="193"/>
                  </a:cubicBezTo>
                  <a:cubicBezTo>
                    <a:pt x="143" y="192"/>
                    <a:pt x="145" y="192"/>
                    <a:pt x="147" y="193"/>
                  </a:cubicBezTo>
                  <a:cubicBezTo>
                    <a:pt x="148" y="194"/>
                    <a:pt x="150" y="194"/>
                    <a:pt x="151" y="192"/>
                  </a:cubicBezTo>
                  <a:cubicBezTo>
                    <a:pt x="151" y="191"/>
                    <a:pt x="150" y="190"/>
                    <a:pt x="150" y="188"/>
                  </a:cubicBezTo>
                  <a:cubicBezTo>
                    <a:pt x="149" y="186"/>
                    <a:pt x="150" y="184"/>
                    <a:pt x="150" y="183"/>
                  </a:cubicBezTo>
                  <a:cubicBezTo>
                    <a:pt x="150" y="180"/>
                    <a:pt x="152" y="178"/>
                    <a:pt x="153" y="176"/>
                  </a:cubicBezTo>
                  <a:cubicBezTo>
                    <a:pt x="153" y="175"/>
                    <a:pt x="153" y="175"/>
                    <a:pt x="154" y="175"/>
                  </a:cubicBezTo>
                  <a:cubicBezTo>
                    <a:pt x="155" y="175"/>
                    <a:pt x="156" y="175"/>
                    <a:pt x="157" y="175"/>
                  </a:cubicBezTo>
                  <a:cubicBezTo>
                    <a:pt x="159" y="175"/>
                    <a:pt x="158" y="177"/>
                    <a:pt x="159" y="178"/>
                  </a:cubicBezTo>
                  <a:cubicBezTo>
                    <a:pt x="161" y="180"/>
                    <a:pt x="163" y="180"/>
                    <a:pt x="165" y="179"/>
                  </a:cubicBezTo>
                  <a:cubicBezTo>
                    <a:pt x="167" y="179"/>
                    <a:pt x="166" y="177"/>
                    <a:pt x="166" y="176"/>
                  </a:cubicBezTo>
                  <a:cubicBezTo>
                    <a:pt x="167" y="175"/>
                    <a:pt x="171" y="175"/>
                    <a:pt x="171" y="177"/>
                  </a:cubicBezTo>
                  <a:cubicBezTo>
                    <a:pt x="171" y="177"/>
                    <a:pt x="172" y="178"/>
                    <a:pt x="172" y="178"/>
                  </a:cubicBezTo>
                  <a:cubicBezTo>
                    <a:pt x="174" y="179"/>
                    <a:pt x="175" y="179"/>
                    <a:pt x="177" y="180"/>
                  </a:cubicBezTo>
                  <a:cubicBezTo>
                    <a:pt x="179" y="181"/>
                    <a:pt x="183" y="182"/>
                    <a:pt x="185" y="184"/>
                  </a:cubicBezTo>
                  <a:cubicBezTo>
                    <a:pt x="186" y="185"/>
                    <a:pt x="186" y="186"/>
                    <a:pt x="187" y="187"/>
                  </a:cubicBezTo>
                  <a:cubicBezTo>
                    <a:pt x="188" y="187"/>
                    <a:pt x="190" y="187"/>
                    <a:pt x="192" y="187"/>
                  </a:cubicBezTo>
                  <a:cubicBezTo>
                    <a:pt x="192" y="187"/>
                    <a:pt x="193" y="187"/>
                    <a:pt x="194" y="187"/>
                  </a:cubicBezTo>
                  <a:cubicBezTo>
                    <a:pt x="195" y="186"/>
                    <a:pt x="195" y="186"/>
                    <a:pt x="196" y="186"/>
                  </a:cubicBezTo>
                  <a:cubicBezTo>
                    <a:pt x="198" y="185"/>
                    <a:pt x="199" y="186"/>
                    <a:pt x="200" y="188"/>
                  </a:cubicBezTo>
                  <a:cubicBezTo>
                    <a:pt x="201" y="189"/>
                    <a:pt x="200" y="191"/>
                    <a:pt x="202" y="192"/>
                  </a:cubicBezTo>
                  <a:cubicBezTo>
                    <a:pt x="204" y="193"/>
                    <a:pt x="207" y="194"/>
                    <a:pt x="210" y="195"/>
                  </a:cubicBezTo>
                  <a:cubicBezTo>
                    <a:pt x="212" y="196"/>
                    <a:pt x="213" y="196"/>
                    <a:pt x="215" y="196"/>
                  </a:cubicBezTo>
                  <a:cubicBezTo>
                    <a:pt x="218" y="196"/>
                    <a:pt x="221" y="197"/>
                    <a:pt x="224" y="196"/>
                  </a:cubicBezTo>
                  <a:cubicBezTo>
                    <a:pt x="225" y="196"/>
                    <a:pt x="227" y="195"/>
                    <a:pt x="228" y="194"/>
                  </a:cubicBezTo>
                  <a:cubicBezTo>
                    <a:pt x="229" y="192"/>
                    <a:pt x="228" y="190"/>
                    <a:pt x="230" y="190"/>
                  </a:cubicBezTo>
                  <a:cubicBezTo>
                    <a:pt x="232" y="189"/>
                    <a:pt x="233" y="190"/>
                    <a:pt x="234" y="191"/>
                  </a:cubicBezTo>
                  <a:cubicBezTo>
                    <a:pt x="235" y="193"/>
                    <a:pt x="237" y="192"/>
                    <a:pt x="238" y="193"/>
                  </a:cubicBezTo>
                  <a:cubicBezTo>
                    <a:pt x="239" y="194"/>
                    <a:pt x="239" y="194"/>
                    <a:pt x="240" y="195"/>
                  </a:cubicBezTo>
                  <a:cubicBezTo>
                    <a:pt x="240" y="196"/>
                    <a:pt x="240" y="197"/>
                    <a:pt x="240" y="197"/>
                  </a:cubicBezTo>
                  <a:cubicBezTo>
                    <a:pt x="241" y="200"/>
                    <a:pt x="247" y="198"/>
                    <a:pt x="249" y="198"/>
                  </a:cubicBezTo>
                  <a:cubicBezTo>
                    <a:pt x="250" y="198"/>
                    <a:pt x="252" y="198"/>
                    <a:pt x="253" y="199"/>
                  </a:cubicBezTo>
                  <a:cubicBezTo>
                    <a:pt x="254" y="199"/>
                    <a:pt x="254" y="200"/>
                    <a:pt x="254" y="200"/>
                  </a:cubicBezTo>
                  <a:cubicBezTo>
                    <a:pt x="255" y="200"/>
                    <a:pt x="255" y="201"/>
                    <a:pt x="255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2"/>
                    <a:pt x="256" y="202"/>
                    <a:pt x="257" y="203"/>
                  </a:cubicBezTo>
                  <a:cubicBezTo>
                    <a:pt x="258" y="203"/>
                    <a:pt x="259" y="202"/>
                    <a:pt x="261" y="20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3" name="Freeform 23">
              <a:extLst>
                <a:ext uri="{FF2B5EF4-FFF2-40B4-BE49-F238E27FC236}">
                  <a16:creationId xmlns:a16="http://schemas.microsoft.com/office/drawing/2014/main" id="{D0B59136-7108-4C34-9AF4-F0C636789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9375" y="4606925"/>
              <a:ext cx="604838" cy="287338"/>
            </a:xfrm>
            <a:custGeom>
              <a:avLst/>
              <a:gdLst/>
              <a:ahLst/>
              <a:cxnLst>
                <a:cxn ang="0">
                  <a:pos x="23" y="143"/>
                </a:cxn>
                <a:cxn ang="0">
                  <a:pos x="37" y="152"/>
                </a:cxn>
                <a:cxn ang="0">
                  <a:pos x="76" y="151"/>
                </a:cxn>
                <a:cxn ang="0">
                  <a:pos x="90" y="147"/>
                </a:cxn>
                <a:cxn ang="0">
                  <a:pos x="93" y="130"/>
                </a:cxn>
                <a:cxn ang="0">
                  <a:pos x="118" y="125"/>
                </a:cxn>
                <a:cxn ang="0">
                  <a:pos x="133" y="115"/>
                </a:cxn>
                <a:cxn ang="0">
                  <a:pos x="144" y="116"/>
                </a:cxn>
                <a:cxn ang="0">
                  <a:pos x="161" y="116"/>
                </a:cxn>
                <a:cxn ang="0">
                  <a:pos x="173" y="111"/>
                </a:cxn>
                <a:cxn ang="0">
                  <a:pos x="182" y="94"/>
                </a:cxn>
                <a:cxn ang="0">
                  <a:pos x="207" y="89"/>
                </a:cxn>
                <a:cxn ang="0">
                  <a:pos x="221" y="91"/>
                </a:cxn>
                <a:cxn ang="0">
                  <a:pos x="236" y="88"/>
                </a:cxn>
                <a:cxn ang="0">
                  <a:pos x="248" y="102"/>
                </a:cxn>
                <a:cxn ang="0">
                  <a:pos x="262" y="102"/>
                </a:cxn>
                <a:cxn ang="0">
                  <a:pos x="275" y="90"/>
                </a:cxn>
                <a:cxn ang="0">
                  <a:pos x="281" y="76"/>
                </a:cxn>
                <a:cxn ang="0">
                  <a:pos x="289" y="57"/>
                </a:cxn>
                <a:cxn ang="0">
                  <a:pos x="301" y="52"/>
                </a:cxn>
                <a:cxn ang="0">
                  <a:pos x="323" y="43"/>
                </a:cxn>
                <a:cxn ang="0">
                  <a:pos x="320" y="40"/>
                </a:cxn>
                <a:cxn ang="0">
                  <a:pos x="298" y="30"/>
                </a:cxn>
                <a:cxn ang="0">
                  <a:pos x="289" y="23"/>
                </a:cxn>
                <a:cxn ang="0">
                  <a:pos x="276" y="16"/>
                </a:cxn>
                <a:cxn ang="0">
                  <a:pos x="255" y="13"/>
                </a:cxn>
                <a:cxn ang="0">
                  <a:pos x="241" y="25"/>
                </a:cxn>
                <a:cxn ang="0">
                  <a:pos x="232" y="22"/>
                </a:cxn>
                <a:cxn ang="0">
                  <a:pos x="212" y="18"/>
                </a:cxn>
                <a:cxn ang="0">
                  <a:pos x="190" y="30"/>
                </a:cxn>
                <a:cxn ang="0">
                  <a:pos x="181" y="32"/>
                </a:cxn>
                <a:cxn ang="0">
                  <a:pos x="175" y="21"/>
                </a:cxn>
                <a:cxn ang="0">
                  <a:pos x="167" y="10"/>
                </a:cxn>
                <a:cxn ang="0">
                  <a:pos x="155" y="4"/>
                </a:cxn>
                <a:cxn ang="0">
                  <a:pos x="142" y="17"/>
                </a:cxn>
                <a:cxn ang="0">
                  <a:pos x="126" y="7"/>
                </a:cxn>
                <a:cxn ang="0">
                  <a:pos x="117" y="9"/>
                </a:cxn>
                <a:cxn ang="0">
                  <a:pos x="105" y="12"/>
                </a:cxn>
                <a:cxn ang="0">
                  <a:pos x="96" y="22"/>
                </a:cxn>
                <a:cxn ang="0">
                  <a:pos x="87" y="28"/>
                </a:cxn>
                <a:cxn ang="0">
                  <a:pos x="78" y="47"/>
                </a:cxn>
                <a:cxn ang="0">
                  <a:pos x="70" y="52"/>
                </a:cxn>
                <a:cxn ang="0">
                  <a:pos x="57" y="62"/>
                </a:cxn>
                <a:cxn ang="0">
                  <a:pos x="51" y="64"/>
                </a:cxn>
                <a:cxn ang="0">
                  <a:pos x="31" y="60"/>
                </a:cxn>
                <a:cxn ang="0">
                  <a:pos x="23" y="69"/>
                </a:cxn>
                <a:cxn ang="0">
                  <a:pos x="8" y="75"/>
                </a:cxn>
                <a:cxn ang="0">
                  <a:pos x="4" y="88"/>
                </a:cxn>
                <a:cxn ang="0">
                  <a:pos x="4" y="101"/>
                </a:cxn>
                <a:cxn ang="0">
                  <a:pos x="9" y="118"/>
                </a:cxn>
                <a:cxn ang="0">
                  <a:pos x="12" y="126"/>
                </a:cxn>
                <a:cxn ang="0">
                  <a:pos x="9" y="135"/>
                </a:cxn>
              </a:cxnLst>
              <a:rect l="0" t="0" r="r" b="b"/>
              <a:pathLst>
                <a:path w="324" h="153">
                  <a:moveTo>
                    <a:pt x="9" y="135"/>
                  </a:moveTo>
                  <a:cubicBezTo>
                    <a:pt x="10" y="135"/>
                    <a:pt x="11" y="135"/>
                    <a:pt x="12" y="136"/>
                  </a:cubicBezTo>
                  <a:cubicBezTo>
                    <a:pt x="14" y="136"/>
                    <a:pt x="16" y="137"/>
                    <a:pt x="17" y="138"/>
                  </a:cubicBezTo>
                  <a:cubicBezTo>
                    <a:pt x="19" y="139"/>
                    <a:pt x="20" y="142"/>
                    <a:pt x="23" y="143"/>
                  </a:cubicBezTo>
                  <a:cubicBezTo>
                    <a:pt x="24" y="143"/>
                    <a:pt x="25" y="143"/>
                    <a:pt x="26" y="143"/>
                  </a:cubicBezTo>
                  <a:cubicBezTo>
                    <a:pt x="28" y="144"/>
                    <a:pt x="29" y="146"/>
                    <a:pt x="30" y="147"/>
                  </a:cubicBezTo>
                  <a:cubicBezTo>
                    <a:pt x="30" y="149"/>
                    <a:pt x="31" y="151"/>
                    <a:pt x="32" y="152"/>
                  </a:cubicBezTo>
                  <a:cubicBezTo>
                    <a:pt x="33" y="153"/>
                    <a:pt x="35" y="152"/>
                    <a:pt x="37" y="152"/>
                  </a:cubicBezTo>
                  <a:cubicBezTo>
                    <a:pt x="44" y="152"/>
                    <a:pt x="51" y="152"/>
                    <a:pt x="59" y="152"/>
                  </a:cubicBezTo>
                  <a:cubicBezTo>
                    <a:pt x="63" y="152"/>
                    <a:pt x="69" y="153"/>
                    <a:pt x="73" y="152"/>
                  </a:cubicBezTo>
                  <a:cubicBezTo>
                    <a:pt x="73" y="152"/>
                    <a:pt x="75" y="151"/>
                    <a:pt x="75" y="151"/>
                  </a:cubicBezTo>
                  <a:cubicBezTo>
                    <a:pt x="75" y="152"/>
                    <a:pt x="76" y="151"/>
                    <a:pt x="76" y="151"/>
                  </a:cubicBezTo>
                  <a:cubicBezTo>
                    <a:pt x="76" y="151"/>
                    <a:pt x="76" y="150"/>
                    <a:pt x="76" y="150"/>
                  </a:cubicBezTo>
                  <a:cubicBezTo>
                    <a:pt x="78" y="149"/>
                    <a:pt x="79" y="149"/>
                    <a:pt x="80" y="149"/>
                  </a:cubicBezTo>
                  <a:cubicBezTo>
                    <a:pt x="82" y="148"/>
                    <a:pt x="83" y="148"/>
                    <a:pt x="85" y="148"/>
                  </a:cubicBezTo>
                  <a:cubicBezTo>
                    <a:pt x="86" y="148"/>
                    <a:pt x="89" y="148"/>
                    <a:pt x="90" y="147"/>
                  </a:cubicBezTo>
                  <a:cubicBezTo>
                    <a:pt x="92" y="147"/>
                    <a:pt x="93" y="145"/>
                    <a:pt x="93" y="144"/>
                  </a:cubicBezTo>
                  <a:cubicBezTo>
                    <a:pt x="92" y="141"/>
                    <a:pt x="89" y="142"/>
                    <a:pt x="89" y="139"/>
                  </a:cubicBezTo>
                  <a:cubicBezTo>
                    <a:pt x="90" y="138"/>
                    <a:pt x="91" y="137"/>
                    <a:pt x="92" y="136"/>
                  </a:cubicBezTo>
                  <a:cubicBezTo>
                    <a:pt x="92" y="134"/>
                    <a:pt x="92" y="132"/>
                    <a:pt x="93" y="130"/>
                  </a:cubicBezTo>
                  <a:cubicBezTo>
                    <a:pt x="93" y="130"/>
                    <a:pt x="95" y="128"/>
                    <a:pt x="96" y="128"/>
                  </a:cubicBezTo>
                  <a:cubicBezTo>
                    <a:pt x="97" y="127"/>
                    <a:pt x="100" y="128"/>
                    <a:pt x="101" y="128"/>
                  </a:cubicBezTo>
                  <a:cubicBezTo>
                    <a:pt x="105" y="127"/>
                    <a:pt x="109" y="126"/>
                    <a:pt x="113" y="126"/>
                  </a:cubicBezTo>
                  <a:cubicBezTo>
                    <a:pt x="114" y="125"/>
                    <a:pt x="116" y="126"/>
                    <a:pt x="118" y="125"/>
                  </a:cubicBezTo>
                  <a:cubicBezTo>
                    <a:pt x="119" y="125"/>
                    <a:pt x="121" y="125"/>
                    <a:pt x="122" y="124"/>
                  </a:cubicBezTo>
                  <a:cubicBezTo>
                    <a:pt x="123" y="124"/>
                    <a:pt x="126" y="125"/>
                    <a:pt x="127" y="124"/>
                  </a:cubicBezTo>
                  <a:cubicBezTo>
                    <a:pt x="128" y="124"/>
                    <a:pt x="130" y="122"/>
                    <a:pt x="130" y="121"/>
                  </a:cubicBezTo>
                  <a:cubicBezTo>
                    <a:pt x="131" y="119"/>
                    <a:pt x="132" y="116"/>
                    <a:pt x="133" y="115"/>
                  </a:cubicBezTo>
                  <a:cubicBezTo>
                    <a:pt x="134" y="114"/>
                    <a:pt x="136" y="114"/>
                    <a:pt x="137" y="114"/>
                  </a:cubicBezTo>
                  <a:cubicBezTo>
                    <a:pt x="138" y="114"/>
                    <a:pt x="141" y="114"/>
                    <a:pt x="141" y="115"/>
                  </a:cubicBezTo>
                  <a:cubicBezTo>
                    <a:pt x="142" y="115"/>
                    <a:pt x="141" y="116"/>
                    <a:pt x="142" y="116"/>
                  </a:cubicBezTo>
                  <a:cubicBezTo>
                    <a:pt x="142" y="117"/>
                    <a:pt x="143" y="116"/>
                    <a:pt x="144" y="116"/>
                  </a:cubicBezTo>
                  <a:cubicBezTo>
                    <a:pt x="146" y="116"/>
                    <a:pt x="149" y="116"/>
                    <a:pt x="150" y="117"/>
                  </a:cubicBezTo>
                  <a:cubicBezTo>
                    <a:pt x="152" y="118"/>
                    <a:pt x="152" y="121"/>
                    <a:pt x="153" y="122"/>
                  </a:cubicBezTo>
                  <a:cubicBezTo>
                    <a:pt x="155" y="121"/>
                    <a:pt x="155" y="119"/>
                    <a:pt x="157" y="117"/>
                  </a:cubicBezTo>
                  <a:cubicBezTo>
                    <a:pt x="158" y="117"/>
                    <a:pt x="159" y="117"/>
                    <a:pt x="161" y="116"/>
                  </a:cubicBezTo>
                  <a:cubicBezTo>
                    <a:pt x="161" y="115"/>
                    <a:pt x="162" y="115"/>
                    <a:pt x="163" y="114"/>
                  </a:cubicBezTo>
                  <a:cubicBezTo>
                    <a:pt x="163" y="114"/>
                    <a:pt x="164" y="114"/>
                    <a:pt x="165" y="114"/>
                  </a:cubicBezTo>
                  <a:cubicBezTo>
                    <a:pt x="167" y="114"/>
                    <a:pt x="168" y="112"/>
                    <a:pt x="170" y="111"/>
                  </a:cubicBezTo>
                  <a:cubicBezTo>
                    <a:pt x="171" y="111"/>
                    <a:pt x="172" y="111"/>
                    <a:pt x="173" y="111"/>
                  </a:cubicBezTo>
                  <a:cubicBezTo>
                    <a:pt x="174" y="111"/>
                    <a:pt x="175" y="110"/>
                    <a:pt x="175" y="109"/>
                  </a:cubicBezTo>
                  <a:cubicBezTo>
                    <a:pt x="177" y="108"/>
                    <a:pt x="178" y="106"/>
                    <a:pt x="179" y="104"/>
                  </a:cubicBezTo>
                  <a:cubicBezTo>
                    <a:pt x="180" y="102"/>
                    <a:pt x="180" y="101"/>
                    <a:pt x="180" y="99"/>
                  </a:cubicBezTo>
                  <a:cubicBezTo>
                    <a:pt x="181" y="97"/>
                    <a:pt x="182" y="96"/>
                    <a:pt x="182" y="94"/>
                  </a:cubicBezTo>
                  <a:cubicBezTo>
                    <a:pt x="183" y="92"/>
                    <a:pt x="182" y="90"/>
                    <a:pt x="183" y="89"/>
                  </a:cubicBezTo>
                  <a:cubicBezTo>
                    <a:pt x="184" y="86"/>
                    <a:pt x="190" y="88"/>
                    <a:pt x="192" y="88"/>
                  </a:cubicBezTo>
                  <a:cubicBezTo>
                    <a:pt x="196" y="88"/>
                    <a:pt x="199" y="88"/>
                    <a:pt x="203" y="88"/>
                  </a:cubicBezTo>
                  <a:cubicBezTo>
                    <a:pt x="205" y="88"/>
                    <a:pt x="206" y="88"/>
                    <a:pt x="207" y="89"/>
                  </a:cubicBezTo>
                  <a:cubicBezTo>
                    <a:pt x="208" y="89"/>
                    <a:pt x="208" y="90"/>
                    <a:pt x="209" y="91"/>
                  </a:cubicBezTo>
                  <a:cubicBezTo>
                    <a:pt x="209" y="91"/>
                    <a:pt x="210" y="91"/>
                    <a:pt x="211" y="91"/>
                  </a:cubicBezTo>
                  <a:cubicBezTo>
                    <a:pt x="213" y="91"/>
                    <a:pt x="215" y="91"/>
                    <a:pt x="216" y="91"/>
                  </a:cubicBezTo>
                  <a:cubicBezTo>
                    <a:pt x="218" y="91"/>
                    <a:pt x="219" y="92"/>
                    <a:pt x="221" y="91"/>
                  </a:cubicBezTo>
                  <a:cubicBezTo>
                    <a:pt x="222" y="91"/>
                    <a:pt x="223" y="89"/>
                    <a:pt x="225" y="89"/>
                  </a:cubicBezTo>
                  <a:cubicBezTo>
                    <a:pt x="226" y="89"/>
                    <a:pt x="227" y="89"/>
                    <a:pt x="228" y="88"/>
                  </a:cubicBezTo>
                  <a:cubicBezTo>
                    <a:pt x="229" y="88"/>
                    <a:pt x="230" y="88"/>
                    <a:pt x="232" y="88"/>
                  </a:cubicBezTo>
                  <a:cubicBezTo>
                    <a:pt x="233" y="88"/>
                    <a:pt x="235" y="87"/>
                    <a:pt x="236" y="88"/>
                  </a:cubicBezTo>
                  <a:cubicBezTo>
                    <a:pt x="237" y="88"/>
                    <a:pt x="237" y="89"/>
                    <a:pt x="237" y="89"/>
                  </a:cubicBezTo>
                  <a:cubicBezTo>
                    <a:pt x="238" y="89"/>
                    <a:pt x="239" y="89"/>
                    <a:pt x="240" y="90"/>
                  </a:cubicBezTo>
                  <a:cubicBezTo>
                    <a:pt x="243" y="92"/>
                    <a:pt x="243" y="96"/>
                    <a:pt x="244" y="99"/>
                  </a:cubicBezTo>
                  <a:cubicBezTo>
                    <a:pt x="245" y="100"/>
                    <a:pt x="247" y="101"/>
                    <a:pt x="248" y="102"/>
                  </a:cubicBezTo>
                  <a:cubicBezTo>
                    <a:pt x="250" y="103"/>
                    <a:pt x="250" y="103"/>
                    <a:pt x="252" y="104"/>
                  </a:cubicBezTo>
                  <a:cubicBezTo>
                    <a:pt x="252" y="105"/>
                    <a:pt x="253" y="106"/>
                    <a:pt x="254" y="107"/>
                  </a:cubicBezTo>
                  <a:cubicBezTo>
                    <a:pt x="256" y="107"/>
                    <a:pt x="257" y="105"/>
                    <a:pt x="258" y="103"/>
                  </a:cubicBezTo>
                  <a:cubicBezTo>
                    <a:pt x="260" y="102"/>
                    <a:pt x="260" y="102"/>
                    <a:pt x="262" y="102"/>
                  </a:cubicBezTo>
                  <a:cubicBezTo>
                    <a:pt x="264" y="102"/>
                    <a:pt x="266" y="103"/>
                    <a:pt x="268" y="102"/>
                  </a:cubicBezTo>
                  <a:cubicBezTo>
                    <a:pt x="269" y="101"/>
                    <a:pt x="270" y="99"/>
                    <a:pt x="270" y="98"/>
                  </a:cubicBezTo>
                  <a:cubicBezTo>
                    <a:pt x="271" y="97"/>
                    <a:pt x="271" y="95"/>
                    <a:pt x="272" y="94"/>
                  </a:cubicBezTo>
                  <a:cubicBezTo>
                    <a:pt x="273" y="92"/>
                    <a:pt x="274" y="91"/>
                    <a:pt x="275" y="90"/>
                  </a:cubicBezTo>
                  <a:cubicBezTo>
                    <a:pt x="276" y="89"/>
                    <a:pt x="276" y="90"/>
                    <a:pt x="276" y="88"/>
                  </a:cubicBezTo>
                  <a:cubicBezTo>
                    <a:pt x="276" y="86"/>
                    <a:pt x="277" y="86"/>
                    <a:pt x="277" y="84"/>
                  </a:cubicBezTo>
                  <a:cubicBezTo>
                    <a:pt x="278" y="83"/>
                    <a:pt x="278" y="82"/>
                    <a:pt x="279" y="80"/>
                  </a:cubicBezTo>
                  <a:cubicBezTo>
                    <a:pt x="279" y="79"/>
                    <a:pt x="280" y="77"/>
                    <a:pt x="281" y="76"/>
                  </a:cubicBezTo>
                  <a:cubicBezTo>
                    <a:pt x="281" y="75"/>
                    <a:pt x="283" y="73"/>
                    <a:pt x="283" y="72"/>
                  </a:cubicBezTo>
                  <a:cubicBezTo>
                    <a:pt x="283" y="70"/>
                    <a:pt x="283" y="69"/>
                    <a:pt x="284" y="67"/>
                  </a:cubicBezTo>
                  <a:cubicBezTo>
                    <a:pt x="284" y="65"/>
                    <a:pt x="285" y="64"/>
                    <a:pt x="286" y="62"/>
                  </a:cubicBezTo>
                  <a:cubicBezTo>
                    <a:pt x="287" y="61"/>
                    <a:pt x="289" y="59"/>
                    <a:pt x="289" y="57"/>
                  </a:cubicBezTo>
                  <a:cubicBezTo>
                    <a:pt x="290" y="56"/>
                    <a:pt x="289" y="56"/>
                    <a:pt x="290" y="55"/>
                  </a:cubicBezTo>
                  <a:cubicBezTo>
                    <a:pt x="290" y="55"/>
                    <a:pt x="291" y="54"/>
                    <a:pt x="292" y="54"/>
                  </a:cubicBezTo>
                  <a:cubicBezTo>
                    <a:pt x="293" y="53"/>
                    <a:pt x="296" y="54"/>
                    <a:pt x="297" y="53"/>
                  </a:cubicBezTo>
                  <a:cubicBezTo>
                    <a:pt x="299" y="53"/>
                    <a:pt x="300" y="52"/>
                    <a:pt x="301" y="52"/>
                  </a:cubicBezTo>
                  <a:cubicBezTo>
                    <a:pt x="303" y="52"/>
                    <a:pt x="305" y="53"/>
                    <a:pt x="307" y="53"/>
                  </a:cubicBezTo>
                  <a:cubicBezTo>
                    <a:pt x="309" y="53"/>
                    <a:pt x="311" y="53"/>
                    <a:pt x="312" y="53"/>
                  </a:cubicBezTo>
                  <a:cubicBezTo>
                    <a:pt x="316" y="52"/>
                    <a:pt x="319" y="51"/>
                    <a:pt x="322" y="47"/>
                  </a:cubicBezTo>
                  <a:cubicBezTo>
                    <a:pt x="322" y="46"/>
                    <a:pt x="323" y="45"/>
                    <a:pt x="323" y="43"/>
                  </a:cubicBezTo>
                  <a:cubicBezTo>
                    <a:pt x="324" y="43"/>
                    <a:pt x="324" y="43"/>
                    <a:pt x="324" y="42"/>
                  </a:cubicBezTo>
                  <a:cubicBezTo>
                    <a:pt x="324" y="42"/>
                    <a:pt x="324" y="42"/>
                    <a:pt x="324" y="42"/>
                  </a:cubicBezTo>
                  <a:cubicBezTo>
                    <a:pt x="323" y="42"/>
                    <a:pt x="322" y="42"/>
                    <a:pt x="322" y="41"/>
                  </a:cubicBezTo>
                  <a:cubicBezTo>
                    <a:pt x="321" y="41"/>
                    <a:pt x="320" y="40"/>
                    <a:pt x="320" y="40"/>
                  </a:cubicBezTo>
                  <a:cubicBezTo>
                    <a:pt x="318" y="39"/>
                    <a:pt x="316" y="38"/>
                    <a:pt x="315" y="38"/>
                  </a:cubicBezTo>
                  <a:cubicBezTo>
                    <a:pt x="311" y="36"/>
                    <a:pt x="308" y="36"/>
                    <a:pt x="304" y="35"/>
                  </a:cubicBezTo>
                  <a:cubicBezTo>
                    <a:pt x="303" y="34"/>
                    <a:pt x="302" y="34"/>
                    <a:pt x="301" y="32"/>
                  </a:cubicBezTo>
                  <a:cubicBezTo>
                    <a:pt x="300" y="31"/>
                    <a:pt x="300" y="31"/>
                    <a:pt x="298" y="30"/>
                  </a:cubicBezTo>
                  <a:cubicBezTo>
                    <a:pt x="297" y="29"/>
                    <a:pt x="295" y="28"/>
                    <a:pt x="293" y="27"/>
                  </a:cubicBezTo>
                  <a:cubicBezTo>
                    <a:pt x="292" y="27"/>
                    <a:pt x="292" y="27"/>
                    <a:pt x="291" y="27"/>
                  </a:cubicBezTo>
                  <a:cubicBezTo>
                    <a:pt x="291" y="27"/>
                    <a:pt x="290" y="25"/>
                    <a:pt x="290" y="25"/>
                  </a:cubicBezTo>
                  <a:cubicBezTo>
                    <a:pt x="289" y="24"/>
                    <a:pt x="289" y="24"/>
                    <a:pt x="289" y="23"/>
                  </a:cubicBezTo>
                  <a:cubicBezTo>
                    <a:pt x="288" y="22"/>
                    <a:pt x="287" y="21"/>
                    <a:pt x="286" y="20"/>
                  </a:cubicBezTo>
                  <a:cubicBezTo>
                    <a:pt x="285" y="20"/>
                    <a:pt x="284" y="21"/>
                    <a:pt x="283" y="21"/>
                  </a:cubicBezTo>
                  <a:cubicBezTo>
                    <a:pt x="281" y="20"/>
                    <a:pt x="282" y="20"/>
                    <a:pt x="281" y="19"/>
                  </a:cubicBezTo>
                  <a:cubicBezTo>
                    <a:pt x="279" y="18"/>
                    <a:pt x="278" y="17"/>
                    <a:pt x="276" y="16"/>
                  </a:cubicBezTo>
                  <a:cubicBezTo>
                    <a:pt x="273" y="15"/>
                    <a:pt x="269" y="14"/>
                    <a:pt x="266" y="13"/>
                  </a:cubicBezTo>
                  <a:cubicBezTo>
                    <a:pt x="264" y="13"/>
                    <a:pt x="261" y="13"/>
                    <a:pt x="259" y="13"/>
                  </a:cubicBezTo>
                  <a:cubicBezTo>
                    <a:pt x="258" y="13"/>
                    <a:pt x="258" y="12"/>
                    <a:pt x="257" y="12"/>
                  </a:cubicBezTo>
                  <a:cubicBezTo>
                    <a:pt x="256" y="12"/>
                    <a:pt x="255" y="13"/>
                    <a:pt x="255" y="13"/>
                  </a:cubicBezTo>
                  <a:cubicBezTo>
                    <a:pt x="254" y="17"/>
                    <a:pt x="251" y="15"/>
                    <a:pt x="249" y="15"/>
                  </a:cubicBezTo>
                  <a:cubicBezTo>
                    <a:pt x="248" y="15"/>
                    <a:pt x="247" y="16"/>
                    <a:pt x="246" y="17"/>
                  </a:cubicBezTo>
                  <a:cubicBezTo>
                    <a:pt x="245" y="19"/>
                    <a:pt x="246" y="20"/>
                    <a:pt x="245" y="22"/>
                  </a:cubicBezTo>
                  <a:cubicBezTo>
                    <a:pt x="245" y="23"/>
                    <a:pt x="242" y="25"/>
                    <a:pt x="241" y="25"/>
                  </a:cubicBezTo>
                  <a:cubicBezTo>
                    <a:pt x="241" y="25"/>
                    <a:pt x="238" y="25"/>
                    <a:pt x="238" y="25"/>
                  </a:cubicBezTo>
                  <a:cubicBezTo>
                    <a:pt x="237" y="25"/>
                    <a:pt x="237" y="24"/>
                    <a:pt x="237" y="23"/>
                  </a:cubicBezTo>
                  <a:cubicBezTo>
                    <a:pt x="236" y="23"/>
                    <a:pt x="235" y="23"/>
                    <a:pt x="234" y="22"/>
                  </a:cubicBezTo>
                  <a:cubicBezTo>
                    <a:pt x="234" y="22"/>
                    <a:pt x="232" y="22"/>
                    <a:pt x="232" y="22"/>
                  </a:cubicBezTo>
                  <a:cubicBezTo>
                    <a:pt x="230" y="21"/>
                    <a:pt x="229" y="18"/>
                    <a:pt x="227" y="17"/>
                  </a:cubicBezTo>
                  <a:cubicBezTo>
                    <a:pt x="226" y="17"/>
                    <a:pt x="225" y="18"/>
                    <a:pt x="224" y="17"/>
                  </a:cubicBezTo>
                  <a:cubicBezTo>
                    <a:pt x="222" y="17"/>
                    <a:pt x="222" y="16"/>
                    <a:pt x="221" y="15"/>
                  </a:cubicBezTo>
                  <a:cubicBezTo>
                    <a:pt x="217" y="15"/>
                    <a:pt x="215" y="18"/>
                    <a:pt x="212" y="18"/>
                  </a:cubicBezTo>
                  <a:cubicBezTo>
                    <a:pt x="210" y="18"/>
                    <a:pt x="207" y="18"/>
                    <a:pt x="205" y="18"/>
                  </a:cubicBezTo>
                  <a:cubicBezTo>
                    <a:pt x="205" y="20"/>
                    <a:pt x="206" y="21"/>
                    <a:pt x="205" y="23"/>
                  </a:cubicBezTo>
                  <a:cubicBezTo>
                    <a:pt x="201" y="24"/>
                    <a:pt x="197" y="22"/>
                    <a:pt x="194" y="25"/>
                  </a:cubicBezTo>
                  <a:cubicBezTo>
                    <a:pt x="191" y="26"/>
                    <a:pt x="190" y="27"/>
                    <a:pt x="190" y="30"/>
                  </a:cubicBezTo>
                  <a:cubicBezTo>
                    <a:pt x="190" y="32"/>
                    <a:pt x="190" y="33"/>
                    <a:pt x="190" y="35"/>
                  </a:cubicBezTo>
                  <a:cubicBezTo>
                    <a:pt x="189" y="35"/>
                    <a:pt x="187" y="35"/>
                    <a:pt x="185" y="35"/>
                  </a:cubicBezTo>
                  <a:cubicBezTo>
                    <a:pt x="185" y="34"/>
                    <a:pt x="184" y="33"/>
                    <a:pt x="183" y="33"/>
                  </a:cubicBezTo>
                  <a:cubicBezTo>
                    <a:pt x="182" y="33"/>
                    <a:pt x="182" y="33"/>
                    <a:pt x="181" y="32"/>
                  </a:cubicBezTo>
                  <a:cubicBezTo>
                    <a:pt x="180" y="32"/>
                    <a:pt x="179" y="31"/>
                    <a:pt x="179" y="30"/>
                  </a:cubicBezTo>
                  <a:cubicBezTo>
                    <a:pt x="178" y="30"/>
                    <a:pt x="177" y="30"/>
                    <a:pt x="177" y="29"/>
                  </a:cubicBezTo>
                  <a:cubicBezTo>
                    <a:pt x="175" y="28"/>
                    <a:pt x="175" y="29"/>
                    <a:pt x="175" y="27"/>
                  </a:cubicBezTo>
                  <a:cubicBezTo>
                    <a:pt x="175" y="25"/>
                    <a:pt x="175" y="23"/>
                    <a:pt x="175" y="21"/>
                  </a:cubicBezTo>
                  <a:cubicBezTo>
                    <a:pt x="175" y="19"/>
                    <a:pt x="175" y="19"/>
                    <a:pt x="174" y="18"/>
                  </a:cubicBezTo>
                  <a:cubicBezTo>
                    <a:pt x="174" y="17"/>
                    <a:pt x="173" y="16"/>
                    <a:pt x="172" y="15"/>
                  </a:cubicBezTo>
                  <a:cubicBezTo>
                    <a:pt x="172" y="15"/>
                    <a:pt x="172" y="14"/>
                    <a:pt x="171" y="13"/>
                  </a:cubicBezTo>
                  <a:cubicBezTo>
                    <a:pt x="171" y="12"/>
                    <a:pt x="168" y="10"/>
                    <a:pt x="167" y="10"/>
                  </a:cubicBezTo>
                  <a:cubicBezTo>
                    <a:pt x="167" y="8"/>
                    <a:pt x="165" y="9"/>
                    <a:pt x="164" y="8"/>
                  </a:cubicBezTo>
                  <a:cubicBezTo>
                    <a:pt x="163" y="7"/>
                    <a:pt x="163" y="6"/>
                    <a:pt x="163" y="5"/>
                  </a:cubicBezTo>
                  <a:cubicBezTo>
                    <a:pt x="163" y="2"/>
                    <a:pt x="160" y="0"/>
                    <a:pt x="158" y="2"/>
                  </a:cubicBezTo>
                  <a:cubicBezTo>
                    <a:pt x="157" y="3"/>
                    <a:pt x="157" y="4"/>
                    <a:pt x="155" y="4"/>
                  </a:cubicBezTo>
                  <a:cubicBezTo>
                    <a:pt x="155" y="5"/>
                    <a:pt x="154" y="5"/>
                    <a:pt x="154" y="5"/>
                  </a:cubicBezTo>
                  <a:cubicBezTo>
                    <a:pt x="152" y="5"/>
                    <a:pt x="152" y="6"/>
                    <a:pt x="150" y="6"/>
                  </a:cubicBezTo>
                  <a:cubicBezTo>
                    <a:pt x="147" y="7"/>
                    <a:pt x="146" y="8"/>
                    <a:pt x="145" y="11"/>
                  </a:cubicBezTo>
                  <a:cubicBezTo>
                    <a:pt x="145" y="15"/>
                    <a:pt x="146" y="17"/>
                    <a:pt x="142" y="17"/>
                  </a:cubicBezTo>
                  <a:cubicBezTo>
                    <a:pt x="139" y="18"/>
                    <a:pt x="135" y="18"/>
                    <a:pt x="132" y="17"/>
                  </a:cubicBezTo>
                  <a:cubicBezTo>
                    <a:pt x="128" y="17"/>
                    <a:pt x="129" y="15"/>
                    <a:pt x="128" y="12"/>
                  </a:cubicBezTo>
                  <a:cubicBezTo>
                    <a:pt x="128" y="11"/>
                    <a:pt x="128" y="9"/>
                    <a:pt x="127" y="8"/>
                  </a:cubicBezTo>
                  <a:cubicBezTo>
                    <a:pt x="127" y="7"/>
                    <a:pt x="127" y="7"/>
                    <a:pt x="126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2" y="7"/>
                    <a:pt x="121" y="8"/>
                  </a:cubicBezTo>
                  <a:cubicBezTo>
                    <a:pt x="120" y="8"/>
                    <a:pt x="120" y="8"/>
                    <a:pt x="119" y="9"/>
                  </a:cubicBezTo>
                  <a:cubicBezTo>
                    <a:pt x="118" y="9"/>
                    <a:pt x="119" y="9"/>
                    <a:pt x="117" y="9"/>
                  </a:cubicBezTo>
                  <a:cubicBezTo>
                    <a:pt x="116" y="10"/>
                    <a:pt x="115" y="10"/>
                    <a:pt x="114" y="10"/>
                  </a:cubicBezTo>
                  <a:cubicBezTo>
                    <a:pt x="112" y="9"/>
                    <a:pt x="111" y="8"/>
                    <a:pt x="110" y="8"/>
                  </a:cubicBezTo>
                  <a:cubicBezTo>
                    <a:pt x="108" y="8"/>
                    <a:pt x="109" y="9"/>
                    <a:pt x="108" y="10"/>
                  </a:cubicBezTo>
                  <a:cubicBezTo>
                    <a:pt x="107" y="11"/>
                    <a:pt x="106" y="12"/>
                    <a:pt x="105" y="12"/>
                  </a:cubicBezTo>
                  <a:cubicBezTo>
                    <a:pt x="104" y="13"/>
                    <a:pt x="104" y="13"/>
                    <a:pt x="103" y="14"/>
                  </a:cubicBezTo>
                  <a:cubicBezTo>
                    <a:pt x="103" y="15"/>
                    <a:pt x="102" y="15"/>
                    <a:pt x="101" y="15"/>
                  </a:cubicBezTo>
                  <a:cubicBezTo>
                    <a:pt x="98" y="17"/>
                    <a:pt x="98" y="19"/>
                    <a:pt x="97" y="21"/>
                  </a:cubicBezTo>
                  <a:cubicBezTo>
                    <a:pt x="96" y="21"/>
                    <a:pt x="96" y="21"/>
                    <a:pt x="96" y="22"/>
                  </a:cubicBezTo>
                  <a:cubicBezTo>
                    <a:pt x="96" y="22"/>
                    <a:pt x="95" y="23"/>
                    <a:pt x="95" y="24"/>
                  </a:cubicBezTo>
                  <a:cubicBezTo>
                    <a:pt x="94" y="24"/>
                    <a:pt x="93" y="25"/>
                    <a:pt x="92" y="25"/>
                  </a:cubicBezTo>
                  <a:cubicBezTo>
                    <a:pt x="91" y="25"/>
                    <a:pt x="89" y="25"/>
                    <a:pt x="88" y="25"/>
                  </a:cubicBezTo>
                  <a:cubicBezTo>
                    <a:pt x="87" y="25"/>
                    <a:pt x="87" y="27"/>
                    <a:pt x="87" y="28"/>
                  </a:cubicBezTo>
                  <a:cubicBezTo>
                    <a:pt x="86" y="29"/>
                    <a:pt x="86" y="30"/>
                    <a:pt x="85" y="31"/>
                  </a:cubicBezTo>
                  <a:cubicBezTo>
                    <a:pt x="85" y="31"/>
                    <a:pt x="85" y="33"/>
                    <a:pt x="85" y="34"/>
                  </a:cubicBezTo>
                  <a:cubicBezTo>
                    <a:pt x="84" y="36"/>
                    <a:pt x="82" y="37"/>
                    <a:pt x="82" y="40"/>
                  </a:cubicBezTo>
                  <a:cubicBezTo>
                    <a:pt x="82" y="43"/>
                    <a:pt x="80" y="45"/>
                    <a:pt x="78" y="47"/>
                  </a:cubicBezTo>
                  <a:cubicBezTo>
                    <a:pt x="78" y="48"/>
                    <a:pt x="78" y="49"/>
                    <a:pt x="77" y="50"/>
                  </a:cubicBezTo>
                  <a:cubicBezTo>
                    <a:pt x="77" y="50"/>
                    <a:pt x="76" y="49"/>
                    <a:pt x="75" y="50"/>
                  </a:cubicBezTo>
                  <a:cubicBezTo>
                    <a:pt x="74" y="50"/>
                    <a:pt x="74" y="50"/>
                    <a:pt x="73" y="50"/>
                  </a:cubicBezTo>
                  <a:cubicBezTo>
                    <a:pt x="71" y="51"/>
                    <a:pt x="71" y="51"/>
                    <a:pt x="70" y="52"/>
                  </a:cubicBezTo>
                  <a:cubicBezTo>
                    <a:pt x="70" y="53"/>
                    <a:pt x="70" y="53"/>
                    <a:pt x="69" y="54"/>
                  </a:cubicBezTo>
                  <a:cubicBezTo>
                    <a:pt x="68" y="55"/>
                    <a:pt x="67" y="56"/>
                    <a:pt x="66" y="56"/>
                  </a:cubicBezTo>
                  <a:cubicBezTo>
                    <a:pt x="65" y="57"/>
                    <a:pt x="63" y="58"/>
                    <a:pt x="62" y="59"/>
                  </a:cubicBezTo>
                  <a:cubicBezTo>
                    <a:pt x="61" y="60"/>
                    <a:pt x="59" y="61"/>
                    <a:pt x="57" y="62"/>
                  </a:cubicBezTo>
                  <a:cubicBezTo>
                    <a:pt x="56" y="62"/>
                    <a:pt x="56" y="62"/>
                    <a:pt x="55" y="63"/>
                  </a:cubicBezTo>
                  <a:cubicBezTo>
                    <a:pt x="55" y="63"/>
                    <a:pt x="54" y="63"/>
                    <a:pt x="54" y="63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3" y="65"/>
                    <a:pt x="52" y="64"/>
                    <a:pt x="51" y="64"/>
                  </a:cubicBezTo>
                  <a:cubicBezTo>
                    <a:pt x="47" y="65"/>
                    <a:pt x="43" y="66"/>
                    <a:pt x="39" y="64"/>
                  </a:cubicBezTo>
                  <a:cubicBezTo>
                    <a:pt x="38" y="64"/>
                    <a:pt x="37" y="63"/>
                    <a:pt x="36" y="63"/>
                  </a:cubicBezTo>
                  <a:cubicBezTo>
                    <a:pt x="35" y="62"/>
                    <a:pt x="34" y="62"/>
                    <a:pt x="33" y="62"/>
                  </a:cubicBezTo>
                  <a:cubicBezTo>
                    <a:pt x="33" y="61"/>
                    <a:pt x="33" y="60"/>
                    <a:pt x="31" y="60"/>
                  </a:cubicBezTo>
                  <a:cubicBezTo>
                    <a:pt x="30" y="61"/>
                    <a:pt x="30" y="63"/>
                    <a:pt x="29" y="63"/>
                  </a:cubicBezTo>
                  <a:cubicBezTo>
                    <a:pt x="28" y="64"/>
                    <a:pt x="27" y="65"/>
                    <a:pt x="26" y="66"/>
                  </a:cubicBezTo>
                  <a:cubicBezTo>
                    <a:pt x="25" y="66"/>
                    <a:pt x="25" y="67"/>
                    <a:pt x="24" y="68"/>
                  </a:cubicBezTo>
                  <a:cubicBezTo>
                    <a:pt x="24" y="68"/>
                    <a:pt x="23" y="68"/>
                    <a:pt x="23" y="69"/>
                  </a:cubicBezTo>
                  <a:cubicBezTo>
                    <a:pt x="22" y="70"/>
                    <a:pt x="22" y="71"/>
                    <a:pt x="21" y="72"/>
                  </a:cubicBezTo>
                  <a:cubicBezTo>
                    <a:pt x="19" y="73"/>
                    <a:pt x="18" y="74"/>
                    <a:pt x="15" y="74"/>
                  </a:cubicBezTo>
                  <a:cubicBezTo>
                    <a:pt x="14" y="75"/>
                    <a:pt x="13" y="74"/>
                    <a:pt x="12" y="74"/>
                  </a:cubicBezTo>
                  <a:cubicBezTo>
                    <a:pt x="10" y="74"/>
                    <a:pt x="9" y="75"/>
                    <a:pt x="8" y="75"/>
                  </a:cubicBezTo>
                  <a:cubicBezTo>
                    <a:pt x="8" y="75"/>
                    <a:pt x="8" y="75"/>
                    <a:pt x="8" y="76"/>
                  </a:cubicBezTo>
                  <a:cubicBezTo>
                    <a:pt x="8" y="77"/>
                    <a:pt x="8" y="79"/>
                    <a:pt x="8" y="80"/>
                  </a:cubicBezTo>
                  <a:cubicBezTo>
                    <a:pt x="8" y="82"/>
                    <a:pt x="7" y="84"/>
                    <a:pt x="6" y="85"/>
                  </a:cubicBezTo>
                  <a:cubicBezTo>
                    <a:pt x="6" y="86"/>
                    <a:pt x="5" y="87"/>
                    <a:pt x="4" y="88"/>
                  </a:cubicBezTo>
                  <a:cubicBezTo>
                    <a:pt x="3" y="89"/>
                    <a:pt x="2" y="91"/>
                    <a:pt x="1" y="93"/>
                  </a:cubicBezTo>
                  <a:cubicBezTo>
                    <a:pt x="1" y="94"/>
                    <a:pt x="0" y="95"/>
                    <a:pt x="1" y="96"/>
                  </a:cubicBezTo>
                  <a:cubicBezTo>
                    <a:pt x="1" y="97"/>
                    <a:pt x="2" y="99"/>
                    <a:pt x="2" y="100"/>
                  </a:cubicBezTo>
                  <a:cubicBezTo>
                    <a:pt x="3" y="100"/>
                    <a:pt x="4" y="101"/>
                    <a:pt x="4" y="101"/>
                  </a:cubicBezTo>
                  <a:cubicBezTo>
                    <a:pt x="5" y="102"/>
                    <a:pt x="5" y="103"/>
                    <a:pt x="5" y="104"/>
                  </a:cubicBezTo>
                  <a:cubicBezTo>
                    <a:pt x="6" y="107"/>
                    <a:pt x="5" y="110"/>
                    <a:pt x="6" y="113"/>
                  </a:cubicBezTo>
                  <a:cubicBezTo>
                    <a:pt x="6" y="114"/>
                    <a:pt x="7" y="116"/>
                    <a:pt x="8" y="117"/>
                  </a:cubicBezTo>
                  <a:cubicBezTo>
                    <a:pt x="8" y="118"/>
                    <a:pt x="9" y="118"/>
                    <a:pt x="9" y="118"/>
                  </a:cubicBezTo>
                  <a:cubicBezTo>
                    <a:pt x="10" y="119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3"/>
                    <a:pt x="11" y="124"/>
                    <a:pt x="12" y="126"/>
                  </a:cubicBezTo>
                  <a:cubicBezTo>
                    <a:pt x="13" y="127"/>
                    <a:pt x="13" y="129"/>
                    <a:pt x="13" y="130"/>
                  </a:cubicBezTo>
                  <a:cubicBezTo>
                    <a:pt x="13" y="130"/>
                    <a:pt x="12" y="131"/>
                    <a:pt x="12" y="131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1" y="133"/>
                    <a:pt x="10" y="134"/>
                    <a:pt x="9" y="13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4" name="Freeform 24">
              <a:extLst>
                <a:ext uri="{FF2B5EF4-FFF2-40B4-BE49-F238E27FC236}">
                  <a16:creationId xmlns:a16="http://schemas.microsoft.com/office/drawing/2014/main" id="{4B059070-F6CC-4FF3-996C-F9CA6117EF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0000" y="4768850"/>
              <a:ext cx="660400" cy="425450"/>
            </a:xfrm>
            <a:custGeom>
              <a:avLst/>
              <a:gdLst/>
              <a:ahLst/>
              <a:cxnLst>
                <a:cxn ang="0">
                  <a:pos x="3" y="150"/>
                </a:cxn>
                <a:cxn ang="0">
                  <a:pos x="12" y="165"/>
                </a:cxn>
                <a:cxn ang="0">
                  <a:pos x="27" y="181"/>
                </a:cxn>
                <a:cxn ang="0">
                  <a:pos x="42" y="192"/>
                </a:cxn>
                <a:cxn ang="0">
                  <a:pos x="44" y="198"/>
                </a:cxn>
                <a:cxn ang="0">
                  <a:pos x="58" y="213"/>
                </a:cxn>
                <a:cxn ang="0">
                  <a:pos x="71" y="221"/>
                </a:cxn>
                <a:cxn ang="0">
                  <a:pos x="88" y="225"/>
                </a:cxn>
                <a:cxn ang="0">
                  <a:pos x="104" y="226"/>
                </a:cxn>
                <a:cxn ang="0">
                  <a:pos x="123" y="219"/>
                </a:cxn>
                <a:cxn ang="0">
                  <a:pos x="132" y="214"/>
                </a:cxn>
                <a:cxn ang="0">
                  <a:pos x="150" y="211"/>
                </a:cxn>
                <a:cxn ang="0">
                  <a:pos x="165" y="200"/>
                </a:cxn>
                <a:cxn ang="0">
                  <a:pos x="172" y="196"/>
                </a:cxn>
                <a:cxn ang="0">
                  <a:pos x="197" y="196"/>
                </a:cxn>
                <a:cxn ang="0">
                  <a:pos x="234" y="193"/>
                </a:cxn>
                <a:cxn ang="0">
                  <a:pos x="251" y="191"/>
                </a:cxn>
                <a:cxn ang="0">
                  <a:pos x="255" y="185"/>
                </a:cxn>
                <a:cxn ang="0">
                  <a:pos x="259" y="180"/>
                </a:cxn>
                <a:cxn ang="0">
                  <a:pos x="262" y="174"/>
                </a:cxn>
                <a:cxn ang="0">
                  <a:pos x="267" y="162"/>
                </a:cxn>
                <a:cxn ang="0">
                  <a:pos x="275" y="154"/>
                </a:cxn>
                <a:cxn ang="0">
                  <a:pos x="281" y="148"/>
                </a:cxn>
                <a:cxn ang="0">
                  <a:pos x="285" y="133"/>
                </a:cxn>
                <a:cxn ang="0">
                  <a:pos x="292" y="121"/>
                </a:cxn>
                <a:cxn ang="0">
                  <a:pos x="302" y="101"/>
                </a:cxn>
                <a:cxn ang="0">
                  <a:pos x="307" y="91"/>
                </a:cxn>
                <a:cxn ang="0">
                  <a:pos x="311" y="85"/>
                </a:cxn>
                <a:cxn ang="0">
                  <a:pos x="315" y="78"/>
                </a:cxn>
                <a:cxn ang="0">
                  <a:pos x="327" y="70"/>
                </a:cxn>
                <a:cxn ang="0">
                  <a:pos x="341" y="64"/>
                </a:cxn>
                <a:cxn ang="0">
                  <a:pos x="353" y="52"/>
                </a:cxn>
                <a:cxn ang="0">
                  <a:pos x="348" y="38"/>
                </a:cxn>
                <a:cxn ang="0">
                  <a:pos x="337" y="30"/>
                </a:cxn>
                <a:cxn ang="0">
                  <a:pos x="312" y="12"/>
                </a:cxn>
                <a:cxn ang="0">
                  <a:pos x="296" y="21"/>
                </a:cxn>
                <a:cxn ang="0">
                  <a:pos x="282" y="4"/>
                </a:cxn>
                <a:cxn ang="0">
                  <a:pos x="270" y="2"/>
                </a:cxn>
                <a:cxn ang="0">
                  <a:pos x="253" y="5"/>
                </a:cxn>
                <a:cxn ang="0">
                  <a:pos x="234" y="2"/>
                </a:cxn>
                <a:cxn ang="0">
                  <a:pos x="221" y="18"/>
                </a:cxn>
                <a:cxn ang="0">
                  <a:pos x="207" y="28"/>
                </a:cxn>
                <a:cxn ang="0">
                  <a:pos x="195" y="36"/>
                </a:cxn>
                <a:cxn ang="0">
                  <a:pos x="183" y="29"/>
                </a:cxn>
                <a:cxn ang="0">
                  <a:pos x="169" y="38"/>
                </a:cxn>
                <a:cxn ang="0">
                  <a:pos x="143" y="42"/>
                </a:cxn>
                <a:cxn ang="0">
                  <a:pos x="131" y="53"/>
                </a:cxn>
                <a:cxn ang="0">
                  <a:pos x="122" y="63"/>
                </a:cxn>
                <a:cxn ang="0">
                  <a:pos x="115" y="66"/>
                </a:cxn>
                <a:cxn ang="0">
                  <a:pos x="72" y="61"/>
                </a:cxn>
                <a:cxn ang="0">
                  <a:pos x="54" y="50"/>
                </a:cxn>
                <a:cxn ang="0">
                  <a:pos x="52" y="61"/>
                </a:cxn>
                <a:cxn ang="0">
                  <a:pos x="36" y="69"/>
                </a:cxn>
                <a:cxn ang="0">
                  <a:pos x="21" y="68"/>
                </a:cxn>
                <a:cxn ang="0">
                  <a:pos x="26" y="74"/>
                </a:cxn>
                <a:cxn ang="0">
                  <a:pos x="28" y="82"/>
                </a:cxn>
                <a:cxn ang="0">
                  <a:pos x="19" y="90"/>
                </a:cxn>
                <a:cxn ang="0">
                  <a:pos x="17" y="103"/>
                </a:cxn>
                <a:cxn ang="0">
                  <a:pos x="17" y="113"/>
                </a:cxn>
                <a:cxn ang="0">
                  <a:pos x="17" y="122"/>
                </a:cxn>
                <a:cxn ang="0">
                  <a:pos x="2" y="131"/>
                </a:cxn>
                <a:cxn ang="0">
                  <a:pos x="53" y="47"/>
                </a:cxn>
              </a:cxnLst>
              <a:rect l="0" t="0" r="r" b="b"/>
              <a:pathLst>
                <a:path w="353" h="228">
                  <a:moveTo>
                    <a:pt x="2" y="136"/>
                  </a:moveTo>
                  <a:cubicBezTo>
                    <a:pt x="4" y="138"/>
                    <a:pt x="5" y="139"/>
                    <a:pt x="5" y="141"/>
                  </a:cubicBezTo>
                  <a:cubicBezTo>
                    <a:pt x="5" y="143"/>
                    <a:pt x="4" y="144"/>
                    <a:pt x="4" y="146"/>
                  </a:cubicBezTo>
                  <a:cubicBezTo>
                    <a:pt x="3" y="147"/>
                    <a:pt x="3" y="148"/>
                    <a:pt x="3" y="150"/>
                  </a:cubicBezTo>
                  <a:cubicBezTo>
                    <a:pt x="3" y="152"/>
                    <a:pt x="3" y="152"/>
                    <a:pt x="5" y="153"/>
                  </a:cubicBezTo>
                  <a:cubicBezTo>
                    <a:pt x="6" y="154"/>
                    <a:pt x="7" y="154"/>
                    <a:pt x="8" y="155"/>
                  </a:cubicBezTo>
                  <a:cubicBezTo>
                    <a:pt x="9" y="159"/>
                    <a:pt x="6" y="162"/>
                    <a:pt x="10" y="165"/>
                  </a:cubicBezTo>
                  <a:cubicBezTo>
                    <a:pt x="10" y="165"/>
                    <a:pt x="11" y="165"/>
                    <a:pt x="12" y="165"/>
                  </a:cubicBezTo>
                  <a:cubicBezTo>
                    <a:pt x="12" y="165"/>
                    <a:pt x="13" y="167"/>
                    <a:pt x="13" y="167"/>
                  </a:cubicBezTo>
                  <a:cubicBezTo>
                    <a:pt x="14" y="168"/>
                    <a:pt x="15" y="169"/>
                    <a:pt x="17" y="170"/>
                  </a:cubicBezTo>
                  <a:cubicBezTo>
                    <a:pt x="20" y="172"/>
                    <a:pt x="23" y="174"/>
                    <a:pt x="25" y="177"/>
                  </a:cubicBezTo>
                  <a:cubicBezTo>
                    <a:pt x="26" y="178"/>
                    <a:pt x="26" y="180"/>
                    <a:pt x="27" y="181"/>
                  </a:cubicBezTo>
                  <a:cubicBezTo>
                    <a:pt x="28" y="182"/>
                    <a:pt x="30" y="183"/>
                    <a:pt x="32" y="183"/>
                  </a:cubicBezTo>
                  <a:cubicBezTo>
                    <a:pt x="31" y="186"/>
                    <a:pt x="31" y="187"/>
                    <a:pt x="34" y="189"/>
                  </a:cubicBezTo>
                  <a:cubicBezTo>
                    <a:pt x="35" y="190"/>
                    <a:pt x="37" y="190"/>
                    <a:pt x="38" y="191"/>
                  </a:cubicBezTo>
                  <a:cubicBezTo>
                    <a:pt x="39" y="191"/>
                    <a:pt x="40" y="193"/>
                    <a:pt x="42" y="192"/>
                  </a:cubicBezTo>
                  <a:cubicBezTo>
                    <a:pt x="41" y="192"/>
                    <a:pt x="41" y="193"/>
                    <a:pt x="41" y="193"/>
                  </a:cubicBezTo>
                  <a:cubicBezTo>
                    <a:pt x="42" y="194"/>
                    <a:pt x="43" y="195"/>
                    <a:pt x="43" y="196"/>
                  </a:cubicBezTo>
                  <a:cubicBezTo>
                    <a:pt x="44" y="196"/>
                    <a:pt x="44" y="196"/>
                    <a:pt x="43" y="197"/>
                  </a:cubicBezTo>
                  <a:cubicBezTo>
                    <a:pt x="44" y="197"/>
                    <a:pt x="44" y="197"/>
                    <a:pt x="44" y="198"/>
                  </a:cubicBezTo>
                  <a:cubicBezTo>
                    <a:pt x="45" y="198"/>
                    <a:pt x="45" y="199"/>
                    <a:pt x="46" y="199"/>
                  </a:cubicBezTo>
                  <a:cubicBezTo>
                    <a:pt x="47" y="201"/>
                    <a:pt x="48" y="201"/>
                    <a:pt x="49" y="203"/>
                  </a:cubicBezTo>
                  <a:cubicBezTo>
                    <a:pt x="50" y="205"/>
                    <a:pt x="50" y="208"/>
                    <a:pt x="51" y="210"/>
                  </a:cubicBezTo>
                  <a:cubicBezTo>
                    <a:pt x="53" y="212"/>
                    <a:pt x="56" y="212"/>
                    <a:pt x="58" y="213"/>
                  </a:cubicBezTo>
                  <a:cubicBezTo>
                    <a:pt x="60" y="214"/>
                    <a:pt x="60" y="215"/>
                    <a:pt x="63" y="215"/>
                  </a:cubicBezTo>
                  <a:cubicBezTo>
                    <a:pt x="64" y="215"/>
                    <a:pt x="64" y="215"/>
                    <a:pt x="65" y="215"/>
                  </a:cubicBezTo>
                  <a:cubicBezTo>
                    <a:pt x="66" y="216"/>
                    <a:pt x="66" y="216"/>
                    <a:pt x="66" y="217"/>
                  </a:cubicBezTo>
                  <a:cubicBezTo>
                    <a:pt x="68" y="218"/>
                    <a:pt x="70" y="219"/>
                    <a:pt x="71" y="221"/>
                  </a:cubicBezTo>
                  <a:cubicBezTo>
                    <a:pt x="72" y="222"/>
                    <a:pt x="72" y="222"/>
                    <a:pt x="73" y="223"/>
                  </a:cubicBezTo>
                  <a:cubicBezTo>
                    <a:pt x="75" y="223"/>
                    <a:pt x="77" y="223"/>
                    <a:pt x="78" y="223"/>
                  </a:cubicBezTo>
                  <a:cubicBezTo>
                    <a:pt x="80" y="223"/>
                    <a:pt x="82" y="224"/>
                    <a:pt x="84" y="224"/>
                  </a:cubicBezTo>
                  <a:cubicBezTo>
                    <a:pt x="85" y="225"/>
                    <a:pt x="87" y="224"/>
                    <a:pt x="88" y="225"/>
                  </a:cubicBezTo>
                  <a:cubicBezTo>
                    <a:pt x="89" y="225"/>
                    <a:pt x="89" y="225"/>
                    <a:pt x="90" y="226"/>
                  </a:cubicBezTo>
                  <a:cubicBezTo>
                    <a:pt x="91" y="226"/>
                    <a:pt x="92" y="226"/>
                    <a:pt x="92" y="226"/>
                  </a:cubicBezTo>
                  <a:cubicBezTo>
                    <a:pt x="94" y="226"/>
                    <a:pt x="95" y="226"/>
                    <a:pt x="97" y="226"/>
                  </a:cubicBezTo>
                  <a:cubicBezTo>
                    <a:pt x="99" y="226"/>
                    <a:pt x="101" y="226"/>
                    <a:pt x="104" y="226"/>
                  </a:cubicBezTo>
                  <a:cubicBezTo>
                    <a:pt x="107" y="225"/>
                    <a:pt x="113" y="228"/>
                    <a:pt x="116" y="226"/>
                  </a:cubicBezTo>
                  <a:cubicBezTo>
                    <a:pt x="116" y="225"/>
                    <a:pt x="116" y="223"/>
                    <a:pt x="117" y="222"/>
                  </a:cubicBezTo>
                  <a:cubicBezTo>
                    <a:pt x="117" y="221"/>
                    <a:pt x="118" y="221"/>
                    <a:pt x="119" y="220"/>
                  </a:cubicBezTo>
                  <a:cubicBezTo>
                    <a:pt x="120" y="220"/>
                    <a:pt x="122" y="219"/>
                    <a:pt x="123" y="219"/>
                  </a:cubicBezTo>
                  <a:cubicBezTo>
                    <a:pt x="123" y="219"/>
                    <a:pt x="125" y="218"/>
                    <a:pt x="125" y="218"/>
                  </a:cubicBezTo>
                  <a:cubicBezTo>
                    <a:pt x="126" y="217"/>
                    <a:pt x="127" y="213"/>
                    <a:pt x="129" y="214"/>
                  </a:cubicBezTo>
                  <a:cubicBezTo>
                    <a:pt x="129" y="215"/>
                    <a:pt x="130" y="215"/>
                    <a:pt x="130" y="215"/>
                  </a:cubicBezTo>
                  <a:cubicBezTo>
                    <a:pt x="131" y="215"/>
                    <a:pt x="131" y="214"/>
                    <a:pt x="132" y="214"/>
                  </a:cubicBezTo>
                  <a:cubicBezTo>
                    <a:pt x="133" y="213"/>
                    <a:pt x="136" y="214"/>
                    <a:pt x="138" y="213"/>
                  </a:cubicBezTo>
                  <a:cubicBezTo>
                    <a:pt x="139" y="210"/>
                    <a:pt x="141" y="206"/>
                    <a:pt x="144" y="204"/>
                  </a:cubicBezTo>
                  <a:cubicBezTo>
                    <a:pt x="144" y="205"/>
                    <a:pt x="145" y="206"/>
                    <a:pt x="146" y="206"/>
                  </a:cubicBezTo>
                  <a:cubicBezTo>
                    <a:pt x="147" y="208"/>
                    <a:pt x="148" y="210"/>
                    <a:pt x="150" y="211"/>
                  </a:cubicBezTo>
                  <a:cubicBezTo>
                    <a:pt x="152" y="212"/>
                    <a:pt x="154" y="211"/>
                    <a:pt x="155" y="209"/>
                  </a:cubicBezTo>
                  <a:cubicBezTo>
                    <a:pt x="155" y="208"/>
                    <a:pt x="155" y="208"/>
                    <a:pt x="155" y="206"/>
                  </a:cubicBezTo>
                  <a:cubicBezTo>
                    <a:pt x="156" y="205"/>
                    <a:pt x="157" y="204"/>
                    <a:pt x="158" y="203"/>
                  </a:cubicBezTo>
                  <a:cubicBezTo>
                    <a:pt x="160" y="202"/>
                    <a:pt x="163" y="202"/>
                    <a:pt x="165" y="200"/>
                  </a:cubicBezTo>
                  <a:cubicBezTo>
                    <a:pt x="165" y="200"/>
                    <a:pt x="165" y="199"/>
                    <a:pt x="165" y="199"/>
                  </a:cubicBezTo>
                  <a:cubicBezTo>
                    <a:pt x="166" y="199"/>
                    <a:pt x="166" y="199"/>
                    <a:pt x="166" y="198"/>
                  </a:cubicBezTo>
                  <a:cubicBezTo>
                    <a:pt x="167" y="198"/>
                    <a:pt x="167" y="197"/>
                    <a:pt x="168" y="197"/>
                  </a:cubicBezTo>
                  <a:cubicBezTo>
                    <a:pt x="169" y="196"/>
                    <a:pt x="170" y="196"/>
                    <a:pt x="172" y="196"/>
                  </a:cubicBezTo>
                  <a:cubicBezTo>
                    <a:pt x="173" y="196"/>
                    <a:pt x="175" y="195"/>
                    <a:pt x="176" y="195"/>
                  </a:cubicBezTo>
                  <a:cubicBezTo>
                    <a:pt x="177" y="196"/>
                    <a:pt x="177" y="197"/>
                    <a:pt x="178" y="197"/>
                  </a:cubicBezTo>
                  <a:cubicBezTo>
                    <a:pt x="182" y="198"/>
                    <a:pt x="185" y="198"/>
                    <a:pt x="188" y="198"/>
                  </a:cubicBezTo>
                  <a:cubicBezTo>
                    <a:pt x="191" y="197"/>
                    <a:pt x="193" y="196"/>
                    <a:pt x="197" y="196"/>
                  </a:cubicBezTo>
                  <a:cubicBezTo>
                    <a:pt x="200" y="196"/>
                    <a:pt x="203" y="198"/>
                    <a:pt x="206" y="198"/>
                  </a:cubicBezTo>
                  <a:cubicBezTo>
                    <a:pt x="208" y="198"/>
                    <a:pt x="209" y="198"/>
                    <a:pt x="210" y="198"/>
                  </a:cubicBezTo>
                  <a:cubicBezTo>
                    <a:pt x="212" y="198"/>
                    <a:pt x="212" y="197"/>
                    <a:pt x="213" y="197"/>
                  </a:cubicBezTo>
                  <a:cubicBezTo>
                    <a:pt x="220" y="196"/>
                    <a:pt x="230" y="202"/>
                    <a:pt x="234" y="193"/>
                  </a:cubicBezTo>
                  <a:cubicBezTo>
                    <a:pt x="235" y="192"/>
                    <a:pt x="236" y="189"/>
                    <a:pt x="239" y="189"/>
                  </a:cubicBezTo>
                  <a:cubicBezTo>
                    <a:pt x="240" y="189"/>
                    <a:pt x="241" y="189"/>
                    <a:pt x="242" y="190"/>
                  </a:cubicBezTo>
                  <a:cubicBezTo>
                    <a:pt x="244" y="191"/>
                    <a:pt x="245" y="191"/>
                    <a:pt x="246" y="191"/>
                  </a:cubicBezTo>
                  <a:cubicBezTo>
                    <a:pt x="248" y="191"/>
                    <a:pt x="250" y="191"/>
                    <a:pt x="251" y="191"/>
                  </a:cubicBezTo>
                  <a:cubicBezTo>
                    <a:pt x="253" y="190"/>
                    <a:pt x="253" y="189"/>
                    <a:pt x="254" y="188"/>
                  </a:cubicBezTo>
                  <a:cubicBezTo>
                    <a:pt x="253" y="188"/>
                    <a:pt x="254" y="187"/>
                    <a:pt x="254" y="187"/>
                  </a:cubicBezTo>
                  <a:cubicBezTo>
                    <a:pt x="254" y="187"/>
                    <a:pt x="254" y="186"/>
                    <a:pt x="255" y="186"/>
                  </a:cubicBezTo>
                  <a:cubicBezTo>
                    <a:pt x="254" y="186"/>
                    <a:pt x="255" y="186"/>
                    <a:pt x="255" y="185"/>
                  </a:cubicBezTo>
                  <a:cubicBezTo>
                    <a:pt x="255" y="185"/>
                    <a:pt x="255" y="186"/>
                    <a:pt x="255" y="186"/>
                  </a:cubicBezTo>
                  <a:cubicBezTo>
                    <a:pt x="255" y="186"/>
                    <a:pt x="256" y="183"/>
                    <a:pt x="256" y="184"/>
                  </a:cubicBezTo>
                  <a:cubicBezTo>
                    <a:pt x="256" y="184"/>
                    <a:pt x="257" y="184"/>
                    <a:pt x="257" y="183"/>
                  </a:cubicBezTo>
                  <a:cubicBezTo>
                    <a:pt x="258" y="182"/>
                    <a:pt x="258" y="181"/>
                    <a:pt x="259" y="180"/>
                  </a:cubicBezTo>
                  <a:cubicBezTo>
                    <a:pt x="259" y="180"/>
                    <a:pt x="260" y="179"/>
                    <a:pt x="260" y="179"/>
                  </a:cubicBezTo>
                  <a:cubicBezTo>
                    <a:pt x="261" y="178"/>
                    <a:pt x="261" y="177"/>
                    <a:pt x="261" y="177"/>
                  </a:cubicBezTo>
                  <a:cubicBezTo>
                    <a:pt x="261" y="176"/>
                    <a:pt x="262" y="176"/>
                    <a:pt x="262" y="176"/>
                  </a:cubicBezTo>
                  <a:cubicBezTo>
                    <a:pt x="263" y="175"/>
                    <a:pt x="262" y="174"/>
                    <a:pt x="262" y="174"/>
                  </a:cubicBezTo>
                  <a:cubicBezTo>
                    <a:pt x="262" y="173"/>
                    <a:pt x="263" y="171"/>
                    <a:pt x="263" y="170"/>
                  </a:cubicBezTo>
                  <a:cubicBezTo>
                    <a:pt x="264" y="168"/>
                    <a:pt x="265" y="167"/>
                    <a:pt x="266" y="166"/>
                  </a:cubicBezTo>
                  <a:cubicBezTo>
                    <a:pt x="266" y="165"/>
                    <a:pt x="267" y="165"/>
                    <a:pt x="267" y="164"/>
                  </a:cubicBezTo>
                  <a:cubicBezTo>
                    <a:pt x="267" y="164"/>
                    <a:pt x="267" y="163"/>
                    <a:pt x="267" y="162"/>
                  </a:cubicBezTo>
                  <a:cubicBezTo>
                    <a:pt x="268" y="161"/>
                    <a:pt x="269" y="161"/>
                    <a:pt x="270" y="160"/>
                  </a:cubicBezTo>
                  <a:cubicBezTo>
                    <a:pt x="271" y="159"/>
                    <a:pt x="270" y="158"/>
                    <a:pt x="272" y="158"/>
                  </a:cubicBezTo>
                  <a:cubicBezTo>
                    <a:pt x="272" y="157"/>
                    <a:pt x="272" y="157"/>
                    <a:pt x="272" y="157"/>
                  </a:cubicBezTo>
                  <a:cubicBezTo>
                    <a:pt x="274" y="157"/>
                    <a:pt x="274" y="154"/>
                    <a:pt x="275" y="154"/>
                  </a:cubicBezTo>
                  <a:cubicBezTo>
                    <a:pt x="275" y="153"/>
                    <a:pt x="275" y="153"/>
                    <a:pt x="276" y="153"/>
                  </a:cubicBezTo>
                  <a:cubicBezTo>
                    <a:pt x="276" y="153"/>
                    <a:pt x="276" y="153"/>
                    <a:pt x="277" y="153"/>
                  </a:cubicBezTo>
                  <a:cubicBezTo>
                    <a:pt x="278" y="152"/>
                    <a:pt x="278" y="152"/>
                    <a:pt x="278" y="151"/>
                  </a:cubicBezTo>
                  <a:cubicBezTo>
                    <a:pt x="279" y="151"/>
                    <a:pt x="280" y="150"/>
                    <a:pt x="281" y="148"/>
                  </a:cubicBezTo>
                  <a:cubicBezTo>
                    <a:pt x="282" y="147"/>
                    <a:pt x="282" y="145"/>
                    <a:pt x="282" y="143"/>
                  </a:cubicBezTo>
                  <a:cubicBezTo>
                    <a:pt x="282" y="142"/>
                    <a:pt x="283" y="140"/>
                    <a:pt x="283" y="138"/>
                  </a:cubicBezTo>
                  <a:cubicBezTo>
                    <a:pt x="283" y="137"/>
                    <a:pt x="283" y="135"/>
                    <a:pt x="283" y="134"/>
                  </a:cubicBezTo>
                  <a:cubicBezTo>
                    <a:pt x="284" y="134"/>
                    <a:pt x="284" y="134"/>
                    <a:pt x="285" y="133"/>
                  </a:cubicBezTo>
                  <a:cubicBezTo>
                    <a:pt x="285" y="132"/>
                    <a:pt x="285" y="131"/>
                    <a:pt x="286" y="130"/>
                  </a:cubicBezTo>
                  <a:cubicBezTo>
                    <a:pt x="287" y="129"/>
                    <a:pt x="287" y="128"/>
                    <a:pt x="288" y="127"/>
                  </a:cubicBezTo>
                  <a:cubicBezTo>
                    <a:pt x="288" y="126"/>
                    <a:pt x="288" y="124"/>
                    <a:pt x="289" y="123"/>
                  </a:cubicBezTo>
                  <a:cubicBezTo>
                    <a:pt x="289" y="122"/>
                    <a:pt x="291" y="121"/>
                    <a:pt x="292" y="121"/>
                  </a:cubicBezTo>
                  <a:cubicBezTo>
                    <a:pt x="294" y="119"/>
                    <a:pt x="296" y="116"/>
                    <a:pt x="296" y="114"/>
                  </a:cubicBezTo>
                  <a:cubicBezTo>
                    <a:pt x="297" y="112"/>
                    <a:pt x="296" y="111"/>
                    <a:pt x="297" y="109"/>
                  </a:cubicBezTo>
                  <a:cubicBezTo>
                    <a:pt x="297" y="108"/>
                    <a:pt x="297" y="107"/>
                    <a:pt x="298" y="106"/>
                  </a:cubicBezTo>
                  <a:cubicBezTo>
                    <a:pt x="299" y="104"/>
                    <a:pt x="300" y="102"/>
                    <a:pt x="302" y="101"/>
                  </a:cubicBezTo>
                  <a:cubicBezTo>
                    <a:pt x="303" y="101"/>
                    <a:pt x="305" y="101"/>
                    <a:pt x="306" y="100"/>
                  </a:cubicBezTo>
                  <a:cubicBezTo>
                    <a:pt x="306" y="99"/>
                    <a:pt x="306" y="98"/>
                    <a:pt x="306" y="96"/>
                  </a:cubicBezTo>
                  <a:cubicBezTo>
                    <a:pt x="307" y="95"/>
                    <a:pt x="307" y="94"/>
                    <a:pt x="307" y="92"/>
                  </a:cubicBezTo>
                  <a:cubicBezTo>
                    <a:pt x="307" y="92"/>
                    <a:pt x="307" y="91"/>
                    <a:pt x="307" y="91"/>
                  </a:cubicBezTo>
                  <a:cubicBezTo>
                    <a:pt x="308" y="90"/>
                    <a:pt x="308" y="89"/>
                    <a:pt x="309" y="88"/>
                  </a:cubicBezTo>
                  <a:cubicBezTo>
                    <a:pt x="309" y="88"/>
                    <a:pt x="310" y="87"/>
                    <a:pt x="310" y="87"/>
                  </a:cubicBezTo>
                  <a:cubicBezTo>
                    <a:pt x="310" y="86"/>
                    <a:pt x="310" y="86"/>
                    <a:pt x="310" y="86"/>
                  </a:cubicBezTo>
                  <a:cubicBezTo>
                    <a:pt x="310" y="86"/>
                    <a:pt x="311" y="85"/>
                    <a:pt x="311" y="85"/>
                  </a:cubicBezTo>
                  <a:cubicBezTo>
                    <a:pt x="311" y="85"/>
                    <a:pt x="312" y="84"/>
                    <a:pt x="312" y="84"/>
                  </a:cubicBezTo>
                  <a:cubicBezTo>
                    <a:pt x="313" y="83"/>
                    <a:pt x="312" y="82"/>
                    <a:pt x="312" y="81"/>
                  </a:cubicBezTo>
                  <a:cubicBezTo>
                    <a:pt x="313" y="80"/>
                    <a:pt x="313" y="80"/>
                    <a:pt x="314" y="80"/>
                  </a:cubicBezTo>
                  <a:cubicBezTo>
                    <a:pt x="314" y="79"/>
                    <a:pt x="314" y="78"/>
                    <a:pt x="315" y="78"/>
                  </a:cubicBezTo>
                  <a:cubicBezTo>
                    <a:pt x="316" y="77"/>
                    <a:pt x="316" y="76"/>
                    <a:pt x="317" y="75"/>
                  </a:cubicBezTo>
                  <a:cubicBezTo>
                    <a:pt x="318" y="73"/>
                    <a:pt x="318" y="73"/>
                    <a:pt x="320" y="73"/>
                  </a:cubicBezTo>
                  <a:cubicBezTo>
                    <a:pt x="321" y="73"/>
                    <a:pt x="323" y="73"/>
                    <a:pt x="324" y="73"/>
                  </a:cubicBezTo>
                  <a:cubicBezTo>
                    <a:pt x="326" y="72"/>
                    <a:pt x="326" y="71"/>
                    <a:pt x="327" y="70"/>
                  </a:cubicBezTo>
                  <a:cubicBezTo>
                    <a:pt x="328" y="68"/>
                    <a:pt x="329" y="68"/>
                    <a:pt x="330" y="68"/>
                  </a:cubicBezTo>
                  <a:cubicBezTo>
                    <a:pt x="332" y="68"/>
                    <a:pt x="332" y="67"/>
                    <a:pt x="333" y="67"/>
                  </a:cubicBezTo>
                  <a:cubicBezTo>
                    <a:pt x="335" y="67"/>
                    <a:pt x="338" y="68"/>
                    <a:pt x="340" y="67"/>
                  </a:cubicBezTo>
                  <a:cubicBezTo>
                    <a:pt x="341" y="66"/>
                    <a:pt x="341" y="65"/>
                    <a:pt x="341" y="64"/>
                  </a:cubicBezTo>
                  <a:cubicBezTo>
                    <a:pt x="343" y="62"/>
                    <a:pt x="346" y="60"/>
                    <a:pt x="348" y="60"/>
                  </a:cubicBezTo>
                  <a:cubicBezTo>
                    <a:pt x="348" y="59"/>
                    <a:pt x="349" y="58"/>
                    <a:pt x="349" y="58"/>
                  </a:cubicBezTo>
                  <a:cubicBezTo>
                    <a:pt x="350" y="57"/>
                    <a:pt x="349" y="56"/>
                    <a:pt x="350" y="55"/>
                  </a:cubicBezTo>
                  <a:cubicBezTo>
                    <a:pt x="350" y="53"/>
                    <a:pt x="351" y="52"/>
                    <a:pt x="353" y="52"/>
                  </a:cubicBezTo>
                  <a:cubicBezTo>
                    <a:pt x="353" y="50"/>
                    <a:pt x="353" y="47"/>
                    <a:pt x="353" y="45"/>
                  </a:cubicBezTo>
                  <a:cubicBezTo>
                    <a:pt x="353" y="44"/>
                    <a:pt x="353" y="42"/>
                    <a:pt x="353" y="41"/>
                  </a:cubicBezTo>
                  <a:cubicBezTo>
                    <a:pt x="352" y="40"/>
                    <a:pt x="351" y="40"/>
                    <a:pt x="351" y="39"/>
                  </a:cubicBezTo>
                  <a:cubicBezTo>
                    <a:pt x="350" y="39"/>
                    <a:pt x="349" y="39"/>
                    <a:pt x="348" y="38"/>
                  </a:cubicBezTo>
                  <a:cubicBezTo>
                    <a:pt x="347" y="38"/>
                    <a:pt x="346" y="38"/>
                    <a:pt x="345" y="38"/>
                  </a:cubicBezTo>
                  <a:cubicBezTo>
                    <a:pt x="342" y="38"/>
                    <a:pt x="339" y="36"/>
                    <a:pt x="338" y="38"/>
                  </a:cubicBezTo>
                  <a:cubicBezTo>
                    <a:pt x="336" y="38"/>
                    <a:pt x="337" y="35"/>
                    <a:pt x="337" y="33"/>
                  </a:cubicBezTo>
                  <a:cubicBezTo>
                    <a:pt x="337" y="32"/>
                    <a:pt x="337" y="31"/>
                    <a:pt x="337" y="30"/>
                  </a:cubicBezTo>
                  <a:cubicBezTo>
                    <a:pt x="336" y="29"/>
                    <a:pt x="336" y="29"/>
                    <a:pt x="334" y="29"/>
                  </a:cubicBezTo>
                  <a:cubicBezTo>
                    <a:pt x="314" y="7"/>
                    <a:pt x="314" y="7"/>
                    <a:pt x="314" y="7"/>
                  </a:cubicBezTo>
                  <a:cubicBezTo>
                    <a:pt x="314" y="7"/>
                    <a:pt x="314" y="7"/>
                    <a:pt x="314" y="8"/>
                  </a:cubicBezTo>
                  <a:cubicBezTo>
                    <a:pt x="313" y="9"/>
                    <a:pt x="313" y="11"/>
                    <a:pt x="312" y="12"/>
                  </a:cubicBezTo>
                  <a:cubicBezTo>
                    <a:pt x="312" y="13"/>
                    <a:pt x="311" y="15"/>
                    <a:pt x="310" y="16"/>
                  </a:cubicBezTo>
                  <a:cubicBezTo>
                    <a:pt x="308" y="17"/>
                    <a:pt x="306" y="16"/>
                    <a:pt x="304" y="16"/>
                  </a:cubicBezTo>
                  <a:cubicBezTo>
                    <a:pt x="302" y="16"/>
                    <a:pt x="302" y="16"/>
                    <a:pt x="300" y="17"/>
                  </a:cubicBezTo>
                  <a:cubicBezTo>
                    <a:pt x="299" y="19"/>
                    <a:pt x="298" y="21"/>
                    <a:pt x="296" y="21"/>
                  </a:cubicBezTo>
                  <a:cubicBezTo>
                    <a:pt x="295" y="20"/>
                    <a:pt x="294" y="19"/>
                    <a:pt x="294" y="18"/>
                  </a:cubicBezTo>
                  <a:cubicBezTo>
                    <a:pt x="292" y="17"/>
                    <a:pt x="292" y="17"/>
                    <a:pt x="290" y="16"/>
                  </a:cubicBezTo>
                  <a:cubicBezTo>
                    <a:pt x="289" y="15"/>
                    <a:pt x="287" y="14"/>
                    <a:pt x="286" y="13"/>
                  </a:cubicBezTo>
                  <a:cubicBezTo>
                    <a:pt x="285" y="10"/>
                    <a:pt x="285" y="6"/>
                    <a:pt x="282" y="4"/>
                  </a:cubicBezTo>
                  <a:cubicBezTo>
                    <a:pt x="281" y="3"/>
                    <a:pt x="280" y="3"/>
                    <a:pt x="279" y="3"/>
                  </a:cubicBezTo>
                  <a:cubicBezTo>
                    <a:pt x="279" y="3"/>
                    <a:pt x="279" y="2"/>
                    <a:pt x="278" y="2"/>
                  </a:cubicBezTo>
                  <a:cubicBezTo>
                    <a:pt x="277" y="1"/>
                    <a:pt x="275" y="2"/>
                    <a:pt x="274" y="2"/>
                  </a:cubicBezTo>
                  <a:cubicBezTo>
                    <a:pt x="272" y="2"/>
                    <a:pt x="271" y="2"/>
                    <a:pt x="270" y="2"/>
                  </a:cubicBezTo>
                  <a:cubicBezTo>
                    <a:pt x="269" y="3"/>
                    <a:pt x="268" y="3"/>
                    <a:pt x="267" y="3"/>
                  </a:cubicBezTo>
                  <a:cubicBezTo>
                    <a:pt x="265" y="3"/>
                    <a:pt x="264" y="5"/>
                    <a:pt x="263" y="5"/>
                  </a:cubicBezTo>
                  <a:cubicBezTo>
                    <a:pt x="261" y="6"/>
                    <a:pt x="260" y="5"/>
                    <a:pt x="258" y="5"/>
                  </a:cubicBezTo>
                  <a:cubicBezTo>
                    <a:pt x="257" y="5"/>
                    <a:pt x="255" y="5"/>
                    <a:pt x="253" y="5"/>
                  </a:cubicBezTo>
                  <a:cubicBezTo>
                    <a:pt x="252" y="5"/>
                    <a:pt x="251" y="5"/>
                    <a:pt x="251" y="5"/>
                  </a:cubicBezTo>
                  <a:cubicBezTo>
                    <a:pt x="250" y="4"/>
                    <a:pt x="250" y="3"/>
                    <a:pt x="249" y="3"/>
                  </a:cubicBezTo>
                  <a:cubicBezTo>
                    <a:pt x="248" y="2"/>
                    <a:pt x="247" y="2"/>
                    <a:pt x="245" y="2"/>
                  </a:cubicBezTo>
                  <a:cubicBezTo>
                    <a:pt x="241" y="2"/>
                    <a:pt x="238" y="2"/>
                    <a:pt x="234" y="2"/>
                  </a:cubicBezTo>
                  <a:cubicBezTo>
                    <a:pt x="232" y="2"/>
                    <a:pt x="226" y="0"/>
                    <a:pt x="225" y="3"/>
                  </a:cubicBezTo>
                  <a:cubicBezTo>
                    <a:pt x="224" y="4"/>
                    <a:pt x="225" y="6"/>
                    <a:pt x="224" y="8"/>
                  </a:cubicBezTo>
                  <a:cubicBezTo>
                    <a:pt x="224" y="10"/>
                    <a:pt x="223" y="11"/>
                    <a:pt x="222" y="13"/>
                  </a:cubicBezTo>
                  <a:cubicBezTo>
                    <a:pt x="222" y="15"/>
                    <a:pt x="222" y="16"/>
                    <a:pt x="221" y="18"/>
                  </a:cubicBezTo>
                  <a:cubicBezTo>
                    <a:pt x="220" y="20"/>
                    <a:pt x="219" y="22"/>
                    <a:pt x="217" y="23"/>
                  </a:cubicBezTo>
                  <a:cubicBezTo>
                    <a:pt x="217" y="24"/>
                    <a:pt x="216" y="25"/>
                    <a:pt x="215" y="25"/>
                  </a:cubicBezTo>
                  <a:cubicBezTo>
                    <a:pt x="214" y="25"/>
                    <a:pt x="213" y="25"/>
                    <a:pt x="212" y="25"/>
                  </a:cubicBezTo>
                  <a:cubicBezTo>
                    <a:pt x="210" y="26"/>
                    <a:pt x="209" y="28"/>
                    <a:pt x="207" y="28"/>
                  </a:cubicBezTo>
                  <a:cubicBezTo>
                    <a:pt x="206" y="28"/>
                    <a:pt x="205" y="28"/>
                    <a:pt x="205" y="28"/>
                  </a:cubicBezTo>
                  <a:cubicBezTo>
                    <a:pt x="204" y="29"/>
                    <a:pt x="203" y="29"/>
                    <a:pt x="203" y="30"/>
                  </a:cubicBezTo>
                  <a:cubicBezTo>
                    <a:pt x="201" y="31"/>
                    <a:pt x="200" y="31"/>
                    <a:pt x="199" y="31"/>
                  </a:cubicBezTo>
                  <a:cubicBezTo>
                    <a:pt x="197" y="33"/>
                    <a:pt x="197" y="35"/>
                    <a:pt x="195" y="36"/>
                  </a:cubicBezTo>
                  <a:cubicBezTo>
                    <a:pt x="194" y="35"/>
                    <a:pt x="194" y="32"/>
                    <a:pt x="192" y="31"/>
                  </a:cubicBezTo>
                  <a:cubicBezTo>
                    <a:pt x="191" y="30"/>
                    <a:pt x="188" y="30"/>
                    <a:pt x="186" y="30"/>
                  </a:cubicBezTo>
                  <a:cubicBezTo>
                    <a:pt x="185" y="30"/>
                    <a:pt x="184" y="31"/>
                    <a:pt x="184" y="30"/>
                  </a:cubicBezTo>
                  <a:cubicBezTo>
                    <a:pt x="183" y="30"/>
                    <a:pt x="184" y="29"/>
                    <a:pt x="183" y="29"/>
                  </a:cubicBezTo>
                  <a:cubicBezTo>
                    <a:pt x="183" y="28"/>
                    <a:pt x="180" y="28"/>
                    <a:pt x="179" y="28"/>
                  </a:cubicBezTo>
                  <a:cubicBezTo>
                    <a:pt x="178" y="28"/>
                    <a:pt x="176" y="28"/>
                    <a:pt x="175" y="29"/>
                  </a:cubicBezTo>
                  <a:cubicBezTo>
                    <a:pt x="174" y="30"/>
                    <a:pt x="173" y="33"/>
                    <a:pt x="172" y="35"/>
                  </a:cubicBezTo>
                  <a:cubicBezTo>
                    <a:pt x="172" y="36"/>
                    <a:pt x="170" y="38"/>
                    <a:pt x="169" y="38"/>
                  </a:cubicBezTo>
                  <a:cubicBezTo>
                    <a:pt x="168" y="39"/>
                    <a:pt x="165" y="38"/>
                    <a:pt x="164" y="38"/>
                  </a:cubicBezTo>
                  <a:cubicBezTo>
                    <a:pt x="163" y="39"/>
                    <a:pt x="161" y="39"/>
                    <a:pt x="160" y="39"/>
                  </a:cubicBezTo>
                  <a:cubicBezTo>
                    <a:pt x="158" y="40"/>
                    <a:pt x="156" y="39"/>
                    <a:pt x="155" y="40"/>
                  </a:cubicBezTo>
                  <a:cubicBezTo>
                    <a:pt x="151" y="40"/>
                    <a:pt x="147" y="41"/>
                    <a:pt x="143" y="42"/>
                  </a:cubicBezTo>
                  <a:cubicBezTo>
                    <a:pt x="142" y="42"/>
                    <a:pt x="139" y="41"/>
                    <a:pt x="138" y="42"/>
                  </a:cubicBezTo>
                  <a:cubicBezTo>
                    <a:pt x="137" y="42"/>
                    <a:pt x="135" y="44"/>
                    <a:pt x="135" y="44"/>
                  </a:cubicBezTo>
                  <a:cubicBezTo>
                    <a:pt x="134" y="46"/>
                    <a:pt x="134" y="48"/>
                    <a:pt x="134" y="50"/>
                  </a:cubicBezTo>
                  <a:cubicBezTo>
                    <a:pt x="133" y="51"/>
                    <a:pt x="132" y="52"/>
                    <a:pt x="131" y="53"/>
                  </a:cubicBezTo>
                  <a:cubicBezTo>
                    <a:pt x="131" y="56"/>
                    <a:pt x="134" y="55"/>
                    <a:pt x="135" y="58"/>
                  </a:cubicBezTo>
                  <a:cubicBezTo>
                    <a:pt x="135" y="59"/>
                    <a:pt x="134" y="61"/>
                    <a:pt x="132" y="61"/>
                  </a:cubicBezTo>
                  <a:cubicBezTo>
                    <a:pt x="131" y="62"/>
                    <a:pt x="128" y="62"/>
                    <a:pt x="127" y="62"/>
                  </a:cubicBezTo>
                  <a:cubicBezTo>
                    <a:pt x="125" y="62"/>
                    <a:pt x="124" y="62"/>
                    <a:pt x="122" y="63"/>
                  </a:cubicBezTo>
                  <a:cubicBezTo>
                    <a:pt x="121" y="63"/>
                    <a:pt x="120" y="63"/>
                    <a:pt x="118" y="64"/>
                  </a:cubicBezTo>
                  <a:cubicBezTo>
                    <a:pt x="118" y="64"/>
                    <a:pt x="118" y="65"/>
                    <a:pt x="118" y="65"/>
                  </a:cubicBezTo>
                  <a:cubicBezTo>
                    <a:pt x="118" y="65"/>
                    <a:pt x="117" y="66"/>
                    <a:pt x="117" y="65"/>
                  </a:cubicBezTo>
                  <a:cubicBezTo>
                    <a:pt x="117" y="65"/>
                    <a:pt x="115" y="66"/>
                    <a:pt x="115" y="66"/>
                  </a:cubicBezTo>
                  <a:cubicBezTo>
                    <a:pt x="111" y="67"/>
                    <a:pt x="105" y="66"/>
                    <a:pt x="101" y="66"/>
                  </a:cubicBezTo>
                  <a:cubicBezTo>
                    <a:pt x="93" y="66"/>
                    <a:pt x="86" y="66"/>
                    <a:pt x="79" y="66"/>
                  </a:cubicBezTo>
                  <a:cubicBezTo>
                    <a:pt x="77" y="66"/>
                    <a:pt x="75" y="67"/>
                    <a:pt x="74" y="66"/>
                  </a:cubicBezTo>
                  <a:cubicBezTo>
                    <a:pt x="73" y="65"/>
                    <a:pt x="72" y="63"/>
                    <a:pt x="72" y="61"/>
                  </a:cubicBezTo>
                  <a:cubicBezTo>
                    <a:pt x="71" y="60"/>
                    <a:pt x="70" y="58"/>
                    <a:pt x="68" y="57"/>
                  </a:cubicBezTo>
                  <a:cubicBezTo>
                    <a:pt x="67" y="57"/>
                    <a:pt x="66" y="57"/>
                    <a:pt x="65" y="57"/>
                  </a:cubicBezTo>
                  <a:cubicBezTo>
                    <a:pt x="62" y="56"/>
                    <a:pt x="61" y="53"/>
                    <a:pt x="59" y="52"/>
                  </a:cubicBezTo>
                  <a:cubicBezTo>
                    <a:pt x="58" y="51"/>
                    <a:pt x="56" y="50"/>
                    <a:pt x="54" y="50"/>
                  </a:cubicBezTo>
                  <a:cubicBezTo>
                    <a:pt x="53" y="49"/>
                    <a:pt x="52" y="49"/>
                    <a:pt x="51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49" y="52"/>
                    <a:pt x="46" y="55"/>
                    <a:pt x="48" y="57"/>
                  </a:cubicBezTo>
                  <a:cubicBezTo>
                    <a:pt x="50" y="59"/>
                    <a:pt x="53" y="58"/>
                    <a:pt x="52" y="61"/>
                  </a:cubicBezTo>
                  <a:cubicBezTo>
                    <a:pt x="51" y="63"/>
                    <a:pt x="48" y="64"/>
                    <a:pt x="47" y="65"/>
                  </a:cubicBezTo>
                  <a:cubicBezTo>
                    <a:pt x="46" y="66"/>
                    <a:pt x="45" y="66"/>
                    <a:pt x="44" y="66"/>
                  </a:cubicBezTo>
                  <a:cubicBezTo>
                    <a:pt x="43" y="67"/>
                    <a:pt x="43" y="67"/>
                    <a:pt x="42" y="67"/>
                  </a:cubicBezTo>
                  <a:cubicBezTo>
                    <a:pt x="39" y="67"/>
                    <a:pt x="38" y="69"/>
                    <a:pt x="36" y="69"/>
                  </a:cubicBezTo>
                  <a:cubicBezTo>
                    <a:pt x="35" y="69"/>
                    <a:pt x="34" y="70"/>
                    <a:pt x="33" y="69"/>
                  </a:cubicBezTo>
                  <a:cubicBezTo>
                    <a:pt x="32" y="69"/>
                    <a:pt x="32" y="67"/>
                    <a:pt x="31" y="66"/>
                  </a:cubicBezTo>
                  <a:cubicBezTo>
                    <a:pt x="30" y="64"/>
                    <a:pt x="26" y="63"/>
                    <a:pt x="25" y="64"/>
                  </a:cubicBezTo>
                  <a:cubicBezTo>
                    <a:pt x="23" y="66"/>
                    <a:pt x="24" y="68"/>
                    <a:pt x="21" y="68"/>
                  </a:cubicBezTo>
                  <a:cubicBezTo>
                    <a:pt x="20" y="68"/>
                    <a:pt x="17" y="67"/>
                    <a:pt x="17" y="68"/>
                  </a:cubicBezTo>
                  <a:cubicBezTo>
                    <a:pt x="16" y="69"/>
                    <a:pt x="17" y="70"/>
                    <a:pt x="17" y="70"/>
                  </a:cubicBezTo>
                  <a:cubicBezTo>
                    <a:pt x="18" y="71"/>
                    <a:pt x="19" y="72"/>
                    <a:pt x="21" y="73"/>
                  </a:cubicBezTo>
                  <a:cubicBezTo>
                    <a:pt x="22" y="74"/>
                    <a:pt x="24" y="73"/>
                    <a:pt x="26" y="74"/>
                  </a:cubicBezTo>
                  <a:cubicBezTo>
                    <a:pt x="26" y="74"/>
                    <a:pt x="26" y="75"/>
                    <a:pt x="27" y="75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80"/>
                    <a:pt x="28" y="82"/>
                    <a:pt x="28" y="82"/>
                  </a:cubicBezTo>
                  <a:cubicBezTo>
                    <a:pt x="28" y="83"/>
                    <a:pt x="27" y="84"/>
                    <a:pt x="26" y="85"/>
                  </a:cubicBezTo>
                  <a:cubicBezTo>
                    <a:pt x="25" y="86"/>
                    <a:pt x="24" y="88"/>
                    <a:pt x="24" y="89"/>
                  </a:cubicBezTo>
                  <a:cubicBezTo>
                    <a:pt x="23" y="90"/>
                    <a:pt x="23" y="90"/>
                    <a:pt x="22" y="91"/>
                  </a:cubicBezTo>
                  <a:cubicBezTo>
                    <a:pt x="21" y="91"/>
                    <a:pt x="20" y="90"/>
                    <a:pt x="19" y="90"/>
                  </a:cubicBezTo>
                  <a:cubicBezTo>
                    <a:pt x="18" y="90"/>
                    <a:pt x="17" y="91"/>
                    <a:pt x="17" y="91"/>
                  </a:cubicBezTo>
                  <a:cubicBezTo>
                    <a:pt x="15" y="92"/>
                    <a:pt x="14" y="97"/>
                    <a:pt x="16" y="99"/>
                  </a:cubicBezTo>
                  <a:cubicBezTo>
                    <a:pt x="16" y="100"/>
                    <a:pt x="20" y="99"/>
                    <a:pt x="19" y="102"/>
                  </a:cubicBezTo>
                  <a:cubicBezTo>
                    <a:pt x="19" y="102"/>
                    <a:pt x="17" y="103"/>
                    <a:pt x="17" y="103"/>
                  </a:cubicBezTo>
                  <a:cubicBezTo>
                    <a:pt x="16" y="103"/>
                    <a:pt x="14" y="105"/>
                    <a:pt x="14" y="106"/>
                  </a:cubicBezTo>
                  <a:cubicBezTo>
                    <a:pt x="13" y="107"/>
                    <a:pt x="14" y="108"/>
                    <a:pt x="14" y="108"/>
                  </a:cubicBezTo>
                  <a:cubicBezTo>
                    <a:pt x="14" y="109"/>
                    <a:pt x="14" y="110"/>
                    <a:pt x="15" y="110"/>
                  </a:cubicBezTo>
                  <a:cubicBezTo>
                    <a:pt x="15" y="112"/>
                    <a:pt x="15" y="112"/>
                    <a:pt x="17" y="113"/>
                  </a:cubicBezTo>
                  <a:cubicBezTo>
                    <a:pt x="18" y="113"/>
                    <a:pt x="18" y="113"/>
                    <a:pt x="18" y="115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8"/>
                    <a:pt x="17" y="119"/>
                    <a:pt x="17" y="120"/>
                  </a:cubicBezTo>
                  <a:cubicBezTo>
                    <a:pt x="17" y="121"/>
                    <a:pt x="17" y="121"/>
                    <a:pt x="17" y="122"/>
                  </a:cubicBezTo>
                  <a:cubicBezTo>
                    <a:pt x="17" y="124"/>
                    <a:pt x="16" y="124"/>
                    <a:pt x="14" y="124"/>
                  </a:cubicBezTo>
                  <a:cubicBezTo>
                    <a:pt x="13" y="124"/>
                    <a:pt x="12" y="125"/>
                    <a:pt x="10" y="125"/>
                  </a:cubicBezTo>
                  <a:cubicBezTo>
                    <a:pt x="8" y="125"/>
                    <a:pt x="8" y="126"/>
                    <a:pt x="6" y="127"/>
                  </a:cubicBezTo>
                  <a:cubicBezTo>
                    <a:pt x="4" y="128"/>
                    <a:pt x="3" y="128"/>
                    <a:pt x="2" y="131"/>
                  </a:cubicBezTo>
                  <a:cubicBezTo>
                    <a:pt x="1" y="132"/>
                    <a:pt x="1" y="132"/>
                    <a:pt x="0" y="133"/>
                  </a:cubicBezTo>
                  <a:cubicBezTo>
                    <a:pt x="1" y="134"/>
                    <a:pt x="2" y="135"/>
                    <a:pt x="2" y="136"/>
                  </a:cubicBezTo>
                  <a:moveTo>
                    <a:pt x="51" y="49"/>
                  </a:moveTo>
                  <a:cubicBezTo>
                    <a:pt x="52" y="49"/>
                    <a:pt x="53" y="48"/>
                    <a:pt x="53" y="47"/>
                  </a:cubicBezTo>
                  <a:cubicBezTo>
                    <a:pt x="53" y="48"/>
                    <a:pt x="52" y="49"/>
                    <a:pt x="51" y="49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5" name="Freeform 25">
              <a:extLst>
                <a:ext uri="{FF2B5EF4-FFF2-40B4-BE49-F238E27FC236}">
                  <a16:creationId xmlns:a16="http://schemas.microsoft.com/office/drawing/2014/main" id="{7CFD436B-01F9-4D20-98D4-8AD359CAA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1075" y="5016500"/>
              <a:ext cx="311150" cy="225425"/>
            </a:xfrm>
            <a:custGeom>
              <a:avLst/>
              <a:gdLst/>
              <a:ahLst/>
              <a:cxnLst>
                <a:cxn ang="0">
                  <a:pos x="159" y="13"/>
                </a:cxn>
                <a:cxn ang="0">
                  <a:pos x="155" y="0"/>
                </a:cxn>
                <a:cxn ang="0">
                  <a:pos x="145" y="15"/>
                </a:cxn>
                <a:cxn ang="0">
                  <a:pos x="125" y="14"/>
                </a:cxn>
                <a:cxn ang="0">
                  <a:pos x="119" y="23"/>
                </a:cxn>
                <a:cxn ang="0">
                  <a:pos x="105" y="21"/>
                </a:cxn>
                <a:cxn ang="0">
                  <a:pos x="84" y="25"/>
                </a:cxn>
                <a:cxn ang="0">
                  <a:pos x="78" y="32"/>
                </a:cxn>
                <a:cxn ang="0">
                  <a:pos x="69" y="41"/>
                </a:cxn>
                <a:cxn ang="0">
                  <a:pos x="57" y="37"/>
                </a:cxn>
                <a:cxn ang="0">
                  <a:pos x="49" y="35"/>
                </a:cxn>
                <a:cxn ang="0">
                  <a:pos x="29" y="31"/>
                </a:cxn>
                <a:cxn ang="0">
                  <a:pos x="19" y="40"/>
                </a:cxn>
                <a:cxn ang="0">
                  <a:pos x="3" y="50"/>
                </a:cxn>
                <a:cxn ang="0">
                  <a:pos x="11" y="57"/>
                </a:cxn>
                <a:cxn ang="0">
                  <a:pos x="6" y="69"/>
                </a:cxn>
                <a:cxn ang="0">
                  <a:pos x="9" y="77"/>
                </a:cxn>
                <a:cxn ang="0">
                  <a:pos x="19" y="87"/>
                </a:cxn>
                <a:cxn ang="0">
                  <a:pos x="28" y="92"/>
                </a:cxn>
                <a:cxn ang="0">
                  <a:pos x="24" y="104"/>
                </a:cxn>
                <a:cxn ang="0">
                  <a:pos x="10" y="109"/>
                </a:cxn>
                <a:cxn ang="0">
                  <a:pos x="10" y="113"/>
                </a:cxn>
                <a:cxn ang="0">
                  <a:pos x="18" y="117"/>
                </a:cxn>
                <a:cxn ang="0">
                  <a:pos x="26" y="116"/>
                </a:cxn>
                <a:cxn ang="0">
                  <a:pos x="33" y="113"/>
                </a:cxn>
                <a:cxn ang="0">
                  <a:pos x="43" y="116"/>
                </a:cxn>
                <a:cxn ang="0">
                  <a:pos x="51" y="120"/>
                </a:cxn>
                <a:cxn ang="0">
                  <a:pos x="61" y="116"/>
                </a:cxn>
                <a:cxn ang="0">
                  <a:pos x="56" y="108"/>
                </a:cxn>
                <a:cxn ang="0">
                  <a:pos x="58" y="101"/>
                </a:cxn>
                <a:cxn ang="0">
                  <a:pos x="66" y="108"/>
                </a:cxn>
                <a:cxn ang="0">
                  <a:pos x="74" y="114"/>
                </a:cxn>
                <a:cxn ang="0">
                  <a:pos x="80" y="112"/>
                </a:cxn>
                <a:cxn ang="0">
                  <a:pos x="90" y="119"/>
                </a:cxn>
                <a:cxn ang="0">
                  <a:pos x="95" y="117"/>
                </a:cxn>
                <a:cxn ang="0">
                  <a:pos x="99" y="109"/>
                </a:cxn>
                <a:cxn ang="0">
                  <a:pos x="102" y="99"/>
                </a:cxn>
                <a:cxn ang="0">
                  <a:pos x="104" y="90"/>
                </a:cxn>
                <a:cxn ang="0">
                  <a:pos x="113" y="88"/>
                </a:cxn>
                <a:cxn ang="0">
                  <a:pos x="120" y="87"/>
                </a:cxn>
                <a:cxn ang="0">
                  <a:pos x="133" y="91"/>
                </a:cxn>
                <a:cxn ang="0">
                  <a:pos x="132" y="82"/>
                </a:cxn>
                <a:cxn ang="0">
                  <a:pos x="126" y="75"/>
                </a:cxn>
                <a:cxn ang="0">
                  <a:pos x="121" y="70"/>
                </a:cxn>
                <a:cxn ang="0">
                  <a:pos x="116" y="65"/>
                </a:cxn>
                <a:cxn ang="0">
                  <a:pos x="121" y="58"/>
                </a:cxn>
                <a:cxn ang="0">
                  <a:pos x="128" y="53"/>
                </a:cxn>
                <a:cxn ang="0">
                  <a:pos x="137" y="47"/>
                </a:cxn>
                <a:cxn ang="0">
                  <a:pos x="144" y="43"/>
                </a:cxn>
                <a:cxn ang="0">
                  <a:pos x="152" y="40"/>
                </a:cxn>
                <a:cxn ang="0">
                  <a:pos x="151" y="33"/>
                </a:cxn>
                <a:cxn ang="0">
                  <a:pos x="165" y="33"/>
                </a:cxn>
                <a:cxn ang="0">
                  <a:pos x="163" y="22"/>
                </a:cxn>
              </a:cxnLst>
              <a:rect l="0" t="0" r="r" b="b"/>
              <a:pathLst>
                <a:path w="167" h="120">
                  <a:moveTo>
                    <a:pt x="163" y="22"/>
                  </a:moveTo>
                  <a:cubicBezTo>
                    <a:pt x="162" y="21"/>
                    <a:pt x="161" y="21"/>
                    <a:pt x="160" y="20"/>
                  </a:cubicBezTo>
                  <a:cubicBezTo>
                    <a:pt x="158" y="19"/>
                    <a:pt x="158" y="19"/>
                    <a:pt x="158" y="17"/>
                  </a:cubicBezTo>
                  <a:cubicBezTo>
                    <a:pt x="158" y="15"/>
                    <a:pt x="158" y="14"/>
                    <a:pt x="159" y="13"/>
                  </a:cubicBezTo>
                  <a:cubicBezTo>
                    <a:pt x="159" y="11"/>
                    <a:pt x="160" y="10"/>
                    <a:pt x="160" y="8"/>
                  </a:cubicBezTo>
                  <a:cubicBezTo>
                    <a:pt x="160" y="6"/>
                    <a:pt x="159" y="5"/>
                    <a:pt x="157" y="3"/>
                  </a:cubicBezTo>
                  <a:cubicBezTo>
                    <a:pt x="157" y="2"/>
                    <a:pt x="156" y="1"/>
                    <a:pt x="15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4" y="0"/>
                    <a:pt x="154" y="1"/>
                    <a:pt x="153" y="1"/>
                  </a:cubicBezTo>
                  <a:cubicBezTo>
                    <a:pt x="152" y="3"/>
                    <a:pt x="150" y="2"/>
                    <a:pt x="149" y="3"/>
                  </a:cubicBezTo>
                  <a:cubicBezTo>
                    <a:pt x="147" y="4"/>
                    <a:pt x="146" y="6"/>
                    <a:pt x="146" y="9"/>
                  </a:cubicBezTo>
                  <a:cubicBezTo>
                    <a:pt x="146" y="11"/>
                    <a:pt x="146" y="13"/>
                    <a:pt x="145" y="15"/>
                  </a:cubicBezTo>
                  <a:cubicBezTo>
                    <a:pt x="144" y="18"/>
                    <a:pt x="141" y="18"/>
                    <a:pt x="138" y="18"/>
                  </a:cubicBezTo>
                  <a:cubicBezTo>
                    <a:pt x="136" y="17"/>
                    <a:pt x="133" y="18"/>
                    <a:pt x="131" y="17"/>
                  </a:cubicBezTo>
                  <a:cubicBezTo>
                    <a:pt x="129" y="15"/>
                    <a:pt x="131" y="12"/>
                    <a:pt x="129" y="11"/>
                  </a:cubicBezTo>
                  <a:cubicBezTo>
                    <a:pt x="128" y="10"/>
                    <a:pt x="126" y="13"/>
                    <a:pt x="125" y="14"/>
                  </a:cubicBezTo>
                  <a:cubicBezTo>
                    <a:pt x="124" y="15"/>
                    <a:pt x="125" y="14"/>
                    <a:pt x="124" y="15"/>
                  </a:cubicBezTo>
                  <a:cubicBezTo>
                    <a:pt x="124" y="15"/>
                    <a:pt x="123" y="15"/>
                    <a:pt x="123" y="15"/>
                  </a:cubicBezTo>
                  <a:cubicBezTo>
                    <a:pt x="122" y="15"/>
                    <a:pt x="122" y="15"/>
                    <a:pt x="122" y="16"/>
                  </a:cubicBezTo>
                  <a:cubicBezTo>
                    <a:pt x="121" y="18"/>
                    <a:pt x="119" y="20"/>
                    <a:pt x="119" y="23"/>
                  </a:cubicBezTo>
                  <a:cubicBezTo>
                    <a:pt x="118" y="23"/>
                    <a:pt x="118" y="22"/>
                    <a:pt x="116" y="22"/>
                  </a:cubicBezTo>
                  <a:cubicBezTo>
                    <a:pt x="115" y="21"/>
                    <a:pt x="113" y="22"/>
                    <a:pt x="112" y="22"/>
                  </a:cubicBezTo>
                  <a:cubicBezTo>
                    <a:pt x="111" y="22"/>
                    <a:pt x="111" y="22"/>
                    <a:pt x="111" y="21"/>
                  </a:cubicBezTo>
                  <a:cubicBezTo>
                    <a:pt x="109" y="21"/>
                    <a:pt x="107" y="21"/>
                    <a:pt x="105" y="21"/>
                  </a:cubicBezTo>
                  <a:cubicBezTo>
                    <a:pt x="104" y="21"/>
                    <a:pt x="103" y="20"/>
                    <a:pt x="102" y="20"/>
                  </a:cubicBezTo>
                  <a:cubicBezTo>
                    <a:pt x="100" y="19"/>
                    <a:pt x="99" y="20"/>
                    <a:pt x="97" y="21"/>
                  </a:cubicBezTo>
                  <a:cubicBezTo>
                    <a:pt x="95" y="22"/>
                    <a:pt x="93" y="22"/>
                    <a:pt x="90" y="23"/>
                  </a:cubicBezTo>
                  <a:cubicBezTo>
                    <a:pt x="88" y="23"/>
                    <a:pt x="85" y="23"/>
                    <a:pt x="84" y="25"/>
                  </a:cubicBezTo>
                  <a:cubicBezTo>
                    <a:pt x="84" y="26"/>
                    <a:pt x="83" y="27"/>
                    <a:pt x="83" y="27"/>
                  </a:cubicBezTo>
                  <a:cubicBezTo>
                    <a:pt x="83" y="28"/>
                    <a:pt x="82" y="28"/>
                    <a:pt x="82" y="28"/>
                  </a:cubicBezTo>
                  <a:cubicBezTo>
                    <a:pt x="81" y="29"/>
                    <a:pt x="81" y="29"/>
                    <a:pt x="81" y="30"/>
                  </a:cubicBezTo>
                  <a:cubicBezTo>
                    <a:pt x="80" y="31"/>
                    <a:pt x="79" y="32"/>
                    <a:pt x="78" y="32"/>
                  </a:cubicBezTo>
                  <a:cubicBezTo>
                    <a:pt x="77" y="32"/>
                    <a:pt x="76" y="31"/>
                    <a:pt x="76" y="32"/>
                  </a:cubicBezTo>
                  <a:cubicBezTo>
                    <a:pt x="75" y="32"/>
                    <a:pt x="74" y="33"/>
                    <a:pt x="74" y="33"/>
                  </a:cubicBezTo>
                  <a:cubicBezTo>
                    <a:pt x="73" y="34"/>
                    <a:pt x="73" y="35"/>
                    <a:pt x="72" y="35"/>
                  </a:cubicBezTo>
                  <a:cubicBezTo>
                    <a:pt x="71" y="37"/>
                    <a:pt x="72" y="40"/>
                    <a:pt x="69" y="41"/>
                  </a:cubicBezTo>
                  <a:cubicBezTo>
                    <a:pt x="67" y="41"/>
                    <a:pt x="65" y="40"/>
                    <a:pt x="63" y="39"/>
                  </a:cubicBezTo>
                  <a:cubicBezTo>
                    <a:pt x="62" y="39"/>
                    <a:pt x="61" y="39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9" y="37"/>
                    <a:pt x="57" y="38"/>
                    <a:pt x="57" y="37"/>
                  </a:cubicBezTo>
                  <a:cubicBezTo>
                    <a:pt x="55" y="37"/>
                    <a:pt x="52" y="37"/>
                    <a:pt x="50" y="36"/>
                  </a:cubicBezTo>
                  <a:cubicBezTo>
                    <a:pt x="49" y="36"/>
                    <a:pt x="48" y="36"/>
                    <a:pt x="47" y="36"/>
                  </a:cubicBezTo>
                  <a:cubicBezTo>
                    <a:pt x="48" y="36"/>
                    <a:pt x="48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3" y="33"/>
                    <a:pt x="38" y="34"/>
                    <a:pt x="33" y="32"/>
                  </a:cubicBezTo>
                  <a:cubicBezTo>
                    <a:pt x="32" y="32"/>
                    <a:pt x="31" y="31"/>
                    <a:pt x="29" y="31"/>
                  </a:cubicBezTo>
                  <a:cubicBezTo>
                    <a:pt x="29" y="30"/>
                    <a:pt x="28" y="31"/>
                    <a:pt x="28" y="31"/>
                  </a:cubicBezTo>
                  <a:cubicBezTo>
                    <a:pt x="27" y="30"/>
                    <a:pt x="26" y="30"/>
                    <a:pt x="25" y="30"/>
                  </a:cubicBezTo>
                  <a:cubicBezTo>
                    <a:pt x="24" y="30"/>
                    <a:pt x="22" y="29"/>
                    <a:pt x="21" y="29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7" y="41"/>
                    <a:pt x="15" y="41"/>
                    <a:pt x="13" y="41"/>
                  </a:cubicBezTo>
                  <a:cubicBezTo>
                    <a:pt x="10" y="41"/>
                    <a:pt x="8" y="42"/>
                    <a:pt x="6" y="44"/>
                  </a:cubicBezTo>
                  <a:cubicBezTo>
                    <a:pt x="5" y="45"/>
                    <a:pt x="5" y="46"/>
                    <a:pt x="5" y="48"/>
                  </a:cubicBezTo>
                  <a:cubicBezTo>
                    <a:pt x="5" y="49"/>
                    <a:pt x="5" y="49"/>
                    <a:pt x="3" y="50"/>
                  </a:cubicBezTo>
                  <a:cubicBezTo>
                    <a:pt x="2" y="51"/>
                    <a:pt x="1" y="51"/>
                    <a:pt x="1" y="52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2" y="55"/>
                    <a:pt x="4" y="56"/>
                    <a:pt x="7" y="56"/>
                  </a:cubicBezTo>
                  <a:cubicBezTo>
                    <a:pt x="8" y="56"/>
                    <a:pt x="9" y="57"/>
                    <a:pt x="11" y="57"/>
                  </a:cubicBezTo>
                  <a:cubicBezTo>
                    <a:pt x="12" y="58"/>
                    <a:pt x="15" y="59"/>
                    <a:pt x="16" y="60"/>
                  </a:cubicBezTo>
                  <a:cubicBezTo>
                    <a:pt x="17" y="62"/>
                    <a:pt x="14" y="62"/>
                    <a:pt x="13" y="62"/>
                  </a:cubicBezTo>
                  <a:cubicBezTo>
                    <a:pt x="11" y="63"/>
                    <a:pt x="10" y="65"/>
                    <a:pt x="9" y="66"/>
                  </a:cubicBezTo>
                  <a:cubicBezTo>
                    <a:pt x="7" y="67"/>
                    <a:pt x="7" y="68"/>
                    <a:pt x="6" y="69"/>
                  </a:cubicBezTo>
                  <a:cubicBezTo>
                    <a:pt x="3" y="73"/>
                    <a:pt x="8" y="72"/>
                    <a:pt x="11" y="73"/>
                  </a:cubicBezTo>
                  <a:cubicBezTo>
                    <a:pt x="11" y="73"/>
                    <a:pt x="11" y="74"/>
                    <a:pt x="11" y="74"/>
                  </a:cubicBezTo>
                  <a:cubicBezTo>
                    <a:pt x="11" y="76"/>
                    <a:pt x="11" y="75"/>
                    <a:pt x="10" y="76"/>
                  </a:cubicBezTo>
                  <a:cubicBezTo>
                    <a:pt x="10" y="76"/>
                    <a:pt x="9" y="76"/>
                    <a:pt x="9" y="77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10" y="79"/>
                    <a:pt x="11" y="81"/>
                    <a:pt x="12" y="82"/>
                  </a:cubicBezTo>
                  <a:cubicBezTo>
                    <a:pt x="13" y="84"/>
                    <a:pt x="13" y="85"/>
                    <a:pt x="15" y="86"/>
                  </a:cubicBezTo>
                  <a:cubicBezTo>
                    <a:pt x="16" y="87"/>
                    <a:pt x="18" y="87"/>
                    <a:pt x="19" y="87"/>
                  </a:cubicBezTo>
                  <a:cubicBezTo>
                    <a:pt x="20" y="87"/>
                    <a:pt x="21" y="87"/>
                    <a:pt x="22" y="87"/>
                  </a:cubicBezTo>
                  <a:cubicBezTo>
                    <a:pt x="23" y="87"/>
                    <a:pt x="23" y="88"/>
                    <a:pt x="24" y="89"/>
                  </a:cubicBezTo>
                  <a:cubicBezTo>
                    <a:pt x="25" y="90"/>
                    <a:pt x="27" y="90"/>
                    <a:pt x="27" y="91"/>
                  </a:cubicBezTo>
                  <a:cubicBezTo>
                    <a:pt x="28" y="92"/>
                    <a:pt x="27" y="92"/>
                    <a:pt x="28" y="92"/>
                  </a:cubicBezTo>
                  <a:cubicBezTo>
                    <a:pt x="28" y="94"/>
                    <a:pt x="28" y="94"/>
                    <a:pt x="28" y="95"/>
                  </a:cubicBezTo>
                  <a:cubicBezTo>
                    <a:pt x="28" y="98"/>
                    <a:pt x="28" y="99"/>
                    <a:pt x="27" y="101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5" y="103"/>
                    <a:pt x="25" y="103"/>
                    <a:pt x="24" y="104"/>
                  </a:cubicBezTo>
                  <a:cubicBezTo>
                    <a:pt x="23" y="105"/>
                    <a:pt x="22" y="106"/>
                    <a:pt x="20" y="107"/>
                  </a:cubicBezTo>
                  <a:cubicBezTo>
                    <a:pt x="19" y="107"/>
                    <a:pt x="16" y="107"/>
                    <a:pt x="14" y="107"/>
                  </a:cubicBezTo>
                  <a:cubicBezTo>
                    <a:pt x="14" y="108"/>
                    <a:pt x="13" y="108"/>
                    <a:pt x="12" y="108"/>
                  </a:cubicBezTo>
                  <a:cubicBezTo>
                    <a:pt x="12" y="109"/>
                    <a:pt x="11" y="108"/>
                    <a:pt x="10" y="109"/>
                  </a:cubicBezTo>
                  <a:cubicBezTo>
                    <a:pt x="9" y="109"/>
                    <a:pt x="8" y="110"/>
                    <a:pt x="7" y="110"/>
                  </a:cubicBezTo>
                  <a:cubicBezTo>
                    <a:pt x="8" y="110"/>
                    <a:pt x="8" y="111"/>
                    <a:pt x="8" y="112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10" y="113"/>
                    <a:pt x="9" y="113"/>
                    <a:pt x="10" y="113"/>
                  </a:cubicBezTo>
                  <a:cubicBezTo>
                    <a:pt x="10" y="114"/>
                    <a:pt x="11" y="115"/>
                    <a:pt x="11" y="116"/>
                  </a:cubicBezTo>
                  <a:cubicBezTo>
                    <a:pt x="12" y="116"/>
                    <a:pt x="13" y="116"/>
                    <a:pt x="13" y="116"/>
                  </a:cubicBezTo>
                  <a:cubicBezTo>
                    <a:pt x="14" y="117"/>
                    <a:pt x="15" y="117"/>
                    <a:pt x="15" y="117"/>
                  </a:cubicBezTo>
                  <a:cubicBezTo>
                    <a:pt x="16" y="117"/>
                    <a:pt x="17" y="117"/>
                    <a:pt x="18" y="117"/>
                  </a:cubicBezTo>
                  <a:cubicBezTo>
                    <a:pt x="19" y="117"/>
                    <a:pt x="20" y="117"/>
                    <a:pt x="21" y="118"/>
                  </a:cubicBezTo>
                  <a:cubicBezTo>
                    <a:pt x="21" y="118"/>
                    <a:pt x="22" y="119"/>
                    <a:pt x="22" y="119"/>
                  </a:cubicBezTo>
                  <a:cubicBezTo>
                    <a:pt x="24" y="119"/>
                    <a:pt x="25" y="117"/>
                    <a:pt x="26" y="116"/>
                  </a:cubicBezTo>
                  <a:cubicBezTo>
                    <a:pt x="26" y="116"/>
                    <a:pt x="26" y="116"/>
                    <a:pt x="26" y="116"/>
                  </a:cubicBezTo>
                  <a:cubicBezTo>
                    <a:pt x="26" y="115"/>
                    <a:pt x="26" y="115"/>
                    <a:pt x="27" y="115"/>
                  </a:cubicBezTo>
                  <a:cubicBezTo>
                    <a:pt x="27" y="114"/>
                    <a:pt x="29" y="112"/>
                    <a:pt x="30" y="112"/>
                  </a:cubicBezTo>
                  <a:cubicBezTo>
                    <a:pt x="30" y="112"/>
                    <a:pt x="31" y="111"/>
                    <a:pt x="31" y="112"/>
                  </a:cubicBezTo>
                  <a:cubicBezTo>
                    <a:pt x="32" y="112"/>
                    <a:pt x="32" y="112"/>
                    <a:pt x="33" y="113"/>
                  </a:cubicBezTo>
                  <a:cubicBezTo>
                    <a:pt x="34" y="113"/>
                    <a:pt x="34" y="113"/>
                    <a:pt x="35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7" y="114"/>
                    <a:pt x="39" y="113"/>
                    <a:pt x="41" y="114"/>
                  </a:cubicBezTo>
                  <a:cubicBezTo>
                    <a:pt x="42" y="115"/>
                    <a:pt x="42" y="116"/>
                    <a:pt x="43" y="116"/>
                  </a:cubicBezTo>
                  <a:cubicBezTo>
                    <a:pt x="44" y="117"/>
                    <a:pt x="45" y="117"/>
                    <a:pt x="46" y="118"/>
                  </a:cubicBezTo>
                  <a:cubicBezTo>
                    <a:pt x="47" y="118"/>
                    <a:pt x="48" y="119"/>
                    <a:pt x="49" y="119"/>
                  </a:cubicBezTo>
                  <a:cubicBezTo>
                    <a:pt x="49" y="120"/>
                    <a:pt x="50" y="120"/>
                    <a:pt x="50" y="120"/>
                  </a:cubicBezTo>
                  <a:cubicBezTo>
                    <a:pt x="50" y="120"/>
                    <a:pt x="51" y="120"/>
                    <a:pt x="51" y="120"/>
                  </a:cubicBezTo>
                  <a:cubicBezTo>
                    <a:pt x="52" y="120"/>
                    <a:pt x="52" y="120"/>
                    <a:pt x="52" y="120"/>
                  </a:cubicBezTo>
                  <a:cubicBezTo>
                    <a:pt x="53" y="119"/>
                    <a:pt x="53" y="119"/>
                    <a:pt x="53" y="118"/>
                  </a:cubicBezTo>
                  <a:cubicBezTo>
                    <a:pt x="54" y="118"/>
                    <a:pt x="55" y="119"/>
                    <a:pt x="56" y="119"/>
                  </a:cubicBezTo>
                  <a:cubicBezTo>
                    <a:pt x="57" y="119"/>
                    <a:pt x="60" y="117"/>
                    <a:pt x="61" y="116"/>
                  </a:cubicBezTo>
                  <a:cubicBezTo>
                    <a:pt x="61" y="115"/>
                    <a:pt x="61" y="114"/>
                    <a:pt x="60" y="114"/>
                  </a:cubicBezTo>
                  <a:cubicBezTo>
                    <a:pt x="59" y="113"/>
                    <a:pt x="59" y="112"/>
                    <a:pt x="58" y="112"/>
                  </a:cubicBezTo>
                  <a:cubicBezTo>
                    <a:pt x="58" y="111"/>
                    <a:pt x="57" y="110"/>
                    <a:pt x="57" y="109"/>
                  </a:cubicBezTo>
                  <a:cubicBezTo>
                    <a:pt x="57" y="108"/>
                    <a:pt x="57" y="108"/>
                    <a:pt x="56" y="108"/>
                  </a:cubicBezTo>
                  <a:cubicBezTo>
                    <a:pt x="56" y="108"/>
                    <a:pt x="56" y="107"/>
                    <a:pt x="56" y="107"/>
                  </a:cubicBezTo>
                  <a:cubicBezTo>
                    <a:pt x="55" y="106"/>
                    <a:pt x="56" y="105"/>
                    <a:pt x="56" y="104"/>
                  </a:cubicBezTo>
                  <a:cubicBezTo>
                    <a:pt x="57" y="103"/>
                    <a:pt x="57" y="103"/>
                    <a:pt x="58" y="102"/>
                  </a:cubicBezTo>
                  <a:cubicBezTo>
                    <a:pt x="58" y="102"/>
                    <a:pt x="58" y="101"/>
                    <a:pt x="58" y="101"/>
                  </a:cubicBezTo>
                  <a:cubicBezTo>
                    <a:pt x="59" y="101"/>
                    <a:pt x="58" y="102"/>
                    <a:pt x="59" y="103"/>
                  </a:cubicBezTo>
                  <a:cubicBezTo>
                    <a:pt x="60" y="104"/>
                    <a:pt x="61" y="104"/>
                    <a:pt x="62" y="105"/>
                  </a:cubicBezTo>
                  <a:cubicBezTo>
                    <a:pt x="63" y="105"/>
                    <a:pt x="64" y="106"/>
                    <a:pt x="64" y="107"/>
                  </a:cubicBezTo>
                  <a:cubicBezTo>
                    <a:pt x="65" y="107"/>
                    <a:pt x="66" y="108"/>
                    <a:pt x="66" y="108"/>
                  </a:cubicBezTo>
                  <a:cubicBezTo>
                    <a:pt x="67" y="108"/>
                    <a:pt x="67" y="108"/>
                    <a:pt x="68" y="109"/>
                  </a:cubicBezTo>
                  <a:cubicBezTo>
                    <a:pt x="68" y="110"/>
                    <a:pt x="69" y="111"/>
                    <a:pt x="69" y="112"/>
                  </a:cubicBezTo>
                  <a:cubicBezTo>
                    <a:pt x="69" y="112"/>
                    <a:pt x="70" y="113"/>
                    <a:pt x="70" y="114"/>
                  </a:cubicBezTo>
                  <a:cubicBezTo>
                    <a:pt x="71" y="114"/>
                    <a:pt x="73" y="114"/>
                    <a:pt x="74" y="114"/>
                  </a:cubicBezTo>
                  <a:cubicBezTo>
                    <a:pt x="75" y="114"/>
                    <a:pt x="75" y="114"/>
                    <a:pt x="75" y="113"/>
                  </a:cubicBezTo>
                  <a:cubicBezTo>
                    <a:pt x="76" y="112"/>
                    <a:pt x="77" y="112"/>
                    <a:pt x="77" y="111"/>
                  </a:cubicBezTo>
                  <a:cubicBezTo>
                    <a:pt x="77" y="110"/>
                    <a:pt x="77" y="109"/>
                    <a:pt x="78" y="110"/>
                  </a:cubicBezTo>
                  <a:cubicBezTo>
                    <a:pt x="79" y="111"/>
                    <a:pt x="79" y="112"/>
                    <a:pt x="80" y="112"/>
                  </a:cubicBezTo>
                  <a:cubicBezTo>
                    <a:pt x="80" y="113"/>
                    <a:pt x="80" y="113"/>
                    <a:pt x="81" y="113"/>
                  </a:cubicBezTo>
                  <a:cubicBezTo>
                    <a:pt x="81" y="113"/>
                    <a:pt x="81" y="113"/>
                    <a:pt x="82" y="113"/>
                  </a:cubicBezTo>
                  <a:cubicBezTo>
                    <a:pt x="82" y="114"/>
                    <a:pt x="83" y="115"/>
                    <a:pt x="83" y="115"/>
                  </a:cubicBezTo>
                  <a:cubicBezTo>
                    <a:pt x="85" y="117"/>
                    <a:pt x="87" y="119"/>
                    <a:pt x="90" y="119"/>
                  </a:cubicBezTo>
                  <a:cubicBezTo>
                    <a:pt x="91" y="119"/>
                    <a:pt x="91" y="119"/>
                    <a:pt x="92" y="119"/>
                  </a:cubicBezTo>
                  <a:cubicBezTo>
                    <a:pt x="92" y="119"/>
                    <a:pt x="92" y="118"/>
                    <a:pt x="93" y="118"/>
                  </a:cubicBezTo>
                  <a:cubicBezTo>
                    <a:pt x="93" y="118"/>
                    <a:pt x="93" y="117"/>
                    <a:pt x="93" y="117"/>
                  </a:cubicBezTo>
                  <a:cubicBezTo>
                    <a:pt x="94" y="116"/>
                    <a:pt x="94" y="117"/>
                    <a:pt x="95" y="117"/>
                  </a:cubicBezTo>
                  <a:cubicBezTo>
                    <a:pt x="97" y="117"/>
                    <a:pt x="99" y="115"/>
                    <a:pt x="100" y="114"/>
                  </a:cubicBezTo>
                  <a:cubicBezTo>
                    <a:pt x="101" y="113"/>
                    <a:pt x="101" y="113"/>
                    <a:pt x="100" y="112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9" y="110"/>
                    <a:pt x="99" y="110"/>
                    <a:pt x="99" y="109"/>
                  </a:cubicBezTo>
                  <a:cubicBezTo>
                    <a:pt x="99" y="108"/>
                    <a:pt x="99" y="107"/>
                    <a:pt x="99" y="106"/>
                  </a:cubicBezTo>
                  <a:cubicBezTo>
                    <a:pt x="99" y="105"/>
                    <a:pt x="99" y="104"/>
                    <a:pt x="99" y="103"/>
                  </a:cubicBezTo>
                  <a:cubicBezTo>
                    <a:pt x="99" y="103"/>
                    <a:pt x="99" y="103"/>
                    <a:pt x="99" y="102"/>
                  </a:cubicBezTo>
                  <a:cubicBezTo>
                    <a:pt x="99" y="100"/>
                    <a:pt x="100" y="100"/>
                    <a:pt x="102" y="99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2" y="96"/>
                    <a:pt x="100" y="96"/>
                    <a:pt x="100" y="94"/>
                  </a:cubicBezTo>
                  <a:cubicBezTo>
                    <a:pt x="100" y="94"/>
                    <a:pt x="101" y="93"/>
                    <a:pt x="102" y="93"/>
                  </a:cubicBezTo>
                  <a:cubicBezTo>
                    <a:pt x="102" y="92"/>
                    <a:pt x="103" y="91"/>
                    <a:pt x="104" y="90"/>
                  </a:cubicBezTo>
                  <a:cubicBezTo>
                    <a:pt x="105" y="90"/>
                    <a:pt x="105" y="89"/>
                    <a:pt x="106" y="89"/>
                  </a:cubicBezTo>
                  <a:cubicBezTo>
                    <a:pt x="107" y="88"/>
                    <a:pt x="108" y="88"/>
                    <a:pt x="109" y="88"/>
                  </a:cubicBezTo>
                  <a:cubicBezTo>
                    <a:pt x="110" y="87"/>
                    <a:pt x="110" y="87"/>
                    <a:pt x="111" y="87"/>
                  </a:cubicBezTo>
                  <a:cubicBezTo>
                    <a:pt x="112" y="87"/>
                    <a:pt x="112" y="87"/>
                    <a:pt x="113" y="88"/>
                  </a:cubicBezTo>
                  <a:cubicBezTo>
                    <a:pt x="114" y="88"/>
                    <a:pt x="113" y="88"/>
                    <a:pt x="114" y="88"/>
                  </a:cubicBezTo>
                  <a:cubicBezTo>
                    <a:pt x="116" y="87"/>
                    <a:pt x="117" y="89"/>
                    <a:pt x="119" y="89"/>
                  </a:cubicBezTo>
                  <a:cubicBezTo>
                    <a:pt x="119" y="88"/>
                    <a:pt x="119" y="87"/>
                    <a:pt x="119" y="87"/>
                  </a:cubicBezTo>
                  <a:cubicBezTo>
                    <a:pt x="119" y="87"/>
                    <a:pt x="120" y="87"/>
                    <a:pt x="120" y="87"/>
                  </a:cubicBezTo>
                  <a:cubicBezTo>
                    <a:pt x="120" y="86"/>
                    <a:pt x="123" y="87"/>
                    <a:pt x="123" y="88"/>
                  </a:cubicBezTo>
                  <a:cubicBezTo>
                    <a:pt x="124" y="88"/>
                    <a:pt x="125" y="89"/>
                    <a:pt x="126" y="89"/>
                  </a:cubicBezTo>
                  <a:cubicBezTo>
                    <a:pt x="127" y="90"/>
                    <a:pt x="129" y="91"/>
                    <a:pt x="131" y="91"/>
                  </a:cubicBezTo>
                  <a:cubicBezTo>
                    <a:pt x="132" y="91"/>
                    <a:pt x="133" y="91"/>
                    <a:pt x="133" y="91"/>
                  </a:cubicBezTo>
                  <a:cubicBezTo>
                    <a:pt x="135" y="91"/>
                    <a:pt x="137" y="91"/>
                    <a:pt x="137" y="89"/>
                  </a:cubicBezTo>
                  <a:cubicBezTo>
                    <a:pt x="138" y="88"/>
                    <a:pt x="136" y="86"/>
                    <a:pt x="135" y="84"/>
                  </a:cubicBezTo>
                  <a:cubicBezTo>
                    <a:pt x="135" y="84"/>
                    <a:pt x="135" y="82"/>
                    <a:pt x="135" y="82"/>
                  </a:cubicBezTo>
                  <a:cubicBezTo>
                    <a:pt x="134" y="82"/>
                    <a:pt x="133" y="82"/>
                    <a:pt x="132" y="82"/>
                  </a:cubicBezTo>
                  <a:cubicBezTo>
                    <a:pt x="132" y="81"/>
                    <a:pt x="132" y="82"/>
                    <a:pt x="132" y="81"/>
                  </a:cubicBezTo>
                  <a:cubicBezTo>
                    <a:pt x="131" y="81"/>
                    <a:pt x="131" y="80"/>
                    <a:pt x="131" y="79"/>
                  </a:cubicBezTo>
                  <a:cubicBezTo>
                    <a:pt x="130" y="78"/>
                    <a:pt x="130" y="76"/>
                    <a:pt x="128" y="75"/>
                  </a:cubicBezTo>
                  <a:cubicBezTo>
                    <a:pt x="128" y="75"/>
                    <a:pt x="127" y="76"/>
                    <a:pt x="126" y="75"/>
                  </a:cubicBezTo>
                  <a:cubicBezTo>
                    <a:pt x="125" y="75"/>
                    <a:pt x="125" y="73"/>
                    <a:pt x="124" y="73"/>
                  </a:cubicBezTo>
                  <a:cubicBezTo>
                    <a:pt x="123" y="72"/>
                    <a:pt x="123" y="71"/>
                    <a:pt x="122" y="71"/>
                  </a:cubicBezTo>
                  <a:cubicBezTo>
                    <a:pt x="122" y="71"/>
                    <a:pt x="122" y="71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0" y="70"/>
                    <a:pt x="119" y="70"/>
                    <a:pt x="119" y="69"/>
                  </a:cubicBezTo>
                  <a:cubicBezTo>
                    <a:pt x="119" y="69"/>
                    <a:pt x="118" y="68"/>
                    <a:pt x="118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17" y="67"/>
                    <a:pt x="117" y="66"/>
                    <a:pt x="116" y="65"/>
                  </a:cubicBezTo>
                  <a:cubicBezTo>
                    <a:pt x="116" y="65"/>
                    <a:pt x="115" y="64"/>
                    <a:pt x="115" y="64"/>
                  </a:cubicBezTo>
                  <a:cubicBezTo>
                    <a:pt x="115" y="62"/>
                    <a:pt x="116" y="61"/>
                    <a:pt x="117" y="60"/>
                  </a:cubicBezTo>
                  <a:cubicBezTo>
                    <a:pt x="118" y="59"/>
                    <a:pt x="118" y="58"/>
                    <a:pt x="119" y="58"/>
                  </a:cubicBezTo>
                  <a:cubicBezTo>
                    <a:pt x="120" y="57"/>
                    <a:pt x="121" y="58"/>
                    <a:pt x="121" y="58"/>
                  </a:cubicBezTo>
                  <a:cubicBezTo>
                    <a:pt x="122" y="58"/>
                    <a:pt x="123" y="58"/>
                    <a:pt x="123" y="58"/>
                  </a:cubicBezTo>
                  <a:cubicBezTo>
                    <a:pt x="124" y="57"/>
                    <a:pt x="124" y="55"/>
                    <a:pt x="125" y="55"/>
                  </a:cubicBezTo>
                  <a:cubicBezTo>
                    <a:pt x="126" y="54"/>
                    <a:pt x="125" y="54"/>
                    <a:pt x="126" y="54"/>
                  </a:cubicBezTo>
                  <a:cubicBezTo>
                    <a:pt x="127" y="54"/>
                    <a:pt x="128" y="54"/>
                    <a:pt x="128" y="53"/>
                  </a:cubicBezTo>
                  <a:cubicBezTo>
                    <a:pt x="129" y="53"/>
                    <a:pt x="129" y="53"/>
                    <a:pt x="130" y="52"/>
                  </a:cubicBezTo>
                  <a:cubicBezTo>
                    <a:pt x="130" y="51"/>
                    <a:pt x="132" y="50"/>
                    <a:pt x="133" y="50"/>
                  </a:cubicBezTo>
                  <a:cubicBezTo>
                    <a:pt x="134" y="50"/>
                    <a:pt x="135" y="50"/>
                    <a:pt x="136" y="50"/>
                  </a:cubicBezTo>
                  <a:cubicBezTo>
                    <a:pt x="137" y="49"/>
                    <a:pt x="136" y="47"/>
                    <a:pt x="137" y="47"/>
                  </a:cubicBezTo>
                  <a:cubicBezTo>
                    <a:pt x="138" y="46"/>
                    <a:pt x="140" y="47"/>
                    <a:pt x="141" y="47"/>
                  </a:cubicBezTo>
                  <a:cubicBezTo>
                    <a:pt x="142" y="47"/>
                    <a:pt x="142" y="47"/>
                    <a:pt x="142" y="46"/>
                  </a:cubicBezTo>
                  <a:cubicBezTo>
                    <a:pt x="142" y="46"/>
                    <a:pt x="142" y="45"/>
                    <a:pt x="142" y="45"/>
                  </a:cubicBezTo>
                  <a:cubicBezTo>
                    <a:pt x="142" y="44"/>
                    <a:pt x="143" y="44"/>
                    <a:pt x="144" y="43"/>
                  </a:cubicBezTo>
                  <a:cubicBezTo>
                    <a:pt x="146" y="43"/>
                    <a:pt x="148" y="42"/>
                    <a:pt x="150" y="43"/>
                  </a:cubicBezTo>
                  <a:cubicBezTo>
                    <a:pt x="151" y="43"/>
                    <a:pt x="152" y="43"/>
                    <a:pt x="152" y="43"/>
                  </a:cubicBezTo>
                  <a:cubicBezTo>
                    <a:pt x="153" y="43"/>
                    <a:pt x="153" y="42"/>
                    <a:pt x="153" y="42"/>
                  </a:cubicBezTo>
                  <a:cubicBezTo>
                    <a:pt x="153" y="41"/>
                    <a:pt x="152" y="41"/>
                    <a:pt x="152" y="40"/>
                  </a:cubicBezTo>
                  <a:cubicBezTo>
                    <a:pt x="151" y="39"/>
                    <a:pt x="151" y="38"/>
                    <a:pt x="150" y="37"/>
                  </a:cubicBezTo>
                  <a:cubicBezTo>
                    <a:pt x="150" y="37"/>
                    <a:pt x="149" y="36"/>
                    <a:pt x="148" y="35"/>
                  </a:cubicBezTo>
                  <a:cubicBezTo>
                    <a:pt x="148" y="35"/>
                    <a:pt x="148" y="34"/>
                    <a:pt x="149" y="34"/>
                  </a:cubicBezTo>
                  <a:cubicBezTo>
                    <a:pt x="149" y="33"/>
                    <a:pt x="150" y="33"/>
                    <a:pt x="151" y="33"/>
                  </a:cubicBezTo>
                  <a:cubicBezTo>
                    <a:pt x="152" y="33"/>
                    <a:pt x="152" y="33"/>
                    <a:pt x="153" y="33"/>
                  </a:cubicBezTo>
                  <a:cubicBezTo>
                    <a:pt x="153" y="32"/>
                    <a:pt x="154" y="31"/>
                    <a:pt x="155" y="31"/>
                  </a:cubicBezTo>
                  <a:cubicBezTo>
                    <a:pt x="156" y="30"/>
                    <a:pt x="159" y="32"/>
                    <a:pt x="160" y="33"/>
                  </a:cubicBezTo>
                  <a:cubicBezTo>
                    <a:pt x="162" y="33"/>
                    <a:pt x="163" y="33"/>
                    <a:pt x="165" y="33"/>
                  </a:cubicBezTo>
                  <a:cubicBezTo>
                    <a:pt x="165" y="33"/>
                    <a:pt x="166" y="33"/>
                    <a:pt x="167" y="33"/>
                  </a:cubicBezTo>
                  <a:cubicBezTo>
                    <a:pt x="167" y="32"/>
                    <a:pt x="167" y="32"/>
                    <a:pt x="167" y="32"/>
                  </a:cubicBezTo>
                  <a:cubicBezTo>
                    <a:pt x="166" y="32"/>
                    <a:pt x="165" y="32"/>
                    <a:pt x="165" y="32"/>
                  </a:cubicBezTo>
                  <a:cubicBezTo>
                    <a:pt x="161" y="29"/>
                    <a:pt x="164" y="26"/>
                    <a:pt x="163" y="2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6" name="Freeform 26">
              <a:extLst>
                <a:ext uri="{FF2B5EF4-FFF2-40B4-BE49-F238E27FC236}">
                  <a16:creationId xmlns:a16="http://schemas.microsoft.com/office/drawing/2014/main" id="{7E89CB62-5C0E-4270-8C40-1688C59710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5838" y="5073650"/>
              <a:ext cx="584200" cy="542925"/>
            </a:xfrm>
            <a:custGeom>
              <a:avLst/>
              <a:gdLst/>
              <a:ahLst/>
              <a:cxnLst>
                <a:cxn ang="0">
                  <a:pos x="261" y="120"/>
                </a:cxn>
                <a:cxn ang="0">
                  <a:pos x="275" y="132"/>
                </a:cxn>
                <a:cxn ang="0">
                  <a:pos x="294" y="124"/>
                </a:cxn>
                <a:cxn ang="0">
                  <a:pos x="305" y="104"/>
                </a:cxn>
                <a:cxn ang="0">
                  <a:pos x="291" y="87"/>
                </a:cxn>
                <a:cxn ang="0">
                  <a:pos x="288" y="72"/>
                </a:cxn>
                <a:cxn ang="0">
                  <a:pos x="284" y="56"/>
                </a:cxn>
                <a:cxn ang="0">
                  <a:pos x="275" y="56"/>
                </a:cxn>
                <a:cxn ang="0">
                  <a:pos x="244" y="63"/>
                </a:cxn>
                <a:cxn ang="0">
                  <a:pos x="223" y="58"/>
                </a:cxn>
                <a:cxn ang="0">
                  <a:pos x="201" y="40"/>
                </a:cxn>
                <a:cxn ang="0">
                  <a:pos x="194" y="29"/>
                </a:cxn>
                <a:cxn ang="0">
                  <a:pos x="169" y="7"/>
                </a:cxn>
                <a:cxn ang="0">
                  <a:pos x="152" y="1"/>
                </a:cxn>
                <a:cxn ang="0">
                  <a:pos x="149" y="10"/>
                </a:cxn>
                <a:cxn ang="0">
                  <a:pos x="139" y="16"/>
                </a:cxn>
                <a:cxn ang="0">
                  <a:pos x="125" y="23"/>
                </a:cxn>
                <a:cxn ang="0">
                  <a:pos x="114" y="30"/>
                </a:cxn>
                <a:cxn ang="0">
                  <a:pos x="118" y="40"/>
                </a:cxn>
                <a:cxn ang="0">
                  <a:pos x="128" y="49"/>
                </a:cxn>
                <a:cxn ang="0">
                  <a:pos x="130" y="61"/>
                </a:cxn>
                <a:cxn ang="0">
                  <a:pos x="116" y="59"/>
                </a:cxn>
                <a:cxn ang="0">
                  <a:pos x="101" y="60"/>
                </a:cxn>
                <a:cxn ang="0">
                  <a:pos x="96" y="73"/>
                </a:cxn>
                <a:cxn ang="0">
                  <a:pos x="92" y="87"/>
                </a:cxn>
                <a:cxn ang="0">
                  <a:pos x="79" y="83"/>
                </a:cxn>
                <a:cxn ang="0">
                  <a:pos x="71" y="84"/>
                </a:cxn>
                <a:cxn ang="0">
                  <a:pos x="59" y="75"/>
                </a:cxn>
                <a:cxn ang="0">
                  <a:pos x="53" y="78"/>
                </a:cxn>
                <a:cxn ang="0">
                  <a:pos x="50" y="88"/>
                </a:cxn>
                <a:cxn ang="0">
                  <a:pos x="40" y="86"/>
                </a:cxn>
                <a:cxn ang="0">
                  <a:pos x="27" y="82"/>
                </a:cxn>
                <a:cxn ang="0">
                  <a:pos x="15" y="87"/>
                </a:cxn>
                <a:cxn ang="0">
                  <a:pos x="5" y="82"/>
                </a:cxn>
                <a:cxn ang="0">
                  <a:pos x="1" y="87"/>
                </a:cxn>
                <a:cxn ang="0">
                  <a:pos x="16" y="127"/>
                </a:cxn>
                <a:cxn ang="0">
                  <a:pos x="25" y="131"/>
                </a:cxn>
                <a:cxn ang="0">
                  <a:pos x="37" y="109"/>
                </a:cxn>
                <a:cxn ang="0">
                  <a:pos x="54" y="109"/>
                </a:cxn>
                <a:cxn ang="0">
                  <a:pos x="64" y="125"/>
                </a:cxn>
                <a:cxn ang="0">
                  <a:pos x="70" y="130"/>
                </a:cxn>
                <a:cxn ang="0">
                  <a:pos x="75" y="151"/>
                </a:cxn>
                <a:cxn ang="0">
                  <a:pos x="93" y="179"/>
                </a:cxn>
                <a:cxn ang="0">
                  <a:pos x="95" y="203"/>
                </a:cxn>
                <a:cxn ang="0">
                  <a:pos x="106" y="217"/>
                </a:cxn>
                <a:cxn ang="0">
                  <a:pos x="119" y="235"/>
                </a:cxn>
                <a:cxn ang="0">
                  <a:pos x="134" y="242"/>
                </a:cxn>
                <a:cxn ang="0">
                  <a:pos x="157" y="246"/>
                </a:cxn>
                <a:cxn ang="0">
                  <a:pos x="200" y="287"/>
                </a:cxn>
                <a:cxn ang="0">
                  <a:pos x="202" y="278"/>
                </a:cxn>
                <a:cxn ang="0">
                  <a:pos x="195" y="264"/>
                </a:cxn>
                <a:cxn ang="0">
                  <a:pos x="192" y="250"/>
                </a:cxn>
                <a:cxn ang="0">
                  <a:pos x="169" y="224"/>
                </a:cxn>
                <a:cxn ang="0">
                  <a:pos x="142" y="196"/>
                </a:cxn>
                <a:cxn ang="0">
                  <a:pos x="135" y="175"/>
                </a:cxn>
                <a:cxn ang="0">
                  <a:pos x="131" y="151"/>
                </a:cxn>
                <a:cxn ang="0">
                  <a:pos x="118" y="134"/>
                </a:cxn>
                <a:cxn ang="0">
                  <a:pos x="133" y="107"/>
                </a:cxn>
                <a:cxn ang="0">
                  <a:pos x="150" y="118"/>
                </a:cxn>
                <a:cxn ang="0">
                  <a:pos x="174" y="105"/>
                </a:cxn>
                <a:cxn ang="0">
                  <a:pos x="192" y="114"/>
                </a:cxn>
                <a:cxn ang="0">
                  <a:pos x="221" y="116"/>
                </a:cxn>
                <a:cxn ang="0">
                  <a:pos x="237" y="114"/>
                </a:cxn>
              </a:cxnLst>
              <a:rect l="0" t="0" r="r" b="b"/>
              <a:pathLst>
                <a:path w="312" h="291">
                  <a:moveTo>
                    <a:pt x="9" y="78"/>
                  </a:move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moveTo>
                    <a:pt x="255" y="117"/>
                  </a:moveTo>
                  <a:cubicBezTo>
                    <a:pt x="256" y="117"/>
                    <a:pt x="257" y="118"/>
                    <a:pt x="259" y="118"/>
                  </a:cubicBezTo>
                  <a:cubicBezTo>
                    <a:pt x="259" y="119"/>
                    <a:pt x="260" y="120"/>
                    <a:pt x="261" y="120"/>
                  </a:cubicBezTo>
                  <a:cubicBezTo>
                    <a:pt x="263" y="121"/>
                    <a:pt x="266" y="121"/>
                    <a:pt x="267" y="121"/>
                  </a:cubicBezTo>
                  <a:cubicBezTo>
                    <a:pt x="268" y="118"/>
                    <a:pt x="272" y="120"/>
                    <a:pt x="273" y="122"/>
                  </a:cubicBezTo>
                  <a:cubicBezTo>
                    <a:pt x="273" y="122"/>
                    <a:pt x="273" y="123"/>
                    <a:pt x="273" y="124"/>
                  </a:cubicBezTo>
                  <a:cubicBezTo>
                    <a:pt x="273" y="124"/>
                    <a:pt x="274" y="125"/>
                    <a:pt x="274" y="125"/>
                  </a:cubicBezTo>
                  <a:cubicBezTo>
                    <a:pt x="275" y="126"/>
                    <a:pt x="277" y="127"/>
                    <a:pt x="277" y="128"/>
                  </a:cubicBezTo>
                  <a:cubicBezTo>
                    <a:pt x="276" y="130"/>
                    <a:pt x="275" y="130"/>
                    <a:pt x="275" y="132"/>
                  </a:cubicBezTo>
                  <a:cubicBezTo>
                    <a:pt x="275" y="134"/>
                    <a:pt x="276" y="136"/>
                    <a:pt x="278" y="137"/>
                  </a:cubicBezTo>
                  <a:cubicBezTo>
                    <a:pt x="279" y="137"/>
                    <a:pt x="278" y="137"/>
                    <a:pt x="280" y="138"/>
                  </a:cubicBezTo>
                  <a:cubicBezTo>
                    <a:pt x="281" y="138"/>
                    <a:pt x="282" y="138"/>
                    <a:pt x="282" y="138"/>
                  </a:cubicBezTo>
                  <a:cubicBezTo>
                    <a:pt x="284" y="137"/>
                    <a:pt x="286" y="137"/>
                    <a:pt x="288" y="136"/>
                  </a:cubicBezTo>
                  <a:cubicBezTo>
                    <a:pt x="290" y="135"/>
                    <a:pt x="297" y="134"/>
                    <a:pt x="295" y="131"/>
                  </a:cubicBezTo>
                  <a:cubicBezTo>
                    <a:pt x="294" y="128"/>
                    <a:pt x="291" y="126"/>
                    <a:pt x="294" y="124"/>
                  </a:cubicBezTo>
                  <a:cubicBezTo>
                    <a:pt x="294" y="123"/>
                    <a:pt x="296" y="122"/>
                    <a:pt x="296" y="121"/>
                  </a:cubicBezTo>
                  <a:cubicBezTo>
                    <a:pt x="296" y="120"/>
                    <a:pt x="295" y="119"/>
                    <a:pt x="296" y="118"/>
                  </a:cubicBezTo>
                  <a:cubicBezTo>
                    <a:pt x="297" y="116"/>
                    <a:pt x="301" y="115"/>
                    <a:pt x="303" y="114"/>
                  </a:cubicBezTo>
                  <a:cubicBezTo>
                    <a:pt x="305" y="114"/>
                    <a:pt x="312" y="114"/>
                    <a:pt x="310" y="110"/>
                  </a:cubicBezTo>
                  <a:cubicBezTo>
                    <a:pt x="310" y="109"/>
                    <a:pt x="309" y="109"/>
                    <a:pt x="308" y="108"/>
                  </a:cubicBezTo>
                  <a:cubicBezTo>
                    <a:pt x="307" y="107"/>
                    <a:pt x="306" y="105"/>
                    <a:pt x="305" y="104"/>
                  </a:cubicBezTo>
                  <a:cubicBezTo>
                    <a:pt x="303" y="102"/>
                    <a:pt x="303" y="102"/>
                    <a:pt x="301" y="102"/>
                  </a:cubicBezTo>
                  <a:cubicBezTo>
                    <a:pt x="297" y="101"/>
                    <a:pt x="294" y="99"/>
                    <a:pt x="292" y="98"/>
                  </a:cubicBezTo>
                  <a:cubicBezTo>
                    <a:pt x="291" y="98"/>
                    <a:pt x="290" y="97"/>
                    <a:pt x="290" y="96"/>
                  </a:cubicBezTo>
                  <a:cubicBezTo>
                    <a:pt x="288" y="94"/>
                    <a:pt x="292" y="93"/>
                    <a:pt x="292" y="90"/>
                  </a:cubicBezTo>
                  <a:cubicBezTo>
                    <a:pt x="291" y="89"/>
                    <a:pt x="290" y="89"/>
                    <a:pt x="290" y="88"/>
                  </a:cubicBezTo>
                  <a:cubicBezTo>
                    <a:pt x="290" y="87"/>
                    <a:pt x="291" y="87"/>
                    <a:pt x="291" y="87"/>
                  </a:cubicBezTo>
                  <a:cubicBezTo>
                    <a:pt x="292" y="85"/>
                    <a:pt x="291" y="84"/>
                    <a:pt x="290" y="83"/>
                  </a:cubicBezTo>
                  <a:cubicBezTo>
                    <a:pt x="290" y="82"/>
                    <a:pt x="290" y="82"/>
                    <a:pt x="289" y="82"/>
                  </a:cubicBezTo>
                  <a:cubicBezTo>
                    <a:pt x="288" y="80"/>
                    <a:pt x="288" y="81"/>
                    <a:pt x="286" y="80"/>
                  </a:cubicBezTo>
                  <a:cubicBezTo>
                    <a:pt x="286" y="79"/>
                    <a:pt x="286" y="78"/>
                    <a:pt x="286" y="76"/>
                  </a:cubicBezTo>
                  <a:cubicBezTo>
                    <a:pt x="286" y="75"/>
                    <a:pt x="287" y="75"/>
                    <a:pt x="287" y="74"/>
                  </a:cubicBezTo>
                  <a:cubicBezTo>
                    <a:pt x="287" y="73"/>
                    <a:pt x="288" y="73"/>
                    <a:pt x="288" y="72"/>
                  </a:cubicBezTo>
                  <a:cubicBezTo>
                    <a:pt x="288" y="70"/>
                    <a:pt x="286" y="70"/>
                    <a:pt x="286" y="68"/>
                  </a:cubicBezTo>
                  <a:cubicBezTo>
                    <a:pt x="286" y="67"/>
                    <a:pt x="286" y="65"/>
                    <a:pt x="286" y="64"/>
                  </a:cubicBezTo>
                  <a:cubicBezTo>
                    <a:pt x="286" y="64"/>
                    <a:pt x="286" y="63"/>
                    <a:pt x="286" y="63"/>
                  </a:cubicBezTo>
                  <a:cubicBezTo>
                    <a:pt x="286" y="62"/>
                    <a:pt x="285" y="62"/>
                    <a:pt x="285" y="62"/>
                  </a:cubicBezTo>
                  <a:cubicBezTo>
                    <a:pt x="285" y="62"/>
                    <a:pt x="285" y="61"/>
                    <a:pt x="284" y="60"/>
                  </a:cubicBezTo>
                  <a:cubicBezTo>
                    <a:pt x="284" y="59"/>
                    <a:pt x="284" y="58"/>
                    <a:pt x="284" y="56"/>
                  </a:cubicBezTo>
                  <a:cubicBezTo>
                    <a:pt x="284" y="54"/>
                    <a:pt x="284" y="52"/>
                    <a:pt x="284" y="50"/>
                  </a:cubicBezTo>
                  <a:cubicBezTo>
                    <a:pt x="284" y="50"/>
                    <a:pt x="284" y="50"/>
                    <a:pt x="284" y="51"/>
                  </a:cubicBezTo>
                  <a:cubicBezTo>
                    <a:pt x="283" y="51"/>
                    <a:pt x="283" y="52"/>
                    <a:pt x="282" y="52"/>
                  </a:cubicBezTo>
                  <a:cubicBezTo>
                    <a:pt x="282" y="52"/>
                    <a:pt x="281" y="52"/>
                    <a:pt x="281" y="51"/>
                  </a:cubicBezTo>
                  <a:cubicBezTo>
                    <a:pt x="279" y="50"/>
                    <a:pt x="278" y="54"/>
                    <a:pt x="277" y="55"/>
                  </a:cubicBezTo>
                  <a:cubicBezTo>
                    <a:pt x="277" y="55"/>
                    <a:pt x="275" y="56"/>
                    <a:pt x="275" y="56"/>
                  </a:cubicBezTo>
                  <a:cubicBezTo>
                    <a:pt x="274" y="56"/>
                    <a:pt x="272" y="57"/>
                    <a:pt x="271" y="57"/>
                  </a:cubicBezTo>
                  <a:cubicBezTo>
                    <a:pt x="270" y="58"/>
                    <a:pt x="269" y="58"/>
                    <a:pt x="269" y="59"/>
                  </a:cubicBezTo>
                  <a:cubicBezTo>
                    <a:pt x="268" y="60"/>
                    <a:pt x="268" y="62"/>
                    <a:pt x="268" y="63"/>
                  </a:cubicBezTo>
                  <a:cubicBezTo>
                    <a:pt x="265" y="65"/>
                    <a:pt x="259" y="62"/>
                    <a:pt x="256" y="63"/>
                  </a:cubicBezTo>
                  <a:cubicBezTo>
                    <a:pt x="253" y="63"/>
                    <a:pt x="251" y="63"/>
                    <a:pt x="249" y="63"/>
                  </a:cubicBezTo>
                  <a:cubicBezTo>
                    <a:pt x="247" y="63"/>
                    <a:pt x="246" y="63"/>
                    <a:pt x="244" y="63"/>
                  </a:cubicBezTo>
                  <a:cubicBezTo>
                    <a:pt x="244" y="63"/>
                    <a:pt x="243" y="63"/>
                    <a:pt x="242" y="63"/>
                  </a:cubicBezTo>
                  <a:cubicBezTo>
                    <a:pt x="241" y="62"/>
                    <a:pt x="241" y="62"/>
                    <a:pt x="240" y="62"/>
                  </a:cubicBezTo>
                  <a:cubicBezTo>
                    <a:pt x="239" y="61"/>
                    <a:pt x="237" y="62"/>
                    <a:pt x="236" y="61"/>
                  </a:cubicBezTo>
                  <a:cubicBezTo>
                    <a:pt x="234" y="61"/>
                    <a:pt x="232" y="60"/>
                    <a:pt x="230" y="60"/>
                  </a:cubicBezTo>
                  <a:cubicBezTo>
                    <a:pt x="229" y="60"/>
                    <a:pt x="227" y="60"/>
                    <a:pt x="225" y="60"/>
                  </a:cubicBezTo>
                  <a:cubicBezTo>
                    <a:pt x="224" y="59"/>
                    <a:pt x="224" y="59"/>
                    <a:pt x="223" y="58"/>
                  </a:cubicBezTo>
                  <a:cubicBezTo>
                    <a:pt x="222" y="56"/>
                    <a:pt x="220" y="55"/>
                    <a:pt x="218" y="54"/>
                  </a:cubicBezTo>
                  <a:cubicBezTo>
                    <a:pt x="218" y="53"/>
                    <a:pt x="218" y="53"/>
                    <a:pt x="217" y="52"/>
                  </a:cubicBezTo>
                  <a:cubicBezTo>
                    <a:pt x="216" y="52"/>
                    <a:pt x="216" y="52"/>
                    <a:pt x="215" y="52"/>
                  </a:cubicBezTo>
                  <a:cubicBezTo>
                    <a:pt x="212" y="52"/>
                    <a:pt x="212" y="51"/>
                    <a:pt x="210" y="50"/>
                  </a:cubicBezTo>
                  <a:cubicBezTo>
                    <a:pt x="208" y="49"/>
                    <a:pt x="205" y="49"/>
                    <a:pt x="203" y="47"/>
                  </a:cubicBezTo>
                  <a:cubicBezTo>
                    <a:pt x="202" y="45"/>
                    <a:pt x="202" y="42"/>
                    <a:pt x="201" y="40"/>
                  </a:cubicBezTo>
                  <a:cubicBezTo>
                    <a:pt x="200" y="38"/>
                    <a:pt x="199" y="38"/>
                    <a:pt x="198" y="36"/>
                  </a:cubicBezTo>
                  <a:cubicBezTo>
                    <a:pt x="197" y="36"/>
                    <a:pt x="197" y="35"/>
                    <a:pt x="196" y="35"/>
                  </a:cubicBezTo>
                  <a:cubicBezTo>
                    <a:pt x="196" y="34"/>
                    <a:pt x="196" y="34"/>
                    <a:pt x="195" y="34"/>
                  </a:cubicBezTo>
                  <a:cubicBezTo>
                    <a:pt x="196" y="33"/>
                    <a:pt x="196" y="33"/>
                    <a:pt x="195" y="33"/>
                  </a:cubicBezTo>
                  <a:cubicBezTo>
                    <a:pt x="195" y="32"/>
                    <a:pt x="194" y="31"/>
                    <a:pt x="193" y="30"/>
                  </a:cubicBezTo>
                  <a:cubicBezTo>
                    <a:pt x="193" y="30"/>
                    <a:pt x="193" y="29"/>
                    <a:pt x="194" y="29"/>
                  </a:cubicBezTo>
                  <a:cubicBezTo>
                    <a:pt x="192" y="30"/>
                    <a:pt x="191" y="28"/>
                    <a:pt x="190" y="28"/>
                  </a:cubicBezTo>
                  <a:cubicBezTo>
                    <a:pt x="189" y="27"/>
                    <a:pt x="187" y="27"/>
                    <a:pt x="186" y="26"/>
                  </a:cubicBezTo>
                  <a:cubicBezTo>
                    <a:pt x="183" y="24"/>
                    <a:pt x="183" y="23"/>
                    <a:pt x="184" y="20"/>
                  </a:cubicBezTo>
                  <a:cubicBezTo>
                    <a:pt x="182" y="20"/>
                    <a:pt x="180" y="19"/>
                    <a:pt x="179" y="18"/>
                  </a:cubicBezTo>
                  <a:cubicBezTo>
                    <a:pt x="178" y="17"/>
                    <a:pt x="178" y="15"/>
                    <a:pt x="177" y="14"/>
                  </a:cubicBezTo>
                  <a:cubicBezTo>
                    <a:pt x="175" y="11"/>
                    <a:pt x="172" y="9"/>
                    <a:pt x="169" y="7"/>
                  </a:cubicBezTo>
                  <a:cubicBezTo>
                    <a:pt x="167" y="6"/>
                    <a:pt x="166" y="5"/>
                    <a:pt x="165" y="4"/>
                  </a:cubicBezTo>
                  <a:cubicBezTo>
                    <a:pt x="165" y="4"/>
                    <a:pt x="164" y="2"/>
                    <a:pt x="164" y="2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3" y="3"/>
                    <a:pt x="162" y="3"/>
                    <a:pt x="162" y="3"/>
                  </a:cubicBezTo>
                  <a:cubicBezTo>
                    <a:pt x="160" y="3"/>
                    <a:pt x="159" y="3"/>
                    <a:pt x="157" y="3"/>
                  </a:cubicBezTo>
                  <a:cubicBezTo>
                    <a:pt x="156" y="2"/>
                    <a:pt x="153" y="0"/>
                    <a:pt x="152" y="1"/>
                  </a:cubicBezTo>
                  <a:cubicBezTo>
                    <a:pt x="151" y="1"/>
                    <a:pt x="150" y="2"/>
                    <a:pt x="150" y="3"/>
                  </a:cubicBezTo>
                  <a:cubicBezTo>
                    <a:pt x="149" y="3"/>
                    <a:pt x="149" y="3"/>
                    <a:pt x="148" y="3"/>
                  </a:cubicBezTo>
                  <a:cubicBezTo>
                    <a:pt x="147" y="3"/>
                    <a:pt x="146" y="3"/>
                    <a:pt x="146" y="4"/>
                  </a:cubicBezTo>
                  <a:cubicBezTo>
                    <a:pt x="145" y="4"/>
                    <a:pt x="145" y="5"/>
                    <a:pt x="145" y="5"/>
                  </a:cubicBezTo>
                  <a:cubicBezTo>
                    <a:pt x="146" y="6"/>
                    <a:pt x="147" y="7"/>
                    <a:pt x="147" y="7"/>
                  </a:cubicBezTo>
                  <a:cubicBezTo>
                    <a:pt x="148" y="8"/>
                    <a:pt x="148" y="9"/>
                    <a:pt x="149" y="10"/>
                  </a:cubicBezTo>
                  <a:cubicBezTo>
                    <a:pt x="149" y="11"/>
                    <a:pt x="150" y="11"/>
                    <a:pt x="150" y="12"/>
                  </a:cubicBezTo>
                  <a:cubicBezTo>
                    <a:pt x="150" y="12"/>
                    <a:pt x="150" y="13"/>
                    <a:pt x="149" y="13"/>
                  </a:cubicBezTo>
                  <a:cubicBezTo>
                    <a:pt x="149" y="13"/>
                    <a:pt x="148" y="13"/>
                    <a:pt x="147" y="13"/>
                  </a:cubicBezTo>
                  <a:cubicBezTo>
                    <a:pt x="145" y="12"/>
                    <a:pt x="143" y="13"/>
                    <a:pt x="141" y="13"/>
                  </a:cubicBezTo>
                  <a:cubicBezTo>
                    <a:pt x="140" y="14"/>
                    <a:pt x="139" y="14"/>
                    <a:pt x="139" y="15"/>
                  </a:cubicBezTo>
                  <a:cubicBezTo>
                    <a:pt x="139" y="15"/>
                    <a:pt x="139" y="16"/>
                    <a:pt x="139" y="16"/>
                  </a:cubicBezTo>
                  <a:cubicBezTo>
                    <a:pt x="139" y="17"/>
                    <a:pt x="139" y="17"/>
                    <a:pt x="138" y="17"/>
                  </a:cubicBezTo>
                  <a:cubicBezTo>
                    <a:pt x="137" y="17"/>
                    <a:pt x="135" y="16"/>
                    <a:pt x="134" y="17"/>
                  </a:cubicBezTo>
                  <a:cubicBezTo>
                    <a:pt x="133" y="17"/>
                    <a:pt x="134" y="19"/>
                    <a:pt x="133" y="20"/>
                  </a:cubicBezTo>
                  <a:cubicBezTo>
                    <a:pt x="132" y="20"/>
                    <a:pt x="131" y="20"/>
                    <a:pt x="130" y="20"/>
                  </a:cubicBezTo>
                  <a:cubicBezTo>
                    <a:pt x="129" y="20"/>
                    <a:pt x="127" y="21"/>
                    <a:pt x="127" y="22"/>
                  </a:cubicBezTo>
                  <a:cubicBezTo>
                    <a:pt x="126" y="23"/>
                    <a:pt x="126" y="23"/>
                    <a:pt x="125" y="23"/>
                  </a:cubicBezTo>
                  <a:cubicBezTo>
                    <a:pt x="125" y="24"/>
                    <a:pt x="124" y="24"/>
                    <a:pt x="123" y="24"/>
                  </a:cubicBezTo>
                  <a:cubicBezTo>
                    <a:pt x="122" y="24"/>
                    <a:pt x="123" y="24"/>
                    <a:pt x="122" y="25"/>
                  </a:cubicBezTo>
                  <a:cubicBezTo>
                    <a:pt x="121" y="25"/>
                    <a:pt x="121" y="27"/>
                    <a:pt x="120" y="28"/>
                  </a:cubicBezTo>
                  <a:cubicBezTo>
                    <a:pt x="120" y="28"/>
                    <a:pt x="119" y="28"/>
                    <a:pt x="118" y="28"/>
                  </a:cubicBezTo>
                  <a:cubicBezTo>
                    <a:pt x="118" y="28"/>
                    <a:pt x="117" y="27"/>
                    <a:pt x="116" y="28"/>
                  </a:cubicBezTo>
                  <a:cubicBezTo>
                    <a:pt x="115" y="28"/>
                    <a:pt x="115" y="29"/>
                    <a:pt x="114" y="30"/>
                  </a:cubicBezTo>
                  <a:cubicBezTo>
                    <a:pt x="113" y="31"/>
                    <a:pt x="112" y="32"/>
                    <a:pt x="112" y="34"/>
                  </a:cubicBezTo>
                  <a:cubicBezTo>
                    <a:pt x="112" y="34"/>
                    <a:pt x="113" y="35"/>
                    <a:pt x="113" y="35"/>
                  </a:cubicBezTo>
                  <a:cubicBezTo>
                    <a:pt x="114" y="36"/>
                    <a:pt x="114" y="37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6" y="39"/>
                    <a:pt x="116" y="39"/>
                  </a:cubicBezTo>
                  <a:cubicBezTo>
                    <a:pt x="116" y="40"/>
                    <a:pt x="117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0" y="41"/>
                    <a:pt x="120" y="42"/>
                    <a:pt x="121" y="43"/>
                  </a:cubicBezTo>
                  <a:cubicBezTo>
                    <a:pt x="122" y="43"/>
                    <a:pt x="122" y="45"/>
                    <a:pt x="123" y="45"/>
                  </a:cubicBezTo>
                  <a:cubicBezTo>
                    <a:pt x="124" y="46"/>
                    <a:pt x="125" y="45"/>
                    <a:pt x="125" y="45"/>
                  </a:cubicBezTo>
                  <a:cubicBezTo>
                    <a:pt x="127" y="46"/>
                    <a:pt x="127" y="48"/>
                    <a:pt x="128" y="49"/>
                  </a:cubicBezTo>
                  <a:cubicBezTo>
                    <a:pt x="128" y="50"/>
                    <a:pt x="128" y="51"/>
                    <a:pt x="129" y="51"/>
                  </a:cubicBezTo>
                  <a:cubicBezTo>
                    <a:pt x="129" y="52"/>
                    <a:pt x="129" y="51"/>
                    <a:pt x="129" y="52"/>
                  </a:cubicBezTo>
                  <a:cubicBezTo>
                    <a:pt x="130" y="52"/>
                    <a:pt x="131" y="52"/>
                    <a:pt x="132" y="52"/>
                  </a:cubicBezTo>
                  <a:cubicBezTo>
                    <a:pt x="132" y="52"/>
                    <a:pt x="132" y="54"/>
                    <a:pt x="132" y="54"/>
                  </a:cubicBezTo>
                  <a:cubicBezTo>
                    <a:pt x="133" y="56"/>
                    <a:pt x="135" y="58"/>
                    <a:pt x="134" y="59"/>
                  </a:cubicBezTo>
                  <a:cubicBezTo>
                    <a:pt x="134" y="61"/>
                    <a:pt x="132" y="61"/>
                    <a:pt x="130" y="61"/>
                  </a:cubicBezTo>
                  <a:cubicBezTo>
                    <a:pt x="130" y="61"/>
                    <a:pt x="129" y="61"/>
                    <a:pt x="128" y="61"/>
                  </a:cubicBezTo>
                  <a:cubicBezTo>
                    <a:pt x="126" y="61"/>
                    <a:pt x="124" y="60"/>
                    <a:pt x="123" y="59"/>
                  </a:cubicBezTo>
                  <a:cubicBezTo>
                    <a:pt x="122" y="59"/>
                    <a:pt x="121" y="58"/>
                    <a:pt x="120" y="58"/>
                  </a:cubicBezTo>
                  <a:cubicBezTo>
                    <a:pt x="120" y="57"/>
                    <a:pt x="117" y="56"/>
                    <a:pt x="117" y="57"/>
                  </a:cubicBezTo>
                  <a:cubicBezTo>
                    <a:pt x="117" y="57"/>
                    <a:pt x="116" y="57"/>
                    <a:pt x="116" y="57"/>
                  </a:cubicBezTo>
                  <a:cubicBezTo>
                    <a:pt x="116" y="57"/>
                    <a:pt x="116" y="58"/>
                    <a:pt x="116" y="59"/>
                  </a:cubicBezTo>
                  <a:cubicBezTo>
                    <a:pt x="114" y="59"/>
                    <a:pt x="113" y="57"/>
                    <a:pt x="111" y="58"/>
                  </a:cubicBezTo>
                  <a:cubicBezTo>
                    <a:pt x="110" y="58"/>
                    <a:pt x="111" y="58"/>
                    <a:pt x="110" y="58"/>
                  </a:cubicBezTo>
                  <a:cubicBezTo>
                    <a:pt x="109" y="57"/>
                    <a:pt x="109" y="57"/>
                    <a:pt x="108" y="57"/>
                  </a:cubicBezTo>
                  <a:cubicBezTo>
                    <a:pt x="107" y="57"/>
                    <a:pt x="107" y="57"/>
                    <a:pt x="106" y="58"/>
                  </a:cubicBezTo>
                  <a:cubicBezTo>
                    <a:pt x="105" y="58"/>
                    <a:pt x="104" y="58"/>
                    <a:pt x="103" y="59"/>
                  </a:cubicBezTo>
                  <a:cubicBezTo>
                    <a:pt x="102" y="59"/>
                    <a:pt x="102" y="60"/>
                    <a:pt x="101" y="60"/>
                  </a:cubicBezTo>
                  <a:cubicBezTo>
                    <a:pt x="100" y="61"/>
                    <a:pt x="99" y="62"/>
                    <a:pt x="99" y="63"/>
                  </a:cubicBezTo>
                  <a:cubicBezTo>
                    <a:pt x="98" y="63"/>
                    <a:pt x="97" y="64"/>
                    <a:pt x="97" y="64"/>
                  </a:cubicBezTo>
                  <a:cubicBezTo>
                    <a:pt x="97" y="66"/>
                    <a:pt x="99" y="66"/>
                    <a:pt x="99" y="68"/>
                  </a:cubicBezTo>
                  <a:cubicBezTo>
                    <a:pt x="99" y="68"/>
                    <a:pt x="99" y="68"/>
                    <a:pt x="99" y="69"/>
                  </a:cubicBezTo>
                  <a:cubicBezTo>
                    <a:pt x="97" y="70"/>
                    <a:pt x="96" y="70"/>
                    <a:pt x="96" y="72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4"/>
                    <a:pt x="96" y="75"/>
                    <a:pt x="96" y="76"/>
                  </a:cubicBezTo>
                  <a:cubicBezTo>
                    <a:pt x="96" y="77"/>
                    <a:pt x="96" y="78"/>
                    <a:pt x="96" y="79"/>
                  </a:cubicBezTo>
                  <a:cubicBezTo>
                    <a:pt x="96" y="80"/>
                    <a:pt x="96" y="80"/>
                    <a:pt x="96" y="81"/>
                  </a:cubicBezTo>
                  <a:cubicBezTo>
                    <a:pt x="96" y="81"/>
                    <a:pt x="96" y="81"/>
                    <a:pt x="97" y="82"/>
                  </a:cubicBezTo>
                  <a:cubicBezTo>
                    <a:pt x="98" y="83"/>
                    <a:pt x="98" y="83"/>
                    <a:pt x="97" y="84"/>
                  </a:cubicBezTo>
                  <a:cubicBezTo>
                    <a:pt x="96" y="85"/>
                    <a:pt x="94" y="87"/>
                    <a:pt x="92" y="87"/>
                  </a:cubicBezTo>
                  <a:cubicBezTo>
                    <a:pt x="91" y="87"/>
                    <a:pt x="91" y="86"/>
                    <a:pt x="90" y="87"/>
                  </a:cubicBezTo>
                  <a:cubicBezTo>
                    <a:pt x="90" y="87"/>
                    <a:pt x="90" y="88"/>
                    <a:pt x="90" y="88"/>
                  </a:cubicBezTo>
                  <a:cubicBezTo>
                    <a:pt x="89" y="88"/>
                    <a:pt x="89" y="89"/>
                    <a:pt x="89" y="89"/>
                  </a:cubicBezTo>
                  <a:cubicBezTo>
                    <a:pt x="88" y="89"/>
                    <a:pt x="88" y="89"/>
                    <a:pt x="87" y="89"/>
                  </a:cubicBezTo>
                  <a:cubicBezTo>
                    <a:pt x="84" y="89"/>
                    <a:pt x="82" y="87"/>
                    <a:pt x="80" y="85"/>
                  </a:cubicBezTo>
                  <a:cubicBezTo>
                    <a:pt x="80" y="85"/>
                    <a:pt x="79" y="84"/>
                    <a:pt x="79" y="83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77" y="83"/>
                    <a:pt x="77" y="83"/>
                    <a:pt x="77" y="82"/>
                  </a:cubicBezTo>
                  <a:cubicBezTo>
                    <a:pt x="76" y="82"/>
                    <a:pt x="76" y="81"/>
                    <a:pt x="75" y="80"/>
                  </a:cubicBezTo>
                  <a:cubicBezTo>
                    <a:pt x="74" y="79"/>
                    <a:pt x="74" y="80"/>
                    <a:pt x="74" y="81"/>
                  </a:cubicBezTo>
                  <a:cubicBezTo>
                    <a:pt x="74" y="82"/>
                    <a:pt x="73" y="82"/>
                    <a:pt x="72" y="83"/>
                  </a:cubicBezTo>
                  <a:cubicBezTo>
                    <a:pt x="72" y="84"/>
                    <a:pt x="72" y="84"/>
                    <a:pt x="71" y="84"/>
                  </a:cubicBezTo>
                  <a:cubicBezTo>
                    <a:pt x="70" y="84"/>
                    <a:pt x="68" y="84"/>
                    <a:pt x="67" y="84"/>
                  </a:cubicBezTo>
                  <a:cubicBezTo>
                    <a:pt x="67" y="83"/>
                    <a:pt x="66" y="82"/>
                    <a:pt x="66" y="82"/>
                  </a:cubicBezTo>
                  <a:cubicBezTo>
                    <a:pt x="66" y="81"/>
                    <a:pt x="65" y="80"/>
                    <a:pt x="65" y="79"/>
                  </a:cubicBezTo>
                  <a:cubicBezTo>
                    <a:pt x="64" y="78"/>
                    <a:pt x="64" y="78"/>
                    <a:pt x="63" y="78"/>
                  </a:cubicBezTo>
                  <a:cubicBezTo>
                    <a:pt x="63" y="78"/>
                    <a:pt x="62" y="77"/>
                    <a:pt x="61" y="77"/>
                  </a:cubicBezTo>
                  <a:cubicBezTo>
                    <a:pt x="61" y="76"/>
                    <a:pt x="60" y="75"/>
                    <a:pt x="59" y="75"/>
                  </a:cubicBezTo>
                  <a:cubicBezTo>
                    <a:pt x="58" y="74"/>
                    <a:pt x="57" y="74"/>
                    <a:pt x="56" y="73"/>
                  </a:cubicBezTo>
                  <a:cubicBezTo>
                    <a:pt x="55" y="72"/>
                    <a:pt x="56" y="71"/>
                    <a:pt x="55" y="71"/>
                  </a:cubicBezTo>
                  <a:cubicBezTo>
                    <a:pt x="55" y="71"/>
                    <a:pt x="55" y="72"/>
                    <a:pt x="55" y="72"/>
                  </a:cubicBezTo>
                  <a:cubicBezTo>
                    <a:pt x="54" y="73"/>
                    <a:pt x="54" y="73"/>
                    <a:pt x="53" y="74"/>
                  </a:cubicBezTo>
                  <a:cubicBezTo>
                    <a:pt x="53" y="75"/>
                    <a:pt x="52" y="76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4" y="78"/>
                    <a:pt x="54" y="78"/>
                    <a:pt x="54" y="79"/>
                  </a:cubicBezTo>
                  <a:cubicBezTo>
                    <a:pt x="54" y="80"/>
                    <a:pt x="55" y="81"/>
                    <a:pt x="55" y="82"/>
                  </a:cubicBezTo>
                  <a:cubicBezTo>
                    <a:pt x="56" y="82"/>
                    <a:pt x="56" y="83"/>
                    <a:pt x="57" y="84"/>
                  </a:cubicBezTo>
                  <a:cubicBezTo>
                    <a:pt x="58" y="84"/>
                    <a:pt x="58" y="85"/>
                    <a:pt x="58" y="86"/>
                  </a:cubicBezTo>
                  <a:cubicBezTo>
                    <a:pt x="57" y="87"/>
                    <a:pt x="54" y="89"/>
                    <a:pt x="53" y="89"/>
                  </a:cubicBezTo>
                  <a:cubicBezTo>
                    <a:pt x="52" y="89"/>
                    <a:pt x="51" y="88"/>
                    <a:pt x="50" y="88"/>
                  </a:cubicBezTo>
                  <a:cubicBezTo>
                    <a:pt x="50" y="89"/>
                    <a:pt x="50" y="89"/>
                    <a:pt x="49" y="90"/>
                  </a:cubicBezTo>
                  <a:cubicBezTo>
                    <a:pt x="49" y="90"/>
                    <a:pt x="49" y="90"/>
                    <a:pt x="48" y="90"/>
                  </a:cubicBezTo>
                  <a:cubicBezTo>
                    <a:pt x="48" y="90"/>
                    <a:pt x="47" y="90"/>
                    <a:pt x="47" y="90"/>
                  </a:cubicBezTo>
                  <a:cubicBezTo>
                    <a:pt x="47" y="90"/>
                    <a:pt x="46" y="90"/>
                    <a:pt x="46" y="89"/>
                  </a:cubicBezTo>
                  <a:cubicBezTo>
                    <a:pt x="45" y="89"/>
                    <a:pt x="44" y="88"/>
                    <a:pt x="43" y="88"/>
                  </a:cubicBezTo>
                  <a:cubicBezTo>
                    <a:pt x="42" y="87"/>
                    <a:pt x="41" y="87"/>
                    <a:pt x="40" y="86"/>
                  </a:cubicBezTo>
                  <a:cubicBezTo>
                    <a:pt x="39" y="86"/>
                    <a:pt x="39" y="85"/>
                    <a:pt x="38" y="84"/>
                  </a:cubicBezTo>
                  <a:cubicBezTo>
                    <a:pt x="36" y="83"/>
                    <a:pt x="34" y="84"/>
                    <a:pt x="32" y="8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1" y="83"/>
                    <a:pt x="31" y="83"/>
                    <a:pt x="30" y="83"/>
                  </a:cubicBezTo>
                  <a:cubicBezTo>
                    <a:pt x="29" y="82"/>
                    <a:pt x="29" y="82"/>
                    <a:pt x="28" y="82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6" y="82"/>
                    <a:pt x="24" y="84"/>
                    <a:pt x="24" y="85"/>
                  </a:cubicBezTo>
                  <a:cubicBezTo>
                    <a:pt x="23" y="85"/>
                    <a:pt x="23" y="85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2" y="87"/>
                    <a:pt x="21" y="89"/>
                    <a:pt x="19" y="89"/>
                  </a:cubicBezTo>
                  <a:cubicBezTo>
                    <a:pt x="19" y="89"/>
                    <a:pt x="18" y="88"/>
                    <a:pt x="18" y="88"/>
                  </a:cubicBezTo>
                  <a:cubicBezTo>
                    <a:pt x="17" y="87"/>
                    <a:pt x="16" y="87"/>
                    <a:pt x="15" y="87"/>
                  </a:cubicBezTo>
                  <a:cubicBezTo>
                    <a:pt x="14" y="87"/>
                    <a:pt x="13" y="87"/>
                    <a:pt x="12" y="87"/>
                  </a:cubicBezTo>
                  <a:cubicBezTo>
                    <a:pt x="12" y="87"/>
                    <a:pt x="11" y="87"/>
                    <a:pt x="10" y="86"/>
                  </a:cubicBezTo>
                  <a:cubicBezTo>
                    <a:pt x="10" y="86"/>
                    <a:pt x="9" y="86"/>
                    <a:pt x="8" y="86"/>
                  </a:cubicBezTo>
                  <a:cubicBezTo>
                    <a:pt x="8" y="85"/>
                    <a:pt x="7" y="84"/>
                    <a:pt x="7" y="83"/>
                  </a:cubicBezTo>
                  <a:cubicBezTo>
                    <a:pt x="6" y="83"/>
                    <a:pt x="7" y="83"/>
                    <a:pt x="6" y="82"/>
                  </a:cubicBezTo>
                  <a:cubicBezTo>
                    <a:pt x="6" y="82"/>
                    <a:pt x="6" y="82"/>
                    <a:pt x="5" y="82"/>
                  </a:cubicBezTo>
                  <a:cubicBezTo>
                    <a:pt x="5" y="81"/>
                    <a:pt x="5" y="80"/>
                    <a:pt x="4" y="80"/>
                  </a:cubicBezTo>
                  <a:cubicBezTo>
                    <a:pt x="5" y="80"/>
                    <a:pt x="6" y="79"/>
                    <a:pt x="6" y="79"/>
                  </a:cubicBezTo>
                  <a:cubicBezTo>
                    <a:pt x="5" y="79"/>
                    <a:pt x="4" y="79"/>
                    <a:pt x="4" y="80"/>
                  </a:cubicBezTo>
                  <a:cubicBezTo>
                    <a:pt x="3" y="80"/>
                    <a:pt x="3" y="81"/>
                    <a:pt x="2" y="81"/>
                  </a:cubicBezTo>
                  <a:cubicBezTo>
                    <a:pt x="2" y="82"/>
                    <a:pt x="2" y="82"/>
                    <a:pt x="2" y="83"/>
                  </a:cubicBezTo>
                  <a:cubicBezTo>
                    <a:pt x="2" y="85"/>
                    <a:pt x="1" y="85"/>
                    <a:pt x="1" y="87"/>
                  </a:cubicBezTo>
                  <a:cubicBezTo>
                    <a:pt x="0" y="89"/>
                    <a:pt x="0" y="93"/>
                    <a:pt x="2" y="93"/>
                  </a:cubicBezTo>
                  <a:cubicBezTo>
                    <a:pt x="3" y="94"/>
                    <a:pt x="2" y="96"/>
                    <a:pt x="3" y="98"/>
                  </a:cubicBezTo>
                  <a:cubicBezTo>
                    <a:pt x="3" y="99"/>
                    <a:pt x="4" y="100"/>
                    <a:pt x="4" y="101"/>
                  </a:cubicBezTo>
                  <a:cubicBezTo>
                    <a:pt x="4" y="105"/>
                    <a:pt x="3" y="107"/>
                    <a:pt x="1" y="110"/>
                  </a:cubicBezTo>
                  <a:cubicBezTo>
                    <a:pt x="0" y="112"/>
                    <a:pt x="2" y="113"/>
                    <a:pt x="4" y="114"/>
                  </a:cubicBezTo>
                  <a:cubicBezTo>
                    <a:pt x="8" y="119"/>
                    <a:pt x="13" y="121"/>
                    <a:pt x="16" y="127"/>
                  </a:cubicBezTo>
                  <a:cubicBezTo>
                    <a:pt x="18" y="129"/>
                    <a:pt x="19" y="131"/>
                    <a:pt x="19" y="133"/>
                  </a:cubicBezTo>
                  <a:cubicBezTo>
                    <a:pt x="20" y="134"/>
                    <a:pt x="20" y="137"/>
                    <a:pt x="20" y="137"/>
                  </a:cubicBezTo>
                  <a:cubicBezTo>
                    <a:pt x="21" y="137"/>
                    <a:pt x="23" y="137"/>
                    <a:pt x="24" y="137"/>
                  </a:cubicBezTo>
                  <a:cubicBezTo>
                    <a:pt x="24" y="136"/>
                    <a:pt x="23" y="136"/>
                    <a:pt x="23" y="136"/>
                  </a:cubicBezTo>
                  <a:cubicBezTo>
                    <a:pt x="23" y="135"/>
                    <a:pt x="23" y="135"/>
                    <a:pt x="23" y="134"/>
                  </a:cubicBezTo>
                  <a:cubicBezTo>
                    <a:pt x="22" y="132"/>
                    <a:pt x="23" y="132"/>
                    <a:pt x="25" y="131"/>
                  </a:cubicBezTo>
                  <a:cubicBezTo>
                    <a:pt x="26" y="129"/>
                    <a:pt x="27" y="128"/>
                    <a:pt x="27" y="126"/>
                  </a:cubicBezTo>
                  <a:cubicBezTo>
                    <a:pt x="28" y="125"/>
                    <a:pt x="28" y="123"/>
                    <a:pt x="30" y="124"/>
                  </a:cubicBezTo>
                  <a:cubicBezTo>
                    <a:pt x="30" y="125"/>
                    <a:pt x="30" y="128"/>
                    <a:pt x="32" y="128"/>
                  </a:cubicBezTo>
                  <a:cubicBezTo>
                    <a:pt x="33" y="127"/>
                    <a:pt x="32" y="126"/>
                    <a:pt x="32" y="125"/>
                  </a:cubicBezTo>
                  <a:cubicBezTo>
                    <a:pt x="31" y="122"/>
                    <a:pt x="33" y="118"/>
                    <a:pt x="34" y="115"/>
                  </a:cubicBezTo>
                  <a:cubicBezTo>
                    <a:pt x="35" y="113"/>
                    <a:pt x="36" y="111"/>
                    <a:pt x="37" y="109"/>
                  </a:cubicBezTo>
                  <a:cubicBezTo>
                    <a:pt x="39" y="106"/>
                    <a:pt x="41" y="104"/>
                    <a:pt x="42" y="101"/>
                  </a:cubicBezTo>
                  <a:cubicBezTo>
                    <a:pt x="44" y="98"/>
                    <a:pt x="45" y="96"/>
                    <a:pt x="48" y="96"/>
                  </a:cubicBezTo>
                  <a:cubicBezTo>
                    <a:pt x="48" y="97"/>
                    <a:pt x="47" y="98"/>
                    <a:pt x="47" y="99"/>
                  </a:cubicBezTo>
                  <a:cubicBezTo>
                    <a:pt x="47" y="101"/>
                    <a:pt x="49" y="101"/>
                    <a:pt x="50" y="102"/>
                  </a:cubicBezTo>
                  <a:cubicBezTo>
                    <a:pt x="52" y="103"/>
                    <a:pt x="54" y="104"/>
                    <a:pt x="54" y="106"/>
                  </a:cubicBezTo>
                  <a:cubicBezTo>
                    <a:pt x="54" y="107"/>
                    <a:pt x="54" y="108"/>
                    <a:pt x="54" y="109"/>
                  </a:cubicBezTo>
                  <a:cubicBezTo>
                    <a:pt x="54" y="109"/>
                    <a:pt x="52" y="111"/>
                    <a:pt x="52" y="112"/>
                  </a:cubicBezTo>
                  <a:cubicBezTo>
                    <a:pt x="52" y="112"/>
                    <a:pt x="51" y="113"/>
                    <a:pt x="51" y="114"/>
                  </a:cubicBezTo>
                  <a:cubicBezTo>
                    <a:pt x="50" y="115"/>
                    <a:pt x="50" y="115"/>
                    <a:pt x="49" y="116"/>
                  </a:cubicBezTo>
                  <a:cubicBezTo>
                    <a:pt x="48" y="119"/>
                    <a:pt x="50" y="119"/>
                    <a:pt x="53" y="121"/>
                  </a:cubicBezTo>
                  <a:cubicBezTo>
                    <a:pt x="55" y="122"/>
                    <a:pt x="57" y="123"/>
                    <a:pt x="59" y="123"/>
                  </a:cubicBezTo>
                  <a:cubicBezTo>
                    <a:pt x="61" y="124"/>
                    <a:pt x="63" y="125"/>
                    <a:pt x="64" y="125"/>
                  </a:cubicBezTo>
                  <a:cubicBezTo>
                    <a:pt x="65" y="124"/>
                    <a:pt x="65" y="123"/>
                    <a:pt x="67" y="122"/>
                  </a:cubicBezTo>
                  <a:cubicBezTo>
                    <a:pt x="68" y="122"/>
                    <a:pt x="70" y="122"/>
                    <a:pt x="71" y="123"/>
                  </a:cubicBezTo>
                  <a:cubicBezTo>
                    <a:pt x="72" y="123"/>
                    <a:pt x="72" y="123"/>
                    <a:pt x="72" y="124"/>
                  </a:cubicBezTo>
                  <a:cubicBezTo>
                    <a:pt x="72" y="124"/>
                    <a:pt x="72" y="124"/>
                    <a:pt x="73" y="124"/>
                  </a:cubicBezTo>
                  <a:cubicBezTo>
                    <a:pt x="73" y="125"/>
                    <a:pt x="73" y="124"/>
                    <a:pt x="73" y="125"/>
                  </a:cubicBezTo>
                  <a:cubicBezTo>
                    <a:pt x="74" y="128"/>
                    <a:pt x="70" y="129"/>
                    <a:pt x="70" y="130"/>
                  </a:cubicBezTo>
                  <a:cubicBezTo>
                    <a:pt x="70" y="131"/>
                    <a:pt x="71" y="132"/>
                    <a:pt x="71" y="133"/>
                  </a:cubicBezTo>
                  <a:cubicBezTo>
                    <a:pt x="71" y="134"/>
                    <a:pt x="71" y="136"/>
                    <a:pt x="71" y="137"/>
                  </a:cubicBezTo>
                  <a:cubicBezTo>
                    <a:pt x="71" y="138"/>
                    <a:pt x="70" y="139"/>
                    <a:pt x="70" y="140"/>
                  </a:cubicBezTo>
                  <a:cubicBezTo>
                    <a:pt x="70" y="141"/>
                    <a:pt x="71" y="143"/>
                    <a:pt x="72" y="144"/>
                  </a:cubicBezTo>
                  <a:cubicBezTo>
                    <a:pt x="72" y="146"/>
                    <a:pt x="73" y="148"/>
                    <a:pt x="74" y="150"/>
                  </a:cubicBezTo>
                  <a:cubicBezTo>
                    <a:pt x="74" y="150"/>
                    <a:pt x="75" y="150"/>
                    <a:pt x="75" y="151"/>
                  </a:cubicBezTo>
                  <a:cubicBezTo>
                    <a:pt x="75" y="151"/>
                    <a:pt x="75" y="152"/>
                    <a:pt x="76" y="153"/>
                  </a:cubicBezTo>
                  <a:cubicBezTo>
                    <a:pt x="77" y="157"/>
                    <a:pt x="80" y="160"/>
                    <a:pt x="82" y="163"/>
                  </a:cubicBezTo>
                  <a:cubicBezTo>
                    <a:pt x="83" y="165"/>
                    <a:pt x="84" y="166"/>
                    <a:pt x="85" y="167"/>
                  </a:cubicBezTo>
                  <a:cubicBezTo>
                    <a:pt x="86" y="168"/>
                    <a:pt x="89" y="169"/>
                    <a:pt x="90" y="172"/>
                  </a:cubicBezTo>
                  <a:cubicBezTo>
                    <a:pt x="90" y="173"/>
                    <a:pt x="89" y="174"/>
                    <a:pt x="90" y="175"/>
                  </a:cubicBezTo>
                  <a:cubicBezTo>
                    <a:pt x="90" y="176"/>
                    <a:pt x="94" y="177"/>
                    <a:pt x="93" y="179"/>
                  </a:cubicBezTo>
                  <a:cubicBezTo>
                    <a:pt x="93" y="180"/>
                    <a:pt x="92" y="180"/>
                    <a:pt x="92" y="181"/>
                  </a:cubicBezTo>
                  <a:cubicBezTo>
                    <a:pt x="91" y="181"/>
                    <a:pt x="92" y="182"/>
                    <a:pt x="91" y="182"/>
                  </a:cubicBezTo>
                  <a:cubicBezTo>
                    <a:pt x="90" y="184"/>
                    <a:pt x="87" y="183"/>
                    <a:pt x="85" y="184"/>
                  </a:cubicBezTo>
                  <a:cubicBezTo>
                    <a:pt x="82" y="186"/>
                    <a:pt x="85" y="189"/>
                    <a:pt x="86" y="190"/>
                  </a:cubicBezTo>
                  <a:cubicBezTo>
                    <a:pt x="88" y="193"/>
                    <a:pt x="90" y="197"/>
                    <a:pt x="92" y="200"/>
                  </a:cubicBezTo>
                  <a:cubicBezTo>
                    <a:pt x="93" y="201"/>
                    <a:pt x="94" y="202"/>
                    <a:pt x="95" y="203"/>
                  </a:cubicBezTo>
                  <a:cubicBezTo>
                    <a:pt x="96" y="203"/>
                    <a:pt x="96" y="204"/>
                    <a:pt x="97" y="205"/>
                  </a:cubicBezTo>
                  <a:cubicBezTo>
                    <a:pt x="98" y="206"/>
                    <a:pt x="98" y="207"/>
                    <a:pt x="99" y="208"/>
                  </a:cubicBezTo>
                  <a:cubicBezTo>
                    <a:pt x="99" y="209"/>
                    <a:pt x="99" y="211"/>
                    <a:pt x="100" y="212"/>
                  </a:cubicBezTo>
                  <a:cubicBezTo>
                    <a:pt x="101" y="212"/>
                    <a:pt x="103" y="212"/>
                    <a:pt x="103" y="212"/>
                  </a:cubicBezTo>
                  <a:cubicBezTo>
                    <a:pt x="104" y="213"/>
                    <a:pt x="103" y="214"/>
                    <a:pt x="104" y="215"/>
                  </a:cubicBezTo>
                  <a:cubicBezTo>
                    <a:pt x="104" y="215"/>
                    <a:pt x="105" y="216"/>
                    <a:pt x="106" y="217"/>
                  </a:cubicBezTo>
                  <a:cubicBezTo>
                    <a:pt x="107" y="219"/>
                    <a:pt x="111" y="220"/>
                    <a:pt x="111" y="222"/>
                  </a:cubicBezTo>
                  <a:cubicBezTo>
                    <a:pt x="112" y="223"/>
                    <a:pt x="111" y="224"/>
                    <a:pt x="112" y="225"/>
                  </a:cubicBezTo>
                  <a:cubicBezTo>
                    <a:pt x="113" y="226"/>
                    <a:pt x="114" y="226"/>
                    <a:pt x="115" y="227"/>
                  </a:cubicBezTo>
                  <a:cubicBezTo>
                    <a:pt x="116" y="228"/>
                    <a:pt x="116" y="228"/>
                    <a:pt x="117" y="228"/>
                  </a:cubicBezTo>
                  <a:cubicBezTo>
                    <a:pt x="117" y="229"/>
                    <a:pt x="118" y="229"/>
                    <a:pt x="118" y="230"/>
                  </a:cubicBezTo>
                  <a:cubicBezTo>
                    <a:pt x="119" y="232"/>
                    <a:pt x="119" y="233"/>
                    <a:pt x="119" y="235"/>
                  </a:cubicBezTo>
                  <a:cubicBezTo>
                    <a:pt x="119" y="236"/>
                    <a:pt x="119" y="237"/>
                    <a:pt x="120" y="238"/>
                  </a:cubicBezTo>
                  <a:cubicBezTo>
                    <a:pt x="120" y="240"/>
                    <a:pt x="122" y="240"/>
                    <a:pt x="123" y="240"/>
                  </a:cubicBezTo>
                  <a:cubicBezTo>
                    <a:pt x="125" y="240"/>
                    <a:pt x="126" y="240"/>
                    <a:pt x="127" y="241"/>
                  </a:cubicBezTo>
                  <a:cubicBezTo>
                    <a:pt x="128" y="241"/>
                    <a:pt x="128" y="242"/>
                    <a:pt x="128" y="242"/>
                  </a:cubicBezTo>
                  <a:cubicBezTo>
                    <a:pt x="129" y="242"/>
                    <a:pt x="131" y="242"/>
                    <a:pt x="133" y="242"/>
                  </a:cubicBezTo>
                  <a:cubicBezTo>
                    <a:pt x="133" y="242"/>
                    <a:pt x="134" y="242"/>
                    <a:pt x="134" y="242"/>
                  </a:cubicBezTo>
                  <a:cubicBezTo>
                    <a:pt x="135" y="242"/>
                    <a:pt x="135" y="241"/>
                    <a:pt x="136" y="241"/>
                  </a:cubicBezTo>
                  <a:cubicBezTo>
                    <a:pt x="137" y="241"/>
                    <a:pt x="138" y="241"/>
                    <a:pt x="139" y="241"/>
                  </a:cubicBezTo>
                  <a:cubicBezTo>
                    <a:pt x="142" y="241"/>
                    <a:pt x="144" y="239"/>
                    <a:pt x="146" y="240"/>
                  </a:cubicBezTo>
                  <a:cubicBezTo>
                    <a:pt x="148" y="241"/>
                    <a:pt x="149" y="241"/>
                    <a:pt x="150" y="242"/>
                  </a:cubicBezTo>
                  <a:cubicBezTo>
                    <a:pt x="152" y="243"/>
                    <a:pt x="153" y="243"/>
                    <a:pt x="155" y="244"/>
                  </a:cubicBezTo>
                  <a:cubicBezTo>
                    <a:pt x="156" y="245"/>
                    <a:pt x="156" y="245"/>
                    <a:pt x="157" y="246"/>
                  </a:cubicBezTo>
                  <a:cubicBezTo>
                    <a:pt x="159" y="248"/>
                    <a:pt x="160" y="249"/>
                    <a:pt x="163" y="251"/>
                  </a:cubicBezTo>
                  <a:cubicBezTo>
                    <a:pt x="166" y="253"/>
                    <a:pt x="169" y="253"/>
                    <a:pt x="171" y="254"/>
                  </a:cubicBezTo>
                  <a:cubicBezTo>
                    <a:pt x="173" y="255"/>
                    <a:pt x="174" y="257"/>
                    <a:pt x="176" y="259"/>
                  </a:cubicBezTo>
                  <a:cubicBezTo>
                    <a:pt x="178" y="263"/>
                    <a:pt x="182" y="265"/>
                    <a:pt x="185" y="269"/>
                  </a:cubicBezTo>
                  <a:cubicBezTo>
                    <a:pt x="187" y="271"/>
                    <a:pt x="188" y="273"/>
                    <a:pt x="190" y="275"/>
                  </a:cubicBezTo>
                  <a:cubicBezTo>
                    <a:pt x="194" y="278"/>
                    <a:pt x="198" y="282"/>
                    <a:pt x="200" y="287"/>
                  </a:cubicBezTo>
                  <a:cubicBezTo>
                    <a:pt x="201" y="288"/>
                    <a:pt x="202" y="291"/>
                    <a:pt x="204" y="291"/>
                  </a:cubicBezTo>
                  <a:cubicBezTo>
                    <a:pt x="205" y="291"/>
                    <a:pt x="209" y="291"/>
                    <a:pt x="210" y="290"/>
                  </a:cubicBezTo>
                  <a:cubicBezTo>
                    <a:pt x="209" y="290"/>
                    <a:pt x="209" y="289"/>
                    <a:pt x="209" y="289"/>
                  </a:cubicBezTo>
                  <a:cubicBezTo>
                    <a:pt x="209" y="289"/>
                    <a:pt x="208" y="288"/>
                    <a:pt x="208" y="288"/>
                  </a:cubicBezTo>
                  <a:cubicBezTo>
                    <a:pt x="207" y="287"/>
                    <a:pt x="208" y="286"/>
                    <a:pt x="207" y="285"/>
                  </a:cubicBezTo>
                  <a:cubicBezTo>
                    <a:pt x="207" y="283"/>
                    <a:pt x="204" y="281"/>
                    <a:pt x="202" y="278"/>
                  </a:cubicBezTo>
                  <a:cubicBezTo>
                    <a:pt x="202" y="277"/>
                    <a:pt x="202" y="276"/>
                    <a:pt x="201" y="276"/>
                  </a:cubicBezTo>
                  <a:cubicBezTo>
                    <a:pt x="200" y="275"/>
                    <a:pt x="196" y="275"/>
                    <a:pt x="195" y="274"/>
                  </a:cubicBezTo>
                  <a:cubicBezTo>
                    <a:pt x="195" y="273"/>
                    <a:pt x="196" y="272"/>
                    <a:pt x="197" y="271"/>
                  </a:cubicBezTo>
                  <a:cubicBezTo>
                    <a:pt x="197" y="270"/>
                    <a:pt x="197" y="269"/>
                    <a:pt x="197" y="268"/>
                  </a:cubicBezTo>
                  <a:cubicBezTo>
                    <a:pt x="197" y="267"/>
                    <a:pt x="197" y="266"/>
                    <a:pt x="197" y="265"/>
                  </a:cubicBezTo>
                  <a:cubicBezTo>
                    <a:pt x="197" y="265"/>
                    <a:pt x="196" y="265"/>
                    <a:pt x="195" y="264"/>
                  </a:cubicBezTo>
                  <a:cubicBezTo>
                    <a:pt x="195" y="264"/>
                    <a:pt x="195" y="264"/>
                    <a:pt x="195" y="263"/>
                  </a:cubicBezTo>
                  <a:cubicBezTo>
                    <a:pt x="195" y="263"/>
                    <a:pt x="195" y="262"/>
                    <a:pt x="194" y="261"/>
                  </a:cubicBezTo>
                  <a:cubicBezTo>
                    <a:pt x="194" y="261"/>
                    <a:pt x="193" y="260"/>
                    <a:pt x="193" y="260"/>
                  </a:cubicBezTo>
                  <a:cubicBezTo>
                    <a:pt x="193" y="259"/>
                    <a:pt x="193" y="258"/>
                    <a:pt x="193" y="258"/>
                  </a:cubicBezTo>
                  <a:cubicBezTo>
                    <a:pt x="192" y="256"/>
                    <a:pt x="192" y="255"/>
                    <a:pt x="192" y="253"/>
                  </a:cubicBezTo>
                  <a:cubicBezTo>
                    <a:pt x="192" y="252"/>
                    <a:pt x="192" y="251"/>
                    <a:pt x="192" y="250"/>
                  </a:cubicBezTo>
                  <a:cubicBezTo>
                    <a:pt x="192" y="249"/>
                    <a:pt x="192" y="248"/>
                    <a:pt x="191" y="247"/>
                  </a:cubicBezTo>
                  <a:cubicBezTo>
                    <a:pt x="191" y="246"/>
                    <a:pt x="189" y="246"/>
                    <a:pt x="188" y="245"/>
                  </a:cubicBezTo>
                  <a:cubicBezTo>
                    <a:pt x="185" y="242"/>
                    <a:pt x="182" y="239"/>
                    <a:pt x="179" y="237"/>
                  </a:cubicBezTo>
                  <a:cubicBezTo>
                    <a:pt x="179" y="236"/>
                    <a:pt x="178" y="235"/>
                    <a:pt x="178" y="234"/>
                  </a:cubicBezTo>
                  <a:cubicBezTo>
                    <a:pt x="177" y="233"/>
                    <a:pt x="176" y="232"/>
                    <a:pt x="174" y="231"/>
                  </a:cubicBezTo>
                  <a:cubicBezTo>
                    <a:pt x="172" y="229"/>
                    <a:pt x="171" y="226"/>
                    <a:pt x="169" y="224"/>
                  </a:cubicBezTo>
                  <a:cubicBezTo>
                    <a:pt x="169" y="223"/>
                    <a:pt x="168" y="222"/>
                    <a:pt x="167" y="221"/>
                  </a:cubicBezTo>
                  <a:cubicBezTo>
                    <a:pt x="166" y="220"/>
                    <a:pt x="165" y="219"/>
                    <a:pt x="165" y="219"/>
                  </a:cubicBezTo>
                  <a:cubicBezTo>
                    <a:pt x="164" y="218"/>
                    <a:pt x="163" y="215"/>
                    <a:pt x="163" y="214"/>
                  </a:cubicBezTo>
                  <a:cubicBezTo>
                    <a:pt x="161" y="210"/>
                    <a:pt x="159" y="207"/>
                    <a:pt x="155" y="206"/>
                  </a:cubicBezTo>
                  <a:cubicBezTo>
                    <a:pt x="151" y="205"/>
                    <a:pt x="147" y="202"/>
                    <a:pt x="144" y="199"/>
                  </a:cubicBezTo>
                  <a:cubicBezTo>
                    <a:pt x="143" y="198"/>
                    <a:pt x="142" y="197"/>
                    <a:pt x="142" y="196"/>
                  </a:cubicBezTo>
                  <a:cubicBezTo>
                    <a:pt x="142" y="195"/>
                    <a:pt x="142" y="194"/>
                    <a:pt x="142" y="193"/>
                  </a:cubicBezTo>
                  <a:cubicBezTo>
                    <a:pt x="141" y="191"/>
                    <a:pt x="141" y="189"/>
                    <a:pt x="140" y="188"/>
                  </a:cubicBezTo>
                  <a:cubicBezTo>
                    <a:pt x="139" y="186"/>
                    <a:pt x="137" y="184"/>
                    <a:pt x="137" y="182"/>
                  </a:cubicBezTo>
                  <a:cubicBezTo>
                    <a:pt x="137" y="181"/>
                    <a:pt x="137" y="180"/>
                    <a:pt x="137" y="179"/>
                  </a:cubicBezTo>
                  <a:cubicBezTo>
                    <a:pt x="136" y="178"/>
                    <a:pt x="135" y="178"/>
                    <a:pt x="135" y="177"/>
                  </a:cubicBezTo>
                  <a:cubicBezTo>
                    <a:pt x="135" y="177"/>
                    <a:pt x="135" y="176"/>
                    <a:pt x="135" y="175"/>
                  </a:cubicBezTo>
                  <a:cubicBezTo>
                    <a:pt x="135" y="172"/>
                    <a:pt x="135" y="169"/>
                    <a:pt x="135" y="165"/>
                  </a:cubicBezTo>
                  <a:cubicBezTo>
                    <a:pt x="135" y="165"/>
                    <a:pt x="135" y="164"/>
                    <a:pt x="135" y="163"/>
                  </a:cubicBezTo>
                  <a:cubicBezTo>
                    <a:pt x="135" y="163"/>
                    <a:pt x="134" y="162"/>
                    <a:pt x="134" y="162"/>
                  </a:cubicBezTo>
                  <a:cubicBezTo>
                    <a:pt x="134" y="161"/>
                    <a:pt x="134" y="160"/>
                    <a:pt x="134" y="160"/>
                  </a:cubicBezTo>
                  <a:cubicBezTo>
                    <a:pt x="134" y="157"/>
                    <a:pt x="134" y="155"/>
                    <a:pt x="133" y="153"/>
                  </a:cubicBezTo>
                  <a:cubicBezTo>
                    <a:pt x="132" y="152"/>
                    <a:pt x="132" y="151"/>
                    <a:pt x="131" y="151"/>
                  </a:cubicBezTo>
                  <a:cubicBezTo>
                    <a:pt x="131" y="151"/>
                    <a:pt x="130" y="151"/>
                    <a:pt x="130" y="151"/>
                  </a:cubicBezTo>
                  <a:cubicBezTo>
                    <a:pt x="127" y="151"/>
                    <a:pt x="125" y="147"/>
                    <a:pt x="123" y="145"/>
                  </a:cubicBezTo>
                  <a:cubicBezTo>
                    <a:pt x="123" y="145"/>
                    <a:pt x="122" y="144"/>
                    <a:pt x="122" y="144"/>
                  </a:cubicBezTo>
                  <a:cubicBezTo>
                    <a:pt x="122" y="143"/>
                    <a:pt x="121" y="143"/>
                    <a:pt x="121" y="142"/>
                  </a:cubicBezTo>
                  <a:cubicBezTo>
                    <a:pt x="120" y="141"/>
                    <a:pt x="119" y="140"/>
                    <a:pt x="119" y="139"/>
                  </a:cubicBezTo>
                  <a:cubicBezTo>
                    <a:pt x="118" y="137"/>
                    <a:pt x="118" y="136"/>
                    <a:pt x="118" y="134"/>
                  </a:cubicBezTo>
                  <a:cubicBezTo>
                    <a:pt x="118" y="133"/>
                    <a:pt x="117" y="133"/>
                    <a:pt x="117" y="132"/>
                  </a:cubicBezTo>
                  <a:cubicBezTo>
                    <a:pt x="116" y="129"/>
                    <a:pt x="117" y="126"/>
                    <a:pt x="118" y="124"/>
                  </a:cubicBezTo>
                  <a:cubicBezTo>
                    <a:pt x="119" y="120"/>
                    <a:pt x="118" y="116"/>
                    <a:pt x="118" y="112"/>
                  </a:cubicBezTo>
                  <a:cubicBezTo>
                    <a:pt x="118" y="109"/>
                    <a:pt x="121" y="106"/>
                    <a:pt x="125" y="105"/>
                  </a:cubicBezTo>
                  <a:cubicBezTo>
                    <a:pt x="126" y="105"/>
                    <a:pt x="128" y="106"/>
                    <a:pt x="129" y="106"/>
                  </a:cubicBezTo>
                  <a:cubicBezTo>
                    <a:pt x="131" y="106"/>
                    <a:pt x="132" y="106"/>
                    <a:pt x="133" y="107"/>
                  </a:cubicBezTo>
                  <a:cubicBezTo>
                    <a:pt x="134" y="108"/>
                    <a:pt x="134" y="109"/>
                    <a:pt x="135" y="110"/>
                  </a:cubicBezTo>
                  <a:cubicBezTo>
                    <a:pt x="136" y="112"/>
                    <a:pt x="136" y="113"/>
                    <a:pt x="137" y="114"/>
                  </a:cubicBezTo>
                  <a:cubicBezTo>
                    <a:pt x="138" y="116"/>
                    <a:pt x="140" y="117"/>
                    <a:pt x="141" y="119"/>
                  </a:cubicBezTo>
                  <a:cubicBezTo>
                    <a:pt x="142" y="122"/>
                    <a:pt x="143" y="124"/>
                    <a:pt x="146" y="124"/>
                  </a:cubicBezTo>
                  <a:cubicBezTo>
                    <a:pt x="147" y="123"/>
                    <a:pt x="148" y="122"/>
                    <a:pt x="149" y="121"/>
                  </a:cubicBezTo>
                  <a:cubicBezTo>
                    <a:pt x="150" y="120"/>
                    <a:pt x="150" y="119"/>
                    <a:pt x="150" y="118"/>
                  </a:cubicBezTo>
                  <a:cubicBezTo>
                    <a:pt x="151" y="116"/>
                    <a:pt x="152" y="115"/>
                    <a:pt x="152" y="114"/>
                  </a:cubicBezTo>
                  <a:cubicBezTo>
                    <a:pt x="153" y="112"/>
                    <a:pt x="154" y="111"/>
                    <a:pt x="154" y="110"/>
                  </a:cubicBezTo>
                  <a:cubicBezTo>
                    <a:pt x="155" y="109"/>
                    <a:pt x="156" y="108"/>
                    <a:pt x="158" y="107"/>
                  </a:cubicBezTo>
                  <a:cubicBezTo>
                    <a:pt x="160" y="107"/>
                    <a:pt x="162" y="107"/>
                    <a:pt x="164" y="107"/>
                  </a:cubicBezTo>
                  <a:cubicBezTo>
                    <a:pt x="167" y="107"/>
                    <a:pt x="171" y="109"/>
                    <a:pt x="174" y="109"/>
                  </a:cubicBezTo>
                  <a:cubicBezTo>
                    <a:pt x="174" y="108"/>
                    <a:pt x="174" y="106"/>
                    <a:pt x="174" y="105"/>
                  </a:cubicBezTo>
                  <a:cubicBezTo>
                    <a:pt x="175" y="103"/>
                    <a:pt x="178" y="105"/>
                    <a:pt x="179" y="106"/>
                  </a:cubicBezTo>
                  <a:cubicBezTo>
                    <a:pt x="180" y="107"/>
                    <a:pt x="180" y="107"/>
                    <a:pt x="182" y="107"/>
                  </a:cubicBezTo>
                  <a:cubicBezTo>
                    <a:pt x="183" y="107"/>
                    <a:pt x="185" y="107"/>
                    <a:pt x="186" y="107"/>
                  </a:cubicBezTo>
                  <a:cubicBezTo>
                    <a:pt x="186" y="108"/>
                    <a:pt x="186" y="108"/>
                    <a:pt x="186" y="109"/>
                  </a:cubicBezTo>
                  <a:cubicBezTo>
                    <a:pt x="187" y="110"/>
                    <a:pt x="188" y="110"/>
                    <a:pt x="189" y="112"/>
                  </a:cubicBezTo>
                  <a:cubicBezTo>
                    <a:pt x="191" y="113"/>
                    <a:pt x="190" y="114"/>
                    <a:pt x="192" y="114"/>
                  </a:cubicBezTo>
                  <a:cubicBezTo>
                    <a:pt x="196" y="115"/>
                    <a:pt x="195" y="111"/>
                    <a:pt x="197" y="109"/>
                  </a:cubicBezTo>
                  <a:cubicBezTo>
                    <a:pt x="199" y="109"/>
                    <a:pt x="198" y="111"/>
                    <a:pt x="199" y="112"/>
                  </a:cubicBezTo>
                  <a:cubicBezTo>
                    <a:pt x="200" y="113"/>
                    <a:pt x="200" y="113"/>
                    <a:pt x="201" y="113"/>
                  </a:cubicBezTo>
                  <a:cubicBezTo>
                    <a:pt x="203" y="113"/>
                    <a:pt x="204" y="113"/>
                    <a:pt x="205" y="115"/>
                  </a:cubicBezTo>
                  <a:cubicBezTo>
                    <a:pt x="205" y="115"/>
                    <a:pt x="205" y="116"/>
                    <a:pt x="205" y="117"/>
                  </a:cubicBezTo>
                  <a:cubicBezTo>
                    <a:pt x="210" y="117"/>
                    <a:pt x="215" y="115"/>
                    <a:pt x="221" y="116"/>
                  </a:cubicBezTo>
                  <a:cubicBezTo>
                    <a:pt x="223" y="116"/>
                    <a:pt x="224" y="118"/>
                    <a:pt x="225" y="120"/>
                  </a:cubicBezTo>
                  <a:cubicBezTo>
                    <a:pt x="227" y="120"/>
                    <a:pt x="228" y="119"/>
                    <a:pt x="229" y="119"/>
                  </a:cubicBezTo>
                  <a:cubicBezTo>
                    <a:pt x="231" y="119"/>
                    <a:pt x="232" y="119"/>
                    <a:pt x="233" y="118"/>
                  </a:cubicBezTo>
                  <a:cubicBezTo>
                    <a:pt x="233" y="118"/>
                    <a:pt x="233" y="117"/>
                    <a:pt x="233" y="116"/>
                  </a:cubicBezTo>
                  <a:cubicBezTo>
                    <a:pt x="233" y="116"/>
                    <a:pt x="234" y="116"/>
                    <a:pt x="234" y="115"/>
                  </a:cubicBezTo>
                  <a:cubicBezTo>
                    <a:pt x="235" y="114"/>
                    <a:pt x="236" y="113"/>
                    <a:pt x="237" y="114"/>
                  </a:cubicBezTo>
                  <a:cubicBezTo>
                    <a:pt x="239" y="114"/>
                    <a:pt x="239" y="116"/>
                    <a:pt x="240" y="117"/>
                  </a:cubicBezTo>
                  <a:cubicBezTo>
                    <a:pt x="241" y="119"/>
                    <a:pt x="244" y="120"/>
                    <a:pt x="246" y="120"/>
                  </a:cubicBezTo>
                  <a:cubicBezTo>
                    <a:pt x="246" y="118"/>
                    <a:pt x="245" y="116"/>
                    <a:pt x="246" y="115"/>
                  </a:cubicBezTo>
                  <a:cubicBezTo>
                    <a:pt x="249" y="114"/>
                    <a:pt x="252" y="116"/>
                    <a:pt x="255" y="11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7" name="Freeform 27">
              <a:extLst>
                <a:ext uri="{FF2B5EF4-FFF2-40B4-BE49-F238E27FC236}">
                  <a16:creationId xmlns:a16="http://schemas.microsoft.com/office/drawing/2014/main" id="{97027A55-2AD6-42F2-9D65-9D3D9144C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3325" y="5265738"/>
              <a:ext cx="381000" cy="420688"/>
            </a:xfrm>
            <a:custGeom>
              <a:avLst/>
              <a:gdLst/>
              <a:ahLst/>
              <a:cxnLst>
                <a:cxn ang="0">
                  <a:pos x="193" y="94"/>
                </a:cxn>
                <a:cxn ang="0">
                  <a:pos x="188" y="87"/>
                </a:cxn>
                <a:cxn ang="0">
                  <a:pos x="192" y="80"/>
                </a:cxn>
                <a:cxn ang="0">
                  <a:pos x="181" y="74"/>
                </a:cxn>
                <a:cxn ang="0">
                  <a:pos x="179" y="68"/>
                </a:cxn>
                <a:cxn ang="0">
                  <a:pos x="191" y="41"/>
                </a:cxn>
                <a:cxn ang="0">
                  <a:pos x="164" y="35"/>
                </a:cxn>
                <a:cxn ang="0">
                  <a:pos x="158" y="22"/>
                </a:cxn>
                <a:cxn ang="0">
                  <a:pos x="145" y="17"/>
                </a:cxn>
                <a:cxn ang="0">
                  <a:pos x="130" y="17"/>
                </a:cxn>
                <a:cxn ang="0">
                  <a:pos x="117" y="13"/>
                </a:cxn>
                <a:cxn ang="0">
                  <a:pos x="105" y="13"/>
                </a:cxn>
                <a:cxn ang="0">
                  <a:pos x="83" y="9"/>
                </a:cxn>
                <a:cxn ang="0">
                  <a:pos x="70" y="6"/>
                </a:cxn>
                <a:cxn ang="0">
                  <a:pos x="58" y="2"/>
                </a:cxn>
                <a:cxn ang="0">
                  <a:pos x="38" y="7"/>
                </a:cxn>
                <a:cxn ang="0">
                  <a:pos x="30" y="21"/>
                </a:cxn>
                <a:cxn ang="0">
                  <a:pos x="17" y="4"/>
                </a:cxn>
                <a:cxn ang="0">
                  <a:pos x="2" y="21"/>
                </a:cxn>
                <a:cxn ang="0">
                  <a:pos x="5" y="39"/>
                </a:cxn>
                <a:cxn ang="0">
                  <a:pos x="15" y="48"/>
                </a:cxn>
                <a:cxn ang="0">
                  <a:pos x="19" y="60"/>
                </a:cxn>
                <a:cxn ang="0">
                  <a:pos x="21" y="76"/>
                </a:cxn>
                <a:cxn ang="0">
                  <a:pos x="26" y="93"/>
                </a:cxn>
                <a:cxn ang="0">
                  <a:pos x="49" y="116"/>
                </a:cxn>
                <a:cxn ang="0">
                  <a:pos x="62" y="131"/>
                </a:cxn>
                <a:cxn ang="0">
                  <a:pos x="76" y="147"/>
                </a:cxn>
                <a:cxn ang="0">
                  <a:pos x="78" y="158"/>
                </a:cxn>
                <a:cxn ang="0">
                  <a:pos x="81" y="165"/>
                </a:cxn>
                <a:cxn ang="0">
                  <a:pos x="86" y="175"/>
                </a:cxn>
                <a:cxn ang="0">
                  <a:pos x="94" y="187"/>
                </a:cxn>
                <a:cxn ang="0">
                  <a:pos x="98" y="191"/>
                </a:cxn>
                <a:cxn ang="0">
                  <a:pos x="104" y="192"/>
                </a:cxn>
                <a:cxn ang="0">
                  <a:pos x="112" y="203"/>
                </a:cxn>
                <a:cxn ang="0">
                  <a:pos x="131" y="214"/>
                </a:cxn>
                <a:cxn ang="0">
                  <a:pos x="140" y="223"/>
                </a:cxn>
                <a:cxn ang="0">
                  <a:pos x="143" y="209"/>
                </a:cxn>
                <a:cxn ang="0">
                  <a:pos x="140" y="200"/>
                </a:cxn>
                <a:cxn ang="0">
                  <a:pos x="143" y="189"/>
                </a:cxn>
                <a:cxn ang="0">
                  <a:pos x="147" y="180"/>
                </a:cxn>
                <a:cxn ang="0">
                  <a:pos x="150" y="167"/>
                </a:cxn>
                <a:cxn ang="0">
                  <a:pos x="163" y="158"/>
                </a:cxn>
                <a:cxn ang="0">
                  <a:pos x="171" y="164"/>
                </a:cxn>
                <a:cxn ang="0">
                  <a:pos x="168" y="151"/>
                </a:cxn>
                <a:cxn ang="0">
                  <a:pos x="166" y="142"/>
                </a:cxn>
                <a:cxn ang="0">
                  <a:pos x="178" y="144"/>
                </a:cxn>
                <a:cxn ang="0">
                  <a:pos x="184" y="138"/>
                </a:cxn>
                <a:cxn ang="0">
                  <a:pos x="193" y="143"/>
                </a:cxn>
                <a:cxn ang="0">
                  <a:pos x="197" y="133"/>
                </a:cxn>
                <a:cxn ang="0">
                  <a:pos x="189" y="117"/>
                </a:cxn>
                <a:cxn ang="0">
                  <a:pos x="183" y="105"/>
                </a:cxn>
                <a:cxn ang="0">
                  <a:pos x="203" y="106"/>
                </a:cxn>
              </a:cxnLst>
              <a:rect l="0" t="0" r="r" b="b"/>
              <a:pathLst>
                <a:path w="204" h="225">
                  <a:moveTo>
                    <a:pt x="204" y="100"/>
                  </a:moveTo>
                  <a:cubicBezTo>
                    <a:pt x="204" y="99"/>
                    <a:pt x="201" y="98"/>
                    <a:pt x="200" y="98"/>
                  </a:cubicBezTo>
                  <a:cubicBezTo>
                    <a:pt x="199" y="98"/>
                    <a:pt x="197" y="97"/>
                    <a:pt x="196" y="96"/>
                  </a:cubicBezTo>
                  <a:cubicBezTo>
                    <a:pt x="195" y="96"/>
                    <a:pt x="194" y="95"/>
                    <a:pt x="193" y="94"/>
                  </a:cubicBezTo>
                  <a:cubicBezTo>
                    <a:pt x="193" y="94"/>
                    <a:pt x="192" y="93"/>
                    <a:pt x="192" y="94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191" y="92"/>
                    <a:pt x="191" y="91"/>
                    <a:pt x="190" y="90"/>
                  </a:cubicBezTo>
                  <a:cubicBezTo>
                    <a:pt x="189" y="89"/>
                    <a:pt x="188" y="88"/>
                    <a:pt x="188" y="87"/>
                  </a:cubicBezTo>
                  <a:cubicBezTo>
                    <a:pt x="188" y="86"/>
                    <a:pt x="188" y="84"/>
                    <a:pt x="189" y="83"/>
                  </a:cubicBezTo>
                  <a:cubicBezTo>
                    <a:pt x="190" y="83"/>
                    <a:pt x="191" y="83"/>
                    <a:pt x="191" y="83"/>
                  </a:cubicBezTo>
                  <a:cubicBezTo>
                    <a:pt x="191" y="82"/>
                    <a:pt x="191" y="82"/>
                    <a:pt x="192" y="82"/>
                  </a:cubicBezTo>
                  <a:cubicBezTo>
                    <a:pt x="192" y="81"/>
                    <a:pt x="192" y="81"/>
                    <a:pt x="192" y="80"/>
                  </a:cubicBezTo>
                  <a:cubicBezTo>
                    <a:pt x="192" y="79"/>
                    <a:pt x="193" y="78"/>
                    <a:pt x="193" y="77"/>
                  </a:cubicBezTo>
                  <a:cubicBezTo>
                    <a:pt x="192" y="75"/>
                    <a:pt x="189" y="76"/>
                    <a:pt x="187" y="76"/>
                  </a:cubicBezTo>
                  <a:cubicBezTo>
                    <a:pt x="186" y="76"/>
                    <a:pt x="184" y="75"/>
                    <a:pt x="183" y="75"/>
                  </a:cubicBezTo>
                  <a:cubicBezTo>
                    <a:pt x="182" y="75"/>
                    <a:pt x="182" y="74"/>
                    <a:pt x="181" y="74"/>
                  </a:cubicBezTo>
                  <a:cubicBezTo>
                    <a:pt x="180" y="74"/>
                    <a:pt x="181" y="73"/>
                    <a:pt x="181" y="73"/>
                  </a:cubicBezTo>
                  <a:cubicBezTo>
                    <a:pt x="180" y="72"/>
                    <a:pt x="179" y="72"/>
                    <a:pt x="179" y="71"/>
                  </a:cubicBezTo>
                  <a:cubicBezTo>
                    <a:pt x="179" y="71"/>
                    <a:pt x="179" y="70"/>
                    <a:pt x="179" y="70"/>
                  </a:cubicBezTo>
                  <a:cubicBezTo>
                    <a:pt x="179" y="69"/>
                    <a:pt x="179" y="68"/>
                    <a:pt x="179" y="68"/>
                  </a:cubicBezTo>
                  <a:cubicBezTo>
                    <a:pt x="179" y="67"/>
                    <a:pt x="179" y="67"/>
                    <a:pt x="180" y="66"/>
                  </a:cubicBezTo>
                  <a:cubicBezTo>
                    <a:pt x="180" y="65"/>
                    <a:pt x="180" y="65"/>
                    <a:pt x="181" y="64"/>
                  </a:cubicBezTo>
                  <a:cubicBezTo>
                    <a:pt x="182" y="58"/>
                    <a:pt x="185" y="53"/>
                    <a:pt x="189" y="49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0" y="38"/>
                    <a:pt x="186" y="33"/>
                    <a:pt x="179" y="28"/>
                  </a:cubicBezTo>
                  <a:cubicBezTo>
                    <a:pt x="180" y="31"/>
                    <a:pt x="174" y="32"/>
                    <a:pt x="172" y="33"/>
                  </a:cubicBezTo>
                  <a:cubicBezTo>
                    <a:pt x="170" y="34"/>
                    <a:pt x="168" y="34"/>
                    <a:pt x="166" y="35"/>
                  </a:cubicBezTo>
                  <a:cubicBezTo>
                    <a:pt x="166" y="35"/>
                    <a:pt x="165" y="35"/>
                    <a:pt x="164" y="35"/>
                  </a:cubicBezTo>
                  <a:cubicBezTo>
                    <a:pt x="162" y="34"/>
                    <a:pt x="163" y="34"/>
                    <a:pt x="162" y="34"/>
                  </a:cubicBezTo>
                  <a:cubicBezTo>
                    <a:pt x="160" y="33"/>
                    <a:pt x="159" y="31"/>
                    <a:pt x="159" y="29"/>
                  </a:cubicBezTo>
                  <a:cubicBezTo>
                    <a:pt x="159" y="27"/>
                    <a:pt x="160" y="27"/>
                    <a:pt x="161" y="25"/>
                  </a:cubicBezTo>
                  <a:cubicBezTo>
                    <a:pt x="161" y="24"/>
                    <a:pt x="159" y="23"/>
                    <a:pt x="158" y="22"/>
                  </a:cubicBezTo>
                  <a:cubicBezTo>
                    <a:pt x="158" y="22"/>
                    <a:pt x="157" y="21"/>
                    <a:pt x="157" y="21"/>
                  </a:cubicBezTo>
                  <a:cubicBezTo>
                    <a:pt x="157" y="20"/>
                    <a:pt x="157" y="19"/>
                    <a:pt x="157" y="19"/>
                  </a:cubicBezTo>
                  <a:cubicBezTo>
                    <a:pt x="156" y="17"/>
                    <a:pt x="152" y="15"/>
                    <a:pt x="151" y="18"/>
                  </a:cubicBezTo>
                  <a:cubicBezTo>
                    <a:pt x="150" y="18"/>
                    <a:pt x="147" y="18"/>
                    <a:pt x="145" y="17"/>
                  </a:cubicBezTo>
                  <a:cubicBezTo>
                    <a:pt x="144" y="17"/>
                    <a:pt x="143" y="16"/>
                    <a:pt x="143" y="15"/>
                  </a:cubicBezTo>
                  <a:cubicBezTo>
                    <a:pt x="141" y="15"/>
                    <a:pt x="140" y="14"/>
                    <a:pt x="139" y="14"/>
                  </a:cubicBezTo>
                  <a:cubicBezTo>
                    <a:pt x="136" y="13"/>
                    <a:pt x="133" y="11"/>
                    <a:pt x="130" y="12"/>
                  </a:cubicBezTo>
                  <a:cubicBezTo>
                    <a:pt x="129" y="13"/>
                    <a:pt x="130" y="15"/>
                    <a:pt x="130" y="17"/>
                  </a:cubicBezTo>
                  <a:cubicBezTo>
                    <a:pt x="128" y="17"/>
                    <a:pt x="125" y="16"/>
                    <a:pt x="124" y="14"/>
                  </a:cubicBezTo>
                  <a:cubicBezTo>
                    <a:pt x="123" y="13"/>
                    <a:pt x="123" y="11"/>
                    <a:pt x="121" y="11"/>
                  </a:cubicBezTo>
                  <a:cubicBezTo>
                    <a:pt x="120" y="10"/>
                    <a:pt x="119" y="11"/>
                    <a:pt x="118" y="12"/>
                  </a:cubicBezTo>
                  <a:cubicBezTo>
                    <a:pt x="118" y="13"/>
                    <a:pt x="117" y="13"/>
                    <a:pt x="117" y="13"/>
                  </a:cubicBezTo>
                  <a:cubicBezTo>
                    <a:pt x="117" y="14"/>
                    <a:pt x="117" y="15"/>
                    <a:pt x="117" y="15"/>
                  </a:cubicBezTo>
                  <a:cubicBezTo>
                    <a:pt x="116" y="16"/>
                    <a:pt x="115" y="16"/>
                    <a:pt x="113" y="16"/>
                  </a:cubicBezTo>
                  <a:cubicBezTo>
                    <a:pt x="112" y="16"/>
                    <a:pt x="111" y="17"/>
                    <a:pt x="109" y="17"/>
                  </a:cubicBezTo>
                  <a:cubicBezTo>
                    <a:pt x="108" y="15"/>
                    <a:pt x="107" y="13"/>
                    <a:pt x="105" y="13"/>
                  </a:cubicBezTo>
                  <a:cubicBezTo>
                    <a:pt x="99" y="12"/>
                    <a:pt x="94" y="14"/>
                    <a:pt x="89" y="14"/>
                  </a:cubicBezTo>
                  <a:cubicBezTo>
                    <a:pt x="89" y="13"/>
                    <a:pt x="89" y="12"/>
                    <a:pt x="89" y="12"/>
                  </a:cubicBezTo>
                  <a:cubicBezTo>
                    <a:pt x="88" y="10"/>
                    <a:pt x="87" y="10"/>
                    <a:pt x="85" y="10"/>
                  </a:cubicBezTo>
                  <a:cubicBezTo>
                    <a:pt x="84" y="10"/>
                    <a:pt x="84" y="10"/>
                    <a:pt x="83" y="9"/>
                  </a:cubicBezTo>
                  <a:cubicBezTo>
                    <a:pt x="82" y="8"/>
                    <a:pt x="83" y="6"/>
                    <a:pt x="81" y="6"/>
                  </a:cubicBezTo>
                  <a:cubicBezTo>
                    <a:pt x="79" y="8"/>
                    <a:pt x="80" y="12"/>
                    <a:pt x="76" y="11"/>
                  </a:cubicBezTo>
                  <a:cubicBezTo>
                    <a:pt x="74" y="11"/>
                    <a:pt x="75" y="10"/>
                    <a:pt x="73" y="9"/>
                  </a:cubicBezTo>
                  <a:cubicBezTo>
                    <a:pt x="72" y="7"/>
                    <a:pt x="71" y="7"/>
                    <a:pt x="70" y="6"/>
                  </a:cubicBezTo>
                  <a:cubicBezTo>
                    <a:pt x="70" y="5"/>
                    <a:pt x="70" y="5"/>
                    <a:pt x="70" y="4"/>
                  </a:cubicBezTo>
                  <a:cubicBezTo>
                    <a:pt x="69" y="4"/>
                    <a:pt x="67" y="4"/>
                    <a:pt x="66" y="4"/>
                  </a:cubicBezTo>
                  <a:cubicBezTo>
                    <a:pt x="64" y="4"/>
                    <a:pt x="64" y="4"/>
                    <a:pt x="63" y="3"/>
                  </a:cubicBezTo>
                  <a:cubicBezTo>
                    <a:pt x="62" y="2"/>
                    <a:pt x="59" y="0"/>
                    <a:pt x="58" y="2"/>
                  </a:cubicBezTo>
                  <a:cubicBezTo>
                    <a:pt x="58" y="3"/>
                    <a:pt x="58" y="5"/>
                    <a:pt x="58" y="6"/>
                  </a:cubicBezTo>
                  <a:cubicBezTo>
                    <a:pt x="55" y="6"/>
                    <a:pt x="51" y="4"/>
                    <a:pt x="48" y="4"/>
                  </a:cubicBezTo>
                  <a:cubicBezTo>
                    <a:pt x="46" y="4"/>
                    <a:pt x="44" y="4"/>
                    <a:pt x="42" y="4"/>
                  </a:cubicBezTo>
                  <a:cubicBezTo>
                    <a:pt x="40" y="5"/>
                    <a:pt x="39" y="6"/>
                    <a:pt x="38" y="7"/>
                  </a:cubicBezTo>
                  <a:cubicBezTo>
                    <a:pt x="38" y="8"/>
                    <a:pt x="37" y="9"/>
                    <a:pt x="36" y="11"/>
                  </a:cubicBezTo>
                  <a:cubicBezTo>
                    <a:pt x="36" y="12"/>
                    <a:pt x="35" y="13"/>
                    <a:pt x="34" y="15"/>
                  </a:cubicBezTo>
                  <a:cubicBezTo>
                    <a:pt x="34" y="16"/>
                    <a:pt x="34" y="17"/>
                    <a:pt x="33" y="18"/>
                  </a:cubicBezTo>
                  <a:cubicBezTo>
                    <a:pt x="32" y="19"/>
                    <a:pt x="31" y="20"/>
                    <a:pt x="30" y="21"/>
                  </a:cubicBezTo>
                  <a:cubicBezTo>
                    <a:pt x="27" y="21"/>
                    <a:pt x="26" y="19"/>
                    <a:pt x="25" y="16"/>
                  </a:cubicBezTo>
                  <a:cubicBezTo>
                    <a:pt x="24" y="14"/>
                    <a:pt x="22" y="13"/>
                    <a:pt x="21" y="11"/>
                  </a:cubicBezTo>
                  <a:cubicBezTo>
                    <a:pt x="20" y="10"/>
                    <a:pt x="20" y="9"/>
                    <a:pt x="19" y="7"/>
                  </a:cubicBezTo>
                  <a:cubicBezTo>
                    <a:pt x="18" y="6"/>
                    <a:pt x="18" y="5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cubicBezTo>
                    <a:pt x="12" y="3"/>
                    <a:pt x="10" y="2"/>
                    <a:pt x="9" y="2"/>
                  </a:cubicBezTo>
                  <a:cubicBezTo>
                    <a:pt x="5" y="3"/>
                    <a:pt x="2" y="6"/>
                    <a:pt x="2" y="9"/>
                  </a:cubicBezTo>
                  <a:cubicBezTo>
                    <a:pt x="2" y="13"/>
                    <a:pt x="3" y="17"/>
                    <a:pt x="2" y="21"/>
                  </a:cubicBezTo>
                  <a:cubicBezTo>
                    <a:pt x="1" y="23"/>
                    <a:pt x="0" y="26"/>
                    <a:pt x="1" y="29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3"/>
                    <a:pt x="2" y="34"/>
                    <a:pt x="3" y="36"/>
                  </a:cubicBezTo>
                  <a:cubicBezTo>
                    <a:pt x="3" y="37"/>
                    <a:pt x="4" y="38"/>
                    <a:pt x="5" y="39"/>
                  </a:cubicBezTo>
                  <a:cubicBezTo>
                    <a:pt x="5" y="40"/>
                    <a:pt x="6" y="40"/>
                    <a:pt x="6" y="41"/>
                  </a:cubicBezTo>
                  <a:cubicBezTo>
                    <a:pt x="6" y="41"/>
                    <a:pt x="7" y="42"/>
                    <a:pt x="7" y="42"/>
                  </a:cubicBezTo>
                  <a:cubicBezTo>
                    <a:pt x="9" y="44"/>
                    <a:pt x="11" y="48"/>
                    <a:pt x="14" y="48"/>
                  </a:cubicBezTo>
                  <a:cubicBezTo>
                    <a:pt x="14" y="48"/>
                    <a:pt x="14" y="48"/>
                    <a:pt x="15" y="48"/>
                  </a:cubicBezTo>
                  <a:cubicBezTo>
                    <a:pt x="16" y="48"/>
                    <a:pt x="16" y="49"/>
                    <a:pt x="17" y="50"/>
                  </a:cubicBezTo>
                  <a:cubicBezTo>
                    <a:pt x="18" y="52"/>
                    <a:pt x="18" y="54"/>
                    <a:pt x="18" y="57"/>
                  </a:cubicBezTo>
                  <a:cubicBezTo>
                    <a:pt x="18" y="57"/>
                    <a:pt x="18" y="58"/>
                    <a:pt x="18" y="59"/>
                  </a:cubicBezTo>
                  <a:cubicBezTo>
                    <a:pt x="18" y="59"/>
                    <a:pt x="19" y="60"/>
                    <a:pt x="19" y="60"/>
                  </a:cubicBezTo>
                  <a:cubicBezTo>
                    <a:pt x="19" y="61"/>
                    <a:pt x="19" y="62"/>
                    <a:pt x="19" y="62"/>
                  </a:cubicBezTo>
                  <a:cubicBezTo>
                    <a:pt x="19" y="66"/>
                    <a:pt x="19" y="69"/>
                    <a:pt x="19" y="72"/>
                  </a:cubicBezTo>
                  <a:cubicBezTo>
                    <a:pt x="19" y="73"/>
                    <a:pt x="19" y="74"/>
                    <a:pt x="19" y="74"/>
                  </a:cubicBezTo>
                  <a:cubicBezTo>
                    <a:pt x="19" y="75"/>
                    <a:pt x="20" y="75"/>
                    <a:pt x="21" y="76"/>
                  </a:cubicBezTo>
                  <a:cubicBezTo>
                    <a:pt x="21" y="77"/>
                    <a:pt x="21" y="78"/>
                    <a:pt x="21" y="79"/>
                  </a:cubicBezTo>
                  <a:cubicBezTo>
                    <a:pt x="21" y="81"/>
                    <a:pt x="23" y="83"/>
                    <a:pt x="24" y="85"/>
                  </a:cubicBezTo>
                  <a:cubicBezTo>
                    <a:pt x="25" y="86"/>
                    <a:pt x="25" y="88"/>
                    <a:pt x="26" y="90"/>
                  </a:cubicBezTo>
                  <a:cubicBezTo>
                    <a:pt x="26" y="91"/>
                    <a:pt x="26" y="92"/>
                    <a:pt x="26" y="93"/>
                  </a:cubicBezTo>
                  <a:cubicBezTo>
                    <a:pt x="26" y="94"/>
                    <a:pt x="27" y="95"/>
                    <a:pt x="28" y="96"/>
                  </a:cubicBezTo>
                  <a:cubicBezTo>
                    <a:pt x="31" y="99"/>
                    <a:pt x="35" y="102"/>
                    <a:pt x="39" y="103"/>
                  </a:cubicBezTo>
                  <a:cubicBezTo>
                    <a:pt x="43" y="104"/>
                    <a:pt x="45" y="107"/>
                    <a:pt x="47" y="111"/>
                  </a:cubicBezTo>
                  <a:cubicBezTo>
                    <a:pt x="47" y="112"/>
                    <a:pt x="48" y="115"/>
                    <a:pt x="49" y="116"/>
                  </a:cubicBezTo>
                  <a:cubicBezTo>
                    <a:pt x="49" y="116"/>
                    <a:pt x="50" y="117"/>
                    <a:pt x="51" y="118"/>
                  </a:cubicBezTo>
                  <a:cubicBezTo>
                    <a:pt x="52" y="119"/>
                    <a:pt x="53" y="120"/>
                    <a:pt x="53" y="121"/>
                  </a:cubicBezTo>
                  <a:cubicBezTo>
                    <a:pt x="55" y="123"/>
                    <a:pt x="56" y="126"/>
                    <a:pt x="58" y="128"/>
                  </a:cubicBezTo>
                  <a:cubicBezTo>
                    <a:pt x="60" y="129"/>
                    <a:pt x="61" y="130"/>
                    <a:pt x="62" y="131"/>
                  </a:cubicBezTo>
                  <a:cubicBezTo>
                    <a:pt x="62" y="132"/>
                    <a:pt x="63" y="133"/>
                    <a:pt x="63" y="134"/>
                  </a:cubicBezTo>
                  <a:cubicBezTo>
                    <a:pt x="66" y="136"/>
                    <a:pt x="69" y="139"/>
                    <a:pt x="72" y="142"/>
                  </a:cubicBezTo>
                  <a:cubicBezTo>
                    <a:pt x="73" y="143"/>
                    <a:pt x="75" y="143"/>
                    <a:pt x="75" y="144"/>
                  </a:cubicBezTo>
                  <a:cubicBezTo>
                    <a:pt x="76" y="145"/>
                    <a:pt x="76" y="146"/>
                    <a:pt x="76" y="147"/>
                  </a:cubicBezTo>
                  <a:cubicBezTo>
                    <a:pt x="76" y="148"/>
                    <a:pt x="76" y="149"/>
                    <a:pt x="76" y="150"/>
                  </a:cubicBezTo>
                  <a:cubicBezTo>
                    <a:pt x="76" y="152"/>
                    <a:pt x="76" y="153"/>
                    <a:pt x="77" y="155"/>
                  </a:cubicBezTo>
                  <a:cubicBezTo>
                    <a:pt x="77" y="155"/>
                    <a:pt x="77" y="156"/>
                    <a:pt x="77" y="157"/>
                  </a:cubicBezTo>
                  <a:cubicBezTo>
                    <a:pt x="77" y="157"/>
                    <a:pt x="78" y="158"/>
                    <a:pt x="78" y="158"/>
                  </a:cubicBezTo>
                  <a:cubicBezTo>
                    <a:pt x="79" y="159"/>
                    <a:pt x="79" y="160"/>
                    <a:pt x="79" y="160"/>
                  </a:cubicBezTo>
                  <a:cubicBezTo>
                    <a:pt x="79" y="161"/>
                    <a:pt x="79" y="161"/>
                    <a:pt x="79" y="161"/>
                  </a:cubicBezTo>
                  <a:cubicBezTo>
                    <a:pt x="80" y="162"/>
                    <a:pt x="81" y="162"/>
                    <a:pt x="81" y="162"/>
                  </a:cubicBezTo>
                  <a:cubicBezTo>
                    <a:pt x="81" y="163"/>
                    <a:pt x="81" y="164"/>
                    <a:pt x="81" y="165"/>
                  </a:cubicBezTo>
                  <a:cubicBezTo>
                    <a:pt x="81" y="166"/>
                    <a:pt x="81" y="167"/>
                    <a:pt x="81" y="168"/>
                  </a:cubicBezTo>
                  <a:cubicBezTo>
                    <a:pt x="80" y="169"/>
                    <a:pt x="79" y="170"/>
                    <a:pt x="79" y="171"/>
                  </a:cubicBezTo>
                  <a:cubicBezTo>
                    <a:pt x="80" y="172"/>
                    <a:pt x="84" y="172"/>
                    <a:pt x="85" y="173"/>
                  </a:cubicBezTo>
                  <a:cubicBezTo>
                    <a:pt x="86" y="173"/>
                    <a:pt x="86" y="174"/>
                    <a:pt x="86" y="175"/>
                  </a:cubicBezTo>
                  <a:cubicBezTo>
                    <a:pt x="88" y="178"/>
                    <a:pt x="91" y="180"/>
                    <a:pt x="91" y="182"/>
                  </a:cubicBezTo>
                  <a:cubicBezTo>
                    <a:pt x="92" y="183"/>
                    <a:pt x="91" y="184"/>
                    <a:pt x="92" y="185"/>
                  </a:cubicBezTo>
                  <a:cubicBezTo>
                    <a:pt x="92" y="185"/>
                    <a:pt x="93" y="186"/>
                    <a:pt x="93" y="186"/>
                  </a:cubicBezTo>
                  <a:cubicBezTo>
                    <a:pt x="93" y="186"/>
                    <a:pt x="93" y="187"/>
                    <a:pt x="94" y="187"/>
                  </a:cubicBezTo>
                  <a:cubicBezTo>
                    <a:pt x="93" y="188"/>
                    <a:pt x="89" y="188"/>
                    <a:pt x="88" y="188"/>
                  </a:cubicBezTo>
                  <a:cubicBezTo>
                    <a:pt x="88" y="189"/>
                    <a:pt x="89" y="190"/>
                    <a:pt x="90" y="191"/>
                  </a:cubicBezTo>
                  <a:cubicBezTo>
                    <a:pt x="90" y="192"/>
                    <a:pt x="91" y="194"/>
                    <a:pt x="92" y="194"/>
                  </a:cubicBezTo>
                  <a:cubicBezTo>
                    <a:pt x="93" y="192"/>
                    <a:pt x="97" y="191"/>
                    <a:pt x="98" y="191"/>
                  </a:cubicBezTo>
                  <a:cubicBezTo>
                    <a:pt x="99" y="191"/>
                    <a:pt x="100" y="190"/>
                    <a:pt x="100" y="190"/>
                  </a:cubicBezTo>
                  <a:cubicBezTo>
                    <a:pt x="101" y="190"/>
                    <a:pt x="102" y="189"/>
                    <a:pt x="103" y="190"/>
                  </a:cubicBezTo>
                  <a:cubicBezTo>
                    <a:pt x="103" y="190"/>
                    <a:pt x="103" y="191"/>
                    <a:pt x="103" y="191"/>
                  </a:cubicBezTo>
                  <a:cubicBezTo>
                    <a:pt x="103" y="191"/>
                    <a:pt x="104" y="191"/>
                    <a:pt x="104" y="192"/>
                  </a:cubicBezTo>
                  <a:cubicBezTo>
                    <a:pt x="104" y="192"/>
                    <a:pt x="104" y="192"/>
                    <a:pt x="104" y="193"/>
                  </a:cubicBezTo>
                  <a:cubicBezTo>
                    <a:pt x="105" y="194"/>
                    <a:pt x="106" y="195"/>
                    <a:pt x="107" y="196"/>
                  </a:cubicBezTo>
                  <a:cubicBezTo>
                    <a:pt x="108" y="197"/>
                    <a:pt x="108" y="198"/>
                    <a:pt x="108" y="199"/>
                  </a:cubicBezTo>
                  <a:cubicBezTo>
                    <a:pt x="109" y="200"/>
                    <a:pt x="110" y="202"/>
                    <a:pt x="112" y="203"/>
                  </a:cubicBezTo>
                  <a:cubicBezTo>
                    <a:pt x="113" y="204"/>
                    <a:pt x="115" y="206"/>
                    <a:pt x="117" y="207"/>
                  </a:cubicBezTo>
                  <a:cubicBezTo>
                    <a:pt x="119" y="209"/>
                    <a:pt x="121" y="210"/>
                    <a:pt x="122" y="211"/>
                  </a:cubicBezTo>
                  <a:cubicBezTo>
                    <a:pt x="123" y="211"/>
                    <a:pt x="124" y="212"/>
                    <a:pt x="125" y="213"/>
                  </a:cubicBezTo>
                  <a:cubicBezTo>
                    <a:pt x="125" y="215"/>
                    <a:pt x="130" y="214"/>
                    <a:pt x="131" y="214"/>
                  </a:cubicBezTo>
                  <a:cubicBezTo>
                    <a:pt x="132" y="214"/>
                    <a:pt x="133" y="216"/>
                    <a:pt x="134" y="217"/>
                  </a:cubicBezTo>
                  <a:cubicBezTo>
                    <a:pt x="135" y="218"/>
                    <a:pt x="135" y="219"/>
                    <a:pt x="135" y="220"/>
                  </a:cubicBezTo>
                  <a:cubicBezTo>
                    <a:pt x="136" y="221"/>
                    <a:pt x="137" y="223"/>
                    <a:pt x="138" y="224"/>
                  </a:cubicBezTo>
                  <a:cubicBezTo>
                    <a:pt x="139" y="225"/>
                    <a:pt x="139" y="224"/>
                    <a:pt x="140" y="223"/>
                  </a:cubicBezTo>
                  <a:cubicBezTo>
                    <a:pt x="140" y="223"/>
                    <a:pt x="140" y="222"/>
                    <a:pt x="140" y="222"/>
                  </a:cubicBezTo>
                  <a:cubicBezTo>
                    <a:pt x="141" y="222"/>
                    <a:pt x="141" y="221"/>
                    <a:pt x="141" y="221"/>
                  </a:cubicBezTo>
                  <a:cubicBezTo>
                    <a:pt x="143" y="219"/>
                    <a:pt x="143" y="214"/>
                    <a:pt x="143" y="211"/>
                  </a:cubicBezTo>
                  <a:cubicBezTo>
                    <a:pt x="143" y="210"/>
                    <a:pt x="143" y="209"/>
                    <a:pt x="143" y="209"/>
                  </a:cubicBezTo>
                  <a:cubicBezTo>
                    <a:pt x="143" y="208"/>
                    <a:pt x="142" y="207"/>
                    <a:pt x="142" y="207"/>
                  </a:cubicBezTo>
                  <a:cubicBezTo>
                    <a:pt x="142" y="206"/>
                    <a:pt x="142" y="206"/>
                    <a:pt x="141" y="206"/>
                  </a:cubicBezTo>
                  <a:cubicBezTo>
                    <a:pt x="141" y="206"/>
                    <a:pt x="141" y="204"/>
                    <a:pt x="140" y="204"/>
                  </a:cubicBezTo>
                  <a:cubicBezTo>
                    <a:pt x="140" y="202"/>
                    <a:pt x="140" y="201"/>
                    <a:pt x="140" y="200"/>
                  </a:cubicBezTo>
                  <a:cubicBezTo>
                    <a:pt x="140" y="198"/>
                    <a:pt x="139" y="198"/>
                    <a:pt x="139" y="197"/>
                  </a:cubicBezTo>
                  <a:cubicBezTo>
                    <a:pt x="139" y="196"/>
                    <a:pt x="140" y="195"/>
                    <a:pt x="140" y="195"/>
                  </a:cubicBezTo>
                  <a:cubicBezTo>
                    <a:pt x="141" y="193"/>
                    <a:pt x="142" y="192"/>
                    <a:pt x="143" y="190"/>
                  </a:cubicBezTo>
                  <a:cubicBezTo>
                    <a:pt x="143" y="190"/>
                    <a:pt x="143" y="189"/>
                    <a:pt x="143" y="189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44" y="187"/>
                    <a:pt x="144" y="185"/>
                    <a:pt x="144" y="184"/>
                  </a:cubicBezTo>
                  <a:cubicBezTo>
                    <a:pt x="145" y="183"/>
                    <a:pt x="147" y="183"/>
                    <a:pt x="147" y="182"/>
                  </a:cubicBezTo>
                  <a:cubicBezTo>
                    <a:pt x="148" y="181"/>
                    <a:pt x="147" y="181"/>
                    <a:pt x="147" y="180"/>
                  </a:cubicBezTo>
                  <a:cubicBezTo>
                    <a:pt x="148" y="179"/>
                    <a:pt x="148" y="178"/>
                    <a:pt x="148" y="177"/>
                  </a:cubicBezTo>
                  <a:cubicBezTo>
                    <a:pt x="149" y="176"/>
                    <a:pt x="149" y="175"/>
                    <a:pt x="149" y="173"/>
                  </a:cubicBezTo>
                  <a:cubicBezTo>
                    <a:pt x="149" y="172"/>
                    <a:pt x="148" y="171"/>
                    <a:pt x="148" y="170"/>
                  </a:cubicBezTo>
                  <a:cubicBezTo>
                    <a:pt x="148" y="169"/>
                    <a:pt x="149" y="168"/>
                    <a:pt x="150" y="167"/>
                  </a:cubicBezTo>
                  <a:cubicBezTo>
                    <a:pt x="152" y="166"/>
                    <a:pt x="154" y="164"/>
                    <a:pt x="155" y="163"/>
                  </a:cubicBezTo>
                  <a:cubicBezTo>
                    <a:pt x="155" y="162"/>
                    <a:pt x="155" y="162"/>
                    <a:pt x="156" y="162"/>
                  </a:cubicBezTo>
                  <a:cubicBezTo>
                    <a:pt x="156" y="161"/>
                    <a:pt x="157" y="161"/>
                    <a:pt x="157" y="161"/>
                  </a:cubicBezTo>
                  <a:cubicBezTo>
                    <a:pt x="159" y="160"/>
                    <a:pt x="161" y="158"/>
                    <a:pt x="163" y="158"/>
                  </a:cubicBezTo>
                  <a:cubicBezTo>
                    <a:pt x="165" y="158"/>
                    <a:pt x="166" y="159"/>
                    <a:pt x="167" y="161"/>
                  </a:cubicBezTo>
                  <a:cubicBezTo>
                    <a:pt x="167" y="162"/>
                    <a:pt x="167" y="163"/>
                    <a:pt x="168" y="164"/>
                  </a:cubicBezTo>
                  <a:cubicBezTo>
                    <a:pt x="168" y="164"/>
                    <a:pt x="169" y="165"/>
                    <a:pt x="170" y="165"/>
                  </a:cubicBezTo>
                  <a:cubicBezTo>
                    <a:pt x="170" y="164"/>
                    <a:pt x="171" y="165"/>
                    <a:pt x="171" y="164"/>
                  </a:cubicBezTo>
                  <a:cubicBezTo>
                    <a:pt x="172" y="164"/>
                    <a:pt x="172" y="163"/>
                    <a:pt x="172" y="163"/>
                  </a:cubicBezTo>
                  <a:cubicBezTo>
                    <a:pt x="174" y="161"/>
                    <a:pt x="173" y="160"/>
                    <a:pt x="172" y="158"/>
                  </a:cubicBezTo>
                  <a:cubicBezTo>
                    <a:pt x="172" y="157"/>
                    <a:pt x="172" y="156"/>
                    <a:pt x="171" y="155"/>
                  </a:cubicBezTo>
                  <a:cubicBezTo>
                    <a:pt x="170" y="154"/>
                    <a:pt x="169" y="152"/>
                    <a:pt x="168" y="151"/>
                  </a:cubicBezTo>
                  <a:cubicBezTo>
                    <a:pt x="167" y="150"/>
                    <a:pt x="166" y="150"/>
                    <a:pt x="166" y="148"/>
                  </a:cubicBezTo>
                  <a:cubicBezTo>
                    <a:pt x="166" y="147"/>
                    <a:pt x="165" y="145"/>
                    <a:pt x="166" y="144"/>
                  </a:cubicBezTo>
                  <a:cubicBezTo>
                    <a:pt x="166" y="144"/>
                    <a:pt x="166" y="144"/>
                    <a:pt x="167" y="143"/>
                  </a:cubicBezTo>
                  <a:cubicBezTo>
                    <a:pt x="167" y="143"/>
                    <a:pt x="166" y="142"/>
                    <a:pt x="166" y="142"/>
                  </a:cubicBezTo>
                  <a:cubicBezTo>
                    <a:pt x="167" y="141"/>
                    <a:pt x="167" y="141"/>
                    <a:pt x="168" y="141"/>
                  </a:cubicBezTo>
                  <a:cubicBezTo>
                    <a:pt x="170" y="140"/>
                    <a:pt x="172" y="143"/>
                    <a:pt x="173" y="144"/>
                  </a:cubicBezTo>
                  <a:cubicBezTo>
                    <a:pt x="174" y="145"/>
                    <a:pt x="175" y="145"/>
                    <a:pt x="176" y="145"/>
                  </a:cubicBezTo>
                  <a:cubicBezTo>
                    <a:pt x="177" y="144"/>
                    <a:pt x="178" y="144"/>
                    <a:pt x="178" y="144"/>
                  </a:cubicBezTo>
                  <a:cubicBezTo>
                    <a:pt x="179" y="144"/>
                    <a:pt x="180" y="144"/>
                    <a:pt x="180" y="143"/>
                  </a:cubicBezTo>
                  <a:cubicBezTo>
                    <a:pt x="181" y="143"/>
                    <a:pt x="181" y="142"/>
                    <a:pt x="181" y="141"/>
                  </a:cubicBezTo>
                  <a:cubicBezTo>
                    <a:pt x="181" y="140"/>
                    <a:pt x="182" y="140"/>
                    <a:pt x="183" y="139"/>
                  </a:cubicBezTo>
                  <a:cubicBezTo>
                    <a:pt x="184" y="139"/>
                    <a:pt x="184" y="138"/>
                    <a:pt x="184" y="138"/>
                  </a:cubicBezTo>
                  <a:cubicBezTo>
                    <a:pt x="185" y="137"/>
                    <a:pt x="187" y="135"/>
                    <a:pt x="188" y="136"/>
                  </a:cubicBezTo>
                  <a:cubicBezTo>
                    <a:pt x="188" y="136"/>
                    <a:pt x="188" y="138"/>
                    <a:pt x="189" y="139"/>
                  </a:cubicBezTo>
                  <a:cubicBezTo>
                    <a:pt x="190" y="140"/>
                    <a:pt x="191" y="141"/>
                    <a:pt x="191" y="143"/>
                  </a:cubicBezTo>
                  <a:cubicBezTo>
                    <a:pt x="192" y="143"/>
                    <a:pt x="192" y="144"/>
                    <a:pt x="193" y="143"/>
                  </a:cubicBezTo>
                  <a:cubicBezTo>
                    <a:pt x="194" y="143"/>
                    <a:pt x="193" y="143"/>
                    <a:pt x="194" y="142"/>
                  </a:cubicBezTo>
                  <a:cubicBezTo>
                    <a:pt x="194" y="141"/>
                    <a:pt x="195" y="141"/>
                    <a:pt x="196" y="140"/>
                  </a:cubicBezTo>
                  <a:cubicBezTo>
                    <a:pt x="196" y="139"/>
                    <a:pt x="196" y="138"/>
                    <a:pt x="196" y="137"/>
                  </a:cubicBezTo>
                  <a:cubicBezTo>
                    <a:pt x="196" y="135"/>
                    <a:pt x="197" y="134"/>
                    <a:pt x="197" y="133"/>
                  </a:cubicBezTo>
                  <a:cubicBezTo>
                    <a:pt x="197" y="132"/>
                    <a:pt x="196" y="132"/>
                    <a:pt x="196" y="131"/>
                  </a:cubicBezTo>
                  <a:cubicBezTo>
                    <a:pt x="196" y="131"/>
                    <a:pt x="196" y="130"/>
                    <a:pt x="196" y="130"/>
                  </a:cubicBezTo>
                  <a:cubicBezTo>
                    <a:pt x="196" y="128"/>
                    <a:pt x="195" y="127"/>
                    <a:pt x="194" y="125"/>
                  </a:cubicBezTo>
                  <a:cubicBezTo>
                    <a:pt x="192" y="122"/>
                    <a:pt x="190" y="120"/>
                    <a:pt x="189" y="117"/>
                  </a:cubicBezTo>
                  <a:cubicBezTo>
                    <a:pt x="188" y="116"/>
                    <a:pt x="188" y="115"/>
                    <a:pt x="187" y="114"/>
                  </a:cubicBezTo>
                  <a:cubicBezTo>
                    <a:pt x="186" y="112"/>
                    <a:pt x="186" y="113"/>
                    <a:pt x="184" y="112"/>
                  </a:cubicBezTo>
                  <a:cubicBezTo>
                    <a:pt x="183" y="112"/>
                    <a:pt x="182" y="111"/>
                    <a:pt x="182" y="110"/>
                  </a:cubicBezTo>
                  <a:cubicBezTo>
                    <a:pt x="181" y="109"/>
                    <a:pt x="182" y="106"/>
                    <a:pt x="183" y="105"/>
                  </a:cubicBezTo>
                  <a:cubicBezTo>
                    <a:pt x="184" y="106"/>
                    <a:pt x="185" y="107"/>
                    <a:pt x="186" y="107"/>
                  </a:cubicBezTo>
                  <a:cubicBezTo>
                    <a:pt x="188" y="109"/>
                    <a:pt x="192" y="109"/>
                    <a:pt x="195" y="109"/>
                  </a:cubicBezTo>
                  <a:cubicBezTo>
                    <a:pt x="197" y="109"/>
                    <a:pt x="200" y="109"/>
                    <a:pt x="201" y="108"/>
                  </a:cubicBezTo>
                  <a:cubicBezTo>
                    <a:pt x="202" y="107"/>
                    <a:pt x="202" y="107"/>
                    <a:pt x="203" y="106"/>
                  </a:cubicBezTo>
                  <a:cubicBezTo>
                    <a:pt x="204" y="105"/>
                    <a:pt x="204" y="105"/>
                    <a:pt x="204" y="104"/>
                  </a:cubicBezTo>
                  <a:cubicBezTo>
                    <a:pt x="204" y="104"/>
                    <a:pt x="204" y="103"/>
                    <a:pt x="204" y="102"/>
                  </a:cubicBezTo>
                  <a:cubicBezTo>
                    <a:pt x="204" y="102"/>
                    <a:pt x="204" y="100"/>
                    <a:pt x="204" y="10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8" name="Freeform 28">
              <a:extLst>
                <a:ext uri="{FF2B5EF4-FFF2-40B4-BE49-F238E27FC236}">
                  <a16:creationId xmlns:a16="http://schemas.microsoft.com/office/drawing/2014/main" id="{48093BD3-B92C-427E-BD97-4BA32CD66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775" y="5527675"/>
              <a:ext cx="280988" cy="252413"/>
            </a:xfrm>
            <a:custGeom>
              <a:avLst/>
              <a:gdLst/>
              <a:ahLst/>
              <a:cxnLst>
                <a:cxn ang="0">
                  <a:pos x="145" y="47"/>
                </a:cxn>
                <a:cxn ang="0">
                  <a:pos x="135" y="45"/>
                </a:cxn>
                <a:cxn ang="0">
                  <a:pos x="132" y="40"/>
                </a:cxn>
                <a:cxn ang="0">
                  <a:pos x="121" y="36"/>
                </a:cxn>
                <a:cxn ang="0">
                  <a:pos x="116" y="31"/>
                </a:cxn>
                <a:cxn ang="0">
                  <a:pos x="110" y="28"/>
                </a:cxn>
                <a:cxn ang="0">
                  <a:pos x="105" y="20"/>
                </a:cxn>
                <a:cxn ang="0">
                  <a:pos x="94" y="10"/>
                </a:cxn>
                <a:cxn ang="0">
                  <a:pos x="88" y="3"/>
                </a:cxn>
                <a:cxn ang="0">
                  <a:pos x="84" y="5"/>
                </a:cxn>
                <a:cxn ang="0">
                  <a:pos x="74" y="2"/>
                </a:cxn>
                <a:cxn ang="0">
                  <a:pos x="74" y="8"/>
                </a:cxn>
                <a:cxn ang="0">
                  <a:pos x="80" y="18"/>
                </a:cxn>
                <a:cxn ang="0">
                  <a:pos x="78" y="25"/>
                </a:cxn>
                <a:cxn ang="0">
                  <a:pos x="71" y="18"/>
                </a:cxn>
                <a:cxn ang="0">
                  <a:pos x="63" y="23"/>
                </a:cxn>
                <a:cxn ang="0">
                  <a:pos x="57" y="33"/>
                </a:cxn>
                <a:cxn ang="0">
                  <a:pos x="55" y="42"/>
                </a:cxn>
                <a:cxn ang="0">
                  <a:pos x="51" y="49"/>
                </a:cxn>
                <a:cxn ang="0">
                  <a:pos x="47" y="57"/>
                </a:cxn>
                <a:cxn ang="0">
                  <a:pos x="49" y="66"/>
                </a:cxn>
                <a:cxn ang="0">
                  <a:pos x="51" y="71"/>
                </a:cxn>
                <a:cxn ang="0">
                  <a:pos x="48" y="83"/>
                </a:cxn>
                <a:cxn ang="0">
                  <a:pos x="42" y="77"/>
                </a:cxn>
                <a:cxn ang="0">
                  <a:pos x="30" y="71"/>
                </a:cxn>
                <a:cxn ang="0">
                  <a:pos x="16" y="59"/>
                </a:cxn>
                <a:cxn ang="0">
                  <a:pos x="12" y="52"/>
                </a:cxn>
                <a:cxn ang="0">
                  <a:pos x="8" y="50"/>
                </a:cxn>
                <a:cxn ang="0">
                  <a:pos x="0" y="54"/>
                </a:cxn>
                <a:cxn ang="0">
                  <a:pos x="5" y="59"/>
                </a:cxn>
                <a:cxn ang="0">
                  <a:pos x="12" y="62"/>
                </a:cxn>
                <a:cxn ang="0">
                  <a:pos x="17" y="66"/>
                </a:cxn>
                <a:cxn ang="0">
                  <a:pos x="26" y="75"/>
                </a:cxn>
                <a:cxn ang="0">
                  <a:pos x="34" y="82"/>
                </a:cxn>
                <a:cxn ang="0">
                  <a:pos x="53" y="94"/>
                </a:cxn>
                <a:cxn ang="0">
                  <a:pos x="62" y="104"/>
                </a:cxn>
                <a:cxn ang="0">
                  <a:pos x="68" y="106"/>
                </a:cxn>
                <a:cxn ang="0">
                  <a:pos x="76" y="116"/>
                </a:cxn>
                <a:cxn ang="0">
                  <a:pos x="82" y="131"/>
                </a:cxn>
                <a:cxn ang="0">
                  <a:pos x="91" y="133"/>
                </a:cxn>
                <a:cxn ang="0">
                  <a:pos x="90" y="111"/>
                </a:cxn>
                <a:cxn ang="0">
                  <a:pos x="95" y="98"/>
                </a:cxn>
                <a:cxn ang="0">
                  <a:pos x="101" y="88"/>
                </a:cxn>
                <a:cxn ang="0">
                  <a:pos x="109" y="76"/>
                </a:cxn>
                <a:cxn ang="0">
                  <a:pos x="113" y="81"/>
                </a:cxn>
                <a:cxn ang="0">
                  <a:pos x="126" y="88"/>
                </a:cxn>
                <a:cxn ang="0">
                  <a:pos x="132" y="81"/>
                </a:cxn>
                <a:cxn ang="0">
                  <a:pos x="132" y="70"/>
                </a:cxn>
                <a:cxn ang="0">
                  <a:pos x="133" y="64"/>
                </a:cxn>
                <a:cxn ang="0">
                  <a:pos x="142" y="62"/>
                </a:cxn>
                <a:cxn ang="0">
                  <a:pos x="148" y="59"/>
                </a:cxn>
              </a:cxnLst>
              <a:rect l="0" t="0" r="r" b="b"/>
              <a:pathLst>
                <a:path w="150" h="135">
                  <a:moveTo>
                    <a:pt x="147" y="51"/>
                  </a:moveTo>
                  <a:cubicBezTo>
                    <a:pt x="146" y="51"/>
                    <a:pt x="146" y="50"/>
                    <a:pt x="146" y="49"/>
                  </a:cubicBezTo>
                  <a:cubicBezTo>
                    <a:pt x="145" y="49"/>
                    <a:pt x="146" y="47"/>
                    <a:pt x="145" y="47"/>
                  </a:cubicBezTo>
                  <a:cubicBezTo>
                    <a:pt x="144" y="46"/>
                    <a:pt x="142" y="47"/>
                    <a:pt x="141" y="47"/>
                  </a:cubicBezTo>
                  <a:cubicBezTo>
                    <a:pt x="140" y="47"/>
                    <a:pt x="136" y="48"/>
                    <a:pt x="136" y="47"/>
                  </a:cubicBezTo>
                  <a:cubicBezTo>
                    <a:pt x="135" y="46"/>
                    <a:pt x="135" y="46"/>
                    <a:pt x="135" y="45"/>
                  </a:cubicBezTo>
                  <a:cubicBezTo>
                    <a:pt x="135" y="44"/>
                    <a:pt x="135" y="44"/>
                    <a:pt x="135" y="43"/>
                  </a:cubicBezTo>
                  <a:cubicBezTo>
                    <a:pt x="134" y="43"/>
                    <a:pt x="134" y="42"/>
                    <a:pt x="133" y="42"/>
                  </a:cubicBezTo>
                  <a:cubicBezTo>
                    <a:pt x="133" y="41"/>
                    <a:pt x="132" y="41"/>
                    <a:pt x="132" y="40"/>
                  </a:cubicBezTo>
                  <a:cubicBezTo>
                    <a:pt x="130" y="40"/>
                    <a:pt x="130" y="39"/>
                    <a:pt x="130" y="38"/>
                  </a:cubicBezTo>
                  <a:cubicBezTo>
                    <a:pt x="129" y="36"/>
                    <a:pt x="128" y="36"/>
                    <a:pt x="127" y="36"/>
                  </a:cubicBezTo>
                  <a:cubicBezTo>
                    <a:pt x="125" y="36"/>
                    <a:pt x="123" y="37"/>
                    <a:pt x="121" y="36"/>
                  </a:cubicBezTo>
                  <a:cubicBezTo>
                    <a:pt x="120" y="36"/>
                    <a:pt x="119" y="35"/>
                    <a:pt x="118" y="34"/>
                  </a:cubicBezTo>
                  <a:cubicBezTo>
                    <a:pt x="117" y="34"/>
                    <a:pt x="117" y="33"/>
                    <a:pt x="116" y="33"/>
                  </a:cubicBezTo>
                  <a:cubicBezTo>
                    <a:pt x="116" y="32"/>
                    <a:pt x="116" y="32"/>
                    <a:pt x="116" y="31"/>
                  </a:cubicBezTo>
                  <a:cubicBezTo>
                    <a:pt x="115" y="31"/>
                    <a:pt x="115" y="31"/>
                    <a:pt x="114" y="31"/>
                  </a:cubicBezTo>
                  <a:cubicBezTo>
                    <a:pt x="113" y="31"/>
                    <a:pt x="113" y="30"/>
                    <a:pt x="112" y="30"/>
                  </a:cubicBezTo>
                  <a:cubicBezTo>
                    <a:pt x="112" y="29"/>
                    <a:pt x="111" y="29"/>
                    <a:pt x="110" y="28"/>
                  </a:cubicBezTo>
                  <a:cubicBezTo>
                    <a:pt x="108" y="27"/>
                    <a:pt x="106" y="25"/>
                    <a:pt x="106" y="23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7" y="22"/>
                    <a:pt x="106" y="21"/>
                    <a:pt x="105" y="20"/>
                  </a:cubicBezTo>
                  <a:cubicBezTo>
                    <a:pt x="103" y="18"/>
                    <a:pt x="101" y="17"/>
                    <a:pt x="100" y="14"/>
                  </a:cubicBezTo>
                  <a:cubicBezTo>
                    <a:pt x="99" y="13"/>
                    <a:pt x="99" y="12"/>
                    <a:pt x="98" y="12"/>
                  </a:cubicBezTo>
                  <a:cubicBezTo>
                    <a:pt x="96" y="11"/>
                    <a:pt x="95" y="11"/>
                    <a:pt x="94" y="10"/>
                  </a:cubicBezTo>
                  <a:cubicBezTo>
                    <a:pt x="93" y="9"/>
                    <a:pt x="93" y="9"/>
                    <a:pt x="92" y="8"/>
                  </a:cubicBezTo>
                  <a:cubicBezTo>
                    <a:pt x="90" y="8"/>
                    <a:pt x="90" y="7"/>
                    <a:pt x="90" y="6"/>
                  </a:cubicBezTo>
                  <a:cubicBezTo>
                    <a:pt x="89" y="5"/>
                    <a:pt x="88" y="4"/>
                    <a:pt x="88" y="3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88" y="4"/>
                    <a:pt x="87" y="4"/>
                    <a:pt x="86" y="4"/>
                  </a:cubicBezTo>
                  <a:cubicBezTo>
                    <a:pt x="86" y="4"/>
                    <a:pt x="85" y="4"/>
                    <a:pt x="84" y="5"/>
                  </a:cubicBezTo>
                  <a:cubicBezTo>
                    <a:pt x="83" y="5"/>
                    <a:pt x="82" y="5"/>
                    <a:pt x="81" y="4"/>
                  </a:cubicBezTo>
                  <a:cubicBezTo>
                    <a:pt x="80" y="3"/>
                    <a:pt x="78" y="0"/>
                    <a:pt x="76" y="1"/>
                  </a:cubicBezTo>
                  <a:cubicBezTo>
                    <a:pt x="75" y="1"/>
                    <a:pt x="75" y="1"/>
                    <a:pt x="74" y="2"/>
                  </a:cubicBezTo>
                  <a:cubicBezTo>
                    <a:pt x="74" y="2"/>
                    <a:pt x="75" y="3"/>
                    <a:pt x="75" y="3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3" y="5"/>
                    <a:pt x="74" y="7"/>
                    <a:pt x="74" y="8"/>
                  </a:cubicBezTo>
                  <a:cubicBezTo>
                    <a:pt x="74" y="10"/>
                    <a:pt x="75" y="10"/>
                    <a:pt x="76" y="11"/>
                  </a:cubicBezTo>
                  <a:cubicBezTo>
                    <a:pt x="77" y="12"/>
                    <a:pt x="78" y="14"/>
                    <a:pt x="79" y="15"/>
                  </a:cubicBezTo>
                  <a:cubicBezTo>
                    <a:pt x="80" y="16"/>
                    <a:pt x="80" y="17"/>
                    <a:pt x="80" y="18"/>
                  </a:cubicBezTo>
                  <a:cubicBezTo>
                    <a:pt x="81" y="20"/>
                    <a:pt x="82" y="21"/>
                    <a:pt x="80" y="23"/>
                  </a:cubicBezTo>
                  <a:cubicBezTo>
                    <a:pt x="80" y="23"/>
                    <a:pt x="80" y="24"/>
                    <a:pt x="79" y="24"/>
                  </a:cubicBezTo>
                  <a:cubicBezTo>
                    <a:pt x="79" y="25"/>
                    <a:pt x="78" y="24"/>
                    <a:pt x="78" y="25"/>
                  </a:cubicBezTo>
                  <a:cubicBezTo>
                    <a:pt x="77" y="25"/>
                    <a:pt x="76" y="24"/>
                    <a:pt x="76" y="24"/>
                  </a:cubicBezTo>
                  <a:cubicBezTo>
                    <a:pt x="75" y="23"/>
                    <a:pt x="75" y="22"/>
                    <a:pt x="75" y="21"/>
                  </a:cubicBezTo>
                  <a:cubicBezTo>
                    <a:pt x="74" y="19"/>
                    <a:pt x="73" y="18"/>
                    <a:pt x="71" y="18"/>
                  </a:cubicBezTo>
                  <a:cubicBezTo>
                    <a:pt x="69" y="18"/>
                    <a:pt x="67" y="20"/>
                    <a:pt x="65" y="21"/>
                  </a:cubicBezTo>
                  <a:cubicBezTo>
                    <a:pt x="65" y="21"/>
                    <a:pt x="64" y="21"/>
                    <a:pt x="64" y="22"/>
                  </a:cubicBezTo>
                  <a:cubicBezTo>
                    <a:pt x="63" y="22"/>
                    <a:pt x="63" y="22"/>
                    <a:pt x="63" y="23"/>
                  </a:cubicBezTo>
                  <a:cubicBezTo>
                    <a:pt x="62" y="24"/>
                    <a:pt x="60" y="26"/>
                    <a:pt x="58" y="27"/>
                  </a:cubicBezTo>
                  <a:cubicBezTo>
                    <a:pt x="57" y="28"/>
                    <a:pt x="56" y="29"/>
                    <a:pt x="56" y="30"/>
                  </a:cubicBezTo>
                  <a:cubicBezTo>
                    <a:pt x="56" y="31"/>
                    <a:pt x="57" y="32"/>
                    <a:pt x="57" y="33"/>
                  </a:cubicBezTo>
                  <a:cubicBezTo>
                    <a:pt x="57" y="35"/>
                    <a:pt x="57" y="36"/>
                    <a:pt x="56" y="37"/>
                  </a:cubicBezTo>
                  <a:cubicBezTo>
                    <a:pt x="56" y="38"/>
                    <a:pt x="56" y="39"/>
                    <a:pt x="55" y="40"/>
                  </a:cubicBezTo>
                  <a:cubicBezTo>
                    <a:pt x="55" y="41"/>
                    <a:pt x="56" y="41"/>
                    <a:pt x="55" y="42"/>
                  </a:cubicBezTo>
                  <a:cubicBezTo>
                    <a:pt x="55" y="43"/>
                    <a:pt x="53" y="43"/>
                    <a:pt x="52" y="44"/>
                  </a:cubicBezTo>
                  <a:cubicBezTo>
                    <a:pt x="52" y="45"/>
                    <a:pt x="52" y="47"/>
                    <a:pt x="51" y="48"/>
                  </a:cubicBezTo>
                  <a:cubicBezTo>
                    <a:pt x="51" y="48"/>
                    <a:pt x="51" y="48"/>
                    <a:pt x="51" y="49"/>
                  </a:cubicBezTo>
                  <a:cubicBezTo>
                    <a:pt x="51" y="49"/>
                    <a:pt x="51" y="50"/>
                    <a:pt x="51" y="50"/>
                  </a:cubicBezTo>
                  <a:cubicBezTo>
                    <a:pt x="50" y="52"/>
                    <a:pt x="49" y="53"/>
                    <a:pt x="48" y="55"/>
                  </a:cubicBezTo>
                  <a:cubicBezTo>
                    <a:pt x="48" y="55"/>
                    <a:pt x="47" y="56"/>
                    <a:pt x="47" y="57"/>
                  </a:cubicBezTo>
                  <a:cubicBezTo>
                    <a:pt x="47" y="58"/>
                    <a:pt x="48" y="58"/>
                    <a:pt x="48" y="60"/>
                  </a:cubicBezTo>
                  <a:cubicBezTo>
                    <a:pt x="48" y="61"/>
                    <a:pt x="48" y="62"/>
                    <a:pt x="48" y="64"/>
                  </a:cubicBezTo>
                  <a:cubicBezTo>
                    <a:pt x="49" y="64"/>
                    <a:pt x="49" y="66"/>
                    <a:pt x="49" y="66"/>
                  </a:cubicBezTo>
                  <a:cubicBezTo>
                    <a:pt x="50" y="66"/>
                    <a:pt x="50" y="66"/>
                    <a:pt x="50" y="67"/>
                  </a:cubicBezTo>
                  <a:cubicBezTo>
                    <a:pt x="50" y="67"/>
                    <a:pt x="51" y="68"/>
                    <a:pt x="51" y="69"/>
                  </a:cubicBezTo>
                  <a:cubicBezTo>
                    <a:pt x="51" y="69"/>
                    <a:pt x="51" y="70"/>
                    <a:pt x="51" y="71"/>
                  </a:cubicBezTo>
                  <a:cubicBezTo>
                    <a:pt x="51" y="74"/>
                    <a:pt x="51" y="79"/>
                    <a:pt x="49" y="81"/>
                  </a:cubicBezTo>
                  <a:cubicBezTo>
                    <a:pt x="49" y="81"/>
                    <a:pt x="49" y="82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ubicBezTo>
                    <a:pt x="47" y="84"/>
                    <a:pt x="47" y="85"/>
                    <a:pt x="46" y="84"/>
                  </a:cubicBezTo>
                  <a:cubicBezTo>
                    <a:pt x="45" y="83"/>
                    <a:pt x="44" y="81"/>
                    <a:pt x="43" y="80"/>
                  </a:cubicBezTo>
                  <a:cubicBezTo>
                    <a:pt x="43" y="79"/>
                    <a:pt x="43" y="78"/>
                    <a:pt x="42" y="77"/>
                  </a:cubicBezTo>
                  <a:cubicBezTo>
                    <a:pt x="41" y="76"/>
                    <a:pt x="40" y="74"/>
                    <a:pt x="39" y="74"/>
                  </a:cubicBezTo>
                  <a:cubicBezTo>
                    <a:pt x="38" y="74"/>
                    <a:pt x="33" y="75"/>
                    <a:pt x="33" y="73"/>
                  </a:cubicBezTo>
                  <a:cubicBezTo>
                    <a:pt x="32" y="72"/>
                    <a:pt x="31" y="71"/>
                    <a:pt x="30" y="71"/>
                  </a:cubicBezTo>
                  <a:cubicBezTo>
                    <a:pt x="29" y="70"/>
                    <a:pt x="27" y="69"/>
                    <a:pt x="25" y="67"/>
                  </a:cubicBezTo>
                  <a:cubicBezTo>
                    <a:pt x="23" y="66"/>
                    <a:pt x="21" y="64"/>
                    <a:pt x="20" y="63"/>
                  </a:cubicBezTo>
                  <a:cubicBezTo>
                    <a:pt x="18" y="62"/>
                    <a:pt x="17" y="60"/>
                    <a:pt x="16" y="59"/>
                  </a:cubicBezTo>
                  <a:cubicBezTo>
                    <a:pt x="16" y="58"/>
                    <a:pt x="16" y="57"/>
                    <a:pt x="15" y="56"/>
                  </a:cubicBezTo>
                  <a:cubicBezTo>
                    <a:pt x="14" y="55"/>
                    <a:pt x="13" y="54"/>
                    <a:pt x="12" y="53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1" y="51"/>
                    <a:pt x="11" y="50"/>
                    <a:pt x="11" y="50"/>
                  </a:cubicBezTo>
                  <a:cubicBezTo>
                    <a:pt x="10" y="49"/>
                    <a:pt x="9" y="50"/>
                    <a:pt x="8" y="50"/>
                  </a:cubicBezTo>
                  <a:cubicBezTo>
                    <a:pt x="8" y="50"/>
                    <a:pt x="7" y="51"/>
                    <a:pt x="6" y="51"/>
                  </a:cubicBezTo>
                  <a:cubicBezTo>
                    <a:pt x="5" y="51"/>
                    <a:pt x="1" y="52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6"/>
                    <a:pt x="0" y="57"/>
                  </a:cubicBezTo>
                  <a:cubicBezTo>
                    <a:pt x="1" y="57"/>
                    <a:pt x="2" y="57"/>
                    <a:pt x="3" y="58"/>
                  </a:cubicBezTo>
                  <a:cubicBezTo>
                    <a:pt x="4" y="58"/>
                    <a:pt x="5" y="58"/>
                    <a:pt x="5" y="59"/>
                  </a:cubicBezTo>
                  <a:cubicBezTo>
                    <a:pt x="5" y="59"/>
                    <a:pt x="6" y="59"/>
                    <a:pt x="6" y="59"/>
                  </a:cubicBezTo>
                  <a:cubicBezTo>
                    <a:pt x="7" y="59"/>
                    <a:pt x="9" y="60"/>
                    <a:pt x="10" y="61"/>
                  </a:cubicBezTo>
                  <a:cubicBezTo>
                    <a:pt x="11" y="62"/>
                    <a:pt x="12" y="62"/>
                    <a:pt x="12" y="62"/>
                  </a:cubicBezTo>
                  <a:cubicBezTo>
                    <a:pt x="13" y="62"/>
                    <a:pt x="13" y="63"/>
                    <a:pt x="14" y="63"/>
                  </a:cubicBezTo>
                  <a:cubicBezTo>
                    <a:pt x="14" y="64"/>
                    <a:pt x="15" y="64"/>
                    <a:pt x="15" y="65"/>
                  </a:cubicBezTo>
                  <a:cubicBezTo>
                    <a:pt x="16" y="65"/>
                    <a:pt x="17" y="65"/>
                    <a:pt x="17" y="66"/>
                  </a:cubicBezTo>
                  <a:cubicBezTo>
                    <a:pt x="19" y="67"/>
                    <a:pt x="20" y="69"/>
                    <a:pt x="22" y="71"/>
                  </a:cubicBezTo>
                  <a:cubicBezTo>
                    <a:pt x="23" y="71"/>
                    <a:pt x="24" y="72"/>
                    <a:pt x="24" y="73"/>
                  </a:cubicBezTo>
                  <a:cubicBezTo>
                    <a:pt x="25" y="73"/>
                    <a:pt x="25" y="74"/>
                    <a:pt x="26" y="75"/>
                  </a:cubicBezTo>
                  <a:cubicBezTo>
                    <a:pt x="27" y="76"/>
                    <a:pt x="29" y="77"/>
                    <a:pt x="30" y="78"/>
                  </a:cubicBezTo>
                  <a:cubicBezTo>
                    <a:pt x="31" y="79"/>
                    <a:pt x="32" y="80"/>
                    <a:pt x="33" y="81"/>
                  </a:cubicBezTo>
                  <a:cubicBezTo>
                    <a:pt x="34" y="81"/>
                    <a:pt x="34" y="82"/>
                    <a:pt x="34" y="82"/>
                  </a:cubicBezTo>
                  <a:cubicBezTo>
                    <a:pt x="35" y="83"/>
                    <a:pt x="35" y="83"/>
                    <a:pt x="36" y="83"/>
                  </a:cubicBezTo>
                  <a:cubicBezTo>
                    <a:pt x="40" y="85"/>
                    <a:pt x="43" y="88"/>
                    <a:pt x="47" y="90"/>
                  </a:cubicBezTo>
                  <a:cubicBezTo>
                    <a:pt x="49" y="91"/>
                    <a:pt x="51" y="93"/>
                    <a:pt x="53" y="94"/>
                  </a:cubicBezTo>
                  <a:cubicBezTo>
                    <a:pt x="55" y="95"/>
                    <a:pt x="57" y="97"/>
                    <a:pt x="58" y="99"/>
                  </a:cubicBezTo>
                  <a:cubicBezTo>
                    <a:pt x="59" y="100"/>
                    <a:pt x="59" y="102"/>
                    <a:pt x="60" y="102"/>
                  </a:cubicBezTo>
                  <a:cubicBezTo>
                    <a:pt x="61" y="103"/>
                    <a:pt x="62" y="103"/>
                    <a:pt x="62" y="104"/>
                  </a:cubicBezTo>
                  <a:cubicBezTo>
                    <a:pt x="63" y="104"/>
                    <a:pt x="64" y="105"/>
                    <a:pt x="65" y="105"/>
                  </a:cubicBezTo>
                  <a:cubicBezTo>
                    <a:pt x="67" y="105"/>
                    <a:pt x="66" y="105"/>
                    <a:pt x="67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9" y="107"/>
                    <a:pt x="69" y="107"/>
                  </a:cubicBezTo>
                  <a:cubicBezTo>
                    <a:pt x="71" y="109"/>
                    <a:pt x="72" y="113"/>
                    <a:pt x="74" y="115"/>
                  </a:cubicBezTo>
                  <a:cubicBezTo>
                    <a:pt x="75" y="116"/>
                    <a:pt x="75" y="116"/>
                    <a:pt x="76" y="116"/>
                  </a:cubicBezTo>
                  <a:cubicBezTo>
                    <a:pt x="77" y="117"/>
                    <a:pt x="77" y="118"/>
                    <a:pt x="78" y="119"/>
                  </a:cubicBezTo>
                  <a:cubicBezTo>
                    <a:pt x="79" y="121"/>
                    <a:pt x="79" y="124"/>
                    <a:pt x="80" y="126"/>
                  </a:cubicBezTo>
                  <a:cubicBezTo>
                    <a:pt x="81" y="128"/>
                    <a:pt x="81" y="129"/>
                    <a:pt x="82" y="131"/>
                  </a:cubicBezTo>
                  <a:cubicBezTo>
                    <a:pt x="83" y="132"/>
                    <a:pt x="85" y="132"/>
                    <a:pt x="86" y="133"/>
                  </a:cubicBezTo>
                  <a:cubicBezTo>
                    <a:pt x="87" y="133"/>
                    <a:pt x="88" y="135"/>
                    <a:pt x="90" y="135"/>
                  </a:cubicBezTo>
                  <a:cubicBezTo>
                    <a:pt x="91" y="134"/>
                    <a:pt x="90" y="134"/>
                    <a:pt x="91" y="133"/>
                  </a:cubicBezTo>
                  <a:cubicBezTo>
                    <a:pt x="91" y="132"/>
                    <a:pt x="91" y="132"/>
                    <a:pt x="91" y="131"/>
                  </a:cubicBezTo>
                  <a:cubicBezTo>
                    <a:pt x="93" y="129"/>
                    <a:pt x="96" y="127"/>
                    <a:pt x="95" y="124"/>
                  </a:cubicBezTo>
                  <a:cubicBezTo>
                    <a:pt x="95" y="120"/>
                    <a:pt x="92" y="115"/>
                    <a:pt x="90" y="111"/>
                  </a:cubicBezTo>
                  <a:cubicBezTo>
                    <a:pt x="88" y="110"/>
                    <a:pt x="86" y="108"/>
                    <a:pt x="86" y="105"/>
                  </a:cubicBezTo>
                  <a:cubicBezTo>
                    <a:pt x="87" y="103"/>
                    <a:pt x="91" y="103"/>
                    <a:pt x="93" y="102"/>
                  </a:cubicBezTo>
                  <a:cubicBezTo>
                    <a:pt x="94" y="101"/>
                    <a:pt x="95" y="100"/>
                    <a:pt x="95" y="98"/>
                  </a:cubicBezTo>
                  <a:cubicBezTo>
                    <a:pt x="96" y="97"/>
                    <a:pt x="97" y="95"/>
                    <a:pt x="97" y="94"/>
                  </a:cubicBezTo>
                  <a:cubicBezTo>
                    <a:pt x="98" y="93"/>
                    <a:pt x="98" y="92"/>
                    <a:pt x="99" y="91"/>
                  </a:cubicBezTo>
                  <a:cubicBezTo>
                    <a:pt x="100" y="90"/>
                    <a:pt x="100" y="89"/>
                    <a:pt x="101" y="88"/>
                  </a:cubicBezTo>
                  <a:cubicBezTo>
                    <a:pt x="103" y="87"/>
                    <a:pt x="104" y="85"/>
                    <a:pt x="105" y="83"/>
                  </a:cubicBezTo>
                  <a:cubicBezTo>
                    <a:pt x="107" y="81"/>
                    <a:pt x="108" y="80"/>
                    <a:pt x="109" y="78"/>
                  </a:cubicBezTo>
                  <a:cubicBezTo>
                    <a:pt x="109" y="77"/>
                    <a:pt x="109" y="77"/>
                    <a:pt x="109" y="76"/>
                  </a:cubicBezTo>
                  <a:cubicBezTo>
                    <a:pt x="109" y="76"/>
                    <a:pt x="111" y="74"/>
                    <a:pt x="111" y="74"/>
                  </a:cubicBezTo>
                  <a:cubicBezTo>
                    <a:pt x="112" y="74"/>
                    <a:pt x="112" y="74"/>
                    <a:pt x="112" y="75"/>
                  </a:cubicBezTo>
                  <a:cubicBezTo>
                    <a:pt x="113" y="77"/>
                    <a:pt x="113" y="79"/>
                    <a:pt x="113" y="81"/>
                  </a:cubicBezTo>
                  <a:cubicBezTo>
                    <a:pt x="113" y="83"/>
                    <a:pt x="113" y="86"/>
                    <a:pt x="113" y="87"/>
                  </a:cubicBezTo>
                  <a:cubicBezTo>
                    <a:pt x="114" y="90"/>
                    <a:pt x="116" y="89"/>
                    <a:pt x="118" y="89"/>
                  </a:cubicBezTo>
                  <a:cubicBezTo>
                    <a:pt x="121" y="89"/>
                    <a:pt x="123" y="89"/>
                    <a:pt x="126" y="88"/>
                  </a:cubicBezTo>
                  <a:cubicBezTo>
                    <a:pt x="127" y="87"/>
                    <a:pt x="129" y="87"/>
                    <a:pt x="130" y="85"/>
                  </a:cubicBezTo>
                  <a:cubicBezTo>
                    <a:pt x="131" y="85"/>
                    <a:pt x="131" y="84"/>
                    <a:pt x="131" y="83"/>
                  </a:cubicBezTo>
                  <a:cubicBezTo>
                    <a:pt x="131" y="82"/>
                    <a:pt x="132" y="82"/>
                    <a:pt x="132" y="81"/>
                  </a:cubicBezTo>
                  <a:cubicBezTo>
                    <a:pt x="133" y="80"/>
                    <a:pt x="133" y="79"/>
                    <a:pt x="133" y="78"/>
                  </a:cubicBezTo>
                  <a:cubicBezTo>
                    <a:pt x="134" y="76"/>
                    <a:pt x="135" y="73"/>
                    <a:pt x="134" y="71"/>
                  </a:cubicBezTo>
                  <a:cubicBezTo>
                    <a:pt x="134" y="71"/>
                    <a:pt x="133" y="70"/>
                    <a:pt x="132" y="70"/>
                  </a:cubicBezTo>
                  <a:cubicBezTo>
                    <a:pt x="132" y="69"/>
                    <a:pt x="131" y="69"/>
                    <a:pt x="130" y="69"/>
                  </a:cubicBezTo>
                  <a:cubicBezTo>
                    <a:pt x="129" y="69"/>
                    <a:pt x="129" y="68"/>
                    <a:pt x="129" y="68"/>
                  </a:cubicBezTo>
                  <a:cubicBezTo>
                    <a:pt x="128" y="66"/>
                    <a:pt x="131" y="64"/>
                    <a:pt x="133" y="64"/>
                  </a:cubicBezTo>
                  <a:cubicBezTo>
                    <a:pt x="134" y="65"/>
                    <a:pt x="135" y="65"/>
                    <a:pt x="136" y="66"/>
                  </a:cubicBezTo>
                  <a:cubicBezTo>
                    <a:pt x="138" y="67"/>
                    <a:pt x="139" y="67"/>
                    <a:pt x="141" y="67"/>
                  </a:cubicBezTo>
                  <a:cubicBezTo>
                    <a:pt x="141" y="65"/>
                    <a:pt x="140" y="62"/>
                    <a:pt x="142" y="62"/>
                  </a:cubicBezTo>
                  <a:cubicBezTo>
                    <a:pt x="143" y="62"/>
                    <a:pt x="145" y="63"/>
                    <a:pt x="146" y="62"/>
                  </a:cubicBezTo>
                  <a:cubicBezTo>
                    <a:pt x="146" y="61"/>
                    <a:pt x="145" y="60"/>
                    <a:pt x="146" y="60"/>
                  </a:cubicBezTo>
                  <a:cubicBezTo>
                    <a:pt x="147" y="59"/>
                    <a:pt x="148" y="59"/>
                    <a:pt x="148" y="59"/>
                  </a:cubicBezTo>
                  <a:cubicBezTo>
                    <a:pt x="149" y="58"/>
                    <a:pt x="149" y="58"/>
                    <a:pt x="149" y="57"/>
                  </a:cubicBezTo>
                  <a:cubicBezTo>
                    <a:pt x="150" y="55"/>
                    <a:pt x="148" y="52"/>
                    <a:pt x="147" y="5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59" name="Freeform 29">
              <a:extLst>
                <a:ext uri="{FF2B5EF4-FFF2-40B4-BE49-F238E27FC236}">
                  <a16:creationId xmlns:a16="http://schemas.microsoft.com/office/drawing/2014/main" id="{D1C70F5E-D146-4BCA-A6D1-8AA6485683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7650" y="5132388"/>
              <a:ext cx="406400" cy="601663"/>
            </a:xfrm>
            <a:custGeom>
              <a:avLst/>
              <a:gdLst/>
              <a:ahLst/>
              <a:cxnLst>
                <a:cxn ang="0">
                  <a:pos x="53" y="277"/>
                </a:cxn>
                <a:cxn ang="0">
                  <a:pos x="53" y="278"/>
                </a:cxn>
                <a:cxn ang="0">
                  <a:pos x="54" y="276"/>
                </a:cxn>
                <a:cxn ang="0">
                  <a:pos x="58" y="282"/>
                </a:cxn>
                <a:cxn ang="0">
                  <a:pos x="54" y="280"/>
                </a:cxn>
                <a:cxn ang="0">
                  <a:pos x="208" y="236"/>
                </a:cxn>
                <a:cxn ang="0">
                  <a:pos x="200" y="227"/>
                </a:cxn>
                <a:cxn ang="0">
                  <a:pos x="192" y="213"/>
                </a:cxn>
                <a:cxn ang="0">
                  <a:pos x="188" y="190"/>
                </a:cxn>
                <a:cxn ang="0">
                  <a:pos x="201" y="176"/>
                </a:cxn>
                <a:cxn ang="0">
                  <a:pos x="195" y="148"/>
                </a:cxn>
                <a:cxn ang="0">
                  <a:pos x="198" y="139"/>
                </a:cxn>
                <a:cxn ang="0">
                  <a:pos x="183" y="129"/>
                </a:cxn>
                <a:cxn ang="0">
                  <a:pos x="170" y="135"/>
                </a:cxn>
                <a:cxn ang="0">
                  <a:pos x="147" y="122"/>
                </a:cxn>
                <a:cxn ang="0">
                  <a:pos x="137" y="115"/>
                </a:cxn>
                <a:cxn ang="0">
                  <a:pos x="141" y="103"/>
                </a:cxn>
                <a:cxn ang="0">
                  <a:pos x="137" y="90"/>
                </a:cxn>
                <a:cxn ang="0">
                  <a:pos x="137" y="76"/>
                </a:cxn>
                <a:cxn ang="0">
                  <a:pos x="107" y="61"/>
                </a:cxn>
                <a:cxn ang="0">
                  <a:pos x="105" y="40"/>
                </a:cxn>
                <a:cxn ang="0">
                  <a:pos x="95" y="29"/>
                </a:cxn>
                <a:cxn ang="0">
                  <a:pos x="81" y="12"/>
                </a:cxn>
                <a:cxn ang="0">
                  <a:pos x="44" y="0"/>
                </a:cxn>
                <a:cxn ang="0">
                  <a:pos x="26" y="8"/>
                </a:cxn>
                <a:cxn ang="0">
                  <a:pos x="6" y="18"/>
                </a:cxn>
                <a:cxn ang="0">
                  <a:pos x="2" y="31"/>
                </a:cxn>
                <a:cxn ang="0">
                  <a:pos x="2" y="48"/>
                </a:cxn>
                <a:cxn ang="0">
                  <a:pos x="6" y="64"/>
                </a:cxn>
                <a:cxn ang="0">
                  <a:pos x="19" y="82"/>
                </a:cxn>
                <a:cxn ang="0">
                  <a:pos x="23" y="112"/>
                </a:cxn>
                <a:cxn ang="0">
                  <a:pos x="11" y="142"/>
                </a:cxn>
                <a:cxn ang="0">
                  <a:pos x="24" y="151"/>
                </a:cxn>
                <a:cxn ang="0">
                  <a:pos x="24" y="164"/>
                </a:cxn>
                <a:cxn ang="0">
                  <a:pos x="36" y="173"/>
                </a:cxn>
                <a:cxn ang="0">
                  <a:pos x="15" y="176"/>
                </a:cxn>
                <a:cxn ang="0">
                  <a:pos x="28" y="201"/>
                </a:cxn>
                <a:cxn ang="0">
                  <a:pos x="25" y="214"/>
                </a:cxn>
                <a:cxn ang="0">
                  <a:pos x="13" y="212"/>
                </a:cxn>
                <a:cxn ang="0">
                  <a:pos x="22" y="223"/>
                </a:cxn>
                <a:cxn ang="0">
                  <a:pos x="36" y="241"/>
                </a:cxn>
                <a:cxn ang="0">
                  <a:pos x="51" y="247"/>
                </a:cxn>
                <a:cxn ang="0">
                  <a:pos x="60" y="258"/>
                </a:cxn>
                <a:cxn ang="0">
                  <a:pos x="72" y="270"/>
                </a:cxn>
                <a:cxn ang="0">
                  <a:pos x="82" y="262"/>
                </a:cxn>
                <a:cxn ang="0">
                  <a:pos x="93" y="244"/>
                </a:cxn>
                <a:cxn ang="0">
                  <a:pos x="105" y="245"/>
                </a:cxn>
                <a:cxn ang="0">
                  <a:pos x="117" y="255"/>
                </a:cxn>
                <a:cxn ang="0">
                  <a:pos x="131" y="272"/>
                </a:cxn>
                <a:cxn ang="0">
                  <a:pos x="151" y="289"/>
                </a:cxn>
                <a:cxn ang="0">
                  <a:pos x="143" y="305"/>
                </a:cxn>
                <a:cxn ang="0">
                  <a:pos x="138" y="321"/>
                </a:cxn>
                <a:cxn ang="0">
                  <a:pos x="159" y="316"/>
                </a:cxn>
                <a:cxn ang="0">
                  <a:pos x="174" y="312"/>
                </a:cxn>
                <a:cxn ang="0">
                  <a:pos x="190" y="299"/>
                </a:cxn>
                <a:cxn ang="0">
                  <a:pos x="187" y="276"/>
                </a:cxn>
                <a:cxn ang="0">
                  <a:pos x="202" y="269"/>
                </a:cxn>
              </a:cxnLst>
              <a:rect l="0" t="0" r="r" b="b"/>
              <a:pathLst>
                <a:path w="218" h="322">
                  <a:moveTo>
                    <a:pt x="53" y="277"/>
                  </a:move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6"/>
                  </a:cubicBezTo>
                  <a:cubicBezTo>
                    <a:pt x="53" y="277"/>
                    <a:pt x="53" y="277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cubicBezTo>
                    <a:pt x="53" y="278"/>
                    <a:pt x="53" y="278"/>
                    <a:pt x="53" y="278"/>
                  </a:cubicBezTo>
                  <a:cubicBezTo>
                    <a:pt x="53" y="278"/>
                    <a:pt x="53" y="277"/>
                    <a:pt x="53" y="277"/>
                  </a:cubicBezTo>
                  <a:moveTo>
                    <a:pt x="53" y="278"/>
                  </a:moveTo>
                  <a:cubicBezTo>
                    <a:pt x="53" y="278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moveTo>
                    <a:pt x="54" y="276"/>
                  </a:moveTo>
                  <a:cubicBezTo>
                    <a:pt x="54" y="276"/>
                    <a:pt x="54" y="276"/>
                    <a:pt x="54" y="276"/>
                  </a:cubicBezTo>
                  <a:cubicBezTo>
                    <a:pt x="55" y="275"/>
                    <a:pt x="56" y="275"/>
                    <a:pt x="56" y="275"/>
                  </a:cubicBezTo>
                  <a:cubicBezTo>
                    <a:pt x="55" y="275"/>
                    <a:pt x="54" y="276"/>
                    <a:pt x="54" y="276"/>
                  </a:cubicBezTo>
                  <a:moveTo>
                    <a:pt x="58" y="282"/>
                  </a:moveTo>
                  <a:cubicBezTo>
                    <a:pt x="58" y="283"/>
                    <a:pt x="59" y="284"/>
                    <a:pt x="59" y="285"/>
                  </a:cubicBezTo>
                  <a:cubicBezTo>
                    <a:pt x="59" y="284"/>
                    <a:pt x="58" y="283"/>
                    <a:pt x="58" y="282"/>
                  </a:cubicBezTo>
                  <a:moveTo>
                    <a:pt x="56" y="275"/>
                  </a:moveTo>
                  <a:cubicBezTo>
                    <a:pt x="57" y="275"/>
                    <a:pt x="57" y="275"/>
                    <a:pt x="57" y="275"/>
                  </a:cubicBezTo>
                  <a:cubicBezTo>
                    <a:pt x="57" y="275"/>
                    <a:pt x="57" y="275"/>
                    <a:pt x="56" y="275"/>
                  </a:cubicBezTo>
                  <a:moveTo>
                    <a:pt x="54" y="280"/>
                  </a:moveTo>
                  <a:cubicBezTo>
                    <a:pt x="54" y="280"/>
                    <a:pt x="54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moveTo>
                    <a:pt x="217" y="248"/>
                  </a:moveTo>
                  <a:cubicBezTo>
                    <a:pt x="217" y="248"/>
                    <a:pt x="216" y="248"/>
                    <a:pt x="216" y="247"/>
                  </a:cubicBezTo>
                  <a:cubicBezTo>
                    <a:pt x="216" y="247"/>
                    <a:pt x="215" y="246"/>
                    <a:pt x="215" y="246"/>
                  </a:cubicBezTo>
                  <a:cubicBezTo>
                    <a:pt x="215" y="245"/>
                    <a:pt x="214" y="244"/>
                    <a:pt x="213" y="243"/>
                  </a:cubicBezTo>
                  <a:cubicBezTo>
                    <a:pt x="212" y="242"/>
                    <a:pt x="210" y="240"/>
                    <a:pt x="210" y="238"/>
                  </a:cubicBezTo>
                  <a:cubicBezTo>
                    <a:pt x="210" y="237"/>
                    <a:pt x="209" y="237"/>
                    <a:pt x="208" y="236"/>
                  </a:cubicBezTo>
                  <a:cubicBezTo>
                    <a:pt x="207" y="235"/>
                    <a:pt x="207" y="234"/>
                    <a:pt x="206" y="233"/>
                  </a:cubicBezTo>
                  <a:cubicBezTo>
                    <a:pt x="205" y="232"/>
                    <a:pt x="205" y="231"/>
                    <a:pt x="203" y="231"/>
                  </a:cubicBezTo>
                  <a:cubicBezTo>
                    <a:pt x="202" y="230"/>
                    <a:pt x="200" y="231"/>
                    <a:pt x="198" y="230"/>
                  </a:cubicBezTo>
                  <a:cubicBezTo>
                    <a:pt x="197" y="230"/>
                    <a:pt x="195" y="230"/>
                    <a:pt x="194" y="230"/>
                  </a:cubicBezTo>
                  <a:cubicBezTo>
                    <a:pt x="193" y="229"/>
                    <a:pt x="193" y="226"/>
                    <a:pt x="194" y="226"/>
                  </a:cubicBezTo>
                  <a:cubicBezTo>
                    <a:pt x="196" y="226"/>
                    <a:pt x="198" y="228"/>
                    <a:pt x="200" y="227"/>
                  </a:cubicBezTo>
                  <a:cubicBezTo>
                    <a:pt x="199" y="225"/>
                    <a:pt x="198" y="224"/>
                    <a:pt x="197" y="222"/>
                  </a:cubicBezTo>
                  <a:cubicBezTo>
                    <a:pt x="196" y="221"/>
                    <a:pt x="196" y="221"/>
                    <a:pt x="195" y="220"/>
                  </a:cubicBezTo>
                  <a:cubicBezTo>
                    <a:pt x="195" y="220"/>
                    <a:pt x="194" y="219"/>
                    <a:pt x="194" y="218"/>
                  </a:cubicBezTo>
                  <a:cubicBezTo>
                    <a:pt x="194" y="218"/>
                    <a:pt x="193" y="217"/>
                    <a:pt x="193" y="216"/>
                  </a:cubicBezTo>
                  <a:cubicBezTo>
                    <a:pt x="193" y="215"/>
                    <a:pt x="193" y="214"/>
                    <a:pt x="193" y="214"/>
                  </a:cubicBezTo>
                  <a:cubicBezTo>
                    <a:pt x="192" y="213"/>
                    <a:pt x="192" y="214"/>
                    <a:pt x="192" y="213"/>
                  </a:cubicBezTo>
                  <a:cubicBezTo>
                    <a:pt x="191" y="212"/>
                    <a:pt x="192" y="210"/>
                    <a:pt x="191" y="210"/>
                  </a:cubicBezTo>
                  <a:cubicBezTo>
                    <a:pt x="191" y="209"/>
                    <a:pt x="191" y="209"/>
                    <a:pt x="190" y="209"/>
                  </a:cubicBezTo>
                  <a:cubicBezTo>
                    <a:pt x="190" y="209"/>
                    <a:pt x="190" y="208"/>
                    <a:pt x="190" y="208"/>
                  </a:cubicBezTo>
                  <a:cubicBezTo>
                    <a:pt x="189" y="207"/>
                    <a:pt x="188" y="205"/>
                    <a:pt x="187" y="203"/>
                  </a:cubicBezTo>
                  <a:cubicBezTo>
                    <a:pt x="187" y="201"/>
                    <a:pt x="187" y="196"/>
                    <a:pt x="187" y="194"/>
                  </a:cubicBezTo>
                  <a:cubicBezTo>
                    <a:pt x="187" y="192"/>
                    <a:pt x="188" y="191"/>
                    <a:pt x="188" y="190"/>
                  </a:cubicBezTo>
                  <a:cubicBezTo>
                    <a:pt x="189" y="189"/>
                    <a:pt x="190" y="189"/>
                    <a:pt x="191" y="187"/>
                  </a:cubicBezTo>
                  <a:cubicBezTo>
                    <a:pt x="191" y="186"/>
                    <a:pt x="191" y="186"/>
                    <a:pt x="191" y="185"/>
                  </a:cubicBezTo>
                  <a:cubicBezTo>
                    <a:pt x="191" y="184"/>
                    <a:pt x="192" y="184"/>
                    <a:pt x="192" y="183"/>
                  </a:cubicBezTo>
                  <a:cubicBezTo>
                    <a:pt x="194" y="181"/>
                    <a:pt x="194" y="178"/>
                    <a:pt x="196" y="177"/>
                  </a:cubicBezTo>
                  <a:cubicBezTo>
                    <a:pt x="196" y="176"/>
                    <a:pt x="198" y="176"/>
                    <a:pt x="198" y="176"/>
                  </a:cubicBezTo>
                  <a:cubicBezTo>
                    <a:pt x="199" y="176"/>
                    <a:pt x="201" y="176"/>
                    <a:pt x="201" y="176"/>
                  </a:cubicBezTo>
                  <a:cubicBezTo>
                    <a:pt x="202" y="175"/>
                    <a:pt x="202" y="174"/>
                    <a:pt x="202" y="173"/>
                  </a:cubicBezTo>
                  <a:cubicBezTo>
                    <a:pt x="202" y="169"/>
                    <a:pt x="202" y="165"/>
                    <a:pt x="202" y="161"/>
                  </a:cubicBezTo>
                  <a:cubicBezTo>
                    <a:pt x="202" y="159"/>
                    <a:pt x="201" y="157"/>
                    <a:pt x="199" y="156"/>
                  </a:cubicBezTo>
                  <a:cubicBezTo>
                    <a:pt x="199" y="155"/>
                    <a:pt x="198" y="154"/>
                    <a:pt x="198" y="154"/>
                  </a:cubicBezTo>
                  <a:cubicBezTo>
                    <a:pt x="197" y="153"/>
                    <a:pt x="196" y="153"/>
                    <a:pt x="195" y="152"/>
                  </a:cubicBezTo>
                  <a:cubicBezTo>
                    <a:pt x="194" y="151"/>
                    <a:pt x="195" y="149"/>
                    <a:pt x="195" y="148"/>
                  </a:cubicBezTo>
                  <a:cubicBezTo>
                    <a:pt x="194" y="148"/>
                    <a:pt x="193" y="147"/>
                    <a:pt x="193" y="146"/>
                  </a:cubicBezTo>
                  <a:cubicBezTo>
                    <a:pt x="193" y="145"/>
                    <a:pt x="192" y="145"/>
                    <a:pt x="192" y="144"/>
                  </a:cubicBezTo>
                  <a:cubicBezTo>
                    <a:pt x="193" y="143"/>
                    <a:pt x="193" y="143"/>
                    <a:pt x="194" y="143"/>
                  </a:cubicBezTo>
                  <a:cubicBezTo>
                    <a:pt x="194" y="142"/>
                    <a:pt x="194" y="142"/>
                    <a:pt x="194" y="141"/>
                  </a:cubicBezTo>
                  <a:cubicBezTo>
                    <a:pt x="194" y="140"/>
                    <a:pt x="196" y="140"/>
                    <a:pt x="196" y="140"/>
                  </a:cubicBezTo>
                  <a:cubicBezTo>
                    <a:pt x="197" y="139"/>
                    <a:pt x="197" y="139"/>
                    <a:pt x="198" y="139"/>
                  </a:cubicBezTo>
                  <a:cubicBezTo>
                    <a:pt x="199" y="138"/>
                    <a:pt x="200" y="138"/>
                    <a:pt x="201" y="137"/>
                  </a:cubicBezTo>
                  <a:cubicBezTo>
                    <a:pt x="204" y="137"/>
                    <a:pt x="207" y="137"/>
                    <a:pt x="208" y="135"/>
                  </a:cubicBezTo>
                  <a:cubicBezTo>
                    <a:pt x="209" y="132"/>
                    <a:pt x="206" y="131"/>
                    <a:pt x="204" y="130"/>
                  </a:cubicBezTo>
                  <a:cubicBezTo>
                    <a:pt x="201" y="128"/>
                    <a:pt x="199" y="128"/>
                    <a:pt x="196" y="126"/>
                  </a:cubicBezTo>
                  <a:cubicBezTo>
                    <a:pt x="193" y="125"/>
                    <a:pt x="191" y="122"/>
                    <a:pt x="188" y="123"/>
                  </a:cubicBezTo>
                  <a:cubicBezTo>
                    <a:pt x="185" y="124"/>
                    <a:pt x="185" y="127"/>
                    <a:pt x="183" y="129"/>
                  </a:cubicBezTo>
                  <a:cubicBezTo>
                    <a:pt x="182" y="129"/>
                    <a:pt x="182" y="130"/>
                    <a:pt x="181" y="131"/>
                  </a:cubicBezTo>
                  <a:cubicBezTo>
                    <a:pt x="181" y="131"/>
                    <a:pt x="181" y="132"/>
                    <a:pt x="180" y="133"/>
                  </a:cubicBezTo>
                  <a:cubicBezTo>
                    <a:pt x="180" y="133"/>
                    <a:pt x="180" y="134"/>
                    <a:pt x="180" y="134"/>
                  </a:cubicBezTo>
                  <a:cubicBezTo>
                    <a:pt x="179" y="136"/>
                    <a:pt x="179" y="135"/>
                    <a:pt x="178" y="136"/>
                  </a:cubicBezTo>
                  <a:cubicBezTo>
                    <a:pt x="176" y="138"/>
                    <a:pt x="175" y="138"/>
                    <a:pt x="172" y="137"/>
                  </a:cubicBezTo>
                  <a:cubicBezTo>
                    <a:pt x="170" y="137"/>
                    <a:pt x="170" y="137"/>
                    <a:pt x="170" y="135"/>
                  </a:cubicBezTo>
                  <a:cubicBezTo>
                    <a:pt x="169" y="135"/>
                    <a:pt x="169" y="133"/>
                    <a:pt x="169" y="133"/>
                  </a:cubicBezTo>
                  <a:cubicBezTo>
                    <a:pt x="168" y="132"/>
                    <a:pt x="167" y="132"/>
                    <a:pt x="166" y="131"/>
                  </a:cubicBezTo>
                  <a:cubicBezTo>
                    <a:pt x="165" y="131"/>
                    <a:pt x="164" y="130"/>
                    <a:pt x="163" y="130"/>
                  </a:cubicBezTo>
                  <a:cubicBezTo>
                    <a:pt x="161" y="128"/>
                    <a:pt x="159" y="126"/>
                    <a:pt x="156" y="125"/>
                  </a:cubicBezTo>
                  <a:cubicBezTo>
                    <a:pt x="153" y="124"/>
                    <a:pt x="150" y="123"/>
                    <a:pt x="147" y="122"/>
                  </a:cubicBezTo>
                  <a:cubicBezTo>
                    <a:pt x="147" y="122"/>
                    <a:pt x="147" y="122"/>
                    <a:pt x="147" y="122"/>
                  </a:cubicBezTo>
                  <a:cubicBezTo>
                    <a:pt x="147" y="122"/>
                    <a:pt x="146" y="122"/>
                    <a:pt x="146" y="122"/>
                  </a:cubicBezTo>
                  <a:cubicBezTo>
                    <a:pt x="145" y="121"/>
                    <a:pt x="144" y="121"/>
                    <a:pt x="143" y="120"/>
                  </a:cubicBezTo>
                  <a:cubicBezTo>
                    <a:pt x="143" y="119"/>
                    <a:pt x="143" y="119"/>
                    <a:pt x="143" y="118"/>
                  </a:cubicBezTo>
                  <a:cubicBezTo>
                    <a:pt x="143" y="118"/>
                    <a:pt x="142" y="117"/>
                    <a:pt x="142" y="117"/>
                  </a:cubicBezTo>
                  <a:cubicBezTo>
                    <a:pt x="142" y="116"/>
                    <a:pt x="142" y="116"/>
                    <a:pt x="141" y="115"/>
                  </a:cubicBezTo>
                  <a:cubicBezTo>
                    <a:pt x="141" y="115"/>
                    <a:pt x="138" y="115"/>
                    <a:pt x="137" y="115"/>
                  </a:cubicBezTo>
                  <a:cubicBezTo>
                    <a:pt x="136" y="115"/>
                    <a:pt x="135" y="115"/>
                    <a:pt x="134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2" y="111"/>
                    <a:pt x="133" y="111"/>
                    <a:pt x="134" y="110"/>
                  </a:cubicBezTo>
                  <a:cubicBezTo>
                    <a:pt x="135" y="109"/>
                    <a:pt x="135" y="108"/>
                    <a:pt x="136" y="108"/>
                  </a:cubicBezTo>
                  <a:cubicBezTo>
                    <a:pt x="138" y="107"/>
                    <a:pt x="140" y="108"/>
                    <a:pt x="141" y="108"/>
                  </a:cubicBezTo>
                  <a:cubicBezTo>
                    <a:pt x="143" y="107"/>
                    <a:pt x="142" y="104"/>
                    <a:pt x="141" y="103"/>
                  </a:cubicBezTo>
                  <a:cubicBezTo>
                    <a:pt x="140" y="102"/>
                    <a:pt x="139" y="101"/>
                    <a:pt x="139" y="101"/>
                  </a:cubicBezTo>
                  <a:cubicBezTo>
                    <a:pt x="138" y="100"/>
                    <a:pt x="136" y="100"/>
                    <a:pt x="135" y="99"/>
                  </a:cubicBezTo>
                  <a:cubicBezTo>
                    <a:pt x="134" y="98"/>
                    <a:pt x="133" y="95"/>
                    <a:pt x="134" y="94"/>
                  </a:cubicBezTo>
                  <a:cubicBezTo>
                    <a:pt x="134" y="93"/>
                    <a:pt x="135" y="93"/>
                    <a:pt x="136" y="92"/>
                  </a:cubicBezTo>
                  <a:cubicBezTo>
                    <a:pt x="136" y="92"/>
                    <a:pt x="136" y="92"/>
                    <a:pt x="136" y="91"/>
                  </a:cubicBezTo>
                  <a:cubicBezTo>
                    <a:pt x="137" y="91"/>
                    <a:pt x="137" y="90"/>
                    <a:pt x="137" y="90"/>
                  </a:cubicBezTo>
                  <a:cubicBezTo>
                    <a:pt x="137" y="88"/>
                    <a:pt x="138" y="88"/>
                    <a:pt x="139" y="87"/>
                  </a:cubicBezTo>
                  <a:cubicBezTo>
                    <a:pt x="140" y="86"/>
                    <a:pt x="141" y="85"/>
                    <a:pt x="141" y="84"/>
                  </a:cubicBezTo>
                  <a:cubicBezTo>
                    <a:pt x="141" y="83"/>
                    <a:pt x="140" y="83"/>
                    <a:pt x="139" y="82"/>
                  </a:cubicBezTo>
                  <a:cubicBezTo>
                    <a:pt x="138" y="81"/>
                    <a:pt x="138" y="80"/>
                    <a:pt x="138" y="79"/>
                  </a:cubicBezTo>
                  <a:cubicBezTo>
                    <a:pt x="139" y="78"/>
                    <a:pt x="140" y="78"/>
                    <a:pt x="139" y="77"/>
                  </a:cubicBezTo>
                  <a:cubicBezTo>
                    <a:pt x="139" y="76"/>
                    <a:pt x="138" y="76"/>
                    <a:pt x="137" y="76"/>
                  </a:cubicBezTo>
                  <a:cubicBezTo>
                    <a:pt x="137" y="75"/>
                    <a:pt x="137" y="75"/>
                    <a:pt x="136" y="74"/>
                  </a:cubicBezTo>
                  <a:cubicBezTo>
                    <a:pt x="135" y="73"/>
                    <a:pt x="134" y="73"/>
                    <a:pt x="133" y="73"/>
                  </a:cubicBezTo>
                  <a:cubicBezTo>
                    <a:pt x="126" y="73"/>
                    <a:pt x="120" y="73"/>
                    <a:pt x="114" y="71"/>
                  </a:cubicBezTo>
                  <a:cubicBezTo>
                    <a:pt x="112" y="70"/>
                    <a:pt x="111" y="69"/>
                    <a:pt x="110" y="68"/>
                  </a:cubicBezTo>
                  <a:cubicBezTo>
                    <a:pt x="110" y="67"/>
                    <a:pt x="110" y="66"/>
                    <a:pt x="110" y="65"/>
                  </a:cubicBezTo>
                  <a:cubicBezTo>
                    <a:pt x="110" y="62"/>
                    <a:pt x="110" y="62"/>
                    <a:pt x="107" y="61"/>
                  </a:cubicBezTo>
                  <a:cubicBezTo>
                    <a:pt x="105" y="61"/>
                    <a:pt x="104" y="61"/>
                    <a:pt x="104" y="59"/>
                  </a:cubicBezTo>
                  <a:cubicBezTo>
                    <a:pt x="103" y="58"/>
                    <a:pt x="103" y="57"/>
                    <a:pt x="103" y="56"/>
                  </a:cubicBezTo>
                  <a:cubicBezTo>
                    <a:pt x="104" y="55"/>
                    <a:pt x="107" y="53"/>
                    <a:pt x="106" y="52"/>
                  </a:cubicBezTo>
                  <a:cubicBezTo>
                    <a:pt x="104" y="52"/>
                    <a:pt x="103" y="48"/>
                    <a:pt x="104" y="46"/>
                  </a:cubicBezTo>
                  <a:cubicBezTo>
                    <a:pt x="104" y="45"/>
                    <a:pt x="105" y="45"/>
                    <a:pt x="105" y="44"/>
                  </a:cubicBezTo>
                  <a:cubicBezTo>
                    <a:pt x="105" y="43"/>
                    <a:pt x="105" y="41"/>
                    <a:pt x="105" y="40"/>
                  </a:cubicBezTo>
                  <a:cubicBezTo>
                    <a:pt x="105" y="38"/>
                    <a:pt x="106" y="35"/>
                    <a:pt x="105" y="33"/>
                  </a:cubicBezTo>
                  <a:cubicBezTo>
                    <a:pt x="104" y="32"/>
                    <a:pt x="103" y="32"/>
                    <a:pt x="102" y="32"/>
                  </a:cubicBezTo>
                  <a:cubicBezTo>
                    <a:pt x="101" y="32"/>
                    <a:pt x="100" y="31"/>
                    <a:pt x="100" y="32"/>
                  </a:cubicBezTo>
                  <a:cubicBezTo>
                    <a:pt x="99" y="32"/>
                    <a:pt x="99" y="33"/>
                    <a:pt x="98" y="33"/>
                  </a:cubicBezTo>
                  <a:cubicBezTo>
                    <a:pt x="97" y="33"/>
                    <a:pt x="96" y="31"/>
                    <a:pt x="96" y="30"/>
                  </a:cubicBezTo>
                  <a:cubicBezTo>
                    <a:pt x="96" y="30"/>
                    <a:pt x="95" y="29"/>
                    <a:pt x="95" y="29"/>
                  </a:cubicBezTo>
                  <a:cubicBezTo>
                    <a:pt x="94" y="28"/>
                    <a:pt x="95" y="28"/>
                    <a:pt x="94" y="27"/>
                  </a:cubicBezTo>
                  <a:cubicBezTo>
                    <a:pt x="94" y="26"/>
                    <a:pt x="93" y="25"/>
                    <a:pt x="92" y="25"/>
                  </a:cubicBezTo>
                  <a:cubicBezTo>
                    <a:pt x="90" y="24"/>
                    <a:pt x="90" y="25"/>
                    <a:pt x="90" y="23"/>
                  </a:cubicBezTo>
                  <a:cubicBezTo>
                    <a:pt x="89" y="20"/>
                    <a:pt x="86" y="20"/>
                    <a:pt x="84" y="19"/>
                  </a:cubicBezTo>
                  <a:cubicBezTo>
                    <a:pt x="83" y="19"/>
                    <a:pt x="82" y="19"/>
                    <a:pt x="82" y="18"/>
                  </a:cubicBezTo>
                  <a:cubicBezTo>
                    <a:pt x="80" y="16"/>
                    <a:pt x="81" y="14"/>
                    <a:pt x="81" y="12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5" y="3"/>
                    <a:pt x="75" y="3"/>
                    <a:pt x="74" y="3"/>
                  </a:cubicBezTo>
                  <a:cubicBezTo>
                    <a:pt x="71" y="3"/>
                    <a:pt x="68" y="1"/>
                    <a:pt x="65" y="1"/>
                  </a:cubicBezTo>
                  <a:cubicBezTo>
                    <a:pt x="61" y="1"/>
                    <a:pt x="59" y="2"/>
                    <a:pt x="56" y="3"/>
                  </a:cubicBezTo>
                  <a:cubicBezTo>
                    <a:pt x="53" y="3"/>
                    <a:pt x="50" y="3"/>
                    <a:pt x="46" y="2"/>
                  </a:cubicBezTo>
                  <a:cubicBezTo>
                    <a:pt x="45" y="2"/>
                    <a:pt x="45" y="1"/>
                    <a:pt x="44" y="0"/>
                  </a:cubicBezTo>
                  <a:cubicBezTo>
                    <a:pt x="43" y="0"/>
                    <a:pt x="41" y="1"/>
                    <a:pt x="40" y="1"/>
                  </a:cubicBezTo>
                  <a:cubicBezTo>
                    <a:pt x="38" y="1"/>
                    <a:pt x="37" y="1"/>
                    <a:pt x="36" y="2"/>
                  </a:cubicBezTo>
                  <a:cubicBezTo>
                    <a:pt x="35" y="2"/>
                    <a:pt x="35" y="3"/>
                    <a:pt x="34" y="3"/>
                  </a:cubicBezTo>
                  <a:cubicBezTo>
                    <a:pt x="34" y="4"/>
                    <a:pt x="34" y="4"/>
                    <a:pt x="33" y="4"/>
                  </a:cubicBezTo>
                  <a:cubicBezTo>
                    <a:pt x="33" y="4"/>
                    <a:pt x="33" y="5"/>
                    <a:pt x="33" y="5"/>
                  </a:cubicBezTo>
                  <a:cubicBezTo>
                    <a:pt x="31" y="7"/>
                    <a:pt x="28" y="7"/>
                    <a:pt x="26" y="8"/>
                  </a:cubicBezTo>
                  <a:cubicBezTo>
                    <a:pt x="25" y="9"/>
                    <a:pt x="24" y="10"/>
                    <a:pt x="23" y="11"/>
                  </a:cubicBezTo>
                  <a:cubicBezTo>
                    <a:pt x="23" y="13"/>
                    <a:pt x="23" y="13"/>
                    <a:pt x="23" y="14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16" y="15"/>
                    <a:pt x="15" y="13"/>
                    <a:pt x="14" y="11"/>
                  </a:cubicBezTo>
                  <a:cubicBezTo>
                    <a:pt x="13" y="11"/>
                    <a:pt x="12" y="10"/>
                    <a:pt x="12" y="9"/>
                  </a:cubicBezTo>
                  <a:cubicBezTo>
                    <a:pt x="9" y="11"/>
                    <a:pt x="7" y="15"/>
                    <a:pt x="6" y="18"/>
                  </a:cubicBezTo>
                  <a:cubicBezTo>
                    <a:pt x="4" y="19"/>
                    <a:pt x="1" y="18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0" y="22"/>
                    <a:pt x="0" y="24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29"/>
                    <a:pt x="1" y="30"/>
                    <a:pt x="1" y="30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1"/>
                    <a:pt x="2" y="32"/>
                    <a:pt x="2" y="32"/>
                  </a:cubicBezTo>
                  <a:cubicBezTo>
                    <a:pt x="2" y="33"/>
                    <a:pt x="2" y="35"/>
                    <a:pt x="2" y="36"/>
                  </a:cubicBezTo>
                  <a:cubicBezTo>
                    <a:pt x="2" y="38"/>
                    <a:pt x="4" y="38"/>
                    <a:pt x="4" y="40"/>
                  </a:cubicBezTo>
                  <a:cubicBezTo>
                    <a:pt x="4" y="41"/>
                    <a:pt x="3" y="41"/>
                    <a:pt x="3" y="42"/>
                  </a:cubicBezTo>
                  <a:cubicBezTo>
                    <a:pt x="3" y="43"/>
                    <a:pt x="2" y="43"/>
                    <a:pt x="2" y="44"/>
                  </a:cubicBezTo>
                  <a:cubicBezTo>
                    <a:pt x="2" y="46"/>
                    <a:pt x="2" y="47"/>
                    <a:pt x="2" y="48"/>
                  </a:cubicBezTo>
                  <a:cubicBezTo>
                    <a:pt x="4" y="49"/>
                    <a:pt x="4" y="48"/>
                    <a:pt x="5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7" y="52"/>
                    <a:pt x="8" y="53"/>
                    <a:pt x="7" y="55"/>
                  </a:cubicBezTo>
                  <a:cubicBezTo>
                    <a:pt x="7" y="55"/>
                    <a:pt x="6" y="55"/>
                    <a:pt x="6" y="56"/>
                  </a:cubicBezTo>
                  <a:cubicBezTo>
                    <a:pt x="6" y="57"/>
                    <a:pt x="7" y="57"/>
                    <a:pt x="8" y="58"/>
                  </a:cubicBezTo>
                  <a:cubicBezTo>
                    <a:pt x="8" y="61"/>
                    <a:pt x="4" y="62"/>
                    <a:pt x="6" y="64"/>
                  </a:cubicBezTo>
                  <a:cubicBezTo>
                    <a:pt x="6" y="65"/>
                    <a:pt x="7" y="66"/>
                    <a:pt x="8" y="66"/>
                  </a:cubicBezTo>
                  <a:cubicBezTo>
                    <a:pt x="10" y="67"/>
                    <a:pt x="13" y="69"/>
                    <a:pt x="17" y="70"/>
                  </a:cubicBezTo>
                  <a:cubicBezTo>
                    <a:pt x="19" y="70"/>
                    <a:pt x="19" y="70"/>
                    <a:pt x="21" y="72"/>
                  </a:cubicBezTo>
                  <a:cubicBezTo>
                    <a:pt x="22" y="73"/>
                    <a:pt x="23" y="75"/>
                    <a:pt x="24" y="76"/>
                  </a:cubicBezTo>
                  <a:cubicBezTo>
                    <a:pt x="25" y="77"/>
                    <a:pt x="26" y="77"/>
                    <a:pt x="26" y="78"/>
                  </a:cubicBezTo>
                  <a:cubicBezTo>
                    <a:pt x="28" y="82"/>
                    <a:pt x="21" y="82"/>
                    <a:pt x="19" y="82"/>
                  </a:cubicBezTo>
                  <a:cubicBezTo>
                    <a:pt x="17" y="83"/>
                    <a:pt x="13" y="84"/>
                    <a:pt x="12" y="86"/>
                  </a:cubicBezTo>
                  <a:cubicBezTo>
                    <a:pt x="11" y="87"/>
                    <a:pt x="12" y="88"/>
                    <a:pt x="12" y="89"/>
                  </a:cubicBezTo>
                  <a:cubicBezTo>
                    <a:pt x="12" y="90"/>
                    <a:pt x="10" y="91"/>
                    <a:pt x="10" y="92"/>
                  </a:cubicBezTo>
                  <a:cubicBezTo>
                    <a:pt x="7" y="94"/>
                    <a:pt x="10" y="96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8" y="104"/>
                    <a:pt x="22" y="109"/>
                    <a:pt x="23" y="112"/>
                  </a:cubicBezTo>
                  <a:cubicBezTo>
                    <a:pt x="21" y="120"/>
                    <a:pt x="21" y="120"/>
                    <a:pt x="21" y="120"/>
                  </a:cubicBezTo>
                  <a:cubicBezTo>
                    <a:pt x="17" y="124"/>
                    <a:pt x="14" y="129"/>
                    <a:pt x="13" y="135"/>
                  </a:cubicBezTo>
                  <a:cubicBezTo>
                    <a:pt x="12" y="136"/>
                    <a:pt x="12" y="136"/>
                    <a:pt x="12" y="137"/>
                  </a:cubicBezTo>
                  <a:cubicBezTo>
                    <a:pt x="11" y="138"/>
                    <a:pt x="11" y="138"/>
                    <a:pt x="11" y="139"/>
                  </a:cubicBezTo>
                  <a:cubicBezTo>
                    <a:pt x="11" y="139"/>
                    <a:pt x="11" y="140"/>
                    <a:pt x="11" y="141"/>
                  </a:cubicBezTo>
                  <a:cubicBezTo>
                    <a:pt x="11" y="141"/>
                    <a:pt x="11" y="142"/>
                    <a:pt x="11" y="142"/>
                  </a:cubicBezTo>
                  <a:cubicBezTo>
                    <a:pt x="11" y="143"/>
                    <a:pt x="12" y="143"/>
                    <a:pt x="13" y="144"/>
                  </a:cubicBezTo>
                  <a:cubicBezTo>
                    <a:pt x="13" y="144"/>
                    <a:pt x="12" y="145"/>
                    <a:pt x="13" y="145"/>
                  </a:cubicBezTo>
                  <a:cubicBezTo>
                    <a:pt x="14" y="145"/>
                    <a:pt x="14" y="146"/>
                    <a:pt x="15" y="146"/>
                  </a:cubicBezTo>
                  <a:cubicBezTo>
                    <a:pt x="16" y="146"/>
                    <a:pt x="18" y="147"/>
                    <a:pt x="19" y="147"/>
                  </a:cubicBezTo>
                  <a:cubicBezTo>
                    <a:pt x="21" y="147"/>
                    <a:pt x="24" y="146"/>
                    <a:pt x="25" y="148"/>
                  </a:cubicBezTo>
                  <a:cubicBezTo>
                    <a:pt x="25" y="149"/>
                    <a:pt x="24" y="150"/>
                    <a:pt x="24" y="151"/>
                  </a:cubicBezTo>
                  <a:cubicBezTo>
                    <a:pt x="24" y="152"/>
                    <a:pt x="24" y="152"/>
                    <a:pt x="24" y="153"/>
                  </a:cubicBezTo>
                  <a:cubicBezTo>
                    <a:pt x="23" y="153"/>
                    <a:pt x="23" y="153"/>
                    <a:pt x="23" y="154"/>
                  </a:cubicBezTo>
                  <a:cubicBezTo>
                    <a:pt x="23" y="154"/>
                    <a:pt x="22" y="154"/>
                    <a:pt x="21" y="154"/>
                  </a:cubicBezTo>
                  <a:cubicBezTo>
                    <a:pt x="20" y="155"/>
                    <a:pt x="20" y="157"/>
                    <a:pt x="20" y="158"/>
                  </a:cubicBezTo>
                  <a:cubicBezTo>
                    <a:pt x="20" y="159"/>
                    <a:pt x="21" y="160"/>
                    <a:pt x="22" y="161"/>
                  </a:cubicBezTo>
                  <a:cubicBezTo>
                    <a:pt x="23" y="162"/>
                    <a:pt x="23" y="163"/>
                    <a:pt x="24" y="164"/>
                  </a:cubicBezTo>
                  <a:cubicBezTo>
                    <a:pt x="24" y="164"/>
                    <a:pt x="24" y="164"/>
                    <a:pt x="24" y="165"/>
                  </a:cubicBezTo>
                  <a:cubicBezTo>
                    <a:pt x="24" y="164"/>
                    <a:pt x="25" y="165"/>
                    <a:pt x="25" y="165"/>
                  </a:cubicBezTo>
                  <a:cubicBezTo>
                    <a:pt x="26" y="166"/>
                    <a:pt x="27" y="167"/>
                    <a:pt x="28" y="167"/>
                  </a:cubicBezTo>
                  <a:cubicBezTo>
                    <a:pt x="29" y="168"/>
                    <a:pt x="31" y="169"/>
                    <a:pt x="32" y="169"/>
                  </a:cubicBezTo>
                  <a:cubicBezTo>
                    <a:pt x="33" y="169"/>
                    <a:pt x="36" y="170"/>
                    <a:pt x="36" y="171"/>
                  </a:cubicBezTo>
                  <a:cubicBezTo>
                    <a:pt x="36" y="171"/>
                    <a:pt x="36" y="173"/>
                    <a:pt x="36" y="173"/>
                  </a:cubicBezTo>
                  <a:cubicBezTo>
                    <a:pt x="36" y="174"/>
                    <a:pt x="36" y="175"/>
                    <a:pt x="36" y="175"/>
                  </a:cubicBezTo>
                  <a:cubicBezTo>
                    <a:pt x="36" y="176"/>
                    <a:pt x="36" y="176"/>
                    <a:pt x="35" y="177"/>
                  </a:cubicBezTo>
                  <a:cubicBezTo>
                    <a:pt x="34" y="178"/>
                    <a:pt x="34" y="178"/>
                    <a:pt x="33" y="179"/>
                  </a:cubicBezTo>
                  <a:cubicBezTo>
                    <a:pt x="32" y="180"/>
                    <a:pt x="29" y="180"/>
                    <a:pt x="27" y="180"/>
                  </a:cubicBezTo>
                  <a:cubicBezTo>
                    <a:pt x="24" y="180"/>
                    <a:pt x="20" y="180"/>
                    <a:pt x="18" y="178"/>
                  </a:cubicBezTo>
                  <a:cubicBezTo>
                    <a:pt x="17" y="178"/>
                    <a:pt x="16" y="177"/>
                    <a:pt x="15" y="176"/>
                  </a:cubicBezTo>
                  <a:cubicBezTo>
                    <a:pt x="14" y="177"/>
                    <a:pt x="13" y="180"/>
                    <a:pt x="14" y="181"/>
                  </a:cubicBezTo>
                  <a:cubicBezTo>
                    <a:pt x="14" y="182"/>
                    <a:pt x="15" y="183"/>
                    <a:pt x="16" y="183"/>
                  </a:cubicBezTo>
                  <a:cubicBezTo>
                    <a:pt x="18" y="184"/>
                    <a:pt x="18" y="183"/>
                    <a:pt x="19" y="185"/>
                  </a:cubicBezTo>
                  <a:cubicBezTo>
                    <a:pt x="20" y="186"/>
                    <a:pt x="20" y="187"/>
                    <a:pt x="21" y="188"/>
                  </a:cubicBezTo>
                  <a:cubicBezTo>
                    <a:pt x="22" y="191"/>
                    <a:pt x="24" y="193"/>
                    <a:pt x="26" y="196"/>
                  </a:cubicBezTo>
                  <a:cubicBezTo>
                    <a:pt x="27" y="198"/>
                    <a:pt x="28" y="199"/>
                    <a:pt x="28" y="201"/>
                  </a:cubicBezTo>
                  <a:cubicBezTo>
                    <a:pt x="28" y="201"/>
                    <a:pt x="28" y="202"/>
                    <a:pt x="28" y="202"/>
                  </a:cubicBezTo>
                  <a:cubicBezTo>
                    <a:pt x="28" y="203"/>
                    <a:pt x="29" y="203"/>
                    <a:pt x="29" y="204"/>
                  </a:cubicBezTo>
                  <a:cubicBezTo>
                    <a:pt x="29" y="205"/>
                    <a:pt x="28" y="206"/>
                    <a:pt x="28" y="208"/>
                  </a:cubicBezTo>
                  <a:cubicBezTo>
                    <a:pt x="28" y="209"/>
                    <a:pt x="28" y="210"/>
                    <a:pt x="28" y="211"/>
                  </a:cubicBezTo>
                  <a:cubicBezTo>
                    <a:pt x="27" y="212"/>
                    <a:pt x="26" y="212"/>
                    <a:pt x="26" y="213"/>
                  </a:cubicBezTo>
                  <a:cubicBezTo>
                    <a:pt x="25" y="214"/>
                    <a:pt x="26" y="214"/>
                    <a:pt x="25" y="214"/>
                  </a:cubicBezTo>
                  <a:cubicBezTo>
                    <a:pt x="24" y="215"/>
                    <a:pt x="24" y="214"/>
                    <a:pt x="23" y="214"/>
                  </a:cubicBezTo>
                  <a:cubicBezTo>
                    <a:pt x="23" y="212"/>
                    <a:pt x="22" y="211"/>
                    <a:pt x="21" y="210"/>
                  </a:cubicBezTo>
                  <a:cubicBezTo>
                    <a:pt x="20" y="209"/>
                    <a:pt x="20" y="207"/>
                    <a:pt x="20" y="207"/>
                  </a:cubicBezTo>
                  <a:cubicBezTo>
                    <a:pt x="19" y="206"/>
                    <a:pt x="17" y="208"/>
                    <a:pt x="16" y="209"/>
                  </a:cubicBezTo>
                  <a:cubicBezTo>
                    <a:pt x="16" y="209"/>
                    <a:pt x="16" y="210"/>
                    <a:pt x="15" y="210"/>
                  </a:cubicBezTo>
                  <a:cubicBezTo>
                    <a:pt x="14" y="211"/>
                    <a:pt x="13" y="211"/>
                    <a:pt x="13" y="212"/>
                  </a:cubicBezTo>
                  <a:cubicBezTo>
                    <a:pt x="13" y="213"/>
                    <a:pt x="13" y="214"/>
                    <a:pt x="12" y="214"/>
                  </a:cubicBezTo>
                  <a:cubicBezTo>
                    <a:pt x="12" y="214"/>
                    <a:pt x="12" y="214"/>
                    <a:pt x="12" y="214"/>
                  </a:cubicBezTo>
                  <a:cubicBezTo>
                    <a:pt x="12" y="215"/>
                    <a:pt x="13" y="216"/>
                    <a:pt x="14" y="217"/>
                  </a:cubicBezTo>
                  <a:cubicBezTo>
                    <a:pt x="14" y="218"/>
                    <a:pt x="14" y="219"/>
                    <a:pt x="16" y="219"/>
                  </a:cubicBezTo>
                  <a:cubicBezTo>
                    <a:pt x="17" y="220"/>
                    <a:pt x="17" y="220"/>
                    <a:pt x="18" y="221"/>
                  </a:cubicBezTo>
                  <a:cubicBezTo>
                    <a:pt x="19" y="222"/>
                    <a:pt x="20" y="222"/>
                    <a:pt x="22" y="223"/>
                  </a:cubicBezTo>
                  <a:cubicBezTo>
                    <a:pt x="23" y="223"/>
                    <a:pt x="23" y="224"/>
                    <a:pt x="24" y="225"/>
                  </a:cubicBezTo>
                  <a:cubicBezTo>
                    <a:pt x="25" y="228"/>
                    <a:pt x="27" y="229"/>
                    <a:pt x="29" y="231"/>
                  </a:cubicBezTo>
                  <a:cubicBezTo>
                    <a:pt x="30" y="232"/>
                    <a:pt x="31" y="233"/>
                    <a:pt x="32" y="234"/>
                  </a:cubicBezTo>
                  <a:cubicBezTo>
                    <a:pt x="30" y="234"/>
                    <a:pt x="30" y="234"/>
                    <a:pt x="30" y="234"/>
                  </a:cubicBezTo>
                  <a:cubicBezTo>
                    <a:pt x="30" y="236"/>
                    <a:pt x="32" y="238"/>
                    <a:pt x="34" y="239"/>
                  </a:cubicBezTo>
                  <a:cubicBezTo>
                    <a:pt x="35" y="240"/>
                    <a:pt x="36" y="240"/>
                    <a:pt x="36" y="241"/>
                  </a:cubicBezTo>
                  <a:cubicBezTo>
                    <a:pt x="37" y="241"/>
                    <a:pt x="37" y="242"/>
                    <a:pt x="38" y="242"/>
                  </a:cubicBezTo>
                  <a:cubicBezTo>
                    <a:pt x="39" y="242"/>
                    <a:pt x="39" y="242"/>
                    <a:pt x="40" y="242"/>
                  </a:cubicBezTo>
                  <a:cubicBezTo>
                    <a:pt x="40" y="243"/>
                    <a:pt x="40" y="243"/>
                    <a:pt x="40" y="244"/>
                  </a:cubicBezTo>
                  <a:cubicBezTo>
                    <a:pt x="41" y="244"/>
                    <a:pt x="41" y="245"/>
                    <a:pt x="42" y="245"/>
                  </a:cubicBezTo>
                  <a:cubicBezTo>
                    <a:pt x="43" y="246"/>
                    <a:pt x="44" y="247"/>
                    <a:pt x="45" y="247"/>
                  </a:cubicBezTo>
                  <a:cubicBezTo>
                    <a:pt x="47" y="248"/>
                    <a:pt x="49" y="247"/>
                    <a:pt x="51" y="247"/>
                  </a:cubicBezTo>
                  <a:cubicBezTo>
                    <a:pt x="52" y="247"/>
                    <a:pt x="53" y="247"/>
                    <a:pt x="54" y="249"/>
                  </a:cubicBezTo>
                  <a:cubicBezTo>
                    <a:pt x="54" y="250"/>
                    <a:pt x="54" y="251"/>
                    <a:pt x="56" y="251"/>
                  </a:cubicBezTo>
                  <a:cubicBezTo>
                    <a:pt x="56" y="252"/>
                    <a:pt x="57" y="252"/>
                    <a:pt x="57" y="253"/>
                  </a:cubicBezTo>
                  <a:cubicBezTo>
                    <a:pt x="58" y="253"/>
                    <a:pt x="58" y="254"/>
                    <a:pt x="59" y="254"/>
                  </a:cubicBezTo>
                  <a:cubicBezTo>
                    <a:pt x="59" y="255"/>
                    <a:pt x="59" y="255"/>
                    <a:pt x="59" y="256"/>
                  </a:cubicBezTo>
                  <a:cubicBezTo>
                    <a:pt x="59" y="257"/>
                    <a:pt x="59" y="257"/>
                    <a:pt x="60" y="258"/>
                  </a:cubicBezTo>
                  <a:cubicBezTo>
                    <a:pt x="60" y="259"/>
                    <a:pt x="64" y="258"/>
                    <a:pt x="65" y="258"/>
                  </a:cubicBezTo>
                  <a:cubicBezTo>
                    <a:pt x="66" y="258"/>
                    <a:pt x="68" y="257"/>
                    <a:pt x="69" y="258"/>
                  </a:cubicBezTo>
                  <a:cubicBezTo>
                    <a:pt x="70" y="258"/>
                    <a:pt x="69" y="260"/>
                    <a:pt x="70" y="260"/>
                  </a:cubicBezTo>
                  <a:cubicBezTo>
                    <a:pt x="70" y="261"/>
                    <a:pt x="70" y="262"/>
                    <a:pt x="71" y="262"/>
                  </a:cubicBezTo>
                  <a:cubicBezTo>
                    <a:pt x="72" y="263"/>
                    <a:pt x="74" y="266"/>
                    <a:pt x="73" y="268"/>
                  </a:cubicBezTo>
                  <a:cubicBezTo>
                    <a:pt x="73" y="269"/>
                    <a:pt x="73" y="269"/>
                    <a:pt x="72" y="270"/>
                  </a:cubicBezTo>
                  <a:cubicBezTo>
                    <a:pt x="72" y="270"/>
                    <a:pt x="72" y="270"/>
                    <a:pt x="72" y="270"/>
                  </a:cubicBezTo>
                  <a:cubicBezTo>
                    <a:pt x="73" y="270"/>
                    <a:pt x="75" y="271"/>
                    <a:pt x="75" y="270"/>
                  </a:cubicBezTo>
                  <a:cubicBezTo>
                    <a:pt x="76" y="270"/>
                    <a:pt x="77" y="269"/>
                    <a:pt x="77" y="268"/>
                  </a:cubicBezTo>
                  <a:cubicBezTo>
                    <a:pt x="78" y="268"/>
                    <a:pt x="78" y="267"/>
                    <a:pt x="79" y="266"/>
                  </a:cubicBezTo>
                  <a:cubicBezTo>
                    <a:pt x="80" y="265"/>
                    <a:pt x="81" y="266"/>
                    <a:pt x="82" y="264"/>
                  </a:cubicBezTo>
                  <a:cubicBezTo>
                    <a:pt x="82" y="263"/>
                    <a:pt x="82" y="262"/>
                    <a:pt x="82" y="262"/>
                  </a:cubicBezTo>
                  <a:cubicBezTo>
                    <a:pt x="82" y="259"/>
                    <a:pt x="84" y="258"/>
                    <a:pt x="86" y="257"/>
                  </a:cubicBezTo>
                  <a:cubicBezTo>
                    <a:pt x="86" y="256"/>
                    <a:pt x="87" y="256"/>
                    <a:pt x="88" y="256"/>
                  </a:cubicBezTo>
                  <a:cubicBezTo>
                    <a:pt x="88" y="256"/>
                    <a:pt x="88" y="255"/>
                    <a:pt x="88" y="255"/>
                  </a:cubicBezTo>
                  <a:cubicBezTo>
                    <a:pt x="88" y="254"/>
                    <a:pt x="89" y="253"/>
                    <a:pt x="90" y="252"/>
                  </a:cubicBezTo>
                  <a:cubicBezTo>
                    <a:pt x="91" y="251"/>
                    <a:pt x="92" y="251"/>
                    <a:pt x="93" y="249"/>
                  </a:cubicBezTo>
                  <a:cubicBezTo>
                    <a:pt x="93" y="248"/>
                    <a:pt x="93" y="246"/>
                    <a:pt x="93" y="244"/>
                  </a:cubicBezTo>
                  <a:cubicBezTo>
                    <a:pt x="93" y="241"/>
                    <a:pt x="93" y="239"/>
                    <a:pt x="95" y="236"/>
                  </a:cubicBezTo>
                  <a:cubicBezTo>
                    <a:pt x="96" y="235"/>
                    <a:pt x="97" y="232"/>
                    <a:pt x="98" y="234"/>
                  </a:cubicBezTo>
                  <a:cubicBezTo>
                    <a:pt x="99" y="236"/>
                    <a:pt x="98" y="236"/>
                    <a:pt x="97" y="236"/>
                  </a:cubicBezTo>
                  <a:cubicBezTo>
                    <a:pt x="96" y="237"/>
                    <a:pt x="96" y="236"/>
                    <a:pt x="96" y="238"/>
                  </a:cubicBezTo>
                  <a:cubicBezTo>
                    <a:pt x="96" y="241"/>
                    <a:pt x="99" y="244"/>
                    <a:pt x="100" y="247"/>
                  </a:cubicBezTo>
                  <a:cubicBezTo>
                    <a:pt x="102" y="247"/>
                    <a:pt x="103" y="245"/>
                    <a:pt x="105" y="245"/>
                  </a:cubicBezTo>
                  <a:cubicBezTo>
                    <a:pt x="106" y="244"/>
                    <a:pt x="107" y="244"/>
                    <a:pt x="107" y="243"/>
                  </a:cubicBezTo>
                  <a:cubicBezTo>
                    <a:pt x="108" y="242"/>
                    <a:pt x="107" y="241"/>
                    <a:pt x="108" y="241"/>
                  </a:cubicBezTo>
                  <a:cubicBezTo>
                    <a:pt x="108" y="240"/>
                    <a:pt x="110" y="240"/>
                    <a:pt x="111" y="240"/>
                  </a:cubicBezTo>
                  <a:cubicBezTo>
                    <a:pt x="113" y="242"/>
                    <a:pt x="112" y="243"/>
                    <a:pt x="112" y="245"/>
                  </a:cubicBezTo>
                  <a:cubicBezTo>
                    <a:pt x="115" y="250"/>
                    <a:pt x="115" y="250"/>
                    <a:pt x="115" y="250"/>
                  </a:cubicBezTo>
                  <a:cubicBezTo>
                    <a:pt x="115" y="252"/>
                    <a:pt x="116" y="253"/>
                    <a:pt x="117" y="255"/>
                  </a:cubicBezTo>
                  <a:cubicBezTo>
                    <a:pt x="117" y="257"/>
                    <a:pt x="116" y="258"/>
                    <a:pt x="118" y="260"/>
                  </a:cubicBezTo>
                  <a:cubicBezTo>
                    <a:pt x="119" y="261"/>
                    <a:pt x="122" y="261"/>
                    <a:pt x="124" y="263"/>
                  </a:cubicBezTo>
                  <a:cubicBezTo>
                    <a:pt x="124" y="265"/>
                    <a:pt x="124" y="265"/>
                    <a:pt x="125" y="266"/>
                  </a:cubicBezTo>
                  <a:cubicBezTo>
                    <a:pt x="126" y="267"/>
                    <a:pt x="126" y="267"/>
                    <a:pt x="127" y="268"/>
                  </a:cubicBezTo>
                  <a:cubicBezTo>
                    <a:pt x="128" y="267"/>
                    <a:pt x="130" y="267"/>
                    <a:pt x="132" y="267"/>
                  </a:cubicBezTo>
                  <a:cubicBezTo>
                    <a:pt x="132" y="269"/>
                    <a:pt x="131" y="271"/>
                    <a:pt x="131" y="272"/>
                  </a:cubicBezTo>
                  <a:cubicBezTo>
                    <a:pt x="131" y="274"/>
                    <a:pt x="131" y="276"/>
                    <a:pt x="131" y="278"/>
                  </a:cubicBezTo>
                  <a:cubicBezTo>
                    <a:pt x="134" y="278"/>
                    <a:pt x="134" y="282"/>
                    <a:pt x="136" y="282"/>
                  </a:cubicBezTo>
                  <a:cubicBezTo>
                    <a:pt x="140" y="274"/>
                    <a:pt x="143" y="288"/>
                    <a:pt x="147" y="287"/>
                  </a:cubicBezTo>
                  <a:cubicBezTo>
                    <a:pt x="148" y="287"/>
                    <a:pt x="149" y="285"/>
                    <a:pt x="150" y="286"/>
                  </a:cubicBezTo>
                  <a:cubicBezTo>
                    <a:pt x="151" y="286"/>
                    <a:pt x="152" y="287"/>
                    <a:pt x="152" y="287"/>
                  </a:cubicBezTo>
                  <a:cubicBezTo>
                    <a:pt x="153" y="288"/>
                    <a:pt x="152" y="288"/>
                    <a:pt x="151" y="289"/>
                  </a:cubicBezTo>
                  <a:cubicBezTo>
                    <a:pt x="150" y="290"/>
                    <a:pt x="150" y="291"/>
                    <a:pt x="149" y="292"/>
                  </a:cubicBezTo>
                  <a:cubicBezTo>
                    <a:pt x="148" y="293"/>
                    <a:pt x="146" y="294"/>
                    <a:pt x="146" y="296"/>
                  </a:cubicBezTo>
                  <a:cubicBezTo>
                    <a:pt x="146" y="297"/>
                    <a:pt x="147" y="300"/>
                    <a:pt x="146" y="302"/>
                  </a:cubicBezTo>
                  <a:cubicBezTo>
                    <a:pt x="146" y="302"/>
                    <a:pt x="146" y="302"/>
                    <a:pt x="146" y="302"/>
                  </a:cubicBezTo>
                  <a:cubicBezTo>
                    <a:pt x="146" y="302"/>
                    <a:pt x="145" y="304"/>
                    <a:pt x="145" y="304"/>
                  </a:cubicBezTo>
                  <a:cubicBezTo>
                    <a:pt x="144" y="304"/>
                    <a:pt x="143" y="304"/>
                    <a:pt x="143" y="305"/>
                  </a:cubicBezTo>
                  <a:cubicBezTo>
                    <a:pt x="142" y="306"/>
                    <a:pt x="142" y="307"/>
                    <a:pt x="142" y="308"/>
                  </a:cubicBezTo>
                  <a:cubicBezTo>
                    <a:pt x="142" y="308"/>
                    <a:pt x="141" y="309"/>
                    <a:pt x="140" y="309"/>
                  </a:cubicBezTo>
                  <a:cubicBezTo>
                    <a:pt x="139" y="311"/>
                    <a:pt x="135" y="313"/>
                    <a:pt x="135" y="316"/>
                  </a:cubicBezTo>
                  <a:cubicBezTo>
                    <a:pt x="136" y="317"/>
                    <a:pt x="137" y="318"/>
                    <a:pt x="137" y="319"/>
                  </a:cubicBezTo>
                  <a:cubicBezTo>
                    <a:pt x="138" y="319"/>
                    <a:pt x="138" y="319"/>
                    <a:pt x="138" y="320"/>
                  </a:cubicBezTo>
                  <a:cubicBezTo>
                    <a:pt x="138" y="320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40" y="322"/>
                    <a:pt x="144" y="322"/>
                    <a:pt x="146" y="321"/>
                  </a:cubicBezTo>
                  <a:cubicBezTo>
                    <a:pt x="148" y="320"/>
                    <a:pt x="148" y="320"/>
                    <a:pt x="149" y="318"/>
                  </a:cubicBezTo>
                  <a:cubicBezTo>
                    <a:pt x="149" y="318"/>
                    <a:pt x="149" y="317"/>
                    <a:pt x="150" y="316"/>
                  </a:cubicBezTo>
                  <a:cubicBezTo>
                    <a:pt x="151" y="315"/>
                    <a:pt x="153" y="315"/>
                    <a:pt x="155" y="314"/>
                  </a:cubicBezTo>
                  <a:cubicBezTo>
                    <a:pt x="157" y="313"/>
                    <a:pt x="158" y="314"/>
                    <a:pt x="159" y="316"/>
                  </a:cubicBezTo>
                  <a:cubicBezTo>
                    <a:pt x="160" y="317"/>
                    <a:pt x="159" y="317"/>
                    <a:pt x="160" y="317"/>
                  </a:cubicBezTo>
                  <a:cubicBezTo>
                    <a:pt x="161" y="318"/>
                    <a:pt x="162" y="318"/>
                    <a:pt x="163" y="319"/>
                  </a:cubicBezTo>
                  <a:cubicBezTo>
                    <a:pt x="164" y="319"/>
                    <a:pt x="163" y="320"/>
                    <a:pt x="165" y="319"/>
                  </a:cubicBezTo>
                  <a:cubicBezTo>
                    <a:pt x="165" y="319"/>
                    <a:pt x="166" y="319"/>
                    <a:pt x="167" y="318"/>
                  </a:cubicBezTo>
                  <a:cubicBezTo>
                    <a:pt x="168" y="317"/>
                    <a:pt x="168" y="315"/>
                    <a:pt x="170" y="314"/>
                  </a:cubicBezTo>
                  <a:cubicBezTo>
                    <a:pt x="171" y="313"/>
                    <a:pt x="172" y="313"/>
                    <a:pt x="174" y="312"/>
                  </a:cubicBezTo>
                  <a:cubicBezTo>
                    <a:pt x="178" y="310"/>
                    <a:pt x="181" y="314"/>
                    <a:pt x="184" y="316"/>
                  </a:cubicBezTo>
                  <a:cubicBezTo>
                    <a:pt x="186" y="317"/>
                    <a:pt x="190" y="317"/>
                    <a:pt x="193" y="315"/>
                  </a:cubicBezTo>
                  <a:cubicBezTo>
                    <a:pt x="194" y="314"/>
                    <a:pt x="195" y="312"/>
                    <a:pt x="195" y="311"/>
                  </a:cubicBezTo>
                  <a:cubicBezTo>
                    <a:pt x="195" y="309"/>
                    <a:pt x="195" y="309"/>
                    <a:pt x="194" y="307"/>
                  </a:cubicBezTo>
                  <a:cubicBezTo>
                    <a:pt x="193" y="306"/>
                    <a:pt x="193" y="304"/>
                    <a:pt x="193" y="303"/>
                  </a:cubicBezTo>
                  <a:cubicBezTo>
                    <a:pt x="192" y="301"/>
                    <a:pt x="191" y="301"/>
                    <a:pt x="190" y="299"/>
                  </a:cubicBezTo>
                  <a:cubicBezTo>
                    <a:pt x="190" y="297"/>
                    <a:pt x="190" y="298"/>
                    <a:pt x="189" y="297"/>
                  </a:cubicBezTo>
                  <a:cubicBezTo>
                    <a:pt x="188" y="296"/>
                    <a:pt x="188" y="296"/>
                    <a:pt x="187" y="295"/>
                  </a:cubicBezTo>
                  <a:cubicBezTo>
                    <a:pt x="186" y="293"/>
                    <a:pt x="186" y="293"/>
                    <a:pt x="186" y="290"/>
                  </a:cubicBezTo>
                  <a:cubicBezTo>
                    <a:pt x="186" y="288"/>
                    <a:pt x="187" y="287"/>
                    <a:pt x="187" y="285"/>
                  </a:cubicBezTo>
                  <a:cubicBezTo>
                    <a:pt x="188" y="283"/>
                    <a:pt x="189" y="281"/>
                    <a:pt x="188" y="279"/>
                  </a:cubicBezTo>
                  <a:cubicBezTo>
                    <a:pt x="188" y="278"/>
                    <a:pt x="187" y="277"/>
                    <a:pt x="187" y="276"/>
                  </a:cubicBezTo>
                  <a:cubicBezTo>
                    <a:pt x="187" y="275"/>
                    <a:pt x="187" y="273"/>
                    <a:pt x="187" y="272"/>
                  </a:cubicBezTo>
                  <a:cubicBezTo>
                    <a:pt x="188" y="271"/>
                    <a:pt x="192" y="270"/>
                    <a:pt x="193" y="270"/>
                  </a:cubicBezTo>
                  <a:cubicBezTo>
                    <a:pt x="194" y="270"/>
                    <a:pt x="195" y="270"/>
                    <a:pt x="196" y="270"/>
                  </a:cubicBezTo>
                  <a:cubicBezTo>
                    <a:pt x="197" y="270"/>
                    <a:pt x="197" y="271"/>
                    <a:pt x="198" y="271"/>
                  </a:cubicBezTo>
                  <a:cubicBezTo>
                    <a:pt x="199" y="270"/>
                    <a:pt x="199" y="270"/>
                    <a:pt x="200" y="270"/>
                  </a:cubicBezTo>
                  <a:cubicBezTo>
                    <a:pt x="201" y="269"/>
                    <a:pt x="201" y="270"/>
                    <a:pt x="202" y="269"/>
                  </a:cubicBezTo>
                  <a:cubicBezTo>
                    <a:pt x="202" y="269"/>
                    <a:pt x="204" y="268"/>
                    <a:pt x="205" y="267"/>
                  </a:cubicBezTo>
                  <a:cubicBezTo>
                    <a:pt x="205" y="267"/>
                    <a:pt x="205" y="265"/>
                    <a:pt x="205" y="264"/>
                  </a:cubicBezTo>
                  <a:cubicBezTo>
                    <a:pt x="206" y="262"/>
                    <a:pt x="206" y="260"/>
                    <a:pt x="208" y="258"/>
                  </a:cubicBezTo>
                  <a:cubicBezTo>
                    <a:pt x="210" y="256"/>
                    <a:pt x="213" y="256"/>
                    <a:pt x="214" y="254"/>
                  </a:cubicBezTo>
                  <a:cubicBezTo>
                    <a:pt x="215" y="253"/>
                    <a:pt x="218" y="251"/>
                    <a:pt x="217" y="248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0" name="Freeform 30">
              <a:extLst>
                <a:ext uri="{FF2B5EF4-FFF2-40B4-BE49-F238E27FC236}">
                  <a16:creationId xmlns:a16="http://schemas.microsoft.com/office/drawing/2014/main" id="{49654FCF-E43E-46AE-9EBA-5475BE04B0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6075" y="5565775"/>
              <a:ext cx="187325" cy="219075"/>
            </a:xfrm>
            <a:custGeom>
              <a:avLst/>
              <a:gdLst/>
              <a:ahLst/>
              <a:cxnLst>
                <a:cxn ang="0">
                  <a:pos x="1" y="48"/>
                </a:cxn>
                <a:cxn ang="0">
                  <a:pos x="1" y="48"/>
                </a:cxn>
                <a:cxn ang="0">
                  <a:pos x="1" y="48"/>
                </a:cxn>
                <a:cxn ang="0">
                  <a:pos x="78" y="46"/>
                </a:cxn>
                <a:cxn ang="0">
                  <a:pos x="79" y="35"/>
                </a:cxn>
                <a:cxn ang="0">
                  <a:pos x="72" y="34"/>
                </a:cxn>
                <a:cxn ang="0">
                  <a:pos x="65" y="28"/>
                </a:cxn>
                <a:cxn ang="0">
                  <a:pos x="62" y="18"/>
                </a:cxn>
                <a:cxn ang="0">
                  <a:pos x="58" y="8"/>
                </a:cxn>
                <a:cxn ang="0">
                  <a:pos x="54" y="11"/>
                </a:cxn>
                <a:cxn ang="0">
                  <a:pos x="47" y="15"/>
                </a:cxn>
                <a:cxn ang="0">
                  <a:pos x="44" y="4"/>
                </a:cxn>
                <a:cxn ang="0">
                  <a:pos x="42" y="4"/>
                </a:cxn>
                <a:cxn ang="0">
                  <a:pos x="40" y="17"/>
                </a:cxn>
                <a:cxn ang="0">
                  <a:pos x="35" y="23"/>
                </a:cxn>
                <a:cxn ang="0">
                  <a:pos x="33" y="25"/>
                </a:cxn>
                <a:cxn ang="0">
                  <a:pos x="29" y="32"/>
                </a:cxn>
                <a:cxn ang="0">
                  <a:pos x="24" y="36"/>
                </a:cxn>
                <a:cxn ang="0">
                  <a:pos x="19" y="38"/>
                </a:cxn>
                <a:cxn ang="0">
                  <a:pos x="17" y="39"/>
                </a:cxn>
                <a:cxn ang="0">
                  <a:pos x="13" y="41"/>
                </a:cxn>
                <a:cxn ang="0">
                  <a:pos x="7" y="45"/>
                </a:cxn>
                <a:cxn ang="0">
                  <a:pos x="1" y="44"/>
                </a:cxn>
                <a:cxn ang="0">
                  <a:pos x="0" y="44"/>
                </a:cxn>
                <a:cxn ang="0">
                  <a:pos x="0" y="46"/>
                </a:cxn>
                <a:cxn ang="0">
                  <a:pos x="0" y="45"/>
                </a:cxn>
                <a:cxn ang="0">
                  <a:pos x="0" y="47"/>
                </a:cxn>
                <a:cxn ang="0">
                  <a:pos x="1" y="48"/>
                </a:cxn>
                <a:cxn ang="0">
                  <a:pos x="2" y="48"/>
                </a:cxn>
                <a:cxn ang="0">
                  <a:pos x="3" y="49"/>
                </a:cxn>
                <a:cxn ang="0">
                  <a:pos x="5" y="55"/>
                </a:cxn>
                <a:cxn ang="0">
                  <a:pos x="8" y="62"/>
                </a:cxn>
                <a:cxn ang="0">
                  <a:pos x="17" y="67"/>
                </a:cxn>
                <a:cxn ang="0">
                  <a:pos x="22" y="74"/>
                </a:cxn>
                <a:cxn ang="0">
                  <a:pos x="25" y="82"/>
                </a:cxn>
                <a:cxn ang="0">
                  <a:pos x="27" y="88"/>
                </a:cxn>
                <a:cxn ang="0">
                  <a:pos x="30" y="99"/>
                </a:cxn>
                <a:cxn ang="0">
                  <a:pos x="30" y="114"/>
                </a:cxn>
                <a:cxn ang="0">
                  <a:pos x="34" y="115"/>
                </a:cxn>
                <a:cxn ang="0">
                  <a:pos x="40" y="111"/>
                </a:cxn>
                <a:cxn ang="0">
                  <a:pos x="40" y="106"/>
                </a:cxn>
                <a:cxn ang="0">
                  <a:pos x="45" y="98"/>
                </a:cxn>
                <a:cxn ang="0">
                  <a:pos x="61" y="93"/>
                </a:cxn>
                <a:cxn ang="0">
                  <a:pos x="64" y="98"/>
                </a:cxn>
                <a:cxn ang="0">
                  <a:pos x="69" y="96"/>
                </a:cxn>
                <a:cxn ang="0">
                  <a:pos x="75" y="87"/>
                </a:cxn>
                <a:cxn ang="0">
                  <a:pos x="85" y="89"/>
                </a:cxn>
                <a:cxn ang="0">
                  <a:pos x="84" y="87"/>
                </a:cxn>
                <a:cxn ang="0">
                  <a:pos x="87" y="77"/>
                </a:cxn>
                <a:cxn ang="0">
                  <a:pos x="90" y="73"/>
                </a:cxn>
                <a:cxn ang="0">
                  <a:pos x="93" y="70"/>
                </a:cxn>
                <a:cxn ang="0">
                  <a:pos x="93" y="64"/>
                </a:cxn>
                <a:cxn ang="0">
                  <a:pos x="98" y="57"/>
                </a:cxn>
                <a:cxn ang="0">
                  <a:pos x="97" y="54"/>
                </a:cxn>
                <a:cxn ang="0">
                  <a:pos x="83" y="50"/>
                </a:cxn>
                <a:cxn ang="0">
                  <a:pos x="0" y="47"/>
                </a:cxn>
                <a:cxn ang="0">
                  <a:pos x="1" y="44"/>
                </a:cxn>
                <a:cxn ang="0">
                  <a:pos x="1" y="44"/>
                </a:cxn>
                <a:cxn ang="0">
                  <a:pos x="2" y="62"/>
                </a:cxn>
              </a:cxnLst>
              <a:rect l="0" t="0" r="r" b="b"/>
              <a:pathLst>
                <a:path w="100" h="117">
                  <a:moveTo>
                    <a:pt x="1" y="48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moveTo>
                    <a:pt x="83" y="50"/>
                  </a:moveTo>
                  <a:cubicBezTo>
                    <a:pt x="81" y="50"/>
                    <a:pt x="81" y="46"/>
                    <a:pt x="78" y="46"/>
                  </a:cubicBezTo>
                  <a:cubicBezTo>
                    <a:pt x="78" y="44"/>
                    <a:pt x="78" y="42"/>
                    <a:pt x="78" y="40"/>
                  </a:cubicBezTo>
                  <a:cubicBezTo>
                    <a:pt x="78" y="39"/>
                    <a:pt x="79" y="37"/>
                    <a:pt x="79" y="35"/>
                  </a:cubicBezTo>
                  <a:cubicBezTo>
                    <a:pt x="77" y="35"/>
                    <a:pt x="75" y="35"/>
                    <a:pt x="74" y="36"/>
                  </a:cubicBezTo>
                  <a:cubicBezTo>
                    <a:pt x="73" y="35"/>
                    <a:pt x="73" y="35"/>
                    <a:pt x="72" y="34"/>
                  </a:cubicBezTo>
                  <a:cubicBezTo>
                    <a:pt x="71" y="33"/>
                    <a:pt x="71" y="33"/>
                    <a:pt x="71" y="31"/>
                  </a:cubicBezTo>
                  <a:cubicBezTo>
                    <a:pt x="69" y="29"/>
                    <a:pt x="66" y="29"/>
                    <a:pt x="65" y="28"/>
                  </a:cubicBezTo>
                  <a:cubicBezTo>
                    <a:pt x="63" y="26"/>
                    <a:pt x="64" y="25"/>
                    <a:pt x="64" y="23"/>
                  </a:cubicBezTo>
                  <a:cubicBezTo>
                    <a:pt x="63" y="21"/>
                    <a:pt x="62" y="20"/>
                    <a:pt x="62" y="18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1"/>
                    <a:pt x="60" y="10"/>
                    <a:pt x="58" y="8"/>
                  </a:cubicBezTo>
                  <a:cubicBezTo>
                    <a:pt x="57" y="8"/>
                    <a:pt x="55" y="8"/>
                    <a:pt x="55" y="9"/>
                  </a:cubicBezTo>
                  <a:cubicBezTo>
                    <a:pt x="54" y="9"/>
                    <a:pt x="55" y="10"/>
                    <a:pt x="54" y="11"/>
                  </a:cubicBezTo>
                  <a:cubicBezTo>
                    <a:pt x="54" y="12"/>
                    <a:pt x="53" y="12"/>
                    <a:pt x="52" y="13"/>
                  </a:cubicBezTo>
                  <a:cubicBezTo>
                    <a:pt x="50" y="13"/>
                    <a:pt x="49" y="15"/>
                    <a:pt x="47" y="15"/>
                  </a:cubicBezTo>
                  <a:cubicBezTo>
                    <a:pt x="46" y="12"/>
                    <a:pt x="43" y="9"/>
                    <a:pt x="43" y="6"/>
                  </a:cubicBezTo>
                  <a:cubicBezTo>
                    <a:pt x="43" y="4"/>
                    <a:pt x="43" y="5"/>
                    <a:pt x="44" y="4"/>
                  </a:cubicBezTo>
                  <a:cubicBezTo>
                    <a:pt x="45" y="4"/>
                    <a:pt x="46" y="4"/>
                    <a:pt x="45" y="2"/>
                  </a:cubicBezTo>
                  <a:cubicBezTo>
                    <a:pt x="44" y="0"/>
                    <a:pt x="43" y="3"/>
                    <a:pt x="42" y="4"/>
                  </a:cubicBezTo>
                  <a:cubicBezTo>
                    <a:pt x="40" y="7"/>
                    <a:pt x="40" y="9"/>
                    <a:pt x="40" y="12"/>
                  </a:cubicBezTo>
                  <a:cubicBezTo>
                    <a:pt x="40" y="14"/>
                    <a:pt x="40" y="16"/>
                    <a:pt x="40" y="17"/>
                  </a:cubicBezTo>
                  <a:cubicBezTo>
                    <a:pt x="39" y="19"/>
                    <a:pt x="38" y="19"/>
                    <a:pt x="37" y="20"/>
                  </a:cubicBezTo>
                  <a:cubicBezTo>
                    <a:pt x="36" y="21"/>
                    <a:pt x="35" y="22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4" y="24"/>
                    <a:pt x="33" y="24"/>
                    <a:pt x="33" y="25"/>
                  </a:cubicBezTo>
                  <a:cubicBezTo>
                    <a:pt x="31" y="26"/>
                    <a:pt x="29" y="27"/>
                    <a:pt x="29" y="30"/>
                  </a:cubicBezTo>
                  <a:cubicBezTo>
                    <a:pt x="29" y="30"/>
                    <a:pt x="29" y="31"/>
                    <a:pt x="29" y="32"/>
                  </a:cubicBezTo>
                  <a:cubicBezTo>
                    <a:pt x="28" y="34"/>
                    <a:pt x="27" y="33"/>
                    <a:pt x="26" y="34"/>
                  </a:cubicBezTo>
                  <a:cubicBezTo>
                    <a:pt x="25" y="35"/>
                    <a:pt x="25" y="36"/>
                    <a:pt x="24" y="36"/>
                  </a:cubicBezTo>
                  <a:cubicBezTo>
                    <a:pt x="24" y="37"/>
                    <a:pt x="23" y="38"/>
                    <a:pt x="22" y="38"/>
                  </a:cubicBezTo>
                  <a:cubicBezTo>
                    <a:pt x="22" y="39"/>
                    <a:pt x="20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8" y="38"/>
                    <a:pt x="17" y="39"/>
                  </a:cubicBezTo>
                  <a:cubicBezTo>
                    <a:pt x="16" y="39"/>
                    <a:pt x="17" y="40"/>
                    <a:pt x="17" y="41"/>
                  </a:cubicBezTo>
                  <a:cubicBezTo>
                    <a:pt x="16" y="42"/>
                    <a:pt x="14" y="41"/>
                    <a:pt x="13" y="41"/>
                  </a:cubicBezTo>
                  <a:cubicBezTo>
                    <a:pt x="11" y="41"/>
                    <a:pt x="12" y="44"/>
                    <a:pt x="12" y="46"/>
                  </a:cubicBezTo>
                  <a:cubicBezTo>
                    <a:pt x="10" y="46"/>
                    <a:pt x="9" y="46"/>
                    <a:pt x="7" y="45"/>
                  </a:cubicBezTo>
                  <a:cubicBezTo>
                    <a:pt x="6" y="44"/>
                    <a:pt x="5" y="44"/>
                    <a:pt x="4" y="43"/>
                  </a:cubicBezTo>
                  <a:cubicBezTo>
                    <a:pt x="3" y="43"/>
                    <a:pt x="2" y="43"/>
                    <a:pt x="1" y="44"/>
                  </a:cubicBezTo>
                  <a:cubicBezTo>
                    <a:pt x="1" y="44"/>
                    <a:pt x="0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45"/>
                    <a:pt x="0" y="45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5"/>
                    <a:pt x="0" y="45"/>
                  </a:cubicBezTo>
                  <a:cubicBezTo>
                    <a:pt x="0" y="45"/>
                    <a:pt x="0" y="46"/>
                    <a:pt x="0" y="46"/>
                  </a:cubicBezTo>
                  <a:cubicBezTo>
                    <a:pt x="0" y="46"/>
                    <a:pt x="0" y="46"/>
                    <a:pt x="0" y="47"/>
                  </a:cubicBezTo>
                  <a:cubicBezTo>
                    <a:pt x="0" y="47"/>
                    <a:pt x="1" y="47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49"/>
                    <a:pt x="3" y="49"/>
                  </a:cubicBezTo>
                  <a:cubicBezTo>
                    <a:pt x="4" y="49"/>
                    <a:pt x="5" y="50"/>
                    <a:pt x="5" y="50"/>
                  </a:cubicBezTo>
                  <a:cubicBezTo>
                    <a:pt x="6" y="52"/>
                    <a:pt x="6" y="54"/>
                    <a:pt x="5" y="55"/>
                  </a:cubicBezTo>
                  <a:cubicBezTo>
                    <a:pt x="6" y="56"/>
                    <a:pt x="6" y="57"/>
                    <a:pt x="6" y="58"/>
                  </a:cubicBezTo>
                  <a:cubicBezTo>
                    <a:pt x="7" y="59"/>
                    <a:pt x="7" y="61"/>
                    <a:pt x="8" y="62"/>
                  </a:cubicBezTo>
                  <a:cubicBezTo>
                    <a:pt x="10" y="64"/>
                    <a:pt x="13" y="62"/>
                    <a:pt x="15" y="64"/>
                  </a:cubicBezTo>
                  <a:cubicBezTo>
                    <a:pt x="16" y="65"/>
                    <a:pt x="16" y="66"/>
                    <a:pt x="17" y="67"/>
                  </a:cubicBezTo>
                  <a:cubicBezTo>
                    <a:pt x="18" y="68"/>
                    <a:pt x="19" y="69"/>
                    <a:pt x="20" y="70"/>
                  </a:cubicBezTo>
                  <a:cubicBezTo>
                    <a:pt x="21" y="71"/>
                    <a:pt x="21" y="72"/>
                    <a:pt x="22" y="74"/>
                  </a:cubicBezTo>
                  <a:cubicBezTo>
                    <a:pt x="22" y="75"/>
                    <a:pt x="24" y="77"/>
                    <a:pt x="25" y="79"/>
                  </a:cubicBezTo>
                  <a:cubicBezTo>
                    <a:pt x="26" y="80"/>
                    <a:pt x="25" y="81"/>
                    <a:pt x="25" y="82"/>
                  </a:cubicBezTo>
                  <a:cubicBezTo>
                    <a:pt x="25" y="83"/>
                    <a:pt x="26" y="83"/>
                    <a:pt x="26" y="84"/>
                  </a:cubicBezTo>
                  <a:cubicBezTo>
                    <a:pt x="27" y="86"/>
                    <a:pt x="27" y="87"/>
                    <a:pt x="27" y="88"/>
                  </a:cubicBezTo>
                  <a:cubicBezTo>
                    <a:pt x="27" y="90"/>
                    <a:pt x="28" y="92"/>
                    <a:pt x="28" y="94"/>
                  </a:cubicBezTo>
                  <a:cubicBezTo>
                    <a:pt x="28" y="96"/>
                    <a:pt x="29" y="97"/>
                    <a:pt x="30" y="99"/>
                  </a:cubicBezTo>
                  <a:cubicBezTo>
                    <a:pt x="31" y="101"/>
                    <a:pt x="31" y="104"/>
                    <a:pt x="31" y="106"/>
                  </a:cubicBezTo>
                  <a:cubicBezTo>
                    <a:pt x="31" y="109"/>
                    <a:pt x="31" y="112"/>
                    <a:pt x="30" y="114"/>
                  </a:cubicBezTo>
                  <a:cubicBezTo>
                    <a:pt x="30" y="115"/>
                    <a:pt x="30" y="117"/>
                    <a:pt x="31" y="117"/>
                  </a:cubicBezTo>
                  <a:cubicBezTo>
                    <a:pt x="32" y="117"/>
                    <a:pt x="33" y="116"/>
                    <a:pt x="34" y="115"/>
                  </a:cubicBezTo>
                  <a:cubicBezTo>
                    <a:pt x="35" y="114"/>
                    <a:pt x="36" y="114"/>
                    <a:pt x="37" y="113"/>
                  </a:cubicBezTo>
                  <a:cubicBezTo>
                    <a:pt x="38" y="112"/>
                    <a:pt x="39" y="112"/>
                    <a:pt x="40" y="111"/>
                  </a:cubicBezTo>
                  <a:cubicBezTo>
                    <a:pt x="40" y="110"/>
                    <a:pt x="40" y="109"/>
                    <a:pt x="40" y="108"/>
                  </a:cubicBezTo>
                  <a:cubicBezTo>
                    <a:pt x="40" y="107"/>
                    <a:pt x="40" y="106"/>
                    <a:pt x="40" y="106"/>
                  </a:cubicBezTo>
                  <a:cubicBezTo>
                    <a:pt x="40" y="105"/>
                    <a:pt x="41" y="104"/>
                    <a:pt x="41" y="103"/>
                  </a:cubicBezTo>
                  <a:cubicBezTo>
                    <a:pt x="43" y="101"/>
                    <a:pt x="44" y="99"/>
                    <a:pt x="45" y="98"/>
                  </a:cubicBezTo>
                  <a:cubicBezTo>
                    <a:pt x="47" y="96"/>
                    <a:pt x="49" y="96"/>
                    <a:pt x="51" y="95"/>
                  </a:cubicBezTo>
                  <a:cubicBezTo>
                    <a:pt x="54" y="94"/>
                    <a:pt x="58" y="91"/>
                    <a:pt x="61" y="93"/>
                  </a:cubicBezTo>
                  <a:cubicBezTo>
                    <a:pt x="63" y="94"/>
                    <a:pt x="62" y="94"/>
                    <a:pt x="63" y="95"/>
                  </a:cubicBezTo>
                  <a:cubicBezTo>
                    <a:pt x="63" y="96"/>
                    <a:pt x="64" y="97"/>
                    <a:pt x="64" y="98"/>
                  </a:cubicBezTo>
                  <a:cubicBezTo>
                    <a:pt x="65" y="98"/>
                    <a:pt x="67" y="101"/>
                    <a:pt x="68" y="100"/>
                  </a:cubicBezTo>
                  <a:cubicBezTo>
                    <a:pt x="68" y="99"/>
                    <a:pt x="69" y="97"/>
                    <a:pt x="69" y="96"/>
                  </a:cubicBezTo>
                  <a:cubicBezTo>
                    <a:pt x="70" y="94"/>
                    <a:pt x="70" y="93"/>
                    <a:pt x="72" y="92"/>
                  </a:cubicBezTo>
                  <a:cubicBezTo>
                    <a:pt x="71" y="90"/>
                    <a:pt x="75" y="89"/>
                    <a:pt x="75" y="87"/>
                  </a:cubicBezTo>
                  <a:cubicBezTo>
                    <a:pt x="77" y="86"/>
                    <a:pt x="86" y="86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8"/>
                    <a:pt x="85" y="88"/>
                  </a:cubicBezTo>
                  <a:cubicBezTo>
                    <a:pt x="85" y="87"/>
                    <a:pt x="85" y="87"/>
                    <a:pt x="84" y="87"/>
                  </a:cubicBezTo>
                  <a:cubicBezTo>
                    <a:pt x="84" y="86"/>
                    <a:pt x="83" y="85"/>
                    <a:pt x="82" y="84"/>
                  </a:cubicBezTo>
                  <a:cubicBezTo>
                    <a:pt x="82" y="81"/>
                    <a:pt x="86" y="79"/>
                    <a:pt x="87" y="77"/>
                  </a:cubicBezTo>
                  <a:cubicBezTo>
                    <a:pt x="88" y="77"/>
                    <a:pt x="89" y="76"/>
                    <a:pt x="89" y="76"/>
                  </a:cubicBezTo>
                  <a:cubicBezTo>
                    <a:pt x="89" y="75"/>
                    <a:pt x="89" y="74"/>
                    <a:pt x="90" y="73"/>
                  </a:cubicBezTo>
                  <a:cubicBezTo>
                    <a:pt x="90" y="72"/>
                    <a:pt x="91" y="72"/>
                    <a:pt x="92" y="72"/>
                  </a:cubicBezTo>
                  <a:cubicBezTo>
                    <a:pt x="92" y="72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68"/>
                    <a:pt x="93" y="65"/>
                    <a:pt x="93" y="64"/>
                  </a:cubicBezTo>
                  <a:cubicBezTo>
                    <a:pt x="93" y="62"/>
                    <a:pt x="95" y="61"/>
                    <a:pt x="96" y="60"/>
                  </a:cubicBezTo>
                  <a:cubicBezTo>
                    <a:pt x="97" y="59"/>
                    <a:pt x="97" y="58"/>
                    <a:pt x="98" y="57"/>
                  </a:cubicBezTo>
                  <a:cubicBezTo>
                    <a:pt x="99" y="56"/>
                    <a:pt x="100" y="56"/>
                    <a:pt x="99" y="55"/>
                  </a:cubicBezTo>
                  <a:cubicBezTo>
                    <a:pt x="99" y="55"/>
                    <a:pt x="98" y="54"/>
                    <a:pt x="97" y="54"/>
                  </a:cubicBezTo>
                  <a:cubicBezTo>
                    <a:pt x="96" y="53"/>
                    <a:pt x="95" y="55"/>
                    <a:pt x="94" y="55"/>
                  </a:cubicBezTo>
                  <a:cubicBezTo>
                    <a:pt x="90" y="56"/>
                    <a:pt x="87" y="42"/>
                    <a:pt x="83" y="50"/>
                  </a:cubicBezTo>
                  <a:moveTo>
                    <a:pt x="0" y="46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7"/>
                    <a:pt x="0" y="46"/>
                  </a:cubicBezTo>
                  <a:moveTo>
                    <a:pt x="1" y="44"/>
                  </a:moveTo>
                  <a:cubicBezTo>
                    <a:pt x="1" y="44"/>
                    <a:pt x="1" y="44"/>
                    <a:pt x="0" y="44"/>
                  </a:cubicBezTo>
                  <a:cubicBezTo>
                    <a:pt x="1" y="44"/>
                    <a:pt x="1" y="44"/>
                    <a:pt x="1" y="44"/>
                  </a:cubicBezTo>
                  <a:moveTo>
                    <a:pt x="2" y="62"/>
                  </a:move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1" name="Freeform 31">
              <a:extLst>
                <a:ext uri="{FF2B5EF4-FFF2-40B4-BE49-F238E27FC236}">
                  <a16:creationId xmlns:a16="http://schemas.microsoft.com/office/drawing/2014/main" id="{115F41FF-0945-4818-B4FC-2C9BFAE192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3525" y="5646738"/>
              <a:ext cx="185738" cy="463550"/>
            </a:xfrm>
            <a:custGeom>
              <a:avLst/>
              <a:gdLst/>
              <a:ahLst/>
              <a:cxnLst>
                <a:cxn ang="0">
                  <a:pos x="44" y="3"/>
                </a:cxn>
                <a:cxn ang="0">
                  <a:pos x="44" y="3"/>
                </a:cxn>
                <a:cxn ang="0">
                  <a:pos x="44" y="3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6" y="5"/>
                </a:cxn>
                <a:cxn ang="0">
                  <a:pos x="45" y="5"/>
                </a:cxn>
                <a:cxn ang="0">
                  <a:pos x="45" y="5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5"/>
                </a:cxn>
                <a:cxn ang="0">
                  <a:pos x="44" y="2"/>
                </a:cxn>
                <a:cxn ang="0">
                  <a:pos x="45" y="1"/>
                </a:cxn>
                <a:cxn ang="0">
                  <a:pos x="45" y="1"/>
                </a:cxn>
                <a:cxn ang="0">
                  <a:pos x="44" y="1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11" y="187"/>
                </a:cxn>
                <a:cxn ang="0">
                  <a:pos x="9" y="201"/>
                </a:cxn>
                <a:cxn ang="0">
                  <a:pos x="15" y="208"/>
                </a:cxn>
                <a:cxn ang="0">
                  <a:pos x="20" y="215"/>
                </a:cxn>
                <a:cxn ang="0">
                  <a:pos x="28" y="221"/>
                </a:cxn>
                <a:cxn ang="0">
                  <a:pos x="34" y="229"/>
                </a:cxn>
                <a:cxn ang="0">
                  <a:pos x="37" y="242"/>
                </a:cxn>
                <a:cxn ang="0">
                  <a:pos x="50" y="244"/>
                </a:cxn>
                <a:cxn ang="0">
                  <a:pos x="56" y="236"/>
                </a:cxn>
                <a:cxn ang="0">
                  <a:pos x="56" y="228"/>
                </a:cxn>
                <a:cxn ang="0">
                  <a:pos x="59" y="219"/>
                </a:cxn>
                <a:cxn ang="0">
                  <a:pos x="73" y="213"/>
                </a:cxn>
                <a:cxn ang="0">
                  <a:pos x="77" y="202"/>
                </a:cxn>
                <a:cxn ang="0">
                  <a:pos x="83" y="185"/>
                </a:cxn>
                <a:cxn ang="0">
                  <a:pos x="92" y="184"/>
                </a:cxn>
                <a:cxn ang="0">
                  <a:pos x="96" y="167"/>
                </a:cxn>
                <a:cxn ang="0">
                  <a:pos x="94" y="155"/>
                </a:cxn>
                <a:cxn ang="0">
                  <a:pos x="81" y="147"/>
                </a:cxn>
                <a:cxn ang="0">
                  <a:pos x="75" y="134"/>
                </a:cxn>
                <a:cxn ang="0">
                  <a:pos x="69" y="125"/>
                </a:cxn>
                <a:cxn ang="0">
                  <a:pos x="68" y="112"/>
                </a:cxn>
                <a:cxn ang="0">
                  <a:pos x="67" y="104"/>
                </a:cxn>
                <a:cxn ang="0">
                  <a:pos x="71" y="95"/>
                </a:cxn>
                <a:cxn ang="0">
                  <a:pos x="72" y="79"/>
                </a:cxn>
                <a:cxn ang="0">
                  <a:pos x="74" y="56"/>
                </a:cxn>
                <a:cxn ang="0">
                  <a:pos x="69" y="39"/>
                </a:cxn>
                <a:cxn ang="0">
                  <a:pos x="61" y="24"/>
                </a:cxn>
                <a:cxn ang="0">
                  <a:pos x="49" y="12"/>
                </a:cxn>
                <a:cxn ang="0">
                  <a:pos x="45" y="21"/>
                </a:cxn>
                <a:cxn ang="0">
                  <a:pos x="28" y="17"/>
                </a:cxn>
                <a:cxn ang="0">
                  <a:pos x="24" y="14"/>
                </a:cxn>
                <a:cxn ang="0">
                  <a:pos x="12" y="30"/>
                </a:cxn>
                <a:cxn ang="0">
                  <a:pos x="5" y="47"/>
                </a:cxn>
                <a:cxn ang="0">
                  <a:pos x="10" y="69"/>
                </a:cxn>
                <a:cxn ang="0">
                  <a:pos x="18" y="82"/>
                </a:cxn>
                <a:cxn ang="0">
                  <a:pos x="19" y="103"/>
                </a:cxn>
                <a:cxn ang="0">
                  <a:pos x="7" y="112"/>
                </a:cxn>
                <a:cxn ang="0">
                  <a:pos x="12" y="121"/>
                </a:cxn>
                <a:cxn ang="0">
                  <a:pos x="11" y="135"/>
                </a:cxn>
                <a:cxn ang="0">
                  <a:pos x="13" y="146"/>
                </a:cxn>
                <a:cxn ang="0">
                  <a:pos x="8" y="143"/>
                </a:cxn>
                <a:cxn ang="0">
                  <a:pos x="2" y="167"/>
                </a:cxn>
              </a:cxnLst>
              <a:rect l="0" t="0" r="r" b="b"/>
              <a:pathLst>
                <a:path w="99" h="248"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lose/>
                  <a:moveTo>
                    <a:pt x="44" y="3"/>
                  </a:move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6" y="5"/>
                    <a:pt x="46" y="5"/>
                  </a:cubicBezTo>
                  <a:cubicBezTo>
                    <a:pt x="46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5" y="1"/>
                  </a:move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6" y="1"/>
                    <a:pt x="46" y="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2" y="174"/>
                  </a:moveTo>
                  <a:cubicBezTo>
                    <a:pt x="3" y="176"/>
                    <a:pt x="8" y="176"/>
                    <a:pt x="9" y="178"/>
                  </a:cubicBezTo>
                  <a:cubicBezTo>
                    <a:pt x="9" y="179"/>
                    <a:pt x="8" y="181"/>
                    <a:pt x="9" y="182"/>
                  </a:cubicBezTo>
                  <a:cubicBezTo>
                    <a:pt x="9" y="184"/>
                    <a:pt x="11" y="185"/>
                    <a:pt x="11" y="187"/>
                  </a:cubicBezTo>
                  <a:cubicBezTo>
                    <a:pt x="12" y="188"/>
                    <a:pt x="11" y="189"/>
                    <a:pt x="10" y="190"/>
                  </a:cubicBezTo>
                  <a:cubicBezTo>
                    <a:pt x="9" y="191"/>
                    <a:pt x="8" y="191"/>
                    <a:pt x="7" y="193"/>
                  </a:cubicBezTo>
                  <a:cubicBezTo>
                    <a:pt x="7" y="194"/>
                    <a:pt x="7" y="196"/>
                    <a:pt x="8" y="197"/>
                  </a:cubicBezTo>
                  <a:cubicBezTo>
                    <a:pt x="8" y="199"/>
                    <a:pt x="8" y="200"/>
                    <a:pt x="9" y="201"/>
                  </a:cubicBezTo>
                  <a:cubicBezTo>
                    <a:pt x="10" y="202"/>
                    <a:pt x="10" y="202"/>
                    <a:pt x="11" y="203"/>
                  </a:cubicBezTo>
                  <a:cubicBezTo>
                    <a:pt x="11" y="204"/>
                    <a:pt x="11" y="204"/>
                    <a:pt x="11" y="205"/>
                  </a:cubicBezTo>
                  <a:cubicBezTo>
                    <a:pt x="11" y="205"/>
                    <a:pt x="12" y="206"/>
                    <a:pt x="13" y="206"/>
                  </a:cubicBezTo>
                  <a:cubicBezTo>
                    <a:pt x="13" y="207"/>
                    <a:pt x="14" y="207"/>
                    <a:pt x="15" y="208"/>
                  </a:cubicBezTo>
                  <a:cubicBezTo>
                    <a:pt x="15" y="209"/>
                    <a:pt x="15" y="209"/>
                    <a:pt x="16" y="209"/>
                  </a:cubicBezTo>
                  <a:cubicBezTo>
                    <a:pt x="16" y="210"/>
                    <a:pt x="18" y="210"/>
                    <a:pt x="19" y="211"/>
                  </a:cubicBezTo>
                  <a:cubicBezTo>
                    <a:pt x="20" y="211"/>
                    <a:pt x="20" y="212"/>
                    <a:pt x="20" y="213"/>
                  </a:cubicBezTo>
                  <a:cubicBezTo>
                    <a:pt x="20" y="213"/>
                    <a:pt x="20" y="214"/>
                    <a:pt x="20" y="215"/>
                  </a:cubicBezTo>
                  <a:cubicBezTo>
                    <a:pt x="21" y="215"/>
                    <a:pt x="21" y="215"/>
                    <a:pt x="21" y="216"/>
                  </a:cubicBezTo>
                  <a:cubicBezTo>
                    <a:pt x="22" y="217"/>
                    <a:pt x="22" y="218"/>
                    <a:pt x="24" y="218"/>
                  </a:cubicBezTo>
                  <a:cubicBezTo>
                    <a:pt x="24" y="219"/>
                    <a:pt x="25" y="219"/>
                    <a:pt x="26" y="220"/>
                  </a:cubicBezTo>
                  <a:cubicBezTo>
                    <a:pt x="27" y="220"/>
                    <a:pt x="27" y="221"/>
                    <a:pt x="28" y="221"/>
                  </a:cubicBezTo>
                  <a:cubicBezTo>
                    <a:pt x="29" y="222"/>
                    <a:pt x="30" y="222"/>
                    <a:pt x="31" y="222"/>
                  </a:cubicBezTo>
                  <a:cubicBezTo>
                    <a:pt x="33" y="222"/>
                    <a:pt x="32" y="225"/>
                    <a:pt x="32" y="226"/>
                  </a:cubicBezTo>
                  <a:cubicBezTo>
                    <a:pt x="32" y="228"/>
                    <a:pt x="32" y="228"/>
                    <a:pt x="33" y="229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5" y="229"/>
                    <a:pt x="36" y="230"/>
                    <a:pt x="37" y="231"/>
                  </a:cubicBezTo>
                  <a:cubicBezTo>
                    <a:pt x="38" y="232"/>
                    <a:pt x="39" y="233"/>
                    <a:pt x="37" y="234"/>
                  </a:cubicBezTo>
                  <a:cubicBezTo>
                    <a:pt x="36" y="235"/>
                    <a:pt x="36" y="235"/>
                    <a:pt x="36" y="236"/>
                  </a:cubicBezTo>
                  <a:cubicBezTo>
                    <a:pt x="35" y="238"/>
                    <a:pt x="36" y="240"/>
                    <a:pt x="37" y="242"/>
                  </a:cubicBezTo>
                  <a:cubicBezTo>
                    <a:pt x="38" y="245"/>
                    <a:pt x="40" y="244"/>
                    <a:pt x="42" y="245"/>
                  </a:cubicBezTo>
                  <a:cubicBezTo>
                    <a:pt x="43" y="245"/>
                    <a:pt x="46" y="248"/>
                    <a:pt x="48" y="247"/>
                  </a:cubicBezTo>
                  <a:cubicBezTo>
                    <a:pt x="48" y="246"/>
                    <a:pt x="48" y="246"/>
                    <a:pt x="49" y="245"/>
                  </a:cubicBezTo>
                  <a:cubicBezTo>
                    <a:pt x="49" y="245"/>
                    <a:pt x="50" y="245"/>
                    <a:pt x="50" y="244"/>
                  </a:cubicBezTo>
                  <a:cubicBezTo>
                    <a:pt x="51" y="244"/>
                    <a:pt x="52" y="242"/>
                    <a:pt x="53" y="241"/>
                  </a:cubicBezTo>
                  <a:cubicBezTo>
                    <a:pt x="53" y="239"/>
                    <a:pt x="53" y="238"/>
                    <a:pt x="54" y="237"/>
                  </a:cubicBezTo>
                  <a:cubicBezTo>
                    <a:pt x="54" y="237"/>
                    <a:pt x="54" y="237"/>
                    <a:pt x="55" y="237"/>
                  </a:cubicBezTo>
                  <a:cubicBezTo>
                    <a:pt x="55" y="237"/>
                    <a:pt x="55" y="237"/>
                    <a:pt x="56" y="236"/>
                  </a:cubicBezTo>
                  <a:cubicBezTo>
                    <a:pt x="56" y="236"/>
                    <a:pt x="56" y="236"/>
                    <a:pt x="57" y="236"/>
                  </a:cubicBezTo>
                  <a:cubicBezTo>
                    <a:pt x="57" y="235"/>
                    <a:pt x="58" y="235"/>
                    <a:pt x="58" y="234"/>
                  </a:cubicBezTo>
                  <a:cubicBezTo>
                    <a:pt x="59" y="233"/>
                    <a:pt x="58" y="232"/>
                    <a:pt x="57" y="231"/>
                  </a:cubicBezTo>
                  <a:cubicBezTo>
                    <a:pt x="57" y="230"/>
                    <a:pt x="57" y="229"/>
                    <a:pt x="56" y="228"/>
                  </a:cubicBezTo>
                  <a:cubicBezTo>
                    <a:pt x="56" y="227"/>
                    <a:pt x="55" y="227"/>
                    <a:pt x="55" y="226"/>
                  </a:cubicBezTo>
                  <a:cubicBezTo>
                    <a:pt x="55" y="225"/>
                    <a:pt x="56" y="223"/>
                    <a:pt x="56" y="223"/>
                  </a:cubicBezTo>
                  <a:cubicBezTo>
                    <a:pt x="57" y="222"/>
                    <a:pt x="57" y="222"/>
                    <a:pt x="57" y="221"/>
                  </a:cubicBezTo>
                  <a:cubicBezTo>
                    <a:pt x="58" y="220"/>
                    <a:pt x="58" y="220"/>
                    <a:pt x="59" y="219"/>
                  </a:cubicBezTo>
                  <a:cubicBezTo>
                    <a:pt x="60" y="217"/>
                    <a:pt x="62" y="216"/>
                    <a:pt x="64" y="215"/>
                  </a:cubicBezTo>
                  <a:cubicBezTo>
                    <a:pt x="65" y="214"/>
                    <a:pt x="66" y="214"/>
                    <a:pt x="68" y="214"/>
                  </a:cubicBezTo>
                  <a:cubicBezTo>
                    <a:pt x="69" y="214"/>
                    <a:pt x="71" y="215"/>
                    <a:pt x="72" y="215"/>
                  </a:cubicBezTo>
                  <a:cubicBezTo>
                    <a:pt x="72" y="215"/>
                    <a:pt x="73" y="213"/>
                    <a:pt x="73" y="213"/>
                  </a:cubicBezTo>
                  <a:cubicBezTo>
                    <a:pt x="73" y="212"/>
                    <a:pt x="73" y="211"/>
                    <a:pt x="74" y="210"/>
                  </a:cubicBezTo>
                  <a:cubicBezTo>
                    <a:pt x="74" y="209"/>
                    <a:pt x="75" y="209"/>
                    <a:pt x="75" y="207"/>
                  </a:cubicBezTo>
                  <a:cubicBezTo>
                    <a:pt x="75" y="207"/>
                    <a:pt x="74" y="206"/>
                    <a:pt x="75" y="206"/>
                  </a:cubicBezTo>
                  <a:cubicBezTo>
                    <a:pt x="75" y="204"/>
                    <a:pt x="76" y="203"/>
                    <a:pt x="77" y="202"/>
                  </a:cubicBezTo>
                  <a:cubicBezTo>
                    <a:pt x="77" y="201"/>
                    <a:pt x="77" y="200"/>
                    <a:pt x="78" y="199"/>
                  </a:cubicBezTo>
                  <a:cubicBezTo>
                    <a:pt x="79" y="197"/>
                    <a:pt x="79" y="196"/>
                    <a:pt x="79" y="194"/>
                  </a:cubicBezTo>
                  <a:cubicBezTo>
                    <a:pt x="79" y="192"/>
                    <a:pt x="80" y="190"/>
                    <a:pt x="81" y="188"/>
                  </a:cubicBezTo>
                  <a:cubicBezTo>
                    <a:pt x="82" y="187"/>
                    <a:pt x="82" y="186"/>
                    <a:pt x="83" y="185"/>
                  </a:cubicBezTo>
                  <a:cubicBezTo>
                    <a:pt x="84" y="185"/>
                    <a:pt x="85" y="186"/>
                    <a:pt x="86" y="185"/>
                  </a:cubicBezTo>
                  <a:cubicBezTo>
                    <a:pt x="86" y="185"/>
                    <a:pt x="87" y="185"/>
                    <a:pt x="87" y="184"/>
                  </a:cubicBezTo>
                  <a:cubicBezTo>
                    <a:pt x="87" y="184"/>
                    <a:pt x="88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4" y="183"/>
                    <a:pt x="93" y="181"/>
                    <a:pt x="94" y="179"/>
                  </a:cubicBezTo>
                  <a:cubicBezTo>
                    <a:pt x="94" y="177"/>
                    <a:pt x="94" y="177"/>
                    <a:pt x="96" y="176"/>
                  </a:cubicBezTo>
                  <a:cubicBezTo>
                    <a:pt x="96" y="176"/>
                    <a:pt x="97" y="175"/>
                    <a:pt x="98" y="175"/>
                  </a:cubicBezTo>
                  <a:cubicBezTo>
                    <a:pt x="99" y="173"/>
                    <a:pt x="97" y="168"/>
                    <a:pt x="96" y="167"/>
                  </a:cubicBezTo>
                  <a:cubicBezTo>
                    <a:pt x="95" y="165"/>
                    <a:pt x="90" y="162"/>
                    <a:pt x="92" y="160"/>
                  </a:cubicBezTo>
                  <a:cubicBezTo>
                    <a:pt x="92" y="159"/>
                    <a:pt x="93" y="159"/>
                    <a:pt x="93" y="158"/>
                  </a:cubicBezTo>
                  <a:cubicBezTo>
                    <a:pt x="93" y="158"/>
                    <a:pt x="93" y="157"/>
                    <a:pt x="93" y="157"/>
                  </a:cubicBezTo>
                  <a:cubicBezTo>
                    <a:pt x="93" y="156"/>
                    <a:pt x="93" y="156"/>
                    <a:pt x="94" y="155"/>
                  </a:cubicBezTo>
                  <a:cubicBezTo>
                    <a:pt x="94" y="153"/>
                    <a:pt x="93" y="151"/>
                    <a:pt x="92" y="150"/>
                  </a:cubicBezTo>
                  <a:cubicBezTo>
                    <a:pt x="91" y="149"/>
                    <a:pt x="89" y="147"/>
                    <a:pt x="87" y="148"/>
                  </a:cubicBezTo>
                  <a:cubicBezTo>
                    <a:pt x="86" y="148"/>
                    <a:pt x="85" y="150"/>
                    <a:pt x="84" y="149"/>
                  </a:cubicBezTo>
                  <a:cubicBezTo>
                    <a:pt x="82" y="149"/>
                    <a:pt x="82" y="147"/>
                    <a:pt x="81" y="147"/>
                  </a:cubicBezTo>
                  <a:cubicBezTo>
                    <a:pt x="80" y="147"/>
                    <a:pt x="79" y="147"/>
                    <a:pt x="79" y="147"/>
                  </a:cubicBezTo>
                  <a:cubicBezTo>
                    <a:pt x="78" y="147"/>
                    <a:pt x="78" y="146"/>
                    <a:pt x="78" y="146"/>
                  </a:cubicBezTo>
                  <a:cubicBezTo>
                    <a:pt x="77" y="143"/>
                    <a:pt x="78" y="140"/>
                    <a:pt x="78" y="137"/>
                  </a:cubicBezTo>
                  <a:cubicBezTo>
                    <a:pt x="77" y="136"/>
                    <a:pt x="76" y="135"/>
                    <a:pt x="75" y="134"/>
                  </a:cubicBezTo>
                  <a:cubicBezTo>
                    <a:pt x="74" y="133"/>
                    <a:pt x="74" y="131"/>
                    <a:pt x="72" y="131"/>
                  </a:cubicBezTo>
                  <a:cubicBezTo>
                    <a:pt x="71" y="131"/>
                    <a:pt x="70" y="132"/>
                    <a:pt x="69" y="131"/>
                  </a:cubicBezTo>
                  <a:cubicBezTo>
                    <a:pt x="69" y="130"/>
                    <a:pt x="69" y="129"/>
                    <a:pt x="69" y="129"/>
                  </a:cubicBezTo>
                  <a:cubicBezTo>
                    <a:pt x="69" y="127"/>
                    <a:pt x="69" y="126"/>
                    <a:pt x="69" y="125"/>
                  </a:cubicBezTo>
                  <a:cubicBezTo>
                    <a:pt x="68" y="123"/>
                    <a:pt x="68" y="122"/>
                    <a:pt x="67" y="120"/>
                  </a:cubicBezTo>
                  <a:cubicBezTo>
                    <a:pt x="67" y="119"/>
                    <a:pt x="66" y="118"/>
                    <a:pt x="67" y="116"/>
                  </a:cubicBezTo>
                  <a:cubicBezTo>
                    <a:pt x="67" y="116"/>
                    <a:pt x="67" y="115"/>
                    <a:pt x="68" y="114"/>
                  </a:cubicBezTo>
                  <a:cubicBezTo>
                    <a:pt x="68" y="113"/>
                    <a:pt x="68" y="113"/>
                    <a:pt x="68" y="112"/>
                  </a:cubicBezTo>
                  <a:cubicBezTo>
                    <a:pt x="69" y="111"/>
                    <a:pt x="70" y="111"/>
                    <a:pt x="70" y="110"/>
                  </a:cubicBezTo>
                  <a:cubicBezTo>
                    <a:pt x="70" y="109"/>
                    <a:pt x="69" y="108"/>
                    <a:pt x="69" y="108"/>
                  </a:cubicBezTo>
                  <a:cubicBezTo>
                    <a:pt x="69" y="107"/>
                    <a:pt x="69" y="107"/>
                    <a:pt x="68" y="106"/>
                  </a:cubicBezTo>
                  <a:cubicBezTo>
                    <a:pt x="68" y="105"/>
                    <a:pt x="67" y="105"/>
                    <a:pt x="67" y="104"/>
                  </a:cubicBezTo>
                  <a:cubicBezTo>
                    <a:pt x="67" y="103"/>
                    <a:pt x="66" y="102"/>
                    <a:pt x="66" y="101"/>
                  </a:cubicBezTo>
                  <a:cubicBezTo>
                    <a:pt x="66" y="101"/>
                    <a:pt x="66" y="100"/>
                    <a:pt x="66" y="100"/>
                  </a:cubicBezTo>
                  <a:cubicBezTo>
                    <a:pt x="67" y="99"/>
                    <a:pt x="66" y="97"/>
                    <a:pt x="68" y="97"/>
                  </a:cubicBezTo>
                  <a:cubicBezTo>
                    <a:pt x="69" y="96"/>
                    <a:pt x="70" y="96"/>
                    <a:pt x="71" y="95"/>
                  </a:cubicBezTo>
                  <a:cubicBezTo>
                    <a:pt x="71" y="95"/>
                    <a:pt x="71" y="94"/>
                    <a:pt x="71" y="94"/>
                  </a:cubicBezTo>
                  <a:cubicBezTo>
                    <a:pt x="71" y="92"/>
                    <a:pt x="71" y="91"/>
                    <a:pt x="71" y="89"/>
                  </a:cubicBezTo>
                  <a:cubicBezTo>
                    <a:pt x="71" y="88"/>
                    <a:pt x="71" y="86"/>
                    <a:pt x="71" y="85"/>
                  </a:cubicBezTo>
                  <a:cubicBezTo>
                    <a:pt x="71" y="83"/>
                    <a:pt x="72" y="81"/>
                    <a:pt x="72" y="79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2"/>
                    <a:pt x="74" y="72"/>
                    <a:pt x="74" y="71"/>
                  </a:cubicBezTo>
                  <a:cubicBezTo>
                    <a:pt x="75" y="69"/>
                    <a:pt x="75" y="66"/>
                    <a:pt x="75" y="63"/>
                  </a:cubicBezTo>
                  <a:cubicBezTo>
                    <a:pt x="75" y="61"/>
                    <a:pt x="75" y="58"/>
                    <a:pt x="74" y="56"/>
                  </a:cubicBezTo>
                  <a:cubicBezTo>
                    <a:pt x="73" y="54"/>
                    <a:pt x="72" y="53"/>
                    <a:pt x="72" y="51"/>
                  </a:cubicBezTo>
                  <a:cubicBezTo>
                    <a:pt x="72" y="49"/>
                    <a:pt x="71" y="47"/>
                    <a:pt x="71" y="45"/>
                  </a:cubicBezTo>
                  <a:cubicBezTo>
                    <a:pt x="71" y="44"/>
                    <a:pt x="71" y="43"/>
                    <a:pt x="70" y="41"/>
                  </a:cubicBezTo>
                  <a:cubicBezTo>
                    <a:pt x="70" y="40"/>
                    <a:pt x="69" y="40"/>
                    <a:pt x="69" y="39"/>
                  </a:cubicBezTo>
                  <a:cubicBezTo>
                    <a:pt x="69" y="38"/>
                    <a:pt x="70" y="37"/>
                    <a:pt x="69" y="36"/>
                  </a:cubicBezTo>
                  <a:cubicBezTo>
                    <a:pt x="68" y="34"/>
                    <a:pt x="66" y="32"/>
                    <a:pt x="66" y="31"/>
                  </a:cubicBezTo>
                  <a:cubicBezTo>
                    <a:pt x="65" y="29"/>
                    <a:pt x="65" y="28"/>
                    <a:pt x="64" y="27"/>
                  </a:cubicBezTo>
                  <a:cubicBezTo>
                    <a:pt x="63" y="26"/>
                    <a:pt x="62" y="25"/>
                    <a:pt x="61" y="24"/>
                  </a:cubicBezTo>
                  <a:cubicBezTo>
                    <a:pt x="60" y="23"/>
                    <a:pt x="60" y="22"/>
                    <a:pt x="59" y="21"/>
                  </a:cubicBezTo>
                  <a:cubicBezTo>
                    <a:pt x="57" y="19"/>
                    <a:pt x="54" y="21"/>
                    <a:pt x="52" y="19"/>
                  </a:cubicBezTo>
                  <a:cubicBezTo>
                    <a:pt x="51" y="18"/>
                    <a:pt x="51" y="16"/>
                    <a:pt x="50" y="15"/>
                  </a:cubicBezTo>
                  <a:cubicBezTo>
                    <a:pt x="50" y="14"/>
                    <a:pt x="50" y="13"/>
                    <a:pt x="49" y="12"/>
                  </a:cubicBezTo>
                  <a:cubicBezTo>
                    <a:pt x="49" y="13"/>
                    <a:pt x="49" y="13"/>
                    <a:pt x="48" y="14"/>
                  </a:cubicBezTo>
                  <a:cubicBezTo>
                    <a:pt x="48" y="15"/>
                    <a:pt x="48" y="16"/>
                    <a:pt x="47" y="17"/>
                  </a:cubicBezTo>
                  <a:cubicBezTo>
                    <a:pt x="47" y="18"/>
                    <a:pt x="46" y="18"/>
                    <a:pt x="46" y="19"/>
                  </a:cubicBezTo>
                  <a:cubicBezTo>
                    <a:pt x="46" y="20"/>
                    <a:pt x="46" y="21"/>
                    <a:pt x="45" y="21"/>
                  </a:cubicBezTo>
                  <a:cubicBezTo>
                    <a:pt x="44" y="23"/>
                    <a:pt x="42" y="23"/>
                    <a:pt x="41" y="24"/>
                  </a:cubicBezTo>
                  <a:cubicBezTo>
                    <a:pt x="38" y="25"/>
                    <a:pt x="36" y="25"/>
                    <a:pt x="33" y="25"/>
                  </a:cubicBezTo>
                  <a:cubicBezTo>
                    <a:pt x="31" y="25"/>
                    <a:pt x="29" y="26"/>
                    <a:pt x="28" y="23"/>
                  </a:cubicBezTo>
                  <a:cubicBezTo>
                    <a:pt x="28" y="22"/>
                    <a:pt x="28" y="19"/>
                    <a:pt x="28" y="17"/>
                  </a:cubicBezTo>
                  <a:cubicBezTo>
                    <a:pt x="28" y="15"/>
                    <a:pt x="28" y="13"/>
                    <a:pt x="27" y="11"/>
                  </a:cubicBezTo>
                  <a:cubicBezTo>
                    <a:pt x="27" y="10"/>
                    <a:pt x="27" y="10"/>
                    <a:pt x="26" y="10"/>
                  </a:cubicBezTo>
                  <a:cubicBezTo>
                    <a:pt x="26" y="10"/>
                    <a:pt x="24" y="12"/>
                    <a:pt x="24" y="12"/>
                  </a:cubicBezTo>
                  <a:cubicBezTo>
                    <a:pt x="24" y="13"/>
                    <a:pt x="24" y="13"/>
                    <a:pt x="24" y="14"/>
                  </a:cubicBezTo>
                  <a:cubicBezTo>
                    <a:pt x="23" y="16"/>
                    <a:pt x="22" y="17"/>
                    <a:pt x="20" y="19"/>
                  </a:cubicBezTo>
                  <a:cubicBezTo>
                    <a:pt x="19" y="21"/>
                    <a:pt x="18" y="23"/>
                    <a:pt x="16" y="24"/>
                  </a:cubicBezTo>
                  <a:cubicBezTo>
                    <a:pt x="15" y="25"/>
                    <a:pt x="15" y="26"/>
                    <a:pt x="14" y="27"/>
                  </a:cubicBezTo>
                  <a:cubicBezTo>
                    <a:pt x="13" y="28"/>
                    <a:pt x="13" y="29"/>
                    <a:pt x="12" y="30"/>
                  </a:cubicBezTo>
                  <a:cubicBezTo>
                    <a:pt x="12" y="31"/>
                    <a:pt x="11" y="33"/>
                    <a:pt x="10" y="34"/>
                  </a:cubicBezTo>
                  <a:cubicBezTo>
                    <a:pt x="10" y="36"/>
                    <a:pt x="9" y="37"/>
                    <a:pt x="8" y="38"/>
                  </a:cubicBezTo>
                  <a:cubicBezTo>
                    <a:pt x="6" y="39"/>
                    <a:pt x="2" y="39"/>
                    <a:pt x="1" y="41"/>
                  </a:cubicBezTo>
                  <a:cubicBezTo>
                    <a:pt x="1" y="44"/>
                    <a:pt x="3" y="46"/>
                    <a:pt x="5" y="47"/>
                  </a:cubicBezTo>
                  <a:cubicBezTo>
                    <a:pt x="7" y="51"/>
                    <a:pt x="10" y="56"/>
                    <a:pt x="10" y="60"/>
                  </a:cubicBezTo>
                  <a:cubicBezTo>
                    <a:pt x="11" y="63"/>
                    <a:pt x="8" y="65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8" y="68"/>
                    <a:pt x="9" y="68"/>
                    <a:pt x="10" y="69"/>
                  </a:cubicBezTo>
                  <a:cubicBezTo>
                    <a:pt x="13" y="70"/>
                    <a:pt x="16" y="68"/>
                    <a:pt x="19" y="70"/>
                  </a:cubicBezTo>
                  <a:cubicBezTo>
                    <a:pt x="20" y="72"/>
                    <a:pt x="20" y="76"/>
                    <a:pt x="19" y="77"/>
                  </a:cubicBezTo>
                  <a:cubicBezTo>
                    <a:pt x="18" y="78"/>
                    <a:pt x="18" y="78"/>
                    <a:pt x="18" y="79"/>
                  </a:cubicBezTo>
                  <a:cubicBezTo>
                    <a:pt x="18" y="80"/>
                    <a:pt x="18" y="81"/>
                    <a:pt x="18" y="82"/>
                  </a:cubicBezTo>
                  <a:cubicBezTo>
                    <a:pt x="18" y="86"/>
                    <a:pt x="19" y="90"/>
                    <a:pt x="18" y="93"/>
                  </a:cubicBezTo>
                  <a:cubicBezTo>
                    <a:pt x="18" y="95"/>
                    <a:pt x="18" y="97"/>
                    <a:pt x="18" y="99"/>
                  </a:cubicBezTo>
                  <a:cubicBezTo>
                    <a:pt x="18" y="100"/>
                    <a:pt x="18" y="100"/>
                    <a:pt x="18" y="101"/>
                  </a:cubicBezTo>
                  <a:cubicBezTo>
                    <a:pt x="18" y="101"/>
                    <a:pt x="19" y="102"/>
                    <a:pt x="19" y="103"/>
                  </a:cubicBezTo>
                  <a:cubicBezTo>
                    <a:pt x="19" y="104"/>
                    <a:pt x="19" y="105"/>
                    <a:pt x="18" y="103"/>
                  </a:cubicBezTo>
                  <a:cubicBezTo>
                    <a:pt x="16" y="104"/>
                    <a:pt x="13" y="103"/>
                    <a:pt x="10" y="104"/>
                  </a:cubicBezTo>
                  <a:cubicBezTo>
                    <a:pt x="8" y="104"/>
                    <a:pt x="8" y="107"/>
                    <a:pt x="8" y="108"/>
                  </a:cubicBezTo>
                  <a:cubicBezTo>
                    <a:pt x="8" y="110"/>
                    <a:pt x="7" y="111"/>
                    <a:pt x="7" y="112"/>
                  </a:cubicBezTo>
                  <a:cubicBezTo>
                    <a:pt x="8" y="113"/>
                    <a:pt x="9" y="114"/>
                    <a:pt x="10" y="115"/>
                  </a:cubicBezTo>
                  <a:cubicBezTo>
                    <a:pt x="11" y="116"/>
                    <a:pt x="11" y="117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1"/>
                  </a:cubicBezTo>
                  <a:cubicBezTo>
                    <a:pt x="12" y="121"/>
                    <a:pt x="12" y="123"/>
                    <a:pt x="13" y="123"/>
                  </a:cubicBezTo>
                  <a:cubicBezTo>
                    <a:pt x="13" y="124"/>
                    <a:pt x="15" y="124"/>
                    <a:pt x="15" y="125"/>
                  </a:cubicBezTo>
                  <a:cubicBezTo>
                    <a:pt x="15" y="126"/>
                    <a:pt x="15" y="127"/>
                    <a:pt x="14" y="128"/>
                  </a:cubicBezTo>
                  <a:cubicBezTo>
                    <a:pt x="13" y="131"/>
                    <a:pt x="11" y="133"/>
                    <a:pt x="11" y="135"/>
                  </a:cubicBezTo>
                  <a:cubicBezTo>
                    <a:pt x="11" y="136"/>
                    <a:pt x="11" y="138"/>
                    <a:pt x="12" y="139"/>
                  </a:cubicBezTo>
                  <a:cubicBezTo>
                    <a:pt x="12" y="139"/>
                    <a:pt x="13" y="140"/>
                    <a:pt x="13" y="140"/>
                  </a:cubicBezTo>
                  <a:cubicBezTo>
                    <a:pt x="14" y="141"/>
                    <a:pt x="13" y="142"/>
                    <a:pt x="13" y="143"/>
                  </a:cubicBezTo>
                  <a:cubicBezTo>
                    <a:pt x="13" y="144"/>
                    <a:pt x="13" y="145"/>
                    <a:pt x="13" y="146"/>
                  </a:cubicBezTo>
                  <a:cubicBezTo>
                    <a:pt x="13" y="146"/>
                    <a:pt x="12" y="148"/>
                    <a:pt x="12" y="148"/>
                  </a:cubicBezTo>
                  <a:cubicBezTo>
                    <a:pt x="11" y="147"/>
                    <a:pt x="11" y="146"/>
                    <a:pt x="11" y="145"/>
                  </a:cubicBezTo>
                  <a:cubicBezTo>
                    <a:pt x="11" y="144"/>
                    <a:pt x="11" y="143"/>
                    <a:pt x="11" y="142"/>
                  </a:cubicBezTo>
                  <a:cubicBezTo>
                    <a:pt x="10" y="142"/>
                    <a:pt x="8" y="142"/>
                    <a:pt x="8" y="143"/>
                  </a:cubicBezTo>
                  <a:cubicBezTo>
                    <a:pt x="7" y="143"/>
                    <a:pt x="6" y="144"/>
                    <a:pt x="5" y="144"/>
                  </a:cubicBezTo>
                  <a:cubicBezTo>
                    <a:pt x="2" y="148"/>
                    <a:pt x="3" y="152"/>
                    <a:pt x="3" y="156"/>
                  </a:cubicBezTo>
                  <a:cubicBezTo>
                    <a:pt x="3" y="159"/>
                    <a:pt x="2" y="162"/>
                    <a:pt x="1" y="165"/>
                  </a:cubicBezTo>
                  <a:cubicBezTo>
                    <a:pt x="1" y="166"/>
                    <a:pt x="2" y="167"/>
                    <a:pt x="2" y="167"/>
                  </a:cubicBezTo>
                  <a:cubicBezTo>
                    <a:pt x="2" y="169"/>
                    <a:pt x="0" y="173"/>
                    <a:pt x="2" y="17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2" name="Freeform 32">
              <a:extLst>
                <a:ext uri="{FF2B5EF4-FFF2-40B4-BE49-F238E27FC236}">
                  <a16:creationId xmlns:a16="http://schemas.microsoft.com/office/drawing/2014/main" id="{3F78E866-6C2B-4ACF-B4A2-E72142768B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350" y="5711825"/>
              <a:ext cx="266700" cy="236538"/>
            </a:xfrm>
            <a:custGeom>
              <a:avLst/>
              <a:gdLst/>
              <a:ahLst/>
              <a:cxnLst>
                <a:cxn ang="0">
                  <a:pos x="137" y="46"/>
                </a:cxn>
                <a:cxn ang="0">
                  <a:pos x="136" y="39"/>
                </a:cxn>
                <a:cxn ang="0">
                  <a:pos x="135" y="32"/>
                </a:cxn>
                <a:cxn ang="0">
                  <a:pos x="132" y="28"/>
                </a:cxn>
                <a:cxn ang="0">
                  <a:pos x="122" y="25"/>
                </a:cxn>
                <a:cxn ang="0">
                  <a:pos x="117" y="20"/>
                </a:cxn>
                <a:cxn ang="0">
                  <a:pos x="115" y="18"/>
                </a:cxn>
                <a:cxn ang="0">
                  <a:pos x="113" y="12"/>
                </a:cxn>
                <a:cxn ang="0">
                  <a:pos x="99" y="2"/>
                </a:cxn>
                <a:cxn ang="0">
                  <a:pos x="90" y="9"/>
                </a:cxn>
                <a:cxn ang="0">
                  <a:pos x="84" y="6"/>
                </a:cxn>
                <a:cxn ang="0">
                  <a:pos x="74" y="8"/>
                </a:cxn>
                <a:cxn ang="0">
                  <a:pos x="53" y="9"/>
                </a:cxn>
                <a:cxn ang="0">
                  <a:pos x="46" y="22"/>
                </a:cxn>
                <a:cxn ang="0">
                  <a:pos x="39" y="15"/>
                </a:cxn>
                <a:cxn ang="0">
                  <a:pos x="19" y="25"/>
                </a:cxn>
                <a:cxn ang="0">
                  <a:pos x="18" y="33"/>
                </a:cxn>
                <a:cxn ang="0">
                  <a:pos x="9" y="39"/>
                </a:cxn>
                <a:cxn ang="0">
                  <a:pos x="5" y="50"/>
                </a:cxn>
                <a:cxn ang="0">
                  <a:pos x="5" y="60"/>
                </a:cxn>
                <a:cxn ang="0">
                  <a:pos x="0" y="66"/>
                </a:cxn>
                <a:cxn ang="0">
                  <a:pos x="3" y="73"/>
                </a:cxn>
                <a:cxn ang="0">
                  <a:pos x="2" y="79"/>
                </a:cxn>
                <a:cxn ang="0">
                  <a:pos x="3" y="90"/>
                </a:cxn>
                <a:cxn ang="0">
                  <a:pos x="6" y="96"/>
                </a:cxn>
                <a:cxn ang="0">
                  <a:pos x="12" y="111"/>
                </a:cxn>
                <a:cxn ang="0">
                  <a:pos x="18" y="114"/>
                </a:cxn>
                <a:cxn ang="0">
                  <a:pos x="28" y="120"/>
                </a:cxn>
                <a:cxn ang="0">
                  <a:pos x="26" y="125"/>
                </a:cxn>
                <a:cxn ang="0">
                  <a:pos x="36" y="119"/>
                </a:cxn>
                <a:cxn ang="0">
                  <a:pos x="50" y="116"/>
                </a:cxn>
                <a:cxn ang="0">
                  <a:pos x="58" y="115"/>
                </a:cxn>
                <a:cxn ang="0">
                  <a:pos x="66" y="115"/>
                </a:cxn>
                <a:cxn ang="0">
                  <a:pos x="74" y="108"/>
                </a:cxn>
                <a:cxn ang="0">
                  <a:pos x="87" y="96"/>
                </a:cxn>
                <a:cxn ang="0">
                  <a:pos x="95" y="97"/>
                </a:cxn>
                <a:cxn ang="0">
                  <a:pos x="104" y="98"/>
                </a:cxn>
                <a:cxn ang="0">
                  <a:pos x="115" y="99"/>
                </a:cxn>
                <a:cxn ang="0">
                  <a:pos x="124" y="99"/>
                </a:cxn>
                <a:cxn ang="0">
                  <a:pos x="126" y="89"/>
                </a:cxn>
                <a:cxn ang="0">
                  <a:pos x="130" y="85"/>
                </a:cxn>
                <a:cxn ang="0">
                  <a:pos x="137" y="80"/>
                </a:cxn>
                <a:cxn ang="0">
                  <a:pos x="139" y="65"/>
                </a:cxn>
                <a:cxn ang="0">
                  <a:pos x="142" y="54"/>
                </a:cxn>
              </a:cxnLst>
              <a:rect l="0" t="0" r="r" b="b"/>
              <a:pathLst>
                <a:path w="143" h="126">
                  <a:moveTo>
                    <a:pt x="143" y="52"/>
                  </a:moveTo>
                  <a:cubicBezTo>
                    <a:pt x="143" y="50"/>
                    <a:pt x="140" y="50"/>
                    <a:pt x="139" y="49"/>
                  </a:cubicBezTo>
                  <a:cubicBezTo>
                    <a:pt x="138" y="48"/>
                    <a:pt x="138" y="47"/>
                    <a:pt x="137" y="46"/>
                  </a:cubicBezTo>
                  <a:cubicBezTo>
                    <a:pt x="137" y="45"/>
                    <a:pt x="137" y="44"/>
                    <a:pt x="137" y="44"/>
                  </a:cubicBezTo>
                  <a:cubicBezTo>
                    <a:pt x="137" y="43"/>
                    <a:pt x="137" y="42"/>
                    <a:pt x="137" y="41"/>
                  </a:cubicBezTo>
                  <a:cubicBezTo>
                    <a:pt x="137" y="40"/>
                    <a:pt x="136" y="40"/>
                    <a:pt x="136" y="39"/>
                  </a:cubicBezTo>
                  <a:cubicBezTo>
                    <a:pt x="136" y="38"/>
                    <a:pt x="136" y="37"/>
                    <a:pt x="136" y="37"/>
                  </a:cubicBezTo>
                  <a:cubicBezTo>
                    <a:pt x="136" y="36"/>
                    <a:pt x="135" y="36"/>
                    <a:pt x="135" y="35"/>
                  </a:cubicBezTo>
                  <a:cubicBezTo>
                    <a:pt x="135" y="34"/>
                    <a:pt x="135" y="33"/>
                    <a:pt x="135" y="32"/>
                  </a:cubicBezTo>
                  <a:cubicBezTo>
                    <a:pt x="135" y="31"/>
                    <a:pt x="134" y="30"/>
                    <a:pt x="134" y="30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8"/>
                    <a:pt x="133" y="28"/>
                    <a:pt x="132" y="28"/>
                  </a:cubicBezTo>
                  <a:cubicBezTo>
                    <a:pt x="131" y="28"/>
                    <a:pt x="130" y="27"/>
                    <a:pt x="129" y="27"/>
                  </a:cubicBezTo>
                  <a:cubicBezTo>
                    <a:pt x="128" y="26"/>
                    <a:pt x="127" y="25"/>
                    <a:pt x="126" y="25"/>
                  </a:cubicBezTo>
                  <a:cubicBezTo>
                    <a:pt x="124" y="24"/>
                    <a:pt x="123" y="25"/>
                    <a:pt x="122" y="25"/>
                  </a:cubicBezTo>
                  <a:cubicBezTo>
                    <a:pt x="121" y="24"/>
                    <a:pt x="120" y="24"/>
                    <a:pt x="119" y="24"/>
                  </a:cubicBezTo>
                  <a:cubicBezTo>
                    <a:pt x="118" y="23"/>
                    <a:pt x="118" y="22"/>
                    <a:pt x="118" y="21"/>
                  </a:cubicBezTo>
                  <a:cubicBezTo>
                    <a:pt x="117" y="21"/>
                    <a:pt x="117" y="20"/>
                    <a:pt x="117" y="20"/>
                  </a:cubicBezTo>
                  <a:cubicBezTo>
                    <a:pt x="116" y="20"/>
                    <a:pt x="115" y="20"/>
                    <a:pt x="115" y="2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7"/>
                    <a:pt x="115" y="17"/>
                  </a:cubicBezTo>
                  <a:cubicBezTo>
                    <a:pt x="114" y="16"/>
                    <a:pt x="114" y="16"/>
                    <a:pt x="114" y="15"/>
                  </a:cubicBezTo>
                  <a:cubicBezTo>
                    <a:pt x="113" y="14"/>
                    <a:pt x="113" y="13"/>
                    <a:pt x="113" y="12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1" y="7"/>
                    <a:pt x="110" y="6"/>
                    <a:pt x="109" y="6"/>
                  </a:cubicBezTo>
                  <a:cubicBezTo>
                    <a:pt x="106" y="4"/>
                    <a:pt x="103" y="0"/>
                    <a:pt x="99" y="2"/>
                  </a:cubicBezTo>
                  <a:cubicBezTo>
                    <a:pt x="97" y="3"/>
                    <a:pt x="96" y="3"/>
                    <a:pt x="95" y="4"/>
                  </a:cubicBezTo>
                  <a:cubicBezTo>
                    <a:pt x="93" y="5"/>
                    <a:pt x="93" y="7"/>
                    <a:pt x="92" y="8"/>
                  </a:cubicBezTo>
                  <a:cubicBezTo>
                    <a:pt x="91" y="9"/>
                    <a:pt x="90" y="9"/>
                    <a:pt x="90" y="9"/>
                  </a:cubicBezTo>
                  <a:cubicBezTo>
                    <a:pt x="88" y="10"/>
                    <a:pt x="89" y="9"/>
                    <a:pt x="88" y="9"/>
                  </a:cubicBezTo>
                  <a:cubicBezTo>
                    <a:pt x="87" y="8"/>
                    <a:pt x="86" y="8"/>
                    <a:pt x="85" y="7"/>
                  </a:cubicBezTo>
                  <a:cubicBezTo>
                    <a:pt x="84" y="7"/>
                    <a:pt x="85" y="7"/>
                    <a:pt x="84" y="6"/>
                  </a:cubicBezTo>
                  <a:cubicBezTo>
                    <a:pt x="83" y="4"/>
                    <a:pt x="82" y="3"/>
                    <a:pt x="80" y="4"/>
                  </a:cubicBezTo>
                  <a:cubicBezTo>
                    <a:pt x="78" y="5"/>
                    <a:pt x="76" y="5"/>
                    <a:pt x="75" y="6"/>
                  </a:cubicBezTo>
                  <a:cubicBezTo>
                    <a:pt x="74" y="7"/>
                    <a:pt x="74" y="8"/>
                    <a:pt x="74" y="8"/>
                  </a:cubicBezTo>
                  <a:cubicBezTo>
                    <a:pt x="73" y="10"/>
                    <a:pt x="73" y="10"/>
                    <a:pt x="71" y="11"/>
                  </a:cubicBezTo>
                  <a:cubicBezTo>
                    <a:pt x="69" y="12"/>
                    <a:pt x="65" y="12"/>
                    <a:pt x="63" y="11"/>
                  </a:cubicBezTo>
                  <a:cubicBezTo>
                    <a:pt x="64" y="8"/>
                    <a:pt x="55" y="8"/>
                    <a:pt x="53" y="9"/>
                  </a:cubicBezTo>
                  <a:cubicBezTo>
                    <a:pt x="53" y="11"/>
                    <a:pt x="49" y="12"/>
                    <a:pt x="50" y="14"/>
                  </a:cubicBezTo>
                  <a:cubicBezTo>
                    <a:pt x="48" y="15"/>
                    <a:pt x="48" y="16"/>
                    <a:pt x="47" y="18"/>
                  </a:cubicBezTo>
                  <a:cubicBezTo>
                    <a:pt x="47" y="19"/>
                    <a:pt x="46" y="21"/>
                    <a:pt x="46" y="22"/>
                  </a:cubicBezTo>
                  <a:cubicBezTo>
                    <a:pt x="45" y="23"/>
                    <a:pt x="43" y="20"/>
                    <a:pt x="42" y="20"/>
                  </a:cubicBezTo>
                  <a:cubicBezTo>
                    <a:pt x="42" y="19"/>
                    <a:pt x="41" y="18"/>
                    <a:pt x="41" y="17"/>
                  </a:cubicBezTo>
                  <a:cubicBezTo>
                    <a:pt x="40" y="16"/>
                    <a:pt x="41" y="16"/>
                    <a:pt x="39" y="15"/>
                  </a:cubicBezTo>
                  <a:cubicBezTo>
                    <a:pt x="36" y="13"/>
                    <a:pt x="32" y="16"/>
                    <a:pt x="29" y="17"/>
                  </a:cubicBezTo>
                  <a:cubicBezTo>
                    <a:pt x="27" y="18"/>
                    <a:pt x="25" y="18"/>
                    <a:pt x="23" y="20"/>
                  </a:cubicBezTo>
                  <a:cubicBezTo>
                    <a:pt x="22" y="21"/>
                    <a:pt x="21" y="23"/>
                    <a:pt x="19" y="25"/>
                  </a:cubicBezTo>
                  <a:cubicBezTo>
                    <a:pt x="19" y="26"/>
                    <a:pt x="18" y="27"/>
                    <a:pt x="18" y="28"/>
                  </a:cubicBezTo>
                  <a:cubicBezTo>
                    <a:pt x="18" y="28"/>
                    <a:pt x="18" y="29"/>
                    <a:pt x="18" y="30"/>
                  </a:cubicBezTo>
                  <a:cubicBezTo>
                    <a:pt x="18" y="31"/>
                    <a:pt x="18" y="32"/>
                    <a:pt x="18" y="33"/>
                  </a:cubicBezTo>
                  <a:cubicBezTo>
                    <a:pt x="17" y="34"/>
                    <a:pt x="16" y="34"/>
                    <a:pt x="15" y="35"/>
                  </a:cubicBezTo>
                  <a:cubicBezTo>
                    <a:pt x="14" y="36"/>
                    <a:pt x="13" y="36"/>
                    <a:pt x="12" y="37"/>
                  </a:cubicBezTo>
                  <a:cubicBezTo>
                    <a:pt x="11" y="38"/>
                    <a:pt x="10" y="39"/>
                    <a:pt x="9" y="39"/>
                  </a:cubicBezTo>
                  <a:cubicBezTo>
                    <a:pt x="9" y="39"/>
                    <a:pt x="8" y="38"/>
                    <a:pt x="8" y="38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6"/>
                    <a:pt x="5" y="48"/>
                    <a:pt x="5" y="50"/>
                  </a:cubicBezTo>
                  <a:cubicBezTo>
                    <a:pt x="5" y="51"/>
                    <a:pt x="5" y="53"/>
                    <a:pt x="5" y="54"/>
                  </a:cubicBezTo>
                  <a:cubicBezTo>
                    <a:pt x="5" y="56"/>
                    <a:pt x="5" y="57"/>
                    <a:pt x="5" y="59"/>
                  </a:cubicBezTo>
                  <a:cubicBezTo>
                    <a:pt x="5" y="59"/>
                    <a:pt x="5" y="60"/>
                    <a:pt x="5" y="60"/>
                  </a:cubicBezTo>
                  <a:cubicBezTo>
                    <a:pt x="4" y="61"/>
                    <a:pt x="3" y="61"/>
                    <a:pt x="2" y="62"/>
                  </a:cubicBezTo>
                  <a:cubicBezTo>
                    <a:pt x="0" y="62"/>
                    <a:pt x="1" y="64"/>
                    <a:pt x="0" y="65"/>
                  </a:cubicBezTo>
                  <a:cubicBezTo>
                    <a:pt x="0" y="65"/>
                    <a:pt x="0" y="66"/>
                    <a:pt x="0" y="66"/>
                  </a:cubicBezTo>
                  <a:cubicBezTo>
                    <a:pt x="0" y="67"/>
                    <a:pt x="1" y="68"/>
                    <a:pt x="1" y="69"/>
                  </a:cubicBezTo>
                  <a:cubicBezTo>
                    <a:pt x="1" y="70"/>
                    <a:pt x="2" y="70"/>
                    <a:pt x="2" y="71"/>
                  </a:cubicBezTo>
                  <a:cubicBezTo>
                    <a:pt x="3" y="72"/>
                    <a:pt x="3" y="72"/>
                    <a:pt x="3" y="73"/>
                  </a:cubicBezTo>
                  <a:cubicBezTo>
                    <a:pt x="3" y="73"/>
                    <a:pt x="4" y="74"/>
                    <a:pt x="4" y="75"/>
                  </a:cubicBezTo>
                  <a:cubicBezTo>
                    <a:pt x="4" y="76"/>
                    <a:pt x="3" y="76"/>
                    <a:pt x="2" y="77"/>
                  </a:cubicBezTo>
                  <a:cubicBezTo>
                    <a:pt x="2" y="78"/>
                    <a:pt x="2" y="78"/>
                    <a:pt x="2" y="79"/>
                  </a:cubicBezTo>
                  <a:cubicBezTo>
                    <a:pt x="1" y="80"/>
                    <a:pt x="1" y="81"/>
                    <a:pt x="1" y="81"/>
                  </a:cubicBezTo>
                  <a:cubicBezTo>
                    <a:pt x="0" y="83"/>
                    <a:pt x="1" y="84"/>
                    <a:pt x="1" y="85"/>
                  </a:cubicBezTo>
                  <a:cubicBezTo>
                    <a:pt x="2" y="87"/>
                    <a:pt x="2" y="88"/>
                    <a:pt x="3" y="90"/>
                  </a:cubicBezTo>
                  <a:cubicBezTo>
                    <a:pt x="3" y="91"/>
                    <a:pt x="3" y="92"/>
                    <a:pt x="3" y="94"/>
                  </a:cubicBezTo>
                  <a:cubicBezTo>
                    <a:pt x="3" y="94"/>
                    <a:pt x="3" y="95"/>
                    <a:pt x="3" y="96"/>
                  </a:cubicBezTo>
                  <a:cubicBezTo>
                    <a:pt x="4" y="97"/>
                    <a:pt x="5" y="96"/>
                    <a:pt x="6" y="96"/>
                  </a:cubicBezTo>
                  <a:cubicBezTo>
                    <a:pt x="8" y="96"/>
                    <a:pt x="8" y="98"/>
                    <a:pt x="9" y="99"/>
                  </a:cubicBezTo>
                  <a:cubicBezTo>
                    <a:pt x="10" y="100"/>
                    <a:pt x="11" y="101"/>
                    <a:pt x="12" y="102"/>
                  </a:cubicBezTo>
                  <a:cubicBezTo>
                    <a:pt x="12" y="105"/>
                    <a:pt x="11" y="108"/>
                    <a:pt x="12" y="111"/>
                  </a:cubicBezTo>
                  <a:cubicBezTo>
                    <a:pt x="12" y="111"/>
                    <a:pt x="12" y="112"/>
                    <a:pt x="13" y="112"/>
                  </a:cubicBezTo>
                  <a:cubicBezTo>
                    <a:pt x="13" y="112"/>
                    <a:pt x="14" y="112"/>
                    <a:pt x="15" y="112"/>
                  </a:cubicBezTo>
                  <a:cubicBezTo>
                    <a:pt x="16" y="112"/>
                    <a:pt x="16" y="114"/>
                    <a:pt x="18" y="114"/>
                  </a:cubicBezTo>
                  <a:cubicBezTo>
                    <a:pt x="19" y="115"/>
                    <a:pt x="20" y="113"/>
                    <a:pt x="21" y="113"/>
                  </a:cubicBezTo>
                  <a:cubicBezTo>
                    <a:pt x="23" y="112"/>
                    <a:pt x="25" y="114"/>
                    <a:pt x="26" y="115"/>
                  </a:cubicBezTo>
                  <a:cubicBezTo>
                    <a:pt x="27" y="116"/>
                    <a:pt x="28" y="118"/>
                    <a:pt x="28" y="120"/>
                  </a:cubicBezTo>
                  <a:cubicBezTo>
                    <a:pt x="27" y="121"/>
                    <a:pt x="27" y="121"/>
                    <a:pt x="27" y="122"/>
                  </a:cubicBezTo>
                  <a:cubicBezTo>
                    <a:pt x="27" y="122"/>
                    <a:pt x="27" y="123"/>
                    <a:pt x="27" y="123"/>
                  </a:cubicBezTo>
                  <a:cubicBezTo>
                    <a:pt x="27" y="124"/>
                    <a:pt x="26" y="124"/>
                    <a:pt x="26" y="125"/>
                  </a:cubicBezTo>
                  <a:cubicBezTo>
                    <a:pt x="25" y="125"/>
                    <a:pt x="25" y="126"/>
                    <a:pt x="25" y="126"/>
                  </a:cubicBezTo>
                  <a:cubicBezTo>
                    <a:pt x="27" y="125"/>
                    <a:pt x="29" y="123"/>
                    <a:pt x="31" y="121"/>
                  </a:cubicBezTo>
                  <a:cubicBezTo>
                    <a:pt x="32" y="120"/>
                    <a:pt x="34" y="119"/>
                    <a:pt x="36" y="119"/>
                  </a:cubicBezTo>
                  <a:cubicBezTo>
                    <a:pt x="37" y="118"/>
                    <a:pt x="39" y="117"/>
                    <a:pt x="40" y="116"/>
                  </a:cubicBezTo>
                  <a:cubicBezTo>
                    <a:pt x="42" y="116"/>
                    <a:pt x="44" y="116"/>
                    <a:pt x="45" y="116"/>
                  </a:cubicBezTo>
                  <a:cubicBezTo>
                    <a:pt x="47" y="116"/>
                    <a:pt x="48" y="116"/>
                    <a:pt x="50" y="116"/>
                  </a:cubicBezTo>
                  <a:cubicBezTo>
                    <a:pt x="52" y="116"/>
                    <a:pt x="53" y="117"/>
                    <a:pt x="55" y="117"/>
                  </a:cubicBezTo>
                  <a:cubicBezTo>
                    <a:pt x="56" y="117"/>
                    <a:pt x="57" y="117"/>
                    <a:pt x="57" y="117"/>
                  </a:cubicBezTo>
                  <a:cubicBezTo>
                    <a:pt x="58" y="116"/>
                    <a:pt x="57" y="116"/>
                    <a:pt x="58" y="115"/>
                  </a:cubicBezTo>
                  <a:cubicBezTo>
                    <a:pt x="58" y="115"/>
                    <a:pt x="59" y="115"/>
                    <a:pt x="59" y="115"/>
                  </a:cubicBezTo>
                  <a:cubicBezTo>
                    <a:pt x="60" y="115"/>
                    <a:pt x="61" y="116"/>
                    <a:pt x="62" y="115"/>
                  </a:cubicBezTo>
                  <a:cubicBezTo>
                    <a:pt x="63" y="115"/>
                    <a:pt x="65" y="115"/>
                    <a:pt x="66" y="115"/>
                  </a:cubicBezTo>
                  <a:cubicBezTo>
                    <a:pt x="67" y="115"/>
                    <a:pt x="69" y="114"/>
                    <a:pt x="70" y="113"/>
                  </a:cubicBezTo>
                  <a:cubicBezTo>
                    <a:pt x="71" y="113"/>
                    <a:pt x="72" y="111"/>
                    <a:pt x="73" y="111"/>
                  </a:cubicBezTo>
                  <a:cubicBezTo>
                    <a:pt x="73" y="110"/>
                    <a:pt x="73" y="109"/>
                    <a:pt x="74" y="108"/>
                  </a:cubicBezTo>
                  <a:cubicBezTo>
                    <a:pt x="75" y="106"/>
                    <a:pt x="78" y="105"/>
                    <a:pt x="79" y="103"/>
                  </a:cubicBezTo>
                  <a:cubicBezTo>
                    <a:pt x="80" y="102"/>
                    <a:pt x="81" y="101"/>
                    <a:pt x="82" y="100"/>
                  </a:cubicBezTo>
                  <a:cubicBezTo>
                    <a:pt x="83" y="98"/>
                    <a:pt x="85" y="96"/>
                    <a:pt x="87" y="96"/>
                  </a:cubicBezTo>
                  <a:cubicBezTo>
                    <a:pt x="87" y="96"/>
                    <a:pt x="88" y="96"/>
                    <a:pt x="89" y="97"/>
                  </a:cubicBezTo>
                  <a:cubicBezTo>
                    <a:pt x="90" y="97"/>
                    <a:pt x="92" y="98"/>
                    <a:pt x="93" y="98"/>
                  </a:cubicBezTo>
                  <a:cubicBezTo>
                    <a:pt x="94" y="98"/>
                    <a:pt x="95" y="97"/>
                    <a:pt x="95" y="97"/>
                  </a:cubicBezTo>
                  <a:cubicBezTo>
                    <a:pt x="96" y="96"/>
                    <a:pt x="97" y="96"/>
                    <a:pt x="98" y="96"/>
                  </a:cubicBezTo>
                  <a:cubicBezTo>
                    <a:pt x="99" y="97"/>
                    <a:pt x="101" y="97"/>
                    <a:pt x="102" y="98"/>
                  </a:cubicBezTo>
                  <a:cubicBezTo>
                    <a:pt x="103" y="98"/>
                    <a:pt x="103" y="98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7" y="98"/>
                    <a:pt x="109" y="98"/>
                    <a:pt x="111" y="98"/>
                  </a:cubicBezTo>
                  <a:cubicBezTo>
                    <a:pt x="112" y="98"/>
                    <a:pt x="113" y="99"/>
                    <a:pt x="115" y="99"/>
                  </a:cubicBezTo>
                  <a:cubicBezTo>
                    <a:pt x="116" y="99"/>
                    <a:pt x="117" y="99"/>
                    <a:pt x="118" y="99"/>
                  </a:cubicBezTo>
                  <a:cubicBezTo>
                    <a:pt x="118" y="98"/>
                    <a:pt x="121" y="96"/>
                    <a:pt x="122" y="96"/>
                  </a:cubicBezTo>
                  <a:cubicBezTo>
                    <a:pt x="123" y="97"/>
                    <a:pt x="123" y="99"/>
                    <a:pt x="124" y="99"/>
                  </a:cubicBezTo>
                  <a:cubicBezTo>
                    <a:pt x="125" y="98"/>
                    <a:pt x="125" y="97"/>
                    <a:pt x="125" y="96"/>
                  </a:cubicBezTo>
                  <a:cubicBezTo>
                    <a:pt x="125" y="94"/>
                    <a:pt x="125" y="93"/>
                    <a:pt x="126" y="91"/>
                  </a:cubicBezTo>
                  <a:cubicBezTo>
                    <a:pt x="126" y="90"/>
                    <a:pt x="126" y="90"/>
                    <a:pt x="126" y="89"/>
                  </a:cubicBezTo>
                  <a:cubicBezTo>
                    <a:pt x="126" y="89"/>
                    <a:pt x="126" y="89"/>
                    <a:pt x="127" y="88"/>
                  </a:cubicBezTo>
                  <a:cubicBezTo>
                    <a:pt x="127" y="88"/>
                    <a:pt x="126" y="86"/>
                    <a:pt x="127" y="86"/>
                  </a:cubicBezTo>
                  <a:cubicBezTo>
                    <a:pt x="127" y="84"/>
                    <a:pt x="129" y="85"/>
                    <a:pt x="130" y="85"/>
                  </a:cubicBezTo>
                  <a:cubicBezTo>
                    <a:pt x="131" y="85"/>
                    <a:pt x="132" y="83"/>
                    <a:pt x="133" y="83"/>
                  </a:cubicBezTo>
                  <a:cubicBezTo>
                    <a:pt x="134" y="82"/>
                    <a:pt x="134" y="82"/>
                    <a:pt x="135" y="81"/>
                  </a:cubicBezTo>
                  <a:cubicBezTo>
                    <a:pt x="136" y="81"/>
                    <a:pt x="137" y="81"/>
                    <a:pt x="137" y="80"/>
                  </a:cubicBezTo>
                  <a:cubicBezTo>
                    <a:pt x="138" y="80"/>
                    <a:pt x="138" y="79"/>
                    <a:pt x="138" y="78"/>
                  </a:cubicBezTo>
                  <a:cubicBezTo>
                    <a:pt x="138" y="74"/>
                    <a:pt x="139" y="71"/>
                    <a:pt x="139" y="67"/>
                  </a:cubicBezTo>
                  <a:cubicBezTo>
                    <a:pt x="139" y="66"/>
                    <a:pt x="139" y="65"/>
                    <a:pt x="139" y="65"/>
                  </a:cubicBezTo>
                  <a:cubicBezTo>
                    <a:pt x="138" y="63"/>
                    <a:pt x="137" y="61"/>
                    <a:pt x="137" y="60"/>
                  </a:cubicBezTo>
                  <a:cubicBezTo>
                    <a:pt x="137" y="58"/>
                    <a:pt x="139" y="57"/>
                    <a:pt x="140" y="56"/>
                  </a:cubicBezTo>
                  <a:cubicBezTo>
                    <a:pt x="141" y="55"/>
                    <a:pt x="142" y="55"/>
                    <a:pt x="142" y="54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3"/>
                    <a:pt x="143" y="53"/>
                    <a:pt x="143" y="5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3" name="Freeform 33">
              <a:extLst>
                <a:ext uri="{FF2B5EF4-FFF2-40B4-BE49-F238E27FC236}">
                  <a16:creationId xmlns:a16="http://schemas.microsoft.com/office/drawing/2014/main" id="{5D119BFA-11A1-4428-9460-B934D58B6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5313" y="5438775"/>
              <a:ext cx="666750" cy="452438"/>
            </a:xfrm>
            <a:custGeom>
              <a:avLst/>
              <a:gdLst/>
              <a:ahLst/>
              <a:cxnLst>
                <a:cxn ang="0">
                  <a:pos x="357" y="62"/>
                </a:cxn>
                <a:cxn ang="0">
                  <a:pos x="346" y="45"/>
                </a:cxn>
                <a:cxn ang="0">
                  <a:pos x="318" y="38"/>
                </a:cxn>
                <a:cxn ang="0">
                  <a:pos x="312" y="26"/>
                </a:cxn>
                <a:cxn ang="0">
                  <a:pos x="298" y="24"/>
                </a:cxn>
                <a:cxn ang="0">
                  <a:pos x="287" y="21"/>
                </a:cxn>
                <a:cxn ang="0">
                  <a:pos x="272" y="13"/>
                </a:cxn>
                <a:cxn ang="0">
                  <a:pos x="241" y="16"/>
                </a:cxn>
                <a:cxn ang="0">
                  <a:pos x="206" y="25"/>
                </a:cxn>
                <a:cxn ang="0">
                  <a:pos x="190" y="41"/>
                </a:cxn>
                <a:cxn ang="0">
                  <a:pos x="173" y="50"/>
                </a:cxn>
                <a:cxn ang="0">
                  <a:pos x="147" y="44"/>
                </a:cxn>
                <a:cxn ang="0">
                  <a:pos x="111" y="44"/>
                </a:cxn>
                <a:cxn ang="0">
                  <a:pos x="79" y="36"/>
                </a:cxn>
                <a:cxn ang="0">
                  <a:pos x="38" y="33"/>
                </a:cxn>
                <a:cxn ang="0">
                  <a:pos x="31" y="15"/>
                </a:cxn>
                <a:cxn ang="0">
                  <a:pos x="16" y="9"/>
                </a:cxn>
                <a:cxn ang="0">
                  <a:pos x="5" y="21"/>
                </a:cxn>
                <a:cxn ang="0">
                  <a:pos x="4" y="44"/>
                </a:cxn>
                <a:cxn ang="0">
                  <a:pos x="7" y="52"/>
                </a:cxn>
                <a:cxn ang="0">
                  <a:pos x="8" y="62"/>
                </a:cxn>
                <a:cxn ang="0">
                  <a:pos x="22" y="72"/>
                </a:cxn>
                <a:cxn ang="0">
                  <a:pos x="31" y="84"/>
                </a:cxn>
                <a:cxn ang="0">
                  <a:pos x="16" y="105"/>
                </a:cxn>
                <a:cxn ang="0">
                  <a:pos x="1" y="108"/>
                </a:cxn>
                <a:cxn ang="0">
                  <a:pos x="1" y="131"/>
                </a:cxn>
                <a:cxn ang="0">
                  <a:pos x="9" y="147"/>
                </a:cxn>
                <a:cxn ang="0">
                  <a:pos x="4" y="163"/>
                </a:cxn>
                <a:cxn ang="0">
                  <a:pos x="7" y="167"/>
                </a:cxn>
                <a:cxn ang="0">
                  <a:pos x="21" y="174"/>
                </a:cxn>
                <a:cxn ang="0">
                  <a:pos x="25" y="183"/>
                </a:cxn>
                <a:cxn ang="0">
                  <a:pos x="28" y="195"/>
                </a:cxn>
                <a:cxn ang="0">
                  <a:pos x="26" y="206"/>
                </a:cxn>
                <a:cxn ang="0">
                  <a:pos x="27" y="226"/>
                </a:cxn>
                <a:cxn ang="0">
                  <a:pos x="49" y="230"/>
                </a:cxn>
                <a:cxn ang="0">
                  <a:pos x="76" y="226"/>
                </a:cxn>
                <a:cxn ang="0">
                  <a:pos x="91" y="216"/>
                </a:cxn>
                <a:cxn ang="0">
                  <a:pos x="105" y="216"/>
                </a:cxn>
                <a:cxn ang="0">
                  <a:pos x="116" y="223"/>
                </a:cxn>
                <a:cxn ang="0">
                  <a:pos x="129" y="235"/>
                </a:cxn>
                <a:cxn ang="0">
                  <a:pos x="146" y="237"/>
                </a:cxn>
                <a:cxn ang="0">
                  <a:pos x="162" y="242"/>
                </a:cxn>
                <a:cxn ang="0">
                  <a:pos x="189" y="238"/>
                </a:cxn>
                <a:cxn ang="0">
                  <a:pos x="206" y="227"/>
                </a:cxn>
                <a:cxn ang="0">
                  <a:pos x="209" y="205"/>
                </a:cxn>
                <a:cxn ang="0">
                  <a:pos x="230" y="198"/>
                </a:cxn>
                <a:cxn ang="0">
                  <a:pos x="238" y="189"/>
                </a:cxn>
                <a:cxn ang="0">
                  <a:pos x="266" y="179"/>
                </a:cxn>
                <a:cxn ang="0">
                  <a:pos x="286" y="191"/>
                </a:cxn>
                <a:cxn ang="0">
                  <a:pos x="310" y="189"/>
                </a:cxn>
                <a:cxn ang="0">
                  <a:pos x="302" y="169"/>
                </a:cxn>
                <a:cxn ang="0">
                  <a:pos x="301" y="156"/>
                </a:cxn>
                <a:cxn ang="0">
                  <a:pos x="284" y="148"/>
                </a:cxn>
                <a:cxn ang="0">
                  <a:pos x="292" y="140"/>
                </a:cxn>
                <a:cxn ang="0">
                  <a:pos x="299" y="132"/>
                </a:cxn>
                <a:cxn ang="0">
                  <a:pos x="313" y="121"/>
                </a:cxn>
                <a:cxn ang="0">
                  <a:pos x="310" y="108"/>
                </a:cxn>
                <a:cxn ang="0">
                  <a:pos x="314" y="90"/>
                </a:cxn>
                <a:cxn ang="0">
                  <a:pos x="320" y="76"/>
                </a:cxn>
                <a:cxn ang="0">
                  <a:pos x="339" y="74"/>
                </a:cxn>
                <a:cxn ang="0">
                  <a:pos x="356" y="69"/>
                </a:cxn>
              </a:cxnLst>
              <a:rect l="0" t="0" r="r" b="b"/>
              <a:pathLst>
                <a:path w="357" h="242">
                  <a:moveTo>
                    <a:pt x="345" y="45"/>
                  </a:moveTo>
                  <a:cubicBezTo>
                    <a:pt x="345" y="45"/>
                    <a:pt x="346" y="45"/>
                    <a:pt x="346" y="45"/>
                  </a:cubicBezTo>
                  <a:cubicBezTo>
                    <a:pt x="346" y="45"/>
                    <a:pt x="347" y="45"/>
                    <a:pt x="347" y="45"/>
                  </a:cubicBezTo>
                  <a:lnTo>
                    <a:pt x="345" y="45"/>
                  </a:lnTo>
                  <a:close/>
                  <a:moveTo>
                    <a:pt x="357" y="62"/>
                  </a:moveTo>
                  <a:cubicBezTo>
                    <a:pt x="357" y="62"/>
                    <a:pt x="357" y="61"/>
                    <a:pt x="356" y="60"/>
                  </a:cubicBezTo>
                  <a:cubicBezTo>
                    <a:pt x="356" y="59"/>
                    <a:pt x="354" y="59"/>
                    <a:pt x="354" y="58"/>
                  </a:cubicBezTo>
                  <a:cubicBezTo>
                    <a:pt x="353" y="57"/>
                    <a:pt x="353" y="54"/>
                    <a:pt x="352" y="53"/>
                  </a:cubicBezTo>
                  <a:cubicBezTo>
                    <a:pt x="351" y="51"/>
                    <a:pt x="350" y="50"/>
                    <a:pt x="350" y="48"/>
                  </a:cubicBezTo>
                  <a:cubicBezTo>
                    <a:pt x="349" y="48"/>
                    <a:pt x="347" y="46"/>
                    <a:pt x="346" y="45"/>
                  </a:cubicBezTo>
                  <a:cubicBezTo>
                    <a:pt x="343" y="45"/>
                    <a:pt x="339" y="45"/>
                    <a:pt x="336" y="45"/>
                  </a:cubicBezTo>
                  <a:cubicBezTo>
                    <a:pt x="333" y="44"/>
                    <a:pt x="331" y="43"/>
                    <a:pt x="329" y="43"/>
                  </a:cubicBezTo>
                  <a:cubicBezTo>
                    <a:pt x="326" y="42"/>
                    <a:pt x="323" y="42"/>
                    <a:pt x="321" y="41"/>
                  </a:cubicBezTo>
                  <a:cubicBezTo>
                    <a:pt x="320" y="41"/>
                    <a:pt x="319" y="40"/>
                    <a:pt x="319" y="39"/>
                  </a:cubicBezTo>
                  <a:cubicBezTo>
                    <a:pt x="318" y="39"/>
                    <a:pt x="319" y="38"/>
                    <a:pt x="318" y="38"/>
                  </a:cubicBezTo>
                  <a:cubicBezTo>
                    <a:pt x="318" y="36"/>
                    <a:pt x="317" y="36"/>
                    <a:pt x="316" y="35"/>
                  </a:cubicBezTo>
                  <a:cubicBezTo>
                    <a:pt x="316" y="35"/>
                    <a:pt x="316" y="34"/>
                    <a:pt x="316" y="34"/>
                  </a:cubicBezTo>
                  <a:cubicBezTo>
                    <a:pt x="315" y="34"/>
                    <a:pt x="315" y="34"/>
                    <a:pt x="314" y="33"/>
                  </a:cubicBezTo>
                  <a:cubicBezTo>
                    <a:pt x="313" y="32"/>
                    <a:pt x="314" y="31"/>
                    <a:pt x="313" y="30"/>
                  </a:cubicBezTo>
                  <a:cubicBezTo>
                    <a:pt x="313" y="28"/>
                    <a:pt x="313" y="28"/>
                    <a:pt x="312" y="26"/>
                  </a:cubicBezTo>
                  <a:cubicBezTo>
                    <a:pt x="311" y="26"/>
                    <a:pt x="311" y="25"/>
                    <a:pt x="311" y="25"/>
                  </a:cubicBezTo>
                  <a:cubicBezTo>
                    <a:pt x="311" y="24"/>
                    <a:pt x="311" y="24"/>
                    <a:pt x="311" y="23"/>
                  </a:cubicBezTo>
                  <a:cubicBezTo>
                    <a:pt x="310" y="21"/>
                    <a:pt x="305" y="25"/>
                    <a:pt x="304" y="26"/>
                  </a:cubicBezTo>
                  <a:cubicBezTo>
                    <a:pt x="303" y="26"/>
                    <a:pt x="301" y="26"/>
                    <a:pt x="300" y="26"/>
                  </a:cubicBezTo>
                  <a:cubicBezTo>
                    <a:pt x="300" y="26"/>
                    <a:pt x="299" y="24"/>
                    <a:pt x="298" y="24"/>
                  </a:cubicBezTo>
                  <a:cubicBezTo>
                    <a:pt x="298" y="23"/>
                    <a:pt x="297" y="23"/>
                    <a:pt x="297" y="22"/>
                  </a:cubicBezTo>
                  <a:cubicBezTo>
                    <a:pt x="296" y="20"/>
                    <a:pt x="297" y="20"/>
                    <a:pt x="294" y="20"/>
                  </a:cubicBezTo>
                  <a:cubicBezTo>
                    <a:pt x="293" y="20"/>
                    <a:pt x="292" y="20"/>
                    <a:pt x="291" y="20"/>
                  </a:cubicBezTo>
                  <a:cubicBezTo>
                    <a:pt x="291" y="20"/>
                    <a:pt x="289" y="21"/>
                    <a:pt x="289" y="21"/>
                  </a:cubicBezTo>
                  <a:cubicBezTo>
                    <a:pt x="288" y="21"/>
                    <a:pt x="288" y="21"/>
                    <a:pt x="287" y="21"/>
                  </a:cubicBezTo>
                  <a:cubicBezTo>
                    <a:pt x="286" y="20"/>
                    <a:pt x="284" y="19"/>
                    <a:pt x="283" y="19"/>
                  </a:cubicBezTo>
                  <a:cubicBezTo>
                    <a:pt x="282" y="19"/>
                    <a:pt x="280" y="19"/>
                    <a:pt x="280" y="19"/>
                  </a:cubicBezTo>
                  <a:cubicBezTo>
                    <a:pt x="279" y="19"/>
                    <a:pt x="278" y="18"/>
                    <a:pt x="277" y="18"/>
                  </a:cubicBezTo>
                  <a:cubicBezTo>
                    <a:pt x="276" y="17"/>
                    <a:pt x="275" y="17"/>
                    <a:pt x="274" y="16"/>
                  </a:cubicBezTo>
                  <a:cubicBezTo>
                    <a:pt x="273" y="15"/>
                    <a:pt x="273" y="14"/>
                    <a:pt x="272" y="13"/>
                  </a:cubicBezTo>
                  <a:cubicBezTo>
                    <a:pt x="270" y="12"/>
                    <a:pt x="268" y="11"/>
                    <a:pt x="267" y="11"/>
                  </a:cubicBezTo>
                  <a:cubicBezTo>
                    <a:pt x="266" y="10"/>
                    <a:pt x="264" y="9"/>
                    <a:pt x="263" y="9"/>
                  </a:cubicBezTo>
                  <a:cubicBezTo>
                    <a:pt x="260" y="8"/>
                    <a:pt x="258" y="10"/>
                    <a:pt x="256" y="11"/>
                  </a:cubicBezTo>
                  <a:cubicBezTo>
                    <a:pt x="253" y="13"/>
                    <a:pt x="251" y="14"/>
                    <a:pt x="248" y="15"/>
                  </a:cubicBezTo>
                  <a:cubicBezTo>
                    <a:pt x="246" y="16"/>
                    <a:pt x="244" y="16"/>
                    <a:pt x="241" y="16"/>
                  </a:cubicBezTo>
                  <a:cubicBezTo>
                    <a:pt x="239" y="16"/>
                    <a:pt x="236" y="16"/>
                    <a:pt x="234" y="16"/>
                  </a:cubicBezTo>
                  <a:cubicBezTo>
                    <a:pt x="231" y="16"/>
                    <a:pt x="228" y="18"/>
                    <a:pt x="225" y="19"/>
                  </a:cubicBezTo>
                  <a:cubicBezTo>
                    <a:pt x="224" y="20"/>
                    <a:pt x="223" y="20"/>
                    <a:pt x="221" y="21"/>
                  </a:cubicBezTo>
                  <a:cubicBezTo>
                    <a:pt x="218" y="21"/>
                    <a:pt x="216" y="21"/>
                    <a:pt x="214" y="22"/>
                  </a:cubicBezTo>
                  <a:cubicBezTo>
                    <a:pt x="211" y="23"/>
                    <a:pt x="208" y="23"/>
                    <a:pt x="206" y="25"/>
                  </a:cubicBezTo>
                  <a:cubicBezTo>
                    <a:pt x="205" y="25"/>
                    <a:pt x="204" y="26"/>
                    <a:pt x="203" y="27"/>
                  </a:cubicBezTo>
                  <a:cubicBezTo>
                    <a:pt x="201" y="28"/>
                    <a:pt x="199" y="29"/>
                    <a:pt x="198" y="30"/>
                  </a:cubicBezTo>
                  <a:cubicBezTo>
                    <a:pt x="198" y="31"/>
                    <a:pt x="198" y="32"/>
                    <a:pt x="198" y="33"/>
                  </a:cubicBezTo>
                  <a:cubicBezTo>
                    <a:pt x="198" y="35"/>
                    <a:pt x="197" y="36"/>
                    <a:pt x="195" y="37"/>
                  </a:cubicBezTo>
                  <a:cubicBezTo>
                    <a:pt x="194" y="38"/>
                    <a:pt x="191" y="39"/>
                    <a:pt x="190" y="41"/>
                  </a:cubicBezTo>
                  <a:cubicBezTo>
                    <a:pt x="190" y="42"/>
                    <a:pt x="191" y="43"/>
                    <a:pt x="190" y="44"/>
                  </a:cubicBezTo>
                  <a:cubicBezTo>
                    <a:pt x="189" y="46"/>
                    <a:pt x="187" y="45"/>
                    <a:pt x="185" y="45"/>
                  </a:cubicBezTo>
                  <a:cubicBezTo>
                    <a:pt x="183" y="45"/>
                    <a:pt x="182" y="45"/>
                    <a:pt x="180" y="47"/>
                  </a:cubicBezTo>
                  <a:cubicBezTo>
                    <a:pt x="179" y="48"/>
                    <a:pt x="178" y="48"/>
                    <a:pt x="176" y="49"/>
                  </a:cubicBezTo>
                  <a:cubicBezTo>
                    <a:pt x="175" y="50"/>
                    <a:pt x="175" y="50"/>
                    <a:pt x="173" y="50"/>
                  </a:cubicBezTo>
                  <a:cubicBezTo>
                    <a:pt x="171" y="50"/>
                    <a:pt x="168" y="48"/>
                    <a:pt x="165" y="48"/>
                  </a:cubicBezTo>
                  <a:cubicBezTo>
                    <a:pt x="165" y="48"/>
                    <a:pt x="165" y="48"/>
                    <a:pt x="164" y="48"/>
                  </a:cubicBezTo>
                  <a:cubicBezTo>
                    <a:pt x="163" y="48"/>
                    <a:pt x="162" y="47"/>
                    <a:pt x="161" y="47"/>
                  </a:cubicBezTo>
                  <a:cubicBezTo>
                    <a:pt x="159" y="46"/>
                    <a:pt x="156" y="45"/>
                    <a:pt x="153" y="44"/>
                  </a:cubicBezTo>
                  <a:cubicBezTo>
                    <a:pt x="151" y="44"/>
                    <a:pt x="149" y="44"/>
                    <a:pt x="147" y="44"/>
                  </a:cubicBezTo>
                  <a:cubicBezTo>
                    <a:pt x="145" y="44"/>
                    <a:pt x="143" y="41"/>
                    <a:pt x="141" y="40"/>
                  </a:cubicBezTo>
                  <a:cubicBezTo>
                    <a:pt x="138" y="39"/>
                    <a:pt x="138" y="40"/>
                    <a:pt x="136" y="41"/>
                  </a:cubicBezTo>
                  <a:cubicBezTo>
                    <a:pt x="134" y="42"/>
                    <a:pt x="132" y="42"/>
                    <a:pt x="130" y="42"/>
                  </a:cubicBezTo>
                  <a:cubicBezTo>
                    <a:pt x="126" y="41"/>
                    <a:pt x="122" y="40"/>
                    <a:pt x="118" y="41"/>
                  </a:cubicBezTo>
                  <a:cubicBezTo>
                    <a:pt x="115" y="41"/>
                    <a:pt x="113" y="43"/>
                    <a:pt x="111" y="44"/>
                  </a:cubicBezTo>
                  <a:cubicBezTo>
                    <a:pt x="109" y="45"/>
                    <a:pt x="105" y="45"/>
                    <a:pt x="103" y="45"/>
                  </a:cubicBezTo>
                  <a:cubicBezTo>
                    <a:pt x="99" y="44"/>
                    <a:pt x="97" y="40"/>
                    <a:pt x="93" y="40"/>
                  </a:cubicBezTo>
                  <a:cubicBezTo>
                    <a:pt x="92" y="40"/>
                    <a:pt x="92" y="41"/>
                    <a:pt x="91" y="41"/>
                  </a:cubicBezTo>
                  <a:cubicBezTo>
                    <a:pt x="90" y="41"/>
                    <a:pt x="88" y="40"/>
                    <a:pt x="87" y="39"/>
                  </a:cubicBezTo>
                  <a:cubicBezTo>
                    <a:pt x="84" y="38"/>
                    <a:pt x="82" y="37"/>
                    <a:pt x="79" y="36"/>
                  </a:cubicBezTo>
                  <a:cubicBezTo>
                    <a:pt x="78" y="35"/>
                    <a:pt x="76" y="35"/>
                    <a:pt x="75" y="35"/>
                  </a:cubicBezTo>
                  <a:cubicBezTo>
                    <a:pt x="73" y="34"/>
                    <a:pt x="72" y="33"/>
                    <a:pt x="70" y="33"/>
                  </a:cubicBezTo>
                  <a:cubicBezTo>
                    <a:pt x="67" y="31"/>
                    <a:pt x="64" y="31"/>
                    <a:pt x="61" y="31"/>
                  </a:cubicBezTo>
                  <a:cubicBezTo>
                    <a:pt x="56" y="31"/>
                    <a:pt x="52" y="30"/>
                    <a:pt x="47" y="30"/>
                  </a:cubicBezTo>
                  <a:cubicBezTo>
                    <a:pt x="43" y="30"/>
                    <a:pt x="41" y="34"/>
                    <a:pt x="38" y="33"/>
                  </a:cubicBezTo>
                  <a:cubicBezTo>
                    <a:pt x="36" y="33"/>
                    <a:pt x="35" y="32"/>
                    <a:pt x="33" y="32"/>
                  </a:cubicBezTo>
                  <a:cubicBezTo>
                    <a:pt x="31" y="32"/>
                    <a:pt x="30" y="32"/>
                    <a:pt x="28" y="31"/>
                  </a:cubicBezTo>
                  <a:cubicBezTo>
                    <a:pt x="26" y="29"/>
                    <a:pt x="26" y="24"/>
                    <a:pt x="26" y="22"/>
                  </a:cubicBezTo>
                  <a:cubicBezTo>
                    <a:pt x="26" y="21"/>
                    <a:pt x="26" y="18"/>
                    <a:pt x="27" y="18"/>
                  </a:cubicBezTo>
                  <a:cubicBezTo>
                    <a:pt x="28" y="17"/>
                    <a:pt x="30" y="16"/>
                    <a:pt x="31" y="15"/>
                  </a:cubicBezTo>
                  <a:cubicBezTo>
                    <a:pt x="33" y="14"/>
                    <a:pt x="36" y="13"/>
                    <a:pt x="35" y="10"/>
                  </a:cubicBezTo>
                  <a:cubicBezTo>
                    <a:pt x="34" y="7"/>
                    <a:pt x="29" y="6"/>
                    <a:pt x="26" y="4"/>
                  </a:cubicBezTo>
                  <a:cubicBezTo>
                    <a:pt x="25" y="3"/>
                    <a:pt x="24" y="2"/>
                    <a:pt x="22" y="1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6" y="3"/>
                    <a:pt x="16" y="6"/>
                    <a:pt x="16" y="9"/>
                  </a:cubicBezTo>
                  <a:cubicBezTo>
                    <a:pt x="16" y="10"/>
                    <a:pt x="16" y="11"/>
                    <a:pt x="15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2"/>
                    <a:pt x="10" y="12"/>
                    <a:pt x="10" y="13"/>
                  </a:cubicBezTo>
                  <a:cubicBezTo>
                    <a:pt x="8" y="14"/>
                    <a:pt x="8" y="17"/>
                    <a:pt x="6" y="19"/>
                  </a:cubicBezTo>
                  <a:cubicBezTo>
                    <a:pt x="6" y="20"/>
                    <a:pt x="5" y="20"/>
                    <a:pt x="5" y="21"/>
                  </a:cubicBezTo>
                  <a:cubicBezTo>
                    <a:pt x="5" y="22"/>
                    <a:pt x="5" y="22"/>
                    <a:pt x="5" y="23"/>
                  </a:cubicBezTo>
                  <a:cubicBezTo>
                    <a:pt x="4" y="25"/>
                    <a:pt x="3" y="25"/>
                    <a:pt x="2" y="26"/>
                  </a:cubicBezTo>
                  <a:cubicBezTo>
                    <a:pt x="2" y="27"/>
                    <a:pt x="1" y="28"/>
                    <a:pt x="1" y="30"/>
                  </a:cubicBezTo>
                  <a:cubicBezTo>
                    <a:pt x="1" y="32"/>
                    <a:pt x="1" y="37"/>
                    <a:pt x="1" y="39"/>
                  </a:cubicBezTo>
                  <a:cubicBezTo>
                    <a:pt x="2" y="41"/>
                    <a:pt x="3" y="43"/>
                    <a:pt x="4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5" y="45"/>
                    <a:pt x="5" y="45"/>
                    <a:pt x="5" y="46"/>
                  </a:cubicBezTo>
                  <a:cubicBezTo>
                    <a:pt x="6" y="46"/>
                    <a:pt x="5" y="48"/>
                    <a:pt x="6" y="49"/>
                  </a:cubicBezTo>
                  <a:cubicBezTo>
                    <a:pt x="6" y="50"/>
                    <a:pt x="6" y="49"/>
                    <a:pt x="7" y="50"/>
                  </a:cubicBezTo>
                  <a:cubicBezTo>
                    <a:pt x="7" y="50"/>
                    <a:pt x="7" y="51"/>
                    <a:pt x="7" y="52"/>
                  </a:cubicBezTo>
                  <a:cubicBezTo>
                    <a:pt x="7" y="53"/>
                    <a:pt x="8" y="54"/>
                    <a:pt x="8" y="54"/>
                  </a:cubicBezTo>
                  <a:cubicBezTo>
                    <a:pt x="8" y="55"/>
                    <a:pt x="9" y="56"/>
                    <a:pt x="9" y="56"/>
                  </a:cubicBezTo>
                  <a:cubicBezTo>
                    <a:pt x="10" y="57"/>
                    <a:pt x="10" y="57"/>
                    <a:pt x="11" y="58"/>
                  </a:cubicBezTo>
                  <a:cubicBezTo>
                    <a:pt x="12" y="60"/>
                    <a:pt x="13" y="61"/>
                    <a:pt x="14" y="63"/>
                  </a:cubicBezTo>
                  <a:cubicBezTo>
                    <a:pt x="12" y="64"/>
                    <a:pt x="10" y="62"/>
                    <a:pt x="8" y="62"/>
                  </a:cubicBezTo>
                  <a:cubicBezTo>
                    <a:pt x="7" y="62"/>
                    <a:pt x="7" y="65"/>
                    <a:pt x="8" y="66"/>
                  </a:cubicBezTo>
                  <a:cubicBezTo>
                    <a:pt x="9" y="66"/>
                    <a:pt x="11" y="66"/>
                    <a:pt x="12" y="66"/>
                  </a:cubicBezTo>
                  <a:cubicBezTo>
                    <a:pt x="14" y="67"/>
                    <a:pt x="16" y="66"/>
                    <a:pt x="17" y="67"/>
                  </a:cubicBezTo>
                  <a:cubicBezTo>
                    <a:pt x="19" y="67"/>
                    <a:pt x="19" y="68"/>
                    <a:pt x="20" y="69"/>
                  </a:cubicBezTo>
                  <a:cubicBezTo>
                    <a:pt x="21" y="70"/>
                    <a:pt x="21" y="71"/>
                    <a:pt x="22" y="72"/>
                  </a:cubicBezTo>
                  <a:cubicBezTo>
                    <a:pt x="23" y="73"/>
                    <a:pt x="24" y="73"/>
                    <a:pt x="24" y="74"/>
                  </a:cubicBezTo>
                  <a:cubicBezTo>
                    <a:pt x="24" y="76"/>
                    <a:pt x="26" y="78"/>
                    <a:pt x="27" y="79"/>
                  </a:cubicBezTo>
                  <a:cubicBezTo>
                    <a:pt x="28" y="80"/>
                    <a:pt x="29" y="81"/>
                    <a:pt x="29" y="82"/>
                  </a:cubicBezTo>
                  <a:cubicBezTo>
                    <a:pt x="29" y="82"/>
                    <a:pt x="30" y="83"/>
                    <a:pt x="30" y="83"/>
                  </a:cubicBezTo>
                  <a:cubicBezTo>
                    <a:pt x="30" y="84"/>
                    <a:pt x="31" y="84"/>
                    <a:pt x="31" y="84"/>
                  </a:cubicBezTo>
                  <a:cubicBezTo>
                    <a:pt x="32" y="87"/>
                    <a:pt x="29" y="89"/>
                    <a:pt x="28" y="90"/>
                  </a:cubicBezTo>
                  <a:cubicBezTo>
                    <a:pt x="27" y="92"/>
                    <a:pt x="24" y="92"/>
                    <a:pt x="22" y="94"/>
                  </a:cubicBezTo>
                  <a:cubicBezTo>
                    <a:pt x="20" y="96"/>
                    <a:pt x="20" y="98"/>
                    <a:pt x="19" y="100"/>
                  </a:cubicBezTo>
                  <a:cubicBezTo>
                    <a:pt x="19" y="101"/>
                    <a:pt x="19" y="103"/>
                    <a:pt x="19" y="103"/>
                  </a:cubicBezTo>
                  <a:cubicBezTo>
                    <a:pt x="18" y="104"/>
                    <a:pt x="16" y="105"/>
                    <a:pt x="16" y="105"/>
                  </a:cubicBezTo>
                  <a:cubicBezTo>
                    <a:pt x="15" y="106"/>
                    <a:pt x="15" y="105"/>
                    <a:pt x="14" y="106"/>
                  </a:cubicBezTo>
                  <a:cubicBezTo>
                    <a:pt x="13" y="106"/>
                    <a:pt x="13" y="106"/>
                    <a:pt x="12" y="107"/>
                  </a:cubicBezTo>
                  <a:cubicBezTo>
                    <a:pt x="11" y="107"/>
                    <a:pt x="11" y="106"/>
                    <a:pt x="10" y="106"/>
                  </a:cubicBezTo>
                  <a:cubicBezTo>
                    <a:pt x="9" y="106"/>
                    <a:pt x="8" y="106"/>
                    <a:pt x="7" y="106"/>
                  </a:cubicBezTo>
                  <a:cubicBezTo>
                    <a:pt x="6" y="106"/>
                    <a:pt x="2" y="107"/>
                    <a:pt x="1" y="108"/>
                  </a:cubicBezTo>
                  <a:cubicBezTo>
                    <a:pt x="1" y="109"/>
                    <a:pt x="1" y="111"/>
                    <a:pt x="1" y="112"/>
                  </a:cubicBezTo>
                  <a:cubicBezTo>
                    <a:pt x="1" y="113"/>
                    <a:pt x="2" y="114"/>
                    <a:pt x="2" y="115"/>
                  </a:cubicBezTo>
                  <a:cubicBezTo>
                    <a:pt x="3" y="117"/>
                    <a:pt x="2" y="119"/>
                    <a:pt x="1" y="121"/>
                  </a:cubicBezTo>
                  <a:cubicBezTo>
                    <a:pt x="1" y="123"/>
                    <a:pt x="0" y="124"/>
                    <a:pt x="0" y="126"/>
                  </a:cubicBezTo>
                  <a:cubicBezTo>
                    <a:pt x="0" y="129"/>
                    <a:pt x="0" y="129"/>
                    <a:pt x="1" y="131"/>
                  </a:cubicBezTo>
                  <a:cubicBezTo>
                    <a:pt x="2" y="132"/>
                    <a:pt x="2" y="132"/>
                    <a:pt x="3" y="133"/>
                  </a:cubicBezTo>
                  <a:cubicBezTo>
                    <a:pt x="4" y="134"/>
                    <a:pt x="4" y="133"/>
                    <a:pt x="4" y="135"/>
                  </a:cubicBezTo>
                  <a:cubicBezTo>
                    <a:pt x="5" y="137"/>
                    <a:pt x="6" y="137"/>
                    <a:pt x="7" y="139"/>
                  </a:cubicBezTo>
                  <a:cubicBezTo>
                    <a:pt x="7" y="140"/>
                    <a:pt x="7" y="142"/>
                    <a:pt x="8" y="143"/>
                  </a:cubicBezTo>
                  <a:cubicBezTo>
                    <a:pt x="9" y="145"/>
                    <a:pt x="9" y="145"/>
                    <a:pt x="9" y="147"/>
                  </a:cubicBezTo>
                  <a:cubicBezTo>
                    <a:pt x="9" y="148"/>
                    <a:pt x="8" y="150"/>
                    <a:pt x="7" y="151"/>
                  </a:cubicBezTo>
                  <a:cubicBezTo>
                    <a:pt x="5" y="152"/>
                    <a:pt x="3" y="153"/>
                    <a:pt x="1" y="153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2" y="159"/>
                    <a:pt x="2" y="160"/>
                    <a:pt x="3" y="161"/>
                  </a:cubicBezTo>
                  <a:cubicBezTo>
                    <a:pt x="3" y="162"/>
                    <a:pt x="3" y="162"/>
                    <a:pt x="4" y="163"/>
                  </a:cubicBezTo>
                  <a:cubicBezTo>
                    <a:pt x="4" y="163"/>
                    <a:pt x="4" y="164"/>
                    <a:pt x="4" y="164"/>
                  </a:cubicBezTo>
                  <a:cubicBezTo>
                    <a:pt x="4" y="164"/>
                    <a:pt x="4" y="164"/>
                    <a:pt x="4" y="165"/>
                  </a:cubicBezTo>
                  <a:cubicBezTo>
                    <a:pt x="4" y="165"/>
                    <a:pt x="4" y="165"/>
                    <a:pt x="4" y="166"/>
                  </a:cubicBezTo>
                  <a:cubicBezTo>
                    <a:pt x="4" y="166"/>
                    <a:pt x="5" y="166"/>
                    <a:pt x="6" y="166"/>
                  </a:cubicBezTo>
                  <a:cubicBezTo>
                    <a:pt x="6" y="166"/>
                    <a:pt x="6" y="167"/>
                    <a:pt x="7" y="167"/>
                  </a:cubicBezTo>
                  <a:cubicBezTo>
                    <a:pt x="7" y="168"/>
                    <a:pt x="7" y="169"/>
                    <a:pt x="8" y="170"/>
                  </a:cubicBezTo>
                  <a:cubicBezTo>
                    <a:pt x="9" y="170"/>
                    <a:pt x="10" y="170"/>
                    <a:pt x="11" y="171"/>
                  </a:cubicBezTo>
                  <a:cubicBezTo>
                    <a:pt x="12" y="171"/>
                    <a:pt x="13" y="170"/>
                    <a:pt x="15" y="171"/>
                  </a:cubicBezTo>
                  <a:cubicBezTo>
                    <a:pt x="16" y="171"/>
                    <a:pt x="17" y="172"/>
                    <a:pt x="18" y="173"/>
                  </a:cubicBezTo>
                  <a:cubicBezTo>
                    <a:pt x="19" y="173"/>
                    <a:pt x="20" y="174"/>
                    <a:pt x="21" y="174"/>
                  </a:cubicBezTo>
                  <a:cubicBezTo>
                    <a:pt x="22" y="174"/>
                    <a:pt x="22" y="174"/>
                    <a:pt x="23" y="175"/>
                  </a:cubicBezTo>
                  <a:cubicBezTo>
                    <a:pt x="23" y="175"/>
                    <a:pt x="23" y="175"/>
                    <a:pt x="23" y="176"/>
                  </a:cubicBezTo>
                  <a:cubicBezTo>
                    <a:pt x="23" y="176"/>
                    <a:pt x="24" y="177"/>
                    <a:pt x="24" y="178"/>
                  </a:cubicBezTo>
                  <a:cubicBezTo>
                    <a:pt x="24" y="179"/>
                    <a:pt x="24" y="180"/>
                    <a:pt x="24" y="181"/>
                  </a:cubicBezTo>
                  <a:cubicBezTo>
                    <a:pt x="24" y="182"/>
                    <a:pt x="25" y="182"/>
                    <a:pt x="25" y="183"/>
                  </a:cubicBezTo>
                  <a:cubicBezTo>
                    <a:pt x="25" y="183"/>
                    <a:pt x="25" y="184"/>
                    <a:pt x="25" y="185"/>
                  </a:cubicBezTo>
                  <a:cubicBezTo>
                    <a:pt x="25" y="186"/>
                    <a:pt x="26" y="186"/>
                    <a:pt x="26" y="187"/>
                  </a:cubicBezTo>
                  <a:cubicBezTo>
                    <a:pt x="26" y="188"/>
                    <a:pt x="26" y="189"/>
                    <a:pt x="26" y="190"/>
                  </a:cubicBezTo>
                  <a:cubicBezTo>
                    <a:pt x="26" y="190"/>
                    <a:pt x="26" y="191"/>
                    <a:pt x="26" y="192"/>
                  </a:cubicBezTo>
                  <a:cubicBezTo>
                    <a:pt x="27" y="193"/>
                    <a:pt x="27" y="194"/>
                    <a:pt x="28" y="195"/>
                  </a:cubicBezTo>
                  <a:cubicBezTo>
                    <a:pt x="29" y="196"/>
                    <a:pt x="32" y="196"/>
                    <a:pt x="32" y="198"/>
                  </a:cubicBezTo>
                  <a:cubicBezTo>
                    <a:pt x="32" y="199"/>
                    <a:pt x="31" y="199"/>
                    <a:pt x="31" y="200"/>
                  </a:cubicBezTo>
                  <a:cubicBezTo>
                    <a:pt x="31" y="200"/>
                    <a:pt x="31" y="200"/>
                    <a:pt x="31" y="200"/>
                  </a:cubicBezTo>
                  <a:cubicBezTo>
                    <a:pt x="31" y="201"/>
                    <a:pt x="30" y="201"/>
                    <a:pt x="29" y="202"/>
                  </a:cubicBezTo>
                  <a:cubicBezTo>
                    <a:pt x="28" y="203"/>
                    <a:pt x="26" y="204"/>
                    <a:pt x="26" y="206"/>
                  </a:cubicBezTo>
                  <a:cubicBezTo>
                    <a:pt x="26" y="207"/>
                    <a:pt x="27" y="209"/>
                    <a:pt x="28" y="211"/>
                  </a:cubicBezTo>
                  <a:cubicBezTo>
                    <a:pt x="28" y="211"/>
                    <a:pt x="28" y="212"/>
                    <a:pt x="28" y="213"/>
                  </a:cubicBezTo>
                  <a:cubicBezTo>
                    <a:pt x="28" y="217"/>
                    <a:pt x="27" y="220"/>
                    <a:pt x="27" y="224"/>
                  </a:cubicBezTo>
                  <a:cubicBezTo>
                    <a:pt x="27" y="225"/>
                    <a:pt x="27" y="225"/>
                    <a:pt x="27" y="226"/>
                  </a:cubicBezTo>
                  <a:cubicBezTo>
                    <a:pt x="27" y="226"/>
                    <a:pt x="27" y="226"/>
                    <a:pt x="27" y="226"/>
                  </a:cubicBezTo>
                  <a:cubicBezTo>
                    <a:pt x="28" y="227"/>
                    <a:pt x="29" y="228"/>
                    <a:pt x="30" y="229"/>
                  </a:cubicBezTo>
                  <a:cubicBezTo>
                    <a:pt x="31" y="229"/>
                    <a:pt x="31" y="230"/>
                    <a:pt x="32" y="231"/>
                  </a:cubicBezTo>
                  <a:cubicBezTo>
                    <a:pt x="33" y="232"/>
                    <a:pt x="34" y="231"/>
                    <a:pt x="36" y="231"/>
                  </a:cubicBezTo>
                  <a:cubicBezTo>
                    <a:pt x="37" y="231"/>
                    <a:pt x="39" y="231"/>
                    <a:pt x="41" y="231"/>
                  </a:cubicBezTo>
                  <a:cubicBezTo>
                    <a:pt x="44" y="231"/>
                    <a:pt x="46" y="231"/>
                    <a:pt x="49" y="230"/>
                  </a:cubicBezTo>
                  <a:cubicBezTo>
                    <a:pt x="51" y="229"/>
                    <a:pt x="55" y="227"/>
                    <a:pt x="57" y="228"/>
                  </a:cubicBezTo>
                  <a:cubicBezTo>
                    <a:pt x="58" y="228"/>
                    <a:pt x="59" y="229"/>
                    <a:pt x="60" y="229"/>
                  </a:cubicBezTo>
                  <a:cubicBezTo>
                    <a:pt x="62" y="229"/>
                    <a:pt x="63" y="229"/>
                    <a:pt x="64" y="229"/>
                  </a:cubicBezTo>
                  <a:cubicBezTo>
                    <a:pt x="66" y="228"/>
                    <a:pt x="68" y="229"/>
                    <a:pt x="70" y="228"/>
                  </a:cubicBezTo>
                  <a:cubicBezTo>
                    <a:pt x="72" y="228"/>
                    <a:pt x="75" y="227"/>
                    <a:pt x="76" y="226"/>
                  </a:cubicBezTo>
                  <a:cubicBezTo>
                    <a:pt x="77" y="225"/>
                    <a:pt x="77" y="224"/>
                    <a:pt x="78" y="224"/>
                  </a:cubicBezTo>
                  <a:cubicBezTo>
                    <a:pt x="79" y="224"/>
                    <a:pt x="80" y="224"/>
                    <a:pt x="80" y="224"/>
                  </a:cubicBezTo>
                  <a:cubicBezTo>
                    <a:pt x="81" y="224"/>
                    <a:pt x="82" y="223"/>
                    <a:pt x="83" y="222"/>
                  </a:cubicBezTo>
                  <a:cubicBezTo>
                    <a:pt x="85" y="224"/>
                    <a:pt x="88" y="223"/>
                    <a:pt x="89" y="220"/>
                  </a:cubicBezTo>
                  <a:cubicBezTo>
                    <a:pt x="89" y="219"/>
                    <a:pt x="88" y="215"/>
                    <a:pt x="91" y="216"/>
                  </a:cubicBezTo>
                  <a:cubicBezTo>
                    <a:pt x="92" y="217"/>
                    <a:pt x="93" y="218"/>
                    <a:pt x="94" y="218"/>
                  </a:cubicBezTo>
                  <a:cubicBezTo>
                    <a:pt x="95" y="218"/>
                    <a:pt x="97" y="218"/>
                    <a:pt x="98" y="218"/>
                  </a:cubicBezTo>
                  <a:cubicBezTo>
                    <a:pt x="100" y="218"/>
                    <a:pt x="101" y="219"/>
                    <a:pt x="103" y="218"/>
                  </a:cubicBezTo>
                  <a:cubicBezTo>
                    <a:pt x="103" y="218"/>
                    <a:pt x="103" y="217"/>
                    <a:pt x="104" y="217"/>
                  </a:cubicBezTo>
                  <a:cubicBezTo>
                    <a:pt x="104" y="216"/>
                    <a:pt x="105" y="217"/>
                    <a:pt x="105" y="216"/>
                  </a:cubicBezTo>
                  <a:cubicBezTo>
                    <a:pt x="107" y="216"/>
                    <a:pt x="106" y="218"/>
                    <a:pt x="108" y="218"/>
                  </a:cubicBezTo>
                  <a:cubicBezTo>
                    <a:pt x="109" y="218"/>
                    <a:pt x="110" y="216"/>
                    <a:pt x="110" y="218"/>
                  </a:cubicBezTo>
                  <a:cubicBezTo>
                    <a:pt x="111" y="217"/>
                    <a:pt x="113" y="216"/>
                    <a:pt x="114" y="217"/>
                  </a:cubicBezTo>
                  <a:cubicBezTo>
                    <a:pt x="115" y="218"/>
                    <a:pt x="114" y="221"/>
                    <a:pt x="115" y="222"/>
                  </a:cubicBezTo>
                  <a:cubicBezTo>
                    <a:pt x="115" y="222"/>
                    <a:pt x="116" y="223"/>
                    <a:pt x="116" y="223"/>
                  </a:cubicBezTo>
                  <a:cubicBezTo>
                    <a:pt x="116" y="224"/>
                    <a:pt x="117" y="225"/>
                    <a:pt x="118" y="225"/>
                  </a:cubicBezTo>
                  <a:cubicBezTo>
                    <a:pt x="120" y="226"/>
                    <a:pt x="122" y="226"/>
                    <a:pt x="124" y="228"/>
                  </a:cubicBezTo>
                  <a:cubicBezTo>
                    <a:pt x="124" y="229"/>
                    <a:pt x="125" y="230"/>
                    <a:pt x="126" y="231"/>
                  </a:cubicBezTo>
                  <a:cubicBezTo>
                    <a:pt x="126" y="231"/>
                    <a:pt x="126" y="231"/>
                    <a:pt x="127" y="232"/>
                  </a:cubicBezTo>
                  <a:cubicBezTo>
                    <a:pt x="128" y="232"/>
                    <a:pt x="128" y="234"/>
                    <a:pt x="129" y="235"/>
                  </a:cubicBezTo>
                  <a:cubicBezTo>
                    <a:pt x="130" y="236"/>
                    <a:pt x="130" y="235"/>
                    <a:pt x="131" y="234"/>
                  </a:cubicBezTo>
                  <a:cubicBezTo>
                    <a:pt x="133" y="234"/>
                    <a:pt x="135" y="233"/>
                    <a:pt x="137" y="233"/>
                  </a:cubicBezTo>
                  <a:cubicBezTo>
                    <a:pt x="138" y="234"/>
                    <a:pt x="138" y="235"/>
                    <a:pt x="139" y="235"/>
                  </a:cubicBezTo>
                  <a:cubicBezTo>
                    <a:pt x="140" y="236"/>
                    <a:pt x="141" y="236"/>
                    <a:pt x="142" y="236"/>
                  </a:cubicBezTo>
                  <a:cubicBezTo>
                    <a:pt x="143" y="238"/>
                    <a:pt x="144" y="237"/>
                    <a:pt x="146" y="237"/>
                  </a:cubicBezTo>
                  <a:cubicBezTo>
                    <a:pt x="147" y="237"/>
                    <a:pt x="148" y="238"/>
                    <a:pt x="148" y="238"/>
                  </a:cubicBezTo>
                  <a:cubicBezTo>
                    <a:pt x="150" y="239"/>
                    <a:pt x="151" y="241"/>
                    <a:pt x="152" y="241"/>
                  </a:cubicBezTo>
                  <a:cubicBezTo>
                    <a:pt x="153" y="242"/>
                    <a:pt x="154" y="241"/>
                    <a:pt x="155" y="241"/>
                  </a:cubicBezTo>
                  <a:cubicBezTo>
                    <a:pt x="155" y="242"/>
                    <a:pt x="156" y="242"/>
                    <a:pt x="156" y="242"/>
                  </a:cubicBezTo>
                  <a:cubicBezTo>
                    <a:pt x="158" y="242"/>
                    <a:pt x="160" y="242"/>
                    <a:pt x="162" y="242"/>
                  </a:cubicBezTo>
                  <a:cubicBezTo>
                    <a:pt x="167" y="242"/>
                    <a:pt x="173" y="241"/>
                    <a:pt x="178" y="241"/>
                  </a:cubicBezTo>
                  <a:cubicBezTo>
                    <a:pt x="178" y="239"/>
                    <a:pt x="178" y="237"/>
                    <a:pt x="176" y="236"/>
                  </a:cubicBezTo>
                  <a:cubicBezTo>
                    <a:pt x="179" y="235"/>
                    <a:pt x="181" y="239"/>
                    <a:pt x="184" y="238"/>
                  </a:cubicBezTo>
                  <a:cubicBezTo>
                    <a:pt x="185" y="237"/>
                    <a:pt x="185" y="237"/>
                    <a:pt x="186" y="237"/>
                  </a:cubicBezTo>
                  <a:cubicBezTo>
                    <a:pt x="187" y="237"/>
                    <a:pt x="188" y="238"/>
                    <a:pt x="189" y="238"/>
                  </a:cubicBezTo>
                  <a:cubicBezTo>
                    <a:pt x="191" y="239"/>
                    <a:pt x="192" y="240"/>
                    <a:pt x="195" y="239"/>
                  </a:cubicBezTo>
                  <a:cubicBezTo>
                    <a:pt x="196" y="239"/>
                    <a:pt x="198" y="238"/>
                    <a:pt x="199" y="238"/>
                  </a:cubicBezTo>
                  <a:cubicBezTo>
                    <a:pt x="200" y="237"/>
                    <a:pt x="201" y="236"/>
                    <a:pt x="202" y="236"/>
                  </a:cubicBezTo>
                  <a:cubicBezTo>
                    <a:pt x="203" y="235"/>
                    <a:pt x="204" y="235"/>
                    <a:pt x="205" y="235"/>
                  </a:cubicBezTo>
                  <a:cubicBezTo>
                    <a:pt x="207" y="233"/>
                    <a:pt x="206" y="230"/>
                    <a:pt x="206" y="227"/>
                  </a:cubicBezTo>
                  <a:cubicBezTo>
                    <a:pt x="206" y="227"/>
                    <a:pt x="206" y="226"/>
                    <a:pt x="206" y="226"/>
                  </a:cubicBezTo>
                  <a:cubicBezTo>
                    <a:pt x="206" y="224"/>
                    <a:pt x="207" y="224"/>
                    <a:pt x="207" y="223"/>
                  </a:cubicBezTo>
                  <a:cubicBezTo>
                    <a:pt x="208" y="221"/>
                    <a:pt x="207" y="220"/>
                    <a:pt x="207" y="218"/>
                  </a:cubicBezTo>
                  <a:cubicBezTo>
                    <a:pt x="207" y="215"/>
                    <a:pt x="204" y="214"/>
                    <a:pt x="203" y="211"/>
                  </a:cubicBezTo>
                  <a:cubicBezTo>
                    <a:pt x="202" y="207"/>
                    <a:pt x="205" y="205"/>
                    <a:pt x="209" y="205"/>
                  </a:cubicBezTo>
                  <a:cubicBezTo>
                    <a:pt x="211" y="205"/>
                    <a:pt x="213" y="207"/>
                    <a:pt x="215" y="208"/>
                  </a:cubicBezTo>
                  <a:cubicBezTo>
                    <a:pt x="217" y="208"/>
                    <a:pt x="220" y="210"/>
                    <a:pt x="223" y="210"/>
                  </a:cubicBezTo>
                  <a:cubicBezTo>
                    <a:pt x="223" y="208"/>
                    <a:pt x="223" y="206"/>
                    <a:pt x="223" y="204"/>
                  </a:cubicBezTo>
                  <a:cubicBezTo>
                    <a:pt x="224" y="202"/>
                    <a:pt x="224" y="201"/>
                    <a:pt x="225" y="200"/>
                  </a:cubicBezTo>
                  <a:cubicBezTo>
                    <a:pt x="227" y="198"/>
                    <a:pt x="227" y="198"/>
                    <a:pt x="230" y="198"/>
                  </a:cubicBezTo>
                  <a:cubicBezTo>
                    <a:pt x="229" y="197"/>
                    <a:pt x="230" y="197"/>
                    <a:pt x="230" y="197"/>
                  </a:cubicBezTo>
                  <a:cubicBezTo>
                    <a:pt x="230" y="196"/>
                    <a:pt x="231" y="196"/>
                    <a:pt x="231" y="196"/>
                  </a:cubicBezTo>
                  <a:cubicBezTo>
                    <a:pt x="232" y="195"/>
                    <a:pt x="232" y="195"/>
                    <a:pt x="233" y="194"/>
                  </a:cubicBezTo>
                  <a:cubicBezTo>
                    <a:pt x="233" y="194"/>
                    <a:pt x="233" y="193"/>
                    <a:pt x="233" y="193"/>
                  </a:cubicBezTo>
                  <a:cubicBezTo>
                    <a:pt x="235" y="191"/>
                    <a:pt x="237" y="190"/>
                    <a:pt x="238" y="189"/>
                  </a:cubicBezTo>
                  <a:cubicBezTo>
                    <a:pt x="240" y="189"/>
                    <a:pt x="242" y="189"/>
                    <a:pt x="244" y="188"/>
                  </a:cubicBezTo>
                  <a:cubicBezTo>
                    <a:pt x="245" y="188"/>
                    <a:pt x="246" y="187"/>
                    <a:pt x="247" y="187"/>
                  </a:cubicBezTo>
                  <a:cubicBezTo>
                    <a:pt x="249" y="188"/>
                    <a:pt x="249" y="188"/>
                    <a:pt x="251" y="187"/>
                  </a:cubicBezTo>
                  <a:cubicBezTo>
                    <a:pt x="254" y="185"/>
                    <a:pt x="256" y="183"/>
                    <a:pt x="260" y="181"/>
                  </a:cubicBezTo>
                  <a:cubicBezTo>
                    <a:pt x="262" y="180"/>
                    <a:pt x="263" y="177"/>
                    <a:pt x="266" y="179"/>
                  </a:cubicBezTo>
                  <a:cubicBezTo>
                    <a:pt x="268" y="180"/>
                    <a:pt x="270" y="183"/>
                    <a:pt x="273" y="183"/>
                  </a:cubicBezTo>
                  <a:cubicBezTo>
                    <a:pt x="275" y="183"/>
                    <a:pt x="276" y="182"/>
                    <a:pt x="277" y="183"/>
                  </a:cubicBezTo>
                  <a:cubicBezTo>
                    <a:pt x="278" y="183"/>
                    <a:pt x="278" y="184"/>
                    <a:pt x="279" y="185"/>
                  </a:cubicBezTo>
                  <a:cubicBezTo>
                    <a:pt x="281" y="185"/>
                    <a:pt x="281" y="185"/>
                    <a:pt x="282" y="187"/>
                  </a:cubicBezTo>
                  <a:cubicBezTo>
                    <a:pt x="283" y="188"/>
                    <a:pt x="285" y="190"/>
                    <a:pt x="286" y="191"/>
                  </a:cubicBezTo>
                  <a:cubicBezTo>
                    <a:pt x="287" y="193"/>
                    <a:pt x="286" y="193"/>
                    <a:pt x="288" y="193"/>
                  </a:cubicBezTo>
                  <a:cubicBezTo>
                    <a:pt x="290" y="193"/>
                    <a:pt x="291" y="192"/>
                    <a:pt x="292" y="192"/>
                  </a:cubicBezTo>
                  <a:cubicBezTo>
                    <a:pt x="294" y="191"/>
                    <a:pt x="296" y="190"/>
                    <a:pt x="298" y="190"/>
                  </a:cubicBezTo>
                  <a:cubicBezTo>
                    <a:pt x="301" y="190"/>
                    <a:pt x="303" y="189"/>
                    <a:pt x="306" y="188"/>
                  </a:cubicBezTo>
                  <a:cubicBezTo>
                    <a:pt x="308" y="188"/>
                    <a:pt x="309" y="189"/>
                    <a:pt x="310" y="189"/>
                  </a:cubicBezTo>
                  <a:cubicBezTo>
                    <a:pt x="311" y="189"/>
                    <a:pt x="314" y="189"/>
                    <a:pt x="315" y="188"/>
                  </a:cubicBezTo>
                  <a:cubicBezTo>
                    <a:pt x="316" y="187"/>
                    <a:pt x="315" y="182"/>
                    <a:pt x="314" y="181"/>
                  </a:cubicBezTo>
                  <a:cubicBezTo>
                    <a:pt x="313" y="181"/>
                    <a:pt x="312" y="181"/>
                    <a:pt x="311" y="180"/>
                  </a:cubicBezTo>
                  <a:cubicBezTo>
                    <a:pt x="309" y="179"/>
                    <a:pt x="308" y="177"/>
                    <a:pt x="307" y="175"/>
                  </a:cubicBezTo>
                  <a:cubicBezTo>
                    <a:pt x="305" y="173"/>
                    <a:pt x="303" y="171"/>
                    <a:pt x="302" y="169"/>
                  </a:cubicBezTo>
                  <a:cubicBezTo>
                    <a:pt x="301" y="168"/>
                    <a:pt x="300" y="167"/>
                    <a:pt x="301" y="166"/>
                  </a:cubicBezTo>
                  <a:cubicBezTo>
                    <a:pt x="301" y="167"/>
                    <a:pt x="302" y="165"/>
                    <a:pt x="302" y="165"/>
                  </a:cubicBezTo>
                  <a:cubicBezTo>
                    <a:pt x="303" y="165"/>
                    <a:pt x="304" y="164"/>
                    <a:pt x="304" y="164"/>
                  </a:cubicBezTo>
                  <a:cubicBezTo>
                    <a:pt x="305" y="163"/>
                    <a:pt x="305" y="162"/>
                    <a:pt x="304" y="161"/>
                  </a:cubicBezTo>
                  <a:cubicBezTo>
                    <a:pt x="304" y="159"/>
                    <a:pt x="302" y="158"/>
                    <a:pt x="301" y="156"/>
                  </a:cubicBezTo>
                  <a:cubicBezTo>
                    <a:pt x="301" y="155"/>
                    <a:pt x="302" y="154"/>
                    <a:pt x="300" y="154"/>
                  </a:cubicBezTo>
                  <a:cubicBezTo>
                    <a:pt x="298" y="153"/>
                    <a:pt x="297" y="154"/>
                    <a:pt x="295" y="153"/>
                  </a:cubicBezTo>
                  <a:cubicBezTo>
                    <a:pt x="294" y="152"/>
                    <a:pt x="293" y="151"/>
                    <a:pt x="292" y="150"/>
                  </a:cubicBezTo>
                  <a:cubicBezTo>
                    <a:pt x="291" y="149"/>
                    <a:pt x="286" y="146"/>
                    <a:pt x="285" y="147"/>
                  </a:cubicBezTo>
                  <a:cubicBezTo>
                    <a:pt x="284" y="147"/>
                    <a:pt x="284" y="148"/>
                    <a:pt x="284" y="148"/>
                  </a:cubicBezTo>
                  <a:cubicBezTo>
                    <a:pt x="283" y="148"/>
                    <a:pt x="282" y="148"/>
                    <a:pt x="282" y="148"/>
                  </a:cubicBezTo>
                  <a:cubicBezTo>
                    <a:pt x="281" y="146"/>
                    <a:pt x="281" y="145"/>
                    <a:pt x="283" y="144"/>
                  </a:cubicBezTo>
                  <a:cubicBezTo>
                    <a:pt x="284" y="144"/>
                    <a:pt x="285" y="143"/>
                    <a:pt x="286" y="143"/>
                  </a:cubicBezTo>
                  <a:cubicBezTo>
                    <a:pt x="287" y="142"/>
                    <a:pt x="289" y="143"/>
                    <a:pt x="290" y="143"/>
                  </a:cubicBezTo>
                  <a:cubicBezTo>
                    <a:pt x="292" y="142"/>
                    <a:pt x="291" y="142"/>
                    <a:pt x="292" y="140"/>
                  </a:cubicBezTo>
                  <a:cubicBezTo>
                    <a:pt x="292" y="139"/>
                    <a:pt x="292" y="138"/>
                    <a:pt x="293" y="137"/>
                  </a:cubicBezTo>
                  <a:cubicBezTo>
                    <a:pt x="293" y="136"/>
                    <a:pt x="293" y="134"/>
                    <a:pt x="294" y="135"/>
                  </a:cubicBezTo>
                  <a:cubicBezTo>
                    <a:pt x="295" y="136"/>
                    <a:pt x="297" y="138"/>
                    <a:pt x="298" y="138"/>
                  </a:cubicBezTo>
                  <a:cubicBezTo>
                    <a:pt x="300" y="138"/>
                    <a:pt x="299" y="136"/>
                    <a:pt x="299" y="135"/>
                  </a:cubicBezTo>
                  <a:cubicBezTo>
                    <a:pt x="299" y="134"/>
                    <a:pt x="299" y="133"/>
                    <a:pt x="299" y="132"/>
                  </a:cubicBezTo>
                  <a:cubicBezTo>
                    <a:pt x="299" y="130"/>
                    <a:pt x="300" y="131"/>
                    <a:pt x="301" y="131"/>
                  </a:cubicBezTo>
                  <a:cubicBezTo>
                    <a:pt x="303" y="131"/>
                    <a:pt x="305" y="130"/>
                    <a:pt x="306" y="128"/>
                  </a:cubicBezTo>
                  <a:cubicBezTo>
                    <a:pt x="306" y="126"/>
                    <a:pt x="304" y="125"/>
                    <a:pt x="304" y="123"/>
                  </a:cubicBezTo>
                  <a:cubicBezTo>
                    <a:pt x="307" y="123"/>
                    <a:pt x="310" y="123"/>
                    <a:pt x="312" y="122"/>
                  </a:cubicBezTo>
                  <a:cubicBezTo>
                    <a:pt x="313" y="121"/>
                    <a:pt x="313" y="121"/>
                    <a:pt x="313" y="121"/>
                  </a:cubicBezTo>
                  <a:cubicBezTo>
                    <a:pt x="313" y="120"/>
                    <a:pt x="313" y="120"/>
                    <a:pt x="312" y="120"/>
                  </a:cubicBezTo>
                  <a:cubicBezTo>
                    <a:pt x="312" y="119"/>
                    <a:pt x="312" y="119"/>
                    <a:pt x="312" y="118"/>
                  </a:cubicBezTo>
                  <a:cubicBezTo>
                    <a:pt x="311" y="117"/>
                    <a:pt x="311" y="117"/>
                    <a:pt x="310" y="116"/>
                  </a:cubicBezTo>
                  <a:cubicBezTo>
                    <a:pt x="310" y="116"/>
                    <a:pt x="310" y="114"/>
                    <a:pt x="310" y="114"/>
                  </a:cubicBezTo>
                  <a:cubicBezTo>
                    <a:pt x="310" y="112"/>
                    <a:pt x="310" y="110"/>
                    <a:pt x="310" y="108"/>
                  </a:cubicBezTo>
                  <a:cubicBezTo>
                    <a:pt x="310" y="107"/>
                    <a:pt x="311" y="107"/>
                    <a:pt x="310" y="106"/>
                  </a:cubicBezTo>
                  <a:cubicBezTo>
                    <a:pt x="310" y="105"/>
                    <a:pt x="310" y="105"/>
                    <a:pt x="310" y="104"/>
                  </a:cubicBezTo>
                  <a:cubicBezTo>
                    <a:pt x="310" y="103"/>
                    <a:pt x="310" y="102"/>
                    <a:pt x="311" y="101"/>
                  </a:cubicBezTo>
                  <a:cubicBezTo>
                    <a:pt x="312" y="100"/>
                    <a:pt x="313" y="98"/>
                    <a:pt x="314" y="96"/>
                  </a:cubicBezTo>
                  <a:cubicBezTo>
                    <a:pt x="315" y="94"/>
                    <a:pt x="315" y="92"/>
                    <a:pt x="314" y="90"/>
                  </a:cubicBezTo>
                  <a:cubicBezTo>
                    <a:pt x="313" y="88"/>
                    <a:pt x="314" y="87"/>
                    <a:pt x="315" y="85"/>
                  </a:cubicBezTo>
                  <a:cubicBezTo>
                    <a:pt x="316" y="84"/>
                    <a:pt x="316" y="82"/>
                    <a:pt x="318" y="80"/>
                  </a:cubicBezTo>
                  <a:cubicBezTo>
                    <a:pt x="318" y="80"/>
                    <a:pt x="318" y="79"/>
                    <a:pt x="318" y="79"/>
                  </a:cubicBezTo>
                  <a:cubicBezTo>
                    <a:pt x="319" y="79"/>
                    <a:pt x="319" y="79"/>
                    <a:pt x="319" y="78"/>
                  </a:cubicBezTo>
                  <a:cubicBezTo>
                    <a:pt x="319" y="78"/>
                    <a:pt x="320" y="76"/>
                    <a:pt x="320" y="76"/>
                  </a:cubicBezTo>
                  <a:cubicBezTo>
                    <a:pt x="322" y="75"/>
                    <a:pt x="325" y="76"/>
                    <a:pt x="327" y="76"/>
                  </a:cubicBezTo>
                  <a:cubicBezTo>
                    <a:pt x="329" y="76"/>
                    <a:pt x="330" y="77"/>
                    <a:pt x="332" y="77"/>
                  </a:cubicBezTo>
                  <a:cubicBezTo>
                    <a:pt x="333" y="77"/>
                    <a:pt x="334" y="77"/>
                    <a:pt x="335" y="77"/>
                  </a:cubicBezTo>
                  <a:cubicBezTo>
                    <a:pt x="336" y="77"/>
                    <a:pt x="336" y="77"/>
                    <a:pt x="337" y="75"/>
                  </a:cubicBezTo>
                  <a:cubicBezTo>
                    <a:pt x="338" y="75"/>
                    <a:pt x="338" y="74"/>
                    <a:pt x="339" y="74"/>
                  </a:cubicBezTo>
                  <a:cubicBezTo>
                    <a:pt x="341" y="74"/>
                    <a:pt x="343" y="76"/>
                    <a:pt x="345" y="76"/>
                  </a:cubicBezTo>
                  <a:cubicBezTo>
                    <a:pt x="347" y="76"/>
                    <a:pt x="348" y="74"/>
                    <a:pt x="348" y="72"/>
                  </a:cubicBezTo>
                  <a:cubicBezTo>
                    <a:pt x="349" y="72"/>
                    <a:pt x="351" y="73"/>
                    <a:pt x="352" y="73"/>
                  </a:cubicBezTo>
                  <a:cubicBezTo>
                    <a:pt x="352" y="74"/>
                    <a:pt x="353" y="75"/>
                    <a:pt x="354" y="74"/>
                  </a:cubicBezTo>
                  <a:cubicBezTo>
                    <a:pt x="355" y="74"/>
                    <a:pt x="356" y="69"/>
                    <a:pt x="356" y="69"/>
                  </a:cubicBezTo>
                  <a:cubicBezTo>
                    <a:pt x="357" y="67"/>
                    <a:pt x="357" y="64"/>
                    <a:pt x="357" y="6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4" name="Freeform 34">
              <a:extLst>
                <a:ext uri="{FF2B5EF4-FFF2-40B4-BE49-F238E27FC236}">
                  <a16:creationId xmlns:a16="http://schemas.microsoft.com/office/drawing/2014/main" id="{382FF3DE-18F3-4088-83FA-FA9D4D060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8938" y="4814888"/>
              <a:ext cx="981075" cy="717550"/>
            </a:xfrm>
            <a:custGeom>
              <a:avLst/>
              <a:gdLst/>
              <a:ahLst/>
              <a:cxnLst>
                <a:cxn ang="0">
                  <a:pos x="474" y="252"/>
                </a:cxn>
                <a:cxn ang="0">
                  <a:pos x="437" y="239"/>
                </a:cxn>
                <a:cxn ang="0">
                  <a:pos x="438" y="138"/>
                </a:cxn>
                <a:cxn ang="0">
                  <a:pos x="412" y="87"/>
                </a:cxn>
                <a:cxn ang="0">
                  <a:pos x="392" y="65"/>
                </a:cxn>
                <a:cxn ang="0">
                  <a:pos x="379" y="32"/>
                </a:cxn>
                <a:cxn ang="0">
                  <a:pos x="336" y="10"/>
                </a:cxn>
                <a:cxn ang="0">
                  <a:pos x="295" y="30"/>
                </a:cxn>
                <a:cxn ang="0">
                  <a:pos x="245" y="34"/>
                </a:cxn>
                <a:cxn ang="0">
                  <a:pos x="212" y="27"/>
                </a:cxn>
                <a:cxn ang="0">
                  <a:pos x="175" y="24"/>
                </a:cxn>
                <a:cxn ang="0">
                  <a:pos x="145" y="27"/>
                </a:cxn>
                <a:cxn ang="0">
                  <a:pos x="125" y="42"/>
                </a:cxn>
                <a:cxn ang="0">
                  <a:pos x="107" y="53"/>
                </a:cxn>
                <a:cxn ang="0">
                  <a:pos x="102" y="62"/>
                </a:cxn>
                <a:cxn ang="0">
                  <a:pos x="94" y="76"/>
                </a:cxn>
                <a:cxn ang="0">
                  <a:pos x="80" y="102"/>
                </a:cxn>
                <a:cxn ang="0">
                  <a:pos x="73" y="123"/>
                </a:cxn>
                <a:cxn ang="0">
                  <a:pos x="64" y="133"/>
                </a:cxn>
                <a:cxn ang="0">
                  <a:pos x="54" y="149"/>
                </a:cxn>
                <a:cxn ang="0">
                  <a:pos x="48" y="159"/>
                </a:cxn>
                <a:cxn ang="0">
                  <a:pos x="34" y="165"/>
                </a:cxn>
                <a:cxn ang="0">
                  <a:pos x="5" y="182"/>
                </a:cxn>
                <a:cxn ang="0">
                  <a:pos x="19" y="199"/>
                </a:cxn>
                <a:cxn ang="0">
                  <a:pos x="29" y="210"/>
                </a:cxn>
                <a:cxn ang="0">
                  <a:pos x="31" y="231"/>
                </a:cxn>
                <a:cxn ang="0">
                  <a:pos x="61" y="246"/>
                </a:cxn>
                <a:cxn ang="0">
                  <a:pos x="61" y="260"/>
                </a:cxn>
                <a:cxn ang="0">
                  <a:pos x="65" y="273"/>
                </a:cxn>
                <a:cxn ang="0">
                  <a:pos x="61" y="285"/>
                </a:cxn>
                <a:cxn ang="0">
                  <a:pos x="71" y="292"/>
                </a:cxn>
                <a:cxn ang="0">
                  <a:pos x="94" y="305"/>
                </a:cxn>
                <a:cxn ang="0">
                  <a:pos x="107" y="299"/>
                </a:cxn>
                <a:cxn ang="0">
                  <a:pos x="122" y="309"/>
                </a:cxn>
                <a:cxn ang="0">
                  <a:pos x="119" y="318"/>
                </a:cxn>
                <a:cxn ang="0">
                  <a:pos x="132" y="335"/>
                </a:cxn>
                <a:cxn ang="0">
                  <a:pos x="138" y="365"/>
                </a:cxn>
                <a:cxn ang="0">
                  <a:pos x="185" y="369"/>
                </a:cxn>
                <a:cxn ang="0">
                  <a:pos x="221" y="378"/>
                </a:cxn>
                <a:cxn ang="0">
                  <a:pos x="263" y="378"/>
                </a:cxn>
                <a:cxn ang="0">
                  <a:pos x="290" y="381"/>
                </a:cxn>
                <a:cxn ang="0">
                  <a:pos x="308" y="364"/>
                </a:cxn>
                <a:cxn ang="0">
                  <a:pos x="344" y="350"/>
                </a:cxn>
                <a:cxn ang="0">
                  <a:pos x="382" y="347"/>
                </a:cxn>
                <a:cxn ang="0">
                  <a:pos x="399" y="355"/>
                </a:cxn>
                <a:cxn ang="0">
                  <a:pos x="414" y="360"/>
                </a:cxn>
                <a:cxn ang="0">
                  <a:pos x="426" y="368"/>
                </a:cxn>
                <a:cxn ang="0">
                  <a:pos x="446" y="379"/>
                </a:cxn>
                <a:cxn ang="0">
                  <a:pos x="458" y="366"/>
                </a:cxn>
                <a:cxn ang="0">
                  <a:pos x="468" y="316"/>
                </a:cxn>
                <a:cxn ang="0">
                  <a:pos x="476" y="294"/>
                </a:cxn>
                <a:cxn ang="0">
                  <a:pos x="491" y="289"/>
                </a:cxn>
                <a:cxn ang="0">
                  <a:pos x="518" y="280"/>
                </a:cxn>
              </a:cxnLst>
              <a:rect l="0" t="0" r="r" b="b"/>
              <a:pathLst>
                <a:path w="525" h="384">
                  <a:moveTo>
                    <a:pt x="525" y="255"/>
                  </a:moveTo>
                  <a:cubicBezTo>
                    <a:pt x="525" y="252"/>
                    <a:pt x="515" y="249"/>
                    <a:pt x="512" y="247"/>
                  </a:cubicBezTo>
                  <a:cubicBezTo>
                    <a:pt x="507" y="244"/>
                    <a:pt x="503" y="241"/>
                    <a:pt x="496" y="243"/>
                  </a:cubicBezTo>
                  <a:cubicBezTo>
                    <a:pt x="493" y="243"/>
                    <a:pt x="493" y="244"/>
                    <a:pt x="491" y="246"/>
                  </a:cubicBezTo>
                  <a:cubicBezTo>
                    <a:pt x="490" y="247"/>
                    <a:pt x="487" y="249"/>
                    <a:pt x="483" y="250"/>
                  </a:cubicBezTo>
                  <a:cubicBezTo>
                    <a:pt x="478" y="252"/>
                    <a:pt x="476" y="252"/>
                    <a:pt x="474" y="252"/>
                  </a:cubicBezTo>
                  <a:cubicBezTo>
                    <a:pt x="472" y="252"/>
                    <a:pt x="470" y="251"/>
                    <a:pt x="468" y="252"/>
                  </a:cubicBezTo>
                  <a:cubicBezTo>
                    <a:pt x="467" y="252"/>
                    <a:pt x="467" y="255"/>
                    <a:pt x="466" y="256"/>
                  </a:cubicBezTo>
                  <a:cubicBezTo>
                    <a:pt x="463" y="259"/>
                    <a:pt x="462" y="257"/>
                    <a:pt x="459" y="256"/>
                  </a:cubicBezTo>
                  <a:cubicBezTo>
                    <a:pt x="457" y="254"/>
                    <a:pt x="455" y="253"/>
                    <a:pt x="453" y="252"/>
                  </a:cubicBezTo>
                  <a:cubicBezTo>
                    <a:pt x="451" y="252"/>
                    <a:pt x="445" y="249"/>
                    <a:pt x="443" y="248"/>
                  </a:cubicBezTo>
                  <a:cubicBezTo>
                    <a:pt x="443" y="247"/>
                    <a:pt x="438" y="239"/>
                    <a:pt x="437" y="239"/>
                  </a:cubicBezTo>
                  <a:cubicBezTo>
                    <a:pt x="433" y="234"/>
                    <a:pt x="428" y="230"/>
                    <a:pt x="432" y="223"/>
                  </a:cubicBezTo>
                  <a:cubicBezTo>
                    <a:pt x="433" y="219"/>
                    <a:pt x="433" y="211"/>
                    <a:pt x="431" y="208"/>
                  </a:cubicBezTo>
                  <a:cubicBezTo>
                    <a:pt x="429" y="204"/>
                    <a:pt x="430" y="191"/>
                    <a:pt x="430" y="185"/>
                  </a:cubicBezTo>
                  <a:cubicBezTo>
                    <a:pt x="431" y="175"/>
                    <a:pt x="433" y="171"/>
                    <a:pt x="437" y="161"/>
                  </a:cubicBezTo>
                  <a:cubicBezTo>
                    <a:pt x="438" y="159"/>
                    <a:pt x="439" y="151"/>
                    <a:pt x="437" y="148"/>
                  </a:cubicBezTo>
                  <a:cubicBezTo>
                    <a:pt x="436" y="146"/>
                    <a:pt x="438" y="141"/>
                    <a:pt x="438" y="138"/>
                  </a:cubicBezTo>
                  <a:cubicBezTo>
                    <a:pt x="438" y="136"/>
                    <a:pt x="434" y="130"/>
                    <a:pt x="434" y="128"/>
                  </a:cubicBezTo>
                  <a:cubicBezTo>
                    <a:pt x="432" y="125"/>
                    <a:pt x="434" y="121"/>
                    <a:pt x="431" y="121"/>
                  </a:cubicBezTo>
                  <a:cubicBezTo>
                    <a:pt x="427" y="121"/>
                    <a:pt x="424" y="119"/>
                    <a:pt x="422" y="115"/>
                  </a:cubicBezTo>
                  <a:cubicBezTo>
                    <a:pt x="420" y="112"/>
                    <a:pt x="421" y="109"/>
                    <a:pt x="421" y="106"/>
                  </a:cubicBezTo>
                  <a:cubicBezTo>
                    <a:pt x="420" y="101"/>
                    <a:pt x="419" y="96"/>
                    <a:pt x="416" y="92"/>
                  </a:cubicBezTo>
                  <a:cubicBezTo>
                    <a:pt x="414" y="91"/>
                    <a:pt x="414" y="90"/>
                    <a:pt x="412" y="87"/>
                  </a:cubicBezTo>
                  <a:cubicBezTo>
                    <a:pt x="411" y="86"/>
                    <a:pt x="409" y="85"/>
                    <a:pt x="408" y="84"/>
                  </a:cubicBezTo>
                  <a:cubicBezTo>
                    <a:pt x="407" y="83"/>
                    <a:pt x="406" y="81"/>
                    <a:pt x="405" y="79"/>
                  </a:cubicBezTo>
                  <a:cubicBezTo>
                    <a:pt x="403" y="77"/>
                    <a:pt x="403" y="73"/>
                    <a:pt x="401" y="72"/>
                  </a:cubicBezTo>
                  <a:cubicBezTo>
                    <a:pt x="399" y="70"/>
                    <a:pt x="396" y="70"/>
                    <a:pt x="394" y="68"/>
                  </a:cubicBezTo>
                  <a:cubicBezTo>
                    <a:pt x="394" y="68"/>
                    <a:pt x="395" y="67"/>
                    <a:pt x="394" y="67"/>
                  </a:cubicBezTo>
                  <a:cubicBezTo>
                    <a:pt x="394" y="66"/>
                    <a:pt x="393" y="66"/>
                    <a:pt x="392" y="65"/>
                  </a:cubicBezTo>
                  <a:cubicBezTo>
                    <a:pt x="391" y="65"/>
                    <a:pt x="392" y="64"/>
                    <a:pt x="391" y="63"/>
                  </a:cubicBezTo>
                  <a:cubicBezTo>
                    <a:pt x="391" y="62"/>
                    <a:pt x="390" y="62"/>
                    <a:pt x="390" y="60"/>
                  </a:cubicBezTo>
                  <a:cubicBezTo>
                    <a:pt x="389" y="59"/>
                    <a:pt x="390" y="58"/>
                    <a:pt x="390" y="57"/>
                  </a:cubicBezTo>
                  <a:cubicBezTo>
                    <a:pt x="390" y="53"/>
                    <a:pt x="390" y="49"/>
                    <a:pt x="388" y="46"/>
                  </a:cubicBezTo>
                  <a:cubicBezTo>
                    <a:pt x="386" y="42"/>
                    <a:pt x="383" y="40"/>
                    <a:pt x="381" y="37"/>
                  </a:cubicBezTo>
                  <a:cubicBezTo>
                    <a:pt x="380" y="36"/>
                    <a:pt x="380" y="34"/>
                    <a:pt x="379" y="32"/>
                  </a:cubicBezTo>
                  <a:cubicBezTo>
                    <a:pt x="378" y="27"/>
                    <a:pt x="374" y="26"/>
                    <a:pt x="372" y="22"/>
                  </a:cubicBezTo>
                  <a:cubicBezTo>
                    <a:pt x="369" y="19"/>
                    <a:pt x="367" y="17"/>
                    <a:pt x="365" y="14"/>
                  </a:cubicBezTo>
                  <a:cubicBezTo>
                    <a:pt x="362" y="10"/>
                    <a:pt x="361" y="4"/>
                    <a:pt x="357" y="2"/>
                  </a:cubicBezTo>
                  <a:cubicBezTo>
                    <a:pt x="353" y="0"/>
                    <a:pt x="348" y="5"/>
                    <a:pt x="344" y="6"/>
                  </a:cubicBezTo>
                  <a:cubicBezTo>
                    <a:pt x="344" y="6"/>
                    <a:pt x="344" y="6"/>
                    <a:pt x="344" y="6"/>
                  </a:cubicBezTo>
                  <a:cubicBezTo>
                    <a:pt x="341" y="7"/>
                    <a:pt x="339" y="8"/>
                    <a:pt x="336" y="10"/>
                  </a:cubicBezTo>
                  <a:cubicBezTo>
                    <a:pt x="333" y="11"/>
                    <a:pt x="329" y="13"/>
                    <a:pt x="328" y="16"/>
                  </a:cubicBezTo>
                  <a:cubicBezTo>
                    <a:pt x="326" y="18"/>
                    <a:pt x="326" y="21"/>
                    <a:pt x="324" y="23"/>
                  </a:cubicBezTo>
                  <a:cubicBezTo>
                    <a:pt x="322" y="26"/>
                    <a:pt x="321" y="25"/>
                    <a:pt x="317" y="25"/>
                  </a:cubicBezTo>
                  <a:cubicBezTo>
                    <a:pt x="313" y="25"/>
                    <a:pt x="308" y="27"/>
                    <a:pt x="303" y="27"/>
                  </a:cubicBezTo>
                  <a:cubicBezTo>
                    <a:pt x="301" y="27"/>
                    <a:pt x="298" y="28"/>
                    <a:pt x="296" y="29"/>
                  </a:cubicBezTo>
                  <a:cubicBezTo>
                    <a:pt x="296" y="29"/>
                    <a:pt x="296" y="30"/>
                    <a:pt x="295" y="30"/>
                  </a:cubicBezTo>
                  <a:cubicBezTo>
                    <a:pt x="295" y="30"/>
                    <a:pt x="293" y="30"/>
                    <a:pt x="293" y="30"/>
                  </a:cubicBezTo>
                  <a:cubicBezTo>
                    <a:pt x="287" y="30"/>
                    <a:pt x="281" y="30"/>
                    <a:pt x="276" y="30"/>
                  </a:cubicBezTo>
                  <a:cubicBezTo>
                    <a:pt x="272" y="30"/>
                    <a:pt x="271" y="32"/>
                    <a:pt x="269" y="35"/>
                  </a:cubicBezTo>
                  <a:cubicBezTo>
                    <a:pt x="268" y="37"/>
                    <a:pt x="267" y="41"/>
                    <a:pt x="264" y="42"/>
                  </a:cubicBezTo>
                  <a:cubicBezTo>
                    <a:pt x="259" y="44"/>
                    <a:pt x="253" y="42"/>
                    <a:pt x="249" y="39"/>
                  </a:cubicBezTo>
                  <a:cubicBezTo>
                    <a:pt x="247" y="37"/>
                    <a:pt x="246" y="35"/>
                    <a:pt x="245" y="34"/>
                  </a:cubicBezTo>
                  <a:cubicBezTo>
                    <a:pt x="244" y="33"/>
                    <a:pt x="242" y="32"/>
                    <a:pt x="241" y="31"/>
                  </a:cubicBezTo>
                  <a:cubicBezTo>
                    <a:pt x="240" y="30"/>
                    <a:pt x="241" y="29"/>
                    <a:pt x="238" y="29"/>
                  </a:cubicBezTo>
                  <a:cubicBezTo>
                    <a:pt x="239" y="25"/>
                    <a:pt x="229" y="29"/>
                    <a:pt x="228" y="29"/>
                  </a:cubicBezTo>
                  <a:cubicBezTo>
                    <a:pt x="223" y="31"/>
                    <a:pt x="220" y="31"/>
                    <a:pt x="216" y="29"/>
                  </a:cubicBezTo>
                  <a:cubicBezTo>
                    <a:pt x="215" y="29"/>
                    <a:pt x="214" y="29"/>
                    <a:pt x="214" y="29"/>
                  </a:cubicBezTo>
                  <a:cubicBezTo>
                    <a:pt x="213" y="29"/>
                    <a:pt x="213" y="28"/>
                    <a:pt x="212" y="27"/>
                  </a:cubicBezTo>
                  <a:cubicBezTo>
                    <a:pt x="210" y="26"/>
                    <a:pt x="205" y="26"/>
                    <a:pt x="203" y="26"/>
                  </a:cubicBezTo>
                  <a:cubicBezTo>
                    <a:pt x="201" y="26"/>
                    <a:pt x="199" y="26"/>
                    <a:pt x="197" y="26"/>
                  </a:cubicBezTo>
                  <a:cubicBezTo>
                    <a:pt x="195" y="26"/>
                    <a:pt x="195" y="27"/>
                    <a:pt x="194" y="29"/>
                  </a:cubicBezTo>
                  <a:cubicBezTo>
                    <a:pt x="194" y="28"/>
                    <a:pt x="192" y="24"/>
                    <a:pt x="191" y="24"/>
                  </a:cubicBezTo>
                  <a:cubicBezTo>
                    <a:pt x="189" y="22"/>
                    <a:pt x="187" y="23"/>
                    <a:pt x="186" y="23"/>
                  </a:cubicBezTo>
                  <a:cubicBezTo>
                    <a:pt x="182" y="23"/>
                    <a:pt x="179" y="24"/>
                    <a:pt x="175" y="24"/>
                  </a:cubicBezTo>
                  <a:cubicBezTo>
                    <a:pt x="171" y="23"/>
                    <a:pt x="172" y="21"/>
                    <a:pt x="170" y="18"/>
                  </a:cubicBezTo>
                  <a:cubicBezTo>
                    <a:pt x="168" y="16"/>
                    <a:pt x="165" y="15"/>
                    <a:pt x="162" y="17"/>
                  </a:cubicBezTo>
                  <a:cubicBezTo>
                    <a:pt x="160" y="18"/>
                    <a:pt x="159" y="19"/>
                    <a:pt x="158" y="20"/>
                  </a:cubicBezTo>
                  <a:cubicBezTo>
                    <a:pt x="157" y="21"/>
                    <a:pt x="156" y="22"/>
                    <a:pt x="155" y="23"/>
                  </a:cubicBezTo>
                  <a:cubicBezTo>
                    <a:pt x="152" y="24"/>
                    <a:pt x="148" y="22"/>
                    <a:pt x="145" y="23"/>
                  </a:cubicBezTo>
                  <a:cubicBezTo>
                    <a:pt x="145" y="24"/>
                    <a:pt x="145" y="25"/>
                    <a:pt x="145" y="27"/>
                  </a:cubicBezTo>
                  <a:cubicBezTo>
                    <a:pt x="143" y="27"/>
                    <a:pt x="142" y="28"/>
                    <a:pt x="142" y="30"/>
                  </a:cubicBezTo>
                  <a:cubicBezTo>
                    <a:pt x="141" y="31"/>
                    <a:pt x="142" y="32"/>
                    <a:pt x="141" y="33"/>
                  </a:cubicBezTo>
                  <a:cubicBezTo>
                    <a:pt x="141" y="33"/>
                    <a:pt x="140" y="34"/>
                    <a:pt x="140" y="35"/>
                  </a:cubicBezTo>
                  <a:cubicBezTo>
                    <a:pt x="138" y="35"/>
                    <a:pt x="135" y="37"/>
                    <a:pt x="133" y="39"/>
                  </a:cubicBezTo>
                  <a:cubicBezTo>
                    <a:pt x="133" y="40"/>
                    <a:pt x="133" y="41"/>
                    <a:pt x="132" y="42"/>
                  </a:cubicBezTo>
                  <a:cubicBezTo>
                    <a:pt x="130" y="43"/>
                    <a:pt x="127" y="42"/>
                    <a:pt x="125" y="42"/>
                  </a:cubicBezTo>
                  <a:cubicBezTo>
                    <a:pt x="124" y="42"/>
                    <a:pt x="124" y="43"/>
                    <a:pt x="122" y="43"/>
                  </a:cubicBezTo>
                  <a:cubicBezTo>
                    <a:pt x="121" y="43"/>
                    <a:pt x="120" y="43"/>
                    <a:pt x="119" y="45"/>
                  </a:cubicBezTo>
                  <a:cubicBezTo>
                    <a:pt x="118" y="46"/>
                    <a:pt x="118" y="47"/>
                    <a:pt x="116" y="48"/>
                  </a:cubicBezTo>
                  <a:cubicBezTo>
                    <a:pt x="115" y="48"/>
                    <a:pt x="113" y="48"/>
                    <a:pt x="112" y="48"/>
                  </a:cubicBezTo>
                  <a:cubicBezTo>
                    <a:pt x="110" y="48"/>
                    <a:pt x="110" y="48"/>
                    <a:pt x="109" y="50"/>
                  </a:cubicBezTo>
                  <a:cubicBezTo>
                    <a:pt x="108" y="51"/>
                    <a:pt x="108" y="52"/>
                    <a:pt x="107" y="53"/>
                  </a:cubicBezTo>
                  <a:cubicBezTo>
                    <a:pt x="106" y="53"/>
                    <a:pt x="106" y="54"/>
                    <a:pt x="106" y="55"/>
                  </a:cubicBezTo>
                  <a:cubicBezTo>
                    <a:pt x="105" y="55"/>
                    <a:pt x="105" y="55"/>
                    <a:pt x="104" y="56"/>
                  </a:cubicBezTo>
                  <a:cubicBezTo>
                    <a:pt x="104" y="57"/>
                    <a:pt x="105" y="58"/>
                    <a:pt x="104" y="59"/>
                  </a:cubicBezTo>
                  <a:cubicBezTo>
                    <a:pt x="104" y="59"/>
                    <a:pt x="103" y="60"/>
                    <a:pt x="103" y="60"/>
                  </a:cubicBezTo>
                  <a:cubicBezTo>
                    <a:pt x="103" y="60"/>
                    <a:pt x="102" y="61"/>
                    <a:pt x="102" y="61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1" y="63"/>
                    <a:pt x="101" y="63"/>
                  </a:cubicBezTo>
                  <a:cubicBezTo>
                    <a:pt x="100" y="64"/>
                    <a:pt x="100" y="65"/>
                    <a:pt x="99" y="66"/>
                  </a:cubicBezTo>
                  <a:cubicBezTo>
                    <a:pt x="99" y="66"/>
                    <a:pt x="99" y="67"/>
                    <a:pt x="99" y="67"/>
                  </a:cubicBezTo>
                  <a:cubicBezTo>
                    <a:pt x="99" y="69"/>
                    <a:pt x="99" y="70"/>
                    <a:pt x="98" y="71"/>
                  </a:cubicBezTo>
                  <a:cubicBezTo>
                    <a:pt x="98" y="73"/>
                    <a:pt x="98" y="74"/>
                    <a:pt x="98" y="75"/>
                  </a:cubicBezTo>
                  <a:cubicBezTo>
                    <a:pt x="97" y="76"/>
                    <a:pt x="95" y="76"/>
                    <a:pt x="94" y="76"/>
                  </a:cubicBezTo>
                  <a:cubicBezTo>
                    <a:pt x="92" y="77"/>
                    <a:pt x="91" y="79"/>
                    <a:pt x="90" y="81"/>
                  </a:cubicBezTo>
                  <a:cubicBezTo>
                    <a:pt x="89" y="82"/>
                    <a:pt x="89" y="83"/>
                    <a:pt x="89" y="84"/>
                  </a:cubicBezTo>
                  <a:cubicBezTo>
                    <a:pt x="88" y="86"/>
                    <a:pt x="89" y="87"/>
                    <a:pt x="88" y="89"/>
                  </a:cubicBezTo>
                  <a:cubicBezTo>
                    <a:pt x="88" y="91"/>
                    <a:pt x="86" y="94"/>
                    <a:pt x="84" y="96"/>
                  </a:cubicBezTo>
                  <a:cubicBezTo>
                    <a:pt x="83" y="96"/>
                    <a:pt x="81" y="97"/>
                    <a:pt x="81" y="98"/>
                  </a:cubicBezTo>
                  <a:cubicBezTo>
                    <a:pt x="80" y="99"/>
                    <a:pt x="80" y="101"/>
                    <a:pt x="80" y="102"/>
                  </a:cubicBezTo>
                  <a:cubicBezTo>
                    <a:pt x="79" y="103"/>
                    <a:pt x="79" y="104"/>
                    <a:pt x="78" y="105"/>
                  </a:cubicBezTo>
                  <a:cubicBezTo>
                    <a:pt x="77" y="106"/>
                    <a:pt x="77" y="107"/>
                    <a:pt x="77" y="108"/>
                  </a:cubicBezTo>
                  <a:cubicBezTo>
                    <a:pt x="76" y="109"/>
                    <a:pt x="76" y="109"/>
                    <a:pt x="75" y="109"/>
                  </a:cubicBezTo>
                  <a:cubicBezTo>
                    <a:pt x="75" y="110"/>
                    <a:pt x="75" y="112"/>
                    <a:pt x="75" y="113"/>
                  </a:cubicBezTo>
                  <a:cubicBezTo>
                    <a:pt x="75" y="115"/>
                    <a:pt x="74" y="117"/>
                    <a:pt x="74" y="118"/>
                  </a:cubicBezTo>
                  <a:cubicBezTo>
                    <a:pt x="74" y="120"/>
                    <a:pt x="74" y="122"/>
                    <a:pt x="73" y="123"/>
                  </a:cubicBezTo>
                  <a:cubicBezTo>
                    <a:pt x="72" y="125"/>
                    <a:pt x="71" y="126"/>
                    <a:pt x="70" y="126"/>
                  </a:cubicBezTo>
                  <a:cubicBezTo>
                    <a:pt x="70" y="127"/>
                    <a:pt x="70" y="127"/>
                    <a:pt x="69" y="12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7" y="128"/>
                    <a:pt x="67" y="128"/>
                    <a:pt x="67" y="129"/>
                  </a:cubicBezTo>
                  <a:cubicBezTo>
                    <a:pt x="66" y="129"/>
                    <a:pt x="66" y="132"/>
                    <a:pt x="64" y="132"/>
                  </a:cubicBezTo>
                  <a:cubicBezTo>
                    <a:pt x="64" y="132"/>
                    <a:pt x="64" y="132"/>
                    <a:pt x="64" y="133"/>
                  </a:cubicBezTo>
                  <a:cubicBezTo>
                    <a:pt x="62" y="133"/>
                    <a:pt x="63" y="134"/>
                    <a:pt x="62" y="135"/>
                  </a:cubicBezTo>
                  <a:cubicBezTo>
                    <a:pt x="61" y="136"/>
                    <a:pt x="60" y="136"/>
                    <a:pt x="59" y="137"/>
                  </a:cubicBezTo>
                  <a:cubicBezTo>
                    <a:pt x="59" y="138"/>
                    <a:pt x="59" y="139"/>
                    <a:pt x="59" y="139"/>
                  </a:cubicBezTo>
                  <a:cubicBezTo>
                    <a:pt x="59" y="140"/>
                    <a:pt x="58" y="140"/>
                    <a:pt x="58" y="141"/>
                  </a:cubicBezTo>
                  <a:cubicBezTo>
                    <a:pt x="57" y="142"/>
                    <a:pt x="56" y="143"/>
                    <a:pt x="55" y="145"/>
                  </a:cubicBezTo>
                  <a:cubicBezTo>
                    <a:pt x="55" y="146"/>
                    <a:pt x="54" y="148"/>
                    <a:pt x="54" y="149"/>
                  </a:cubicBezTo>
                  <a:cubicBezTo>
                    <a:pt x="54" y="149"/>
                    <a:pt x="55" y="150"/>
                    <a:pt x="54" y="151"/>
                  </a:cubicBezTo>
                  <a:cubicBezTo>
                    <a:pt x="54" y="151"/>
                    <a:pt x="53" y="151"/>
                    <a:pt x="53" y="152"/>
                  </a:cubicBezTo>
                  <a:cubicBezTo>
                    <a:pt x="53" y="152"/>
                    <a:pt x="53" y="153"/>
                    <a:pt x="52" y="154"/>
                  </a:cubicBezTo>
                  <a:cubicBezTo>
                    <a:pt x="52" y="154"/>
                    <a:pt x="51" y="155"/>
                    <a:pt x="51" y="155"/>
                  </a:cubicBezTo>
                  <a:cubicBezTo>
                    <a:pt x="50" y="156"/>
                    <a:pt x="50" y="157"/>
                    <a:pt x="49" y="158"/>
                  </a:cubicBezTo>
                  <a:cubicBezTo>
                    <a:pt x="49" y="159"/>
                    <a:pt x="48" y="159"/>
                    <a:pt x="48" y="159"/>
                  </a:cubicBezTo>
                  <a:cubicBezTo>
                    <a:pt x="48" y="158"/>
                    <a:pt x="47" y="161"/>
                    <a:pt x="47" y="161"/>
                  </a:cubicBezTo>
                  <a:cubicBezTo>
                    <a:pt x="46" y="161"/>
                    <a:pt x="46" y="162"/>
                    <a:pt x="46" y="162"/>
                  </a:cubicBezTo>
                  <a:cubicBezTo>
                    <a:pt x="46" y="162"/>
                    <a:pt x="45" y="163"/>
                    <a:pt x="46" y="163"/>
                  </a:cubicBezTo>
                  <a:cubicBezTo>
                    <a:pt x="45" y="164"/>
                    <a:pt x="45" y="165"/>
                    <a:pt x="43" y="166"/>
                  </a:cubicBezTo>
                  <a:cubicBezTo>
                    <a:pt x="42" y="166"/>
                    <a:pt x="40" y="166"/>
                    <a:pt x="38" y="166"/>
                  </a:cubicBezTo>
                  <a:cubicBezTo>
                    <a:pt x="37" y="166"/>
                    <a:pt x="36" y="166"/>
                    <a:pt x="34" y="165"/>
                  </a:cubicBezTo>
                  <a:cubicBezTo>
                    <a:pt x="33" y="164"/>
                    <a:pt x="32" y="164"/>
                    <a:pt x="31" y="164"/>
                  </a:cubicBezTo>
                  <a:cubicBezTo>
                    <a:pt x="28" y="164"/>
                    <a:pt x="27" y="167"/>
                    <a:pt x="26" y="168"/>
                  </a:cubicBezTo>
                  <a:cubicBezTo>
                    <a:pt x="22" y="177"/>
                    <a:pt x="12" y="171"/>
                    <a:pt x="5" y="172"/>
                  </a:cubicBezTo>
                  <a:cubicBezTo>
                    <a:pt x="4" y="172"/>
                    <a:pt x="4" y="173"/>
                    <a:pt x="2" y="173"/>
                  </a:cubicBezTo>
                  <a:cubicBezTo>
                    <a:pt x="2" y="173"/>
                    <a:pt x="1" y="173"/>
                    <a:pt x="0" y="173"/>
                  </a:cubicBezTo>
                  <a:cubicBezTo>
                    <a:pt x="5" y="182"/>
                    <a:pt x="5" y="182"/>
                    <a:pt x="5" y="182"/>
                  </a:cubicBezTo>
                  <a:cubicBezTo>
                    <a:pt x="5" y="184"/>
                    <a:pt x="4" y="186"/>
                    <a:pt x="6" y="188"/>
                  </a:cubicBezTo>
                  <a:cubicBezTo>
                    <a:pt x="6" y="189"/>
                    <a:pt x="7" y="189"/>
                    <a:pt x="8" y="189"/>
                  </a:cubicBezTo>
                  <a:cubicBezTo>
                    <a:pt x="10" y="190"/>
                    <a:pt x="13" y="190"/>
                    <a:pt x="14" y="193"/>
                  </a:cubicBezTo>
                  <a:cubicBezTo>
                    <a:pt x="14" y="195"/>
                    <a:pt x="14" y="194"/>
                    <a:pt x="16" y="195"/>
                  </a:cubicBezTo>
                  <a:cubicBezTo>
                    <a:pt x="17" y="195"/>
                    <a:pt x="18" y="196"/>
                    <a:pt x="18" y="197"/>
                  </a:cubicBezTo>
                  <a:cubicBezTo>
                    <a:pt x="19" y="198"/>
                    <a:pt x="18" y="198"/>
                    <a:pt x="19" y="199"/>
                  </a:cubicBezTo>
                  <a:cubicBezTo>
                    <a:pt x="19" y="199"/>
                    <a:pt x="20" y="200"/>
                    <a:pt x="20" y="200"/>
                  </a:cubicBezTo>
                  <a:cubicBezTo>
                    <a:pt x="20" y="201"/>
                    <a:pt x="21" y="203"/>
                    <a:pt x="22" y="203"/>
                  </a:cubicBezTo>
                  <a:cubicBezTo>
                    <a:pt x="23" y="203"/>
                    <a:pt x="23" y="202"/>
                    <a:pt x="24" y="202"/>
                  </a:cubicBezTo>
                  <a:cubicBezTo>
                    <a:pt x="24" y="201"/>
                    <a:pt x="25" y="202"/>
                    <a:pt x="26" y="202"/>
                  </a:cubicBezTo>
                  <a:cubicBezTo>
                    <a:pt x="27" y="202"/>
                    <a:pt x="28" y="202"/>
                    <a:pt x="29" y="203"/>
                  </a:cubicBezTo>
                  <a:cubicBezTo>
                    <a:pt x="30" y="205"/>
                    <a:pt x="29" y="208"/>
                    <a:pt x="29" y="210"/>
                  </a:cubicBezTo>
                  <a:cubicBezTo>
                    <a:pt x="29" y="211"/>
                    <a:pt x="29" y="213"/>
                    <a:pt x="29" y="214"/>
                  </a:cubicBezTo>
                  <a:cubicBezTo>
                    <a:pt x="29" y="215"/>
                    <a:pt x="28" y="215"/>
                    <a:pt x="28" y="216"/>
                  </a:cubicBezTo>
                  <a:cubicBezTo>
                    <a:pt x="27" y="218"/>
                    <a:pt x="28" y="222"/>
                    <a:pt x="30" y="222"/>
                  </a:cubicBezTo>
                  <a:cubicBezTo>
                    <a:pt x="31" y="223"/>
                    <a:pt x="28" y="225"/>
                    <a:pt x="27" y="226"/>
                  </a:cubicBezTo>
                  <a:cubicBezTo>
                    <a:pt x="27" y="227"/>
                    <a:pt x="27" y="228"/>
                    <a:pt x="28" y="229"/>
                  </a:cubicBezTo>
                  <a:cubicBezTo>
                    <a:pt x="28" y="231"/>
                    <a:pt x="29" y="231"/>
                    <a:pt x="31" y="231"/>
                  </a:cubicBezTo>
                  <a:cubicBezTo>
                    <a:pt x="34" y="232"/>
                    <a:pt x="34" y="232"/>
                    <a:pt x="34" y="235"/>
                  </a:cubicBezTo>
                  <a:cubicBezTo>
                    <a:pt x="34" y="236"/>
                    <a:pt x="34" y="237"/>
                    <a:pt x="34" y="238"/>
                  </a:cubicBezTo>
                  <a:cubicBezTo>
                    <a:pt x="35" y="239"/>
                    <a:pt x="36" y="240"/>
                    <a:pt x="38" y="241"/>
                  </a:cubicBezTo>
                  <a:cubicBezTo>
                    <a:pt x="44" y="243"/>
                    <a:pt x="50" y="243"/>
                    <a:pt x="57" y="243"/>
                  </a:cubicBezTo>
                  <a:cubicBezTo>
                    <a:pt x="58" y="243"/>
                    <a:pt x="59" y="243"/>
                    <a:pt x="60" y="244"/>
                  </a:cubicBezTo>
                  <a:cubicBezTo>
                    <a:pt x="61" y="245"/>
                    <a:pt x="61" y="245"/>
                    <a:pt x="61" y="246"/>
                  </a:cubicBezTo>
                  <a:cubicBezTo>
                    <a:pt x="62" y="246"/>
                    <a:pt x="63" y="246"/>
                    <a:pt x="63" y="247"/>
                  </a:cubicBezTo>
                  <a:cubicBezTo>
                    <a:pt x="64" y="248"/>
                    <a:pt x="63" y="248"/>
                    <a:pt x="62" y="249"/>
                  </a:cubicBezTo>
                  <a:cubicBezTo>
                    <a:pt x="62" y="250"/>
                    <a:pt x="62" y="251"/>
                    <a:pt x="63" y="252"/>
                  </a:cubicBezTo>
                  <a:cubicBezTo>
                    <a:pt x="64" y="253"/>
                    <a:pt x="65" y="253"/>
                    <a:pt x="65" y="254"/>
                  </a:cubicBezTo>
                  <a:cubicBezTo>
                    <a:pt x="65" y="255"/>
                    <a:pt x="64" y="256"/>
                    <a:pt x="63" y="257"/>
                  </a:cubicBezTo>
                  <a:cubicBezTo>
                    <a:pt x="62" y="258"/>
                    <a:pt x="61" y="258"/>
                    <a:pt x="61" y="260"/>
                  </a:cubicBezTo>
                  <a:cubicBezTo>
                    <a:pt x="61" y="260"/>
                    <a:pt x="61" y="261"/>
                    <a:pt x="60" y="261"/>
                  </a:cubicBezTo>
                  <a:cubicBezTo>
                    <a:pt x="60" y="262"/>
                    <a:pt x="60" y="262"/>
                    <a:pt x="60" y="262"/>
                  </a:cubicBezTo>
                  <a:cubicBezTo>
                    <a:pt x="59" y="263"/>
                    <a:pt x="58" y="263"/>
                    <a:pt x="58" y="264"/>
                  </a:cubicBezTo>
                  <a:cubicBezTo>
                    <a:pt x="57" y="265"/>
                    <a:pt x="58" y="268"/>
                    <a:pt x="59" y="269"/>
                  </a:cubicBezTo>
                  <a:cubicBezTo>
                    <a:pt x="60" y="270"/>
                    <a:pt x="62" y="270"/>
                    <a:pt x="63" y="271"/>
                  </a:cubicBezTo>
                  <a:cubicBezTo>
                    <a:pt x="63" y="271"/>
                    <a:pt x="64" y="272"/>
                    <a:pt x="65" y="273"/>
                  </a:cubicBezTo>
                  <a:cubicBezTo>
                    <a:pt x="66" y="274"/>
                    <a:pt x="67" y="277"/>
                    <a:pt x="65" y="278"/>
                  </a:cubicBezTo>
                  <a:cubicBezTo>
                    <a:pt x="64" y="278"/>
                    <a:pt x="62" y="277"/>
                    <a:pt x="60" y="278"/>
                  </a:cubicBezTo>
                  <a:cubicBezTo>
                    <a:pt x="59" y="278"/>
                    <a:pt x="59" y="279"/>
                    <a:pt x="58" y="280"/>
                  </a:cubicBezTo>
                  <a:cubicBezTo>
                    <a:pt x="57" y="281"/>
                    <a:pt x="56" y="281"/>
                    <a:pt x="57" y="282"/>
                  </a:cubicBezTo>
                  <a:cubicBezTo>
                    <a:pt x="57" y="283"/>
                    <a:pt x="57" y="284"/>
                    <a:pt x="58" y="285"/>
                  </a:cubicBezTo>
                  <a:cubicBezTo>
                    <a:pt x="59" y="285"/>
                    <a:pt x="60" y="285"/>
                    <a:pt x="61" y="285"/>
                  </a:cubicBezTo>
                  <a:cubicBezTo>
                    <a:pt x="62" y="285"/>
                    <a:pt x="65" y="285"/>
                    <a:pt x="65" y="285"/>
                  </a:cubicBezTo>
                  <a:cubicBezTo>
                    <a:pt x="66" y="286"/>
                    <a:pt x="66" y="286"/>
                    <a:pt x="66" y="287"/>
                  </a:cubicBezTo>
                  <a:cubicBezTo>
                    <a:pt x="66" y="287"/>
                    <a:pt x="67" y="288"/>
                    <a:pt x="67" y="288"/>
                  </a:cubicBezTo>
                  <a:cubicBezTo>
                    <a:pt x="67" y="289"/>
                    <a:pt x="67" y="289"/>
                    <a:pt x="67" y="290"/>
                  </a:cubicBezTo>
                  <a:cubicBezTo>
                    <a:pt x="68" y="291"/>
                    <a:pt x="69" y="291"/>
                    <a:pt x="70" y="292"/>
                  </a:cubicBezTo>
                  <a:cubicBezTo>
                    <a:pt x="70" y="292"/>
                    <a:pt x="71" y="292"/>
                    <a:pt x="71" y="292"/>
                  </a:cubicBezTo>
                  <a:cubicBezTo>
                    <a:pt x="71" y="292"/>
                    <a:pt x="71" y="292"/>
                    <a:pt x="71" y="292"/>
                  </a:cubicBezTo>
                  <a:cubicBezTo>
                    <a:pt x="74" y="293"/>
                    <a:pt x="77" y="294"/>
                    <a:pt x="80" y="295"/>
                  </a:cubicBezTo>
                  <a:cubicBezTo>
                    <a:pt x="83" y="296"/>
                    <a:pt x="85" y="298"/>
                    <a:pt x="87" y="300"/>
                  </a:cubicBezTo>
                  <a:cubicBezTo>
                    <a:pt x="88" y="300"/>
                    <a:pt x="89" y="301"/>
                    <a:pt x="90" y="301"/>
                  </a:cubicBezTo>
                  <a:cubicBezTo>
                    <a:pt x="91" y="302"/>
                    <a:pt x="92" y="302"/>
                    <a:pt x="93" y="303"/>
                  </a:cubicBezTo>
                  <a:cubicBezTo>
                    <a:pt x="93" y="303"/>
                    <a:pt x="93" y="305"/>
                    <a:pt x="94" y="305"/>
                  </a:cubicBezTo>
                  <a:cubicBezTo>
                    <a:pt x="94" y="307"/>
                    <a:pt x="94" y="307"/>
                    <a:pt x="96" y="307"/>
                  </a:cubicBezTo>
                  <a:cubicBezTo>
                    <a:pt x="99" y="308"/>
                    <a:pt x="100" y="308"/>
                    <a:pt x="102" y="306"/>
                  </a:cubicBezTo>
                  <a:cubicBezTo>
                    <a:pt x="103" y="305"/>
                    <a:pt x="103" y="306"/>
                    <a:pt x="104" y="304"/>
                  </a:cubicBezTo>
                  <a:cubicBezTo>
                    <a:pt x="104" y="304"/>
                    <a:pt x="104" y="303"/>
                    <a:pt x="104" y="303"/>
                  </a:cubicBezTo>
                  <a:cubicBezTo>
                    <a:pt x="105" y="302"/>
                    <a:pt x="105" y="301"/>
                    <a:pt x="105" y="301"/>
                  </a:cubicBezTo>
                  <a:cubicBezTo>
                    <a:pt x="106" y="300"/>
                    <a:pt x="106" y="299"/>
                    <a:pt x="107" y="299"/>
                  </a:cubicBezTo>
                  <a:cubicBezTo>
                    <a:pt x="109" y="297"/>
                    <a:pt x="109" y="294"/>
                    <a:pt x="112" y="293"/>
                  </a:cubicBezTo>
                  <a:cubicBezTo>
                    <a:pt x="115" y="292"/>
                    <a:pt x="117" y="295"/>
                    <a:pt x="120" y="296"/>
                  </a:cubicBezTo>
                  <a:cubicBezTo>
                    <a:pt x="123" y="298"/>
                    <a:pt x="125" y="298"/>
                    <a:pt x="128" y="300"/>
                  </a:cubicBezTo>
                  <a:cubicBezTo>
                    <a:pt x="130" y="301"/>
                    <a:pt x="133" y="302"/>
                    <a:pt x="132" y="305"/>
                  </a:cubicBezTo>
                  <a:cubicBezTo>
                    <a:pt x="131" y="307"/>
                    <a:pt x="128" y="307"/>
                    <a:pt x="125" y="307"/>
                  </a:cubicBezTo>
                  <a:cubicBezTo>
                    <a:pt x="124" y="308"/>
                    <a:pt x="123" y="308"/>
                    <a:pt x="122" y="309"/>
                  </a:cubicBezTo>
                  <a:cubicBezTo>
                    <a:pt x="121" y="309"/>
                    <a:pt x="121" y="309"/>
                    <a:pt x="120" y="310"/>
                  </a:cubicBezTo>
                  <a:cubicBezTo>
                    <a:pt x="120" y="310"/>
                    <a:pt x="118" y="310"/>
                    <a:pt x="118" y="311"/>
                  </a:cubicBezTo>
                  <a:cubicBezTo>
                    <a:pt x="118" y="312"/>
                    <a:pt x="118" y="312"/>
                    <a:pt x="118" y="313"/>
                  </a:cubicBezTo>
                  <a:cubicBezTo>
                    <a:pt x="117" y="313"/>
                    <a:pt x="117" y="313"/>
                    <a:pt x="116" y="314"/>
                  </a:cubicBezTo>
                  <a:cubicBezTo>
                    <a:pt x="116" y="315"/>
                    <a:pt x="117" y="315"/>
                    <a:pt x="117" y="316"/>
                  </a:cubicBezTo>
                  <a:cubicBezTo>
                    <a:pt x="117" y="317"/>
                    <a:pt x="118" y="318"/>
                    <a:pt x="119" y="318"/>
                  </a:cubicBezTo>
                  <a:cubicBezTo>
                    <a:pt x="119" y="319"/>
                    <a:pt x="118" y="321"/>
                    <a:pt x="119" y="322"/>
                  </a:cubicBezTo>
                  <a:cubicBezTo>
                    <a:pt x="120" y="323"/>
                    <a:pt x="121" y="323"/>
                    <a:pt x="122" y="324"/>
                  </a:cubicBezTo>
                  <a:cubicBezTo>
                    <a:pt x="122" y="324"/>
                    <a:pt x="123" y="325"/>
                    <a:pt x="123" y="326"/>
                  </a:cubicBezTo>
                  <a:cubicBezTo>
                    <a:pt x="125" y="327"/>
                    <a:pt x="126" y="329"/>
                    <a:pt x="126" y="331"/>
                  </a:cubicBezTo>
                  <a:cubicBezTo>
                    <a:pt x="126" y="332"/>
                    <a:pt x="126" y="333"/>
                    <a:pt x="126" y="334"/>
                  </a:cubicBezTo>
                  <a:cubicBezTo>
                    <a:pt x="128" y="334"/>
                    <a:pt x="130" y="335"/>
                    <a:pt x="132" y="335"/>
                  </a:cubicBezTo>
                  <a:cubicBezTo>
                    <a:pt x="134" y="336"/>
                    <a:pt x="135" y="337"/>
                    <a:pt x="136" y="338"/>
                  </a:cubicBezTo>
                  <a:cubicBezTo>
                    <a:pt x="139" y="340"/>
                    <a:pt x="144" y="341"/>
                    <a:pt x="145" y="344"/>
                  </a:cubicBezTo>
                  <a:cubicBezTo>
                    <a:pt x="146" y="347"/>
                    <a:pt x="143" y="348"/>
                    <a:pt x="141" y="349"/>
                  </a:cubicBezTo>
                  <a:cubicBezTo>
                    <a:pt x="140" y="350"/>
                    <a:pt x="138" y="351"/>
                    <a:pt x="137" y="352"/>
                  </a:cubicBezTo>
                  <a:cubicBezTo>
                    <a:pt x="136" y="352"/>
                    <a:pt x="136" y="355"/>
                    <a:pt x="136" y="356"/>
                  </a:cubicBezTo>
                  <a:cubicBezTo>
                    <a:pt x="136" y="358"/>
                    <a:pt x="136" y="363"/>
                    <a:pt x="138" y="365"/>
                  </a:cubicBezTo>
                  <a:cubicBezTo>
                    <a:pt x="140" y="366"/>
                    <a:pt x="141" y="366"/>
                    <a:pt x="143" y="366"/>
                  </a:cubicBezTo>
                  <a:cubicBezTo>
                    <a:pt x="145" y="366"/>
                    <a:pt x="146" y="367"/>
                    <a:pt x="148" y="367"/>
                  </a:cubicBezTo>
                  <a:cubicBezTo>
                    <a:pt x="151" y="368"/>
                    <a:pt x="153" y="364"/>
                    <a:pt x="157" y="364"/>
                  </a:cubicBezTo>
                  <a:cubicBezTo>
                    <a:pt x="162" y="364"/>
                    <a:pt x="166" y="365"/>
                    <a:pt x="171" y="365"/>
                  </a:cubicBezTo>
                  <a:cubicBezTo>
                    <a:pt x="174" y="365"/>
                    <a:pt x="177" y="365"/>
                    <a:pt x="180" y="367"/>
                  </a:cubicBezTo>
                  <a:cubicBezTo>
                    <a:pt x="182" y="367"/>
                    <a:pt x="183" y="368"/>
                    <a:pt x="185" y="369"/>
                  </a:cubicBezTo>
                  <a:cubicBezTo>
                    <a:pt x="186" y="369"/>
                    <a:pt x="188" y="369"/>
                    <a:pt x="189" y="370"/>
                  </a:cubicBezTo>
                  <a:cubicBezTo>
                    <a:pt x="192" y="371"/>
                    <a:pt x="194" y="372"/>
                    <a:pt x="197" y="373"/>
                  </a:cubicBezTo>
                  <a:cubicBezTo>
                    <a:pt x="198" y="374"/>
                    <a:pt x="200" y="375"/>
                    <a:pt x="201" y="375"/>
                  </a:cubicBezTo>
                  <a:cubicBezTo>
                    <a:pt x="202" y="375"/>
                    <a:pt x="202" y="374"/>
                    <a:pt x="203" y="374"/>
                  </a:cubicBezTo>
                  <a:cubicBezTo>
                    <a:pt x="207" y="374"/>
                    <a:pt x="209" y="378"/>
                    <a:pt x="213" y="379"/>
                  </a:cubicBezTo>
                  <a:cubicBezTo>
                    <a:pt x="215" y="379"/>
                    <a:pt x="219" y="379"/>
                    <a:pt x="221" y="378"/>
                  </a:cubicBezTo>
                  <a:cubicBezTo>
                    <a:pt x="223" y="377"/>
                    <a:pt x="225" y="375"/>
                    <a:pt x="228" y="375"/>
                  </a:cubicBezTo>
                  <a:cubicBezTo>
                    <a:pt x="232" y="374"/>
                    <a:pt x="236" y="375"/>
                    <a:pt x="240" y="376"/>
                  </a:cubicBezTo>
                  <a:cubicBezTo>
                    <a:pt x="242" y="376"/>
                    <a:pt x="244" y="376"/>
                    <a:pt x="246" y="375"/>
                  </a:cubicBezTo>
                  <a:cubicBezTo>
                    <a:pt x="248" y="374"/>
                    <a:pt x="248" y="373"/>
                    <a:pt x="251" y="374"/>
                  </a:cubicBezTo>
                  <a:cubicBezTo>
                    <a:pt x="253" y="375"/>
                    <a:pt x="255" y="378"/>
                    <a:pt x="257" y="378"/>
                  </a:cubicBezTo>
                  <a:cubicBezTo>
                    <a:pt x="259" y="378"/>
                    <a:pt x="261" y="378"/>
                    <a:pt x="263" y="378"/>
                  </a:cubicBezTo>
                  <a:cubicBezTo>
                    <a:pt x="266" y="379"/>
                    <a:pt x="269" y="380"/>
                    <a:pt x="271" y="381"/>
                  </a:cubicBezTo>
                  <a:cubicBezTo>
                    <a:pt x="272" y="381"/>
                    <a:pt x="273" y="382"/>
                    <a:pt x="274" y="382"/>
                  </a:cubicBezTo>
                  <a:cubicBezTo>
                    <a:pt x="275" y="382"/>
                    <a:pt x="275" y="382"/>
                    <a:pt x="275" y="382"/>
                  </a:cubicBezTo>
                  <a:cubicBezTo>
                    <a:pt x="278" y="382"/>
                    <a:pt x="281" y="384"/>
                    <a:pt x="283" y="384"/>
                  </a:cubicBezTo>
                  <a:cubicBezTo>
                    <a:pt x="285" y="384"/>
                    <a:pt x="285" y="384"/>
                    <a:pt x="286" y="383"/>
                  </a:cubicBezTo>
                  <a:cubicBezTo>
                    <a:pt x="288" y="382"/>
                    <a:pt x="289" y="382"/>
                    <a:pt x="290" y="381"/>
                  </a:cubicBezTo>
                  <a:cubicBezTo>
                    <a:pt x="292" y="379"/>
                    <a:pt x="293" y="379"/>
                    <a:pt x="295" y="379"/>
                  </a:cubicBezTo>
                  <a:cubicBezTo>
                    <a:pt x="297" y="379"/>
                    <a:pt x="299" y="380"/>
                    <a:pt x="300" y="378"/>
                  </a:cubicBezTo>
                  <a:cubicBezTo>
                    <a:pt x="301" y="377"/>
                    <a:pt x="300" y="376"/>
                    <a:pt x="300" y="375"/>
                  </a:cubicBezTo>
                  <a:cubicBezTo>
                    <a:pt x="301" y="373"/>
                    <a:pt x="304" y="372"/>
                    <a:pt x="305" y="371"/>
                  </a:cubicBezTo>
                  <a:cubicBezTo>
                    <a:pt x="307" y="370"/>
                    <a:pt x="308" y="369"/>
                    <a:pt x="308" y="367"/>
                  </a:cubicBezTo>
                  <a:cubicBezTo>
                    <a:pt x="308" y="366"/>
                    <a:pt x="308" y="365"/>
                    <a:pt x="308" y="364"/>
                  </a:cubicBezTo>
                  <a:cubicBezTo>
                    <a:pt x="309" y="363"/>
                    <a:pt x="311" y="362"/>
                    <a:pt x="313" y="361"/>
                  </a:cubicBezTo>
                  <a:cubicBezTo>
                    <a:pt x="314" y="360"/>
                    <a:pt x="315" y="359"/>
                    <a:pt x="316" y="359"/>
                  </a:cubicBezTo>
                  <a:cubicBezTo>
                    <a:pt x="318" y="357"/>
                    <a:pt x="321" y="357"/>
                    <a:pt x="324" y="356"/>
                  </a:cubicBezTo>
                  <a:cubicBezTo>
                    <a:pt x="326" y="355"/>
                    <a:pt x="328" y="355"/>
                    <a:pt x="331" y="355"/>
                  </a:cubicBezTo>
                  <a:cubicBezTo>
                    <a:pt x="333" y="354"/>
                    <a:pt x="334" y="354"/>
                    <a:pt x="335" y="353"/>
                  </a:cubicBezTo>
                  <a:cubicBezTo>
                    <a:pt x="338" y="352"/>
                    <a:pt x="341" y="350"/>
                    <a:pt x="344" y="350"/>
                  </a:cubicBezTo>
                  <a:cubicBezTo>
                    <a:pt x="346" y="350"/>
                    <a:pt x="349" y="350"/>
                    <a:pt x="351" y="350"/>
                  </a:cubicBezTo>
                  <a:cubicBezTo>
                    <a:pt x="354" y="350"/>
                    <a:pt x="356" y="350"/>
                    <a:pt x="358" y="349"/>
                  </a:cubicBezTo>
                  <a:cubicBezTo>
                    <a:pt x="361" y="348"/>
                    <a:pt x="363" y="347"/>
                    <a:pt x="366" y="345"/>
                  </a:cubicBezTo>
                  <a:cubicBezTo>
                    <a:pt x="368" y="344"/>
                    <a:pt x="370" y="342"/>
                    <a:pt x="373" y="343"/>
                  </a:cubicBezTo>
                  <a:cubicBezTo>
                    <a:pt x="374" y="343"/>
                    <a:pt x="376" y="344"/>
                    <a:pt x="377" y="345"/>
                  </a:cubicBezTo>
                  <a:cubicBezTo>
                    <a:pt x="378" y="345"/>
                    <a:pt x="380" y="346"/>
                    <a:pt x="382" y="347"/>
                  </a:cubicBezTo>
                  <a:cubicBezTo>
                    <a:pt x="383" y="348"/>
                    <a:pt x="383" y="349"/>
                    <a:pt x="384" y="350"/>
                  </a:cubicBezTo>
                  <a:cubicBezTo>
                    <a:pt x="385" y="351"/>
                    <a:pt x="386" y="351"/>
                    <a:pt x="387" y="352"/>
                  </a:cubicBezTo>
                  <a:cubicBezTo>
                    <a:pt x="388" y="352"/>
                    <a:pt x="389" y="353"/>
                    <a:pt x="390" y="353"/>
                  </a:cubicBezTo>
                  <a:cubicBezTo>
                    <a:pt x="390" y="353"/>
                    <a:pt x="392" y="353"/>
                    <a:pt x="393" y="353"/>
                  </a:cubicBezTo>
                  <a:cubicBezTo>
                    <a:pt x="394" y="353"/>
                    <a:pt x="396" y="354"/>
                    <a:pt x="397" y="355"/>
                  </a:cubicBezTo>
                  <a:cubicBezTo>
                    <a:pt x="398" y="355"/>
                    <a:pt x="398" y="355"/>
                    <a:pt x="399" y="355"/>
                  </a:cubicBezTo>
                  <a:cubicBezTo>
                    <a:pt x="399" y="355"/>
                    <a:pt x="401" y="354"/>
                    <a:pt x="401" y="354"/>
                  </a:cubicBezTo>
                  <a:cubicBezTo>
                    <a:pt x="402" y="354"/>
                    <a:pt x="403" y="354"/>
                    <a:pt x="404" y="354"/>
                  </a:cubicBezTo>
                  <a:cubicBezTo>
                    <a:pt x="407" y="354"/>
                    <a:pt x="406" y="354"/>
                    <a:pt x="407" y="356"/>
                  </a:cubicBezTo>
                  <a:cubicBezTo>
                    <a:pt x="407" y="357"/>
                    <a:pt x="408" y="357"/>
                    <a:pt x="408" y="358"/>
                  </a:cubicBezTo>
                  <a:cubicBezTo>
                    <a:pt x="409" y="358"/>
                    <a:pt x="410" y="360"/>
                    <a:pt x="410" y="360"/>
                  </a:cubicBezTo>
                  <a:cubicBezTo>
                    <a:pt x="411" y="360"/>
                    <a:pt x="413" y="360"/>
                    <a:pt x="414" y="360"/>
                  </a:cubicBezTo>
                  <a:cubicBezTo>
                    <a:pt x="415" y="359"/>
                    <a:pt x="420" y="355"/>
                    <a:pt x="421" y="357"/>
                  </a:cubicBezTo>
                  <a:cubicBezTo>
                    <a:pt x="421" y="358"/>
                    <a:pt x="421" y="358"/>
                    <a:pt x="421" y="359"/>
                  </a:cubicBezTo>
                  <a:cubicBezTo>
                    <a:pt x="421" y="359"/>
                    <a:pt x="421" y="360"/>
                    <a:pt x="422" y="360"/>
                  </a:cubicBezTo>
                  <a:cubicBezTo>
                    <a:pt x="423" y="362"/>
                    <a:pt x="423" y="362"/>
                    <a:pt x="423" y="364"/>
                  </a:cubicBezTo>
                  <a:cubicBezTo>
                    <a:pt x="424" y="365"/>
                    <a:pt x="423" y="366"/>
                    <a:pt x="424" y="367"/>
                  </a:cubicBezTo>
                  <a:cubicBezTo>
                    <a:pt x="425" y="368"/>
                    <a:pt x="425" y="368"/>
                    <a:pt x="426" y="368"/>
                  </a:cubicBezTo>
                  <a:cubicBezTo>
                    <a:pt x="426" y="368"/>
                    <a:pt x="426" y="369"/>
                    <a:pt x="426" y="369"/>
                  </a:cubicBezTo>
                  <a:cubicBezTo>
                    <a:pt x="427" y="370"/>
                    <a:pt x="428" y="370"/>
                    <a:pt x="428" y="372"/>
                  </a:cubicBezTo>
                  <a:cubicBezTo>
                    <a:pt x="429" y="372"/>
                    <a:pt x="428" y="373"/>
                    <a:pt x="429" y="373"/>
                  </a:cubicBezTo>
                  <a:cubicBezTo>
                    <a:pt x="429" y="374"/>
                    <a:pt x="430" y="375"/>
                    <a:pt x="431" y="375"/>
                  </a:cubicBezTo>
                  <a:cubicBezTo>
                    <a:pt x="433" y="376"/>
                    <a:pt x="436" y="376"/>
                    <a:pt x="439" y="377"/>
                  </a:cubicBezTo>
                  <a:cubicBezTo>
                    <a:pt x="441" y="377"/>
                    <a:pt x="443" y="378"/>
                    <a:pt x="446" y="379"/>
                  </a:cubicBezTo>
                  <a:cubicBezTo>
                    <a:pt x="449" y="379"/>
                    <a:pt x="452" y="379"/>
                    <a:pt x="456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9"/>
                    <a:pt x="455" y="379"/>
                    <a:pt x="455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8"/>
                    <a:pt x="456" y="377"/>
                    <a:pt x="456" y="376"/>
                  </a:cubicBezTo>
                  <a:cubicBezTo>
                    <a:pt x="457" y="372"/>
                    <a:pt x="458" y="369"/>
                    <a:pt x="458" y="366"/>
                  </a:cubicBezTo>
                  <a:cubicBezTo>
                    <a:pt x="458" y="362"/>
                    <a:pt x="458" y="359"/>
                    <a:pt x="458" y="356"/>
                  </a:cubicBezTo>
                  <a:cubicBezTo>
                    <a:pt x="458" y="347"/>
                    <a:pt x="457" y="340"/>
                    <a:pt x="462" y="332"/>
                  </a:cubicBezTo>
                  <a:cubicBezTo>
                    <a:pt x="465" y="330"/>
                    <a:pt x="466" y="328"/>
                    <a:pt x="466" y="325"/>
                  </a:cubicBezTo>
                  <a:cubicBezTo>
                    <a:pt x="466" y="323"/>
                    <a:pt x="466" y="322"/>
                    <a:pt x="466" y="321"/>
                  </a:cubicBezTo>
                  <a:cubicBezTo>
                    <a:pt x="466" y="321"/>
                    <a:pt x="467" y="319"/>
                    <a:pt x="467" y="319"/>
                  </a:cubicBezTo>
                  <a:cubicBezTo>
                    <a:pt x="467" y="318"/>
                    <a:pt x="467" y="317"/>
                    <a:pt x="468" y="316"/>
                  </a:cubicBezTo>
                  <a:cubicBezTo>
                    <a:pt x="469" y="314"/>
                    <a:pt x="469" y="312"/>
                    <a:pt x="469" y="309"/>
                  </a:cubicBezTo>
                  <a:cubicBezTo>
                    <a:pt x="469" y="308"/>
                    <a:pt x="468" y="306"/>
                    <a:pt x="467" y="305"/>
                  </a:cubicBezTo>
                  <a:cubicBezTo>
                    <a:pt x="466" y="304"/>
                    <a:pt x="465" y="304"/>
                    <a:pt x="464" y="302"/>
                  </a:cubicBezTo>
                  <a:cubicBezTo>
                    <a:pt x="466" y="302"/>
                    <a:pt x="468" y="302"/>
                    <a:pt x="470" y="302"/>
                  </a:cubicBezTo>
                  <a:cubicBezTo>
                    <a:pt x="472" y="302"/>
                    <a:pt x="472" y="301"/>
                    <a:pt x="474" y="299"/>
                  </a:cubicBezTo>
                  <a:cubicBezTo>
                    <a:pt x="475" y="297"/>
                    <a:pt x="476" y="296"/>
                    <a:pt x="476" y="294"/>
                  </a:cubicBezTo>
                  <a:cubicBezTo>
                    <a:pt x="476" y="291"/>
                    <a:pt x="473" y="290"/>
                    <a:pt x="472" y="288"/>
                  </a:cubicBezTo>
                  <a:cubicBezTo>
                    <a:pt x="471" y="284"/>
                    <a:pt x="472" y="279"/>
                    <a:pt x="475" y="278"/>
                  </a:cubicBezTo>
                  <a:cubicBezTo>
                    <a:pt x="477" y="277"/>
                    <a:pt x="479" y="278"/>
                    <a:pt x="481" y="277"/>
                  </a:cubicBezTo>
                  <a:cubicBezTo>
                    <a:pt x="483" y="277"/>
                    <a:pt x="482" y="274"/>
                    <a:pt x="484" y="274"/>
                  </a:cubicBezTo>
                  <a:cubicBezTo>
                    <a:pt x="485" y="279"/>
                    <a:pt x="479" y="280"/>
                    <a:pt x="478" y="285"/>
                  </a:cubicBezTo>
                  <a:cubicBezTo>
                    <a:pt x="477" y="290"/>
                    <a:pt x="488" y="288"/>
                    <a:pt x="491" y="289"/>
                  </a:cubicBezTo>
                  <a:cubicBezTo>
                    <a:pt x="492" y="289"/>
                    <a:pt x="493" y="288"/>
                    <a:pt x="494" y="289"/>
                  </a:cubicBezTo>
                  <a:cubicBezTo>
                    <a:pt x="494" y="290"/>
                    <a:pt x="494" y="291"/>
                    <a:pt x="494" y="292"/>
                  </a:cubicBezTo>
                  <a:cubicBezTo>
                    <a:pt x="496" y="293"/>
                    <a:pt x="500" y="292"/>
                    <a:pt x="502" y="292"/>
                  </a:cubicBezTo>
                  <a:cubicBezTo>
                    <a:pt x="507" y="292"/>
                    <a:pt x="512" y="292"/>
                    <a:pt x="515" y="288"/>
                  </a:cubicBezTo>
                  <a:cubicBezTo>
                    <a:pt x="516" y="287"/>
                    <a:pt x="516" y="286"/>
                    <a:pt x="517" y="285"/>
                  </a:cubicBezTo>
                  <a:cubicBezTo>
                    <a:pt x="517" y="284"/>
                    <a:pt x="517" y="281"/>
                    <a:pt x="518" y="280"/>
                  </a:cubicBezTo>
                  <a:cubicBezTo>
                    <a:pt x="518" y="278"/>
                    <a:pt x="518" y="276"/>
                    <a:pt x="518" y="274"/>
                  </a:cubicBezTo>
                  <a:cubicBezTo>
                    <a:pt x="518" y="271"/>
                    <a:pt x="520" y="268"/>
                    <a:pt x="521" y="265"/>
                  </a:cubicBezTo>
                  <a:cubicBezTo>
                    <a:pt x="521" y="262"/>
                    <a:pt x="522" y="259"/>
                    <a:pt x="523" y="257"/>
                  </a:cubicBezTo>
                  <a:cubicBezTo>
                    <a:pt x="523" y="257"/>
                    <a:pt x="525" y="255"/>
                    <a:pt x="525" y="25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5" name="Freeform 35">
              <a:extLst>
                <a:ext uri="{FF2B5EF4-FFF2-40B4-BE49-F238E27FC236}">
                  <a16:creationId xmlns:a16="http://schemas.microsoft.com/office/drawing/2014/main" id="{ACE3409F-5D08-495F-BAD3-2847471BF6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0925" y="4779963"/>
              <a:ext cx="336550" cy="477838"/>
            </a:xfrm>
            <a:custGeom>
              <a:avLst/>
              <a:gdLst/>
              <a:ahLst/>
              <a:cxnLst>
                <a:cxn ang="0">
                  <a:pos x="169" y="144"/>
                </a:cxn>
                <a:cxn ang="0">
                  <a:pos x="163" y="133"/>
                </a:cxn>
                <a:cxn ang="0">
                  <a:pos x="158" y="123"/>
                </a:cxn>
                <a:cxn ang="0">
                  <a:pos x="159" y="115"/>
                </a:cxn>
                <a:cxn ang="0">
                  <a:pos x="160" y="101"/>
                </a:cxn>
                <a:cxn ang="0">
                  <a:pos x="150" y="101"/>
                </a:cxn>
                <a:cxn ang="0">
                  <a:pos x="144" y="96"/>
                </a:cxn>
                <a:cxn ang="0">
                  <a:pos x="136" y="85"/>
                </a:cxn>
                <a:cxn ang="0">
                  <a:pos x="139" y="74"/>
                </a:cxn>
                <a:cxn ang="0">
                  <a:pos x="141" y="63"/>
                </a:cxn>
                <a:cxn ang="0">
                  <a:pos x="141" y="56"/>
                </a:cxn>
                <a:cxn ang="0">
                  <a:pos x="141" y="48"/>
                </a:cxn>
                <a:cxn ang="0">
                  <a:pos x="130" y="48"/>
                </a:cxn>
                <a:cxn ang="0">
                  <a:pos x="121" y="45"/>
                </a:cxn>
                <a:cxn ang="0">
                  <a:pos x="115" y="35"/>
                </a:cxn>
                <a:cxn ang="0">
                  <a:pos x="107" y="31"/>
                </a:cxn>
                <a:cxn ang="0">
                  <a:pos x="97" y="37"/>
                </a:cxn>
                <a:cxn ang="0">
                  <a:pos x="95" y="29"/>
                </a:cxn>
                <a:cxn ang="0">
                  <a:pos x="92" y="24"/>
                </a:cxn>
                <a:cxn ang="0">
                  <a:pos x="80" y="23"/>
                </a:cxn>
                <a:cxn ang="0">
                  <a:pos x="75" y="18"/>
                </a:cxn>
                <a:cxn ang="0">
                  <a:pos x="60" y="7"/>
                </a:cxn>
                <a:cxn ang="0">
                  <a:pos x="48" y="4"/>
                </a:cxn>
                <a:cxn ang="0">
                  <a:pos x="36" y="6"/>
                </a:cxn>
                <a:cxn ang="0">
                  <a:pos x="25" y="11"/>
                </a:cxn>
                <a:cxn ang="0">
                  <a:pos x="12" y="13"/>
                </a:cxn>
                <a:cxn ang="0">
                  <a:pos x="4" y="7"/>
                </a:cxn>
                <a:cxn ang="0">
                  <a:pos x="2" y="18"/>
                </a:cxn>
                <a:cxn ang="0">
                  <a:pos x="11" y="33"/>
                </a:cxn>
                <a:cxn ang="0">
                  <a:pos x="34" y="65"/>
                </a:cxn>
                <a:cxn ang="0">
                  <a:pos x="38" y="84"/>
                </a:cxn>
                <a:cxn ang="0">
                  <a:pos x="51" y="98"/>
                </a:cxn>
                <a:cxn ang="0">
                  <a:pos x="67" y="125"/>
                </a:cxn>
                <a:cxn ang="0">
                  <a:pos x="84" y="157"/>
                </a:cxn>
                <a:cxn ang="0">
                  <a:pos x="77" y="227"/>
                </a:cxn>
                <a:cxn ang="0">
                  <a:pos x="88" y="252"/>
                </a:cxn>
                <a:cxn ang="0">
                  <a:pos x="98" y="253"/>
                </a:cxn>
                <a:cxn ang="0">
                  <a:pos x="99" y="244"/>
                </a:cxn>
                <a:cxn ang="0">
                  <a:pos x="101" y="234"/>
                </a:cxn>
                <a:cxn ang="0">
                  <a:pos x="108" y="228"/>
                </a:cxn>
                <a:cxn ang="0">
                  <a:pos x="126" y="211"/>
                </a:cxn>
                <a:cxn ang="0">
                  <a:pos x="128" y="195"/>
                </a:cxn>
                <a:cxn ang="0">
                  <a:pos x="126" y="182"/>
                </a:cxn>
                <a:cxn ang="0">
                  <a:pos x="127" y="172"/>
                </a:cxn>
                <a:cxn ang="0">
                  <a:pos x="143" y="169"/>
                </a:cxn>
                <a:cxn ang="0">
                  <a:pos x="142" y="180"/>
                </a:cxn>
                <a:cxn ang="0">
                  <a:pos x="146" y="171"/>
                </a:cxn>
                <a:cxn ang="0">
                  <a:pos x="155" y="176"/>
                </a:cxn>
                <a:cxn ang="0">
                  <a:pos x="163" y="185"/>
                </a:cxn>
                <a:cxn ang="0">
                  <a:pos x="171" y="172"/>
                </a:cxn>
                <a:cxn ang="0">
                  <a:pos x="178" y="165"/>
                </a:cxn>
              </a:cxnLst>
              <a:rect l="0" t="0" r="r" b="b"/>
              <a:pathLst>
                <a:path w="180" h="256">
                  <a:moveTo>
                    <a:pt x="180" y="147"/>
                  </a:moveTo>
                  <a:cubicBezTo>
                    <a:pt x="180" y="144"/>
                    <a:pt x="178" y="144"/>
                    <a:pt x="176" y="143"/>
                  </a:cubicBezTo>
                  <a:cubicBezTo>
                    <a:pt x="175" y="142"/>
                    <a:pt x="174" y="141"/>
                    <a:pt x="173" y="142"/>
                  </a:cubicBezTo>
                  <a:cubicBezTo>
                    <a:pt x="171" y="143"/>
                    <a:pt x="170" y="143"/>
                    <a:pt x="169" y="144"/>
                  </a:cubicBezTo>
                  <a:cubicBezTo>
                    <a:pt x="168" y="144"/>
                    <a:pt x="168" y="144"/>
                    <a:pt x="167" y="143"/>
                  </a:cubicBezTo>
                  <a:cubicBezTo>
                    <a:pt x="167" y="141"/>
                    <a:pt x="165" y="138"/>
                    <a:pt x="165" y="136"/>
                  </a:cubicBezTo>
                  <a:cubicBezTo>
                    <a:pt x="165" y="135"/>
                    <a:pt x="165" y="135"/>
                    <a:pt x="164" y="134"/>
                  </a:cubicBezTo>
                  <a:cubicBezTo>
                    <a:pt x="164" y="134"/>
                    <a:pt x="163" y="133"/>
                    <a:pt x="163" y="133"/>
                  </a:cubicBezTo>
                  <a:cubicBezTo>
                    <a:pt x="163" y="132"/>
                    <a:pt x="163" y="130"/>
                    <a:pt x="164" y="128"/>
                  </a:cubicBezTo>
                  <a:cubicBezTo>
                    <a:pt x="164" y="128"/>
                    <a:pt x="164" y="127"/>
                    <a:pt x="164" y="126"/>
                  </a:cubicBezTo>
                  <a:cubicBezTo>
                    <a:pt x="164" y="126"/>
                    <a:pt x="164" y="124"/>
                    <a:pt x="163" y="123"/>
                  </a:cubicBezTo>
                  <a:cubicBezTo>
                    <a:pt x="162" y="123"/>
                    <a:pt x="159" y="123"/>
                    <a:pt x="158" y="123"/>
                  </a:cubicBezTo>
                  <a:cubicBezTo>
                    <a:pt x="156" y="123"/>
                    <a:pt x="152" y="122"/>
                    <a:pt x="154" y="120"/>
                  </a:cubicBezTo>
                  <a:cubicBezTo>
                    <a:pt x="155" y="118"/>
                    <a:pt x="156" y="119"/>
                    <a:pt x="158" y="120"/>
                  </a:cubicBezTo>
                  <a:cubicBezTo>
                    <a:pt x="157" y="119"/>
                    <a:pt x="157" y="118"/>
                    <a:pt x="157" y="117"/>
                  </a:cubicBezTo>
                  <a:cubicBezTo>
                    <a:pt x="158" y="115"/>
                    <a:pt x="158" y="116"/>
                    <a:pt x="159" y="115"/>
                  </a:cubicBezTo>
                  <a:cubicBezTo>
                    <a:pt x="159" y="114"/>
                    <a:pt x="159" y="114"/>
                    <a:pt x="159" y="113"/>
                  </a:cubicBezTo>
                  <a:cubicBezTo>
                    <a:pt x="159" y="113"/>
                    <a:pt x="159" y="112"/>
                    <a:pt x="159" y="112"/>
                  </a:cubicBezTo>
                  <a:cubicBezTo>
                    <a:pt x="158" y="109"/>
                    <a:pt x="160" y="109"/>
                    <a:pt x="161" y="107"/>
                  </a:cubicBezTo>
                  <a:cubicBezTo>
                    <a:pt x="162" y="105"/>
                    <a:pt x="160" y="103"/>
                    <a:pt x="160" y="101"/>
                  </a:cubicBezTo>
                  <a:cubicBezTo>
                    <a:pt x="160" y="99"/>
                    <a:pt x="160" y="98"/>
                    <a:pt x="160" y="97"/>
                  </a:cubicBezTo>
                  <a:cubicBezTo>
                    <a:pt x="159" y="97"/>
                    <a:pt x="158" y="97"/>
                    <a:pt x="157" y="98"/>
                  </a:cubicBezTo>
                  <a:cubicBezTo>
                    <a:pt x="157" y="98"/>
                    <a:pt x="156" y="98"/>
                    <a:pt x="156" y="98"/>
                  </a:cubicBezTo>
                  <a:cubicBezTo>
                    <a:pt x="154" y="100"/>
                    <a:pt x="153" y="103"/>
                    <a:pt x="150" y="101"/>
                  </a:cubicBezTo>
                  <a:cubicBezTo>
                    <a:pt x="149" y="101"/>
                    <a:pt x="148" y="100"/>
                    <a:pt x="147" y="100"/>
                  </a:cubicBezTo>
                  <a:cubicBezTo>
                    <a:pt x="146" y="99"/>
                    <a:pt x="146" y="97"/>
                    <a:pt x="146" y="96"/>
                  </a:cubicBezTo>
                  <a:cubicBezTo>
                    <a:pt x="146" y="96"/>
                    <a:pt x="145" y="95"/>
                    <a:pt x="145" y="94"/>
                  </a:cubicBezTo>
                  <a:cubicBezTo>
                    <a:pt x="145" y="95"/>
                    <a:pt x="144" y="96"/>
                    <a:pt x="144" y="96"/>
                  </a:cubicBezTo>
                  <a:cubicBezTo>
                    <a:pt x="143" y="96"/>
                    <a:pt x="141" y="95"/>
                    <a:pt x="141" y="94"/>
                  </a:cubicBezTo>
                  <a:cubicBezTo>
                    <a:pt x="141" y="93"/>
                    <a:pt x="141" y="92"/>
                    <a:pt x="140" y="91"/>
                  </a:cubicBezTo>
                  <a:cubicBezTo>
                    <a:pt x="139" y="90"/>
                    <a:pt x="139" y="89"/>
                    <a:pt x="138" y="89"/>
                  </a:cubicBezTo>
                  <a:cubicBezTo>
                    <a:pt x="137" y="88"/>
                    <a:pt x="137" y="86"/>
                    <a:pt x="136" y="85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3"/>
                    <a:pt x="135" y="82"/>
                    <a:pt x="135" y="81"/>
                  </a:cubicBezTo>
                  <a:cubicBezTo>
                    <a:pt x="134" y="80"/>
                    <a:pt x="134" y="79"/>
                    <a:pt x="135" y="78"/>
                  </a:cubicBezTo>
                  <a:cubicBezTo>
                    <a:pt x="136" y="76"/>
                    <a:pt x="139" y="76"/>
                    <a:pt x="139" y="74"/>
                  </a:cubicBezTo>
                  <a:cubicBezTo>
                    <a:pt x="139" y="74"/>
                    <a:pt x="139" y="73"/>
                    <a:pt x="139" y="72"/>
                  </a:cubicBezTo>
                  <a:cubicBezTo>
                    <a:pt x="139" y="71"/>
                    <a:pt x="139" y="70"/>
                    <a:pt x="139" y="70"/>
                  </a:cubicBezTo>
                  <a:cubicBezTo>
                    <a:pt x="140" y="68"/>
                    <a:pt x="140" y="67"/>
                    <a:pt x="140" y="66"/>
                  </a:cubicBezTo>
                  <a:cubicBezTo>
                    <a:pt x="140" y="65"/>
                    <a:pt x="141" y="64"/>
                    <a:pt x="141" y="63"/>
                  </a:cubicBezTo>
                  <a:cubicBezTo>
                    <a:pt x="142" y="63"/>
                    <a:pt x="143" y="63"/>
                    <a:pt x="142" y="62"/>
                  </a:cubicBezTo>
                  <a:cubicBezTo>
                    <a:pt x="141" y="61"/>
                    <a:pt x="140" y="61"/>
                    <a:pt x="140" y="60"/>
                  </a:cubicBezTo>
                  <a:cubicBezTo>
                    <a:pt x="140" y="60"/>
                    <a:pt x="140" y="59"/>
                    <a:pt x="140" y="59"/>
                  </a:cubicBezTo>
                  <a:cubicBezTo>
                    <a:pt x="141" y="58"/>
                    <a:pt x="141" y="58"/>
                    <a:pt x="141" y="56"/>
                  </a:cubicBezTo>
                  <a:cubicBezTo>
                    <a:pt x="141" y="56"/>
                    <a:pt x="141" y="55"/>
                    <a:pt x="141" y="55"/>
                  </a:cubicBezTo>
                  <a:cubicBezTo>
                    <a:pt x="141" y="54"/>
                    <a:pt x="141" y="54"/>
                    <a:pt x="142" y="53"/>
                  </a:cubicBezTo>
                  <a:cubicBezTo>
                    <a:pt x="142" y="53"/>
                    <a:pt x="142" y="53"/>
                    <a:pt x="142" y="52"/>
                  </a:cubicBezTo>
                  <a:cubicBezTo>
                    <a:pt x="143" y="51"/>
                    <a:pt x="143" y="49"/>
                    <a:pt x="141" y="48"/>
                  </a:cubicBezTo>
                  <a:cubicBezTo>
                    <a:pt x="141" y="48"/>
                    <a:pt x="140" y="48"/>
                    <a:pt x="139" y="48"/>
                  </a:cubicBezTo>
                  <a:cubicBezTo>
                    <a:pt x="138" y="47"/>
                    <a:pt x="137" y="47"/>
                    <a:pt x="136" y="46"/>
                  </a:cubicBezTo>
                  <a:cubicBezTo>
                    <a:pt x="135" y="46"/>
                    <a:pt x="133" y="45"/>
                    <a:pt x="132" y="46"/>
                  </a:cubicBezTo>
                  <a:cubicBezTo>
                    <a:pt x="131" y="47"/>
                    <a:pt x="131" y="48"/>
                    <a:pt x="130" y="48"/>
                  </a:cubicBezTo>
                  <a:cubicBezTo>
                    <a:pt x="130" y="48"/>
                    <a:pt x="129" y="48"/>
                    <a:pt x="129" y="48"/>
                  </a:cubicBezTo>
                  <a:cubicBezTo>
                    <a:pt x="128" y="48"/>
                    <a:pt x="126" y="48"/>
                    <a:pt x="125" y="48"/>
                  </a:cubicBezTo>
                  <a:cubicBezTo>
                    <a:pt x="124" y="47"/>
                    <a:pt x="125" y="47"/>
                    <a:pt x="124" y="46"/>
                  </a:cubicBezTo>
                  <a:cubicBezTo>
                    <a:pt x="123" y="45"/>
                    <a:pt x="123" y="45"/>
                    <a:pt x="121" y="45"/>
                  </a:cubicBezTo>
                  <a:cubicBezTo>
                    <a:pt x="120" y="45"/>
                    <a:pt x="120" y="43"/>
                    <a:pt x="119" y="42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7"/>
                    <a:pt x="118" y="35"/>
                    <a:pt x="117" y="35"/>
                  </a:cubicBezTo>
                  <a:cubicBezTo>
                    <a:pt x="116" y="34"/>
                    <a:pt x="116" y="35"/>
                    <a:pt x="115" y="35"/>
                  </a:cubicBezTo>
                  <a:cubicBezTo>
                    <a:pt x="114" y="34"/>
                    <a:pt x="114" y="33"/>
                    <a:pt x="113" y="33"/>
                  </a:cubicBezTo>
                  <a:cubicBezTo>
                    <a:pt x="112" y="32"/>
                    <a:pt x="113" y="32"/>
                    <a:pt x="111" y="32"/>
                  </a:cubicBezTo>
                  <a:cubicBezTo>
                    <a:pt x="111" y="32"/>
                    <a:pt x="110" y="32"/>
                    <a:pt x="109" y="32"/>
                  </a:cubicBezTo>
                  <a:cubicBezTo>
                    <a:pt x="109" y="32"/>
                    <a:pt x="108" y="31"/>
                    <a:pt x="107" y="31"/>
                  </a:cubicBezTo>
                  <a:cubicBezTo>
                    <a:pt x="106" y="30"/>
                    <a:pt x="105" y="30"/>
                    <a:pt x="104" y="30"/>
                  </a:cubicBezTo>
                  <a:cubicBezTo>
                    <a:pt x="103" y="30"/>
                    <a:pt x="100" y="29"/>
                    <a:pt x="99" y="30"/>
                  </a:cubicBezTo>
                  <a:cubicBezTo>
                    <a:pt x="99" y="31"/>
                    <a:pt x="99" y="33"/>
                    <a:pt x="99" y="34"/>
                  </a:cubicBezTo>
                  <a:cubicBezTo>
                    <a:pt x="99" y="35"/>
                    <a:pt x="98" y="37"/>
                    <a:pt x="97" y="37"/>
                  </a:cubicBezTo>
                  <a:cubicBezTo>
                    <a:pt x="97" y="37"/>
                    <a:pt x="97" y="36"/>
                    <a:pt x="97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3"/>
                    <a:pt x="95" y="32"/>
                  </a:cubicBezTo>
                  <a:cubicBezTo>
                    <a:pt x="95" y="32"/>
                    <a:pt x="95" y="30"/>
                    <a:pt x="95" y="29"/>
                  </a:cubicBezTo>
                  <a:cubicBezTo>
                    <a:pt x="94" y="29"/>
                    <a:pt x="93" y="31"/>
                    <a:pt x="92" y="31"/>
                  </a:cubicBezTo>
                  <a:cubicBezTo>
                    <a:pt x="91" y="31"/>
                    <a:pt x="90" y="32"/>
                    <a:pt x="89" y="31"/>
                  </a:cubicBezTo>
                  <a:cubicBezTo>
                    <a:pt x="89" y="30"/>
                    <a:pt x="90" y="30"/>
                    <a:pt x="91" y="29"/>
                  </a:cubicBezTo>
                  <a:cubicBezTo>
                    <a:pt x="92" y="28"/>
                    <a:pt x="93" y="26"/>
                    <a:pt x="92" y="24"/>
                  </a:cubicBezTo>
                  <a:cubicBezTo>
                    <a:pt x="91" y="22"/>
                    <a:pt x="90" y="23"/>
                    <a:pt x="88" y="23"/>
                  </a:cubicBezTo>
                  <a:cubicBezTo>
                    <a:pt x="87" y="24"/>
                    <a:pt x="86" y="23"/>
                    <a:pt x="84" y="23"/>
                  </a:cubicBezTo>
                  <a:cubicBezTo>
                    <a:pt x="84" y="24"/>
                    <a:pt x="83" y="24"/>
                    <a:pt x="83" y="25"/>
                  </a:cubicBezTo>
                  <a:cubicBezTo>
                    <a:pt x="82" y="25"/>
                    <a:pt x="80" y="24"/>
                    <a:pt x="80" y="23"/>
                  </a:cubicBezTo>
                  <a:cubicBezTo>
                    <a:pt x="79" y="22"/>
                    <a:pt x="80" y="22"/>
                    <a:pt x="79" y="21"/>
                  </a:cubicBezTo>
                  <a:cubicBezTo>
                    <a:pt x="77" y="21"/>
                    <a:pt x="77" y="22"/>
                    <a:pt x="77" y="20"/>
                  </a:cubicBezTo>
                  <a:cubicBezTo>
                    <a:pt x="77" y="20"/>
                    <a:pt x="77" y="19"/>
                    <a:pt x="77" y="19"/>
                  </a:cubicBezTo>
                  <a:cubicBezTo>
                    <a:pt x="77" y="18"/>
                    <a:pt x="76" y="18"/>
                    <a:pt x="75" y="18"/>
                  </a:cubicBezTo>
                  <a:cubicBezTo>
                    <a:pt x="73" y="17"/>
                    <a:pt x="71" y="14"/>
                    <a:pt x="69" y="13"/>
                  </a:cubicBezTo>
                  <a:cubicBezTo>
                    <a:pt x="68" y="12"/>
                    <a:pt x="66" y="12"/>
                    <a:pt x="64" y="11"/>
                  </a:cubicBezTo>
                  <a:cubicBezTo>
                    <a:pt x="63" y="10"/>
                    <a:pt x="62" y="9"/>
                    <a:pt x="61" y="8"/>
                  </a:cubicBezTo>
                  <a:cubicBezTo>
                    <a:pt x="61" y="8"/>
                    <a:pt x="60" y="8"/>
                    <a:pt x="60" y="7"/>
                  </a:cubicBezTo>
                  <a:cubicBezTo>
                    <a:pt x="58" y="6"/>
                    <a:pt x="59" y="6"/>
                    <a:pt x="57" y="6"/>
                  </a:cubicBezTo>
                  <a:cubicBezTo>
                    <a:pt x="56" y="6"/>
                    <a:pt x="54" y="6"/>
                    <a:pt x="54" y="5"/>
                  </a:cubicBezTo>
                  <a:cubicBezTo>
                    <a:pt x="53" y="5"/>
                    <a:pt x="51" y="0"/>
                    <a:pt x="49" y="2"/>
                  </a:cubicBezTo>
                  <a:cubicBezTo>
                    <a:pt x="48" y="2"/>
                    <a:pt x="48" y="4"/>
                    <a:pt x="48" y="4"/>
                  </a:cubicBezTo>
                  <a:cubicBezTo>
                    <a:pt x="48" y="7"/>
                    <a:pt x="45" y="9"/>
                    <a:pt x="42" y="10"/>
                  </a:cubicBezTo>
                  <a:cubicBezTo>
                    <a:pt x="41" y="10"/>
                    <a:pt x="40" y="10"/>
                    <a:pt x="39" y="9"/>
                  </a:cubicBezTo>
                  <a:cubicBezTo>
                    <a:pt x="38" y="8"/>
                    <a:pt x="38" y="7"/>
                    <a:pt x="37" y="7"/>
                  </a:cubicBezTo>
                  <a:cubicBezTo>
                    <a:pt x="37" y="6"/>
                    <a:pt x="36" y="5"/>
                    <a:pt x="36" y="6"/>
                  </a:cubicBezTo>
                  <a:cubicBezTo>
                    <a:pt x="35" y="6"/>
                    <a:pt x="35" y="7"/>
                    <a:pt x="35" y="8"/>
                  </a:cubicBezTo>
                  <a:cubicBezTo>
                    <a:pt x="34" y="9"/>
                    <a:pt x="33" y="9"/>
                    <a:pt x="32" y="10"/>
                  </a:cubicBezTo>
                  <a:cubicBezTo>
                    <a:pt x="31" y="11"/>
                    <a:pt x="28" y="12"/>
                    <a:pt x="26" y="12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9"/>
                    <a:pt x="23" y="8"/>
                    <a:pt x="21" y="8"/>
                  </a:cubicBezTo>
                  <a:cubicBezTo>
                    <a:pt x="19" y="7"/>
                    <a:pt x="19" y="7"/>
                    <a:pt x="19" y="9"/>
                  </a:cubicBezTo>
                  <a:cubicBezTo>
                    <a:pt x="18" y="11"/>
                    <a:pt x="18" y="12"/>
                    <a:pt x="15" y="13"/>
                  </a:cubicBezTo>
                  <a:cubicBezTo>
                    <a:pt x="14" y="14"/>
                    <a:pt x="13" y="14"/>
                    <a:pt x="12" y="13"/>
                  </a:cubicBezTo>
                  <a:cubicBezTo>
                    <a:pt x="12" y="12"/>
                    <a:pt x="12" y="11"/>
                    <a:pt x="11" y="11"/>
                  </a:cubicBezTo>
                  <a:cubicBezTo>
                    <a:pt x="10" y="10"/>
                    <a:pt x="9" y="11"/>
                    <a:pt x="8" y="10"/>
                  </a:cubicBezTo>
                  <a:cubicBezTo>
                    <a:pt x="6" y="10"/>
                    <a:pt x="7" y="7"/>
                    <a:pt x="6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2" y="8"/>
                    <a:pt x="1" y="8"/>
                    <a:pt x="1" y="10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1" y="21"/>
                    <a:pt x="2" y="21"/>
                    <a:pt x="3" y="21"/>
                  </a:cubicBezTo>
                  <a:cubicBezTo>
                    <a:pt x="7" y="23"/>
                    <a:pt x="8" y="29"/>
                    <a:pt x="11" y="33"/>
                  </a:cubicBezTo>
                  <a:cubicBezTo>
                    <a:pt x="13" y="36"/>
                    <a:pt x="15" y="38"/>
                    <a:pt x="18" y="41"/>
                  </a:cubicBezTo>
                  <a:cubicBezTo>
                    <a:pt x="20" y="45"/>
                    <a:pt x="24" y="46"/>
                    <a:pt x="25" y="51"/>
                  </a:cubicBezTo>
                  <a:cubicBezTo>
                    <a:pt x="26" y="53"/>
                    <a:pt x="26" y="55"/>
                    <a:pt x="27" y="56"/>
                  </a:cubicBezTo>
                  <a:cubicBezTo>
                    <a:pt x="29" y="59"/>
                    <a:pt x="32" y="61"/>
                    <a:pt x="34" y="65"/>
                  </a:cubicBezTo>
                  <a:cubicBezTo>
                    <a:pt x="36" y="68"/>
                    <a:pt x="36" y="72"/>
                    <a:pt x="36" y="76"/>
                  </a:cubicBezTo>
                  <a:cubicBezTo>
                    <a:pt x="36" y="77"/>
                    <a:pt x="35" y="78"/>
                    <a:pt x="36" y="79"/>
                  </a:cubicBezTo>
                  <a:cubicBezTo>
                    <a:pt x="36" y="81"/>
                    <a:pt x="37" y="81"/>
                    <a:pt x="37" y="82"/>
                  </a:cubicBezTo>
                  <a:cubicBezTo>
                    <a:pt x="38" y="83"/>
                    <a:pt x="37" y="84"/>
                    <a:pt x="38" y="84"/>
                  </a:cubicBezTo>
                  <a:cubicBezTo>
                    <a:pt x="39" y="85"/>
                    <a:pt x="40" y="85"/>
                    <a:pt x="40" y="86"/>
                  </a:cubicBezTo>
                  <a:cubicBezTo>
                    <a:pt x="41" y="86"/>
                    <a:pt x="40" y="87"/>
                    <a:pt x="40" y="87"/>
                  </a:cubicBezTo>
                  <a:cubicBezTo>
                    <a:pt x="42" y="89"/>
                    <a:pt x="45" y="89"/>
                    <a:pt x="47" y="91"/>
                  </a:cubicBezTo>
                  <a:cubicBezTo>
                    <a:pt x="49" y="92"/>
                    <a:pt x="49" y="96"/>
                    <a:pt x="51" y="98"/>
                  </a:cubicBezTo>
                  <a:cubicBezTo>
                    <a:pt x="52" y="100"/>
                    <a:pt x="53" y="102"/>
                    <a:pt x="54" y="103"/>
                  </a:cubicBezTo>
                  <a:cubicBezTo>
                    <a:pt x="55" y="104"/>
                    <a:pt x="57" y="105"/>
                    <a:pt x="58" y="106"/>
                  </a:cubicBezTo>
                  <a:cubicBezTo>
                    <a:pt x="60" y="109"/>
                    <a:pt x="60" y="110"/>
                    <a:pt x="62" y="111"/>
                  </a:cubicBezTo>
                  <a:cubicBezTo>
                    <a:pt x="65" y="115"/>
                    <a:pt x="66" y="120"/>
                    <a:pt x="67" y="125"/>
                  </a:cubicBezTo>
                  <a:cubicBezTo>
                    <a:pt x="67" y="128"/>
                    <a:pt x="66" y="131"/>
                    <a:pt x="68" y="134"/>
                  </a:cubicBezTo>
                  <a:cubicBezTo>
                    <a:pt x="70" y="138"/>
                    <a:pt x="73" y="140"/>
                    <a:pt x="77" y="140"/>
                  </a:cubicBezTo>
                  <a:cubicBezTo>
                    <a:pt x="80" y="140"/>
                    <a:pt x="78" y="144"/>
                    <a:pt x="80" y="147"/>
                  </a:cubicBezTo>
                  <a:cubicBezTo>
                    <a:pt x="80" y="149"/>
                    <a:pt x="84" y="155"/>
                    <a:pt x="84" y="157"/>
                  </a:cubicBezTo>
                  <a:cubicBezTo>
                    <a:pt x="84" y="160"/>
                    <a:pt x="82" y="165"/>
                    <a:pt x="83" y="167"/>
                  </a:cubicBezTo>
                  <a:cubicBezTo>
                    <a:pt x="85" y="170"/>
                    <a:pt x="84" y="178"/>
                    <a:pt x="83" y="180"/>
                  </a:cubicBezTo>
                  <a:cubicBezTo>
                    <a:pt x="79" y="190"/>
                    <a:pt x="77" y="194"/>
                    <a:pt x="76" y="204"/>
                  </a:cubicBezTo>
                  <a:cubicBezTo>
                    <a:pt x="76" y="210"/>
                    <a:pt x="75" y="223"/>
                    <a:pt x="77" y="227"/>
                  </a:cubicBezTo>
                  <a:cubicBezTo>
                    <a:pt x="79" y="230"/>
                    <a:pt x="79" y="238"/>
                    <a:pt x="78" y="242"/>
                  </a:cubicBezTo>
                  <a:cubicBezTo>
                    <a:pt x="75" y="249"/>
                    <a:pt x="78" y="252"/>
                    <a:pt x="82" y="256"/>
                  </a:cubicBezTo>
                  <a:cubicBezTo>
                    <a:pt x="83" y="256"/>
                    <a:pt x="84" y="255"/>
                    <a:pt x="85" y="254"/>
                  </a:cubicBezTo>
                  <a:cubicBezTo>
                    <a:pt x="86" y="253"/>
                    <a:pt x="87" y="252"/>
                    <a:pt x="88" y="252"/>
                  </a:cubicBezTo>
                  <a:cubicBezTo>
                    <a:pt x="91" y="249"/>
                    <a:pt x="91" y="256"/>
                    <a:pt x="94" y="256"/>
                  </a:cubicBezTo>
                  <a:cubicBezTo>
                    <a:pt x="95" y="256"/>
                    <a:pt x="95" y="256"/>
                    <a:pt x="96" y="255"/>
                  </a:cubicBezTo>
                  <a:cubicBezTo>
                    <a:pt x="96" y="255"/>
                    <a:pt x="96" y="254"/>
                    <a:pt x="97" y="254"/>
                  </a:cubicBezTo>
                  <a:cubicBezTo>
                    <a:pt x="97" y="253"/>
                    <a:pt x="98" y="253"/>
                    <a:pt x="98" y="253"/>
                  </a:cubicBezTo>
                  <a:cubicBezTo>
                    <a:pt x="98" y="252"/>
                    <a:pt x="98" y="251"/>
                    <a:pt x="98" y="250"/>
                  </a:cubicBezTo>
                  <a:cubicBezTo>
                    <a:pt x="98" y="250"/>
                    <a:pt x="98" y="249"/>
                    <a:pt x="99" y="248"/>
                  </a:cubicBezTo>
                  <a:cubicBezTo>
                    <a:pt x="99" y="247"/>
                    <a:pt x="99" y="246"/>
                    <a:pt x="99" y="245"/>
                  </a:cubicBezTo>
                  <a:cubicBezTo>
                    <a:pt x="99" y="245"/>
                    <a:pt x="99" y="244"/>
                    <a:pt x="99" y="244"/>
                  </a:cubicBezTo>
                  <a:cubicBezTo>
                    <a:pt x="99" y="244"/>
                    <a:pt x="100" y="243"/>
                    <a:pt x="100" y="243"/>
                  </a:cubicBezTo>
                  <a:cubicBezTo>
                    <a:pt x="101" y="241"/>
                    <a:pt x="99" y="240"/>
                    <a:pt x="99" y="238"/>
                  </a:cubicBezTo>
                  <a:cubicBezTo>
                    <a:pt x="99" y="237"/>
                    <a:pt x="99" y="236"/>
                    <a:pt x="99" y="235"/>
                  </a:cubicBezTo>
                  <a:cubicBezTo>
                    <a:pt x="99" y="234"/>
                    <a:pt x="100" y="234"/>
                    <a:pt x="101" y="234"/>
                  </a:cubicBezTo>
                  <a:cubicBezTo>
                    <a:pt x="102" y="233"/>
                    <a:pt x="102" y="233"/>
                    <a:pt x="102" y="232"/>
                  </a:cubicBezTo>
                  <a:cubicBezTo>
                    <a:pt x="102" y="231"/>
                    <a:pt x="103" y="230"/>
                    <a:pt x="104" y="230"/>
                  </a:cubicBezTo>
                  <a:cubicBezTo>
                    <a:pt x="104" y="229"/>
                    <a:pt x="105" y="229"/>
                    <a:pt x="106" y="228"/>
                  </a:cubicBezTo>
                  <a:cubicBezTo>
                    <a:pt x="107" y="228"/>
                    <a:pt x="107" y="228"/>
                    <a:pt x="108" y="228"/>
                  </a:cubicBezTo>
                  <a:cubicBezTo>
                    <a:pt x="109" y="228"/>
                    <a:pt x="110" y="227"/>
                    <a:pt x="111" y="227"/>
                  </a:cubicBezTo>
                  <a:cubicBezTo>
                    <a:pt x="113" y="225"/>
                    <a:pt x="112" y="223"/>
                    <a:pt x="111" y="221"/>
                  </a:cubicBezTo>
                  <a:cubicBezTo>
                    <a:pt x="110" y="219"/>
                    <a:pt x="113" y="217"/>
                    <a:pt x="115" y="216"/>
                  </a:cubicBezTo>
                  <a:cubicBezTo>
                    <a:pt x="118" y="214"/>
                    <a:pt x="122" y="213"/>
                    <a:pt x="126" y="211"/>
                  </a:cubicBezTo>
                  <a:cubicBezTo>
                    <a:pt x="127" y="210"/>
                    <a:pt x="128" y="210"/>
                    <a:pt x="128" y="209"/>
                  </a:cubicBezTo>
                  <a:cubicBezTo>
                    <a:pt x="128" y="208"/>
                    <a:pt x="127" y="207"/>
                    <a:pt x="126" y="206"/>
                  </a:cubicBezTo>
                  <a:cubicBezTo>
                    <a:pt x="125" y="204"/>
                    <a:pt x="127" y="202"/>
                    <a:pt x="128" y="200"/>
                  </a:cubicBezTo>
                  <a:cubicBezTo>
                    <a:pt x="129" y="198"/>
                    <a:pt x="129" y="197"/>
                    <a:pt x="128" y="195"/>
                  </a:cubicBezTo>
                  <a:cubicBezTo>
                    <a:pt x="128" y="194"/>
                    <a:pt x="128" y="194"/>
                    <a:pt x="127" y="193"/>
                  </a:cubicBezTo>
                  <a:cubicBezTo>
                    <a:pt x="126" y="193"/>
                    <a:pt x="124" y="194"/>
                    <a:pt x="124" y="193"/>
                  </a:cubicBezTo>
                  <a:cubicBezTo>
                    <a:pt x="123" y="192"/>
                    <a:pt x="125" y="189"/>
                    <a:pt x="125" y="188"/>
                  </a:cubicBezTo>
                  <a:cubicBezTo>
                    <a:pt x="126" y="186"/>
                    <a:pt x="126" y="184"/>
                    <a:pt x="126" y="182"/>
                  </a:cubicBezTo>
                  <a:cubicBezTo>
                    <a:pt x="126" y="181"/>
                    <a:pt x="127" y="180"/>
                    <a:pt x="127" y="179"/>
                  </a:cubicBezTo>
                  <a:cubicBezTo>
                    <a:pt x="126" y="177"/>
                    <a:pt x="125" y="178"/>
                    <a:pt x="124" y="177"/>
                  </a:cubicBezTo>
                  <a:cubicBezTo>
                    <a:pt x="124" y="176"/>
                    <a:pt x="125" y="174"/>
                    <a:pt x="125" y="174"/>
                  </a:cubicBezTo>
                  <a:cubicBezTo>
                    <a:pt x="126" y="172"/>
                    <a:pt x="126" y="172"/>
                    <a:pt x="127" y="172"/>
                  </a:cubicBezTo>
                  <a:cubicBezTo>
                    <a:pt x="129" y="171"/>
                    <a:pt x="130" y="170"/>
                    <a:pt x="131" y="170"/>
                  </a:cubicBezTo>
                  <a:cubicBezTo>
                    <a:pt x="132" y="170"/>
                    <a:pt x="133" y="170"/>
                    <a:pt x="134" y="169"/>
                  </a:cubicBezTo>
                  <a:cubicBezTo>
                    <a:pt x="135" y="169"/>
                    <a:pt x="134" y="169"/>
                    <a:pt x="135" y="168"/>
                  </a:cubicBezTo>
                  <a:cubicBezTo>
                    <a:pt x="137" y="166"/>
                    <a:pt x="143" y="164"/>
                    <a:pt x="143" y="169"/>
                  </a:cubicBezTo>
                  <a:cubicBezTo>
                    <a:pt x="143" y="171"/>
                    <a:pt x="142" y="172"/>
                    <a:pt x="141" y="174"/>
                  </a:cubicBezTo>
                  <a:cubicBezTo>
                    <a:pt x="139" y="176"/>
                    <a:pt x="139" y="177"/>
                    <a:pt x="139" y="179"/>
                  </a:cubicBezTo>
                  <a:cubicBezTo>
                    <a:pt x="140" y="180"/>
                    <a:pt x="140" y="183"/>
                    <a:pt x="141" y="182"/>
                  </a:cubicBezTo>
                  <a:cubicBezTo>
                    <a:pt x="142" y="181"/>
                    <a:pt x="142" y="180"/>
                    <a:pt x="142" y="180"/>
                  </a:cubicBezTo>
                  <a:cubicBezTo>
                    <a:pt x="142" y="179"/>
                    <a:pt x="143" y="179"/>
                    <a:pt x="143" y="178"/>
                  </a:cubicBezTo>
                  <a:cubicBezTo>
                    <a:pt x="144" y="177"/>
                    <a:pt x="144" y="176"/>
                    <a:pt x="144" y="175"/>
                  </a:cubicBezTo>
                  <a:cubicBezTo>
                    <a:pt x="144" y="172"/>
                    <a:pt x="145" y="169"/>
                    <a:pt x="146" y="168"/>
                  </a:cubicBezTo>
                  <a:cubicBezTo>
                    <a:pt x="147" y="169"/>
                    <a:pt x="146" y="170"/>
                    <a:pt x="146" y="171"/>
                  </a:cubicBezTo>
                  <a:cubicBezTo>
                    <a:pt x="146" y="172"/>
                    <a:pt x="147" y="176"/>
                    <a:pt x="148" y="177"/>
                  </a:cubicBezTo>
                  <a:cubicBezTo>
                    <a:pt x="149" y="176"/>
                    <a:pt x="151" y="171"/>
                    <a:pt x="154" y="172"/>
                  </a:cubicBezTo>
                  <a:cubicBezTo>
                    <a:pt x="155" y="172"/>
                    <a:pt x="155" y="173"/>
                    <a:pt x="155" y="174"/>
                  </a:cubicBezTo>
                  <a:cubicBezTo>
                    <a:pt x="155" y="175"/>
                    <a:pt x="155" y="175"/>
                    <a:pt x="155" y="176"/>
                  </a:cubicBezTo>
                  <a:cubicBezTo>
                    <a:pt x="156" y="176"/>
                    <a:pt x="157" y="177"/>
                    <a:pt x="158" y="177"/>
                  </a:cubicBezTo>
                  <a:cubicBezTo>
                    <a:pt x="158" y="178"/>
                    <a:pt x="159" y="179"/>
                    <a:pt x="159" y="180"/>
                  </a:cubicBezTo>
                  <a:cubicBezTo>
                    <a:pt x="159" y="180"/>
                    <a:pt x="160" y="181"/>
                    <a:pt x="160" y="182"/>
                  </a:cubicBezTo>
                  <a:cubicBezTo>
                    <a:pt x="161" y="183"/>
                    <a:pt x="162" y="184"/>
                    <a:pt x="163" y="185"/>
                  </a:cubicBezTo>
                  <a:cubicBezTo>
                    <a:pt x="163" y="185"/>
                    <a:pt x="165" y="185"/>
                    <a:pt x="166" y="185"/>
                  </a:cubicBezTo>
                  <a:cubicBezTo>
                    <a:pt x="166" y="182"/>
                    <a:pt x="166" y="180"/>
                    <a:pt x="168" y="178"/>
                  </a:cubicBezTo>
                  <a:cubicBezTo>
                    <a:pt x="169" y="177"/>
                    <a:pt x="170" y="176"/>
                    <a:pt x="170" y="175"/>
                  </a:cubicBezTo>
                  <a:cubicBezTo>
                    <a:pt x="171" y="174"/>
                    <a:pt x="170" y="173"/>
                    <a:pt x="171" y="172"/>
                  </a:cubicBezTo>
                  <a:cubicBezTo>
                    <a:pt x="172" y="171"/>
                    <a:pt x="172" y="171"/>
                    <a:pt x="173" y="170"/>
                  </a:cubicBezTo>
                  <a:cubicBezTo>
                    <a:pt x="173" y="170"/>
                    <a:pt x="173" y="169"/>
                    <a:pt x="173" y="168"/>
                  </a:cubicBezTo>
                  <a:cubicBezTo>
                    <a:pt x="175" y="167"/>
                    <a:pt x="176" y="169"/>
                    <a:pt x="178" y="168"/>
                  </a:cubicBezTo>
                  <a:cubicBezTo>
                    <a:pt x="179" y="167"/>
                    <a:pt x="178" y="166"/>
                    <a:pt x="178" y="165"/>
                  </a:cubicBezTo>
                  <a:cubicBezTo>
                    <a:pt x="178" y="163"/>
                    <a:pt x="179" y="161"/>
                    <a:pt x="179" y="160"/>
                  </a:cubicBezTo>
                  <a:cubicBezTo>
                    <a:pt x="180" y="156"/>
                    <a:pt x="180" y="151"/>
                    <a:pt x="180" y="14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6" name="Freeform 36">
              <a:extLst>
                <a:ext uri="{FF2B5EF4-FFF2-40B4-BE49-F238E27FC236}">
                  <a16:creationId xmlns:a16="http://schemas.microsoft.com/office/drawing/2014/main" id="{2C538AA8-E24C-4A35-B6DB-D3E303C8E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0" y="3663950"/>
              <a:ext cx="346075" cy="179388"/>
            </a:xfrm>
            <a:custGeom>
              <a:avLst/>
              <a:gdLst/>
              <a:ahLst/>
              <a:cxnLst>
                <a:cxn ang="0">
                  <a:pos x="184" y="94"/>
                </a:cxn>
                <a:cxn ang="0">
                  <a:pos x="182" y="91"/>
                </a:cxn>
                <a:cxn ang="0">
                  <a:pos x="175" y="87"/>
                </a:cxn>
                <a:cxn ang="0">
                  <a:pos x="163" y="83"/>
                </a:cxn>
                <a:cxn ang="0">
                  <a:pos x="161" y="81"/>
                </a:cxn>
                <a:cxn ang="0">
                  <a:pos x="160" y="75"/>
                </a:cxn>
                <a:cxn ang="0">
                  <a:pos x="163" y="61"/>
                </a:cxn>
                <a:cxn ang="0">
                  <a:pos x="171" y="47"/>
                </a:cxn>
                <a:cxn ang="0">
                  <a:pos x="169" y="38"/>
                </a:cxn>
                <a:cxn ang="0">
                  <a:pos x="163" y="31"/>
                </a:cxn>
                <a:cxn ang="0">
                  <a:pos x="158" y="23"/>
                </a:cxn>
                <a:cxn ang="0">
                  <a:pos x="151" y="22"/>
                </a:cxn>
                <a:cxn ang="0">
                  <a:pos x="139" y="20"/>
                </a:cxn>
                <a:cxn ang="0">
                  <a:pos x="132" y="22"/>
                </a:cxn>
                <a:cxn ang="0">
                  <a:pos x="127" y="22"/>
                </a:cxn>
                <a:cxn ang="0">
                  <a:pos x="122" y="20"/>
                </a:cxn>
                <a:cxn ang="0">
                  <a:pos x="115" y="17"/>
                </a:cxn>
                <a:cxn ang="0">
                  <a:pos x="110" y="15"/>
                </a:cxn>
                <a:cxn ang="0">
                  <a:pos x="101" y="12"/>
                </a:cxn>
                <a:cxn ang="0">
                  <a:pos x="90" y="1"/>
                </a:cxn>
                <a:cxn ang="0">
                  <a:pos x="82" y="3"/>
                </a:cxn>
                <a:cxn ang="0">
                  <a:pos x="83" y="9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76" y="36"/>
                </a:cxn>
                <a:cxn ang="0">
                  <a:pos x="74" y="40"/>
                </a:cxn>
                <a:cxn ang="0">
                  <a:pos x="62" y="33"/>
                </a:cxn>
                <a:cxn ang="0">
                  <a:pos x="48" y="39"/>
                </a:cxn>
                <a:cxn ang="0">
                  <a:pos x="33" y="45"/>
                </a:cxn>
                <a:cxn ang="0">
                  <a:pos x="14" y="52"/>
                </a:cxn>
                <a:cxn ang="0">
                  <a:pos x="28" y="56"/>
                </a:cxn>
                <a:cxn ang="0">
                  <a:pos x="28" y="62"/>
                </a:cxn>
                <a:cxn ang="0">
                  <a:pos x="22" y="65"/>
                </a:cxn>
                <a:cxn ang="0">
                  <a:pos x="15" y="66"/>
                </a:cxn>
                <a:cxn ang="0">
                  <a:pos x="11" y="71"/>
                </a:cxn>
                <a:cxn ang="0">
                  <a:pos x="0" y="78"/>
                </a:cxn>
                <a:cxn ang="0">
                  <a:pos x="2" y="84"/>
                </a:cxn>
                <a:cxn ang="0">
                  <a:pos x="6" y="83"/>
                </a:cxn>
                <a:cxn ang="0">
                  <a:pos x="76" y="88"/>
                </a:cxn>
                <a:cxn ang="0">
                  <a:pos x="137" y="89"/>
                </a:cxn>
                <a:cxn ang="0">
                  <a:pos x="164" y="89"/>
                </a:cxn>
                <a:cxn ang="0">
                  <a:pos x="184" y="96"/>
                </a:cxn>
              </a:cxnLst>
              <a:rect l="0" t="0" r="r" b="b"/>
              <a:pathLst>
                <a:path w="185" h="96">
                  <a:moveTo>
                    <a:pt x="185" y="96"/>
                  </a:moveTo>
                  <a:cubicBezTo>
                    <a:pt x="185" y="96"/>
                    <a:pt x="184" y="95"/>
                    <a:pt x="184" y="94"/>
                  </a:cubicBezTo>
                  <a:cubicBezTo>
                    <a:pt x="183" y="94"/>
                    <a:pt x="184" y="93"/>
                    <a:pt x="183" y="92"/>
                  </a:cubicBezTo>
                  <a:cubicBezTo>
                    <a:pt x="183" y="92"/>
                    <a:pt x="182" y="91"/>
                    <a:pt x="182" y="91"/>
                  </a:cubicBezTo>
                  <a:cubicBezTo>
                    <a:pt x="181" y="90"/>
                    <a:pt x="180" y="89"/>
                    <a:pt x="179" y="88"/>
                  </a:cubicBezTo>
                  <a:cubicBezTo>
                    <a:pt x="178" y="87"/>
                    <a:pt x="177" y="87"/>
                    <a:pt x="175" y="87"/>
                  </a:cubicBezTo>
                  <a:cubicBezTo>
                    <a:pt x="173" y="87"/>
                    <a:pt x="171" y="86"/>
                    <a:pt x="169" y="85"/>
                  </a:cubicBezTo>
                  <a:cubicBezTo>
                    <a:pt x="167" y="85"/>
                    <a:pt x="165" y="84"/>
                    <a:pt x="163" y="83"/>
                  </a:cubicBezTo>
                  <a:cubicBezTo>
                    <a:pt x="163" y="82"/>
                    <a:pt x="163" y="82"/>
                    <a:pt x="162" y="82"/>
                  </a:cubicBezTo>
                  <a:cubicBezTo>
                    <a:pt x="162" y="81"/>
                    <a:pt x="161" y="81"/>
                    <a:pt x="161" y="81"/>
                  </a:cubicBezTo>
                  <a:cubicBezTo>
                    <a:pt x="160" y="81"/>
                    <a:pt x="160" y="81"/>
                    <a:pt x="160" y="80"/>
                  </a:cubicBezTo>
                  <a:cubicBezTo>
                    <a:pt x="160" y="78"/>
                    <a:pt x="160" y="76"/>
                    <a:pt x="160" y="75"/>
                  </a:cubicBezTo>
                  <a:cubicBezTo>
                    <a:pt x="160" y="73"/>
                    <a:pt x="161" y="72"/>
                    <a:pt x="161" y="71"/>
                  </a:cubicBezTo>
                  <a:cubicBezTo>
                    <a:pt x="161" y="67"/>
                    <a:pt x="162" y="64"/>
                    <a:pt x="163" y="61"/>
                  </a:cubicBezTo>
                  <a:cubicBezTo>
                    <a:pt x="163" y="58"/>
                    <a:pt x="163" y="57"/>
                    <a:pt x="165" y="55"/>
                  </a:cubicBezTo>
                  <a:cubicBezTo>
                    <a:pt x="167" y="53"/>
                    <a:pt x="169" y="50"/>
                    <a:pt x="171" y="47"/>
                  </a:cubicBezTo>
                  <a:cubicBezTo>
                    <a:pt x="172" y="47"/>
                    <a:pt x="172" y="46"/>
                    <a:pt x="172" y="45"/>
                  </a:cubicBezTo>
                  <a:cubicBezTo>
                    <a:pt x="172" y="42"/>
                    <a:pt x="169" y="40"/>
                    <a:pt x="169" y="38"/>
                  </a:cubicBezTo>
                  <a:cubicBezTo>
                    <a:pt x="168" y="37"/>
                    <a:pt x="168" y="35"/>
                    <a:pt x="167" y="33"/>
                  </a:cubicBezTo>
                  <a:cubicBezTo>
                    <a:pt x="166" y="32"/>
                    <a:pt x="164" y="32"/>
                    <a:pt x="163" y="31"/>
                  </a:cubicBezTo>
                  <a:cubicBezTo>
                    <a:pt x="162" y="30"/>
                    <a:pt x="159" y="28"/>
                    <a:pt x="159" y="27"/>
                  </a:cubicBezTo>
                  <a:cubicBezTo>
                    <a:pt x="158" y="26"/>
                    <a:pt x="159" y="25"/>
                    <a:pt x="158" y="23"/>
                  </a:cubicBezTo>
                  <a:cubicBezTo>
                    <a:pt x="157" y="22"/>
                    <a:pt x="155" y="20"/>
                    <a:pt x="154" y="20"/>
                  </a:cubicBezTo>
                  <a:cubicBezTo>
                    <a:pt x="152" y="20"/>
                    <a:pt x="152" y="21"/>
                    <a:pt x="151" y="22"/>
                  </a:cubicBezTo>
                  <a:cubicBezTo>
                    <a:pt x="150" y="22"/>
                    <a:pt x="149" y="22"/>
                    <a:pt x="148" y="22"/>
                  </a:cubicBezTo>
                  <a:cubicBezTo>
                    <a:pt x="144" y="22"/>
                    <a:pt x="142" y="21"/>
                    <a:pt x="139" y="20"/>
                  </a:cubicBezTo>
                  <a:cubicBezTo>
                    <a:pt x="137" y="19"/>
                    <a:pt x="136" y="19"/>
                    <a:pt x="134" y="20"/>
                  </a:cubicBezTo>
                  <a:cubicBezTo>
                    <a:pt x="133" y="21"/>
                    <a:pt x="132" y="22"/>
                    <a:pt x="132" y="22"/>
                  </a:cubicBezTo>
                  <a:cubicBezTo>
                    <a:pt x="131" y="23"/>
                    <a:pt x="132" y="24"/>
                    <a:pt x="130" y="24"/>
                  </a:cubicBezTo>
                  <a:cubicBezTo>
                    <a:pt x="129" y="24"/>
                    <a:pt x="128" y="22"/>
                    <a:pt x="127" y="22"/>
                  </a:cubicBezTo>
                  <a:cubicBezTo>
                    <a:pt x="126" y="21"/>
                    <a:pt x="125" y="18"/>
                    <a:pt x="124" y="19"/>
                  </a:cubicBezTo>
                  <a:cubicBezTo>
                    <a:pt x="123" y="19"/>
                    <a:pt x="123" y="20"/>
                    <a:pt x="122" y="20"/>
                  </a:cubicBezTo>
                  <a:cubicBezTo>
                    <a:pt x="121" y="20"/>
                    <a:pt x="121" y="19"/>
                    <a:pt x="120" y="18"/>
                  </a:cubicBezTo>
                  <a:cubicBezTo>
                    <a:pt x="119" y="17"/>
                    <a:pt x="116" y="18"/>
                    <a:pt x="115" y="17"/>
                  </a:cubicBezTo>
                  <a:cubicBezTo>
                    <a:pt x="114" y="17"/>
                    <a:pt x="113" y="16"/>
                    <a:pt x="112" y="15"/>
                  </a:cubicBezTo>
                  <a:cubicBezTo>
                    <a:pt x="111" y="15"/>
                    <a:pt x="110" y="15"/>
                    <a:pt x="110" y="15"/>
                  </a:cubicBezTo>
                  <a:cubicBezTo>
                    <a:pt x="109" y="14"/>
                    <a:pt x="108" y="14"/>
                    <a:pt x="107" y="13"/>
                  </a:cubicBezTo>
                  <a:cubicBezTo>
                    <a:pt x="105" y="13"/>
                    <a:pt x="103" y="12"/>
                    <a:pt x="101" y="12"/>
                  </a:cubicBezTo>
                  <a:cubicBezTo>
                    <a:pt x="99" y="12"/>
                    <a:pt x="98" y="10"/>
                    <a:pt x="97" y="9"/>
                  </a:cubicBezTo>
                  <a:cubicBezTo>
                    <a:pt x="95" y="6"/>
                    <a:pt x="93" y="2"/>
                    <a:pt x="90" y="1"/>
                  </a:cubicBezTo>
                  <a:cubicBezTo>
                    <a:pt x="88" y="0"/>
                    <a:pt x="87" y="1"/>
                    <a:pt x="85" y="2"/>
                  </a:cubicBezTo>
                  <a:cubicBezTo>
                    <a:pt x="85" y="2"/>
                    <a:pt x="83" y="3"/>
                    <a:pt x="82" y="3"/>
                  </a:cubicBezTo>
                  <a:cubicBezTo>
                    <a:pt x="82" y="4"/>
                    <a:pt x="82" y="4"/>
                    <a:pt x="83" y="5"/>
                  </a:cubicBezTo>
                  <a:cubicBezTo>
                    <a:pt x="83" y="7"/>
                    <a:pt x="84" y="8"/>
                    <a:pt x="83" y="9"/>
                  </a:cubicBezTo>
                  <a:cubicBezTo>
                    <a:pt x="82" y="10"/>
                    <a:pt x="80" y="10"/>
                    <a:pt x="79" y="10"/>
                  </a:cubicBezTo>
                  <a:cubicBezTo>
                    <a:pt x="77" y="10"/>
                    <a:pt x="76" y="10"/>
                    <a:pt x="76" y="12"/>
                  </a:cubicBezTo>
                  <a:cubicBezTo>
                    <a:pt x="76" y="13"/>
                    <a:pt x="76" y="14"/>
                    <a:pt x="76" y="15"/>
                  </a:cubicBezTo>
                  <a:cubicBezTo>
                    <a:pt x="76" y="16"/>
                    <a:pt x="76" y="18"/>
                    <a:pt x="76" y="20"/>
                  </a:cubicBezTo>
                  <a:cubicBezTo>
                    <a:pt x="76" y="22"/>
                    <a:pt x="76" y="25"/>
                    <a:pt x="76" y="27"/>
                  </a:cubicBezTo>
                  <a:cubicBezTo>
                    <a:pt x="76" y="30"/>
                    <a:pt x="76" y="33"/>
                    <a:pt x="76" y="36"/>
                  </a:cubicBezTo>
                  <a:cubicBezTo>
                    <a:pt x="76" y="37"/>
                    <a:pt x="77" y="38"/>
                    <a:pt x="76" y="39"/>
                  </a:cubicBezTo>
                  <a:cubicBezTo>
                    <a:pt x="75" y="39"/>
                    <a:pt x="75" y="40"/>
                    <a:pt x="74" y="40"/>
                  </a:cubicBezTo>
                  <a:cubicBezTo>
                    <a:pt x="73" y="40"/>
                    <a:pt x="72" y="40"/>
                    <a:pt x="71" y="39"/>
                  </a:cubicBezTo>
                  <a:cubicBezTo>
                    <a:pt x="68" y="37"/>
                    <a:pt x="66" y="34"/>
                    <a:pt x="62" y="33"/>
                  </a:cubicBezTo>
                  <a:cubicBezTo>
                    <a:pt x="58" y="33"/>
                    <a:pt x="54" y="30"/>
                    <a:pt x="50" y="31"/>
                  </a:cubicBezTo>
                  <a:cubicBezTo>
                    <a:pt x="47" y="32"/>
                    <a:pt x="48" y="36"/>
                    <a:pt x="48" y="39"/>
                  </a:cubicBezTo>
                  <a:cubicBezTo>
                    <a:pt x="45" y="39"/>
                    <a:pt x="40" y="36"/>
                    <a:pt x="37" y="39"/>
                  </a:cubicBezTo>
                  <a:cubicBezTo>
                    <a:pt x="35" y="40"/>
                    <a:pt x="35" y="44"/>
                    <a:pt x="33" y="45"/>
                  </a:cubicBezTo>
                  <a:cubicBezTo>
                    <a:pt x="28" y="48"/>
                    <a:pt x="23" y="49"/>
                    <a:pt x="18" y="50"/>
                  </a:cubicBezTo>
                  <a:cubicBezTo>
                    <a:pt x="17" y="50"/>
                    <a:pt x="15" y="51"/>
                    <a:pt x="14" y="52"/>
                  </a:cubicBezTo>
                  <a:cubicBezTo>
                    <a:pt x="14" y="54"/>
                    <a:pt x="17" y="55"/>
                    <a:pt x="19" y="56"/>
                  </a:cubicBezTo>
                  <a:cubicBezTo>
                    <a:pt x="22" y="56"/>
                    <a:pt x="25" y="56"/>
                    <a:pt x="28" y="56"/>
                  </a:cubicBezTo>
                  <a:cubicBezTo>
                    <a:pt x="30" y="56"/>
                    <a:pt x="33" y="56"/>
                    <a:pt x="34" y="57"/>
                  </a:cubicBezTo>
                  <a:cubicBezTo>
                    <a:pt x="37" y="60"/>
                    <a:pt x="30" y="61"/>
                    <a:pt x="28" y="62"/>
                  </a:cubicBezTo>
                  <a:cubicBezTo>
                    <a:pt x="26" y="62"/>
                    <a:pt x="25" y="63"/>
                    <a:pt x="24" y="64"/>
                  </a:cubicBezTo>
                  <a:cubicBezTo>
                    <a:pt x="23" y="64"/>
                    <a:pt x="22" y="64"/>
                    <a:pt x="22" y="65"/>
                  </a:cubicBezTo>
                  <a:cubicBezTo>
                    <a:pt x="21" y="66"/>
                    <a:pt x="21" y="67"/>
                    <a:pt x="20" y="67"/>
                  </a:cubicBezTo>
                  <a:cubicBezTo>
                    <a:pt x="17" y="68"/>
                    <a:pt x="17" y="67"/>
                    <a:pt x="15" y="66"/>
                  </a:cubicBezTo>
                  <a:cubicBezTo>
                    <a:pt x="14" y="65"/>
                    <a:pt x="13" y="65"/>
                    <a:pt x="12" y="66"/>
                  </a:cubicBezTo>
                  <a:cubicBezTo>
                    <a:pt x="10" y="67"/>
                    <a:pt x="11" y="68"/>
                    <a:pt x="11" y="71"/>
                  </a:cubicBezTo>
                  <a:cubicBezTo>
                    <a:pt x="10" y="75"/>
                    <a:pt x="6" y="72"/>
                    <a:pt x="4" y="73"/>
                  </a:cubicBezTo>
                  <a:cubicBezTo>
                    <a:pt x="2" y="73"/>
                    <a:pt x="1" y="76"/>
                    <a:pt x="0" y="78"/>
                  </a:cubicBezTo>
                  <a:cubicBezTo>
                    <a:pt x="0" y="80"/>
                    <a:pt x="1" y="80"/>
                    <a:pt x="2" y="82"/>
                  </a:cubicBezTo>
                  <a:cubicBezTo>
                    <a:pt x="2" y="83"/>
                    <a:pt x="2" y="83"/>
                    <a:pt x="2" y="84"/>
                  </a:cubicBezTo>
                  <a:cubicBezTo>
                    <a:pt x="2" y="83"/>
                    <a:pt x="3" y="83"/>
                    <a:pt x="3" y="82"/>
                  </a:cubicBezTo>
                  <a:cubicBezTo>
                    <a:pt x="4" y="82"/>
                    <a:pt x="5" y="82"/>
                    <a:pt x="6" y="83"/>
                  </a:cubicBezTo>
                  <a:cubicBezTo>
                    <a:pt x="13" y="84"/>
                    <a:pt x="20" y="85"/>
                    <a:pt x="27" y="86"/>
                  </a:cubicBezTo>
                  <a:cubicBezTo>
                    <a:pt x="43" y="87"/>
                    <a:pt x="59" y="88"/>
                    <a:pt x="76" y="88"/>
                  </a:cubicBezTo>
                  <a:cubicBezTo>
                    <a:pt x="88" y="89"/>
                    <a:pt x="100" y="88"/>
                    <a:pt x="112" y="88"/>
                  </a:cubicBezTo>
                  <a:cubicBezTo>
                    <a:pt x="120" y="88"/>
                    <a:pt x="129" y="89"/>
                    <a:pt x="137" y="89"/>
                  </a:cubicBezTo>
                  <a:cubicBezTo>
                    <a:pt x="144" y="89"/>
                    <a:pt x="150" y="89"/>
                    <a:pt x="157" y="89"/>
                  </a:cubicBezTo>
                  <a:cubicBezTo>
                    <a:pt x="159" y="89"/>
                    <a:pt x="162" y="89"/>
                    <a:pt x="164" y="89"/>
                  </a:cubicBezTo>
                  <a:cubicBezTo>
                    <a:pt x="166" y="89"/>
                    <a:pt x="168" y="90"/>
                    <a:pt x="170" y="90"/>
                  </a:cubicBezTo>
                  <a:cubicBezTo>
                    <a:pt x="175" y="92"/>
                    <a:pt x="179" y="95"/>
                    <a:pt x="184" y="96"/>
                  </a:cubicBezTo>
                  <a:cubicBezTo>
                    <a:pt x="184" y="96"/>
                    <a:pt x="185" y="96"/>
                    <a:pt x="185" y="96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7" name="Freeform 37">
              <a:extLst>
                <a:ext uri="{FF2B5EF4-FFF2-40B4-BE49-F238E27FC236}">
                  <a16:creationId xmlns:a16="http://schemas.microsoft.com/office/drawing/2014/main" id="{2B95772B-4EDE-47BA-895B-2C85C4A8B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050" y="3459163"/>
              <a:ext cx="592138" cy="452438"/>
            </a:xfrm>
            <a:custGeom>
              <a:avLst/>
              <a:gdLst/>
              <a:ahLst/>
              <a:cxnLst>
                <a:cxn ang="0">
                  <a:pos x="305" y="111"/>
                </a:cxn>
                <a:cxn ang="0">
                  <a:pos x="303" y="97"/>
                </a:cxn>
                <a:cxn ang="0">
                  <a:pos x="309" y="76"/>
                </a:cxn>
                <a:cxn ang="0">
                  <a:pos x="291" y="69"/>
                </a:cxn>
                <a:cxn ang="0">
                  <a:pos x="278" y="50"/>
                </a:cxn>
                <a:cxn ang="0">
                  <a:pos x="252" y="32"/>
                </a:cxn>
                <a:cxn ang="0">
                  <a:pos x="229" y="29"/>
                </a:cxn>
                <a:cxn ang="0">
                  <a:pos x="213" y="9"/>
                </a:cxn>
                <a:cxn ang="0">
                  <a:pos x="208" y="2"/>
                </a:cxn>
                <a:cxn ang="0">
                  <a:pos x="200" y="11"/>
                </a:cxn>
                <a:cxn ang="0">
                  <a:pos x="189" y="18"/>
                </a:cxn>
                <a:cxn ang="0">
                  <a:pos x="168" y="16"/>
                </a:cxn>
                <a:cxn ang="0">
                  <a:pos x="154" y="13"/>
                </a:cxn>
                <a:cxn ang="0">
                  <a:pos x="137" y="10"/>
                </a:cxn>
                <a:cxn ang="0">
                  <a:pos x="121" y="10"/>
                </a:cxn>
                <a:cxn ang="0">
                  <a:pos x="112" y="6"/>
                </a:cxn>
                <a:cxn ang="0">
                  <a:pos x="101" y="7"/>
                </a:cxn>
                <a:cxn ang="0">
                  <a:pos x="78" y="5"/>
                </a:cxn>
                <a:cxn ang="0">
                  <a:pos x="53" y="3"/>
                </a:cxn>
                <a:cxn ang="0">
                  <a:pos x="36" y="13"/>
                </a:cxn>
                <a:cxn ang="0">
                  <a:pos x="20" y="23"/>
                </a:cxn>
                <a:cxn ang="0">
                  <a:pos x="12" y="27"/>
                </a:cxn>
                <a:cxn ang="0">
                  <a:pos x="8" y="34"/>
                </a:cxn>
                <a:cxn ang="0">
                  <a:pos x="1" y="51"/>
                </a:cxn>
                <a:cxn ang="0">
                  <a:pos x="3" y="65"/>
                </a:cxn>
                <a:cxn ang="0">
                  <a:pos x="8" y="74"/>
                </a:cxn>
                <a:cxn ang="0">
                  <a:pos x="9" y="90"/>
                </a:cxn>
                <a:cxn ang="0">
                  <a:pos x="15" y="106"/>
                </a:cxn>
                <a:cxn ang="0">
                  <a:pos x="22" y="110"/>
                </a:cxn>
                <a:cxn ang="0">
                  <a:pos x="42" y="124"/>
                </a:cxn>
                <a:cxn ang="0">
                  <a:pos x="54" y="129"/>
                </a:cxn>
                <a:cxn ang="0">
                  <a:pos x="64" y="131"/>
                </a:cxn>
                <a:cxn ang="0">
                  <a:pos x="83" y="131"/>
                </a:cxn>
                <a:cxn ang="0">
                  <a:pos x="95" y="140"/>
                </a:cxn>
                <a:cxn ang="0">
                  <a:pos x="103" y="156"/>
                </a:cxn>
                <a:cxn ang="0">
                  <a:pos x="92" y="184"/>
                </a:cxn>
                <a:cxn ang="0">
                  <a:pos x="95" y="192"/>
                </a:cxn>
                <a:cxn ang="0">
                  <a:pos x="114" y="200"/>
                </a:cxn>
                <a:cxn ang="0">
                  <a:pos x="128" y="207"/>
                </a:cxn>
                <a:cxn ang="0">
                  <a:pos x="138" y="221"/>
                </a:cxn>
                <a:cxn ang="0">
                  <a:pos x="137" y="237"/>
                </a:cxn>
                <a:cxn ang="0">
                  <a:pos x="144" y="235"/>
                </a:cxn>
                <a:cxn ang="0">
                  <a:pos x="159" y="236"/>
                </a:cxn>
                <a:cxn ang="0">
                  <a:pos x="185" y="240"/>
                </a:cxn>
                <a:cxn ang="0">
                  <a:pos x="195" y="232"/>
                </a:cxn>
                <a:cxn ang="0">
                  <a:pos x="203" y="234"/>
                </a:cxn>
                <a:cxn ang="0">
                  <a:pos x="207" y="222"/>
                </a:cxn>
                <a:cxn ang="0">
                  <a:pos x="223" y="220"/>
                </a:cxn>
                <a:cxn ang="0">
                  <a:pos x="237" y="204"/>
                </a:cxn>
                <a:cxn ang="0">
                  <a:pos x="247" y="212"/>
                </a:cxn>
                <a:cxn ang="0">
                  <a:pos x="259" y="217"/>
                </a:cxn>
                <a:cxn ang="0">
                  <a:pos x="251" y="202"/>
                </a:cxn>
                <a:cxn ang="0">
                  <a:pos x="251" y="191"/>
                </a:cxn>
                <a:cxn ang="0">
                  <a:pos x="258" y="164"/>
                </a:cxn>
                <a:cxn ang="0">
                  <a:pos x="261" y="149"/>
                </a:cxn>
                <a:cxn ang="0">
                  <a:pos x="274" y="142"/>
                </a:cxn>
                <a:cxn ang="0">
                  <a:pos x="283" y="135"/>
                </a:cxn>
                <a:cxn ang="0">
                  <a:pos x="289" y="129"/>
                </a:cxn>
                <a:cxn ang="0">
                  <a:pos x="304" y="123"/>
                </a:cxn>
                <a:cxn ang="0">
                  <a:pos x="312" y="116"/>
                </a:cxn>
              </a:cxnLst>
              <a:rect l="0" t="0" r="r" b="b"/>
              <a:pathLst>
                <a:path w="317" h="242">
                  <a:moveTo>
                    <a:pt x="316" y="111"/>
                  </a:moveTo>
                  <a:cubicBezTo>
                    <a:pt x="314" y="110"/>
                    <a:pt x="310" y="110"/>
                    <a:pt x="308" y="110"/>
                  </a:cubicBezTo>
                  <a:cubicBezTo>
                    <a:pt x="308" y="110"/>
                    <a:pt x="307" y="110"/>
                    <a:pt x="306" y="110"/>
                  </a:cubicBezTo>
                  <a:cubicBezTo>
                    <a:pt x="306" y="110"/>
                    <a:pt x="305" y="111"/>
                    <a:pt x="305" y="111"/>
                  </a:cubicBezTo>
                  <a:cubicBezTo>
                    <a:pt x="303" y="111"/>
                    <a:pt x="302" y="109"/>
                    <a:pt x="301" y="108"/>
                  </a:cubicBezTo>
                  <a:cubicBezTo>
                    <a:pt x="300" y="106"/>
                    <a:pt x="300" y="106"/>
                    <a:pt x="301" y="105"/>
                  </a:cubicBezTo>
                  <a:cubicBezTo>
                    <a:pt x="302" y="103"/>
                    <a:pt x="304" y="102"/>
                    <a:pt x="304" y="100"/>
                  </a:cubicBezTo>
                  <a:cubicBezTo>
                    <a:pt x="304" y="98"/>
                    <a:pt x="304" y="98"/>
                    <a:pt x="303" y="97"/>
                  </a:cubicBezTo>
                  <a:cubicBezTo>
                    <a:pt x="302" y="96"/>
                    <a:pt x="300" y="97"/>
                    <a:pt x="301" y="94"/>
                  </a:cubicBezTo>
                  <a:cubicBezTo>
                    <a:pt x="301" y="94"/>
                    <a:pt x="301" y="93"/>
                    <a:pt x="302" y="92"/>
                  </a:cubicBezTo>
                  <a:cubicBezTo>
                    <a:pt x="304" y="91"/>
                    <a:pt x="305" y="89"/>
                    <a:pt x="306" y="87"/>
                  </a:cubicBezTo>
                  <a:cubicBezTo>
                    <a:pt x="307" y="85"/>
                    <a:pt x="312" y="78"/>
                    <a:pt x="309" y="76"/>
                  </a:cubicBezTo>
                  <a:cubicBezTo>
                    <a:pt x="308" y="75"/>
                    <a:pt x="306" y="75"/>
                    <a:pt x="305" y="75"/>
                  </a:cubicBezTo>
                  <a:cubicBezTo>
                    <a:pt x="303" y="75"/>
                    <a:pt x="301" y="74"/>
                    <a:pt x="299" y="74"/>
                  </a:cubicBezTo>
                  <a:cubicBezTo>
                    <a:pt x="297" y="73"/>
                    <a:pt x="293" y="73"/>
                    <a:pt x="292" y="72"/>
                  </a:cubicBezTo>
                  <a:cubicBezTo>
                    <a:pt x="291" y="71"/>
                    <a:pt x="291" y="70"/>
                    <a:pt x="291" y="69"/>
                  </a:cubicBezTo>
                  <a:cubicBezTo>
                    <a:pt x="290" y="67"/>
                    <a:pt x="288" y="65"/>
                    <a:pt x="287" y="63"/>
                  </a:cubicBezTo>
                  <a:cubicBezTo>
                    <a:pt x="286" y="62"/>
                    <a:pt x="285" y="61"/>
                    <a:pt x="285" y="60"/>
                  </a:cubicBezTo>
                  <a:cubicBezTo>
                    <a:pt x="284" y="60"/>
                    <a:pt x="284" y="59"/>
                    <a:pt x="284" y="58"/>
                  </a:cubicBezTo>
                  <a:cubicBezTo>
                    <a:pt x="283" y="55"/>
                    <a:pt x="280" y="52"/>
                    <a:pt x="278" y="50"/>
                  </a:cubicBezTo>
                  <a:cubicBezTo>
                    <a:pt x="275" y="48"/>
                    <a:pt x="273" y="46"/>
                    <a:pt x="270" y="44"/>
                  </a:cubicBezTo>
                  <a:cubicBezTo>
                    <a:pt x="267" y="42"/>
                    <a:pt x="265" y="40"/>
                    <a:pt x="262" y="39"/>
                  </a:cubicBezTo>
                  <a:cubicBezTo>
                    <a:pt x="260" y="37"/>
                    <a:pt x="258" y="36"/>
                    <a:pt x="255" y="35"/>
                  </a:cubicBezTo>
                  <a:cubicBezTo>
                    <a:pt x="254" y="34"/>
                    <a:pt x="253" y="32"/>
                    <a:pt x="252" y="32"/>
                  </a:cubicBezTo>
                  <a:cubicBezTo>
                    <a:pt x="250" y="30"/>
                    <a:pt x="248" y="30"/>
                    <a:pt x="246" y="30"/>
                  </a:cubicBezTo>
                  <a:cubicBezTo>
                    <a:pt x="243" y="30"/>
                    <a:pt x="239" y="31"/>
                    <a:pt x="236" y="29"/>
                  </a:cubicBezTo>
                  <a:cubicBezTo>
                    <a:pt x="235" y="29"/>
                    <a:pt x="234" y="27"/>
                    <a:pt x="233" y="27"/>
                  </a:cubicBezTo>
                  <a:cubicBezTo>
                    <a:pt x="232" y="26"/>
                    <a:pt x="229" y="27"/>
                    <a:pt x="229" y="29"/>
                  </a:cubicBezTo>
                  <a:cubicBezTo>
                    <a:pt x="227" y="29"/>
                    <a:pt x="226" y="26"/>
                    <a:pt x="226" y="25"/>
                  </a:cubicBezTo>
                  <a:cubicBezTo>
                    <a:pt x="223" y="24"/>
                    <a:pt x="222" y="22"/>
                    <a:pt x="221" y="19"/>
                  </a:cubicBezTo>
                  <a:cubicBezTo>
                    <a:pt x="219" y="16"/>
                    <a:pt x="217" y="14"/>
                    <a:pt x="216" y="11"/>
                  </a:cubicBezTo>
                  <a:cubicBezTo>
                    <a:pt x="215" y="10"/>
                    <a:pt x="214" y="9"/>
                    <a:pt x="213" y="9"/>
                  </a:cubicBezTo>
                  <a:cubicBezTo>
                    <a:pt x="213" y="8"/>
                    <a:pt x="213" y="8"/>
                    <a:pt x="213" y="7"/>
                  </a:cubicBezTo>
                  <a:cubicBezTo>
                    <a:pt x="214" y="6"/>
                    <a:pt x="213" y="6"/>
                    <a:pt x="214" y="5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0"/>
                    <a:pt x="210" y="0"/>
                    <a:pt x="208" y="2"/>
                  </a:cubicBezTo>
                  <a:cubicBezTo>
                    <a:pt x="208" y="2"/>
                    <a:pt x="208" y="3"/>
                    <a:pt x="207" y="3"/>
                  </a:cubicBezTo>
                  <a:cubicBezTo>
                    <a:pt x="207" y="4"/>
                    <a:pt x="206" y="4"/>
                    <a:pt x="205" y="4"/>
                  </a:cubicBezTo>
                  <a:cubicBezTo>
                    <a:pt x="204" y="5"/>
                    <a:pt x="202" y="6"/>
                    <a:pt x="201" y="7"/>
                  </a:cubicBezTo>
                  <a:cubicBezTo>
                    <a:pt x="200" y="8"/>
                    <a:pt x="200" y="10"/>
                    <a:pt x="200" y="11"/>
                  </a:cubicBezTo>
                  <a:cubicBezTo>
                    <a:pt x="200" y="12"/>
                    <a:pt x="200" y="13"/>
                    <a:pt x="200" y="14"/>
                  </a:cubicBezTo>
                  <a:cubicBezTo>
                    <a:pt x="199" y="14"/>
                    <a:pt x="198" y="14"/>
                    <a:pt x="197" y="14"/>
                  </a:cubicBezTo>
                  <a:cubicBezTo>
                    <a:pt x="196" y="15"/>
                    <a:pt x="196" y="16"/>
                    <a:pt x="195" y="17"/>
                  </a:cubicBezTo>
                  <a:cubicBezTo>
                    <a:pt x="193" y="18"/>
                    <a:pt x="190" y="18"/>
                    <a:pt x="189" y="18"/>
                  </a:cubicBezTo>
                  <a:cubicBezTo>
                    <a:pt x="184" y="17"/>
                    <a:pt x="179" y="15"/>
                    <a:pt x="175" y="18"/>
                  </a:cubicBezTo>
                  <a:cubicBezTo>
                    <a:pt x="174" y="18"/>
                    <a:pt x="173" y="20"/>
                    <a:pt x="171" y="20"/>
                  </a:cubicBezTo>
                  <a:cubicBezTo>
                    <a:pt x="170" y="20"/>
                    <a:pt x="169" y="20"/>
                    <a:pt x="169" y="19"/>
                  </a:cubicBezTo>
                  <a:cubicBezTo>
                    <a:pt x="168" y="18"/>
                    <a:pt x="169" y="17"/>
                    <a:pt x="168" y="16"/>
                  </a:cubicBezTo>
                  <a:cubicBezTo>
                    <a:pt x="168" y="15"/>
                    <a:pt x="166" y="15"/>
                    <a:pt x="165" y="15"/>
                  </a:cubicBezTo>
                  <a:cubicBezTo>
                    <a:pt x="163" y="14"/>
                    <a:pt x="161" y="13"/>
                    <a:pt x="159" y="12"/>
                  </a:cubicBezTo>
                  <a:cubicBezTo>
                    <a:pt x="158" y="11"/>
                    <a:pt x="157" y="10"/>
                    <a:pt x="156" y="10"/>
                  </a:cubicBezTo>
                  <a:cubicBezTo>
                    <a:pt x="154" y="10"/>
                    <a:pt x="155" y="13"/>
                    <a:pt x="154" y="13"/>
                  </a:cubicBezTo>
                  <a:cubicBezTo>
                    <a:pt x="153" y="12"/>
                    <a:pt x="153" y="10"/>
                    <a:pt x="153" y="9"/>
                  </a:cubicBezTo>
                  <a:cubicBezTo>
                    <a:pt x="150" y="8"/>
                    <a:pt x="148" y="8"/>
                    <a:pt x="145" y="9"/>
                  </a:cubicBezTo>
                  <a:cubicBezTo>
                    <a:pt x="144" y="9"/>
                    <a:pt x="143" y="10"/>
                    <a:pt x="142" y="10"/>
                  </a:cubicBezTo>
                  <a:cubicBezTo>
                    <a:pt x="140" y="10"/>
                    <a:pt x="138" y="10"/>
                    <a:pt x="137" y="10"/>
                  </a:cubicBezTo>
                  <a:cubicBezTo>
                    <a:pt x="135" y="9"/>
                    <a:pt x="134" y="8"/>
                    <a:pt x="132" y="8"/>
                  </a:cubicBezTo>
                  <a:cubicBezTo>
                    <a:pt x="131" y="8"/>
                    <a:pt x="129" y="7"/>
                    <a:pt x="128" y="7"/>
                  </a:cubicBezTo>
                  <a:cubicBezTo>
                    <a:pt x="127" y="8"/>
                    <a:pt x="127" y="10"/>
                    <a:pt x="125" y="10"/>
                  </a:cubicBezTo>
                  <a:cubicBezTo>
                    <a:pt x="124" y="10"/>
                    <a:pt x="122" y="9"/>
                    <a:pt x="121" y="10"/>
                  </a:cubicBezTo>
                  <a:cubicBezTo>
                    <a:pt x="121" y="12"/>
                    <a:pt x="117" y="14"/>
                    <a:pt x="115" y="14"/>
                  </a:cubicBezTo>
                  <a:cubicBezTo>
                    <a:pt x="113" y="13"/>
                    <a:pt x="113" y="10"/>
                    <a:pt x="113" y="9"/>
                  </a:cubicBezTo>
                  <a:cubicBezTo>
                    <a:pt x="113" y="8"/>
                    <a:pt x="112" y="8"/>
                    <a:pt x="112" y="8"/>
                  </a:cubicBezTo>
                  <a:cubicBezTo>
                    <a:pt x="112" y="7"/>
                    <a:pt x="112" y="6"/>
                    <a:pt x="112" y="6"/>
                  </a:cubicBezTo>
                  <a:cubicBezTo>
                    <a:pt x="112" y="5"/>
                    <a:pt x="110" y="6"/>
                    <a:pt x="110" y="6"/>
                  </a:cubicBezTo>
                  <a:cubicBezTo>
                    <a:pt x="109" y="5"/>
                    <a:pt x="107" y="5"/>
                    <a:pt x="106" y="5"/>
                  </a:cubicBezTo>
                  <a:cubicBezTo>
                    <a:pt x="105" y="5"/>
                    <a:pt x="104" y="5"/>
                    <a:pt x="103" y="5"/>
                  </a:cubicBezTo>
                  <a:cubicBezTo>
                    <a:pt x="102" y="6"/>
                    <a:pt x="102" y="7"/>
                    <a:pt x="101" y="7"/>
                  </a:cubicBezTo>
                  <a:cubicBezTo>
                    <a:pt x="100" y="7"/>
                    <a:pt x="99" y="7"/>
                    <a:pt x="99" y="7"/>
                  </a:cubicBezTo>
                  <a:cubicBezTo>
                    <a:pt x="97" y="7"/>
                    <a:pt x="96" y="7"/>
                    <a:pt x="94" y="7"/>
                  </a:cubicBezTo>
                  <a:cubicBezTo>
                    <a:pt x="91" y="7"/>
                    <a:pt x="89" y="7"/>
                    <a:pt x="86" y="6"/>
                  </a:cubicBezTo>
                  <a:cubicBezTo>
                    <a:pt x="83" y="5"/>
                    <a:pt x="81" y="5"/>
                    <a:pt x="78" y="5"/>
                  </a:cubicBezTo>
                  <a:cubicBezTo>
                    <a:pt x="75" y="5"/>
                    <a:pt x="71" y="5"/>
                    <a:pt x="67" y="4"/>
                  </a:cubicBezTo>
                  <a:cubicBezTo>
                    <a:pt x="66" y="4"/>
                    <a:pt x="65" y="3"/>
                    <a:pt x="64" y="3"/>
                  </a:cubicBezTo>
                  <a:cubicBezTo>
                    <a:pt x="63" y="3"/>
                    <a:pt x="62" y="2"/>
                    <a:pt x="61" y="2"/>
                  </a:cubicBezTo>
                  <a:cubicBezTo>
                    <a:pt x="60" y="1"/>
                    <a:pt x="54" y="1"/>
                    <a:pt x="53" y="3"/>
                  </a:cubicBezTo>
                  <a:cubicBezTo>
                    <a:pt x="52" y="5"/>
                    <a:pt x="54" y="7"/>
                    <a:pt x="50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8"/>
                    <a:pt x="42" y="9"/>
                    <a:pt x="41" y="10"/>
                  </a:cubicBezTo>
                  <a:cubicBezTo>
                    <a:pt x="39" y="12"/>
                    <a:pt x="39" y="13"/>
                    <a:pt x="36" y="13"/>
                  </a:cubicBezTo>
                  <a:cubicBezTo>
                    <a:pt x="33" y="13"/>
                    <a:pt x="31" y="12"/>
                    <a:pt x="29" y="14"/>
                  </a:cubicBezTo>
                  <a:cubicBezTo>
                    <a:pt x="28" y="14"/>
                    <a:pt x="26" y="16"/>
                    <a:pt x="25" y="17"/>
                  </a:cubicBezTo>
                  <a:cubicBezTo>
                    <a:pt x="23" y="17"/>
                    <a:pt x="22" y="17"/>
                    <a:pt x="21" y="19"/>
                  </a:cubicBezTo>
                  <a:cubicBezTo>
                    <a:pt x="21" y="20"/>
                    <a:pt x="21" y="22"/>
                    <a:pt x="20" y="23"/>
                  </a:cubicBezTo>
                  <a:cubicBezTo>
                    <a:pt x="19" y="23"/>
                    <a:pt x="18" y="24"/>
                    <a:pt x="17" y="24"/>
                  </a:cubicBezTo>
                  <a:cubicBezTo>
                    <a:pt x="16" y="24"/>
                    <a:pt x="15" y="25"/>
                    <a:pt x="15" y="25"/>
                  </a:cubicBezTo>
                  <a:cubicBezTo>
                    <a:pt x="15" y="25"/>
                    <a:pt x="14" y="26"/>
                    <a:pt x="14" y="26"/>
                  </a:cubicBezTo>
                  <a:cubicBezTo>
                    <a:pt x="14" y="26"/>
                    <a:pt x="12" y="26"/>
                    <a:pt x="12" y="27"/>
                  </a:cubicBezTo>
                  <a:cubicBezTo>
                    <a:pt x="11" y="27"/>
                    <a:pt x="12" y="28"/>
                    <a:pt x="12" y="28"/>
                  </a:cubicBezTo>
                  <a:cubicBezTo>
                    <a:pt x="12" y="29"/>
                    <a:pt x="11" y="29"/>
                    <a:pt x="11" y="29"/>
                  </a:cubicBezTo>
                  <a:cubicBezTo>
                    <a:pt x="11" y="30"/>
                    <a:pt x="10" y="31"/>
                    <a:pt x="10" y="31"/>
                  </a:cubicBezTo>
                  <a:cubicBezTo>
                    <a:pt x="9" y="32"/>
                    <a:pt x="9" y="33"/>
                    <a:pt x="8" y="34"/>
                  </a:cubicBezTo>
                  <a:cubicBezTo>
                    <a:pt x="7" y="34"/>
                    <a:pt x="6" y="33"/>
                    <a:pt x="5" y="34"/>
                  </a:cubicBezTo>
                  <a:cubicBezTo>
                    <a:pt x="3" y="35"/>
                    <a:pt x="3" y="38"/>
                    <a:pt x="3" y="40"/>
                  </a:cubicBezTo>
                  <a:cubicBezTo>
                    <a:pt x="2" y="43"/>
                    <a:pt x="2" y="46"/>
                    <a:pt x="2" y="49"/>
                  </a:cubicBezTo>
                  <a:cubicBezTo>
                    <a:pt x="2" y="50"/>
                    <a:pt x="2" y="50"/>
                    <a:pt x="1" y="51"/>
                  </a:cubicBezTo>
                  <a:cubicBezTo>
                    <a:pt x="0" y="52"/>
                    <a:pt x="0" y="53"/>
                    <a:pt x="0" y="55"/>
                  </a:cubicBezTo>
                  <a:cubicBezTo>
                    <a:pt x="0" y="57"/>
                    <a:pt x="0" y="61"/>
                    <a:pt x="1" y="63"/>
                  </a:cubicBezTo>
                  <a:cubicBezTo>
                    <a:pt x="1" y="63"/>
                    <a:pt x="2" y="63"/>
                    <a:pt x="2" y="64"/>
                  </a:cubicBezTo>
                  <a:cubicBezTo>
                    <a:pt x="2" y="64"/>
                    <a:pt x="3" y="65"/>
                    <a:pt x="3" y="65"/>
                  </a:cubicBezTo>
                  <a:cubicBezTo>
                    <a:pt x="4" y="67"/>
                    <a:pt x="5" y="67"/>
                    <a:pt x="5" y="69"/>
                  </a:cubicBezTo>
                  <a:cubicBezTo>
                    <a:pt x="5" y="68"/>
                    <a:pt x="6" y="70"/>
                    <a:pt x="6" y="70"/>
                  </a:cubicBezTo>
                  <a:cubicBezTo>
                    <a:pt x="6" y="70"/>
                    <a:pt x="7" y="70"/>
                    <a:pt x="7" y="71"/>
                  </a:cubicBezTo>
                  <a:cubicBezTo>
                    <a:pt x="8" y="72"/>
                    <a:pt x="7" y="73"/>
                    <a:pt x="8" y="74"/>
                  </a:cubicBezTo>
                  <a:cubicBezTo>
                    <a:pt x="8" y="76"/>
                    <a:pt x="8" y="76"/>
                    <a:pt x="8" y="78"/>
                  </a:cubicBezTo>
                  <a:cubicBezTo>
                    <a:pt x="9" y="81"/>
                    <a:pt x="8" y="84"/>
                    <a:pt x="8" y="88"/>
                  </a:cubicBezTo>
                  <a:cubicBezTo>
                    <a:pt x="8" y="88"/>
                    <a:pt x="8" y="89"/>
                    <a:pt x="8" y="89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10" y="92"/>
                    <a:pt x="12" y="95"/>
                    <a:pt x="12" y="97"/>
                  </a:cubicBezTo>
                  <a:cubicBezTo>
                    <a:pt x="12" y="99"/>
                    <a:pt x="12" y="101"/>
                    <a:pt x="12" y="102"/>
                  </a:cubicBezTo>
                  <a:cubicBezTo>
                    <a:pt x="12" y="103"/>
                    <a:pt x="12" y="104"/>
                    <a:pt x="13" y="105"/>
                  </a:cubicBezTo>
                  <a:cubicBezTo>
                    <a:pt x="13" y="105"/>
                    <a:pt x="14" y="105"/>
                    <a:pt x="15" y="106"/>
                  </a:cubicBezTo>
                  <a:cubicBezTo>
                    <a:pt x="15" y="107"/>
                    <a:pt x="15" y="107"/>
                    <a:pt x="15" y="108"/>
                  </a:cubicBezTo>
                  <a:cubicBezTo>
                    <a:pt x="16" y="109"/>
                    <a:pt x="18" y="109"/>
                    <a:pt x="19" y="110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20" y="110"/>
                    <a:pt x="20" y="109"/>
                    <a:pt x="22" y="110"/>
                  </a:cubicBezTo>
                  <a:cubicBezTo>
                    <a:pt x="25" y="111"/>
                    <a:pt x="27" y="115"/>
                    <a:pt x="29" y="118"/>
                  </a:cubicBezTo>
                  <a:cubicBezTo>
                    <a:pt x="30" y="119"/>
                    <a:pt x="31" y="121"/>
                    <a:pt x="33" y="121"/>
                  </a:cubicBezTo>
                  <a:cubicBezTo>
                    <a:pt x="35" y="121"/>
                    <a:pt x="37" y="122"/>
                    <a:pt x="39" y="122"/>
                  </a:cubicBezTo>
                  <a:cubicBezTo>
                    <a:pt x="40" y="123"/>
                    <a:pt x="41" y="123"/>
                    <a:pt x="42" y="124"/>
                  </a:cubicBezTo>
                  <a:cubicBezTo>
                    <a:pt x="42" y="124"/>
                    <a:pt x="43" y="124"/>
                    <a:pt x="44" y="124"/>
                  </a:cubicBezTo>
                  <a:cubicBezTo>
                    <a:pt x="45" y="125"/>
                    <a:pt x="46" y="126"/>
                    <a:pt x="47" y="126"/>
                  </a:cubicBezTo>
                  <a:cubicBezTo>
                    <a:pt x="48" y="127"/>
                    <a:pt x="51" y="126"/>
                    <a:pt x="52" y="127"/>
                  </a:cubicBezTo>
                  <a:cubicBezTo>
                    <a:pt x="53" y="128"/>
                    <a:pt x="53" y="129"/>
                    <a:pt x="54" y="129"/>
                  </a:cubicBezTo>
                  <a:cubicBezTo>
                    <a:pt x="55" y="129"/>
                    <a:pt x="55" y="128"/>
                    <a:pt x="56" y="128"/>
                  </a:cubicBezTo>
                  <a:cubicBezTo>
                    <a:pt x="57" y="127"/>
                    <a:pt x="58" y="130"/>
                    <a:pt x="59" y="131"/>
                  </a:cubicBezTo>
                  <a:cubicBezTo>
                    <a:pt x="60" y="131"/>
                    <a:pt x="61" y="133"/>
                    <a:pt x="62" y="133"/>
                  </a:cubicBezTo>
                  <a:cubicBezTo>
                    <a:pt x="64" y="133"/>
                    <a:pt x="63" y="132"/>
                    <a:pt x="64" y="131"/>
                  </a:cubicBezTo>
                  <a:cubicBezTo>
                    <a:pt x="64" y="131"/>
                    <a:pt x="65" y="130"/>
                    <a:pt x="66" y="129"/>
                  </a:cubicBezTo>
                  <a:cubicBezTo>
                    <a:pt x="68" y="128"/>
                    <a:pt x="69" y="128"/>
                    <a:pt x="71" y="129"/>
                  </a:cubicBezTo>
                  <a:cubicBezTo>
                    <a:pt x="74" y="130"/>
                    <a:pt x="76" y="131"/>
                    <a:pt x="80" y="131"/>
                  </a:cubicBezTo>
                  <a:cubicBezTo>
                    <a:pt x="81" y="131"/>
                    <a:pt x="82" y="131"/>
                    <a:pt x="83" y="131"/>
                  </a:cubicBezTo>
                  <a:cubicBezTo>
                    <a:pt x="84" y="130"/>
                    <a:pt x="84" y="129"/>
                    <a:pt x="86" y="129"/>
                  </a:cubicBezTo>
                  <a:cubicBezTo>
                    <a:pt x="87" y="129"/>
                    <a:pt x="89" y="131"/>
                    <a:pt x="90" y="132"/>
                  </a:cubicBezTo>
                  <a:cubicBezTo>
                    <a:pt x="91" y="134"/>
                    <a:pt x="90" y="135"/>
                    <a:pt x="91" y="136"/>
                  </a:cubicBezTo>
                  <a:cubicBezTo>
                    <a:pt x="91" y="137"/>
                    <a:pt x="94" y="139"/>
                    <a:pt x="95" y="140"/>
                  </a:cubicBezTo>
                  <a:cubicBezTo>
                    <a:pt x="96" y="141"/>
                    <a:pt x="98" y="141"/>
                    <a:pt x="99" y="142"/>
                  </a:cubicBezTo>
                  <a:cubicBezTo>
                    <a:pt x="100" y="144"/>
                    <a:pt x="100" y="146"/>
                    <a:pt x="101" y="147"/>
                  </a:cubicBezTo>
                  <a:cubicBezTo>
                    <a:pt x="101" y="149"/>
                    <a:pt x="104" y="151"/>
                    <a:pt x="104" y="154"/>
                  </a:cubicBezTo>
                  <a:cubicBezTo>
                    <a:pt x="104" y="155"/>
                    <a:pt x="104" y="156"/>
                    <a:pt x="103" y="156"/>
                  </a:cubicBezTo>
                  <a:cubicBezTo>
                    <a:pt x="101" y="159"/>
                    <a:pt x="99" y="162"/>
                    <a:pt x="97" y="164"/>
                  </a:cubicBezTo>
                  <a:cubicBezTo>
                    <a:pt x="95" y="166"/>
                    <a:pt x="95" y="167"/>
                    <a:pt x="95" y="170"/>
                  </a:cubicBezTo>
                  <a:cubicBezTo>
                    <a:pt x="94" y="173"/>
                    <a:pt x="93" y="176"/>
                    <a:pt x="93" y="180"/>
                  </a:cubicBezTo>
                  <a:cubicBezTo>
                    <a:pt x="93" y="181"/>
                    <a:pt x="92" y="182"/>
                    <a:pt x="92" y="184"/>
                  </a:cubicBezTo>
                  <a:cubicBezTo>
                    <a:pt x="92" y="185"/>
                    <a:pt x="92" y="187"/>
                    <a:pt x="92" y="189"/>
                  </a:cubicBezTo>
                  <a:cubicBezTo>
                    <a:pt x="92" y="190"/>
                    <a:pt x="92" y="190"/>
                    <a:pt x="93" y="190"/>
                  </a:cubicBezTo>
                  <a:cubicBezTo>
                    <a:pt x="93" y="190"/>
                    <a:pt x="94" y="190"/>
                    <a:pt x="94" y="191"/>
                  </a:cubicBezTo>
                  <a:cubicBezTo>
                    <a:pt x="95" y="191"/>
                    <a:pt x="95" y="191"/>
                    <a:pt x="95" y="192"/>
                  </a:cubicBezTo>
                  <a:cubicBezTo>
                    <a:pt x="97" y="193"/>
                    <a:pt x="99" y="194"/>
                    <a:pt x="101" y="194"/>
                  </a:cubicBezTo>
                  <a:cubicBezTo>
                    <a:pt x="103" y="195"/>
                    <a:pt x="105" y="196"/>
                    <a:pt x="107" y="196"/>
                  </a:cubicBezTo>
                  <a:cubicBezTo>
                    <a:pt x="109" y="196"/>
                    <a:pt x="110" y="196"/>
                    <a:pt x="111" y="197"/>
                  </a:cubicBezTo>
                  <a:cubicBezTo>
                    <a:pt x="112" y="198"/>
                    <a:pt x="113" y="199"/>
                    <a:pt x="114" y="200"/>
                  </a:cubicBezTo>
                  <a:cubicBezTo>
                    <a:pt x="114" y="200"/>
                    <a:pt x="115" y="201"/>
                    <a:pt x="115" y="201"/>
                  </a:cubicBezTo>
                  <a:cubicBezTo>
                    <a:pt x="116" y="202"/>
                    <a:pt x="115" y="203"/>
                    <a:pt x="116" y="203"/>
                  </a:cubicBezTo>
                  <a:cubicBezTo>
                    <a:pt x="116" y="204"/>
                    <a:pt x="117" y="205"/>
                    <a:pt x="117" y="205"/>
                  </a:cubicBezTo>
                  <a:cubicBezTo>
                    <a:pt x="121" y="206"/>
                    <a:pt x="125" y="205"/>
                    <a:pt x="128" y="207"/>
                  </a:cubicBezTo>
                  <a:cubicBezTo>
                    <a:pt x="129" y="208"/>
                    <a:pt x="131" y="210"/>
                    <a:pt x="132" y="210"/>
                  </a:cubicBezTo>
                  <a:cubicBezTo>
                    <a:pt x="132" y="211"/>
                    <a:pt x="132" y="212"/>
                    <a:pt x="132" y="213"/>
                  </a:cubicBezTo>
                  <a:cubicBezTo>
                    <a:pt x="132" y="215"/>
                    <a:pt x="134" y="216"/>
                    <a:pt x="134" y="217"/>
                  </a:cubicBezTo>
                  <a:cubicBezTo>
                    <a:pt x="135" y="218"/>
                    <a:pt x="137" y="219"/>
                    <a:pt x="138" y="221"/>
                  </a:cubicBezTo>
                  <a:cubicBezTo>
                    <a:pt x="139" y="223"/>
                    <a:pt x="139" y="228"/>
                    <a:pt x="138" y="230"/>
                  </a:cubicBezTo>
                  <a:cubicBezTo>
                    <a:pt x="138" y="231"/>
                    <a:pt x="137" y="230"/>
                    <a:pt x="137" y="231"/>
                  </a:cubicBezTo>
                  <a:cubicBezTo>
                    <a:pt x="136" y="232"/>
                    <a:pt x="137" y="233"/>
                    <a:pt x="137" y="233"/>
                  </a:cubicBezTo>
                  <a:cubicBezTo>
                    <a:pt x="137" y="234"/>
                    <a:pt x="136" y="236"/>
                    <a:pt x="137" y="237"/>
                  </a:cubicBezTo>
                  <a:cubicBezTo>
                    <a:pt x="137" y="238"/>
                    <a:pt x="137" y="239"/>
                    <a:pt x="138" y="240"/>
                  </a:cubicBezTo>
                  <a:cubicBezTo>
                    <a:pt x="138" y="240"/>
                    <a:pt x="138" y="240"/>
                    <a:pt x="139" y="239"/>
                  </a:cubicBezTo>
                  <a:cubicBezTo>
                    <a:pt x="139" y="238"/>
                    <a:pt x="140" y="237"/>
                    <a:pt x="141" y="237"/>
                  </a:cubicBezTo>
                  <a:cubicBezTo>
                    <a:pt x="142" y="235"/>
                    <a:pt x="142" y="235"/>
                    <a:pt x="144" y="235"/>
                  </a:cubicBezTo>
                  <a:cubicBezTo>
                    <a:pt x="147" y="234"/>
                    <a:pt x="149" y="234"/>
                    <a:pt x="152" y="234"/>
                  </a:cubicBezTo>
                  <a:cubicBezTo>
                    <a:pt x="153" y="234"/>
                    <a:pt x="154" y="234"/>
                    <a:pt x="155" y="234"/>
                  </a:cubicBezTo>
                  <a:cubicBezTo>
                    <a:pt x="156" y="235"/>
                    <a:pt x="156" y="235"/>
                    <a:pt x="157" y="235"/>
                  </a:cubicBezTo>
                  <a:cubicBezTo>
                    <a:pt x="158" y="236"/>
                    <a:pt x="159" y="236"/>
                    <a:pt x="159" y="236"/>
                  </a:cubicBezTo>
                  <a:cubicBezTo>
                    <a:pt x="161" y="236"/>
                    <a:pt x="166" y="238"/>
                    <a:pt x="167" y="236"/>
                  </a:cubicBezTo>
                  <a:cubicBezTo>
                    <a:pt x="167" y="236"/>
                    <a:pt x="167" y="237"/>
                    <a:pt x="167" y="237"/>
                  </a:cubicBezTo>
                  <a:cubicBezTo>
                    <a:pt x="170" y="238"/>
                    <a:pt x="174" y="237"/>
                    <a:pt x="176" y="238"/>
                  </a:cubicBezTo>
                  <a:cubicBezTo>
                    <a:pt x="179" y="239"/>
                    <a:pt x="182" y="242"/>
                    <a:pt x="185" y="240"/>
                  </a:cubicBezTo>
                  <a:cubicBezTo>
                    <a:pt x="187" y="240"/>
                    <a:pt x="187" y="239"/>
                    <a:pt x="188" y="237"/>
                  </a:cubicBezTo>
                  <a:cubicBezTo>
                    <a:pt x="189" y="236"/>
                    <a:pt x="190" y="236"/>
                    <a:pt x="192" y="235"/>
                  </a:cubicBezTo>
                  <a:cubicBezTo>
                    <a:pt x="192" y="235"/>
                    <a:pt x="193" y="234"/>
                    <a:pt x="194" y="234"/>
                  </a:cubicBezTo>
                  <a:cubicBezTo>
                    <a:pt x="194" y="233"/>
                    <a:pt x="195" y="233"/>
                    <a:pt x="195" y="232"/>
                  </a:cubicBezTo>
                  <a:cubicBezTo>
                    <a:pt x="196" y="232"/>
                    <a:pt x="197" y="232"/>
                    <a:pt x="197" y="232"/>
                  </a:cubicBezTo>
                  <a:cubicBezTo>
                    <a:pt x="198" y="231"/>
                    <a:pt x="199" y="230"/>
                    <a:pt x="200" y="230"/>
                  </a:cubicBezTo>
                  <a:cubicBezTo>
                    <a:pt x="201" y="232"/>
                    <a:pt x="198" y="236"/>
                    <a:pt x="202" y="234"/>
                  </a:cubicBezTo>
                  <a:cubicBezTo>
                    <a:pt x="202" y="234"/>
                    <a:pt x="203" y="234"/>
                    <a:pt x="203" y="234"/>
                  </a:cubicBezTo>
                  <a:cubicBezTo>
                    <a:pt x="204" y="233"/>
                    <a:pt x="204" y="233"/>
                    <a:pt x="205" y="232"/>
                  </a:cubicBezTo>
                  <a:cubicBezTo>
                    <a:pt x="206" y="231"/>
                    <a:pt x="207" y="232"/>
                    <a:pt x="208" y="231"/>
                  </a:cubicBezTo>
                  <a:cubicBezTo>
                    <a:pt x="209" y="229"/>
                    <a:pt x="207" y="228"/>
                    <a:pt x="207" y="226"/>
                  </a:cubicBezTo>
                  <a:cubicBezTo>
                    <a:pt x="207" y="225"/>
                    <a:pt x="207" y="223"/>
                    <a:pt x="207" y="222"/>
                  </a:cubicBezTo>
                  <a:cubicBezTo>
                    <a:pt x="207" y="221"/>
                    <a:pt x="208" y="218"/>
                    <a:pt x="210" y="218"/>
                  </a:cubicBezTo>
                  <a:cubicBezTo>
                    <a:pt x="211" y="217"/>
                    <a:pt x="214" y="216"/>
                    <a:pt x="216" y="216"/>
                  </a:cubicBezTo>
                  <a:cubicBezTo>
                    <a:pt x="217" y="217"/>
                    <a:pt x="217" y="219"/>
                    <a:pt x="219" y="219"/>
                  </a:cubicBezTo>
                  <a:cubicBezTo>
                    <a:pt x="220" y="220"/>
                    <a:pt x="222" y="220"/>
                    <a:pt x="223" y="220"/>
                  </a:cubicBezTo>
                  <a:cubicBezTo>
                    <a:pt x="228" y="220"/>
                    <a:pt x="227" y="215"/>
                    <a:pt x="227" y="212"/>
                  </a:cubicBezTo>
                  <a:cubicBezTo>
                    <a:pt x="227" y="208"/>
                    <a:pt x="231" y="204"/>
                    <a:pt x="235" y="205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37" y="205"/>
                    <a:pt x="237" y="205"/>
                    <a:pt x="237" y="204"/>
                  </a:cubicBezTo>
                  <a:cubicBezTo>
                    <a:pt x="238" y="204"/>
                    <a:pt x="238" y="204"/>
                    <a:pt x="238" y="204"/>
                  </a:cubicBezTo>
                  <a:cubicBezTo>
                    <a:pt x="241" y="204"/>
                    <a:pt x="244" y="204"/>
                    <a:pt x="246" y="204"/>
                  </a:cubicBezTo>
                  <a:cubicBezTo>
                    <a:pt x="246" y="206"/>
                    <a:pt x="248" y="206"/>
                    <a:pt x="248" y="208"/>
                  </a:cubicBezTo>
                  <a:cubicBezTo>
                    <a:pt x="248" y="210"/>
                    <a:pt x="247" y="210"/>
                    <a:pt x="247" y="212"/>
                  </a:cubicBezTo>
                  <a:cubicBezTo>
                    <a:pt x="246" y="213"/>
                    <a:pt x="246" y="215"/>
                    <a:pt x="246" y="216"/>
                  </a:cubicBezTo>
                  <a:cubicBezTo>
                    <a:pt x="246" y="218"/>
                    <a:pt x="246" y="218"/>
                    <a:pt x="248" y="219"/>
                  </a:cubicBezTo>
                  <a:cubicBezTo>
                    <a:pt x="250" y="219"/>
                    <a:pt x="254" y="219"/>
                    <a:pt x="256" y="219"/>
                  </a:cubicBezTo>
                  <a:cubicBezTo>
                    <a:pt x="257" y="219"/>
                    <a:pt x="259" y="218"/>
                    <a:pt x="259" y="217"/>
                  </a:cubicBezTo>
                  <a:cubicBezTo>
                    <a:pt x="261" y="214"/>
                    <a:pt x="259" y="211"/>
                    <a:pt x="257" y="209"/>
                  </a:cubicBezTo>
                  <a:cubicBezTo>
                    <a:pt x="257" y="208"/>
                    <a:pt x="256" y="207"/>
                    <a:pt x="255" y="207"/>
                  </a:cubicBezTo>
                  <a:cubicBezTo>
                    <a:pt x="254" y="206"/>
                    <a:pt x="253" y="205"/>
                    <a:pt x="252" y="204"/>
                  </a:cubicBezTo>
                  <a:cubicBezTo>
                    <a:pt x="252" y="204"/>
                    <a:pt x="252" y="202"/>
                    <a:pt x="251" y="202"/>
                  </a:cubicBezTo>
                  <a:cubicBezTo>
                    <a:pt x="250" y="200"/>
                    <a:pt x="249" y="201"/>
                    <a:pt x="249" y="199"/>
                  </a:cubicBezTo>
                  <a:cubicBezTo>
                    <a:pt x="249" y="198"/>
                    <a:pt x="249" y="197"/>
                    <a:pt x="249" y="196"/>
                  </a:cubicBezTo>
                  <a:cubicBezTo>
                    <a:pt x="249" y="195"/>
                    <a:pt x="249" y="194"/>
                    <a:pt x="250" y="193"/>
                  </a:cubicBezTo>
                  <a:cubicBezTo>
                    <a:pt x="250" y="192"/>
                    <a:pt x="251" y="191"/>
                    <a:pt x="251" y="191"/>
                  </a:cubicBezTo>
                  <a:cubicBezTo>
                    <a:pt x="252" y="189"/>
                    <a:pt x="253" y="188"/>
                    <a:pt x="254" y="186"/>
                  </a:cubicBezTo>
                  <a:cubicBezTo>
                    <a:pt x="255" y="184"/>
                    <a:pt x="256" y="183"/>
                    <a:pt x="257" y="180"/>
                  </a:cubicBezTo>
                  <a:cubicBezTo>
                    <a:pt x="257" y="179"/>
                    <a:pt x="258" y="177"/>
                    <a:pt x="258" y="176"/>
                  </a:cubicBezTo>
                  <a:cubicBezTo>
                    <a:pt x="259" y="172"/>
                    <a:pt x="258" y="168"/>
                    <a:pt x="258" y="164"/>
                  </a:cubicBezTo>
                  <a:cubicBezTo>
                    <a:pt x="258" y="161"/>
                    <a:pt x="258" y="158"/>
                    <a:pt x="258" y="155"/>
                  </a:cubicBezTo>
                  <a:cubicBezTo>
                    <a:pt x="258" y="155"/>
                    <a:pt x="258" y="154"/>
                    <a:pt x="258" y="154"/>
                  </a:cubicBezTo>
                  <a:cubicBezTo>
                    <a:pt x="259" y="153"/>
                    <a:pt x="259" y="153"/>
                    <a:pt x="259" y="152"/>
                  </a:cubicBezTo>
                  <a:cubicBezTo>
                    <a:pt x="260" y="150"/>
                    <a:pt x="260" y="150"/>
                    <a:pt x="261" y="149"/>
                  </a:cubicBezTo>
                  <a:cubicBezTo>
                    <a:pt x="263" y="148"/>
                    <a:pt x="264" y="148"/>
                    <a:pt x="265" y="148"/>
                  </a:cubicBezTo>
                  <a:cubicBezTo>
                    <a:pt x="266" y="147"/>
                    <a:pt x="268" y="146"/>
                    <a:pt x="269" y="145"/>
                  </a:cubicBezTo>
                  <a:cubicBezTo>
                    <a:pt x="269" y="145"/>
                    <a:pt x="269" y="144"/>
                    <a:pt x="270" y="144"/>
                  </a:cubicBezTo>
                  <a:cubicBezTo>
                    <a:pt x="271" y="143"/>
                    <a:pt x="273" y="143"/>
                    <a:pt x="274" y="142"/>
                  </a:cubicBezTo>
                  <a:cubicBezTo>
                    <a:pt x="276" y="142"/>
                    <a:pt x="277" y="142"/>
                    <a:pt x="279" y="142"/>
                  </a:cubicBezTo>
                  <a:cubicBezTo>
                    <a:pt x="281" y="142"/>
                    <a:pt x="281" y="142"/>
                    <a:pt x="282" y="141"/>
                  </a:cubicBezTo>
                  <a:cubicBezTo>
                    <a:pt x="282" y="140"/>
                    <a:pt x="283" y="139"/>
                    <a:pt x="283" y="138"/>
                  </a:cubicBezTo>
                  <a:cubicBezTo>
                    <a:pt x="283" y="137"/>
                    <a:pt x="283" y="136"/>
                    <a:pt x="283" y="135"/>
                  </a:cubicBezTo>
                  <a:cubicBezTo>
                    <a:pt x="283" y="135"/>
                    <a:pt x="284" y="135"/>
                    <a:pt x="284" y="134"/>
                  </a:cubicBezTo>
                  <a:cubicBezTo>
                    <a:pt x="284" y="134"/>
                    <a:pt x="284" y="134"/>
                    <a:pt x="284" y="133"/>
                  </a:cubicBezTo>
                  <a:cubicBezTo>
                    <a:pt x="285" y="133"/>
                    <a:pt x="285" y="132"/>
                    <a:pt x="285" y="132"/>
                  </a:cubicBezTo>
                  <a:cubicBezTo>
                    <a:pt x="287" y="131"/>
                    <a:pt x="288" y="130"/>
                    <a:pt x="289" y="129"/>
                  </a:cubicBezTo>
                  <a:cubicBezTo>
                    <a:pt x="291" y="129"/>
                    <a:pt x="293" y="128"/>
                    <a:pt x="294" y="127"/>
                  </a:cubicBezTo>
                  <a:cubicBezTo>
                    <a:pt x="295" y="126"/>
                    <a:pt x="295" y="126"/>
                    <a:pt x="296" y="125"/>
                  </a:cubicBezTo>
                  <a:cubicBezTo>
                    <a:pt x="298" y="125"/>
                    <a:pt x="299" y="124"/>
                    <a:pt x="301" y="124"/>
                  </a:cubicBezTo>
                  <a:cubicBezTo>
                    <a:pt x="302" y="123"/>
                    <a:pt x="303" y="124"/>
                    <a:pt x="304" y="123"/>
                  </a:cubicBezTo>
                  <a:cubicBezTo>
                    <a:pt x="305" y="123"/>
                    <a:pt x="305" y="122"/>
                    <a:pt x="306" y="122"/>
                  </a:cubicBezTo>
                  <a:cubicBezTo>
                    <a:pt x="307" y="121"/>
                    <a:pt x="308" y="121"/>
                    <a:pt x="309" y="120"/>
                  </a:cubicBezTo>
                  <a:cubicBezTo>
                    <a:pt x="310" y="118"/>
                    <a:pt x="309" y="118"/>
                    <a:pt x="311" y="117"/>
                  </a:cubicBezTo>
                  <a:cubicBezTo>
                    <a:pt x="311" y="117"/>
                    <a:pt x="312" y="117"/>
                    <a:pt x="312" y="116"/>
                  </a:cubicBezTo>
                  <a:cubicBezTo>
                    <a:pt x="313" y="116"/>
                    <a:pt x="313" y="116"/>
                    <a:pt x="314" y="116"/>
                  </a:cubicBezTo>
                  <a:cubicBezTo>
                    <a:pt x="316" y="115"/>
                    <a:pt x="317" y="113"/>
                    <a:pt x="316" y="11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8" name="Freeform 38">
              <a:extLst>
                <a:ext uri="{FF2B5EF4-FFF2-40B4-BE49-F238E27FC236}">
                  <a16:creationId xmlns:a16="http://schemas.microsoft.com/office/drawing/2014/main" id="{C1FCCF2A-A90A-47A4-B379-58FFA2821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6763" y="3511550"/>
              <a:ext cx="947738" cy="849313"/>
            </a:xfrm>
            <a:custGeom>
              <a:avLst/>
              <a:gdLst/>
              <a:ahLst/>
              <a:cxnLst>
                <a:cxn ang="0">
                  <a:pos x="493" y="252"/>
                </a:cxn>
                <a:cxn ang="0">
                  <a:pos x="479" y="230"/>
                </a:cxn>
                <a:cxn ang="0">
                  <a:pos x="455" y="220"/>
                </a:cxn>
                <a:cxn ang="0">
                  <a:pos x="426" y="174"/>
                </a:cxn>
                <a:cxn ang="0">
                  <a:pos x="418" y="142"/>
                </a:cxn>
                <a:cxn ang="0">
                  <a:pos x="406" y="117"/>
                </a:cxn>
                <a:cxn ang="0">
                  <a:pos x="412" y="91"/>
                </a:cxn>
                <a:cxn ang="0">
                  <a:pos x="408" y="69"/>
                </a:cxn>
                <a:cxn ang="0">
                  <a:pos x="383" y="37"/>
                </a:cxn>
                <a:cxn ang="0">
                  <a:pos x="354" y="34"/>
                </a:cxn>
                <a:cxn ang="0">
                  <a:pos x="329" y="44"/>
                </a:cxn>
                <a:cxn ang="0">
                  <a:pos x="294" y="18"/>
                </a:cxn>
                <a:cxn ang="0">
                  <a:pos x="256" y="8"/>
                </a:cxn>
                <a:cxn ang="0">
                  <a:pos x="210" y="33"/>
                </a:cxn>
                <a:cxn ang="0">
                  <a:pos x="185" y="47"/>
                </a:cxn>
                <a:cxn ang="0">
                  <a:pos x="173" y="66"/>
                </a:cxn>
                <a:cxn ang="0">
                  <a:pos x="178" y="82"/>
                </a:cxn>
                <a:cxn ang="0">
                  <a:pos x="181" y="92"/>
                </a:cxn>
                <a:cxn ang="0">
                  <a:pos x="161" y="101"/>
                </a:cxn>
                <a:cxn ang="0">
                  <a:pos x="154" y="113"/>
                </a:cxn>
                <a:cxn ang="0">
                  <a:pos x="133" y="121"/>
                </a:cxn>
                <a:cxn ang="0">
                  <a:pos x="129" y="152"/>
                </a:cxn>
                <a:cxn ang="0">
                  <a:pos x="123" y="174"/>
                </a:cxn>
                <a:cxn ang="0">
                  <a:pos x="120" y="191"/>
                </a:cxn>
                <a:cxn ang="0">
                  <a:pos x="109" y="176"/>
                </a:cxn>
                <a:cxn ang="0">
                  <a:pos x="88" y="188"/>
                </a:cxn>
                <a:cxn ang="0">
                  <a:pos x="75" y="206"/>
                </a:cxn>
                <a:cxn ang="0">
                  <a:pos x="64" y="207"/>
                </a:cxn>
                <a:cxn ang="0">
                  <a:pos x="31" y="208"/>
                </a:cxn>
                <a:cxn ang="0">
                  <a:pos x="11" y="211"/>
                </a:cxn>
                <a:cxn ang="0">
                  <a:pos x="22" y="253"/>
                </a:cxn>
                <a:cxn ang="0">
                  <a:pos x="38" y="294"/>
                </a:cxn>
                <a:cxn ang="0">
                  <a:pos x="40" y="316"/>
                </a:cxn>
                <a:cxn ang="0">
                  <a:pos x="20" y="331"/>
                </a:cxn>
                <a:cxn ang="0">
                  <a:pos x="4" y="360"/>
                </a:cxn>
                <a:cxn ang="0">
                  <a:pos x="23" y="380"/>
                </a:cxn>
                <a:cxn ang="0">
                  <a:pos x="13" y="404"/>
                </a:cxn>
                <a:cxn ang="0">
                  <a:pos x="43" y="408"/>
                </a:cxn>
                <a:cxn ang="0">
                  <a:pos x="69" y="393"/>
                </a:cxn>
                <a:cxn ang="0">
                  <a:pos x="118" y="394"/>
                </a:cxn>
                <a:cxn ang="0">
                  <a:pos x="148" y="398"/>
                </a:cxn>
                <a:cxn ang="0">
                  <a:pos x="200" y="407"/>
                </a:cxn>
                <a:cxn ang="0">
                  <a:pos x="215" y="420"/>
                </a:cxn>
                <a:cxn ang="0">
                  <a:pos x="242" y="423"/>
                </a:cxn>
                <a:cxn ang="0">
                  <a:pos x="272" y="425"/>
                </a:cxn>
                <a:cxn ang="0">
                  <a:pos x="296" y="425"/>
                </a:cxn>
                <a:cxn ang="0">
                  <a:pos x="322" y="435"/>
                </a:cxn>
                <a:cxn ang="0">
                  <a:pos x="370" y="445"/>
                </a:cxn>
                <a:cxn ang="0">
                  <a:pos x="391" y="406"/>
                </a:cxn>
                <a:cxn ang="0">
                  <a:pos x="406" y="384"/>
                </a:cxn>
                <a:cxn ang="0">
                  <a:pos x="427" y="375"/>
                </a:cxn>
                <a:cxn ang="0">
                  <a:pos x="443" y="363"/>
                </a:cxn>
                <a:cxn ang="0">
                  <a:pos x="436" y="319"/>
                </a:cxn>
                <a:cxn ang="0">
                  <a:pos x="444" y="280"/>
                </a:cxn>
                <a:cxn ang="0">
                  <a:pos x="483" y="284"/>
                </a:cxn>
                <a:cxn ang="0">
                  <a:pos x="500" y="270"/>
                </a:cxn>
              </a:cxnLst>
              <a:rect l="0" t="0" r="r" b="b"/>
              <a:pathLst>
                <a:path w="507" h="454">
                  <a:moveTo>
                    <a:pt x="9" y="209"/>
                  </a:moveTo>
                  <a:cubicBezTo>
                    <a:pt x="9" y="210"/>
                    <a:pt x="9" y="210"/>
                    <a:pt x="9" y="211"/>
                  </a:cubicBezTo>
                  <a:cubicBezTo>
                    <a:pt x="9" y="210"/>
                    <a:pt x="9" y="210"/>
                    <a:pt x="9" y="209"/>
                  </a:cubicBezTo>
                  <a:moveTo>
                    <a:pt x="505" y="257"/>
                  </a:moveTo>
                  <a:cubicBezTo>
                    <a:pt x="503" y="254"/>
                    <a:pt x="502" y="255"/>
                    <a:pt x="498" y="255"/>
                  </a:cubicBezTo>
                  <a:cubicBezTo>
                    <a:pt x="496" y="255"/>
                    <a:pt x="495" y="255"/>
                    <a:pt x="493" y="252"/>
                  </a:cubicBezTo>
                  <a:cubicBezTo>
                    <a:pt x="491" y="249"/>
                    <a:pt x="491" y="246"/>
                    <a:pt x="491" y="242"/>
                  </a:cubicBezTo>
                  <a:cubicBezTo>
                    <a:pt x="491" y="241"/>
                    <a:pt x="490" y="239"/>
                    <a:pt x="490" y="238"/>
                  </a:cubicBezTo>
                  <a:cubicBezTo>
                    <a:pt x="490" y="236"/>
                    <a:pt x="492" y="232"/>
                    <a:pt x="491" y="230"/>
                  </a:cubicBezTo>
                  <a:cubicBezTo>
                    <a:pt x="489" y="229"/>
                    <a:pt x="487" y="232"/>
                    <a:pt x="484" y="232"/>
                  </a:cubicBezTo>
                  <a:cubicBezTo>
                    <a:pt x="483" y="232"/>
                    <a:pt x="483" y="231"/>
                    <a:pt x="482" y="231"/>
                  </a:cubicBezTo>
                  <a:cubicBezTo>
                    <a:pt x="481" y="230"/>
                    <a:pt x="480" y="231"/>
                    <a:pt x="479" y="230"/>
                  </a:cubicBezTo>
                  <a:cubicBezTo>
                    <a:pt x="478" y="230"/>
                    <a:pt x="478" y="231"/>
                    <a:pt x="476" y="229"/>
                  </a:cubicBezTo>
                  <a:cubicBezTo>
                    <a:pt x="475" y="228"/>
                    <a:pt x="475" y="227"/>
                    <a:pt x="474" y="226"/>
                  </a:cubicBezTo>
                  <a:cubicBezTo>
                    <a:pt x="472" y="225"/>
                    <a:pt x="468" y="226"/>
                    <a:pt x="466" y="225"/>
                  </a:cubicBezTo>
                  <a:cubicBezTo>
                    <a:pt x="462" y="225"/>
                    <a:pt x="457" y="227"/>
                    <a:pt x="453" y="227"/>
                  </a:cubicBezTo>
                  <a:cubicBezTo>
                    <a:pt x="452" y="225"/>
                    <a:pt x="453" y="225"/>
                    <a:pt x="454" y="224"/>
                  </a:cubicBezTo>
                  <a:cubicBezTo>
                    <a:pt x="454" y="223"/>
                    <a:pt x="454" y="221"/>
                    <a:pt x="455" y="220"/>
                  </a:cubicBezTo>
                  <a:cubicBezTo>
                    <a:pt x="457" y="215"/>
                    <a:pt x="458" y="211"/>
                    <a:pt x="458" y="206"/>
                  </a:cubicBezTo>
                  <a:cubicBezTo>
                    <a:pt x="457" y="204"/>
                    <a:pt x="456" y="203"/>
                    <a:pt x="456" y="201"/>
                  </a:cubicBezTo>
                  <a:cubicBezTo>
                    <a:pt x="455" y="199"/>
                    <a:pt x="454" y="198"/>
                    <a:pt x="453" y="197"/>
                  </a:cubicBezTo>
                  <a:cubicBezTo>
                    <a:pt x="446" y="193"/>
                    <a:pt x="438" y="200"/>
                    <a:pt x="435" y="190"/>
                  </a:cubicBezTo>
                  <a:cubicBezTo>
                    <a:pt x="434" y="188"/>
                    <a:pt x="434" y="185"/>
                    <a:pt x="432" y="182"/>
                  </a:cubicBezTo>
                  <a:cubicBezTo>
                    <a:pt x="431" y="179"/>
                    <a:pt x="428" y="177"/>
                    <a:pt x="426" y="174"/>
                  </a:cubicBezTo>
                  <a:cubicBezTo>
                    <a:pt x="425" y="171"/>
                    <a:pt x="425" y="167"/>
                    <a:pt x="422" y="165"/>
                  </a:cubicBezTo>
                  <a:cubicBezTo>
                    <a:pt x="421" y="164"/>
                    <a:pt x="417" y="165"/>
                    <a:pt x="416" y="163"/>
                  </a:cubicBezTo>
                  <a:cubicBezTo>
                    <a:pt x="415" y="161"/>
                    <a:pt x="416" y="160"/>
                    <a:pt x="417" y="159"/>
                  </a:cubicBezTo>
                  <a:cubicBezTo>
                    <a:pt x="419" y="156"/>
                    <a:pt x="421" y="154"/>
                    <a:pt x="422" y="150"/>
                  </a:cubicBezTo>
                  <a:cubicBezTo>
                    <a:pt x="423" y="149"/>
                    <a:pt x="422" y="147"/>
                    <a:pt x="422" y="145"/>
                  </a:cubicBezTo>
                  <a:cubicBezTo>
                    <a:pt x="421" y="142"/>
                    <a:pt x="420" y="142"/>
                    <a:pt x="418" y="142"/>
                  </a:cubicBezTo>
                  <a:cubicBezTo>
                    <a:pt x="415" y="142"/>
                    <a:pt x="414" y="143"/>
                    <a:pt x="413" y="141"/>
                  </a:cubicBezTo>
                  <a:cubicBezTo>
                    <a:pt x="411" y="140"/>
                    <a:pt x="411" y="139"/>
                    <a:pt x="409" y="138"/>
                  </a:cubicBezTo>
                  <a:cubicBezTo>
                    <a:pt x="406" y="136"/>
                    <a:pt x="402" y="137"/>
                    <a:pt x="401" y="132"/>
                  </a:cubicBezTo>
                  <a:cubicBezTo>
                    <a:pt x="399" y="129"/>
                    <a:pt x="403" y="126"/>
                    <a:pt x="402" y="123"/>
                  </a:cubicBezTo>
                  <a:cubicBezTo>
                    <a:pt x="402" y="121"/>
                    <a:pt x="400" y="120"/>
                    <a:pt x="402" y="118"/>
                  </a:cubicBezTo>
                  <a:cubicBezTo>
                    <a:pt x="403" y="117"/>
                    <a:pt x="405" y="117"/>
                    <a:pt x="406" y="117"/>
                  </a:cubicBezTo>
                  <a:cubicBezTo>
                    <a:pt x="406" y="116"/>
                    <a:pt x="407" y="115"/>
                    <a:pt x="408" y="115"/>
                  </a:cubicBezTo>
                  <a:cubicBezTo>
                    <a:pt x="408" y="114"/>
                    <a:pt x="408" y="112"/>
                    <a:pt x="408" y="111"/>
                  </a:cubicBezTo>
                  <a:cubicBezTo>
                    <a:pt x="410" y="111"/>
                    <a:pt x="411" y="110"/>
                    <a:pt x="412" y="109"/>
                  </a:cubicBezTo>
                  <a:cubicBezTo>
                    <a:pt x="412" y="108"/>
                    <a:pt x="412" y="106"/>
                    <a:pt x="412" y="105"/>
                  </a:cubicBezTo>
                  <a:cubicBezTo>
                    <a:pt x="411" y="102"/>
                    <a:pt x="411" y="102"/>
                    <a:pt x="412" y="100"/>
                  </a:cubicBezTo>
                  <a:cubicBezTo>
                    <a:pt x="413" y="97"/>
                    <a:pt x="412" y="94"/>
                    <a:pt x="412" y="91"/>
                  </a:cubicBezTo>
                  <a:cubicBezTo>
                    <a:pt x="410" y="91"/>
                    <a:pt x="406" y="89"/>
                    <a:pt x="405" y="88"/>
                  </a:cubicBezTo>
                  <a:cubicBezTo>
                    <a:pt x="404" y="86"/>
                    <a:pt x="405" y="87"/>
                    <a:pt x="405" y="85"/>
                  </a:cubicBezTo>
                  <a:cubicBezTo>
                    <a:pt x="405" y="83"/>
                    <a:pt x="405" y="81"/>
                    <a:pt x="406" y="80"/>
                  </a:cubicBezTo>
                  <a:cubicBezTo>
                    <a:pt x="407" y="79"/>
                    <a:pt x="408" y="79"/>
                    <a:pt x="408" y="78"/>
                  </a:cubicBezTo>
                  <a:cubicBezTo>
                    <a:pt x="408" y="77"/>
                    <a:pt x="408" y="76"/>
                    <a:pt x="408" y="76"/>
                  </a:cubicBezTo>
                  <a:cubicBezTo>
                    <a:pt x="408" y="73"/>
                    <a:pt x="408" y="71"/>
                    <a:pt x="408" y="69"/>
                  </a:cubicBezTo>
                  <a:cubicBezTo>
                    <a:pt x="408" y="64"/>
                    <a:pt x="410" y="63"/>
                    <a:pt x="411" y="58"/>
                  </a:cubicBezTo>
                  <a:cubicBezTo>
                    <a:pt x="411" y="57"/>
                    <a:pt x="411" y="54"/>
                    <a:pt x="409" y="54"/>
                  </a:cubicBezTo>
                  <a:cubicBezTo>
                    <a:pt x="407" y="53"/>
                    <a:pt x="404" y="54"/>
                    <a:pt x="402" y="54"/>
                  </a:cubicBezTo>
                  <a:cubicBezTo>
                    <a:pt x="396" y="54"/>
                    <a:pt x="399" y="49"/>
                    <a:pt x="397" y="45"/>
                  </a:cubicBezTo>
                  <a:cubicBezTo>
                    <a:pt x="396" y="43"/>
                    <a:pt x="393" y="42"/>
                    <a:pt x="391" y="41"/>
                  </a:cubicBezTo>
                  <a:cubicBezTo>
                    <a:pt x="388" y="39"/>
                    <a:pt x="386" y="38"/>
                    <a:pt x="383" y="37"/>
                  </a:cubicBezTo>
                  <a:cubicBezTo>
                    <a:pt x="381" y="37"/>
                    <a:pt x="379" y="36"/>
                    <a:pt x="377" y="34"/>
                  </a:cubicBezTo>
                  <a:cubicBezTo>
                    <a:pt x="376" y="33"/>
                    <a:pt x="375" y="31"/>
                    <a:pt x="374" y="29"/>
                  </a:cubicBezTo>
                  <a:cubicBezTo>
                    <a:pt x="371" y="26"/>
                    <a:pt x="365" y="30"/>
                    <a:pt x="362" y="32"/>
                  </a:cubicBezTo>
                  <a:cubicBezTo>
                    <a:pt x="362" y="32"/>
                    <a:pt x="362" y="33"/>
                    <a:pt x="362" y="33"/>
                  </a:cubicBezTo>
                  <a:cubicBezTo>
                    <a:pt x="360" y="33"/>
                    <a:pt x="359" y="32"/>
                    <a:pt x="357" y="32"/>
                  </a:cubicBezTo>
                  <a:cubicBezTo>
                    <a:pt x="355" y="32"/>
                    <a:pt x="355" y="32"/>
                    <a:pt x="354" y="34"/>
                  </a:cubicBezTo>
                  <a:cubicBezTo>
                    <a:pt x="351" y="36"/>
                    <a:pt x="352" y="39"/>
                    <a:pt x="350" y="42"/>
                  </a:cubicBezTo>
                  <a:cubicBezTo>
                    <a:pt x="348" y="41"/>
                    <a:pt x="346" y="39"/>
                    <a:pt x="343" y="39"/>
                  </a:cubicBezTo>
                  <a:cubicBezTo>
                    <a:pt x="342" y="39"/>
                    <a:pt x="341" y="40"/>
                    <a:pt x="340" y="41"/>
                  </a:cubicBezTo>
                  <a:cubicBezTo>
                    <a:pt x="338" y="43"/>
                    <a:pt x="339" y="43"/>
                    <a:pt x="337" y="44"/>
                  </a:cubicBezTo>
                  <a:cubicBezTo>
                    <a:pt x="337" y="44"/>
                    <a:pt x="336" y="44"/>
                    <a:pt x="335" y="45"/>
                  </a:cubicBezTo>
                  <a:cubicBezTo>
                    <a:pt x="334" y="45"/>
                    <a:pt x="330" y="45"/>
                    <a:pt x="329" y="44"/>
                  </a:cubicBezTo>
                  <a:cubicBezTo>
                    <a:pt x="327" y="43"/>
                    <a:pt x="328" y="36"/>
                    <a:pt x="328" y="35"/>
                  </a:cubicBezTo>
                  <a:cubicBezTo>
                    <a:pt x="328" y="33"/>
                    <a:pt x="328" y="31"/>
                    <a:pt x="328" y="29"/>
                  </a:cubicBezTo>
                  <a:cubicBezTo>
                    <a:pt x="329" y="28"/>
                    <a:pt x="330" y="27"/>
                    <a:pt x="330" y="25"/>
                  </a:cubicBezTo>
                  <a:cubicBezTo>
                    <a:pt x="329" y="18"/>
                    <a:pt x="321" y="16"/>
                    <a:pt x="315" y="16"/>
                  </a:cubicBezTo>
                  <a:cubicBezTo>
                    <a:pt x="311" y="16"/>
                    <a:pt x="306" y="16"/>
                    <a:pt x="302" y="18"/>
                  </a:cubicBezTo>
                  <a:cubicBezTo>
                    <a:pt x="299" y="19"/>
                    <a:pt x="297" y="21"/>
                    <a:pt x="294" y="18"/>
                  </a:cubicBezTo>
                  <a:cubicBezTo>
                    <a:pt x="291" y="17"/>
                    <a:pt x="290" y="13"/>
                    <a:pt x="289" y="10"/>
                  </a:cubicBezTo>
                  <a:cubicBezTo>
                    <a:pt x="287" y="6"/>
                    <a:pt x="286" y="4"/>
                    <a:pt x="282" y="6"/>
                  </a:cubicBezTo>
                  <a:cubicBezTo>
                    <a:pt x="278" y="7"/>
                    <a:pt x="274" y="9"/>
                    <a:pt x="270" y="8"/>
                  </a:cubicBezTo>
                  <a:cubicBezTo>
                    <a:pt x="269" y="8"/>
                    <a:pt x="265" y="7"/>
                    <a:pt x="264" y="6"/>
                  </a:cubicBezTo>
                  <a:cubicBezTo>
                    <a:pt x="264" y="6"/>
                    <a:pt x="264" y="2"/>
                    <a:pt x="263" y="1"/>
                  </a:cubicBezTo>
                  <a:cubicBezTo>
                    <a:pt x="262" y="0"/>
                    <a:pt x="257" y="6"/>
                    <a:pt x="256" y="8"/>
                  </a:cubicBezTo>
                  <a:cubicBezTo>
                    <a:pt x="253" y="11"/>
                    <a:pt x="249" y="16"/>
                    <a:pt x="245" y="16"/>
                  </a:cubicBezTo>
                  <a:cubicBezTo>
                    <a:pt x="240" y="17"/>
                    <a:pt x="237" y="19"/>
                    <a:pt x="236" y="24"/>
                  </a:cubicBezTo>
                  <a:cubicBezTo>
                    <a:pt x="235" y="28"/>
                    <a:pt x="238" y="33"/>
                    <a:pt x="234" y="36"/>
                  </a:cubicBezTo>
                  <a:cubicBezTo>
                    <a:pt x="230" y="39"/>
                    <a:pt x="227" y="34"/>
                    <a:pt x="223" y="35"/>
                  </a:cubicBezTo>
                  <a:cubicBezTo>
                    <a:pt x="220" y="35"/>
                    <a:pt x="217" y="35"/>
                    <a:pt x="215" y="35"/>
                  </a:cubicBezTo>
                  <a:cubicBezTo>
                    <a:pt x="212" y="34"/>
                    <a:pt x="212" y="34"/>
                    <a:pt x="210" y="33"/>
                  </a:cubicBezTo>
                  <a:cubicBezTo>
                    <a:pt x="207" y="31"/>
                    <a:pt x="203" y="33"/>
                    <a:pt x="201" y="35"/>
                  </a:cubicBezTo>
                  <a:cubicBezTo>
                    <a:pt x="200" y="35"/>
                    <a:pt x="200" y="37"/>
                    <a:pt x="199" y="37"/>
                  </a:cubicBezTo>
                  <a:cubicBezTo>
                    <a:pt x="198" y="37"/>
                    <a:pt x="197" y="37"/>
                    <a:pt x="196" y="38"/>
                  </a:cubicBezTo>
                  <a:cubicBezTo>
                    <a:pt x="195" y="38"/>
                    <a:pt x="193" y="39"/>
                    <a:pt x="193" y="40"/>
                  </a:cubicBezTo>
                  <a:cubicBezTo>
                    <a:pt x="191" y="41"/>
                    <a:pt x="190" y="44"/>
                    <a:pt x="189" y="45"/>
                  </a:cubicBezTo>
                  <a:cubicBezTo>
                    <a:pt x="188" y="47"/>
                    <a:pt x="187" y="47"/>
                    <a:pt x="185" y="47"/>
                  </a:cubicBezTo>
                  <a:cubicBezTo>
                    <a:pt x="183" y="47"/>
                    <a:pt x="181" y="46"/>
                    <a:pt x="180" y="46"/>
                  </a:cubicBezTo>
                  <a:cubicBezTo>
                    <a:pt x="179" y="47"/>
                    <a:pt x="179" y="47"/>
                    <a:pt x="178" y="47"/>
                  </a:cubicBezTo>
                  <a:cubicBezTo>
                    <a:pt x="179" y="47"/>
                    <a:pt x="181" y="47"/>
                    <a:pt x="181" y="48"/>
                  </a:cubicBezTo>
                  <a:cubicBezTo>
                    <a:pt x="184" y="50"/>
                    <a:pt x="179" y="57"/>
                    <a:pt x="178" y="59"/>
                  </a:cubicBezTo>
                  <a:cubicBezTo>
                    <a:pt x="177" y="61"/>
                    <a:pt x="176" y="63"/>
                    <a:pt x="174" y="64"/>
                  </a:cubicBezTo>
                  <a:cubicBezTo>
                    <a:pt x="173" y="65"/>
                    <a:pt x="173" y="66"/>
                    <a:pt x="173" y="66"/>
                  </a:cubicBezTo>
                  <a:cubicBezTo>
                    <a:pt x="172" y="69"/>
                    <a:pt x="174" y="68"/>
                    <a:pt x="175" y="69"/>
                  </a:cubicBezTo>
                  <a:cubicBezTo>
                    <a:pt x="176" y="70"/>
                    <a:pt x="176" y="70"/>
                    <a:pt x="176" y="72"/>
                  </a:cubicBezTo>
                  <a:cubicBezTo>
                    <a:pt x="176" y="74"/>
                    <a:pt x="174" y="75"/>
                    <a:pt x="173" y="77"/>
                  </a:cubicBezTo>
                  <a:cubicBezTo>
                    <a:pt x="172" y="78"/>
                    <a:pt x="172" y="78"/>
                    <a:pt x="173" y="80"/>
                  </a:cubicBezTo>
                  <a:cubicBezTo>
                    <a:pt x="174" y="81"/>
                    <a:pt x="175" y="83"/>
                    <a:pt x="177" y="83"/>
                  </a:cubicBezTo>
                  <a:cubicBezTo>
                    <a:pt x="177" y="83"/>
                    <a:pt x="178" y="82"/>
                    <a:pt x="178" y="82"/>
                  </a:cubicBezTo>
                  <a:cubicBezTo>
                    <a:pt x="179" y="82"/>
                    <a:pt x="180" y="82"/>
                    <a:pt x="180" y="82"/>
                  </a:cubicBezTo>
                  <a:cubicBezTo>
                    <a:pt x="182" y="82"/>
                    <a:pt x="186" y="82"/>
                    <a:pt x="188" y="83"/>
                  </a:cubicBezTo>
                  <a:cubicBezTo>
                    <a:pt x="189" y="85"/>
                    <a:pt x="188" y="87"/>
                    <a:pt x="186" y="88"/>
                  </a:cubicBezTo>
                  <a:cubicBezTo>
                    <a:pt x="185" y="88"/>
                    <a:pt x="185" y="88"/>
                    <a:pt x="184" y="88"/>
                  </a:cubicBezTo>
                  <a:cubicBezTo>
                    <a:pt x="184" y="89"/>
                    <a:pt x="183" y="89"/>
                    <a:pt x="183" y="89"/>
                  </a:cubicBezTo>
                  <a:cubicBezTo>
                    <a:pt x="181" y="90"/>
                    <a:pt x="182" y="90"/>
                    <a:pt x="181" y="92"/>
                  </a:cubicBezTo>
                  <a:cubicBezTo>
                    <a:pt x="180" y="93"/>
                    <a:pt x="179" y="93"/>
                    <a:pt x="178" y="94"/>
                  </a:cubicBezTo>
                  <a:cubicBezTo>
                    <a:pt x="177" y="94"/>
                    <a:pt x="177" y="95"/>
                    <a:pt x="176" y="95"/>
                  </a:cubicBezTo>
                  <a:cubicBezTo>
                    <a:pt x="175" y="96"/>
                    <a:pt x="174" y="95"/>
                    <a:pt x="173" y="96"/>
                  </a:cubicBezTo>
                  <a:cubicBezTo>
                    <a:pt x="171" y="96"/>
                    <a:pt x="170" y="97"/>
                    <a:pt x="168" y="97"/>
                  </a:cubicBezTo>
                  <a:cubicBezTo>
                    <a:pt x="167" y="98"/>
                    <a:pt x="167" y="98"/>
                    <a:pt x="166" y="99"/>
                  </a:cubicBezTo>
                  <a:cubicBezTo>
                    <a:pt x="165" y="100"/>
                    <a:pt x="163" y="101"/>
                    <a:pt x="161" y="101"/>
                  </a:cubicBezTo>
                  <a:cubicBezTo>
                    <a:pt x="160" y="102"/>
                    <a:pt x="159" y="103"/>
                    <a:pt x="157" y="104"/>
                  </a:cubicBezTo>
                  <a:cubicBezTo>
                    <a:pt x="157" y="104"/>
                    <a:pt x="157" y="105"/>
                    <a:pt x="156" y="105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56" y="107"/>
                    <a:pt x="155" y="107"/>
                    <a:pt x="155" y="107"/>
                  </a:cubicBezTo>
                  <a:cubicBezTo>
                    <a:pt x="155" y="108"/>
                    <a:pt x="155" y="109"/>
                    <a:pt x="155" y="110"/>
                  </a:cubicBezTo>
                  <a:cubicBezTo>
                    <a:pt x="155" y="111"/>
                    <a:pt x="154" y="112"/>
                    <a:pt x="154" y="113"/>
                  </a:cubicBezTo>
                  <a:cubicBezTo>
                    <a:pt x="153" y="114"/>
                    <a:pt x="153" y="114"/>
                    <a:pt x="151" y="114"/>
                  </a:cubicBezTo>
                  <a:cubicBezTo>
                    <a:pt x="149" y="114"/>
                    <a:pt x="148" y="114"/>
                    <a:pt x="146" y="114"/>
                  </a:cubicBezTo>
                  <a:cubicBezTo>
                    <a:pt x="145" y="115"/>
                    <a:pt x="143" y="115"/>
                    <a:pt x="142" y="116"/>
                  </a:cubicBezTo>
                  <a:cubicBezTo>
                    <a:pt x="141" y="116"/>
                    <a:pt x="141" y="117"/>
                    <a:pt x="141" y="117"/>
                  </a:cubicBezTo>
                  <a:cubicBezTo>
                    <a:pt x="140" y="118"/>
                    <a:pt x="138" y="119"/>
                    <a:pt x="137" y="120"/>
                  </a:cubicBezTo>
                  <a:cubicBezTo>
                    <a:pt x="136" y="120"/>
                    <a:pt x="135" y="120"/>
                    <a:pt x="133" y="121"/>
                  </a:cubicBezTo>
                  <a:cubicBezTo>
                    <a:pt x="132" y="122"/>
                    <a:pt x="132" y="122"/>
                    <a:pt x="131" y="124"/>
                  </a:cubicBezTo>
                  <a:cubicBezTo>
                    <a:pt x="131" y="125"/>
                    <a:pt x="131" y="125"/>
                    <a:pt x="130" y="126"/>
                  </a:cubicBezTo>
                  <a:cubicBezTo>
                    <a:pt x="130" y="126"/>
                    <a:pt x="130" y="127"/>
                    <a:pt x="130" y="127"/>
                  </a:cubicBezTo>
                  <a:cubicBezTo>
                    <a:pt x="130" y="130"/>
                    <a:pt x="130" y="133"/>
                    <a:pt x="130" y="136"/>
                  </a:cubicBezTo>
                  <a:cubicBezTo>
                    <a:pt x="130" y="140"/>
                    <a:pt x="131" y="144"/>
                    <a:pt x="130" y="148"/>
                  </a:cubicBezTo>
                  <a:cubicBezTo>
                    <a:pt x="130" y="149"/>
                    <a:pt x="129" y="151"/>
                    <a:pt x="129" y="152"/>
                  </a:cubicBezTo>
                  <a:cubicBezTo>
                    <a:pt x="128" y="155"/>
                    <a:pt x="127" y="156"/>
                    <a:pt x="126" y="158"/>
                  </a:cubicBezTo>
                  <a:cubicBezTo>
                    <a:pt x="125" y="160"/>
                    <a:pt x="124" y="161"/>
                    <a:pt x="123" y="163"/>
                  </a:cubicBezTo>
                  <a:cubicBezTo>
                    <a:pt x="123" y="163"/>
                    <a:pt x="122" y="164"/>
                    <a:pt x="122" y="165"/>
                  </a:cubicBezTo>
                  <a:cubicBezTo>
                    <a:pt x="121" y="166"/>
                    <a:pt x="121" y="167"/>
                    <a:pt x="121" y="168"/>
                  </a:cubicBezTo>
                  <a:cubicBezTo>
                    <a:pt x="121" y="169"/>
                    <a:pt x="121" y="170"/>
                    <a:pt x="121" y="171"/>
                  </a:cubicBezTo>
                  <a:cubicBezTo>
                    <a:pt x="121" y="173"/>
                    <a:pt x="122" y="172"/>
                    <a:pt x="123" y="174"/>
                  </a:cubicBezTo>
                  <a:cubicBezTo>
                    <a:pt x="124" y="174"/>
                    <a:pt x="124" y="176"/>
                    <a:pt x="124" y="176"/>
                  </a:cubicBezTo>
                  <a:cubicBezTo>
                    <a:pt x="125" y="177"/>
                    <a:pt x="126" y="178"/>
                    <a:pt x="127" y="179"/>
                  </a:cubicBezTo>
                  <a:cubicBezTo>
                    <a:pt x="128" y="179"/>
                    <a:pt x="129" y="180"/>
                    <a:pt x="129" y="181"/>
                  </a:cubicBezTo>
                  <a:cubicBezTo>
                    <a:pt x="131" y="183"/>
                    <a:pt x="133" y="186"/>
                    <a:pt x="131" y="189"/>
                  </a:cubicBezTo>
                  <a:cubicBezTo>
                    <a:pt x="131" y="190"/>
                    <a:pt x="129" y="191"/>
                    <a:pt x="128" y="191"/>
                  </a:cubicBezTo>
                  <a:cubicBezTo>
                    <a:pt x="126" y="191"/>
                    <a:pt x="122" y="191"/>
                    <a:pt x="120" y="191"/>
                  </a:cubicBezTo>
                  <a:cubicBezTo>
                    <a:pt x="118" y="190"/>
                    <a:pt x="118" y="190"/>
                    <a:pt x="118" y="188"/>
                  </a:cubicBezTo>
                  <a:cubicBezTo>
                    <a:pt x="118" y="187"/>
                    <a:pt x="118" y="185"/>
                    <a:pt x="119" y="184"/>
                  </a:cubicBezTo>
                  <a:cubicBezTo>
                    <a:pt x="119" y="182"/>
                    <a:pt x="120" y="182"/>
                    <a:pt x="120" y="180"/>
                  </a:cubicBezTo>
                  <a:cubicBezTo>
                    <a:pt x="120" y="178"/>
                    <a:pt x="118" y="178"/>
                    <a:pt x="118" y="176"/>
                  </a:cubicBezTo>
                  <a:cubicBezTo>
                    <a:pt x="116" y="176"/>
                    <a:pt x="113" y="176"/>
                    <a:pt x="110" y="176"/>
                  </a:cubicBezTo>
                  <a:cubicBezTo>
                    <a:pt x="110" y="176"/>
                    <a:pt x="110" y="176"/>
                    <a:pt x="109" y="176"/>
                  </a:cubicBezTo>
                  <a:cubicBezTo>
                    <a:pt x="109" y="177"/>
                    <a:pt x="109" y="177"/>
                    <a:pt x="108" y="177"/>
                  </a:cubicBezTo>
                  <a:cubicBezTo>
                    <a:pt x="108" y="177"/>
                    <a:pt x="108" y="177"/>
                    <a:pt x="107" y="177"/>
                  </a:cubicBezTo>
                  <a:cubicBezTo>
                    <a:pt x="103" y="176"/>
                    <a:pt x="99" y="180"/>
                    <a:pt x="99" y="184"/>
                  </a:cubicBezTo>
                  <a:cubicBezTo>
                    <a:pt x="99" y="187"/>
                    <a:pt x="100" y="192"/>
                    <a:pt x="95" y="192"/>
                  </a:cubicBezTo>
                  <a:cubicBezTo>
                    <a:pt x="94" y="192"/>
                    <a:pt x="92" y="192"/>
                    <a:pt x="91" y="191"/>
                  </a:cubicBezTo>
                  <a:cubicBezTo>
                    <a:pt x="89" y="191"/>
                    <a:pt x="89" y="189"/>
                    <a:pt x="88" y="188"/>
                  </a:cubicBezTo>
                  <a:cubicBezTo>
                    <a:pt x="86" y="188"/>
                    <a:pt x="83" y="189"/>
                    <a:pt x="82" y="190"/>
                  </a:cubicBezTo>
                  <a:cubicBezTo>
                    <a:pt x="80" y="190"/>
                    <a:pt x="79" y="193"/>
                    <a:pt x="79" y="194"/>
                  </a:cubicBezTo>
                  <a:cubicBezTo>
                    <a:pt x="79" y="195"/>
                    <a:pt x="79" y="197"/>
                    <a:pt x="79" y="198"/>
                  </a:cubicBezTo>
                  <a:cubicBezTo>
                    <a:pt x="79" y="200"/>
                    <a:pt x="81" y="201"/>
                    <a:pt x="80" y="203"/>
                  </a:cubicBezTo>
                  <a:cubicBezTo>
                    <a:pt x="79" y="204"/>
                    <a:pt x="78" y="203"/>
                    <a:pt x="77" y="204"/>
                  </a:cubicBezTo>
                  <a:cubicBezTo>
                    <a:pt x="76" y="205"/>
                    <a:pt x="76" y="205"/>
                    <a:pt x="75" y="206"/>
                  </a:cubicBezTo>
                  <a:cubicBezTo>
                    <a:pt x="75" y="206"/>
                    <a:pt x="74" y="206"/>
                    <a:pt x="74" y="206"/>
                  </a:cubicBezTo>
                  <a:cubicBezTo>
                    <a:pt x="70" y="208"/>
                    <a:pt x="73" y="204"/>
                    <a:pt x="72" y="202"/>
                  </a:cubicBezTo>
                  <a:cubicBezTo>
                    <a:pt x="71" y="202"/>
                    <a:pt x="70" y="203"/>
                    <a:pt x="69" y="204"/>
                  </a:cubicBezTo>
                  <a:cubicBezTo>
                    <a:pt x="69" y="204"/>
                    <a:pt x="68" y="204"/>
                    <a:pt x="67" y="204"/>
                  </a:cubicBezTo>
                  <a:cubicBezTo>
                    <a:pt x="67" y="205"/>
                    <a:pt x="66" y="205"/>
                    <a:pt x="66" y="206"/>
                  </a:cubicBezTo>
                  <a:cubicBezTo>
                    <a:pt x="65" y="206"/>
                    <a:pt x="64" y="207"/>
                    <a:pt x="64" y="207"/>
                  </a:cubicBezTo>
                  <a:cubicBezTo>
                    <a:pt x="62" y="208"/>
                    <a:pt x="61" y="208"/>
                    <a:pt x="60" y="209"/>
                  </a:cubicBezTo>
                  <a:cubicBezTo>
                    <a:pt x="59" y="211"/>
                    <a:pt x="59" y="212"/>
                    <a:pt x="57" y="212"/>
                  </a:cubicBezTo>
                  <a:cubicBezTo>
                    <a:pt x="54" y="214"/>
                    <a:pt x="51" y="211"/>
                    <a:pt x="48" y="210"/>
                  </a:cubicBezTo>
                  <a:cubicBezTo>
                    <a:pt x="46" y="209"/>
                    <a:pt x="42" y="210"/>
                    <a:pt x="39" y="209"/>
                  </a:cubicBezTo>
                  <a:cubicBezTo>
                    <a:pt x="39" y="209"/>
                    <a:pt x="39" y="208"/>
                    <a:pt x="39" y="208"/>
                  </a:cubicBezTo>
                  <a:cubicBezTo>
                    <a:pt x="38" y="210"/>
                    <a:pt x="33" y="208"/>
                    <a:pt x="31" y="208"/>
                  </a:cubicBezTo>
                  <a:cubicBezTo>
                    <a:pt x="31" y="208"/>
                    <a:pt x="30" y="208"/>
                    <a:pt x="29" y="207"/>
                  </a:cubicBezTo>
                  <a:cubicBezTo>
                    <a:pt x="28" y="207"/>
                    <a:pt x="28" y="207"/>
                    <a:pt x="27" y="206"/>
                  </a:cubicBezTo>
                  <a:cubicBezTo>
                    <a:pt x="26" y="206"/>
                    <a:pt x="25" y="206"/>
                    <a:pt x="24" y="206"/>
                  </a:cubicBezTo>
                  <a:cubicBezTo>
                    <a:pt x="21" y="206"/>
                    <a:pt x="19" y="206"/>
                    <a:pt x="16" y="207"/>
                  </a:cubicBezTo>
                  <a:cubicBezTo>
                    <a:pt x="14" y="207"/>
                    <a:pt x="14" y="207"/>
                    <a:pt x="13" y="209"/>
                  </a:cubicBezTo>
                  <a:cubicBezTo>
                    <a:pt x="12" y="209"/>
                    <a:pt x="11" y="210"/>
                    <a:pt x="11" y="211"/>
                  </a:cubicBezTo>
                  <a:cubicBezTo>
                    <a:pt x="10" y="212"/>
                    <a:pt x="10" y="212"/>
                    <a:pt x="10" y="212"/>
                  </a:cubicBezTo>
                  <a:cubicBezTo>
                    <a:pt x="11" y="215"/>
                    <a:pt x="13" y="217"/>
                    <a:pt x="14" y="220"/>
                  </a:cubicBezTo>
                  <a:cubicBezTo>
                    <a:pt x="14" y="222"/>
                    <a:pt x="13" y="223"/>
                    <a:pt x="12" y="225"/>
                  </a:cubicBezTo>
                  <a:cubicBezTo>
                    <a:pt x="11" y="227"/>
                    <a:pt x="11" y="227"/>
                    <a:pt x="11" y="230"/>
                  </a:cubicBezTo>
                  <a:cubicBezTo>
                    <a:pt x="11" y="234"/>
                    <a:pt x="14" y="236"/>
                    <a:pt x="15" y="239"/>
                  </a:cubicBezTo>
                  <a:cubicBezTo>
                    <a:pt x="17" y="244"/>
                    <a:pt x="20" y="248"/>
                    <a:pt x="22" y="253"/>
                  </a:cubicBezTo>
                  <a:cubicBezTo>
                    <a:pt x="25" y="259"/>
                    <a:pt x="26" y="264"/>
                    <a:pt x="28" y="270"/>
                  </a:cubicBezTo>
                  <a:cubicBezTo>
                    <a:pt x="30" y="273"/>
                    <a:pt x="31" y="277"/>
                    <a:pt x="33" y="279"/>
                  </a:cubicBezTo>
                  <a:cubicBezTo>
                    <a:pt x="33" y="281"/>
                    <a:pt x="34" y="281"/>
                    <a:pt x="35" y="282"/>
                  </a:cubicBezTo>
                  <a:cubicBezTo>
                    <a:pt x="35" y="284"/>
                    <a:pt x="34" y="287"/>
                    <a:pt x="34" y="289"/>
                  </a:cubicBezTo>
                  <a:cubicBezTo>
                    <a:pt x="35" y="291"/>
                    <a:pt x="35" y="291"/>
                    <a:pt x="36" y="293"/>
                  </a:cubicBezTo>
                  <a:cubicBezTo>
                    <a:pt x="37" y="293"/>
                    <a:pt x="37" y="294"/>
                    <a:pt x="38" y="294"/>
                  </a:cubicBezTo>
                  <a:cubicBezTo>
                    <a:pt x="39" y="295"/>
                    <a:pt x="39" y="293"/>
                    <a:pt x="40" y="293"/>
                  </a:cubicBezTo>
                  <a:cubicBezTo>
                    <a:pt x="44" y="292"/>
                    <a:pt x="43" y="296"/>
                    <a:pt x="43" y="298"/>
                  </a:cubicBezTo>
                  <a:cubicBezTo>
                    <a:pt x="43" y="300"/>
                    <a:pt x="43" y="302"/>
                    <a:pt x="43" y="304"/>
                  </a:cubicBezTo>
                  <a:cubicBezTo>
                    <a:pt x="43" y="306"/>
                    <a:pt x="43" y="307"/>
                    <a:pt x="42" y="309"/>
                  </a:cubicBezTo>
                  <a:cubicBezTo>
                    <a:pt x="42" y="310"/>
                    <a:pt x="41" y="311"/>
                    <a:pt x="40" y="312"/>
                  </a:cubicBezTo>
                  <a:cubicBezTo>
                    <a:pt x="40" y="313"/>
                    <a:pt x="40" y="315"/>
                    <a:pt x="40" y="316"/>
                  </a:cubicBezTo>
                  <a:cubicBezTo>
                    <a:pt x="40" y="318"/>
                    <a:pt x="39" y="320"/>
                    <a:pt x="38" y="321"/>
                  </a:cubicBezTo>
                  <a:cubicBezTo>
                    <a:pt x="37" y="323"/>
                    <a:pt x="38" y="323"/>
                    <a:pt x="35" y="324"/>
                  </a:cubicBezTo>
                  <a:cubicBezTo>
                    <a:pt x="32" y="324"/>
                    <a:pt x="30" y="323"/>
                    <a:pt x="27" y="324"/>
                  </a:cubicBezTo>
                  <a:cubicBezTo>
                    <a:pt x="25" y="325"/>
                    <a:pt x="24" y="326"/>
                    <a:pt x="23" y="327"/>
                  </a:cubicBezTo>
                  <a:cubicBezTo>
                    <a:pt x="22" y="328"/>
                    <a:pt x="21" y="328"/>
                    <a:pt x="21" y="329"/>
                  </a:cubicBezTo>
                  <a:cubicBezTo>
                    <a:pt x="20" y="329"/>
                    <a:pt x="20" y="331"/>
                    <a:pt x="20" y="331"/>
                  </a:cubicBezTo>
                  <a:cubicBezTo>
                    <a:pt x="19" y="333"/>
                    <a:pt x="19" y="334"/>
                    <a:pt x="18" y="336"/>
                  </a:cubicBezTo>
                  <a:cubicBezTo>
                    <a:pt x="17" y="338"/>
                    <a:pt x="18" y="337"/>
                    <a:pt x="16" y="338"/>
                  </a:cubicBezTo>
                  <a:cubicBezTo>
                    <a:pt x="14" y="341"/>
                    <a:pt x="11" y="342"/>
                    <a:pt x="8" y="344"/>
                  </a:cubicBezTo>
                  <a:cubicBezTo>
                    <a:pt x="6" y="345"/>
                    <a:pt x="4" y="346"/>
                    <a:pt x="3" y="347"/>
                  </a:cubicBezTo>
                  <a:cubicBezTo>
                    <a:pt x="3" y="349"/>
                    <a:pt x="3" y="351"/>
                    <a:pt x="2" y="352"/>
                  </a:cubicBezTo>
                  <a:cubicBezTo>
                    <a:pt x="1" y="355"/>
                    <a:pt x="0" y="360"/>
                    <a:pt x="4" y="360"/>
                  </a:cubicBezTo>
                  <a:cubicBezTo>
                    <a:pt x="8" y="359"/>
                    <a:pt x="8" y="360"/>
                    <a:pt x="10" y="363"/>
                  </a:cubicBezTo>
                  <a:cubicBezTo>
                    <a:pt x="11" y="365"/>
                    <a:pt x="12" y="367"/>
                    <a:pt x="14" y="368"/>
                  </a:cubicBezTo>
                  <a:cubicBezTo>
                    <a:pt x="16" y="368"/>
                    <a:pt x="16" y="368"/>
                    <a:pt x="18" y="370"/>
                  </a:cubicBezTo>
                  <a:cubicBezTo>
                    <a:pt x="19" y="371"/>
                    <a:pt x="20" y="372"/>
                    <a:pt x="21" y="373"/>
                  </a:cubicBezTo>
                  <a:cubicBezTo>
                    <a:pt x="22" y="375"/>
                    <a:pt x="23" y="375"/>
                    <a:pt x="23" y="377"/>
                  </a:cubicBezTo>
                  <a:cubicBezTo>
                    <a:pt x="23" y="377"/>
                    <a:pt x="23" y="379"/>
                    <a:pt x="23" y="380"/>
                  </a:cubicBezTo>
                  <a:cubicBezTo>
                    <a:pt x="23" y="381"/>
                    <a:pt x="22" y="380"/>
                    <a:pt x="22" y="381"/>
                  </a:cubicBezTo>
                  <a:cubicBezTo>
                    <a:pt x="20" y="382"/>
                    <a:pt x="21" y="383"/>
                    <a:pt x="21" y="385"/>
                  </a:cubicBezTo>
                  <a:cubicBezTo>
                    <a:pt x="20" y="388"/>
                    <a:pt x="19" y="390"/>
                    <a:pt x="18" y="392"/>
                  </a:cubicBezTo>
                  <a:cubicBezTo>
                    <a:pt x="17" y="394"/>
                    <a:pt x="17" y="394"/>
                    <a:pt x="16" y="396"/>
                  </a:cubicBezTo>
                  <a:cubicBezTo>
                    <a:pt x="16" y="397"/>
                    <a:pt x="16" y="399"/>
                    <a:pt x="16" y="400"/>
                  </a:cubicBezTo>
                  <a:cubicBezTo>
                    <a:pt x="15" y="402"/>
                    <a:pt x="14" y="402"/>
                    <a:pt x="13" y="404"/>
                  </a:cubicBezTo>
                  <a:cubicBezTo>
                    <a:pt x="13" y="406"/>
                    <a:pt x="13" y="408"/>
                    <a:pt x="13" y="410"/>
                  </a:cubicBezTo>
                  <a:cubicBezTo>
                    <a:pt x="13" y="413"/>
                    <a:pt x="12" y="416"/>
                    <a:pt x="15" y="417"/>
                  </a:cubicBezTo>
                  <a:cubicBezTo>
                    <a:pt x="17" y="418"/>
                    <a:pt x="17" y="416"/>
                    <a:pt x="19" y="418"/>
                  </a:cubicBezTo>
                  <a:cubicBezTo>
                    <a:pt x="22" y="418"/>
                    <a:pt x="25" y="417"/>
                    <a:pt x="28" y="416"/>
                  </a:cubicBezTo>
                  <a:cubicBezTo>
                    <a:pt x="31" y="416"/>
                    <a:pt x="32" y="416"/>
                    <a:pt x="35" y="414"/>
                  </a:cubicBezTo>
                  <a:cubicBezTo>
                    <a:pt x="37" y="412"/>
                    <a:pt x="42" y="412"/>
                    <a:pt x="43" y="408"/>
                  </a:cubicBezTo>
                  <a:cubicBezTo>
                    <a:pt x="45" y="405"/>
                    <a:pt x="43" y="402"/>
                    <a:pt x="46" y="399"/>
                  </a:cubicBezTo>
                  <a:cubicBezTo>
                    <a:pt x="47" y="397"/>
                    <a:pt x="49" y="396"/>
                    <a:pt x="50" y="396"/>
                  </a:cubicBezTo>
                  <a:cubicBezTo>
                    <a:pt x="51" y="396"/>
                    <a:pt x="52" y="396"/>
                    <a:pt x="53" y="396"/>
                  </a:cubicBezTo>
                  <a:cubicBezTo>
                    <a:pt x="53" y="396"/>
                    <a:pt x="55" y="394"/>
                    <a:pt x="55" y="394"/>
                  </a:cubicBezTo>
                  <a:cubicBezTo>
                    <a:pt x="57" y="392"/>
                    <a:pt x="60" y="391"/>
                    <a:pt x="63" y="392"/>
                  </a:cubicBezTo>
                  <a:cubicBezTo>
                    <a:pt x="65" y="392"/>
                    <a:pt x="67" y="392"/>
                    <a:pt x="69" y="393"/>
                  </a:cubicBezTo>
                  <a:cubicBezTo>
                    <a:pt x="71" y="393"/>
                    <a:pt x="73" y="395"/>
                    <a:pt x="75" y="395"/>
                  </a:cubicBezTo>
                  <a:cubicBezTo>
                    <a:pt x="76" y="395"/>
                    <a:pt x="78" y="395"/>
                    <a:pt x="80" y="394"/>
                  </a:cubicBezTo>
                  <a:cubicBezTo>
                    <a:pt x="83" y="394"/>
                    <a:pt x="86" y="391"/>
                    <a:pt x="89" y="392"/>
                  </a:cubicBezTo>
                  <a:cubicBezTo>
                    <a:pt x="91" y="392"/>
                    <a:pt x="92" y="392"/>
                    <a:pt x="94" y="392"/>
                  </a:cubicBezTo>
                  <a:cubicBezTo>
                    <a:pt x="98" y="392"/>
                    <a:pt x="102" y="393"/>
                    <a:pt x="106" y="393"/>
                  </a:cubicBezTo>
                  <a:cubicBezTo>
                    <a:pt x="110" y="393"/>
                    <a:pt x="114" y="394"/>
                    <a:pt x="118" y="394"/>
                  </a:cubicBezTo>
                  <a:cubicBezTo>
                    <a:pt x="120" y="394"/>
                    <a:pt x="123" y="393"/>
                    <a:pt x="124" y="394"/>
                  </a:cubicBezTo>
                  <a:cubicBezTo>
                    <a:pt x="125" y="394"/>
                    <a:pt x="126" y="395"/>
                    <a:pt x="127" y="395"/>
                  </a:cubicBezTo>
                  <a:cubicBezTo>
                    <a:pt x="128" y="396"/>
                    <a:pt x="130" y="396"/>
                    <a:pt x="131" y="396"/>
                  </a:cubicBezTo>
                  <a:cubicBezTo>
                    <a:pt x="133" y="396"/>
                    <a:pt x="135" y="396"/>
                    <a:pt x="138" y="397"/>
                  </a:cubicBezTo>
                  <a:cubicBezTo>
                    <a:pt x="139" y="397"/>
                    <a:pt x="141" y="398"/>
                    <a:pt x="143" y="398"/>
                  </a:cubicBezTo>
                  <a:cubicBezTo>
                    <a:pt x="144" y="398"/>
                    <a:pt x="147" y="397"/>
                    <a:pt x="148" y="398"/>
                  </a:cubicBezTo>
                  <a:cubicBezTo>
                    <a:pt x="151" y="399"/>
                    <a:pt x="150" y="402"/>
                    <a:pt x="152" y="403"/>
                  </a:cubicBezTo>
                  <a:cubicBezTo>
                    <a:pt x="154" y="404"/>
                    <a:pt x="157" y="403"/>
                    <a:pt x="159" y="402"/>
                  </a:cubicBezTo>
                  <a:cubicBezTo>
                    <a:pt x="163" y="402"/>
                    <a:pt x="166" y="402"/>
                    <a:pt x="169" y="402"/>
                  </a:cubicBezTo>
                  <a:cubicBezTo>
                    <a:pt x="171" y="403"/>
                    <a:pt x="174" y="404"/>
                    <a:pt x="176" y="405"/>
                  </a:cubicBezTo>
                  <a:cubicBezTo>
                    <a:pt x="178" y="406"/>
                    <a:pt x="180" y="408"/>
                    <a:pt x="183" y="409"/>
                  </a:cubicBezTo>
                  <a:cubicBezTo>
                    <a:pt x="188" y="410"/>
                    <a:pt x="195" y="401"/>
                    <a:pt x="200" y="407"/>
                  </a:cubicBezTo>
                  <a:cubicBezTo>
                    <a:pt x="201" y="408"/>
                    <a:pt x="201" y="410"/>
                    <a:pt x="202" y="412"/>
                  </a:cubicBezTo>
                  <a:cubicBezTo>
                    <a:pt x="202" y="412"/>
                    <a:pt x="203" y="413"/>
                    <a:pt x="203" y="414"/>
                  </a:cubicBezTo>
                  <a:cubicBezTo>
                    <a:pt x="204" y="415"/>
                    <a:pt x="204" y="415"/>
                    <a:pt x="204" y="416"/>
                  </a:cubicBezTo>
                  <a:cubicBezTo>
                    <a:pt x="205" y="418"/>
                    <a:pt x="205" y="418"/>
                    <a:pt x="206" y="419"/>
                  </a:cubicBezTo>
                  <a:cubicBezTo>
                    <a:pt x="206" y="420"/>
                    <a:pt x="206" y="421"/>
                    <a:pt x="207" y="422"/>
                  </a:cubicBezTo>
                  <a:cubicBezTo>
                    <a:pt x="209" y="423"/>
                    <a:pt x="212" y="420"/>
                    <a:pt x="215" y="420"/>
                  </a:cubicBezTo>
                  <a:cubicBezTo>
                    <a:pt x="218" y="420"/>
                    <a:pt x="221" y="420"/>
                    <a:pt x="222" y="423"/>
                  </a:cubicBezTo>
                  <a:cubicBezTo>
                    <a:pt x="223" y="426"/>
                    <a:pt x="224" y="429"/>
                    <a:pt x="225" y="431"/>
                  </a:cubicBezTo>
                  <a:cubicBezTo>
                    <a:pt x="227" y="434"/>
                    <a:pt x="228" y="434"/>
                    <a:pt x="231" y="432"/>
                  </a:cubicBezTo>
                  <a:cubicBezTo>
                    <a:pt x="233" y="430"/>
                    <a:pt x="234" y="429"/>
                    <a:pt x="235" y="427"/>
                  </a:cubicBezTo>
                  <a:cubicBezTo>
                    <a:pt x="235" y="425"/>
                    <a:pt x="234" y="422"/>
                    <a:pt x="236" y="421"/>
                  </a:cubicBezTo>
                  <a:cubicBezTo>
                    <a:pt x="237" y="420"/>
                    <a:pt x="240" y="423"/>
                    <a:pt x="242" y="423"/>
                  </a:cubicBezTo>
                  <a:cubicBezTo>
                    <a:pt x="245" y="423"/>
                    <a:pt x="246" y="422"/>
                    <a:pt x="247" y="420"/>
                  </a:cubicBezTo>
                  <a:cubicBezTo>
                    <a:pt x="247" y="418"/>
                    <a:pt x="248" y="413"/>
                    <a:pt x="251" y="414"/>
                  </a:cubicBezTo>
                  <a:cubicBezTo>
                    <a:pt x="255" y="414"/>
                    <a:pt x="257" y="423"/>
                    <a:pt x="258" y="426"/>
                  </a:cubicBezTo>
                  <a:cubicBezTo>
                    <a:pt x="260" y="429"/>
                    <a:pt x="261" y="430"/>
                    <a:pt x="263" y="429"/>
                  </a:cubicBezTo>
                  <a:cubicBezTo>
                    <a:pt x="264" y="428"/>
                    <a:pt x="265" y="426"/>
                    <a:pt x="267" y="425"/>
                  </a:cubicBezTo>
                  <a:cubicBezTo>
                    <a:pt x="268" y="425"/>
                    <a:pt x="271" y="425"/>
                    <a:pt x="272" y="425"/>
                  </a:cubicBezTo>
                  <a:cubicBezTo>
                    <a:pt x="278" y="427"/>
                    <a:pt x="276" y="436"/>
                    <a:pt x="276" y="441"/>
                  </a:cubicBezTo>
                  <a:cubicBezTo>
                    <a:pt x="278" y="441"/>
                    <a:pt x="281" y="441"/>
                    <a:pt x="282" y="440"/>
                  </a:cubicBezTo>
                  <a:cubicBezTo>
                    <a:pt x="284" y="439"/>
                    <a:pt x="282" y="434"/>
                    <a:pt x="282" y="432"/>
                  </a:cubicBezTo>
                  <a:cubicBezTo>
                    <a:pt x="283" y="430"/>
                    <a:pt x="283" y="431"/>
                    <a:pt x="286" y="430"/>
                  </a:cubicBezTo>
                  <a:cubicBezTo>
                    <a:pt x="288" y="429"/>
                    <a:pt x="289" y="429"/>
                    <a:pt x="291" y="428"/>
                  </a:cubicBezTo>
                  <a:cubicBezTo>
                    <a:pt x="293" y="428"/>
                    <a:pt x="295" y="427"/>
                    <a:pt x="296" y="425"/>
                  </a:cubicBezTo>
                  <a:cubicBezTo>
                    <a:pt x="297" y="424"/>
                    <a:pt x="297" y="422"/>
                    <a:pt x="299" y="421"/>
                  </a:cubicBezTo>
                  <a:cubicBezTo>
                    <a:pt x="304" y="419"/>
                    <a:pt x="306" y="424"/>
                    <a:pt x="307" y="427"/>
                  </a:cubicBezTo>
                  <a:cubicBezTo>
                    <a:pt x="307" y="431"/>
                    <a:pt x="309" y="438"/>
                    <a:pt x="312" y="441"/>
                  </a:cubicBezTo>
                  <a:cubicBezTo>
                    <a:pt x="313" y="442"/>
                    <a:pt x="316" y="443"/>
                    <a:pt x="318" y="443"/>
                  </a:cubicBezTo>
                  <a:cubicBezTo>
                    <a:pt x="320" y="442"/>
                    <a:pt x="320" y="441"/>
                    <a:pt x="321" y="440"/>
                  </a:cubicBezTo>
                  <a:cubicBezTo>
                    <a:pt x="322" y="438"/>
                    <a:pt x="322" y="437"/>
                    <a:pt x="322" y="435"/>
                  </a:cubicBezTo>
                  <a:cubicBezTo>
                    <a:pt x="323" y="430"/>
                    <a:pt x="328" y="427"/>
                    <a:pt x="332" y="429"/>
                  </a:cubicBezTo>
                  <a:cubicBezTo>
                    <a:pt x="335" y="430"/>
                    <a:pt x="336" y="433"/>
                    <a:pt x="336" y="436"/>
                  </a:cubicBezTo>
                  <a:cubicBezTo>
                    <a:pt x="339" y="436"/>
                    <a:pt x="343" y="436"/>
                    <a:pt x="346" y="436"/>
                  </a:cubicBezTo>
                  <a:cubicBezTo>
                    <a:pt x="350" y="435"/>
                    <a:pt x="354" y="431"/>
                    <a:pt x="357" y="433"/>
                  </a:cubicBezTo>
                  <a:cubicBezTo>
                    <a:pt x="360" y="434"/>
                    <a:pt x="361" y="439"/>
                    <a:pt x="363" y="440"/>
                  </a:cubicBezTo>
                  <a:cubicBezTo>
                    <a:pt x="365" y="442"/>
                    <a:pt x="368" y="442"/>
                    <a:pt x="370" y="445"/>
                  </a:cubicBezTo>
                  <a:cubicBezTo>
                    <a:pt x="372" y="447"/>
                    <a:pt x="374" y="449"/>
                    <a:pt x="376" y="451"/>
                  </a:cubicBezTo>
                  <a:cubicBezTo>
                    <a:pt x="377" y="452"/>
                    <a:pt x="378" y="453"/>
                    <a:pt x="380" y="453"/>
                  </a:cubicBezTo>
                  <a:cubicBezTo>
                    <a:pt x="383" y="454"/>
                    <a:pt x="385" y="451"/>
                    <a:pt x="386" y="449"/>
                  </a:cubicBezTo>
                  <a:cubicBezTo>
                    <a:pt x="387" y="446"/>
                    <a:pt x="385" y="443"/>
                    <a:pt x="384" y="440"/>
                  </a:cubicBezTo>
                  <a:cubicBezTo>
                    <a:pt x="382" y="432"/>
                    <a:pt x="380" y="423"/>
                    <a:pt x="385" y="415"/>
                  </a:cubicBezTo>
                  <a:cubicBezTo>
                    <a:pt x="387" y="412"/>
                    <a:pt x="389" y="409"/>
                    <a:pt x="391" y="406"/>
                  </a:cubicBezTo>
                  <a:cubicBezTo>
                    <a:pt x="392" y="404"/>
                    <a:pt x="392" y="403"/>
                    <a:pt x="394" y="402"/>
                  </a:cubicBezTo>
                  <a:cubicBezTo>
                    <a:pt x="394" y="401"/>
                    <a:pt x="395" y="401"/>
                    <a:pt x="396" y="400"/>
                  </a:cubicBezTo>
                  <a:cubicBezTo>
                    <a:pt x="397" y="399"/>
                    <a:pt x="399" y="396"/>
                    <a:pt x="400" y="394"/>
                  </a:cubicBezTo>
                  <a:cubicBezTo>
                    <a:pt x="401" y="393"/>
                    <a:pt x="401" y="392"/>
                    <a:pt x="402" y="391"/>
                  </a:cubicBezTo>
                  <a:cubicBezTo>
                    <a:pt x="403" y="390"/>
                    <a:pt x="403" y="390"/>
                    <a:pt x="404" y="390"/>
                  </a:cubicBezTo>
                  <a:cubicBezTo>
                    <a:pt x="405" y="388"/>
                    <a:pt x="406" y="386"/>
                    <a:pt x="406" y="384"/>
                  </a:cubicBezTo>
                  <a:cubicBezTo>
                    <a:pt x="406" y="383"/>
                    <a:pt x="405" y="380"/>
                    <a:pt x="406" y="379"/>
                  </a:cubicBezTo>
                  <a:cubicBezTo>
                    <a:pt x="408" y="377"/>
                    <a:pt x="409" y="380"/>
                    <a:pt x="410" y="381"/>
                  </a:cubicBezTo>
                  <a:cubicBezTo>
                    <a:pt x="411" y="382"/>
                    <a:pt x="410" y="382"/>
                    <a:pt x="412" y="383"/>
                  </a:cubicBezTo>
                  <a:cubicBezTo>
                    <a:pt x="414" y="384"/>
                    <a:pt x="418" y="383"/>
                    <a:pt x="420" y="383"/>
                  </a:cubicBezTo>
                  <a:cubicBezTo>
                    <a:pt x="421" y="382"/>
                    <a:pt x="423" y="379"/>
                    <a:pt x="424" y="377"/>
                  </a:cubicBezTo>
                  <a:cubicBezTo>
                    <a:pt x="425" y="375"/>
                    <a:pt x="425" y="375"/>
                    <a:pt x="427" y="375"/>
                  </a:cubicBezTo>
                  <a:cubicBezTo>
                    <a:pt x="434" y="375"/>
                    <a:pt x="441" y="377"/>
                    <a:pt x="447" y="378"/>
                  </a:cubicBezTo>
                  <a:cubicBezTo>
                    <a:pt x="449" y="379"/>
                    <a:pt x="452" y="381"/>
                    <a:pt x="453" y="379"/>
                  </a:cubicBezTo>
                  <a:cubicBezTo>
                    <a:pt x="454" y="377"/>
                    <a:pt x="452" y="376"/>
                    <a:pt x="452" y="375"/>
                  </a:cubicBezTo>
                  <a:cubicBezTo>
                    <a:pt x="450" y="372"/>
                    <a:pt x="450" y="371"/>
                    <a:pt x="449" y="368"/>
                  </a:cubicBezTo>
                  <a:cubicBezTo>
                    <a:pt x="448" y="366"/>
                    <a:pt x="448" y="366"/>
                    <a:pt x="446" y="365"/>
                  </a:cubicBezTo>
                  <a:cubicBezTo>
                    <a:pt x="445" y="365"/>
                    <a:pt x="444" y="364"/>
                    <a:pt x="443" y="363"/>
                  </a:cubicBezTo>
                  <a:cubicBezTo>
                    <a:pt x="440" y="361"/>
                    <a:pt x="442" y="360"/>
                    <a:pt x="442" y="357"/>
                  </a:cubicBezTo>
                  <a:cubicBezTo>
                    <a:pt x="442" y="354"/>
                    <a:pt x="439" y="351"/>
                    <a:pt x="439" y="347"/>
                  </a:cubicBezTo>
                  <a:cubicBezTo>
                    <a:pt x="439" y="346"/>
                    <a:pt x="439" y="345"/>
                    <a:pt x="439" y="344"/>
                  </a:cubicBezTo>
                  <a:cubicBezTo>
                    <a:pt x="440" y="342"/>
                    <a:pt x="441" y="343"/>
                    <a:pt x="442" y="341"/>
                  </a:cubicBezTo>
                  <a:cubicBezTo>
                    <a:pt x="445" y="337"/>
                    <a:pt x="439" y="334"/>
                    <a:pt x="437" y="331"/>
                  </a:cubicBezTo>
                  <a:cubicBezTo>
                    <a:pt x="436" y="328"/>
                    <a:pt x="436" y="323"/>
                    <a:pt x="436" y="319"/>
                  </a:cubicBezTo>
                  <a:cubicBezTo>
                    <a:pt x="436" y="313"/>
                    <a:pt x="434" y="309"/>
                    <a:pt x="430" y="304"/>
                  </a:cubicBezTo>
                  <a:cubicBezTo>
                    <a:pt x="427" y="300"/>
                    <a:pt x="423" y="296"/>
                    <a:pt x="428" y="293"/>
                  </a:cubicBezTo>
                  <a:cubicBezTo>
                    <a:pt x="431" y="291"/>
                    <a:pt x="430" y="291"/>
                    <a:pt x="430" y="288"/>
                  </a:cubicBezTo>
                  <a:cubicBezTo>
                    <a:pt x="430" y="286"/>
                    <a:pt x="429" y="281"/>
                    <a:pt x="430" y="280"/>
                  </a:cubicBezTo>
                  <a:cubicBezTo>
                    <a:pt x="432" y="278"/>
                    <a:pt x="436" y="280"/>
                    <a:pt x="438" y="280"/>
                  </a:cubicBezTo>
                  <a:cubicBezTo>
                    <a:pt x="440" y="280"/>
                    <a:pt x="442" y="279"/>
                    <a:pt x="444" y="280"/>
                  </a:cubicBezTo>
                  <a:cubicBezTo>
                    <a:pt x="447" y="281"/>
                    <a:pt x="448" y="283"/>
                    <a:pt x="450" y="285"/>
                  </a:cubicBezTo>
                  <a:cubicBezTo>
                    <a:pt x="451" y="285"/>
                    <a:pt x="453" y="285"/>
                    <a:pt x="453" y="286"/>
                  </a:cubicBezTo>
                  <a:cubicBezTo>
                    <a:pt x="454" y="286"/>
                    <a:pt x="454" y="286"/>
                    <a:pt x="454" y="287"/>
                  </a:cubicBezTo>
                  <a:cubicBezTo>
                    <a:pt x="455" y="287"/>
                    <a:pt x="456" y="288"/>
                    <a:pt x="457" y="288"/>
                  </a:cubicBezTo>
                  <a:cubicBezTo>
                    <a:pt x="463" y="289"/>
                    <a:pt x="471" y="289"/>
                    <a:pt x="477" y="288"/>
                  </a:cubicBezTo>
                  <a:cubicBezTo>
                    <a:pt x="479" y="287"/>
                    <a:pt x="481" y="286"/>
                    <a:pt x="483" y="284"/>
                  </a:cubicBezTo>
                  <a:cubicBezTo>
                    <a:pt x="483" y="283"/>
                    <a:pt x="483" y="282"/>
                    <a:pt x="484" y="281"/>
                  </a:cubicBezTo>
                  <a:cubicBezTo>
                    <a:pt x="485" y="280"/>
                    <a:pt x="486" y="280"/>
                    <a:pt x="487" y="279"/>
                  </a:cubicBezTo>
                  <a:cubicBezTo>
                    <a:pt x="488" y="278"/>
                    <a:pt x="489" y="277"/>
                    <a:pt x="490" y="276"/>
                  </a:cubicBezTo>
                  <a:cubicBezTo>
                    <a:pt x="492" y="275"/>
                    <a:pt x="493" y="275"/>
                    <a:pt x="494" y="274"/>
                  </a:cubicBezTo>
                  <a:cubicBezTo>
                    <a:pt x="496" y="273"/>
                    <a:pt x="496" y="271"/>
                    <a:pt x="497" y="270"/>
                  </a:cubicBezTo>
                  <a:cubicBezTo>
                    <a:pt x="498" y="269"/>
                    <a:pt x="499" y="270"/>
                    <a:pt x="500" y="270"/>
                  </a:cubicBezTo>
                  <a:cubicBezTo>
                    <a:pt x="502" y="269"/>
                    <a:pt x="501" y="269"/>
                    <a:pt x="502" y="268"/>
                  </a:cubicBezTo>
                  <a:cubicBezTo>
                    <a:pt x="504" y="266"/>
                    <a:pt x="504" y="266"/>
                    <a:pt x="505" y="263"/>
                  </a:cubicBezTo>
                  <a:cubicBezTo>
                    <a:pt x="505" y="262"/>
                    <a:pt x="506" y="261"/>
                    <a:pt x="506" y="260"/>
                  </a:cubicBezTo>
                  <a:cubicBezTo>
                    <a:pt x="507" y="258"/>
                    <a:pt x="506" y="258"/>
                    <a:pt x="505" y="25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69" name="Freeform 39">
              <a:extLst>
                <a:ext uri="{FF2B5EF4-FFF2-40B4-BE49-F238E27FC236}">
                  <a16:creationId xmlns:a16="http://schemas.microsoft.com/office/drawing/2014/main" id="{AB093813-CDC6-42F5-A4A7-FF03711D6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2763" y="3159125"/>
              <a:ext cx="746125" cy="441325"/>
            </a:xfrm>
            <a:custGeom>
              <a:avLst/>
              <a:gdLst/>
              <a:ahLst/>
              <a:cxnLst>
                <a:cxn ang="0">
                  <a:pos x="394" y="150"/>
                </a:cxn>
                <a:cxn ang="0">
                  <a:pos x="386" y="137"/>
                </a:cxn>
                <a:cxn ang="0">
                  <a:pos x="375" y="124"/>
                </a:cxn>
                <a:cxn ang="0">
                  <a:pos x="376" y="94"/>
                </a:cxn>
                <a:cxn ang="0">
                  <a:pos x="378" y="77"/>
                </a:cxn>
                <a:cxn ang="0">
                  <a:pos x="359" y="56"/>
                </a:cxn>
                <a:cxn ang="0">
                  <a:pos x="349" y="50"/>
                </a:cxn>
                <a:cxn ang="0">
                  <a:pos x="332" y="49"/>
                </a:cxn>
                <a:cxn ang="0">
                  <a:pos x="311" y="53"/>
                </a:cxn>
                <a:cxn ang="0">
                  <a:pos x="294" y="48"/>
                </a:cxn>
                <a:cxn ang="0">
                  <a:pos x="279" y="32"/>
                </a:cxn>
                <a:cxn ang="0">
                  <a:pos x="255" y="15"/>
                </a:cxn>
                <a:cxn ang="0">
                  <a:pos x="237" y="7"/>
                </a:cxn>
                <a:cxn ang="0">
                  <a:pos x="219" y="10"/>
                </a:cxn>
                <a:cxn ang="0">
                  <a:pos x="192" y="22"/>
                </a:cxn>
                <a:cxn ang="0">
                  <a:pos x="189" y="60"/>
                </a:cxn>
                <a:cxn ang="0">
                  <a:pos x="174" y="94"/>
                </a:cxn>
                <a:cxn ang="0">
                  <a:pos x="146" y="109"/>
                </a:cxn>
                <a:cxn ang="0">
                  <a:pos x="127" y="96"/>
                </a:cxn>
                <a:cxn ang="0">
                  <a:pos x="124" y="77"/>
                </a:cxn>
                <a:cxn ang="0">
                  <a:pos x="110" y="64"/>
                </a:cxn>
                <a:cxn ang="0">
                  <a:pos x="96" y="50"/>
                </a:cxn>
                <a:cxn ang="0">
                  <a:pos x="93" y="33"/>
                </a:cxn>
                <a:cxn ang="0">
                  <a:pos x="75" y="38"/>
                </a:cxn>
                <a:cxn ang="0">
                  <a:pos x="57" y="51"/>
                </a:cxn>
                <a:cxn ang="0">
                  <a:pos x="39" y="58"/>
                </a:cxn>
                <a:cxn ang="0">
                  <a:pos x="28" y="75"/>
                </a:cxn>
                <a:cxn ang="0">
                  <a:pos x="17" y="117"/>
                </a:cxn>
                <a:cxn ang="0">
                  <a:pos x="8" y="131"/>
                </a:cxn>
                <a:cxn ang="0">
                  <a:pos x="1" y="189"/>
                </a:cxn>
                <a:cxn ang="0">
                  <a:pos x="10" y="204"/>
                </a:cxn>
                <a:cxn ang="0">
                  <a:pos x="18" y="192"/>
                </a:cxn>
                <a:cxn ang="0">
                  <a:pos x="22" y="187"/>
                </a:cxn>
                <a:cxn ang="0">
                  <a:pos x="29" y="180"/>
                </a:cxn>
                <a:cxn ang="0">
                  <a:pos x="49" y="171"/>
                </a:cxn>
                <a:cxn ang="0">
                  <a:pos x="69" y="163"/>
                </a:cxn>
                <a:cxn ang="0">
                  <a:pos x="94" y="167"/>
                </a:cxn>
                <a:cxn ang="0">
                  <a:pos x="111" y="166"/>
                </a:cxn>
                <a:cxn ang="0">
                  <a:pos x="120" y="169"/>
                </a:cxn>
                <a:cxn ang="0">
                  <a:pos x="133" y="171"/>
                </a:cxn>
                <a:cxn ang="0">
                  <a:pos x="150" y="171"/>
                </a:cxn>
                <a:cxn ang="0">
                  <a:pos x="164" y="171"/>
                </a:cxn>
                <a:cxn ang="0">
                  <a:pos x="177" y="180"/>
                </a:cxn>
                <a:cxn ang="0">
                  <a:pos x="203" y="178"/>
                </a:cxn>
                <a:cxn ang="0">
                  <a:pos x="209" y="168"/>
                </a:cxn>
                <a:cxn ang="0">
                  <a:pos x="225" y="164"/>
                </a:cxn>
                <a:cxn ang="0">
                  <a:pos x="224" y="172"/>
                </a:cxn>
                <a:cxn ang="0">
                  <a:pos x="241" y="188"/>
                </a:cxn>
                <a:cxn ang="0">
                  <a:pos x="263" y="196"/>
                </a:cxn>
                <a:cxn ang="0">
                  <a:pos x="292" y="219"/>
                </a:cxn>
                <a:cxn ang="0">
                  <a:pos x="300" y="233"/>
                </a:cxn>
                <a:cxn ang="0">
                  <a:pos x="316" y="235"/>
                </a:cxn>
                <a:cxn ang="0">
                  <a:pos x="332" y="227"/>
                </a:cxn>
                <a:cxn ang="0">
                  <a:pos x="351" y="224"/>
                </a:cxn>
                <a:cxn ang="0">
                  <a:pos x="381" y="205"/>
                </a:cxn>
                <a:cxn ang="0">
                  <a:pos x="399" y="173"/>
                </a:cxn>
              </a:cxnLst>
              <a:rect l="0" t="0" r="r" b="b"/>
              <a:pathLst>
                <a:path w="399" h="236">
                  <a:moveTo>
                    <a:pt x="399" y="162"/>
                  </a:moveTo>
                  <a:cubicBezTo>
                    <a:pt x="399" y="161"/>
                    <a:pt x="398" y="161"/>
                    <a:pt x="397" y="159"/>
                  </a:cubicBezTo>
                  <a:cubicBezTo>
                    <a:pt x="396" y="157"/>
                    <a:pt x="398" y="153"/>
                    <a:pt x="397" y="151"/>
                  </a:cubicBezTo>
                  <a:cubicBezTo>
                    <a:pt x="396" y="149"/>
                    <a:pt x="396" y="150"/>
                    <a:pt x="394" y="150"/>
                  </a:cubicBezTo>
                  <a:cubicBezTo>
                    <a:pt x="392" y="149"/>
                    <a:pt x="392" y="148"/>
                    <a:pt x="391" y="146"/>
                  </a:cubicBezTo>
                  <a:cubicBezTo>
                    <a:pt x="391" y="143"/>
                    <a:pt x="392" y="143"/>
                    <a:pt x="390" y="142"/>
                  </a:cubicBezTo>
                  <a:cubicBezTo>
                    <a:pt x="389" y="141"/>
                    <a:pt x="387" y="141"/>
                    <a:pt x="387" y="140"/>
                  </a:cubicBezTo>
                  <a:cubicBezTo>
                    <a:pt x="386" y="139"/>
                    <a:pt x="386" y="138"/>
                    <a:pt x="386" y="137"/>
                  </a:cubicBezTo>
                  <a:cubicBezTo>
                    <a:pt x="385" y="135"/>
                    <a:pt x="384" y="135"/>
                    <a:pt x="384" y="133"/>
                  </a:cubicBezTo>
                  <a:cubicBezTo>
                    <a:pt x="385" y="130"/>
                    <a:pt x="387" y="129"/>
                    <a:pt x="387" y="126"/>
                  </a:cubicBezTo>
                  <a:cubicBezTo>
                    <a:pt x="382" y="126"/>
                    <a:pt x="383" y="124"/>
                    <a:pt x="383" y="121"/>
                  </a:cubicBezTo>
                  <a:cubicBezTo>
                    <a:pt x="380" y="120"/>
                    <a:pt x="378" y="123"/>
                    <a:pt x="375" y="124"/>
                  </a:cubicBezTo>
                  <a:cubicBezTo>
                    <a:pt x="373" y="124"/>
                    <a:pt x="371" y="124"/>
                    <a:pt x="369" y="125"/>
                  </a:cubicBezTo>
                  <a:cubicBezTo>
                    <a:pt x="367" y="121"/>
                    <a:pt x="373" y="118"/>
                    <a:pt x="373" y="114"/>
                  </a:cubicBezTo>
                  <a:cubicBezTo>
                    <a:pt x="374" y="110"/>
                    <a:pt x="372" y="110"/>
                    <a:pt x="371" y="107"/>
                  </a:cubicBezTo>
                  <a:cubicBezTo>
                    <a:pt x="369" y="101"/>
                    <a:pt x="374" y="98"/>
                    <a:pt x="376" y="94"/>
                  </a:cubicBezTo>
                  <a:cubicBezTo>
                    <a:pt x="377" y="94"/>
                    <a:pt x="377" y="93"/>
                    <a:pt x="377" y="93"/>
                  </a:cubicBezTo>
                  <a:cubicBezTo>
                    <a:pt x="378" y="92"/>
                    <a:pt x="380" y="91"/>
                    <a:pt x="380" y="91"/>
                  </a:cubicBezTo>
                  <a:cubicBezTo>
                    <a:pt x="381" y="90"/>
                    <a:pt x="381" y="87"/>
                    <a:pt x="381" y="86"/>
                  </a:cubicBezTo>
                  <a:cubicBezTo>
                    <a:pt x="382" y="83"/>
                    <a:pt x="381" y="79"/>
                    <a:pt x="378" y="77"/>
                  </a:cubicBezTo>
                  <a:cubicBezTo>
                    <a:pt x="376" y="75"/>
                    <a:pt x="373" y="75"/>
                    <a:pt x="370" y="73"/>
                  </a:cubicBezTo>
                  <a:cubicBezTo>
                    <a:pt x="369" y="72"/>
                    <a:pt x="368" y="70"/>
                    <a:pt x="367" y="69"/>
                  </a:cubicBezTo>
                  <a:cubicBezTo>
                    <a:pt x="364" y="66"/>
                    <a:pt x="361" y="65"/>
                    <a:pt x="358" y="63"/>
                  </a:cubicBezTo>
                  <a:cubicBezTo>
                    <a:pt x="359" y="61"/>
                    <a:pt x="359" y="58"/>
                    <a:pt x="359" y="56"/>
                  </a:cubicBezTo>
                  <a:cubicBezTo>
                    <a:pt x="357" y="56"/>
                    <a:pt x="355" y="56"/>
                    <a:pt x="354" y="56"/>
                  </a:cubicBezTo>
                  <a:cubicBezTo>
                    <a:pt x="353" y="55"/>
                    <a:pt x="353" y="55"/>
                    <a:pt x="353" y="54"/>
                  </a:cubicBezTo>
                  <a:cubicBezTo>
                    <a:pt x="351" y="52"/>
                    <a:pt x="350" y="50"/>
                    <a:pt x="349" y="47"/>
                  </a:cubicBezTo>
                  <a:cubicBezTo>
                    <a:pt x="349" y="48"/>
                    <a:pt x="349" y="49"/>
                    <a:pt x="349" y="50"/>
                  </a:cubicBezTo>
                  <a:cubicBezTo>
                    <a:pt x="349" y="53"/>
                    <a:pt x="350" y="54"/>
                    <a:pt x="350" y="56"/>
                  </a:cubicBezTo>
                  <a:cubicBezTo>
                    <a:pt x="346" y="57"/>
                    <a:pt x="343" y="56"/>
                    <a:pt x="340" y="54"/>
                  </a:cubicBezTo>
                  <a:cubicBezTo>
                    <a:pt x="338" y="53"/>
                    <a:pt x="336" y="53"/>
                    <a:pt x="334" y="52"/>
                  </a:cubicBezTo>
                  <a:cubicBezTo>
                    <a:pt x="333" y="51"/>
                    <a:pt x="333" y="50"/>
                    <a:pt x="332" y="49"/>
                  </a:cubicBezTo>
                  <a:cubicBezTo>
                    <a:pt x="331" y="48"/>
                    <a:pt x="329" y="48"/>
                    <a:pt x="327" y="48"/>
                  </a:cubicBezTo>
                  <a:cubicBezTo>
                    <a:pt x="326" y="47"/>
                    <a:pt x="327" y="47"/>
                    <a:pt x="325" y="47"/>
                  </a:cubicBezTo>
                  <a:cubicBezTo>
                    <a:pt x="324" y="46"/>
                    <a:pt x="320" y="46"/>
                    <a:pt x="319" y="47"/>
                  </a:cubicBezTo>
                  <a:cubicBezTo>
                    <a:pt x="314" y="48"/>
                    <a:pt x="315" y="52"/>
                    <a:pt x="311" y="53"/>
                  </a:cubicBezTo>
                  <a:cubicBezTo>
                    <a:pt x="310" y="53"/>
                    <a:pt x="309" y="53"/>
                    <a:pt x="308" y="53"/>
                  </a:cubicBezTo>
                  <a:cubicBezTo>
                    <a:pt x="306" y="52"/>
                    <a:pt x="303" y="52"/>
                    <a:pt x="301" y="51"/>
                  </a:cubicBezTo>
                  <a:cubicBezTo>
                    <a:pt x="300" y="51"/>
                    <a:pt x="300" y="50"/>
                    <a:pt x="299" y="50"/>
                  </a:cubicBezTo>
                  <a:cubicBezTo>
                    <a:pt x="297" y="49"/>
                    <a:pt x="296" y="48"/>
                    <a:pt x="294" y="48"/>
                  </a:cubicBezTo>
                  <a:cubicBezTo>
                    <a:pt x="294" y="48"/>
                    <a:pt x="292" y="49"/>
                    <a:pt x="291" y="48"/>
                  </a:cubicBezTo>
                  <a:cubicBezTo>
                    <a:pt x="289" y="48"/>
                    <a:pt x="288" y="45"/>
                    <a:pt x="287" y="43"/>
                  </a:cubicBezTo>
                  <a:cubicBezTo>
                    <a:pt x="285" y="41"/>
                    <a:pt x="284" y="39"/>
                    <a:pt x="282" y="36"/>
                  </a:cubicBezTo>
                  <a:cubicBezTo>
                    <a:pt x="281" y="34"/>
                    <a:pt x="281" y="33"/>
                    <a:pt x="279" y="32"/>
                  </a:cubicBezTo>
                  <a:cubicBezTo>
                    <a:pt x="276" y="31"/>
                    <a:pt x="276" y="31"/>
                    <a:pt x="276" y="28"/>
                  </a:cubicBezTo>
                  <a:cubicBezTo>
                    <a:pt x="275" y="25"/>
                    <a:pt x="277" y="24"/>
                    <a:pt x="274" y="22"/>
                  </a:cubicBezTo>
                  <a:cubicBezTo>
                    <a:pt x="271" y="21"/>
                    <a:pt x="268" y="22"/>
                    <a:pt x="266" y="20"/>
                  </a:cubicBezTo>
                  <a:cubicBezTo>
                    <a:pt x="262" y="17"/>
                    <a:pt x="262" y="13"/>
                    <a:pt x="255" y="15"/>
                  </a:cubicBezTo>
                  <a:cubicBezTo>
                    <a:pt x="256" y="10"/>
                    <a:pt x="251" y="7"/>
                    <a:pt x="247" y="5"/>
                  </a:cubicBezTo>
                  <a:cubicBezTo>
                    <a:pt x="245" y="5"/>
                    <a:pt x="244" y="4"/>
                    <a:pt x="243" y="4"/>
                  </a:cubicBezTo>
                  <a:cubicBezTo>
                    <a:pt x="241" y="2"/>
                    <a:pt x="240" y="0"/>
                    <a:pt x="237" y="0"/>
                  </a:cubicBezTo>
                  <a:cubicBezTo>
                    <a:pt x="237" y="2"/>
                    <a:pt x="237" y="5"/>
                    <a:pt x="237" y="7"/>
                  </a:cubicBezTo>
                  <a:cubicBezTo>
                    <a:pt x="232" y="8"/>
                    <a:pt x="235" y="2"/>
                    <a:pt x="233" y="1"/>
                  </a:cubicBezTo>
                  <a:cubicBezTo>
                    <a:pt x="231" y="0"/>
                    <a:pt x="226" y="4"/>
                    <a:pt x="224" y="5"/>
                  </a:cubicBezTo>
                  <a:cubicBezTo>
                    <a:pt x="223" y="6"/>
                    <a:pt x="222" y="6"/>
                    <a:pt x="221" y="7"/>
                  </a:cubicBezTo>
                  <a:cubicBezTo>
                    <a:pt x="220" y="8"/>
                    <a:pt x="219" y="9"/>
                    <a:pt x="219" y="10"/>
                  </a:cubicBezTo>
                  <a:cubicBezTo>
                    <a:pt x="215" y="13"/>
                    <a:pt x="209" y="12"/>
                    <a:pt x="204" y="13"/>
                  </a:cubicBezTo>
                  <a:cubicBezTo>
                    <a:pt x="201" y="13"/>
                    <a:pt x="202" y="13"/>
                    <a:pt x="201" y="15"/>
                  </a:cubicBezTo>
                  <a:cubicBezTo>
                    <a:pt x="199" y="17"/>
                    <a:pt x="198" y="18"/>
                    <a:pt x="196" y="20"/>
                  </a:cubicBezTo>
                  <a:cubicBezTo>
                    <a:pt x="195" y="20"/>
                    <a:pt x="193" y="22"/>
                    <a:pt x="192" y="22"/>
                  </a:cubicBezTo>
                  <a:cubicBezTo>
                    <a:pt x="189" y="23"/>
                    <a:pt x="188" y="22"/>
                    <a:pt x="188" y="21"/>
                  </a:cubicBezTo>
                  <a:cubicBezTo>
                    <a:pt x="188" y="23"/>
                    <a:pt x="188" y="25"/>
                    <a:pt x="188" y="27"/>
                  </a:cubicBezTo>
                  <a:cubicBezTo>
                    <a:pt x="188" y="30"/>
                    <a:pt x="189" y="34"/>
                    <a:pt x="189" y="37"/>
                  </a:cubicBezTo>
                  <a:cubicBezTo>
                    <a:pt x="189" y="45"/>
                    <a:pt x="189" y="52"/>
                    <a:pt x="189" y="60"/>
                  </a:cubicBezTo>
                  <a:cubicBezTo>
                    <a:pt x="189" y="68"/>
                    <a:pt x="190" y="77"/>
                    <a:pt x="189" y="85"/>
                  </a:cubicBezTo>
                  <a:cubicBezTo>
                    <a:pt x="188" y="90"/>
                    <a:pt x="185" y="91"/>
                    <a:pt x="181" y="92"/>
                  </a:cubicBezTo>
                  <a:cubicBezTo>
                    <a:pt x="179" y="93"/>
                    <a:pt x="178" y="94"/>
                    <a:pt x="176" y="94"/>
                  </a:cubicBezTo>
                  <a:cubicBezTo>
                    <a:pt x="175" y="94"/>
                    <a:pt x="174" y="94"/>
                    <a:pt x="174" y="94"/>
                  </a:cubicBezTo>
                  <a:cubicBezTo>
                    <a:pt x="173" y="93"/>
                    <a:pt x="173" y="92"/>
                    <a:pt x="172" y="92"/>
                  </a:cubicBezTo>
                  <a:cubicBezTo>
                    <a:pt x="165" y="90"/>
                    <a:pt x="163" y="102"/>
                    <a:pt x="159" y="105"/>
                  </a:cubicBezTo>
                  <a:cubicBezTo>
                    <a:pt x="158" y="106"/>
                    <a:pt x="156" y="106"/>
                    <a:pt x="154" y="107"/>
                  </a:cubicBezTo>
                  <a:cubicBezTo>
                    <a:pt x="151" y="108"/>
                    <a:pt x="148" y="109"/>
                    <a:pt x="146" y="109"/>
                  </a:cubicBezTo>
                  <a:cubicBezTo>
                    <a:pt x="142" y="110"/>
                    <a:pt x="140" y="108"/>
                    <a:pt x="140" y="104"/>
                  </a:cubicBezTo>
                  <a:cubicBezTo>
                    <a:pt x="138" y="104"/>
                    <a:pt x="135" y="105"/>
                    <a:pt x="133" y="104"/>
                  </a:cubicBezTo>
                  <a:cubicBezTo>
                    <a:pt x="131" y="103"/>
                    <a:pt x="131" y="103"/>
                    <a:pt x="131" y="101"/>
                  </a:cubicBezTo>
                  <a:cubicBezTo>
                    <a:pt x="129" y="99"/>
                    <a:pt x="128" y="98"/>
                    <a:pt x="127" y="96"/>
                  </a:cubicBezTo>
                  <a:cubicBezTo>
                    <a:pt x="127" y="96"/>
                    <a:pt x="127" y="95"/>
                    <a:pt x="127" y="95"/>
                  </a:cubicBezTo>
                  <a:cubicBezTo>
                    <a:pt x="126" y="94"/>
                    <a:pt x="125" y="93"/>
                    <a:pt x="125" y="92"/>
                  </a:cubicBezTo>
                  <a:cubicBezTo>
                    <a:pt x="124" y="91"/>
                    <a:pt x="124" y="90"/>
                    <a:pt x="124" y="88"/>
                  </a:cubicBezTo>
                  <a:cubicBezTo>
                    <a:pt x="124" y="85"/>
                    <a:pt x="124" y="81"/>
                    <a:pt x="124" y="77"/>
                  </a:cubicBezTo>
                  <a:cubicBezTo>
                    <a:pt x="124" y="73"/>
                    <a:pt x="125" y="72"/>
                    <a:pt x="121" y="71"/>
                  </a:cubicBezTo>
                  <a:cubicBezTo>
                    <a:pt x="118" y="70"/>
                    <a:pt x="114" y="70"/>
                    <a:pt x="112" y="68"/>
                  </a:cubicBezTo>
                  <a:cubicBezTo>
                    <a:pt x="111" y="67"/>
                    <a:pt x="110" y="67"/>
                    <a:pt x="110" y="66"/>
                  </a:cubicBezTo>
                  <a:cubicBezTo>
                    <a:pt x="110" y="65"/>
                    <a:pt x="110" y="64"/>
                    <a:pt x="110" y="64"/>
                  </a:cubicBezTo>
                  <a:cubicBezTo>
                    <a:pt x="110" y="63"/>
                    <a:pt x="109" y="62"/>
                    <a:pt x="108" y="62"/>
                  </a:cubicBezTo>
                  <a:cubicBezTo>
                    <a:pt x="107" y="61"/>
                    <a:pt x="105" y="59"/>
                    <a:pt x="105" y="57"/>
                  </a:cubicBezTo>
                  <a:cubicBezTo>
                    <a:pt x="103" y="57"/>
                    <a:pt x="101" y="58"/>
                    <a:pt x="99" y="56"/>
                  </a:cubicBezTo>
                  <a:cubicBezTo>
                    <a:pt x="98" y="54"/>
                    <a:pt x="98" y="52"/>
                    <a:pt x="96" y="50"/>
                  </a:cubicBezTo>
                  <a:cubicBezTo>
                    <a:pt x="96" y="49"/>
                    <a:pt x="95" y="49"/>
                    <a:pt x="94" y="48"/>
                  </a:cubicBezTo>
                  <a:cubicBezTo>
                    <a:pt x="92" y="47"/>
                    <a:pt x="92" y="48"/>
                    <a:pt x="92" y="45"/>
                  </a:cubicBezTo>
                  <a:cubicBezTo>
                    <a:pt x="92" y="43"/>
                    <a:pt x="92" y="41"/>
                    <a:pt x="92" y="39"/>
                  </a:cubicBezTo>
                  <a:cubicBezTo>
                    <a:pt x="92" y="38"/>
                    <a:pt x="93" y="35"/>
                    <a:pt x="93" y="33"/>
                  </a:cubicBezTo>
                  <a:cubicBezTo>
                    <a:pt x="92" y="32"/>
                    <a:pt x="91" y="32"/>
                    <a:pt x="91" y="30"/>
                  </a:cubicBezTo>
                  <a:cubicBezTo>
                    <a:pt x="90" y="30"/>
                    <a:pt x="88" y="32"/>
                    <a:pt x="87" y="33"/>
                  </a:cubicBezTo>
                  <a:cubicBezTo>
                    <a:pt x="85" y="35"/>
                    <a:pt x="86" y="35"/>
                    <a:pt x="84" y="35"/>
                  </a:cubicBezTo>
                  <a:cubicBezTo>
                    <a:pt x="81" y="36"/>
                    <a:pt x="78" y="37"/>
                    <a:pt x="75" y="38"/>
                  </a:cubicBezTo>
                  <a:cubicBezTo>
                    <a:pt x="73" y="39"/>
                    <a:pt x="72" y="40"/>
                    <a:pt x="70" y="41"/>
                  </a:cubicBezTo>
                  <a:cubicBezTo>
                    <a:pt x="68" y="43"/>
                    <a:pt x="67" y="42"/>
                    <a:pt x="65" y="43"/>
                  </a:cubicBezTo>
                  <a:cubicBezTo>
                    <a:pt x="61" y="45"/>
                    <a:pt x="61" y="48"/>
                    <a:pt x="61" y="51"/>
                  </a:cubicBezTo>
                  <a:cubicBezTo>
                    <a:pt x="59" y="51"/>
                    <a:pt x="58" y="51"/>
                    <a:pt x="57" y="51"/>
                  </a:cubicBezTo>
                  <a:cubicBezTo>
                    <a:pt x="57" y="51"/>
                    <a:pt x="55" y="50"/>
                    <a:pt x="55" y="50"/>
                  </a:cubicBezTo>
                  <a:cubicBezTo>
                    <a:pt x="54" y="49"/>
                    <a:pt x="52" y="49"/>
                    <a:pt x="50" y="49"/>
                  </a:cubicBezTo>
                  <a:cubicBezTo>
                    <a:pt x="47" y="49"/>
                    <a:pt x="44" y="51"/>
                    <a:pt x="42" y="53"/>
                  </a:cubicBezTo>
                  <a:cubicBezTo>
                    <a:pt x="41" y="55"/>
                    <a:pt x="40" y="56"/>
                    <a:pt x="39" y="58"/>
                  </a:cubicBezTo>
                  <a:cubicBezTo>
                    <a:pt x="37" y="59"/>
                    <a:pt x="37" y="62"/>
                    <a:pt x="36" y="64"/>
                  </a:cubicBezTo>
                  <a:cubicBezTo>
                    <a:pt x="34" y="66"/>
                    <a:pt x="33" y="67"/>
                    <a:pt x="32" y="69"/>
                  </a:cubicBezTo>
                  <a:cubicBezTo>
                    <a:pt x="31" y="70"/>
                    <a:pt x="31" y="71"/>
                    <a:pt x="30" y="72"/>
                  </a:cubicBezTo>
                  <a:cubicBezTo>
                    <a:pt x="30" y="73"/>
                    <a:pt x="28" y="74"/>
                    <a:pt x="28" y="75"/>
                  </a:cubicBezTo>
                  <a:cubicBezTo>
                    <a:pt x="27" y="77"/>
                    <a:pt x="26" y="80"/>
                    <a:pt x="25" y="83"/>
                  </a:cubicBezTo>
                  <a:cubicBezTo>
                    <a:pt x="24" y="88"/>
                    <a:pt x="26" y="94"/>
                    <a:pt x="25" y="99"/>
                  </a:cubicBezTo>
                  <a:cubicBezTo>
                    <a:pt x="24" y="103"/>
                    <a:pt x="23" y="107"/>
                    <a:pt x="22" y="110"/>
                  </a:cubicBezTo>
                  <a:cubicBezTo>
                    <a:pt x="21" y="113"/>
                    <a:pt x="19" y="115"/>
                    <a:pt x="17" y="117"/>
                  </a:cubicBezTo>
                  <a:cubicBezTo>
                    <a:pt x="17" y="117"/>
                    <a:pt x="15" y="118"/>
                    <a:pt x="15" y="119"/>
                  </a:cubicBezTo>
                  <a:cubicBezTo>
                    <a:pt x="14" y="120"/>
                    <a:pt x="14" y="120"/>
                    <a:pt x="14" y="122"/>
                  </a:cubicBezTo>
                  <a:cubicBezTo>
                    <a:pt x="13" y="123"/>
                    <a:pt x="12" y="125"/>
                    <a:pt x="11" y="126"/>
                  </a:cubicBezTo>
                  <a:cubicBezTo>
                    <a:pt x="10" y="128"/>
                    <a:pt x="9" y="130"/>
                    <a:pt x="8" y="131"/>
                  </a:cubicBezTo>
                  <a:cubicBezTo>
                    <a:pt x="7" y="135"/>
                    <a:pt x="8" y="141"/>
                    <a:pt x="6" y="146"/>
                  </a:cubicBezTo>
                  <a:cubicBezTo>
                    <a:pt x="5" y="149"/>
                    <a:pt x="2" y="152"/>
                    <a:pt x="1" y="156"/>
                  </a:cubicBezTo>
                  <a:cubicBezTo>
                    <a:pt x="0" y="160"/>
                    <a:pt x="0" y="164"/>
                    <a:pt x="0" y="168"/>
                  </a:cubicBezTo>
                  <a:cubicBezTo>
                    <a:pt x="0" y="175"/>
                    <a:pt x="0" y="182"/>
                    <a:pt x="1" y="189"/>
                  </a:cubicBezTo>
                  <a:cubicBezTo>
                    <a:pt x="1" y="191"/>
                    <a:pt x="0" y="191"/>
                    <a:pt x="2" y="193"/>
                  </a:cubicBezTo>
                  <a:cubicBezTo>
                    <a:pt x="2" y="194"/>
                    <a:pt x="3" y="194"/>
                    <a:pt x="4" y="195"/>
                  </a:cubicBezTo>
                  <a:cubicBezTo>
                    <a:pt x="5" y="196"/>
                    <a:pt x="6" y="198"/>
                    <a:pt x="6" y="199"/>
                  </a:cubicBezTo>
                  <a:cubicBezTo>
                    <a:pt x="7" y="201"/>
                    <a:pt x="9" y="202"/>
                    <a:pt x="10" y="204"/>
                  </a:cubicBezTo>
                  <a:cubicBezTo>
                    <a:pt x="11" y="203"/>
                    <a:pt x="11" y="202"/>
                    <a:pt x="11" y="201"/>
                  </a:cubicBezTo>
                  <a:cubicBezTo>
                    <a:pt x="11" y="199"/>
                    <a:pt x="11" y="196"/>
                    <a:pt x="13" y="195"/>
                  </a:cubicBezTo>
                  <a:cubicBezTo>
                    <a:pt x="14" y="194"/>
                    <a:pt x="15" y="195"/>
                    <a:pt x="16" y="195"/>
                  </a:cubicBezTo>
                  <a:cubicBezTo>
                    <a:pt x="17" y="194"/>
                    <a:pt x="17" y="193"/>
                    <a:pt x="18" y="192"/>
                  </a:cubicBezTo>
                  <a:cubicBezTo>
                    <a:pt x="18" y="192"/>
                    <a:pt x="19" y="191"/>
                    <a:pt x="19" y="190"/>
                  </a:cubicBezTo>
                  <a:cubicBezTo>
                    <a:pt x="19" y="190"/>
                    <a:pt x="20" y="190"/>
                    <a:pt x="20" y="189"/>
                  </a:cubicBezTo>
                  <a:cubicBezTo>
                    <a:pt x="20" y="189"/>
                    <a:pt x="19" y="188"/>
                    <a:pt x="20" y="188"/>
                  </a:cubicBezTo>
                  <a:cubicBezTo>
                    <a:pt x="20" y="187"/>
                    <a:pt x="22" y="187"/>
                    <a:pt x="22" y="187"/>
                  </a:cubicBezTo>
                  <a:cubicBezTo>
                    <a:pt x="22" y="187"/>
                    <a:pt x="23" y="186"/>
                    <a:pt x="23" y="186"/>
                  </a:cubicBezTo>
                  <a:cubicBezTo>
                    <a:pt x="23" y="186"/>
                    <a:pt x="24" y="185"/>
                    <a:pt x="25" y="185"/>
                  </a:cubicBezTo>
                  <a:cubicBezTo>
                    <a:pt x="26" y="185"/>
                    <a:pt x="27" y="184"/>
                    <a:pt x="28" y="184"/>
                  </a:cubicBezTo>
                  <a:cubicBezTo>
                    <a:pt x="29" y="183"/>
                    <a:pt x="29" y="181"/>
                    <a:pt x="29" y="180"/>
                  </a:cubicBezTo>
                  <a:cubicBezTo>
                    <a:pt x="30" y="178"/>
                    <a:pt x="31" y="178"/>
                    <a:pt x="33" y="178"/>
                  </a:cubicBezTo>
                  <a:cubicBezTo>
                    <a:pt x="34" y="177"/>
                    <a:pt x="36" y="175"/>
                    <a:pt x="37" y="175"/>
                  </a:cubicBezTo>
                  <a:cubicBezTo>
                    <a:pt x="39" y="173"/>
                    <a:pt x="41" y="174"/>
                    <a:pt x="44" y="174"/>
                  </a:cubicBezTo>
                  <a:cubicBezTo>
                    <a:pt x="47" y="174"/>
                    <a:pt x="47" y="173"/>
                    <a:pt x="49" y="171"/>
                  </a:cubicBezTo>
                  <a:cubicBezTo>
                    <a:pt x="50" y="170"/>
                    <a:pt x="53" y="169"/>
                    <a:pt x="55" y="169"/>
                  </a:cubicBezTo>
                  <a:cubicBezTo>
                    <a:pt x="56" y="168"/>
                    <a:pt x="57" y="168"/>
                    <a:pt x="58" y="168"/>
                  </a:cubicBezTo>
                  <a:cubicBezTo>
                    <a:pt x="62" y="168"/>
                    <a:pt x="60" y="166"/>
                    <a:pt x="61" y="164"/>
                  </a:cubicBezTo>
                  <a:cubicBezTo>
                    <a:pt x="62" y="162"/>
                    <a:pt x="68" y="162"/>
                    <a:pt x="69" y="163"/>
                  </a:cubicBezTo>
                  <a:cubicBezTo>
                    <a:pt x="70" y="163"/>
                    <a:pt x="71" y="164"/>
                    <a:pt x="72" y="164"/>
                  </a:cubicBezTo>
                  <a:cubicBezTo>
                    <a:pt x="73" y="164"/>
                    <a:pt x="74" y="165"/>
                    <a:pt x="75" y="165"/>
                  </a:cubicBezTo>
                  <a:cubicBezTo>
                    <a:pt x="79" y="166"/>
                    <a:pt x="83" y="166"/>
                    <a:pt x="86" y="166"/>
                  </a:cubicBezTo>
                  <a:cubicBezTo>
                    <a:pt x="89" y="166"/>
                    <a:pt x="91" y="166"/>
                    <a:pt x="94" y="167"/>
                  </a:cubicBezTo>
                  <a:cubicBezTo>
                    <a:pt x="97" y="168"/>
                    <a:pt x="99" y="168"/>
                    <a:pt x="102" y="168"/>
                  </a:cubicBezTo>
                  <a:cubicBezTo>
                    <a:pt x="104" y="168"/>
                    <a:pt x="105" y="168"/>
                    <a:pt x="107" y="168"/>
                  </a:cubicBezTo>
                  <a:cubicBezTo>
                    <a:pt x="107" y="168"/>
                    <a:pt x="108" y="168"/>
                    <a:pt x="109" y="168"/>
                  </a:cubicBezTo>
                  <a:cubicBezTo>
                    <a:pt x="110" y="168"/>
                    <a:pt x="110" y="167"/>
                    <a:pt x="111" y="166"/>
                  </a:cubicBezTo>
                  <a:cubicBezTo>
                    <a:pt x="112" y="166"/>
                    <a:pt x="113" y="166"/>
                    <a:pt x="114" y="166"/>
                  </a:cubicBezTo>
                  <a:cubicBezTo>
                    <a:pt x="115" y="166"/>
                    <a:pt x="117" y="166"/>
                    <a:pt x="118" y="167"/>
                  </a:cubicBezTo>
                  <a:cubicBezTo>
                    <a:pt x="118" y="167"/>
                    <a:pt x="120" y="166"/>
                    <a:pt x="120" y="167"/>
                  </a:cubicBezTo>
                  <a:cubicBezTo>
                    <a:pt x="120" y="167"/>
                    <a:pt x="120" y="168"/>
                    <a:pt x="120" y="169"/>
                  </a:cubicBezTo>
                  <a:cubicBezTo>
                    <a:pt x="120" y="169"/>
                    <a:pt x="121" y="169"/>
                    <a:pt x="121" y="170"/>
                  </a:cubicBezTo>
                  <a:cubicBezTo>
                    <a:pt x="121" y="171"/>
                    <a:pt x="121" y="174"/>
                    <a:pt x="123" y="175"/>
                  </a:cubicBezTo>
                  <a:cubicBezTo>
                    <a:pt x="125" y="175"/>
                    <a:pt x="129" y="173"/>
                    <a:pt x="129" y="171"/>
                  </a:cubicBezTo>
                  <a:cubicBezTo>
                    <a:pt x="130" y="170"/>
                    <a:pt x="132" y="171"/>
                    <a:pt x="133" y="171"/>
                  </a:cubicBezTo>
                  <a:cubicBezTo>
                    <a:pt x="135" y="171"/>
                    <a:pt x="135" y="169"/>
                    <a:pt x="136" y="168"/>
                  </a:cubicBezTo>
                  <a:cubicBezTo>
                    <a:pt x="137" y="168"/>
                    <a:pt x="139" y="169"/>
                    <a:pt x="140" y="169"/>
                  </a:cubicBezTo>
                  <a:cubicBezTo>
                    <a:pt x="142" y="169"/>
                    <a:pt x="143" y="170"/>
                    <a:pt x="145" y="171"/>
                  </a:cubicBezTo>
                  <a:cubicBezTo>
                    <a:pt x="146" y="171"/>
                    <a:pt x="148" y="171"/>
                    <a:pt x="150" y="171"/>
                  </a:cubicBezTo>
                  <a:cubicBezTo>
                    <a:pt x="151" y="171"/>
                    <a:pt x="152" y="170"/>
                    <a:pt x="153" y="170"/>
                  </a:cubicBezTo>
                  <a:cubicBezTo>
                    <a:pt x="156" y="169"/>
                    <a:pt x="158" y="169"/>
                    <a:pt x="161" y="170"/>
                  </a:cubicBezTo>
                  <a:cubicBezTo>
                    <a:pt x="161" y="171"/>
                    <a:pt x="161" y="173"/>
                    <a:pt x="162" y="174"/>
                  </a:cubicBezTo>
                  <a:cubicBezTo>
                    <a:pt x="163" y="174"/>
                    <a:pt x="162" y="171"/>
                    <a:pt x="164" y="171"/>
                  </a:cubicBezTo>
                  <a:cubicBezTo>
                    <a:pt x="165" y="171"/>
                    <a:pt x="166" y="172"/>
                    <a:pt x="167" y="173"/>
                  </a:cubicBezTo>
                  <a:cubicBezTo>
                    <a:pt x="169" y="174"/>
                    <a:pt x="171" y="175"/>
                    <a:pt x="173" y="176"/>
                  </a:cubicBezTo>
                  <a:cubicBezTo>
                    <a:pt x="174" y="176"/>
                    <a:pt x="176" y="176"/>
                    <a:pt x="176" y="177"/>
                  </a:cubicBezTo>
                  <a:cubicBezTo>
                    <a:pt x="177" y="178"/>
                    <a:pt x="176" y="179"/>
                    <a:pt x="177" y="180"/>
                  </a:cubicBezTo>
                  <a:cubicBezTo>
                    <a:pt x="177" y="181"/>
                    <a:pt x="178" y="181"/>
                    <a:pt x="179" y="181"/>
                  </a:cubicBezTo>
                  <a:cubicBezTo>
                    <a:pt x="181" y="181"/>
                    <a:pt x="182" y="179"/>
                    <a:pt x="183" y="179"/>
                  </a:cubicBezTo>
                  <a:cubicBezTo>
                    <a:pt x="187" y="176"/>
                    <a:pt x="192" y="178"/>
                    <a:pt x="197" y="179"/>
                  </a:cubicBezTo>
                  <a:cubicBezTo>
                    <a:pt x="198" y="179"/>
                    <a:pt x="201" y="179"/>
                    <a:pt x="203" y="178"/>
                  </a:cubicBezTo>
                  <a:cubicBezTo>
                    <a:pt x="204" y="177"/>
                    <a:pt x="204" y="176"/>
                    <a:pt x="205" y="175"/>
                  </a:cubicBezTo>
                  <a:cubicBezTo>
                    <a:pt x="206" y="175"/>
                    <a:pt x="207" y="175"/>
                    <a:pt x="208" y="175"/>
                  </a:cubicBezTo>
                  <a:cubicBezTo>
                    <a:pt x="208" y="174"/>
                    <a:pt x="208" y="173"/>
                    <a:pt x="208" y="172"/>
                  </a:cubicBezTo>
                  <a:cubicBezTo>
                    <a:pt x="208" y="171"/>
                    <a:pt x="208" y="169"/>
                    <a:pt x="209" y="168"/>
                  </a:cubicBezTo>
                  <a:cubicBezTo>
                    <a:pt x="210" y="167"/>
                    <a:pt x="212" y="166"/>
                    <a:pt x="213" y="165"/>
                  </a:cubicBezTo>
                  <a:cubicBezTo>
                    <a:pt x="214" y="165"/>
                    <a:pt x="215" y="165"/>
                    <a:pt x="215" y="164"/>
                  </a:cubicBezTo>
                  <a:cubicBezTo>
                    <a:pt x="216" y="164"/>
                    <a:pt x="216" y="163"/>
                    <a:pt x="216" y="163"/>
                  </a:cubicBezTo>
                  <a:cubicBezTo>
                    <a:pt x="218" y="161"/>
                    <a:pt x="225" y="161"/>
                    <a:pt x="225" y="164"/>
                  </a:cubicBezTo>
                  <a:cubicBezTo>
                    <a:pt x="222" y="166"/>
                    <a:pt x="222" y="166"/>
                    <a:pt x="222" y="166"/>
                  </a:cubicBezTo>
                  <a:cubicBezTo>
                    <a:pt x="221" y="167"/>
                    <a:pt x="222" y="167"/>
                    <a:pt x="221" y="168"/>
                  </a:cubicBezTo>
                  <a:cubicBezTo>
                    <a:pt x="221" y="169"/>
                    <a:pt x="221" y="169"/>
                    <a:pt x="221" y="170"/>
                  </a:cubicBezTo>
                  <a:cubicBezTo>
                    <a:pt x="222" y="170"/>
                    <a:pt x="223" y="171"/>
                    <a:pt x="224" y="172"/>
                  </a:cubicBezTo>
                  <a:cubicBezTo>
                    <a:pt x="225" y="175"/>
                    <a:pt x="227" y="177"/>
                    <a:pt x="229" y="180"/>
                  </a:cubicBezTo>
                  <a:cubicBezTo>
                    <a:pt x="230" y="183"/>
                    <a:pt x="231" y="185"/>
                    <a:pt x="234" y="186"/>
                  </a:cubicBezTo>
                  <a:cubicBezTo>
                    <a:pt x="234" y="187"/>
                    <a:pt x="235" y="190"/>
                    <a:pt x="237" y="190"/>
                  </a:cubicBezTo>
                  <a:cubicBezTo>
                    <a:pt x="237" y="188"/>
                    <a:pt x="240" y="187"/>
                    <a:pt x="241" y="188"/>
                  </a:cubicBezTo>
                  <a:cubicBezTo>
                    <a:pt x="242" y="188"/>
                    <a:pt x="243" y="190"/>
                    <a:pt x="244" y="190"/>
                  </a:cubicBezTo>
                  <a:cubicBezTo>
                    <a:pt x="247" y="192"/>
                    <a:pt x="251" y="191"/>
                    <a:pt x="254" y="191"/>
                  </a:cubicBezTo>
                  <a:cubicBezTo>
                    <a:pt x="256" y="191"/>
                    <a:pt x="258" y="191"/>
                    <a:pt x="260" y="193"/>
                  </a:cubicBezTo>
                  <a:cubicBezTo>
                    <a:pt x="261" y="193"/>
                    <a:pt x="262" y="195"/>
                    <a:pt x="263" y="196"/>
                  </a:cubicBezTo>
                  <a:cubicBezTo>
                    <a:pt x="266" y="197"/>
                    <a:pt x="268" y="198"/>
                    <a:pt x="270" y="200"/>
                  </a:cubicBezTo>
                  <a:cubicBezTo>
                    <a:pt x="273" y="201"/>
                    <a:pt x="275" y="203"/>
                    <a:pt x="278" y="205"/>
                  </a:cubicBezTo>
                  <a:cubicBezTo>
                    <a:pt x="281" y="207"/>
                    <a:pt x="283" y="209"/>
                    <a:pt x="286" y="211"/>
                  </a:cubicBezTo>
                  <a:cubicBezTo>
                    <a:pt x="288" y="213"/>
                    <a:pt x="291" y="216"/>
                    <a:pt x="292" y="219"/>
                  </a:cubicBezTo>
                  <a:cubicBezTo>
                    <a:pt x="292" y="220"/>
                    <a:pt x="292" y="221"/>
                    <a:pt x="293" y="221"/>
                  </a:cubicBezTo>
                  <a:cubicBezTo>
                    <a:pt x="293" y="222"/>
                    <a:pt x="294" y="223"/>
                    <a:pt x="295" y="224"/>
                  </a:cubicBezTo>
                  <a:cubicBezTo>
                    <a:pt x="296" y="226"/>
                    <a:pt x="298" y="228"/>
                    <a:pt x="299" y="230"/>
                  </a:cubicBezTo>
                  <a:cubicBezTo>
                    <a:pt x="299" y="231"/>
                    <a:pt x="299" y="232"/>
                    <a:pt x="300" y="233"/>
                  </a:cubicBezTo>
                  <a:cubicBezTo>
                    <a:pt x="301" y="234"/>
                    <a:pt x="305" y="234"/>
                    <a:pt x="307" y="235"/>
                  </a:cubicBezTo>
                  <a:cubicBezTo>
                    <a:pt x="309" y="235"/>
                    <a:pt x="311" y="236"/>
                    <a:pt x="313" y="236"/>
                  </a:cubicBezTo>
                  <a:cubicBezTo>
                    <a:pt x="313" y="236"/>
                    <a:pt x="313" y="236"/>
                    <a:pt x="314" y="236"/>
                  </a:cubicBezTo>
                  <a:cubicBezTo>
                    <a:pt x="315" y="236"/>
                    <a:pt x="315" y="236"/>
                    <a:pt x="316" y="235"/>
                  </a:cubicBezTo>
                  <a:cubicBezTo>
                    <a:pt x="317" y="235"/>
                    <a:pt x="319" y="236"/>
                    <a:pt x="321" y="236"/>
                  </a:cubicBezTo>
                  <a:cubicBezTo>
                    <a:pt x="323" y="236"/>
                    <a:pt x="324" y="236"/>
                    <a:pt x="325" y="234"/>
                  </a:cubicBezTo>
                  <a:cubicBezTo>
                    <a:pt x="326" y="233"/>
                    <a:pt x="327" y="230"/>
                    <a:pt x="329" y="229"/>
                  </a:cubicBezTo>
                  <a:cubicBezTo>
                    <a:pt x="329" y="228"/>
                    <a:pt x="331" y="227"/>
                    <a:pt x="332" y="227"/>
                  </a:cubicBezTo>
                  <a:cubicBezTo>
                    <a:pt x="333" y="226"/>
                    <a:pt x="334" y="226"/>
                    <a:pt x="335" y="226"/>
                  </a:cubicBezTo>
                  <a:cubicBezTo>
                    <a:pt x="336" y="226"/>
                    <a:pt x="336" y="224"/>
                    <a:pt x="337" y="224"/>
                  </a:cubicBezTo>
                  <a:cubicBezTo>
                    <a:pt x="339" y="222"/>
                    <a:pt x="343" y="220"/>
                    <a:pt x="346" y="222"/>
                  </a:cubicBezTo>
                  <a:cubicBezTo>
                    <a:pt x="348" y="223"/>
                    <a:pt x="348" y="223"/>
                    <a:pt x="351" y="224"/>
                  </a:cubicBezTo>
                  <a:cubicBezTo>
                    <a:pt x="353" y="224"/>
                    <a:pt x="356" y="224"/>
                    <a:pt x="359" y="224"/>
                  </a:cubicBezTo>
                  <a:cubicBezTo>
                    <a:pt x="363" y="223"/>
                    <a:pt x="366" y="228"/>
                    <a:pt x="370" y="225"/>
                  </a:cubicBezTo>
                  <a:cubicBezTo>
                    <a:pt x="374" y="222"/>
                    <a:pt x="371" y="217"/>
                    <a:pt x="372" y="213"/>
                  </a:cubicBezTo>
                  <a:cubicBezTo>
                    <a:pt x="373" y="208"/>
                    <a:pt x="376" y="206"/>
                    <a:pt x="381" y="205"/>
                  </a:cubicBezTo>
                  <a:cubicBezTo>
                    <a:pt x="385" y="205"/>
                    <a:pt x="389" y="200"/>
                    <a:pt x="392" y="197"/>
                  </a:cubicBezTo>
                  <a:cubicBezTo>
                    <a:pt x="392" y="196"/>
                    <a:pt x="393" y="195"/>
                    <a:pt x="394" y="194"/>
                  </a:cubicBezTo>
                  <a:cubicBezTo>
                    <a:pt x="394" y="191"/>
                    <a:pt x="395" y="188"/>
                    <a:pt x="395" y="187"/>
                  </a:cubicBezTo>
                  <a:cubicBezTo>
                    <a:pt x="396" y="182"/>
                    <a:pt x="398" y="177"/>
                    <a:pt x="399" y="173"/>
                  </a:cubicBezTo>
                  <a:cubicBezTo>
                    <a:pt x="399" y="170"/>
                    <a:pt x="399" y="167"/>
                    <a:pt x="399" y="165"/>
                  </a:cubicBezTo>
                  <a:cubicBezTo>
                    <a:pt x="399" y="164"/>
                    <a:pt x="399" y="162"/>
                    <a:pt x="399" y="16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0" name="Freeform 40">
              <a:extLst>
                <a:ext uri="{FF2B5EF4-FFF2-40B4-BE49-F238E27FC236}">
                  <a16:creationId xmlns:a16="http://schemas.microsoft.com/office/drawing/2014/main" id="{6D46E93E-4800-429C-B7EF-B43D100B5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2950" y="2852738"/>
              <a:ext cx="508000" cy="412750"/>
            </a:xfrm>
            <a:custGeom>
              <a:avLst/>
              <a:gdLst/>
              <a:ahLst/>
              <a:cxnLst>
                <a:cxn ang="0">
                  <a:pos x="269" y="22"/>
                </a:cxn>
                <a:cxn ang="0">
                  <a:pos x="268" y="32"/>
                </a:cxn>
                <a:cxn ang="0">
                  <a:pos x="255" y="49"/>
                </a:cxn>
                <a:cxn ang="0">
                  <a:pos x="252" y="66"/>
                </a:cxn>
                <a:cxn ang="0">
                  <a:pos x="234" y="69"/>
                </a:cxn>
                <a:cxn ang="0">
                  <a:pos x="209" y="77"/>
                </a:cxn>
                <a:cxn ang="0">
                  <a:pos x="212" y="94"/>
                </a:cxn>
                <a:cxn ang="0">
                  <a:pos x="219" y="119"/>
                </a:cxn>
                <a:cxn ang="0">
                  <a:pos x="240" y="136"/>
                </a:cxn>
                <a:cxn ang="0">
                  <a:pos x="237" y="157"/>
                </a:cxn>
                <a:cxn ang="0">
                  <a:pos x="242" y="171"/>
                </a:cxn>
                <a:cxn ang="0">
                  <a:pos x="248" y="184"/>
                </a:cxn>
                <a:cxn ang="0">
                  <a:pos x="236" y="187"/>
                </a:cxn>
                <a:cxn ang="0">
                  <a:pos x="232" y="195"/>
                </a:cxn>
                <a:cxn ang="0">
                  <a:pos x="228" y="209"/>
                </a:cxn>
                <a:cxn ang="0">
                  <a:pos x="217" y="218"/>
                </a:cxn>
                <a:cxn ang="0">
                  <a:pos x="204" y="212"/>
                </a:cxn>
                <a:cxn ang="0">
                  <a:pos x="188" y="217"/>
                </a:cxn>
                <a:cxn ang="0">
                  <a:pos x="176" y="214"/>
                </a:cxn>
                <a:cxn ang="0">
                  <a:pos x="164" y="207"/>
                </a:cxn>
                <a:cxn ang="0">
                  <a:pos x="153" y="192"/>
                </a:cxn>
                <a:cxn ang="0">
                  <a:pos x="132" y="179"/>
                </a:cxn>
                <a:cxn ang="0">
                  <a:pos x="114" y="164"/>
                </a:cxn>
                <a:cxn ang="0">
                  <a:pos x="101" y="169"/>
                </a:cxn>
                <a:cxn ang="0">
                  <a:pos x="81" y="177"/>
                </a:cxn>
                <a:cxn ang="0">
                  <a:pos x="69" y="186"/>
                </a:cxn>
                <a:cxn ang="0">
                  <a:pos x="70" y="159"/>
                </a:cxn>
                <a:cxn ang="0">
                  <a:pos x="78" y="138"/>
                </a:cxn>
                <a:cxn ang="0">
                  <a:pos x="44" y="143"/>
                </a:cxn>
                <a:cxn ang="0">
                  <a:pos x="23" y="119"/>
                </a:cxn>
                <a:cxn ang="0">
                  <a:pos x="21" y="107"/>
                </a:cxn>
                <a:cxn ang="0">
                  <a:pos x="28" y="96"/>
                </a:cxn>
                <a:cxn ang="0">
                  <a:pos x="22" y="87"/>
                </a:cxn>
                <a:cxn ang="0">
                  <a:pos x="20" y="68"/>
                </a:cxn>
                <a:cxn ang="0">
                  <a:pos x="3" y="63"/>
                </a:cxn>
                <a:cxn ang="0">
                  <a:pos x="13" y="59"/>
                </a:cxn>
                <a:cxn ang="0">
                  <a:pos x="17" y="44"/>
                </a:cxn>
                <a:cxn ang="0">
                  <a:pos x="29" y="39"/>
                </a:cxn>
                <a:cxn ang="0">
                  <a:pos x="46" y="32"/>
                </a:cxn>
                <a:cxn ang="0">
                  <a:pos x="58" y="25"/>
                </a:cxn>
                <a:cxn ang="0">
                  <a:pos x="81" y="18"/>
                </a:cxn>
                <a:cxn ang="0">
                  <a:pos x="97" y="8"/>
                </a:cxn>
                <a:cxn ang="0">
                  <a:pos x="109" y="14"/>
                </a:cxn>
                <a:cxn ang="0">
                  <a:pos x="128" y="5"/>
                </a:cxn>
                <a:cxn ang="0">
                  <a:pos x="136" y="4"/>
                </a:cxn>
                <a:cxn ang="0">
                  <a:pos x="153" y="6"/>
                </a:cxn>
                <a:cxn ang="0">
                  <a:pos x="167" y="6"/>
                </a:cxn>
                <a:cxn ang="0">
                  <a:pos x="183" y="12"/>
                </a:cxn>
                <a:cxn ang="0">
                  <a:pos x="195" y="14"/>
                </a:cxn>
                <a:cxn ang="0">
                  <a:pos x="227" y="23"/>
                </a:cxn>
                <a:cxn ang="0">
                  <a:pos x="247" y="19"/>
                </a:cxn>
              </a:cxnLst>
              <a:rect l="0" t="0" r="r" b="b"/>
              <a:pathLst>
                <a:path w="272" h="221">
                  <a:moveTo>
                    <a:pt x="264" y="14"/>
                  </a:moveTo>
                  <a:cubicBezTo>
                    <a:pt x="264" y="14"/>
                    <a:pt x="264" y="15"/>
                    <a:pt x="264" y="15"/>
                  </a:cubicBezTo>
                  <a:cubicBezTo>
                    <a:pt x="265" y="18"/>
                    <a:pt x="267" y="20"/>
                    <a:pt x="269" y="22"/>
                  </a:cubicBezTo>
                  <a:cubicBezTo>
                    <a:pt x="270" y="23"/>
                    <a:pt x="271" y="24"/>
                    <a:pt x="271" y="26"/>
                  </a:cubicBezTo>
                  <a:cubicBezTo>
                    <a:pt x="272" y="28"/>
                    <a:pt x="271" y="27"/>
                    <a:pt x="270" y="29"/>
                  </a:cubicBezTo>
                  <a:cubicBezTo>
                    <a:pt x="269" y="30"/>
                    <a:pt x="269" y="31"/>
                    <a:pt x="268" y="32"/>
                  </a:cubicBezTo>
                  <a:cubicBezTo>
                    <a:pt x="267" y="35"/>
                    <a:pt x="265" y="34"/>
                    <a:pt x="264" y="35"/>
                  </a:cubicBezTo>
                  <a:cubicBezTo>
                    <a:pt x="260" y="37"/>
                    <a:pt x="257" y="41"/>
                    <a:pt x="256" y="45"/>
                  </a:cubicBezTo>
                  <a:cubicBezTo>
                    <a:pt x="255" y="46"/>
                    <a:pt x="255" y="48"/>
                    <a:pt x="255" y="49"/>
                  </a:cubicBezTo>
                  <a:cubicBezTo>
                    <a:pt x="254" y="51"/>
                    <a:pt x="254" y="53"/>
                    <a:pt x="254" y="54"/>
                  </a:cubicBezTo>
                  <a:cubicBezTo>
                    <a:pt x="254" y="57"/>
                    <a:pt x="253" y="58"/>
                    <a:pt x="253" y="60"/>
                  </a:cubicBezTo>
                  <a:cubicBezTo>
                    <a:pt x="252" y="62"/>
                    <a:pt x="253" y="64"/>
                    <a:pt x="252" y="66"/>
                  </a:cubicBezTo>
                  <a:cubicBezTo>
                    <a:pt x="251" y="69"/>
                    <a:pt x="248" y="71"/>
                    <a:pt x="245" y="71"/>
                  </a:cubicBezTo>
                  <a:cubicBezTo>
                    <a:pt x="242" y="71"/>
                    <a:pt x="242" y="70"/>
                    <a:pt x="240" y="69"/>
                  </a:cubicBezTo>
                  <a:cubicBezTo>
                    <a:pt x="238" y="68"/>
                    <a:pt x="236" y="69"/>
                    <a:pt x="234" y="69"/>
                  </a:cubicBezTo>
                  <a:cubicBezTo>
                    <a:pt x="230" y="69"/>
                    <a:pt x="227" y="71"/>
                    <a:pt x="223" y="72"/>
                  </a:cubicBezTo>
                  <a:cubicBezTo>
                    <a:pt x="220" y="73"/>
                    <a:pt x="218" y="73"/>
                    <a:pt x="215" y="74"/>
                  </a:cubicBezTo>
                  <a:cubicBezTo>
                    <a:pt x="213" y="75"/>
                    <a:pt x="211" y="76"/>
                    <a:pt x="209" y="77"/>
                  </a:cubicBezTo>
                  <a:cubicBezTo>
                    <a:pt x="206" y="79"/>
                    <a:pt x="202" y="80"/>
                    <a:pt x="203" y="84"/>
                  </a:cubicBezTo>
                  <a:cubicBezTo>
                    <a:pt x="204" y="86"/>
                    <a:pt x="207" y="89"/>
                    <a:pt x="209" y="91"/>
                  </a:cubicBezTo>
                  <a:cubicBezTo>
                    <a:pt x="210" y="92"/>
                    <a:pt x="211" y="93"/>
                    <a:pt x="212" y="94"/>
                  </a:cubicBezTo>
                  <a:cubicBezTo>
                    <a:pt x="215" y="97"/>
                    <a:pt x="215" y="101"/>
                    <a:pt x="216" y="105"/>
                  </a:cubicBezTo>
                  <a:cubicBezTo>
                    <a:pt x="216" y="108"/>
                    <a:pt x="216" y="111"/>
                    <a:pt x="216" y="114"/>
                  </a:cubicBezTo>
                  <a:cubicBezTo>
                    <a:pt x="217" y="116"/>
                    <a:pt x="218" y="117"/>
                    <a:pt x="219" y="119"/>
                  </a:cubicBezTo>
                  <a:cubicBezTo>
                    <a:pt x="220" y="123"/>
                    <a:pt x="219" y="126"/>
                    <a:pt x="222" y="129"/>
                  </a:cubicBezTo>
                  <a:cubicBezTo>
                    <a:pt x="224" y="130"/>
                    <a:pt x="229" y="131"/>
                    <a:pt x="229" y="135"/>
                  </a:cubicBezTo>
                  <a:cubicBezTo>
                    <a:pt x="232" y="136"/>
                    <a:pt x="237" y="134"/>
                    <a:pt x="240" y="136"/>
                  </a:cubicBezTo>
                  <a:cubicBezTo>
                    <a:pt x="243" y="140"/>
                    <a:pt x="237" y="140"/>
                    <a:pt x="236" y="141"/>
                  </a:cubicBezTo>
                  <a:cubicBezTo>
                    <a:pt x="235" y="142"/>
                    <a:pt x="235" y="144"/>
                    <a:pt x="235" y="146"/>
                  </a:cubicBezTo>
                  <a:cubicBezTo>
                    <a:pt x="235" y="151"/>
                    <a:pt x="234" y="154"/>
                    <a:pt x="237" y="157"/>
                  </a:cubicBezTo>
                  <a:cubicBezTo>
                    <a:pt x="238" y="159"/>
                    <a:pt x="239" y="161"/>
                    <a:pt x="240" y="163"/>
                  </a:cubicBezTo>
                  <a:cubicBezTo>
                    <a:pt x="241" y="165"/>
                    <a:pt x="242" y="166"/>
                    <a:pt x="242" y="168"/>
                  </a:cubicBezTo>
                  <a:cubicBezTo>
                    <a:pt x="242" y="169"/>
                    <a:pt x="242" y="170"/>
                    <a:pt x="242" y="171"/>
                  </a:cubicBezTo>
                  <a:cubicBezTo>
                    <a:pt x="242" y="172"/>
                    <a:pt x="244" y="173"/>
                    <a:pt x="244" y="174"/>
                  </a:cubicBezTo>
                  <a:cubicBezTo>
                    <a:pt x="245" y="174"/>
                    <a:pt x="245" y="177"/>
                    <a:pt x="245" y="178"/>
                  </a:cubicBezTo>
                  <a:cubicBezTo>
                    <a:pt x="245" y="180"/>
                    <a:pt x="246" y="182"/>
                    <a:pt x="248" y="184"/>
                  </a:cubicBezTo>
                  <a:cubicBezTo>
                    <a:pt x="248" y="185"/>
                    <a:pt x="250" y="184"/>
                    <a:pt x="250" y="186"/>
                  </a:cubicBezTo>
                  <a:cubicBezTo>
                    <a:pt x="249" y="188"/>
                    <a:pt x="248" y="187"/>
                    <a:pt x="247" y="187"/>
                  </a:cubicBezTo>
                  <a:cubicBezTo>
                    <a:pt x="244" y="188"/>
                    <a:pt x="239" y="186"/>
                    <a:pt x="236" y="187"/>
                  </a:cubicBezTo>
                  <a:cubicBezTo>
                    <a:pt x="234" y="188"/>
                    <a:pt x="235" y="189"/>
                    <a:pt x="234" y="191"/>
                  </a:cubicBezTo>
                  <a:cubicBezTo>
                    <a:pt x="233" y="192"/>
                    <a:pt x="232" y="191"/>
                    <a:pt x="232" y="193"/>
                  </a:cubicBezTo>
                  <a:cubicBezTo>
                    <a:pt x="232" y="194"/>
                    <a:pt x="232" y="195"/>
                    <a:pt x="232" y="195"/>
                  </a:cubicBezTo>
                  <a:cubicBezTo>
                    <a:pt x="234" y="198"/>
                    <a:pt x="234" y="197"/>
                    <a:pt x="234" y="200"/>
                  </a:cubicBezTo>
                  <a:cubicBezTo>
                    <a:pt x="234" y="200"/>
                    <a:pt x="235" y="203"/>
                    <a:pt x="234" y="204"/>
                  </a:cubicBezTo>
                  <a:cubicBezTo>
                    <a:pt x="233" y="207"/>
                    <a:pt x="230" y="207"/>
                    <a:pt x="228" y="209"/>
                  </a:cubicBezTo>
                  <a:cubicBezTo>
                    <a:pt x="226" y="210"/>
                    <a:pt x="226" y="211"/>
                    <a:pt x="226" y="214"/>
                  </a:cubicBezTo>
                  <a:cubicBezTo>
                    <a:pt x="226" y="217"/>
                    <a:pt x="227" y="218"/>
                    <a:pt x="227" y="220"/>
                  </a:cubicBezTo>
                  <a:cubicBezTo>
                    <a:pt x="223" y="221"/>
                    <a:pt x="220" y="220"/>
                    <a:pt x="217" y="218"/>
                  </a:cubicBezTo>
                  <a:cubicBezTo>
                    <a:pt x="215" y="217"/>
                    <a:pt x="213" y="217"/>
                    <a:pt x="211" y="216"/>
                  </a:cubicBezTo>
                  <a:cubicBezTo>
                    <a:pt x="210" y="215"/>
                    <a:pt x="210" y="214"/>
                    <a:pt x="209" y="213"/>
                  </a:cubicBezTo>
                  <a:cubicBezTo>
                    <a:pt x="208" y="212"/>
                    <a:pt x="206" y="212"/>
                    <a:pt x="204" y="212"/>
                  </a:cubicBezTo>
                  <a:cubicBezTo>
                    <a:pt x="203" y="211"/>
                    <a:pt x="204" y="211"/>
                    <a:pt x="202" y="211"/>
                  </a:cubicBezTo>
                  <a:cubicBezTo>
                    <a:pt x="201" y="210"/>
                    <a:pt x="197" y="210"/>
                    <a:pt x="196" y="211"/>
                  </a:cubicBezTo>
                  <a:cubicBezTo>
                    <a:pt x="191" y="212"/>
                    <a:pt x="192" y="216"/>
                    <a:pt x="188" y="217"/>
                  </a:cubicBezTo>
                  <a:cubicBezTo>
                    <a:pt x="187" y="217"/>
                    <a:pt x="186" y="217"/>
                    <a:pt x="185" y="217"/>
                  </a:cubicBezTo>
                  <a:cubicBezTo>
                    <a:pt x="183" y="216"/>
                    <a:pt x="180" y="216"/>
                    <a:pt x="178" y="215"/>
                  </a:cubicBezTo>
                  <a:cubicBezTo>
                    <a:pt x="177" y="215"/>
                    <a:pt x="177" y="214"/>
                    <a:pt x="176" y="214"/>
                  </a:cubicBezTo>
                  <a:cubicBezTo>
                    <a:pt x="174" y="213"/>
                    <a:pt x="173" y="212"/>
                    <a:pt x="171" y="212"/>
                  </a:cubicBezTo>
                  <a:cubicBezTo>
                    <a:pt x="171" y="212"/>
                    <a:pt x="169" y="213"/>
                    <a:pt x="168" y="212"/>
                  </a:cubicBezTo>
                  <a:cubicBezTo>
                    <a:pt x="166" y="212"/>
                    <a:pt x="165" y="209"/>
                    <a:pt x="164" y="207"/>
                  </a:cubicBezTo>
                  <a:cubicBezTo>
                    <a:pt x="162" y="205"/>
                    <a:pt x="161" y="203"/>
                    <a:pt x="159" y="200"/>
                  </a:cubicBezTo>
                  <a:cubicBezTo>
                    <a:pt x="158" y="198"/>
                    <a:pt x="158" y="197"/>
                    <a:pt x="156" y="196"/>
                  </a:cubicBezTo>
                  <a:cubicBezTo>
                    <a:pt x="153" y="195"/>
                    <a:pt x="153" y="195"/>
                    <a:pt x="153" y="192"/>
                  </a:cubicBezTo>
                  <a:cubicBezTo>
                    <a:pt x="152" y="189"/>
                    <a:pt x="154" y="188"/>
                    <a:pt x="151" y="186"/>
                  </a:cubicBezTo>
                  <a:cubicBezTo>
                    <a:pt x="148" y="185"/>
                    <a:pt x="145" y="186"/>
                    <a:pt x="143" y="184"/>
                  </a:cubicBezTo>
                  <a:cubicBezTo>
                    <a:pt x="139" y="181"/>
                    <a:pt x="139" y="177"/>
                    <a:pt x="132" y="179"/>
                  </a:cubicBezTo>
                  <a:cubicBezTo>
                    <a:pt x="133" y="174"/>
                    <a:pt x="128" y="171"/>
                    <a:pt x="124" y="169"/>
                  </a:cubicBezTo>
                  <a:cubicBezTo>
                    <a:pt x="122" y="169"/>
                    <a:pt x="121" y="168"/>
                    <a:pt x="120" y="168"/>
                  </a:cubicBezTo>
                  <a:cubicBezTo>
                    <a:pt x="118" y="166"/>
                    <a:pt x="117" y="164"/>
                    <a:pt x="114" y="164"/>
                  </a:cubicBezTo>
                  <a:cubicBezTo>
                    <a:pt x="114" y="166"/>
                    <a:pt x="114" y="169"/>
                    <a:pt x="114" y="171"/>
                  </a:cubicBezTo>
                  <a:cubicBezTo>
                    <a:pt x="109" y="172"/>
                    <a:pt x="112" y="166"/>
                    <a:pt x="110" y="165"/>
                  </a:cubicBezTo>
                  <a:cubicBezTo>
                    <a:pt x="108" y="164"/>
                    <a:pt x="103" y="168"/>
                    <a:pt x="101" y="169"/>
                  </a:cubicBezTo>
                  <a:cubicBezTo>
                    <a:pt x="100" y="170"/>
                    <a:pt x="99" y="170"/>
                    <a:pt x="98" y="171"/>
                  </a:cubicBezTo>
                  <a:cubicBezTo>
                    <a:pt x="97" y="172"/>
                    <a:pt x="96" y="173"/>
                    <a:pt x="96" y="174"/>
                  </a:cubicBezTo>
                  <a:cubicBezTo>
                    <a:pt x="92" y="177"/>
                    <a:pt x="86" y="176"/>
                    <a:pt x="81" y="177"/>
                  </a:cubicBezTo>
                  <a:cubicBezTo>
                    <a:pt x="78" y="177"/>
                    <a:pt x="79" y="177"/>
                    <a:pt x="78" y="179"/>
                  </a:cubicBezTo>
                  <a:cubicBezTo>
                    <a:pt x="76" y="181"/>
                    <a:pt x="75" y="182"/>
                    <a:pt x="73" y="184"/>
                  </a:cubicBezTo>
                  <a:cubicBezTo>
                    <a:pt x="72" y="184"/>
                    <a:pt x="70" y="186"/>
                    <a:pt x="69" y="186"/>
                  </a:cubicBezTo>
                  <a:cubicBezTo>
                    <a:pt x="65" y="188"/>
                    <a:pt x="65" y="185"/>
                    <a:pt x="64" y="182"/>
                  </a:cubicBezTo>
                  <a:cubicBezTo>
                    <a:pt x="63" y="176"/>
                    <a:pt x="67" y="174"/>
                    <a:pt x="68" y="169"/>
                  </a:cubicBezTo>
                  <a:cubicBezTo>
                    <a:pt x="70" y="165"/>
                    <a:pt x="71" y="163"/>
                    <a:pt x="70" y="159"/>
                  </a:cubicBezTo>
                  <a:cubicBezTo>
                    <a:pt x="70" y="157"/>
                    <a:pt x="70" y="156"/>
                    <a:pt x="69" y="154"/>
                  </a:cubicBezTo>
                  <a:cubicBezTo>
                    <a:pt x="69" y="150"/>
                    <a:pt x="70" y="145"/>
                    <a:pt x="73" y="142"/>
                  </a:cubicBezTo>
                  <a:cubicBezTo>
                    <a:pt x="74" y="140"/>
                    <a:pt x="77" y="140"/>
                    <a:pt x="78" y="138"/>
                  </a:cubicBezTo>
                  <a:cubicBezTo>
                    <a:pt x="76" y="135"/>
                    <a:pt x="64" y="134"/>
                    <a:pt x="62" y="137"/>
                  </a:cubicBezTo>
                  <a:cubicBezTo>
                    <a:pt x="59" y="140"/>
                    <a:pt x="59" y="144"/>
                    <a:pt x="55" y="147"/>
                  </a:cubicBezTo>
                  <a:cubicBezTo>
                    <a:pt x="51" y="150"/>
                    <a:pt x="47" y="147"/>
                    <a:pt x="44" y="143"/>
                  </a:cubicBezTo>
                  <a:cubicBezTo>
                    <a:pt x="43" y="140"/>
                    <a:pt x="37" y="130"/>
                    <a:pt x="33" y="134"/>
                  </a:cubicBezTo>
                  <a:cubicBezTo>
                    <a:pt x="31" y="131"/>
                    <a:pt x="30" y="127"/>
                    <a:pt x="27" y="124"/>
                  </a:cubicBezTo>
                  <a:cubicBezTo>
                    <a:pt x="26" y="122"/>
                    <a:pt x="24" y="121"/>
                    <a:pt x="23" y="119"/>
                  </a:cubicBezTo>
                  <a:cubicBezTo>
                    <a:pt x="22" y="118"/>
                    <a:pt x="23" y="114"/>
                    <a:pt x="23" y="112"/>
                  </a:cubicBezTo>
                  <a:cubicBezTo>
                    <a:pt x="22" y="111"/>
                    <a:pt x="22" y="110"/>
                    <a:pt x="21" y="109"/>
                  </a:cubicBezTo>
                  <a:cubicBezTo>
                    <a:pt x="21" y="108"/>
                    <a:pt x="21" y="108"/>
                    <a:pt x="21" y="107"/>
                  </a:cubicBezTo>
                  <a:cubicBezTo>
                    <a:pt x="21" y="107"/>
                    <a:pt x="21" y="106"/>
                    <a:pt x="20" y="106"/>
                  </a:cubicBezTo>
                  <a:cubicBezTo>
                    <a:pt x="19" y="104"/>
                    <a:pt x="16" y="97"/>
                    <a:pt x="20" y="96"/>
                  </a:cubicBezTo>
                  <a:cubicBezTo>
                    <a:pt x="22" y="95"/>
                    <a:pt x="26" y="97"/>
                    <a:pt x="28" y="96"/>
                  </a:cubicBezTo>
                  <a:cubicBezTo>
                    <a:pt x="28" y="96"/>
                    <a:pt x="30" y="93"/>
                    <a:pt x="30" y="93"/>
                  </a:cubicBezTo>
                  <a:cubicBezTo>
                    <a:pt x="31" y="91"/>
                    <a:pt x="32" y="90"/>
                    <a:pt x="32" y="88"/>
                  </a:cubicBezTo>
                  <a:cubicBezTo>
                    <a:pt x="28" y="87"/>
                    <a:pt x="25" y="88"/>
                    <a:pt x="22" y="87"/>
                  </a:cubicBezTo>
                  <a:cubicBezTo>
                    <a:pt x="22" y="86"/>
                    <a:pt x="22" y="84"/>
                    <a:pt x="22" y="82"/>
                  </a:cubicBezTo>
                  <a:cubicBezTo>
                    <a:pt x="21" y="80"/>
                    <a:pt x="18" y="79"/>
                    <a:pt x="17" y="76"/>
                  </a:cubicBezTo>
                  <a:cubicBezTo>
                    <a:pt x="16" y="72"/>
                    <a:pt x="18" y="70"/>
                    <a:pt x="20" y="68"/>
                  </a:cubicBezTo>
                  <a:cubicBezTo>
                    <a:pt x="19" y="66"/>
                    <a:pt x="14" y="67"/>
                    <a:pt x="12" y="67"/>
                  </a:cubicBezTo>
                  <a:cubicBezTo>
                    <a:pt x="9" y="67"/>
                    <a:pt x="6" y="70"/>
                    <a:pt x="4" y="69"/>
                  </a:cubicBezTo>
                  <a:cubicBezTo>
                    <a:pt x="0" y="68"/>
                    <a:pt x="1" y="64"/>
                    <a:pt x="3" y="63"/>
                  </a:cubicBezTo>
                  <a:cubicBezTo>
                    <a:pt x="6" y="62"/>
                    <a:pt x="6" y="62"/>
                    <a:pt x="8" y="63"/>
                  </a:cubicBezTo>
                  <a:cubicBezTo>
                    <a:pt x="10" y="63"/>
                    <a:pt x="11" y="62"/>
                    <a:pt x="12" y="61"/>
                  </a:cubicBezTo>
                  <a:cubicBezTo>
                    <a:pt x="12" y="60"/>
                    <a:pt x="12" y="59"/>
                    <a:pt x="13" y="59"/>
                  </a:cubicBezTo>
                  <a:cubicBezTo>
                    <a:pt x="13" y="58"/>
                    <a:pt x="14" y="59"/>
                    <a:pt x="14" y="58"/>
                  </a:cubicBezTo>
                  <a:cubicBezTo>
                    <a:pt x="16" y="57"/>
                    <a:pt x="16" y="57"/>
                    <a:pt x="17" y="55"/>
                  </a:cubicBezTo>
                  <a:cubicBezTo>
                    <a:pt x="18" y="51"/>
                    <a:pt x="17" y="48"/>
                    <a:pt x="17" y="44"/>
                  </a:cubicBezTo>
                  <a:cubicBezTo>
                    <a:pt x="16" y="40"/>
                    <a:pt x="17" y="37"/>
                    <a:pt x="21" y="39"/>
                  </a:cubicBezTo>
                  <a:cubicBezTo>
                    <a:pt x="22" y="39"/>
                    <a:pt x="23" y="41"/>
                    <a:pt x="25" y="41"/>
                  </a:cubicBezTo>
                  <a:cubicBezTo>
                    <a:pt x="27" y="42"/>
                    <a:pt x="28" y="40"/>
                    <a:pt x="29" y="39"/>
                  </a:cubicBezTo>
                  <a:cubicBezTo>
                    <a:pt x="31" y="37"/>
                    <a:pt x="41" y="36"/>
                    <a:pt x="41" y="40"/>
                  </a:cubicBezTo>
                  <a:cubicBezTo>
                    <a:pt x="43" y="40"/>
                    <a:pt x="52" y="40"/>
                    <a:pt x="50" y="36"/>
                  </a:cubicBezTo>
                  <a:cubicBezTo>
                    <a:pt x="50" y="34"/>
                    <a:pt x="47" y="34"/>
                    <a:pt x="46" y="32"/>
                  </a:cubicBezTo>
                  <a:cubicBezTo>
                    <a:pt x="45" y="30"/>
                    <a:pt x="47" y="29"/>
                    <a:pt x="48" y="29"/>
                  </a:cubicBezTo>
                  <a:cubicBezTo>
                    <a:pt x="50" y="29"/>
                    <a:pt x="52" y="30"/>
                    <a:pt x="53" y="29"/>
                  </a:cubicBezTo>
                  <a:cubicBezTo>
                    <a:pt x="56" y="29"/>
                    <a:pt x="56" y="27"/>
                    <a:pt x="58" y="25"/>
                  </a:cubicBezTo>
                  <a:cubicBezTo>
                    <a:pt x="61" y="22"/>
                    <a:pt x="66" y="20"/>
                    <a:pt x="69" y="20"/>
                  </a:cubicBezTo>
                  <a:cubicBezTo>
                    <a:pt x="72" y="20"/>
                    <a:pt x="73" y="20"/>
                    <a:pt x="75" y="19"/>
                  </a:cubicBezTo>
                  <a:cubicBezTo>
                    <a:pt x="77" y="19"/>
                    <a:pt x="79" y="18"/>
                    <a:pt x="81" y="18"/>
                  </a:cubicBezTo>
                  <a:cubicBezTo>
                    <a:pt x="83" y="17"/>
                    <a:pt x="83" y="17"/>
                    <a:pt x="84" y="16"/>
                  </a:cubicBezTo>
                  <a:cubicBezTo>
                    <a:pt x="85" y="15"/>
                    <a:pt x="87" y="15"/>
                    <a:pt x="89" y="14"/>
                  </a:cubicBezTo>
                  <a:cubicBezTo>
                    <a:pt x="92" y="11"/>
                    <a:pt x="93" y="9"/>
                    <a:pt x="97" y="8"/>
                  </a:cubicBezTo>
                  <a:cubicBezTo>
                    <a:pt x="100" y="7"/>
                    <a:pt x="102" y="8"/>
                    <a:pt x="105" y="10"/>
                  </a:cubicBezTo>
                  <a:cubicBezTo>
                    <a:pt x="106" y="11"/>
                    <a:pt x="108" y="11"/>
                    <a:pt x="109" y="12"/>
                  </a:cubicBezTo>
                  <a:cubicBezTo>
                    <a:pt x="109" y="13"/>
                    <a:pt x="109" y="14"/>
                    <a:pt x="109" y="14"/>
                  </a:cubicBezTo>
                  <a:cubicBezTo>
                    <a:pt x="110" y="14"/>
                    <a:pt x="111" y="14"/>
                    <a:pt x="111" y="14"/>
                  </a:cubicBezTo>
                  <a:cubicBezTo>
                    <a:pt x="116" y="16"/>
                    <a:pt x="123" y="16"/>
                    <a:pt x="128" y="15"/>
                  </a:cubicBezTo>
                  <a:cubicBezTo>
                    <a:pt x="128" y="12"/>
                    <a:pt x="127" y="8"/>
                    <a:pt x="128" y="5"/>
                  </a:cubicBezTo>
                  <a:cubicBezTo>
                    <a:pt x="128" y="4"/>
                    <a:pt x="128" y="2"/>
                    <a:pt x="130" y="3"/>
                  </a:cubicBezTo>
                  <a:cubicBezTo>
                    <a:pt x="133" y="3"/>
                    <a:pt x="132" y="7"/>
                    <a:pt x="132" y="9"/>
                  </a:cubicBezTo>
                  <a:cubicBezTo>
                    <a:pt x="136" y="10"/>
                    <a:pt x="135" y="5"/>
                    <a:pt x="136" y="4"/>
                  </a:cubicBezTo>
                  <a:cubicBezTo>
                    <a:pt x="139" y="0"/>
                    <a:pt x="140" y="6"/>
                    <a:pt x="141" y="8"/>
                  </a:cubicBezTo>
                  <a:cubicBezTo>
                    <a:pt x="143" y="8"/>
                    <a:pt x="145" y="9"/>
                    <a:pt x="147" y="8"/>
                  </a:cubicBezTo>
                  <a:cubicBezTo>
                    <a:pt x="150" y="8"/>
                    <a:pt x="151" y="7"/>
                    <a:pt x="153" y="6"/>
                  </a:cubicBezTo>
                  <a:cubicBezTo>
                    <a:pt x="156" y="5"/>
                    <a:pt x="158" y="5"/>
                    <a:pt x="161" y="5"/>
                  </a:cubicBezTo>
                  <a:cubicBezTo>
                    <a:pt x="163" y="4"/>
                    <a:pt x="163" y="3"/>
                    <a:pt x="166" y="4"/>
                  </a:cubicBezTo>
                  <a:cubicBezTo>
                    <a:pt x="166" y="5"/>
                    <a:pt x="167" y="6"/>
                    <a:pt x="167" y="6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2" y="8"/>
                    <a:pt x="173" y="9"/>
                    <a:pt x="175" y="9"/>
                  </a:cubicBezTo>
                  <a:cubicBezTo>
                    <a:pt x="177" y="10"/>
                    <a:pt x="180" y="12"/>
                    <a:pt x="183" y="12"/>
                  </a:cubicBezTo>
                  <a:cubicBezTo>
                    <a:pt x="183" y="11"/>
                    <a:pt x="183" y="9"/>
                    <a:pt x="183" y="8"/>
                  </a:cubicBezTo>
                  <a:cubicBezTo>
                    <a:pt x="185" y="8"/>
                    <a:pt x="187" y="10"/>
                    <a:pt x="188" y="11"/>
                  </a:cubicBezTo>
                  <a:cubicBezTo>
                    <a:pt x="191" y="13"/>
                    <a:pt x="192" y="14"/>
                    <a:pt x="195" y="14"/>
                  </a:cubicBezTo>
                  <a:cubicBezTo>
                    <a:pt x="198" y="15"/>
                    <a:pt x="202" y="14"/>
                    <a:pt x="205" y="16"/>
                  </a:cubicBezTo>
                  <a:cubicBezTo>
                    <a:pt x="209" y="17"/>
                    <a:pt x="211" y="20"/>
                    <a:pt x="214" y="21"/>
                  </a:cubicBezTo>
                  <a:cubicBezTo>
                    <a:pt x="218" y="23"/>
                    <a:pt x="223" y="23"/>
                    <a:pt x="227" y="23"/>
                  </a:cubicBezTo>
                  <a:cubicBezTo>
                    <a:pt x="231" y="22"/>
                    <a:pt x="233" y="20"/>
                    <a:pt x="237" y="19"/>
                  </a:cubicBezTo>
                  <a:cubicBezTo>
                    <a:pt x="238" y="19"/>
                    <a:pt x="243" y="17"/>
                    <a:pt x="244" y="17"/>
                  </a:cubicBezTo>
                  <a:cubicBezTo>
                    <a:pt x="246" y="18"/>
                    <a:pt x="245" y="18"/>
                    <a:pt x="247" y="19"/>
                  </a:cubicBezTo>
                  <a:cubicBezTo>
                    <a:pt x="251" y="22"/>
                    <a:pt x="259" y="21"/>
                    <a:pt x="264" y="21"/>
                  </a:cubicBezTo>
                  <a:lnTo>
                    <a:pt x="264" y="14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1" name="Freeform 41">
              <a:extLst>
                <a:ext uri="{FF2B5EF4-FFF2-40B4-BE49-F238E27FC236}">
                  <a16:creationId xmlns:a16="http://schemas.microsoft.com/office/drawing/2014/main" id="{58A79770-7BA7-47F4-91E6-09E079B6E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3250" y="3044825"/>
              <a:ext cx="171450" cy="144463"/>
            </a:xfrm>
            <a:custGeom>
              <a:avLst/>
              <a:gdLst/>
              <a:ahLst/>
              <a:cxnLst>
                <a:cxn ang="0">
                  <a:pos x="83" y="0"/>
                </a:cxn>
                <a:cxn ang="0">
                  <a:pos x="76" y="1"/>
                </a:cxn>
                <a:cxn ang="0">
                  <a:pos x="75" y="8"/>
                </a:cxn>
                <a:cxn ang="0">
                  <a:pos x="75" y="11"/>
                </a:cxn>
                <a:cxn ang="0">
                  <a:pos x="72" y="9"/>
                </a:cxn>
                <a:cxn ang="0">
                  <a:pos x="69" y="8"/>
                </a:cxn>
                <a:cxn ang="0">
                  <a:pos x="66" y="6"/>
                </a:cxn>
                <a:cxn ang="0">
                  <a:pos x="62" y="6"/>
                </a:cxn>
                <a:cxn ang="0">
                  <a:pos x="59" y="4"/>
                </a:cxn>
                <a:cxn ang="0">
                  <a:pos x="55" y="9"/>
                </a:cxn>
                <a:cxn ang="0">
                  <a:pos x="49" y="9"/>
                </a:cxn>
                <a:cxn ang="0">
                  <a:pos x="46" y="7"/>
                </a:cxn>
                <a:cxn ang="0">
                  <a:pos x="42" y="7"/>
                </a:cxn>
                <a:cxn ang="0">
                  <a:pos x="38" y="3"/>
                </a:cxn>
                <a:cxn ang="0">
                  <a:pos x="36" y="7"/>
                </a:cxn>
                <a:cxn ang="0">
                  <a:pos x="32" y="9"/>
                </a:cxn>
                <a:cxn ang="0">
                  <a:pos x="28" y="20"/>
                </a:cxn>
                <a:cxn ang="0">
                  <a:pos x="22" y="18"/>
                </a:cxn>
                <a:cxn ang="0">
                  <a:pos x="22" y="13"/>
                </a:cxn>
                <a:cxn ang="0">
                  <a:pos x="16" y="25"/>
                </a:cxn>
                <a:cxn ang="0">
                  <a:pos x="7" y="17"/>
                </a:cxn>
                <a:cxn ang="0">
                  <a:pos x="1" y="20"/>
                </a:cxn>
                <a:cxn ang="0">
                  <a:pos x="7" y="27"/>
                </a:cxn>
                <a:cxn ang="0">
                  <a:pos x="5" y="31"/>
                </a:cxn>
                <a:cxn ang="0">
                  <a:pos x="9" y="36"/>
                </a:cxn>
                <a:cxn ang="0">
                  <a:pos x="3" y="39"/>
                </a:cxn>
                <a:cxn ang="0">
                  <a:pos x="10" y="42"/>
                </a:cxn>
                <a:cxn ang="0">
                  <a:pos x="19" y="51"/>
                </a:cxn>
                <a:cxn ang="0">
                  <a:pos x="20" y="59"/>
                </a:cxn>
                <a:cxn ang="0">
                  <a:pos x="14" y="63"/>
                </a:cxn>
                <a:cxn ang="0">
                  <a:pos x="18" y="77"/>
                </a:cxn>
                <a:cxn ang="0">
                  <a:pos x="22" y="75"/>
                </a:cxn>
                <a:cxn ang="0">
                  <a:pos x="23" y="69"/>
                </a:cxn>
                <a:cxn ang="0">
                  <a:pos x="22" y="64"/>
                </a:cxn>
                <a:cxn ang="0">
                  <a:pos x="21" y="59"/>
                </a:cxn>
                <a:cxn ang="0">
                  <a:pos x="24" y="53"/>
                </a:cxn>
                <a:cxn ang="0">
                  <a:pos x="27" y="49"/>
                </a:cxn>
                <a:cxn ang="0">
                  <a:pos x="28" y="48"/>
                </a:cxn>
                <a:cxn ang="0">
                  <a:pos x="31" y="50"/>
                </a:cxn>
                <a:cxn ang="0">
                  <a:pos x="34" y="48"/>
                </a:cxn>
                <a:cxn ang="0">
                  <a:pos x="39" y="50"/>
                </a:cxn>
                <a:cxn ang="0">
                  <a:pos x="48" y="45"/>
                </a:cxn>
                <a:cxn ang="0">
                  <a:pos x="56" y="44"/>
                </a:cxn>
                <a:cxn ang="0">
                  <a:pos x="57" y="38"/>
                </a:cxn>
                <a:cxn ang="0">
                  <a:pos x="62" y="37"/>
                </a:cxn>
                <a:cxn ang="0">
                  <a:pos x="68" y="31"/>
                </a:cxn>
                <a:cxn ang="0">
                  <a:pos x="72" y="27"/>
                </a:cxn>
                <a:cxn ang="0">
                  <a:pos x="80" y="20"/>
                </a:cxn>
                <a:cxn ang="0">
                  <a:pos x="75" y="17"/>
                </a:cxn>
                <a:cxn ang="0">
                  <a:pos x="72" y="13"/>
                </a:cxn>
                <a:cxn ang="0">
                  <a:pos x="90" y="12"/>
                </a:cxn>
                <a:cxn ang="0">
                  <a:pos x="82" y="1"/>
                </a:cxn>
                <a:cxn ang="0">
                  <a:pos x="83" y="0"/>
                </a:cxn>
              </a:cxnLst>
              <a:rect l="0" t="0" r="r" b="b"/>
              <a:pathLst>
                <a:path w="91" h="77">
                  <a:moveTo>
                    <a:pt x="83" y="0"/>
                  </a:moveTo>
                  <a:cubicBezTo>
                    <a:pt x="81" y="0"/>
                    <a:pt x="77" y="0"/>
                    <a:pt x="76" y="1"/>
                  </a:cubicBezTo>
                  <a:cubicBezTo>
                    <a:pt x="72" y="2"/>
                    <a:pt x="74" y="5"/>
                    <a:pt x="75" y="8"/>
                  </a:cubicBezTo>
                  <a:cubicBezTo>
                    <a:pt x="75" y="9"/>
                    <a:pt x="76" y="10"/>
                    <a:pt x="75" y="11"/>
                  </a:cubicBezTo>
                  <a:cubicBezTo>
                    <a:pt x="73" y="12"/>
                    <a:pt x="73" y="10"/>
                    <a:pt x="72" y="9"/>
                  </a:cubicBezTo>
                  <a:cubicBezTo>
                    <a:pt x="70" y="8"/>
                    <a:pt x="70" y="9"/>
                    <a:pt x="69" y="8"/>
                  </a:cubicBezTo>
                  <a:cubicBezTo>
                    <a:pt x="68" y="7"/>
                    <a:pt x="68" y="7"/>
                    <a:pt x="66" y="6"/>
                  </a:cubicBezTo>
                  <a:cubicBezTo>
                    <a:pt x="65" y="6"/>
                    <a:pt x="63" y="6"/>
                    <a:pt x="62" y="6"/>
                  </a:cubicBezTo>
                  <a:cubicBezTo>
                    <a:pt x="61" y="6"/>
                    <a:pt x="60" y="4"/>
                    <a:pt x="59" y="4"/>
                  </a:cubicBezTo>
                  <a:cubicBezTo>
                    <a:pt x="56" y="4"/>
                    <a:pt x="57" y="8"/>
                    <a:pt x="55" y="9"/>
                  </a:cubicBezTo>
                  <a:cubicBezTo>
                    <a:pt x="54" y="9"/>
                    <a:pt x="50" y="9"/>
                    <a:pt x="49" y="9"/>
                  </a:cubicBezTo>
                  <a:cubicBezTo>
                    <a:pt x="48" y="8"/>
                    <a:pt x="47" y="7"/>
                    <a:pt x="46" y="7"/>
                  </a:cubicBezTo>
                  <a:cubicBezTo>
                    <a:pt x="44" y="7"/>
                    <a:pt x="43" y="7"/>
                    <a:pt x="42" y="7"/>
                  </a:cubicBezTo>
                  <a:cubicBezTo>
                    <a:pt x="41" y="5"/>
                    <a:pt x="41" y="1"/>
                    <a:pt x="38" y="3"/>
                  </a:cubicBezTo>
                  <a:cubicBezTo>
                    <a:pt x="36" y="4"/>
                    <a:pt x="37" y="6"/>
                    <a:pt x="36" y="7"/>
                  </a:cubicBezTo>
                  <a:cubicBezTo>
                    <a:pt x="34" y="9"/>
                    <a:pt x="33" y="8"/>
                    <a:pt x="32" y="9"/>
                  </a:cubicBezTo>
                  <a:cubicBezTo>
                    <a:pt x="28" y="11"/>
                    <a:pt x="31" y="17"/>
                    <a:pt x="28" y="20"/>
                  </a:cubicBezTo>
                  <a:cubicBezTo>
                    <a:pt x="27" y="21"/>
                    <a:pt x="23" y="19"/>
                    <a:pt x="22" y="18"/>
                  </a:cubicBezTo>
                  <a:cubicBezTo>
                    <a:pt x="22" y="17"/>
                    <a:pt x="23" y="15"/>
                    <a:pt x="22" y="13"/>
                  </a:cubicBezTo>
                  <a:cubicBezTo>
                    <a:pt x="16" y="12"/>
                    <a:pt x="16" y="21"/>
                    <a:pt x="16" y="25"/>
                  </a:cubicBezTo>
                  <a:cubicBezTo>
                    <a:pt x="12" y="27"/>
                    <a:pt x="9" y="18"/>
                    <a:pt x="7" y="17"/>
                  </a:cubicBezTo>
                  <a:cubicBezTo>
                    <a:pt x="5" y="15"/>
                    <a:pt x="0" y="16"/>
                    <a:pt x="1" y="20"/>
                  </a:cubicBezTo>
                  <a:cubicBezTo>
                    <a:pt x="5" y="20"/>
                    <a:pt x="7" y="24"/>
                    <a:pt x="7" y="27"/>
                  </a:cubicBezTo>
                  <a:cubicBezTo>
                    <a:pt x="6" y="28"/>
                    <a:pt x="5" y="29"/>
                    <a:pt x="5" y="31"/>
                  </a:cubicBezTo>
                  <a:cubicBezTo>
                    <a:pt x="4" y="34"/>
                    <a:pt x="7" y="34"/>
                    <a:pt x="9" y="36"/>
                  </a:cubicBezTo>
                  <a:cubicBezTo>
                    <a:pt x="8" y="38"/>
                    <a:pt x="4" y="37"/>
                    <a:pt x="3" y="39"/>
                  </a:cubicBezTo>
                  <a:cubicBezTo>
                    <a:pt x="1" y="42"/>
                    <a:pt x="8" y="42"/>
                    <a:pt x="10" y="42"/>
                  </a:cubicBezTo>
                  <a:cubicBezTo>
                    <a:pt x="10" y="48"/>
                    <a:pt x="18" y="45"/>
                    <a:pt x="19" y="51"/>
                  </a:cubicBezTo>
                  <a:cubicBezTo>
                    <a:pt x="19" y="53"/>
                    <a:pt x="21" y="57"/>
                    <a:pt x="20" y="59"/>
                  </a:cubicBezTo>
                  <a:cubicBezTo>
                    <a:pt x="19" y="60"/>
                    <a:pt x="16" y="62"/>
                    <a:pt x="14" y="63"/>
                  </a:cubicBezTo>
                  <a:cubicBezTo>
                    <a:pt x="9" y="67"/>
                    <a:pt x="10" y="77"/>
                    <a:pt x="18" y="77"/>
                  </a:cubicBezTo>
                  <a:cubicBezTo>
                    <a:pt x="21" y="77"/>
                    <a:pt x="21" y="77"/>
                    <a:pt x="22" y="75"/>
                  </a:cubicBezTo>
                  <a:cubicBezTo>
                    <a:pt x="23" y="74"/>
                    <a:pt x="24" y="70"/>
                    <a:pt x="23" y="69"/>
                  </a:cubicBezTo>
                  <a:cubicBezTo>
                    <a:pt x="23" y="67"/>
                    <a:pt x="22" y="66"/>
                    <a:pt x="22" y="64"/>
                  </a:cubicBezTo>
                  <a:cubicBezTo>
                    <a:pt x="21" y="62"/>
                    <a:pt x="22" y="61"/>
                    <a:pt x="21" y="59"/>
                  </a:cubicBezTo>
                  <a:cubicBezTo>
                    <a:pt x="23" y="59"/>
                    <a:pt x="23" y="55"/>
                    <a:pt x="24" y="53"/>
                  </a:cubicBezTo>
                  <a:cubicBezTo>
                    <a:pt x="25" y="52"/>
                    <a:pt x="25" y="50"/>
                    <a:pt x="27" y="49"/>
                  </a:cubicBezTo>
                  <a:cubicBezTo>
                    <a:pt x="28" y="48"/>
                    <a:pt x="27" y="48"/>
                    <a:pt x="28" y="48"/>
                  </a:cubicBezTo>
                  <a:cubicBezTo>
                    <a:pt x="30" y="48"/>
                    <a:pt x="30" y="50"/>
                    <a:pt x="31" y="50"/>
                  </a:cubicBezTo>
                  <a:cubicBezTo>
                    <a:pt x="33" y="51"/>
                    <a:pt x="32" y="49"/>
                    <a:pt x="34" y="48"/>
                  </a:cubicBezTo>
                  <a:cubicBezTo>
                    <a:pt x="37" y="46"/>
                    <a:pt x="38" y="49"/>
                    <a:pt x="39" y="50"/>
                  </a:cubicBezTo>
                  <a:cubicBezTo>
                    <a:pt x="44" y="53"/>
                    <a:pt x="46" y="47"/>
                    <a:pt x="48" y="45"/>
                  </a:cubicBezTo>
                  <a:cubicBezTo>
                    <a:pt x="51" y="42"/>
                    <a:pt x="53" y="45"/>
                    <a:pt x="56" y="44"/>
                  </a:cubicBezTo>
                  <a:cubicBezTo>
                    <a:pt x="56" y="42"/>
                    <a:pt x="55" y="40"/>
                    <a:pt x="57" y="38"/>
                  </a:cubicBezTo>
                  <a:cubicBezTo>
                    <a:pt x="59" y="36"/>
                    <a:pt x="60" y="37"/>
                    <a:pt x="62" y="37"/>
                  </a:cubicBezTo>
                  <a:cubicBezTo>
                    <a:pt x="66" y="36"/>
                    <a:pt x="66" y="34"/>
                    <a:pt x="68" y="31"/>
                  </a:cubicBezTo>
                  <a:cubicBezTo>
                    <a:pt x="69" y="28"/>
                    <a:pt x="69" y="28"/>
                    <a:pt x="72" y="27"/>
                  </a:cubicBezTo>
                  <a:cubicBezTo>
                    <a:pt x="76" y="25"/>
                    <a:pt x="84" y="25"/>
                    <a:pt x="80" y="20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2" y="16"/>
                    <a:pt x="73" y="15"/>
                    <a:pt x="72" y="13"/>
                  </a:cubicBezTo>
                  <a:cubicBezTo>
                    <a:pt x="76" y="15"/>
                    <a:pt x="87" y="17"/>
                    <a:pt x="90" y="12"/>
                  </a:cubicBezTo>
                  <a:cubicBezTo>
                    <a:pt x="91" y="8"/>
                    <a:pt x="85" y="2"/>
                    <a:pt x="82" y="1"/>
                  </a:cubicBezTo>
                  <a:lnTo>
                    <a:pt x="8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2" name="Freeform 42">
              <a:extLst>
                <a:ext uri="{FF2B5EF4-FFF2-40B4-BE49-F238E27FC236}">
                  <a16:creationId xmlns:a16="http://schemas.microsoft.com/office/drawing/2014/main" id="{BEE70CCB-F7E5-4BB3-B89F-0059828A7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3413" y="2960688"/>
              <a:ext cx="101600" cy="79375"/>
            </a:xfrm>
            <a:custGeom>
              <a:avLst/>
              <a:gdLst/>
              <a:ahLst/>
              <a:cxnLst>
                <a:cxn ang="0">
                  <a:pos x="50" y="21"/>
                </a:cxn>
                <a:cxn ang="0">
                  <a:pos x="53" y="27"/>
                </a:cxn>
                <a:cxn ang="0">
                  <a:pos x="44" y="26"/>
                </a:cxn>
                <a:cxn ang="0">
                  <a:pos x="36" y="25"/>
                </a:cxn>
                <a:cxn ang="0">
                  <a:pos x="37" y="34"/>
                </a:cxn>
                <a:cxn ang="0">
                  <a:pos x="38" y="39"/>
                </a:cxn>
                <a:cxn ang="0">
                  <a:pos x="31" y="38"/>
                </a:cxn>
                <a:cxn ang="0">
                  <a:pos x="29" y="36"/>
                </a:cxn>
                <a:cxn ang="0">
                  <a:pos x="28" y="40"/>
                </a:cxn>
                <a:cxn ang="0">
                  <a:pos x="23" y="41"/>
                </a:cxn>
                <a:cxn ang="0">
                  <a:pos x="20" y="36"/>
                </a:cxn>
                <a:cxn ang="0">
                  <a:pos x="14" y="25"/>
                </a:cxn>
                <a:cxn ang="0">
                  <a:pos x="3" y="24"/>
                </a:cxn>
                <a:cxn ang="0">
                  <a:pos x="1" y="19"/>
                </a:cxn>
                <a:cxn ang="0">
                  <a:pos x="1" y="16"/>
                </a:cxn>
                <a:cxn ang="0">
                  <a:pos x="10" y="17"/>
                </a:cxn>
                <a:cxn ang="0">
                  <a:pos x="12" y="16"/>
                </a:cxn>
                <a:cxn ang="0">
                  <a:pos x="16" y="17"/>
                </a:cxn>
                <a:cxn ang="0">
                  <a:pos x="20" y="6"/>
                </a:cxn>
                <a:cxn ang="0">
                  <a:pos x="28" y="4"/>
                </a:cxn>
                <a:cxn ang="0">
                  <a:pos x="34" y="0"/>
                </a:cxn>
                <a:cxn ang="0">
                  <a:pos x="35" y="9"/>
                </a:cxn>
                <a:cxn ang="0">
                  <a:pos x="41" y="10"/>
                </a:cxn>
                <a:cxn ang="0">
                  <a:pos x="43" y="15"/>
                </a:cxn>
                <a:cxn ang="0">
                  <a:pos x="53" y="17"/>
                </a:cxn>
                <a:cxn ang="0">
                  <a:pos x="53" y="23"/>
                </a:cxn>
                <a:cxn ang="0">
                  <a:pos x="50" y="21"/>
                </a:cxn>
              </a:cxnLst>
              <a:rect l="0" t="0" r="r" b="b"/>
              <a:pathLst>
                <a:path w="54" h="42">
                  <a:moveTo>
                    <a:pt x="50" y="21"/>
                  </a:moveTo>
                  <a:cubicBezTo>
                    <a:pt x="50" y="24"/>
                    <a:pt x="54" y="24"/>
                    <a:pt x="53" y="27"/>
                  </a:cubicBezTo>
                  <a:cubicBezTo>
                    <a:pt x="50" y="28"/>
                    <a:pt x="47" y="27"/>
                    <a:pt x="44" y="26"/>
                  </a:cubicBezTo>
                  <a:cubicBezTo>
                    <a:pt x="41" y="24"/>
                    <a:pt x="39" y="21"/>
                    <a:pt x="36" y="25"/>
                  </a:cubicBezTo>
                  <a:cubicBezTo>
                    <a:pt x="34" y="29"/>
                    <a:pt x="34" y="31"/>
                    <a:pt x="37" y="34"/>
                  </a:cubicBezTo>
                  <a:cubicBezTo>
                    <a:pt x="38" y="36"/>
                    <a:pt x="39" y="37"/>
                    <a:pt x="38" y="39"/>
                  </a:cubicBezTo>
                  <a:cubicBezTo>
                    <a:pt x="36" y="39"/>
                    <a:pt x="33" y="39"/>
                    <a:pt x="31" y="38"/>
                  </a:cubicBezTo>
                  <a:cubicBezTo>
                    <a:pt x="30" y="38"/>
                    <a:pt x="31" y="36"/>
                    <a:pt x="29" y="36"/>
                  </a:cubicBezTo>
                  <a:cubicBezTo>
                    <a:pt x="28" y="37"/>
                    <a:pt x="29" y="39"/>
                    <a:pt x="28" y="40"/>
                  </a:cubicBezTo>
                  <a:cubicBezTo>
                    <a:pt x="28" y="42"/>
                    <a:pt x="25" y="42"/>
                    <a:pt x="23" y="41"/>
                  </a:cubicBezTo>
                  <a:cubicBezTo>
                    <a:pt x="20" y="40"/>
                    <a:pt x="20" y="39"/>
                    <a:pt x="20" y="36"/>
                  </a:cubicBezTo>
                  <a:cubicBezTo>
                    <a:pt x="20" y="31"/>
                    <a:pt x="20" y="26"/>
                    <a:pt x="14" y="25"/>
                  </a:cubicBezTo>
                  <a:cubicBezTo>
                    <a:pt x="11" y="25"/>
                    <a:pt x="5" y="27"/>
                    <a:pt x="3" y="24"/>
                  </a:cubicBezTo>
                  <a:cubicBezTo>
                    <a:pt x="2" y="23"/>
                    <a:pt x="1" y="20"/>
                    <a:pt x="1" y="19"/>
                  </a:cubicBezTo>
                  <a:cubicBezTo>
                    <a:pt x="1" y="18"/>
                    <a:pt x="0" y="17"/>
                    <a:pt x="1" y="16"/>
                  </a:cubicBezTo>
                  <a:cubicBezTo>
                    <a:pt x="4" y="15"/>
                    <a:pt x="6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4" y="16"/>
                    <a:pt x="15" y="17"/>
                    <a:pt x="16" y="17"/>
                  </a:cubicBezTo>
                  <a:cubicBezTo>
                    <a:pt x="17" y="12"/>
                    <a:pt x="14" y="9"/>
                    <a:pt x="20" y="6"/>
                  </a:cubicBezTo>
                  <a:cubicBezTo>
                    <a:pt x="22" y="5"/>
                    <a:pt x="25" y="5"/>
                    <a:pt x="28" y="4"/>
                  </a:cubicBezTo>
                  <a:cubicBezTo>
                    <a:pt x="30" y="3"/>
                    <a:pt x="31" y="1"/>
                    <a:pt x="34" y="0"/>
                  </a:cubicBezTo>
                  <a:cubicBezTo>
                    <a:pt x="34" y="3"/>
                    <a:pt x="34" y="6"/>
                    <a:pt x="35" y="9"/>
                  </a:cubicBezTo>
                  <a:cubicBezTo>
                    <a:pt x="37" y="9"/>
                    <a:pt x="39" y="9"/>
                    <a:pt x="41" y="10"/>
                  </a:cubicBezTo>
                  <a:cubicBezTo>
                    <a:pt x="42" y="12"/>
                    <a:pt x="41" y="14"/>
                    <a:pt x="43" y="15"/>
                  </a:cubicBezTo>
                  <a:cubicBezTo>
                    <a:pt x="45" y="17"/>
                    <a:pt x="50" y="14"/>
                    <a:pt x="53" y="17"/>
                  </a:cubicBezTo>
                  <a:cubicBezTo>
                    <a:pt x="53" y="18"/>
                    <a:pt x="54" y="21"/>
                    <a:pt x="53" y="23"/>
                  </a:cubicBezTo>
                  <a:lnTo>
                    <a:pt x="50" y="2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3" name="Freeform 43">
              <a:extLst>
                <a:ext uri="{FF2B5EF4-FFF2-40B4-BE49-F238E27FC236}">
                  <a16:creationId xmlns:a16="http://schemas.microsoft.com/office/drawing/2014/main" id="{1B8FB2D6-2144-478C-88A9-0BD63523F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9250" y="5822950"/>
              <a:ext cx="688975" cy="779463"/>
            </a:xfrm>
            <a:custGeom>
              <a:avLst/>
              <a:gdLst/>
              <a:ahLst/>
              <a:cxnLst>
                <a:cxn ang="0">
                  <a:pos x="116" y="274"/>
                </a:cxn>
                <a:cxn ang="0">
                  <a:pos x="84" y="265"/>
                </a:cxn>
                <a:cxn ang="0">
                  <a:pos x="52" y="293"/>
                </a:cxn>
                <a:cxn ang="0">
                  <a:pos x="79" y="343"/>
                </a:cxn>
                <a:cxn ang="0">
                  <a:pos x="77" y="372"/>
                </a:cxn>
                <a:cxn ang="0">
                  <a:pos x="109" y="379"/>
                </a:cxn>
                <a:cxn ang="0">
                  <a:pos x="139" y="385"/>
                </a:cxn>
                <a:cxn ang="0">
                  <a:pos x="154" y="408"/>
                </a:cxn>
                <a:cxn ang="0">
                  <a:pos x="155" y="380"/>
                </a:cxn>
                <a:cxn ang="0">
                  <a:pos x="142" y="334"/>
                </a:cxn>
                <a:cxn ang="0">
                  <a:pos x="160" y="334"/>
                </a:cxn>
                <a:cxn ang="0">
                  <a:pos x="171" y="346"/>
                </a:cxn>
                <a:cxn ang="0">
                  <a:pos x="183" y="335"/>
                </a:cxn>
                <a:cxn ang="0">
                  <a:pos x="160" y="315"/>
                </a:cxn>
                <a:cxn ang="0">
                  <a:pos x="158" y="293"/>
                </a:cxn>
                <a:cxn ang="0">
                  <a:pos x="18" y="191"/>
                </a:cxn>
                <a:cxn ang="0">
                  <a:pos x="48" y="216"/>
                </a:cxn>
                <a:cxn ang="0">
                  <a:pos x="24" y="239"/>
                </a:cxn>
                <a:cxn ang="0">
                  <a:pos x="40" y="236"/>
                </a:cxn>
                <a:cxn ang="0">
                  <a:pos x="69" y="257"/>
                </a:cxn>
                <a:cxn ang="0">
                  <a:pos x="120" y="261"/>
                </a:cxn>
                <a:cxn ang="0">
                  <a:pos x="155" y="271"/>
                </a:cxn>
                <a:cxn ang="0">
                  <a:pos x="152" y="289"/>
                </a:cxn>
                <a:cxn ang="0">
                  <a:pos x="180" y="295"/>
                </a:cxn>
                <a:cxn ang="0">
                  <a:pos x="211" y="312"/>
                </a:cxn>
                <a:cxn ang="0">
                  <a:pos x="216" y="287"/>
                </a:cxn>
                <a:cxn ang="0">
                  <a:pos x="247" y="294"/>
                </a:cxn>
                <a:cxn ang="0">
                  <a:pos x="224" y="248"/>
                </a:cxn>
                <a:cxn ang="0">
                  <a:pos x="168" y="210"/>
                </a:cxn>
                <a:cxn ang="0">
                  <a:pos x="162" y="230"/>
                </a:cxn>
                <a:cxn ang="0">
                  <a:pos x="176" y="249"/>
                </a:cxn>
                <a:cxn ang="0">
                  <a:pos x="149" y="219"/>
                </a:cxn>
                <a:cxn ang="0">
                  <a:pos x="166" y="201"/>
                </a:cxn>
                <a:cxn ang="0">
                  <a:pos x="155" y="166"/>
                </a:cxn>
                <a:cxn ang="0">
                  <a:pos x="132" y="116"/>
                </a:cxn>
                <a:cxn ang="0">
                  <a:pos x="156" y="96"/>
                </a:cxn>
                <a:cxn ang="0">
                  <a:pos x="178" y="138"/>
                </a:cxn>
                <a:cxn ang="0">
                  <a:pos x="196" y="124"/>
                </a:cxn>
                <a:cxn ang="0">
                  <a:pos x="208" y="110"/>
                </a:cxn>
                <a:cxn ang="0">
                  <a:pos x="238" y="121"/>
                </a:cxn>
                <a:cxn ang="0">
                  <a:pos x="210" y="92"/>
                </a:cxn>
                <a:cxn ang="0">
                  <a:pos x="228" y="72"/>
                </a:cxn>
                <a:cxn ang="0">
                  <a:pos x="275" y="53"/>
                </a:cxn>
                <a:cxn ang="0">
                  <a:pos x="333" y="79"/>
                </a:cxn>
                <a:cxn ang="0">
                  <a:pos x="366" y="22"/>
                </a:cxn>
                <a:cxn ang="0">
                  <a:pos x="338" y="13"/>
                </a:cxn>
                <a:cxn ang="0">
                  <a:pos x="320" y="33"/>
                </a:cxn>
                <a:cxn ang="0">
                  <a:pos x="283" y="36"/>
                </a:cxn>
                <a:cxn ang="0">
                  <a:pos x="258" y="27"/>
                </a:cxn>
                <a:cxn ang="0">
                  <a:pos x="239" y="13"/>
                </a:cxn>
                <a:cxn ang="0">
                  <a:pos x="214" y="17"/>
                </a:cxn>
                <a:cxn ang="0">
                  <a:pos x="180" y="25"/>
                </a:cxn>
                <a:cxn ang="0">
                  <a:pos x="155" y="22"/>
                </a:cxn>
                <a:cxn ang="0">
                  <a:pos x="144" y="40"/>
                </a:cxn>
                <a:cxn ang="0">
                  <a:pos x="118" y="37"/>
                </a:cxn>
                <a:cxn ang="0">
                  <a:pos x="93" y="52"/>
                </a:cxn>
                <a:cxn ang="0">
                  <a:pos x="70" y="57"/>
                </a:cxn>
                <a:cxn ang="0">
                  <a:pos x="50" y="82"/>
                </a:cxn>
                <a:cxn ang="0">
                  <a:pos x="33" y="100"/>
                </a:cxn>
                <a:cxn ang="0">
                  <a:pos x="22" y="120"/>
                </a:cxn>
                <a:cxn ang="0">
                  <a:pos x="12" y="140"/>
                </a:cxn>
                <a:cxn ang="0">
                  <a:pos x="2" y="153"/>
                </a:cxn>
              </a:cxnLst>
              <a:rect l="0" t="0" r="r" b="b"/>
              <a:pathLst>
                <a:path w="368" h="417">
                  <a:moveTo>
                    <a:pt x="155" y="296"/>
                  </a:moveTo>
                  <a:cubicBezTo>
                    <a:pt x="155" y="296"/>
                    <a:pt x="155" y="296"/>
                    <a:pt x="155" y="296"/>
                  </a:cubicBezTo>
                  <a:cubicBezTo>
                    <a:pt x="151" y="295"/>
                    <a:pt x="146" y="291"/>
                    <a:pt x="145" y="290"/>
                  </a:cubicBezTo>
                  <a:cubicBezTo>
                    <a:pt x="144" y="289"/>
                    <a:pt x="142" y="288"/>
                    <a:pt x="141" y="287"/>
                  </a:cubicBezTo>
                  <a:cubicBezTo>
                    <a:pt x="141" y="285"/>
                    <a:pt x="140" y="283"/>
                    <a:pt x="139" y="282"/>
                  </a:cubicBezTo>
                  <a:cubicBezTo>
                    <a:pt x="137" y="281"/>
                    <a:pt x="135" y="282"/>
                    <a:pt x="134" y="281"/>
                  </a:cubicBezTo>
                  <a:cubicBezTo>
                    <a:pt x="132" y="281"/>
                    <a:pt x="131" y="280"/>
                    <a:pt x="129" y="279"/>
                  </a:cubicBezTo>
                  <a:cubicBezTo>
                    <a:pt x="125" y="277"/>
                    <a:pt x="120" y="275"/>
                    <a:pt x="116" y="274"/>
                  </a:cubicBezTo>
                  <a:cubicBezTo>
                    <a:pt x="114" y="273"/>
                    <a:pt x="112" y="272"/>
                    <a:pt x="110" y="271"/>
                  </a:cubicBezTo>
                  <a:cubicBezTo>
                    <a:pt x="109" y="271"/>
                    <a:pt x="108" y="271"/>
                    <a:pt x="107" y="270"/>
                  </a:cubicBezTo>
                  <a:cubicBezTo>
                    <a:pt x="106" y="269"/>
                    <a:pt x="107" y="268"/>
                    <a:pt x="106" y="267"/>
                  </a:cubicBezTo>
                  <a:cubicBezTo>
                    <a:pt x="104" y="265"/>
                    <a:pt x="100" y="267"/>
                    <a:pt x="98" y="264"/>
                  </a:cubicBezTo>
                  <a:cubicBezTo>
                    <a:pt x="97" y="262"/>
                    <a:pt x="97" y="261"/>
                    <a:pt x="94" y="261"/>
                  </a:cubicBezTo>
                  <a:cubicBezTo>
                    <a:pt x="92" y="261"/>
                    <a:pt x="91" y="260"/>
                    <a:pt x="89" y="261"/>
                  </a:cubicBezTo>
                  <a:cubicBezTo>
                    <a:pt x="87" y="261"/>
                    <a:pt x="87" y="262"/>
                    <a:pt x="86" y="263"/>
                  </a:cubicBezTo>
                  <a:cubicBezTo>
                    <a:pt x="85" y="264"/>
                    <a:pt x="85" y="265"/>
                    <a:pt x="84" y="265"/>
                  </a:cubicBezTo>
                  <a:cubicBezTo>
                    <a:pt x="82" y="266"/>
                    <a:pt x="81" y="267"/>
                    <a:pt x="79" y="268"/>
                  </a:cubicBezTo>
                  <a:cubicBezTo>
                    <a:pt x="78" y="268"/>
                    <a:pt x="77" y="270"/>
                    <a:pt x="77" y="270"/>
                  </a:cubicBezTo>
                  <a:cubicBezTo>
                    <a:pt x="75" y="271"/>
                    <a:pt x="73" y="270"/>
                    <a:pt x="71" y="269"/>
                  </a:cubicBezTo>
                  <a:cubicBezTo>
                    <a:pt x="70" y="269"/>
                    <a:pt x="67" y="266"/>
                    <a:pt x="65" y="266"/>
                  </a:cubicBezTo>
                  <a:cubicBezTo>
                    <a:pt x="65" y="269"/>
                    <a:pt x="66" y="274"/>
                    <a:pt x="64" y="276"/>
                  </a:cubicBezTo>
                  <a:cubicBezTo>
                    <a:pt x="63" y="277"/>
                    <a:pt x="61" y="277"/>
                    <a:pt x="60" y="278"/>
                  </a:cubicBezTo>
                  <a:cubicBezTo>
                    <a:pt x="57" y="281"/>
                    <a:pt x="55" y="288"/>
                    <a:pt x="55" y="292"/>
                  </a:cubicBezTo>
                  <a:cubicBezTo>
                    <a:pt x="54" y="292"/>
                    <a:pt x="53" y="293"/>
                    <a:pt x="52" y="293"/>
                  </a:cubicBezTo>
                  <a:cubicBezTo>
                    <a:pt x="51" y="293"/>
                    <a:pt x="49" y="292"/>
                    <a:pt x="48" y="293"/>
                  </a:cubicBezTo>
                  <a:cubicBezTo>
                    <a:pt x="45" y="294"/>
                    <a:pt x="44" y="297"/>
                    <a:pt x="46" y="299"/>
                  </a:cubicBezTo>
                  <a:cubicBezTo>
                    <a:pt x="49" y="302"/>
                    <a:pt x="54" y="301"/>
                    <a:pt x="57" y="304"/>
                  </a:cubicBezTo>
                  <a:cubicBezTo>
                    <a:pt x="60" y="307"/>
                    <a:pt x="56" y="309"/>
                    <a:pt x="57" y="312"/>
                  </a:cubicBezTo>
                  <a:cubicBezTo>
                    <a:pt x="61" y="313"/>
                    <a:pt x="65" y="314"/>
                    <a:pt x="69" y="315"/>
                  </a:cubicBezTo>
                  <a:cubicBezTo>
                    <a:pt x="74" y="316"/>
                    <a:pt x="75" y="319"/>
                    <a:pt x="75" y="325"/>
                  </a:cubicBezTo>
                  <a:cubicBezTo>
                    <a:pt x="75" y="328"/>
                    <a:pt x="74" y="331"/>
                    <a:pt x="75" y="334"/>
                  </a:cubicBezTo>
                  <a:cubicBezTo>
                    <a:pt x="76" y="337"/>
                    <a:pt x="80" y="340"/>
                    <a:pt x="79" y="343"/>
                  </a:cubicBezTo>
                  <a:cubicBezTo>
                    <a:pt x="79" y="345"/>
                    <a:pt x="76" y="345"/>
                    <a:pt x="74" y="345"/>
                  </a:cubicBezTo>
                  <a:cubicBezTo>
                    <a:pt x="70" y="346"/>
                    <a:pt x="70" y="346"/>
                    <a:pt x="71" y="349"/>
                  </a:cubicBezTo>
                  <a:cubicBezTo>
                    <a:pt x="71" y="352"/>
                    <a:pt x="71" y="355"/>
                    <a:pt x="71" y="358"/>
                  </a:cubicBezTo>
                  <a:cubicBezTo>
                    <a:pt x="72" y="359"/>
                    <a:pt x="72" y="361"/>
                    <a:pt x="72" y="361"/>
                  </a:cubicBezTo>
                  <a:cubicBezTo>
                    <a:pt x="73" y="362"/>
                    <a:pt x="74" y="362"/>
                    <a:pt x="74" y="362"/>
                  </a:cubicBezTo>
                  <a:cubicBezTo>
                    <a:pt x="75" y="363"/>
                    <a:pt x="75" y="364"/>
                    <a:pt x="76" y="364"/>
                  </a:cubicBezTo>
                  <a:cubicBezTo>
                    <a:pt x="77" y="366"/>
                    <a:pt x="77" y="368"/>
                    <a:pt x="78" y="370"/>
                  </a:cubicBezTo>
                  <a:cubicBezTo>
                    <a:pt x="78" y="371"/>
                    <a:pt x="77" y="371"/>
                    <a:pt x="77" y="372"/>
                  </a:cubicBezTo>
                  <a:cubicBezTo>
                    <a:pt x="75" y="376"/>
                    <a:pt x="76" y="380"/>
                    <a:pt x="77" y="384"/>
                  </a:cubicBezTo>
                  <a:cubicBezTo>
                    <a:pt x="80" y="384"/>
                    <a:pt x="82" y="384"/>
                    <a:pt x="84" y="386"/>
                  </a:cubicBezTo>
                  <a:cubicBezTo>
                    <a:pt x="85" y="387"/>
                    <a:pt x="86" y="388"/>
                    <a:pt x="87" y="389"/>
                  </a:cubicBezTo>
                  <a:cubicBezTo>
                    <a:pt x="88" y="390"/>
                    <a:pt x="90" y="390"/>
                    <a:pt x="90" y="390"/>
                  </a:cubicBezTo>
                  <a:cubicBezTo>
                    <a:pt x="94" y="385"/>
                    <a:pt x="90" y="377"/>
                    <a:pt x="91" y="371"/>
                  </a:cubicBezTo>
                  <a:cubicBezTo>
                    <a:pt x="92" y="364"/>
                    <a:pt x="98" y="366"/>
                    <a:pt x="103" y="367"/>
                  </a:cubicBezTo>
                  <a:cubicBezTo>
                    <a:pt x="103" y="369"/>
                    <a:pt x="103" y="372"/>
                    <a:pt x="104" y="373"/>
                  </a:cubicBezTo>
                  <a:cubicBezTo>
                    <a:pt x="105" y="375"/>
                    <a:pt x="107" y="377"/>
                    <a:pt x="109" y="379"/>
                  </a:cubicBezTo>
                  <a:cubicBezTo>
                    <a:pt x="111" y="381"/>
                    <a:pt x="112" y="383"/>
                    <a:pt x="113" y="386"/>
                  </a:cubicBezTo>
                  <a:cubicBezTo>
                    <a:pt x="114" y="389"/>
                    <a:pt x="116" y="391"/>
                    <a:pt x="117" y="394"/>
                  </a:cubicBezTo>
                  <a:cubicBezTo>
                    <a:pt x="119" y="400"/>
                    <a:pt x="113" y="411"/>
                    <a:pt x="120" y="414"/>
                  </a:cubicBezTo>
                  <a:cubicBezTo>
                    <a:pt x="126" y="417"/>
                    <a:pt x="124" y="408"/>
                    <a:pt x="124" y="405"/>
                  </a:cubicBezTo>
                  <a:cubicBezTo>
                    <a:pt x="124" y="401"/>
                    <a:pt x="123" y="399"/>
                    <a:pt x="125" y="396"/>
                  </a:cubicBezTo>
                  <a:cubicBezTo>
                    <a:pt x="126" y="393"/>
                    <a:pt x="127" y="392"/>
                    <a:pt x="129" y="390"/>
                  </a:cubicBezTo>
                  <a:cubicBezTo>
                    <a:pt x="132" y="388"/>
                    <a:pt x="131" y="385"/>
                    <a:pt x="135" y="385"/>
                  </a:cubicBezTo>
                  <a:cubicBezTo>
                    <a:pt x="136" y="385"/>
                    <a:pt x="138" y="384"/>
                    <a:pt x="139" y="385"/>
                  </a:cubicBezTo>
                  <a:cubicBezTo>
                    <a:pt x="141" y="385"/>
                    <a:pt x="140" y="386"/>
                    <a:pt x="140" y="387"/>
                  </a:cubicBezTo>
                  <a:cubicBezTo>
                    <a:pt x="141" y="389"/>
                    <a:pt x="140" y="389"/>
                    <a:pt x="141" y="391"/>
                  </a:cubicBezTo>
                  <a:cubicBezTo>
                    <a:pt x="142" y="391"/>
                    <a:pt x="143" y="391"/>
                    <a:pt x="144" y="392"/>
                  </a:cubicBezTo>
                  <a:cubicBezTo>
                    <a:pt x="145" y="393"/>
                    <a:pt x="145" y="393"/>
                    <a:pt x="145" y="394"/>
                  </a:cubicBezTo>
                  <a:cubicBezTo>
                    <a:pt x="146" y="396"/>
                    <a:pt x="145" y="398"/>
                    <a:pt x="146" y="400"/>
                  </a:cubicBezTo>
                  <a:cubicBezTo>
                    <a:pt x="146" y="402"/>
                    <a:pt x="146" y="402"/>
                    <a:pt x="147" y="403"/>
                  </a:cubicBezTo>
                  <a:cubicBezTo>
                    <a:pt x="148" y="405"/>
                    <a:pt x="148" y="406"/>
                    <a:pt x="150" y="407"/>
                  </a:cubicBezTo>
                  <a:cubicBezTo>
                    <a:pt x="151" y="407"/>
                    <a:pt x="153" y="407"/>
                    <a:pt x="154" y="408"/>
                  </a:cubicBezTo>
                  <a:cubicBezTo>
                    <a:pt x="155" y="409"/>
                    <a:pt x="155" y="410"/>
                    <a:pt x="155" y="411"/>
                  </a:cubicBezTo>
                  <a:cubicBezTo>
                    <a:pt x="156" y="412"/>
                    <a:pt x="160" y="415"/>
                    <a:pt x="162" y="415"/>
                  </a:cubicBezTo>
                  <a:cubicBezTo>
                    <a:pt x="162" y="413"/>
                    <a:pt x="160" y="412"/>
                    <a:pt x="160" y="410"/>
                  </a:cubicBezTo>
                  <a:cubicBezTo>
                    <a:pt x="159" y="408"/>
                    <a:pt x="159" y="405"/>
                    <a:pt x="157" y="404"/>
                  </a:cubicBezTo>
                  <a:cubicBezTo>
                    <a:pt x="156" y="401"/>
                    <a:pt x="155" y="402"/>
                    <a:pt x="155" y="399"/>
                  </a:cubicBezTo>
                  <a:cubicBezTo>
                    <a:pt x="155" y="397"/>
                    <a:pt x="154" y="395"/>
                    <a:pt x="155" y="393"/>
                  </a:cubicBezTo>
                  <a:cubicBezTo>
                    <a:pt x="155" y="390"/>
                    <a:pt x="157" y="389"/>
                    <a:pt x="156" y="386"/>
                  </a:cubicBezTo>
                  <a:cubicBezTo>
                    <a:pt x="156" y="384"/>
                    <a:pt x="155" y="382"/>
                    <a:pt x="155" y="380"/>
                  </a:cubicBezTo>
                  <a:cubicBezTo>
                    <a:pt x="154" y="378"/>
                    <a:pt x="155" y="375"/>
                    <a:pt x="155" y="373"/>
                  </a:cubicBezTo>
                  <a:cubicBezTo>
                    <a:pt x="155" y="371"/>
                    <a:pt x="155" y="368"/>
                    <a:pt x="155" y="367"/>
                  </a:cubicBezTo>
                  <a:cubicBezTo>
                    <a:pt x="154" y="366"/>
                    <a:pt x="152" y="365"/>
                    <a:pt x="150" y="363"/>
                  </a:cubicBezTo>
                  <a:cubicBezTo>
                    <a:pt x="149" y="362"/>
                    <a:pt x="149" y="361"/>
                    <a:pt x="149" y="359"/>
                  </a:cubicBezTo>
                  <a:cubicBezTo>
                    <a:pt x="149" y="356"/>
                    <a:pt x="150" y="352"/>
                    <a:pt x="149" y="350"/>
                  </a:cubicBezTo>
                  <a:cubicBezTo>
                    <a:pt x="148" y="349"/>
                    <a:pt x="147" y="348"/>
                    <a:pt x="146" y="347"/>
                  </a:cubicBezTo>
                  <a:cubicBezTo>
                    <a:pt x="145" y="345"/>
                    <a:pt x="144" y="342"/>
                    <a:pt x="144" y="340"/>
                  </a:cubicBezTo>
                  <a:cubicBezTo>
                    <a:pt x="143" y="338"/>
                    <a:pt x="143" y="337"/>
                    <a:pt x="142" y="334"/>
                  </a:cubicBezTo>
                  <a:cubicBezTo>
                    <a:pt x="141" y="333"/>
                    <a:pt x="141" y="332"/>
                    <a:pt x="141" y="331"/>
                  </a:cubicBezTo>
                  <a:cubicBezTo>
                    <a:pt x="140" y="330"/>
                    <a:pt x="139" y="329"/>
                    <a:pt x="139" y="329"/>
                  </a:cubicBezTo>
                  <a:cubicBezTo>
                    <a:pt x="138" y="327"/>
                    <a:pt x="138" y="323"/>
                    <a:pt x="140" y="322"/>
                  </a:cubicBezTo>
                  <a:cubicBezTo>
                    <a:pt x="141" y="322"/>
                    <a:pt x="142" y="324"/>
                    <a:pt x="143" y="325"/>
                  </a:cubicBezTo>
                  <a:cubicBezTo>
                    <a:pt x="145" y="325"/>
                    <a:pt x="147" y="324"/>
                    <a:pt x="149" y="326"/>
                  </a:cubicBezTo>
                  <a:cubicBezTo>
                    <a:pt x="149" y="326"/>
                    <a:pt x="150" y="328"/>
                    <a:pt x="150" y="328"/>
                  </a:cubicBezTo>
                  <a:cubicBezTo>
                    <a:pt x="150" y="329"/>
                    <a:pt x="152" y="330"/>
                    <a:pt x="152" y="330"/>
                  </a:cubicBezTo>
                  <a:cubicBezTo>
                    <a:pt x="154" y="332"/>
                    <a:pt x="158" y="332"/>
                    <a:pt x="160" y="334"/>
                  </a:cubicBezTo>
                  <a:cubicBezTo>
                    <a:pt x="160" y="335"/>
                    <a:pt x="159" y="337"/>
                    <a:pt x="159" y="339"/>
                  </a:cubicBezTo>
                  <a:cubicBezTo>
                    <a:pt x="159" y="341"/>
                    <a:pt x="160" y="343"/>
                    <a:pt x="158" y="345"/>
                  </a:cubicBezTo>
                  <a:cubicBezTo>
                    <a:pt x="157" y="347"/>
                    <a:pt x="155" y="347"/>
                    <a:pt x="156" y="350"/>
                  </a:cubicBezTo>
                  <a:cubicBezTo>
                    <a:pt x="156" y="352"/>
                    <a:pt x="156" y="352"/>
                    <a:pt x="158" y="352"/>
                  </a:cubicBezTo>
                  <a:cubicBezTo>
                    <a:pt x="158" y="352"/>
                    <a:pt x="160" y="352"/>
                    <a:pt x="161" y="352"/>
                  </a:cubicBezTo>
                  <a:cubicBezTo>
                    <a:pt x="163" y="351"/>
                    <a:pt x="163" y="349"/>
                    <a:pt x="165" y="349"/>
                  </a:cubicBezTo>
                  <a:cubicBezTo>
                    <a:pt x="165" y="347"/>
                    <a:pt x="165" y="346"/>
                    <a:pt x="165" y="345"/>
                  </a:cubicBezTo>
                  <a:cubicBezTo>
                    <a:pt x="167" y="345"/>
                    <a:pt x="169" y="346"/>
                    <a:pt x="171" y="346"/>
                  </a:cubicBezTo>
                  <a:cubicBezTo>
                    <a:pt x="173" y="346"/>
                    <a:pt x="180" y="347"/>
                    <a:pt x="180" y="344"/>
                  </a:cubicBezTo>
                  <a:cubicBezTo>
                    <a:pt x="179" y="344"/>
                    <a:pt x="178" y="344"/>
                    <a:pt x="177" y="344"/>
                  </a:cubicBezTo>
                  <a:cubicBezTo>
                    <a:pt x="175" y="343"/>
                    <a:pt x="174" y="343"/>
                    <a:pt x="172" y="343"/>
                  </a:cubicBezTo>
                  <a:cubicBezTo>
                    <a:pt x="170" y="343"/>
                    <a:pt x="168" y="342"/>
                    <a:pt x="170" y="339"/>
                  </a:cubicBezTo>
                  <a:cubicBezTo>
                    <a:pt x="171" y="339"/>
                    <a:pt x="172" y="340"/>
                    <a:pt x="172" y="339"/>
                  </a:cubicBezTo>
                  <a:cubicBezTo>
                    <a:pt x="172" y="339"/>
                    <a:pt x="173" y="338"/>
                    <a:pt x="173" y="338"/>
                  </a:cubicBezTo>
                  <a:cubicBezTo>
                    <a:pt x="173" y="337"/>
                    <a:pt x="174" y="336"/>
                    <a:pt x="175" y="336"/>
                  </a:cubicBezTo>
                  <a:cubicBezTo>
                    <a:pt x="177" y="334"/>
                    <a:pt x="180" y="336"/>
                    <a:pt x="183" y="335"/>
                  </a:cubicBezTo>
                  <a:cubicBezTo>
                    <a:pt x="184" y="333"/>
                    <a:pt x="184" y="331"/>
                    <a:pt x="183" y="330"/>
                  </a:cubicBezTo>
                  <a:cubicBezTo>
                    <a:pt x="182" y="329"/>
                    <a:pt x="177" y="327"/>
                    <a:pt x="176" y="327"/>
                  </a:cubicBezTo>
                  <a:cubicBezTo>
                    <a:pt x="174" y="327"/>
                    <a:pt x="172" y="329"/>
                    <a:pt x="170" y="329"/>
                  </a:cubicBezTo>
                  <a:cubicBezTo>
                    <a:pt x="169" y="328"/>
                    <a:pt x="169" y="326"/>
                    <a:pt x="167" y="325"/>
                  </a:cubicBezTo>
                  <a:cubicBezTo>
                    <a:pt x="166" y="325"/>
                    <a:pt x="166" y="326"/>
                    <a:pt x="165" y="326"/>
                  </a:cubicBezTo>
                  <a:cubicBezTo>
                    <a:pt x="164" y="326"/>
                    <a:pt x="161" y="324"/>
                    <a:pt x="161" y="323"/>
                  </a:cubicBezTo>
                  <a:cubicBezTo>
                    <a:pt x="160" y="321"/>
                    <a:pt x="161" y="319"/>
                    <a:pt x="161" y="318"/>
                  </a:cubicBezTo>
                  <a:cubicBezTo>
                    <a:pt x="161" y="317"/>
                    <a:pt x="160" y="316"/>
                    <a:pt x="160" y="315"/>
                  </a:cubicBezTo>
                  <a:cubicBezTo>
                    <a:pt x="159" y="313"/>
                    <a:pt x="160" y="313"/>
                    <a:pt x="161" y="312"/>
                  </a:cubicBezTo>
                  <a:cubicBezTo>
                    <a:pt x="162" y="310"/>
                    <a:pt x="162" y="311"/>
                    <a:pt x="162" y="309"/>
                  </a:cubicBezTo>
                  <a:cubicBezTo>
                    <a:pt x="162" y="305"/>
                    <a:pt x="162" y="304"/>
                    <a:pt x="159" y="301"/>
                  </a:cubicBezTo>
                  <a:cubicBezTo>
                    <a:pt x="157" y="300"/>
                    <a:pt x="154" y="299"/>
                    <a:pt x="155" y="296"/>
                  </a:cubicBezTo>
                  <a:moveTo>
                    <a:pt x="158" y="293"/>
                  </a:moveTo>
                  <a:cubicBezTo>
                    <a:pt x="156" y="293"/>
                    <a:pt x="155" y="294"/>
                    <a:pt x="155" y="296"/>
                  </a:cubicBezTo>
                  <a:cubicBezTo>
                    <a:pt x="156" y="296"/>
                    <a:pt x="157" y="295"/>
                    <a:pt x="158" y="294"/>
                  </a:cubicBezTo>
                  <a:cubicBezTo>
                    <a:pt x="158" y="293"/>
                    <a:pt x="158" y="293"/>
                    <a:pt x="158" y="293"/>
                  </a:cubicBezTo>
                  <a:moveTo>
                    <a:pt x="0" y="153"/>
                  </a:moveTo>
                  <a:cubicBezTo>
                    <a:pt x="0" y="154"/>
                    <a:pt x="0" y="155"/>
                    <a:pt x="0" y="156"/>
                  </a:cubicBezTo>
                  <a:cubicBezTo>
                    <a:pt x="0" y="158"/>
                    <a:pt x="1" y="159"/>
                    <a:pt x="1" y="161"/>
                  </a:cubicBezTo>
                  <a:cubicBezTo>
                    <a:pt x="2" y="163"/>
                    <a:pt x="2" y="164"/>
                    <a:pt x="2" y="165"/>
                  </a:cubicBezTo>
                  <a:cubicBezTo>
                    <a:pt x="2" y="169"/>
                    <a:pt x="2" y="171"/>
                    <a:pt x="4" y="174"/>
                  </a:cubicBezTo>
                  <a:cubicBezTo>
                    <a:pt x="6" y="176"/>
                    <a:pt x="7" y="179"/>
                    <a:pt x="8" y="181"/>
                  </a:cubicBezTo>
                  <a:cubicBezTo>
                    <a:pt x="10" y="183"/>
                    <a:pt x="13" y="182"/>
                    <a:pt x="15" y="182"/>
                  </a:cubicBezTo>
                  <a:cubicBezTo>
                    <a:pt x="18" y="184"/>
                    <a:pt x="18" y="188"/>
                    <a:pt x="18" y="191"/>
                  </a:cubicBezTo>
                  <a:cubicBezTo>
                    <a:pt x="19" y="196"/>
                    <a:pt x="23" y="197"/>
                    <a:pt x="26" y="200"/>
                  </a:cubicBezTo>
                  <a:cubicBezTo>
                    <a:pt x="28" y="202"/>
                    <a:pt x="29" y="204"/>
                    <a:pt x="30" y="207"/>
                  </a:cubicBezTo>
                  <a:cubicBezTo>
                    <a:pt x="33" y="208"/>
                    <a:pt x="33" y="202"/>
                    <a:pt x="34" y="200"/>
                  </a:cubicBezTo>
                  <a:cubicBezTo>
                    <a:pt x="35" y="199"/>
                    <a:pt x="39" y="198"/>
                    <a:pt x="41" y="199"/>
                  </a:cubicBezTo>
                  <a:cubicBezTo>
                    <a:pt x="43" y="200"/>
                    <a:pt x="42" y="204"/>
                    <a:pt x="43" y="205"/>
                  </a:cubicBezTo>
                  <a:cubicBezTo>
                    <a:pt x="45" y="207"/>
                    <a:pt x="48" y="205"/>
                    <a:pt x="51" y="206"/>
                  </a:cubicBezTo>
                  <a:cubicBezTo>
                    <a:pt x="53" y="206"/>
                    <a:pt x="53" y="207"/>
                    <a:pt x="54" y="209"/>
                  </a:cubicBezTo>
                  <a:cubicBezTo>
                    <a:pt x="57" y="214"/>
                    <a:pt x="54" y="217"/>
                    <a:pt x="48" y="216"/>
                  </a:cubicBezTo>
                  <a:cubicBezTo>
                    <a:pt x="48" y="214"/>
                    <a:pt x="49" y="211"/>
                    <a:pt x="48" y="210"/>
                  </a:cubicBezTo>
                  <a:cubicBezTo>
                    <a:pt x="47" y="208"/>
                    <a:pt x="38" y="209"/>
                    <a:pt x="36" y="210"/>
                  </a:cubicBezTo>
                  <a:cubicBezTo>
                    <a:pt x="30" y="211"/>
                    <a:pt x="32" y="215"/>
                    <a:pt x="32" y="220"/>
                  </a:cubicBezTo>
                  <a:cubicBezTo>
                    <a:pt x="30" y="219"/>
                    <a:pt x="30" y="216"/>
                    <a:pt x="28" y="215"/>
                  </a:cubicBezTo>
                  <a:cubicBezTo>
                    <a:pt x="25" y="215"/>
                    <a:pt x="23" y="218"/>
                    <a:pt x="22" y="220"/>
                  </a:cubicBezTo>
                  <a:cubicBezTo>
                    <a:pt x="21" y="222"/>
                    <a:pt x="22" y="223"/>
                    <a:pt x="20" y="224"/>
                  </a:cubicBezTo>
                  <a:cubicBezTo>
                    <a:pt x="18" y="227"/>
                    <a:pt x="14" y="230"/>
                    <a:pt x="15" y="233"/>
                  </a:cubicBezTo>
                  <a:cubicBezTo>
                    <a:pt x="19" y="234"/>
                    <a:pt x="20" y="238"/>
                    <a:pt x="24" y="239"/>
                  </a:cubicBezTo>
                  <a:cubicBezTo>
                    <a:pt x="25" y="239"/>
                    <a:pt x="28" y="238"/>
                    <a:pt x="29" y="236"/>
                  </a:cubicBezTo>
                  <a:cubicBezTo>
                    <a:pt x="31" y="233"/>
                    <a:pt x="29" y="233"/>
                    <a:pt x="28" y="231"/>
                  </a:cubicBezTo>
                  <a:cubicBezTo>
                    <a:pt x="27" y="230"/>
                    <a:pt x="28" y="227"/>
                    <a:pt x="28" y="226"/>
                  </a:cubicBezTo>
                  <a:cubicBezTo>
                    <a:pt x="29" y="226"/>
                    <a:pt x="30" y="227"/>
                    <a:pt x="32" y="226"/>
                  </a:cubicBezTo>
                  <a:cubicBezTo>
                    <a:pt x="32" y="224"/>
                    <a:pt x="32" y="223"/>
                    <a:pt x="34" y="224"/>
                  </a:cubicBezTo>
                  <a:cubicBezTo>
                    <a:pt x="34" y="225"/>
                    <a:pt x="34" y="226"/>
                    <a:pt x="34" y="227"/>
                  </a:cubicBezTo>
                  <a:cubicBezTo>
                    <a:pt x="35" y="227"/>
                    <a:pt x="36" y="227"/>
                    <a:pt x="37" y="227"/>
                  </a:cubicBezTo>
                  <a:cubicBezTo>
                    <a:pt x="40" y="230"/>
                    <a:pt x="40" y="232"/>
                    <a:pt x="40" y="236"/>
                  </a:cubicBezTo>
                  <a:cubicBezTo>
                    <a:pt x="40" y="238"/>
                    <a:pt x="39" y="240"/>
                    <a:pt x="40" y="242"/>
                  </a:cubicBezTo>
                  <a:cubicBezTo>
                    <a:pt x="41" y="243"/>
                    <a:pt x="44" y="245"/>
                    <a:pt x="46" y="246"/>
                  </a:cubicBezTo>
                  <a:cubicBezTo>
                    <a:pt x="48" y="247"/>
                    <a:pt x="49" y="247"/>
                    <a:pt x="48" y="250"/>
                  </a:cubicBezTo>
                  <a:cubicBezTo>
                    <a:pt x="47" y="252"/>
                    <a:pt x="46" y="252"/>
                    <a:pt x="46" y="254"/>
                  </a:cubicBezTo>
                  <a:cubicBezTo>
                    <a:pt x="45" y="258"/>
                    <a:pt x="46" y="261"/>
                    <a:pt x="51" y="261"/>
                  </a:cubicBezTo>
                  <a:cubicBezTo>
                    <a:pt x="54" y="262"/>
                    <a:pt x="57" y="260"/>
                    <a:pt x="59" y="258"/>
                  </a:cubicBezTo>
                  <a:cubicBezTo>
                    <a:pt x="61" y="257"/>
                    <a:pt x="63" y="256"/>
                    <a:pt x="65" y="256"/>
                  </a:cubicBezTo>
                  <a:cubicBezTo>
                    <a:pt x="67" y="256"/>
                    <a:pt x="68" y="256"/>
                    <a:pt x="69" y="257"/>
                  </a:cubicBezTo>
                  <a:cubicBezTo>
                    <a:pt x="70" y="258"/>
                    <a:pt x="69" y="260"/>
                    <a:pt x="71" y="260"/>
                  </a:cubicBezTo>
                  <a:cubicBezTo>
                    <a:pt x="71" y="255"/>
                    <a:pt x="77" y="260"/>
                    <a:pt x="79" y="260"/>
                  </a:cubicBezTo>
                  <a:cubicBezTo>
                    <a:pt x="81" y="260"/>
                    <a:pt x="83" y="258"/>
                    <a:pt x="86" y="258"/>
                  </a:cubicBezTo>
                  <a:cubicBezTo>
                    <a:pt x="88" y="258"/>
                    <a:pt x="91" y="259"/>
                    <a:pt x="91" y="256"/>
                  </a:cubicBezTo>
                  <a:cubicBezTo>
                    <a:pt x="95" y="256"/>
                    <a:pt x="100" y="256"/>
                    <a:pt x="103" y="258"/>
                  </a:cubicBezTo>
                  <a:cubicBezTo>
                    <a:pt x="107" y="259"/>
                    <a:pt x="110" y="262"/>
                    <a:pt x="115" y="262"/>
                  </a:cubicBezTo>
                  <a:cubicBezTo>
                    <a:pt x="116" y="262"/>
                    <a:pt x="117" y="262"/>
                    <a:pt x="118" y="262"/>
                  </a:cubicBezTo>
                  <a:cubicBezTo>
                    <a:pt x="119" y="262"/>
                    <a:pt x="119" y="261"/>
                    <a:pt x="120" y="261"/>
                  </a:cubicBezTo>
                  <a:cubicBezTo>
                    <a:pt x="121" y="260"/>
                    <a:pt x="123" y="259"/>
                    <a:pt x="124" y="259"/>
                  </a:cubicBezTo>
                  <a:cubicBezTo>
                    <a:pt x="126" y="259"/>
                    <a:pt x="125" y="261"/>
                    <a:pt x="126" y="263"/>
                  </a:cubicBezTo>
                  <a:cubicBezTo>
                    <a:pt x="127" y="265"/>
                    <a:pt x="129" y="267"/>
                    <a:pt x="132" y="266"/>
                  </a:cubicBezTo>
                  <a:cubicBezTo>
                    <a:pt x="133" y="264"/>
                    <a:pt x="131" y="260"/>
                    <a:pt x="134" y="259"/>
                  </a:cubicBezTo>
                  <a:cubicBezTo>
                    <a:pt x="138" y="259"/>
                    <a:pt x="137" y="267"/>
                    <a:pt x="139" y="269"/>
                  </a:cubicBezTo>
                  <a:cubicBezTo>
                    <a:pt x="139" y="266"/>
                    <a:pt x="139" y="266"/>
                    <a:pt x="141" y="266"/>
                  </a:cubicBezTo>
                  <a:cubicBezTo>
                    <a:pt x="144" y="265"/>
                    <a:pt x="146" y="267"/>
                    <a:pt x="148" y="268"/>
                  </a:cubicBezTo>
                  <a:cubicBezTo>
                    <a:pt x="150" y="270"/>
                    <a:pt x="152" y="270"/>
                    <a:pt x="155" y="271"/>
                  </a:cubicBezTo>
                  <a:cubicBezTo>
                    <a:pt x="157" y="272"/>
                    <a:pt x="159" y="274"/>
                    <a:pt x="161" y="275"/>
                  </a:cubicBezTo>
                  <a:cubicBezTo>
                    <a:pt x="164" y="276"/>
                    <a:pt x="167" y="275"/>
                    <a:pt x="170" y="275"/>
                  </a:cubicBezTo>
                  <a:cubicBezTo>
                    <a:pt x="172" y="275"/>
                    <a:pt x="173" y="275"/>
                    <a:pt x="171" y="278"/>
                  </a:cubicBezTo>
                  <a:cubicBezTo>
                    <a:pt x="171" y="279"/>
                    <a:pt x="169" y="280"/>
                    <a:pt x="168" y="281"/>
                  </a:cubicBezTo>
                  <a:cubicBezTo>
                    <a:pt x="168" y="282"/>
                    <a:pt x="166" y="283"/>
                    <a:pt x="165" y="283"/>
                  </a:cubicBezTo>
                  <a:cubicBezTo>
                    <a:pt x="163" y="284"/>
                    <a:pt x="161" y="282"/>
                    <a:pt x="158" y="282"/>
                  </a:cubicBezTo>
                  <a:cubicBezTo>
                    <a:pt x="155" y="282"/>
                    <a:pt x="149" y="282"/>
                    <a:pt x="150" y="286"/>
                  </a:cubicBezTo>
                  <a:cubicBezTo>
                    <a:pt x="151" y="288"/>
                    <a:pt x="151" y="288"/>
                    <a:pt x="152" y="289"/>
                  </a:cubicBezTo>
                  <a:cubicBezTo>
                    <a:pt x="153" y="290"/>
                    <a:pt x="152" y="290"/>
                    <a:pt x="153" y="291"/>
                  </a:cubicBezTo>
                  <a:cubicBezTo>
                    <a:pt x="154" y="292"/>
                    <a:pt x="155" y="291"/>
                    <a:pt x="155" y="291"/>
                  </a:cubicBezTo>
                  <a:cubicBezTo>
                    <a:pt x="156" y="292"/>
                    <a:pt x="157" y="292"/>
                    <a:pt x="158" y="293"/>
                  </a:cubicBezTo>
                  <a:cubicBezTo>
                    <a:pt x="159" y="292"/>
                    <a:pt x="160" y="292"/>
                    <a:pt x="161" y="292"/>
                  </a:cubicBezTo>
                  <a:cubicBezTo>
                    <a:pt x="160" y="289"/>
                    <a:pt x="162" y="290"/>
                    <a:pt x="163" y="291"/>
                  </a:cubicBezTo>
                  <a:cubicBezTo>
                    <a:pt x="165" y="291"/>
                    <a:pt x="164" y="292"/>
                    <a:pt x="166" y="292"/>
                  </a:cubicBezTo>
                  <a:cubicBezTo>
                    <a:pt x="169" y="292"/>
                    <a:pt x="171" y="288"/>
                    <a:pt x="175" y="287"/>
                  </a:cubicBezTo>
                  <a:cubicBezTo>
                    <a:pt x="179" y="287"/>
                    <a:pt x="181" y="291"/>
                    <a:pt x="180" y="295"/>
                  </a:cubicBezTo>
                  <a:cubicBezTo>
                    <a:pt x="180" y="297"/>
                    <a:pt x="178" y="299"/>
                    <a:pt x="179" y="302"/>
                  </a:cubicBezTo>
                  <a:cubicBezTo>
                    <a:pt x="181" y="303"/>
                    <a:pt x="184" y="302"/>
                    <a:pt x="187" y="301"/>
                  </a:cubicBezTo>
                  <a:cubicBezTo>
                    <a:pt x="187" y="297"/>
                    <a:pt x="186" y="292"/>
                    <a:pt x="186" y="288"/>
                  </a:cubicBezTo>
                  <a:cubicBezTo>
                    <a:pt x="188" y="287"/>
                    <a:pt x="188" y="288"/>
                    <a:pt x="190" y="289"/>
                  </a:cubicBezTo>
                  <a:cubicBezTo>
                    <a:pt x="191" y="289"/>
                    <a:pt x="194" y="289"/>
                    <a:pt x="195" y="290"/>
                  </a:cubicBezTo>
                  <a:cubicBezTo>
                    <a:pt x="199" y="293"/>
                    <a:pt x="197" y="298"/>
                    <a:pt x="198" y="302"/>
                  </a:cubicBezTo>
                  <a:cubicBezTo>
                    <a:pt x="198" y="305"/>
                    <a:pt x="201" y="309"/>
                    <a:pt x="203" y="311"/>
                  </a:cubicBezTo>
                  <a:cubicBezTo>
                    <a:pt x="206" y="313"/>
                    <a:pt x="208" y="312"/>
                    <a:pt x="211" y="312"/>
                  </a:cubicBezTo>
                  <a:cubicBezTo>
                    <a:pt x="211" y="314"/>
                    <a:pt x="211" y="315"/>
                    <a:pt x="211" y="316"/>
                  </a:cubicBezTo>
                  <a:cubicBezTo>
                    <a:pt x="212" y="317"/>
                    <a:pt x="211" y="318"/>
                    <a:pt x="211" y="320"/>
                  </a:cubicBezTo>
                  <a:cubicBezTo>
                    <a:pt x="212" y="323"/>
                    <a:pt x="213" y="323"/>
                    <a:pt x="216" y="322"/>
                  </a:cubicBezTo>
                  <a:cubicBezTo>
                    <a:pt x="217" y="319"/>
                    <a:pt x="216" y="316"/>
                    <a:pt x="216" y="312"/>
                  </a:cubicBezTo>
                  <a:cubicBezTo>
                    <a:pt x="216" y="309"/>
                    <a:pt x="216" y="306"/>
                    <a:pt x="215" y="303"/>
                  </a:cubicBezTo>
                  <a:cubicBezTo>
                    <a:pt x="215" y="301"/>
                    <a:pt x="214" y="299"/>
                    <a:pt x="214" y="297"/>
                  </a:cubicBezTo>
                  <a:cubicBezTo>
                    <a:pt x="215" y="295"/>
                    <a:pt x="216" y="294"/>
                    <a:pt x="216" y="293"/>
                  </a:cubicBezTo>
                  <a:cubicBezTo>
                    <a:pt x="216" y="291"/>
                    <a:pt x="216" y="288"/>
                    <a:pt x="216" y="287"/>
                  </a:cubicBezTo>
                  <a:cubicBezTo>
                    <a:pt x="215" y="285"/>
                    <a:pt x="214" y="285"/>
                    <a:pt x="214" y="283"/>
                  </a:cubicBezTo>
                  <a:cubicBezTo>
                    <a:pt x="213" y="281"/>
                    <a:pt x="215" y="280"/>
                    <a:pt x="216" y="278"/>
                  </a:cubicBezTo>
                  <a:cubicBezTo>
                    <a:pt x="216" y="277"/>
                    <a:pt x="220" y="272"/>
                    <a:pt x="221" y="272"/>
                  </a:cubicBezTo>
                  <a:cubicBezTo>
                    <a:pt x="223" y="272"/>
                    <a:pt x="226" y="280"/>
                    <a:pt x="227" y="282"/>
                  </a:cubicBezTo>
                  <a:cubicBezTo>
                    <a:pt x="229" y="284"/>
                    <a:pt x="230" y="286"/>
                    <a:pt x="231" y="288"/>
                  </a:cubicBezTo>
                  <a:cubicBezTo>
                    <a:pt x="232" y="291"/>
                    <a:pt x="233" y="291"/>
                    <a:pt x="235" y="293"/>
                  </a:cubicBezTo>
                  <a:cubicBezTo>
                    <a:pt x="237" y="296"/>
                    <a:pt x="238" y="298"/>
                    <a:pt x="241" y="297"/>
                  </a:cubicBezTo>
                  <a:cubicBezTo>
                    <a:pt x="244" y="297"/>
                    <a:pt x="246" y="296"/>
                    <a:pt x="247" y="294"/>
                  </a:cubicBezTo>
                  <a:cubicBezTo>
                    <a:pt x="250" y="292"/>
                    <a:pt x="250" y="286"/>
                    <a:pt x="249" y="283"/>
                  </a:cubicBezTo>
                  <a:cubicBezTo>
                    <a:pt x="247" y="279"/>
                    <a:pt x="241" y="281"/>
                    <a:pt x="238" y="280"/>
                  </a:cubicBezTo>
                  <a:cubicBezTo>
                    <a:pt x="235" y="279"/>
                    <a:pt x="233" y="279"/>
                    <a:pt x="231" y="277"/>
                  </a:cubicBezTo>
                  <a:cubicBezTo>
                    <a:pt x="230" y="276"/>
                    <a:pt x="230" y="274"/>
                    <a:pt x="229" y="273"/>
                  </a:cubicBezTo>
                  <a:cubicBezTo>
                    <a:pt x="228" y="273"/>
                    <a:pt x="226" y="272"/>
                    <a:pt x="225" y="271"/>
                  </a:cubicBezTo>
                  <a:cubicBezTo>
                    <a:pt x="223" y="270"/>
                    <a:pt x="221" y="268"/>
                    <a:pt x="220" y="265"/>
                  </a:cubicBezTo>
                  <a:cubicBezTo>
                    <a:pt x="217" y="261"/>
                    <a:pt x="216" y="258"/>
                    <a:pt x="220" y="254"/>
                  </a:cubicBezTo>
                  <a:cubicBezTo>
                    <a:pt x="222" y="252"/>
                    <a:pt x="224" y="252"/>
                    <a:pt x="224" y="248"/>
                  </a:cubicBezTo>
                  <a:cubicBezTo>
                    <a:pt x="224" y="247"/>
                    <a:pt x="224" y="246"/>
                    <a:pt x="222" y="245"/>
                  </a:cubicBezTo>
                  <a:cubicBezTo>
                    <a:pt x="217" y="242"/>
                    <a:pt x="209" y="241"/>
                    <a:pt x="204" y="238"/>
                  </a:cubicBezTo>
                  <a:cubicBezTo>
                    <a:pt x="203" y="237"/>
                    <a:pt x="203" y="236"/>
                    <a:pt x="202" y="236"/>
                  </a:cubicBezTo>
                  <a:cubicBezTo>
                    <a:pt x="201" y="235"/>
                    <a:pt x="199" y="234"/>
                    <a:pt x="198" y="234"/>
                  </a:cubicBezTo>
                  <a:cubicBezTo>
                    <a:pt x="196" y="233"/>
                    <a:pt x="195" y="232"/>
                    <a:pt x="193" y="231"/>
                  </a:cubicBezTo>
                  <a:cubicBezTo>
                    <a:pt x="190" y="228"/>
                    <a:pt x="183" y="229"/>
                    <a:pt x="182" y="224"/>
                  </a:cubicBezTo>
                  <a:cubicBezTo>
                    <a:pt x="180" y="219"/>
                    <a:pt x="182" y="214"/>
                    <a:pt x="181" y="209"/>
                  </a:cubicBezTo>
                  <a:cubicBezTo>
                    <a:pt x="177" y="210"/>
                    <a:pt x="172" y="209"/>
                    <a:pt x="168" y="210"/>
                  </a:cubicBezTo>
                  <a:cubicBezTo>
                    <a:pt x="167" y="211"/>
                    <a:pt x="165" y="211"/>
                    <a:pt x="164" y="213"/>
                  </a:cubicBezTo>
                  <a:cubicBezTo>
                    <a:pt x="163" y="214"/>
                    <a:pt x="164" y="215"/>
                    <a:pt x="163" y="216"/>
                  </a:cubicBezTo>
                  <a:cubicBezTo>
                    <a:pt x="161" y="218"/>
                    <a:pt x="157" y="218"/>
                    <a:pt x="155" y="218"/>
                  </a:cubicBezTo>
                  <a:cubicBezTo>
                    <a:pt x="151" y="218"/>
                    <a:pt x="145" y="220"/>
                    <a:pt x="145" y="224"/>
                  </a:cubicBezTo>
                  <a:cubicBezTo>
                    <a:pt x="148" y="225"/>
                    <a:pt x="148" y="225"/>
                    <a:pt x="150" y="226"/>
                  </a:cubicBezTo>
                  <a:cubicBezTo>
                    <a:pt x="152" y="228"/>
                    <a:pt x="155" y="229"/>
                    <a:pt x="157" y="229"/>
                  </a:cubicBezTo>
                  <a:cubicBezTo>
                    <a:pt x="158" y="229"/>
                    <a:pt x="159" y="229"/>
                    <a:pt x="160" y="229"/>
                  </a:cubicBezTo>
                  <a:cubicBezTo>
                    <a:pt x="161" y="229"/>
                    <a:pt x="161" y="230"/>
                    <a:pt x="162" y="230"/>
                  </a:cubicBezTo>
                  <a:cubicBezTo>
                    <a:pt x="165" y="231"/>
                    <a:pt x="167" y="230"/>
                    <a:pt x="169" y="231"/>
                  </a:cubicBezTo>
                  <a:cubicBezTo>
                    <a:pt x="170" y="232"/>
                    <a:pt x="172" y="233"/>
                    <a:pt x="172" y="234"/>
                  </a:cubicBezTo>
                  <a:cubicBezTo>
                    <a:pt x="173" y="235"/>
                    <a:pt x="172" y="237"/>
                    <a:pt x="172" y="239"/>
                  </a:cubicBezTo>
                  <a:cubicBezTo>
                    <a:pt x="173" y="241"/>
                    <a:pt x="177" y="241"/>
                    <a:pt x="180" y="242"/>
                  </a:cubicBezTo>
                  <a:cubicBezTo>
                    <a:pt x="182" y="243"/>
                    <a:pt x="189" y="246"/>
                    <a:pt x="189" y="249"/>
                  </a:cubicBezTo>
                  <a:cubicBezTo>
                    <a:pt x="189" y="250"/>
                    <a:pt x="188" y="252"/>
                    <a:pt x="186" y="253"/>
                  </a:cubicBezTo>
                  <a:cubicBezTo>
                    <a:pt x="184" y="254"/>
                    <a:pt x="178" y="254"/>
                    <a:pt x="177" y="252"/>
                  </a:cubicBezTo>
                  <a:cubicBezTo>
                    <a:pt x="176" y="252"/>
                    <a:pt x="177" y="250"/>
                    <a:pt x="176" y="249"/>
                  </a:cubicBezTo>
                  <a:cubicBezTo>
                    <a:pt x="175" y="248"/>
                    <a:pt x="175" y="247"/>
                    <a:pt x="174" y="246"/>
                  </a:cubicBezTo>
                  <a:cubicBezTo>
                    <a:pt x="170" y="244"/>
                    <a:pt x="167" y="241"/>
                    <a:pt x="164" y="239"/>
                  </a:cubicBezTo>
                  <a:cubicBezTo>
                    <a:pt x="163" y="238"/>
                    <a:pt x="161" y="237"/>
                    <a:pt x="160" y="236"/>
                  </a:cubicBezTo>
                  <a:cubicBezTo>
                    <a:pt x="158" y="234"/>
                    <a:pt x="157" y="234"/>
                    <a:pt x="154" y="233"/>
                  </a:cubicBezTo>
                  <a:cubicBezTo>
                    <a:pt x="151" y="232"/>
                    <a:pt x="148" y="229"/>
                    <a:pt x="145" y="228"/>
                  </a:cubicBezTo>
                  <a:cubicBezTo>
                    <a:pt x="142" y="228"/>
                    <a:pt x="132" y="227"/>
                    <a:pt x="133" y="223"/>
                  </a:cubicBezTo>
                  <a:cubicBezTo>
                    <a:pt x="133" y="219"/>
                    <a:pt x="139" y="221"/>
                    <a:pt x="141" y="221"/>
                  </a:cubicBezTo>
                  <a:cubicBezTo>
                    <a:pt x="145" y="222"/>
                    <a:pt x="146" y="221"/>
                    <a:pt x="149" y="219"/>
                  </a:cubicBezTo>
                  <a:cubicBezTo>
                    <a:pt x="152" y="217"/>
                    <a:pt x="157" y="217"/>
                    <a:pt x="161" y="215"/>
                  </a:cubicBezTo>
                  <a:cubicBezTo>
                    <a:pt x="157" y="216"/>
                    <a:pt x="157" y="209"/>
                    <a:pt x="157" y="207"/>
                  </a:cubicBezTo>
                  <a:cubicBezTo>
                    <a:pt x="157" y="205"/>
                    <a:pt x="156" y="205"/>
                    <a:pt x="156" y="204"/>
                  </a:cubicBezTo>
                  <a:cubicBezTo>
                    <a:pt x="155" y="202"/>
                    <a:pt x="156" y="202"/>
                    <a:pt x="155" y="200"/>
                  </a:cubicBezTo>
                  <a:cubicBezTo>
                    <a:pt x="153" y="198"/>
                    <a:pt x="150" y="196"/>
                    <a:pt x="150" y="193"/>
                  </a:cubicBezTo>
                  <a:cubicBezTo>
                    <a:pt x="151" y="191"/>
                    <a:pt x="153" y="189"/>
                    <a:pt x="154" y="188"/>
                  </a:cubicBezTo>
                  <a:cubicBezTo>
                    <a:pt x="157" y="185"/>
                    <a:pt x="161" y="186"/>
                    <a:pt x="163" y="189"/>
                  </a:cubicBezTo>
                  <a:cubicBezTo>
                    <a:pt x="165" y="192"/>
                    <a:pt x="163" y="199"/>
                    <a:pt x="166" y="201"/>
                  </a:cubicBezTo>
                  <a:cubicBezTo>
                    <a:pt x="168" y="202"/>
                    <a:pt x="174" y="199"/>
                    <a:pt x="175" y="198"/>
                  </a:cubicBezTo>
                  <a:cubicBezTo>
                    <a:pt x="178" y="197"/>
                    <a:pt x="177" y="193"/>
                    <a:pt x="175" y="192"/>
                  </a:cubicBezTo>
                  <a:cubicBezTo>
                    <a:pt x="173" y="190"/>
                    <a:pt x="171" y="189"/>
                    <a:pt x="170" y="187"/>
                  </a:cubicBezTo>
                  <a:cubicBezTo>
                    <a:pt x="169" y="185"/>
                    <a:pt x="169" y="184"/>
                    <a:pt x="168" y="182"/>
                  </a:cubicBezTo>
                  <a:cubicBezTo>
                    <a:pt x="166" y="181"/>
                    <a:pt x="164" y="179"/>
                    <a:pt x="163" y="177"/>
                  </a:cubicBezTo>
                  <a:cubicBezTo>
                    <a:pt x="161" y="175"/>
                    <a:pt x="160" y="172"/>
                    <a:pt x="158" y="170"/>
                  </a:cubicBezTo>
                  <a:cubicBezTo>
                    <a:pt x="158" y="169"/>
                    <a:pt x="157" y="169"/>
                    <a:pt x="156" y="168"/>
                  </a:cubicBezTo>
                  <a:cubicBezTo>
                    <a:pt x="156" y="167"/>
                    <a:pt x="156" y="167"/>
                    <a:pt x="155" y="166"/>
                  </a:cubicBezTo>
                  <a:cubicBezTo>
                    <a:pt x="154" y="165"/>
                    <a:pt x="151" y="166"/>
                    <a:pt x="150" y="165"/>
                  </a:cubicBezTo>
                  <a:cubicBezTo>
                    <a:pt x="149" y="165"/>
                    <a:pt x="147" y="163"/>
                    <a:pt x="146" y="162"/>
                  </a:cubicBezTo>
                  <a:cubicBezTo>
                    <a:pt x="144" y="160"/>
                    <a:pt x="143" y="158"/>
                    <a:pt x="143" y="155"/>
                  </a:cubicBezTo>
                  <a:cubicBezTo>
                    <a:pt x="142" y="152"/>
                    <a:pt x="143" y="150"/>
                    <a:pt x="143" y="148"/>
                  </a:cubicBezTo>
                  <a:cubicBezTo>
                    <a:pt x="143" y="144"/>
                    <a:pt x="143" y="143"/>
                    <a:pt x="141" y="140"/>
                  </a:cubicBezTo>
                  <a:cubicBezTo>
                    <a:pt x="139" y="138"/>
                    <a:pt x="138" y="136"/>
                    <a:pt x="137" y="133"/>
                  </a:cubicBezTo>
                  <a:cubicBezTo>
                    <a:pt x="136" y="132"/>
                    <a:pt x="135" y="131"/>
                    <a:pt x="134" y="129"/>
                  </a:cubicBezTo>
                  <a:cubicBezTo>
                    <a:pt x="131" y="126"/>
                    <a:pt x="131" y="120"/>
                    <a:pt x="132" y="116"/>
                  </a:cubicBezTo>
                  <a:cubicBezTo>
                    <a:pt x="132" y="113"/>
                    <a:pt x="135" y="111"/>
                    <a:pt x="135" y="109"/>
                  </a:cubicBezTo>
                  <a:cubicBezTo>
                    <a:pt x="135" y="107"/>
                    <a:pt x="135" y="105"/>
                    <a:pt x="135" y="104"/>
                  </a:cubicBezTo>
                  <a:cubicBezTo>
                    <a:pt x="135" y="102"/>
                    <a:pt x="136" y="97"/>
                    <a:pt x="133" y="97"/>
                  </a:cubicBezTo>
                  <a:cubicBezTo>
                    <a:pt x="135" y="91"/>
                    <a:pt x="138" y="86"/>
                    <a:pt x="144" y="83"/>
                  </a:cubicBezTo>
                  <a:cubicBezTo>
                    <a:pt x="147" y="82"/>
                    <a:pt x="155" y="79"/>
                    <a:pt x="157" y="84"/>
                  </a:cubicBezTo>
                  <a:cubicBezTo>
                    <a:pt x="157" y="86"/>
                    <a:pt x="157" y="88"/>
                    <a:pt x="157" y="90"/>
                  </a:cubicBezTo>
                  <a:cubicBezTo>
                    <a:pt x="157" y="92"/>
                    <a:pt x="158" y="93"/>
                    <a:pt x="157" y="95"/>
                  </a:cubicBezTo>
                  <a:cubicBezTo>
                    <a:pt x="157" y="95"/>
                    <a:pt x="157" y="95"/>
                    <a:pt x="156" y="96"/>
                  </a:cubicBezTo>
                  <a:cubicBezTo>
                    <a:pt x="156" y="96"/>
                    <a:pt x="155" y="96"/>
                    <a:pt x="155" y="96"/>
                  </a:cubicBezTo>
                  <a:cubicBezTo>
                    <a:pt x="153" y="101"/>
                    <a:pt x="158" y="105"/>
                    <a:pt x="162" y="106"/>
                  </a:cubicBezTo>
                  <a:cubicBezTo>
                    <a:pt x="164" y="108"/>
                    <a:pt x="166" y="108"/>
                    <a:pt x="168" y="110"/>
                  </a:cubicBezTo>
                  <a:cubicBezTo>
                    <a:pt x="170" y="112"/>
                    <a:pt x="172" y="113"/>
                    <a:pt x="173" y="115"/>
                  </a:cubicBezTo>
                  <a:cubicBezTo>
                    <a:pt x="176" y="116"/>
                    <a:pt x="177" y="116"/>
                    <a:pt x="177" y="119"/>
                  </a:cubicBezTo>
                  <a:cubicBezTo>
                    <a:pt x="177" y="123"/>
                    <a:pt x="176" y="127"/>
                    <a:pt x="175" y="131"/>
                  </a:cubicBezTo>
                  <a:cubicBezTo>
                    <a:pt x="175" y="132"/>
                    <a:pt x="175" y="135"/>
                    <a:pt x="175" y="137"/>
                  </a:cubicBezTo>
                  <a:cubicBezTo>
                    <a:pt x="176" y="138"/>
                    <a:pt x="177" y="138"/>
                    <a:pt x="178" y="138"/>
                  </a:cubicBezTo>
                  <a:cubicBezTo>
                    <a:pt x="183" y="139"/>
                    <a:pt x="189" y="140"/>
                    <a:pt x="194" y="140"/>
                  </a:cubicBezTo>
                  <a:cubicBezTo>
                    <a:pt x="194" y="136"/>
                    <a:pt x="194" y="134"/>
                    <a:pt x="190" y="133"/>
                  </a:cubicBezTo>
                  <a:cubicBezTo>
                    <a:pt x="187" y="132"/>
                    <a:pt x="186" y="132"/>
                    <a:pt x="184" y="128"/>
                  </a:cubicBezTo>
                  <a:cubicBezTo>
                    <a:pt x="183" y="125"/>
                    <a:pt x="180" y="121"/>
                    <a:pt x="180" y="118"/>
                  </a:cubicBezTo>
                  <a:cubicBezTo>
                    <a:pt x="181" y="114"/>
                    <a:pt x="183" y="116"/>
                    <a:pt x="186" y="116"/>
                  </a:cubicBezTo>
                  <a:cubicBezTo>
                    <a:pt x="187" y="117"/>
                    <a:pt x="188" y="116"/>
                    <a:pt x="190" y="117"/>
                  </a:cubicBezTo>
                  <a:cubicBezTo>
                    <a:pt x="191" y="117"/>
                    <a:pt x="192" y="119"/>
                    <a:pt x="193" y="119"/>
                  </a:cubicBezTo>
                  <a:cubicBezTo>
                    <a:pt x="195" y="121"/>
                    <a:pt x="195" y="123"/>
                    <a:pt x="196" y="124"/>
                  </a:cubicBezTo>
                  <a:cubicBezTo>
                    <a:pt x="196" y="125"/>
                    <a:pt x="197" y="126"/>
                    <a:pt x="198" y="127"/>
                  </a:cubicBezTo>
                  <a:cubicBezTo>
                    <a:pt x="200" y="130"/>
                    <a:pt x="201" y="136"/>
                    <a:pt x="204" y="137"/>
                  </a:cubicBezTo>
                  <a:cubicBezTo>
                    <a:pt x="206" y="138"/>
                    <a:pt x="212" y="137"/>
                    <a:pt x="214" y="137"/>
                  </a:cubicBezTo>
                  <a:cubicBezTo>
                    <a:pt x="215" y="136"/>
                    <a:pt x="215" y="135"/>
                    <a:pt x="214" y="134"/>
                  </a:cubicBezTo>
                  <a:cubicBezTo>
                    <a:pt x="214" y="131"/>
                    <a:pt x="214" y="132"/>
                    <a:pt x="212" y="130"/>
                  </a:cubicBezTo>
                  <a:cubicBezTo>
                    <a:pt x="210" y="128"/>
                    <a:pt x="208" y="126"/>
                    <a:pt x="205" y="123"/>
                  </a:cubicBezTo>
                  <a:cubicBezTo>
                    <a:pt x="202" y="121"/>
                    <a:pt x="194" y="118"/>
                    <a:pt x="196" y="113"/>
                  </a:cubicBezTo>
                  <a:cubicBezTo>
                    <a:pt x="199" y="107"/>
                    <a:pt x="203" y="108"/>
                    <a:pt x="208" y="110"/>
                  </a:cubicBezTo>
                  <a:cubicBezTo>
                    <a:pt x="211" y="111"/>
                    <a:pt x="214" y="111"/>
                    <a:pt x="217" y="112"/>
                  </a:cubicBezTo>
                  <a:cubicBezTo>
                    <a:pt x="219" y="112"/>
                    <a:pt x="220" y="113"/>
                    <a:pt x="221" y="114"/>
                  </a:cubicBezTo>
                  <a:cubicBezTo>
                    <a:pt x="222" y="114"/>
                    <a:pt x="222" y="115"/>
                    <a:pt x="223" y="116"/>
                  </a:cubicBezTo>
                  <a:cubicBezTo>
                    <a:pt x="225" y="117"/>
                    <a:pt x="227" y="119"/>
                    <a:pt x="228" y="121"/>
                  </a:cubicBezTo>
                  <a:cubicBezTo>
                    <a:pt x="229" y="122"/>
                    <a:pt x="230" y="125"/>
                    <a:pt x="232" y="125"/>
                  </a:cubicBezTo>
                  <a:cubicBezTo>
                    <a:pt x="232" y="126"/>
                    <a:pt x="238" y="126"/>
                    <a:pt x="238" y="125"/>
                  </a:cubicBezTo>
                  <a:cubicBezTo>
                    <a:pt x="239" y="124"/>
                    <a:pt x="239" y="123"/>
                    <a:pt x="239" y="122"/>
                  </a:cubicBezTo>
                  <a:cubicBezTo>
                    <a:pt x="238" y="122"/>
                    <a:pt x="238" y="121"/>
                    <a:pt x="238" y="121"/>
                  </a:cubicBezTo>
                  <a:cubicBezTo>
                    <a:pt x="237" y="120"/>
                    <a:pt x="237" y="119"/>
                    <a:pt x="237" y="119"/>
                  </a:cubicBezTo>
                  <a:cubicBezTo>
                    <a:pt x="235" y="116"/>
                    <a:pt x="231" y="115"/>
                    <a:pt x="229" y="113"/>
                  </a:cubicBezTo>
                  <a:cubicBezTo>
                    <a:pt x="226" y="109"/>
                    <a:pt x="223" y="107"/>
                    <a:pt x="218" y="106"/>
                  </a:cubicBezTo>
                  <a:cubicBezTo>
                    <a:pt x="215" y="105"/>
                    <a:pt x="212" y="105"/>
                    <a:pt x="210" y="104"/>
                  </a:cubicBezTo>
                  <a:cubicBezTo>
                    <a:pt x="208" y="104"/>
                    <a:pt x="208" y="103"/>
                    <a:pt x="206" y="103"/>
                  </a:cubicBezTo>
                  <a:cubicBezTo>
                    <a:pt x="205" y="101"/>
                    <a:pt x="206" y="100"/>
                    <a:pt x="207" y="98"/>
                  </a:cubicBezTo>
                  <a:cubicBezTo>
                    <a:pt x="207" y="97"/>
                    <a:pt x="207" y="96"/>
                    <a:pt x="207" y="96"/>
                  </a:cubicBezTo>
                  <a:cubicBezTo>
                    <a:pt x="207" y="94"/>
                    <a:pt x="208" y="93"/>
                    <a:pt x="210" y="92"/>
                  </a:cubicBezTo>
                  <a:cubicBezTo>
                    <a:pt x="207" y="91"/>
                    <a:pt x="208" y="88"/>
                    <a:pt x="207" y="86"/>
                  </a:cubicBezTo>
                  <a:cubicBezTo>
                    <a:pt x="205" y="84"/>
                    <a:pt x="204" y="84"/>
                    <a:pt x="202" y="83"/>
                  </a:cubicBezTo>
                  <a:cubicBezTo>
                    <a:pt x="198" y="80"/>
                    <a:pt x="203" y="75"/>
                    <a:pt x="204" y="72"/>
                  </a:cubicBezTo>
                  <a:cubicBezTo>
                    <a:pt x="205" y="70"/>
                    <a:pt x="207" y="67"/>
                    <a:pt x="209" y="68"/>
                  </a:cubicBezTo>
                  <a:cubicBezTo>
                    <a:pt x="212" y="68"/>
                    <a:pt x="212" y="70"/>
                    <a:pt x="212" y="72"/>
                  </a:cubicBezTo>
                  <a:cubicBezTo>
                    <a:pt x="213" y="75"/>
                    <a:pt x="213" y="75"/>
                    <a:pt x="217" y="76"/>
                  </a:cubicBezTo>
                  <a:cubicBezTo>
                    <a:pt x="219" y="76"/>
                    <a:pt x="220" y="76"/>
                    <a:pt x="223" y="76"/>
                  </a:cubicBezTo>
                  <a:cubicBezTo>
                    <a:pt x="225" y="75"/>
                    <a:pt x="226" y="73"/>
                    <a:pt x="228" y="72"/>
                  </a:cubicBezTo>
                  <a:cubicBezTo>
                    <a:pt x="230" y="71"/>
                    <a:pt x="232" y="70"/>
                    <a:pt x="234" y="70"/>
                  </a:cubicBezTo>
                  <a:cubicBezTo>
                    <a:pt x="237" y="68"/>
                    <a:pt x="237" y="65"/>
                    <a:pt x="239" y="62"/>
                  </a:cubicBezTo>
                  <a:cubicBezTo>
                    <a:pt x="240" y="60"/>
                    <a:pt x="241" y="59"/>
                    <a:pt x="243" y="59"/>
                  </a:cubicBezTo>
                  <a:cubicBezTo>
                    <a:pt x="245" y="59"/>
                    <a:pt x="247" y="60"/>
                    <a:pt x="249" y="61"/>
                  </a:cubicBezTo>
                  <a:cubicBezTo>
                    <a:pt x="250" y="61"/>
                    <a:pt x="251" y="61"/>
                    <a:pt x="252" y="61"/>
                  </a:cubicBezTo>
                  <a:cubicBezTo>
                    <a:pt x="255" y="61"/>
                    <a:pt x="257" y="63"/>
                    <a:pt x="259" y="63"/>
                  </a:cubicBezTo>
                  <a:cubicBezTo>
                    <a:pt x="262" y="64"/>
                    <a:pt x="267" y="63"/>
                    <a:pt x="269" y="61"/>
                  </a:cubicBezTo>
                  <a:cubicBezTo>
                    <a:pt x="271" y="59"/>
                    <a:pt x="272" y="54"/>
                    <a:pt x="275" y="53"/>
                  </a:cubicBezTo>
                  <a:cubicBezTo>
                    <a:pt x="280" y="52"/>
                    <a:pt x="279" y="56"/>
                    <a:pt x="279" y="59"/>
                  </a:cubicBezTo>
                  <a:cubicBezTo>
                    <a:pt x="278" y="62"/>
                    <a:pt x="279" y="62"/>
                    <a:pt x="282" y="63"/>
                  </a:cubicBezTo>
                  <a:cubicBezTo>
                    <a:pt x="283" y="63"/>
                    <a:pt x="284" y="65"/>
                    <a:pt x="285" y="66"/>
                  </a:cubicBezTo>
                  <a:cubicBezTo>
                    <a:pt x="288" y="68"/>
                    <a:pt x="293" y="70"/>
                    <a:pt x="297" y="70"/>
                  </a:cubicBezTo>
                  <a:cubicBezTo>
                    <a:pt x="303" y="70"/>
                    <a:pt x="309" y="70"/>
                    <a:pt x="315" y="70"/>
                  </a:cubicBezTo>
                  <a:cubicBezTo>
                    <a:pt x="317" y="70"/>
                    <a:pt x="318" y="70"/>
                    <a:pt x="320" y="71"/>
                  </a:cubicBezTo>
                  <a:cubicBezTo>
                    <a:pt x="323" y="72"/>
                    <a:pt x="326" y="73"/>
                    <a:pt x="328" y="74"/>
                  </a:cubicBezTo>
                  <a:cubicBezTo>
                    <a:pt x="329" y="75"/>
                    <a:pt x="333" y="79"/>
                    <a:pt x="333" y="79"/>
                  </a:cubicBezTo>
                  <a:cubicBezTo>
                    <a:pt x="335" y="79"/>
                    <a:pt x="335" y="77"/>
                    <a:pt x="336" y="75"/>
                  </a:cubicBezTo>
                  <a:cubicBezTo>
                    <a:pt x="338" y="72"/>
                    <a:pt x="339" y="69"/>
                    <a:pt x="342" y="67"/>
                  </a:cubicBezTo>
                  <a:cubicBezTo>
                    <a:pt x="344" y="65"/>
                    <a:pt x="348" y="63"/>
                    <a:pt x="349" y="61"/>
                  </a:cubicBezTo>
                  <a:cubicBezTo>
                    <a:pt x="350" y="59"/>
                    <a:pt x="350" y="59"/>
                    <a:pt x="350" y="57"/>
                  </a:cubicBezTo>
                  <a:cubicBezTo>
                    <a:pt x="350" y="53"/>
                    <a:pt x="351" y="50"/>
                    <a:pt x="351" y="46"/>
                  </a:cubicBezTo>
                  <a:cubicBezTo>
                    <a:pt x="351" y="42"/>
                    <a:pt x="351" y="37"/>
                    <a:pt x="355" y="35"/>
                  </a:cubicBezTo>
                  <a:cubicBezTo>
                    <a:pt x="357" y="33"/>
                    <a:pt x="362" y="35"/>
                    <a:pt x="364" y="33"/>
                  </a:cubicBezTo>
                  <a:cubicBezTo>
                    <a:pt x="368" y="31"/>
                    <a:pt x="366" y="26"/>
                    <a:pt x="366" y="22"/>
                  </a:cubicBezTo>
                  <a:cubicBezTo>
                    <a:pt x="365" y="18"/>
                    <a:pt x="365" y="15"/>
                    <a:pt x="365" y="10"/>
                  </a:cubicBezTo>
                  <a:cubicBezTo>
                    <a:pt x="365" y="6"/>
                    <a:pt x="362" y="7"/>
                    <a:pt x="359" y="6"/>
                  </a:cubicBezTo>
                  <a:cubicBezTo>
                    <a:pt x="357" y="5"/>
                    <a:pt x="356" y="3"/>
                    <a:pt x="354" y="2"/>
                  </a:cubicBezTo>
                  <a:cubicBezTo>
                    <a:pt x="354" y="3"/>
                    <a:pt x="354" y="4"/>
                    <a:pt x="354" y="5"/>
                  </a:cubicBezTo>
                  <a:cubicBezTo>
                    <a:pt x="351" y="5"/>
                    <a:pt x="348" y="3"/>
                    <a:pt x="346" y="3"/>
                  </a:cubicBezTo>
                  <a:cubicBezTo>
                    <a:pt x="344" y="2"/>
                    <a:pt x="342" y="0"/>
                    <a:pt x="340" y="0"/>
                  </a:cubicBezTo>
                  <a:cubicBezTo>
                    <a:pt x="336" y="0"/>
                    <a:pt x="333" y="2"/>
                    <a:pt x="334" y="6"/>
                  </a:cubicBezTo>
                  <a:cubicBezTo>
                    <a:pt x="335" y="9"/>
                    <a:pt x="338" y="10"/>
                    <a:pt x="338" y="13"/>
                  </a:cubicBezTo>
                  <a:cubicBezTo>
                    <a:pt x="338" y="15"/>
                    <a:pt x="339" y="16"/>
                    <a:pt x="338" y="18"/>
                  </a:cubicBezTo>
                  <a:cubicBezTo>
                    <a:pt x="338" y="19"/>
                    <a:pt x="337" y="19"/>
                    <a:pt x="337" y="21"/>
                  </a:cubicBezTo>
                  <a:cubicBezTo>
                    <a:pt x="337" y="21"/>
                    <a:pt x="337" y="22"/>
                    <a:pt x="337" y="22"/>
                  </a:cubicBezTo>
                  <a:cubicBezTo>
                    <a:pt x="337" y="25"/>
                    <a:pt x="338" y="28"/>
                    <a:pt x="336" y="30"/>
                  </a:cubicBezTo>
                  <a:cubicBezTo>
                    <a:pt x="335" y="30"/>
                    <a:pt x="334" y="30"/>
                    <a:pt x="333" y="31"/>
                  </a:cubicBezTo>
                  <a:cubicBezTo>
                    <a:pt x="332" y="31"/>
                    <a:pt x="331" y="32"/>
                    <a:pt x="330" y="33"/>
                  </a:cubicBezTo>
                  <a:cubicBezTo>
                    <a:pt x="329" y="33"/>
                    <a:pt x="327" y="34"/>
                    <a:pt x="326" y="34"/>
                  </a:cubicBezTo>
                  <a:cubicBezTo>
                    <a:pt x="323" y="35"/>
                    <a:pt x="322" y="34"/>
                    <a:pt x="320" y="33"/>
                  </a:cubicBezTo>
                  <a:cubicBezTo>
                    <a:pt x="319" y="33"/>
                    <a:pt x="318" y="32"/>
                    <a:pt x="317" y="32"/>
                  </a:cubicBezTo>
                  <a:cubicBezTo>
                    <a:pt x="316" y="32"/>
                    <a:pt x="316" y="32"/>
                    <a:pt x="315" y="33"/>
                  </a:cubicBezTo>
                  <a:cubicBezTo>
                    <a:pt x="312" y="34"/>
                    <a:pt x="310" y="30"/>
                    <a:pt x="307" y="31"/>
                  </a:cubicBezTo>
                  <a:cubicBezTo>
                    <a:pt x="309" y="32"/>
                    <a:pt x="309" y="34"/>
                    <a:pt x="309" y="36"/>
                  </a:cubicBezTo>
                  <a:cubicBezTo>
                    <a:pt x="304" y="36"/>
                    <a:pt x="298" y="37"/>
                    <a:pt x="293" y="37"/>
                  </a:cubicBezTo>
                  <a:cubicBezTo>
                    <a:pt x="291" y="37"/>
                    <a:pt x="289" y="37"/>
                    <a:pt x="287" y="37"/>
                  </a:cubicBezTo>
                  <a:cubicBezTo>
                    <a:pt x="287" y="37"/>
                    <a:pt x="286" y="37"/>
                    <a:pt x="286" y="36"/>
                  </a:cubicBezTo>
                  <a:cubicBezTo>
                    <a:pt x="285" y="36"/>
                    <a:pt x="284" y="37"/>
                    <a:pt x="283" y="36"/>
                  </a:cubicBezTo>
                  <a:cubicBezTo>
                    <a:pt x="282" y="36"/>
                    <a:pt x="281" y="34"/>
                    <a:pt x="279" y="33"/>
                  </a:cubicBezTo>
                  <a:cubicBezTo>
                    <a:pt x="279" y="33"/>
                    <a:pt x="278" y="32"/>
                    <a:pt x="277" y="32"/>
                  </a:cubicBezTo>
                  <a:cubicBezTo>
                    <a:pt x="275" y="32"/>
                    <a:pt x="274" y="33"/>
                    <a:pt x="273" y="31"/>
                  </a:cubicBezTo>
                  <a:cubicBezTo>
                    <a:pt x="272" y="31"/>
                    <a:pt x="271" y="31"/>
                    <a:pt x="270" y="30"/>
                  </a:cubicBezTo>
                  <a:cubicBezTo>
                    <a:pt x="269" y="30"/>
                    <a:pt x="269" y="29"/>
                    <a:pt x="268" y="28"/>
                  </a:cubicBezTo>
                  <a:cubicBezTo>
                    <a:pt x="266" y="28"/>
                    <a:pt x="264" y="29"/>
                    <a:pt x="262" y="29"/>
                  </a:cubicBezTo>
                  <a:cubicBezTo>
                    <a:pt x="261" y="30"/>
                    <a:pt x="261" y="31"/>
                    <a:pt x="260" y="30"/>
                  </a:cubicBezTo>
                  <a:cubicBezTo>
                    <a:pt x="259" y="29"/>
                    <a:pt x="259" y="27"/>
                    <a:pt x="258" y="27"/>
                  </a:cubicBezTo>
                  <a:cubicBezTo>
                    <a:pt x="257" y="26"/>
                    <a:pt x="257" y="26"/>
                    <a:pt x="257" y="26"/>
                  </a:cubicBezTo>
                  <a:cubicBezTo>
                    <a:pt x="256" y="25"/>
                    <a:pt x="255" y="24"/>
                    <a:pt x="255" y="23"/>
                  </a:cubicBezTo>
                  <a:cubicBezTo>
                    <a:pt x="253" y="21"/>
                    <a:pt x="251" y="21"/>
                    <a:pt x="249" y="20"/>
                  </a:cubicBezTo>
                  <a:cubicBezTo>
                    <a:pt x="248" y="20"/>
                    <a:pt x="247" y="19"/>
                    <a:pt x="247" y="18"/>
                  </a:cubicBezTo>
                  <a:cubicBezTo>
                    <a:pt x="247" y="18"/>
                    <a:pt x="246" y="17"/>
                    <a:pt x="246" y="17"/>
                  </a:cubicBezTo>
                  <a:cubicBezTo>
                    <a:pt x="245" y="16"/>
                    <a:pt x="246" y="13"/>
                    <a:pt x="245" y="12"/>
                  </a:cubicBezTo>
                  <a:cubicBezTo>
                    <a:pt x="244" y="11"/>
                    <a:pt x="242" y="12"/>
                    <a:pt x="241" y="13"/>
                  </a:cubicBezTo>
                  <a:cubicBezTo>
                    <a:pt x="241" y="11"/>
                    <a:pt x="240" y="13"/>
                    <a:pt x="239" y="13"/>
                  </a:cubicBezTo>
                  <a:cubicBezTo>
                    <a:pt x="237" y="13"/>
                    <a:pt x="238" y="11"/>
                    <a:pt x="236" y="11"/>
                  </a:cubicBezTo>
                  <a:cubicBezTo>
                    <a:pt x="236" y="12"/>
                    <a:pt x="235" y="11"/>
                    <a:pt x="235" y="12"/>
                  </a:cubicBezTo>
                  <a:cubicBezTo>
                    <a:pt x="234" y="12"/>
                    <a:pt x="234" y="13"/>
                    <a:pt x="234" y="13"/>
                  </a:cubicBezTo>
                  <a:cubicBezTo>
                    <a:pt x="232" y="14"/>
                    <a:pt x="231" y="13"/>
                    <a:pt x="229" y="13"/>
                  </a:cubicBezTo>
                  <a:cubicBezTo>
                    <a:pt x="228" y="13"/>
                    <a:pt x="226" y="13"/>
                    <a:pt x="225" y="13"/>
                  </a:cubicBezTo>
                  <a:cubicBezTo>
                    <a:pt x="224" y="13"/>
                    <a:pt x="223" y="12"/>
                    <a:pt x="222" y="11"/>
                  </a:cubicBezTo>
                  <a:cubicBezTo>
                    <a:pt x="219" y="10"/>
                    <a:pt x="220" y="14"/>
                    <a:pt x="220" y="15"/>
                  </a:cubicBezTo>
                  <a:cubicBezTo>
                    <a:pt x="219" y="18"/>
                    <a:pt x="216" y="19"/>
                    <a:pt x="214" y="17"/>
                  </a:cubicBezTo>
                  <a:cubicBezTo>
                    <a:pt x="213" y="18"/>
                    <a:pt x="212" y="19"/>
                    <a:pt x="211" y="19"/>
                  </a:cubicBezTo>
                  <a:cubicBezTo>
                    <a:pt x="211" y="19"/>
                    <a:pt x="210" y="19"/>
                    <a:pt x="209" y="19"/>
                  </a:cubicBezTo>
                  <a:cubicBezTo>
                    <a:pt x="208" y="19"/>
                    <a:pt x="208" y="20"/>
                    <a:pt x="207" y="21"/>
                  </a:cubicBezTo>
                  <a:cubicBezTo>
                    <a:pt x="206" y="22"/>
                    <a:pt x="203" y="23"/>
                    <a:pt x="201" y="23"/>
                  </a:cubicBezTo>
                  <a:cubicBezTo>
                    <a:pt x="199" y="24"/>
                    <a:pt x="197" y="23"/>
                    <a:pt x="195" y="24"/>
                  </a:cubicBezTo>
                  <a:cubicBezTo>
                    <a:pt x="194" y="24"/>
                    <a:pt x="193" y="24"/>
                    <a:pt x="191" y="24"/>
                  </a:cubicBezTo>
                  <a:cubicBezTo>
                    <a:pt x="190" y="24"/>
                    <a:pt x="189" y="23"/>
                    <a:pt x="188" y="23"/>
                  </a:cubicBezTo>
                  <a:cubicBezTo>
                    <a:pt x="186" y="22"/>
                    <a:pt x="182" y="24"/>
                    <a:pt x="180" y="25"/>
                  </a:cubicBezTo>
                  <a:cubicBezTo>
                    <a:pt x="177" y="26"/>
                    <a:pt x="175" y="26"/>
                    <a:pt x="172" y="26"/>
                  </a:cubicBezTo>
                  <a:cubicBezTo>
                    <a:pt x="170" y="26"/>
                    <a:pt x="168" y="26"/>
                    <a:pt x="167" y="26"/>
                  </a:cubicBezTo>
                  <a:cubicBezTo>
                    <a:pt x="165" y="26"/>
                    <a:pt x="164" y="27"/>
                    <a:pt x="163" y="26"/>
                  </a:cubicBezTo>
                  <a:cubicBezTo>
                    <a:pt x="162" y="25"/>
                    <a:pt x="162" y="24"/>
                    <a:pt x="161" y="24"/>
                  </a:cubicBezTo>
                  <a:cubicBezTo>
                    <a:pt x="160" y="23"/>
                    <a:pt x="159" y="22"/>
                    <a:pt x="158" y="21"/>
                  </a:cubicBezTo>
                  <a:cubicBezTo>
                    <a:pt x="158" y="21"/>
                    <a:pt x="158" y="21"/>
                    <a:pt x="158" y="21"/>
                  </a:cubicBezTo>
                  <a:cubicBezTo>
                    <a:pt x="158" y="21"/>
                    <a:pt x="157" y="21"/>
                    <a:pt x="157" y="21"/>
                  </a:cubicBezTo>
                  <a:cubicBezTo>
                    <a:pt x="157" y="22"/>
                    <a:pt x="156" y="22"/>
                    <a:pt x="155" y="22"/>
                  </a:cubicBezTo>
                  <a:cubicBezTo>
                    <a:pt x="154" y="23"/>
                    <a:pt x="154" y="23"/>
                    <a:pt x="153" y="24"/>
                  </a:cubicBezTo>
                  <a:cubicBezTo>
                    <a:pt x="152" y="24"/>
                    <a:pt x="151" y="26"/>
                    <a:pt x="150" y="26"/>
                  </a:cubicBezTo>
                  <a:cubicBezTo>
                    <a:pt x="149" y="26"/>
                    <a:pt x="147" y="25"/>
                    <a:pt x="147" y="27"/>
                  </a:cubicBezTo>
                  <a:cubicBezTo>
                    <a:pt x="146" y="27"/>
                    <a:pt x="147" y="29"/>
                    <a:pt x="147" y="29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1"/>
                    <a:pt x="146" y="31"/>
                    <a:pt x="146" y="32"/>
                  </a:cubicBezTo>
                  <a:cubicBezTo>
                    <a:pt x="145" y="34"/>
                    <a:pt x="145" y="35"/>
                    <a:pt x="145" y="37"/>
                  </a:cubicBezTo>
                  <a:cubicBezTo>
                    <a:pt x="145" y="38"/>
                    <a:pt x="145" y="39"/>
                    <a:pt x="144" y="40"/>
                  </a:cubicBezTo>
                  <a:cubicBezTo>
                    <a:pt x="143" y="40"/>
                    <a:pt x="143" y="38"/>
                    <a:pt x="142" y="37"/>
                  </a:cubicBezTo>
                  <a:cubicBezTo>
                    <a:pt x="141" y="37"/>
                    <a:pt x="138" y="39"/>
                    <a:pt x="138" y="40"/>
                  </a:cubicBezTo>
                  <a:cubicBezTo>
                    <a:pt x="137" y="40"/>
                    <a:pt x="136" y="40"/>
                    <a:pt x="135" y="40"/>
                  </a:cubicBezTo>
                  <a:cubicBezTo>
                    <a:pt x="133" y="40"/>
                    <a:pt x="132" y="39"/>
                    <a:pt x="131" y="39"/>
                  </a:cubicBezTo>
                  <a:cubicBezTo>
                    <a:pt x="129" y="39"/>
                    <a:pt x="127" y="39"/>
                    <a:pt x="125" y="39"/>
                  </a:cubicBezTo>
                  <a:cubicBezTo>
                    <a:pt x="125" y="39"/>
                    <a:pt x="124" y="39"/>
                    <a:pt x="124" y="39"/>
                  </a:cubicBezTo>
                  <a:cubicBezTo>
                    <a:pt x="123" y="39"/>
                    <a:pt x="123" y="39"/>
                    <a:pt x="122" y="39"/>
                  </a:cubicBezTo>
                  <a:cubicBezTo>
                    <a:pt x="121" y="38"/>
                    <a:pt x="119" y="38"/>
                    <a:pt x="118" y="37"/>
                  </a:cubicBezTo>
                  <a:cubicBezTo>
                    <a:pt x="117" y="37"/>
                    <a:pt x="116" y="37"/>
                    <a:pt x="115" y="38"/>
                  </a:cubicBezTo>
                  <a:cubicBezTo>
                    <a:pt x="115" y="38"/>
                    <a:pt x="114" y="39"/>
                    <a:pt x="113" y="39"/>
                  </a:cubicBezTo>
                  <a:cubicBezTo>
                    <a:pt x="112" y="39"/>
                    <a:pt x="110" y="38"/>
                    <a:pt x="109" y="38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5" y="37"/>
                    <a:pt x="103" y="39"/>
                    <a:pt x="102" y="41"/>
                  </a:cubicBezTo>
                  <a:cubicBezTo>
                    <a:pt x="101" y="42"/>
                    <a:pt x="100" y="43"/>
                    <a:pt x="99" y="44"/>
                  </a:cubicBezTo>
                  <a:cubicBezTo>
                    <a:pt x="98" y="46"/>
                    <a:pt x="95" y="47"/>
                    <a:pt x="94" y="49"/>
                  </a:cubicBezTo>
                  <a:cubicBezTo>
                    <a:pt x="93" y="50"/>
                    <a:pt x="93" y="51"/>
                    <a:pt x="93" y="52"/>
                  </a:cubicBezTo>
                  <a:cubicBezTo>
                    <a:pt x="92" y="52"/>
                    <a:pt x="91" y="54"/>
                    <a:pt x="90" y="54"/>
                  </a:cubicBezTo>
                  <a:cubicBezTo>
                    <a:pt x="89" y="55"/>
                    <a:pt x="87" y="56"/>
                    <a:pt x="86" y="56"/>
                  </a:cubicBezTo>
                  <a:cubicBezTo>
                    <a:pt x="85" y="56"/>
                    <a:pt x="83" y="56"/>
                    <a:pt x="82" y="56"/>
                  </a:cubicBezTo>
                  <a:cubicBezTo>
                    <a:pt x="81" y="57"/>
                    <a:pt x="80" y="56"/>
                    <a:pt x="79" y="56"/>
                  </a:cubicBezTo>
                  <a:cubicBezTo>
                    <a:pt x="79" y="56"/>
                    <a:pt x="78" y="56"/>
                    <a:pt x="78" y="56"/>
                  </a:cubicBezTo>
                  <a:cubicBezTo>
                    <a:pt x="77" y="57"/>
                    <a:pt x="78" y="57"/>
                    <a:pt x="77" y="58"/>
                  </a:cubicBezTo>
                  <a:cubicBezTo>
                    <a:pt x="77" y="58"/>
                    <a:pt x="76" y="58"/>
                    <a:pt x="75" y="58"/>
                  </a:cubicBezTo>
                  <a:cubicBezTo>
                    <a:pt x="73" y="58"/>
                    <a:pt x="72" y="57"/>
                    <a:pt x="70" y="57"/>
                  </a:cubicBezTo>
                  <a:cubicBezTo>
                    <a:pt x="68" y="57"/>
                    <a:pt x="67" y="57"/>
                    <a:pt x="65" y="57"/>
                  </a:cubicBezTo>
                  <a:cubicBezTo>
                    <a:pt x="64" y="57"/>
                    <a:pt x="62" y="57"/>
                    <a:pt x="60" y="57"/>
                  </a:cubicBezTo>
                  <a:cubicBezTo>
                    <a:pt x="59" y="58"/>
                    <a:pt x="57" y="59"/>
                    <a:pt x="56" y="60"/>
                  </a:cubicBezTo>
                  <a:cubicBezTo>
                    <a:pt x="54" y="60"/>
                    <a:pt x="52" y="61"/>
                    <a:pt x="51" y="62"/>
                  </a:cubicBezTo>
                  <a:cubicBezTo>
                    <a:pt x="49" y="64"/>
                    <a:pt x="47" y="66"/>
                    <a:pt x="45" y="67"/>
                  </a:cubicBezTo>
                  <a:cubicBezTo>
                    <a:pt x="46" y="69"/>
                    <a:pt x="49" y="71"/>
                    <a:pt x="50" y="73"/>
                  </a:cubicBezTo>
                  <a:cubicBezTo>
                    <a:pt x="51" y="74"/>
                    <a:pt x="53" y="79"/>
                    <a:pt x="52" y="81"/>
                  </a:cubicBezTo>
                  <a:cubicBezTo>
                    <a:pt x="51" y="81"/>
                    <a:pt x="50" y="82"/>
                    <a:pt x="50" y="82"/>
                  </a:cubicBezTo>
                  <a:cubicBezTo>
                    <a:pt x="48" y="83"/>
                    <a:pt x="48" y="83"/>
                    <a:pt x="48" y="85"/>
                  </a:cubicBezTo>
                  <a:cubicBezTo>
                    <a:pt x="47" y="87"/>
                    <a:pt x="48" y="89"/>
                    <a:pt x="46" y="90"/>
                  </a:cubicBezTo>
                  <a:cubicBezTo>
                    <a:pt x="45" y="90"/>
                    <a:pt x="43" y="90"/>
                    <a:pt x="42" y="90"/>
                  </a:cubicBezTo>
                  <a:cubicBezTo>
                    <a:pt x="42" y="90"/>
                    <a:pt x="41" y="90"/>
                    <a:pt x="41" y="90"/>
                  </a:cubicBezTo>
                  <a:cubicBezTo>
                    <a:pt x="41" y="91"/>
                    <a:pt x="40" y="91"/>
                    <a:pt x="40" y="91"/>
                  </a:cubicBezTo>
                  <a:cubicBezTo>
                    <a:pt x="39" y="92"/>
                    <a:pt x="38" y="91"/>
                    <a:pt x="37" y="91"/>
                  </a:cubicBezTo>
                  <a:cubicBezTo>
                    <a:pt x="36" y="92"/>
                    <a:pt x="36" y="93"/>
                    <a:pt x="35" y="94"/>
                  </a:cubicBezTo>
                  <a:cubicBezTo>
                    <a:pt x="34" y="96"/>
                    <a:pt x="33" y="98"/>
                    <a:pt x="33" y="100"/>
                  </a:cubicBezTo>
                  <a:cubicBezTo>
                    <a:pt x="33" y="102"/>
                    <a:pt x="33" y="103"/>
                    <a:pt x="32" y="105"/>
                  </a:cubicBezTo>
                  <a:cubicBezTo>
                    <a:pt x="31" y="106"/>
                    <a:pt x="31" y="107"/>
                    <a:pt x="31" y="108"/>
                  </a:cubicBezTo>
                  <a:cubicBezTo>
                    <a:pt x="30" y="109"/>
                    <a:pt x="29" y="110"/>
                    <a:pt x="29" y="112"/>
                  </a:cubicBezTo>
                  <a:cubicBezTo>
                    <a:pt x="28" y="112"/>
                    <a:pt x="29" y="113"/>
                    <a:pt x="29" y="113"/>
                  </a:cubicBezTo>
                  <a:cubicBezTo>
                    <a:pt x="29" y="115"/>
                    <a:pt x="28" y="115"/>
                    <a:pt x="28" y="116"/>
                  </a:cubicBezTo>
                  <a:cubicBezTo>
                    <a:pt x="27" y="117"/>
                    <a:pt x="27" y="118"/>
                    <a:pt x="27" y="119"/>
                  </a:cubicBezTo>
                  <a:cubicBezTo>
                    <a:pt x="27" y="119"/>
                    <a:pt x="26" y="121"/>
                    <a:pt x="26" y="121"/>
                  </a:cubicBezTo>
                  <a:cubicBezTo>
                    <a:pt x="25" y="121"/>
                    <a:pt x="23" y="120"/>
                    <a:pt x="22" y="120"/>
                  </a:cubicBezTo>
                  <a:cubicBezTo>
                    <a:pt x="20" y="120"/>
                    <a:pt x="19" y="120"/>
                    <a:pt x="18" y="121"/>
                  </a:cubicBezTo>
                  <a:cubicBezTo>
                    <a:pt x="16" y="122"/>
                    <a:pt x="14" y="123"/>
                    <a:pt x="13" y="125"/>
                  </a:cubicBezTo>
                  <a:cubicBezTo>
                    <a:pt x="12" y="126"/>
                    <a:pt x="12" y="126"/>
                    <a:pt x="11" y="127"/>
                  </a:cubicBezTo>
                  <a:cubicBezTo>
                    <a:pt x="11" y="128"/>
                    <a:pt x="11" y="128"/>
                    <a:pt x="10" y="129"/>
                  </a:cubicBezTo>
                  <a:cubicBezTo>
                    <a:pt x="10" y="129"/>
                    <a:pt x="9" y="131"/>
                    <a:pt x="9" y="132"/>
                  </a:cubicBezTo>
                  <a:cubicBezTo>
                    <a:pt x="9" y="133"/>
                    <a:pt x="10" y="133"/>
                    <a:pt x="10" y="134"/>
                  </a:cubicBezTo>
                  <a:cubicBezTo>
                    <a:pt x="11" y="135"/>
                    <a:pt x="11" y="136"/>
                    <a:pt x="11" y="137"/>
                  </a:cubicBezTo>
                  <a:cubicBezTo>
                    <a:pt x="12" y="138"/>
                    <a:pt x="13" y="139"/>
                    <a:pt x="12" y="140"/>
                  </a:cubicBezTo>
                  <a:cubicBezTo>
                    <a:pt x="12" y="141"/>
                    <a:pt x="11" y="141"/>
                    <a:pt x="11" y="142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7" y="144"/>
                    <a:pt x="7" y="145"/>
                    <a:pt x="7" y="147"/>
                  </a:cubicBezTo>
                  <a:cubicBezTo>
                    <a:pt x="6" y="148"/>
                    <a:pt x="5" y="150"/>
                    <a:pt x="4" y="150"/>
                  </a:cubicBezTo>
                  <a:cubicBezTo>
                    <a:pt x="4" y="151"/>
                    <a:pt x="3" y="151"/>
                    <a:pt x="3" y="151"/>
                  </a:cubicBezTo>
                  <a:cubicBezTo>
                    <a:pt x="2" y="152"/>
                    <a:pt x="2" y="152"/>
                    <a:pt x="2" y="153"/>
                  </a:cubicBezTo>
                  <a:cubicBezTo>
                    <a:pt x="1" y="153"/>
                    <a:pt x="0" y="153"/>
                    <a:pt x="0" y="15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4" name="Freeform 44">
              <a:extLst>
                <a:ext uri="{FF2B5EF4-FFF2-40B4-BE49-F238E27FC236}">
                  <a16:creationId xmlns:a16="http://schemas.microsoft.com/office/drawing/2014/main" id="{B529E8A3-F551-4510-B6A2-DE9E5C8AB5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188" y="6280150"/>
              <a:ext cx="52388" cy="61913"/>
            </a:xfrm>
            <a:custGeom>
              <a:avLst/>
              <a:gdLst/>
              <a:ahLst/>
              <a:cxnLst>
                <a:cxn ang="0">
                  <a:pos x="23" y="23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2" y="3"/>
                </a:cxn>
                <a:cxn ang="0">
                  <a:pos x="12" y="12"/>
                </a:cxn>
                <a:cxn ang="0">
                  <a:pos x="7" y="14"/>
                </a:cxn>
                <a:cxn ang="0">
                  <a:pos x="2" y="20"/>
                </a:cxn>
                <a:cxn ang="0">
                  <a:pos x="2" y="27"/>
                </a:cxn>
                <a:cxn ang="0">
                  <a:pos x="6" y="22"/>
                </a:cxn>
                <a:cxn ang="0">
                  <a:pos x="8" y="28"/>
                </a:cxn>
                <a:cxn ang="0">
                  <a:pos x="13" y="31"/>
                </a:cxn>
                <a:cxn ang="0">
                  <a:pos x="26" y="32"/>
                </a:cxn>
                <a:cxn ang="0">
                  <a:pos x="25" y="23"/>
                </a:cxn>
                <a:cxn ang="0">
                  <a:pos x="23" y="23"/>
                </a:cxn>
              </a:cxnLst>
              <a:rect l="0" t="0" r="r" b="b"/>
              <a:pathLst>
                <a:path w="28" h="33">
                  <a:moveTo>
                    <a:pt x="23" y="23"/>
                  </a:moveTo>
                  <a:cubicBezTo>
                    <a:pt x="20" y="23"/>
                    <a:pt x="18" y="18"/>
                    <a:pt x="17" y="16"/>
                  </a:cubicBezTo>
                  <a:cubicBezTo>
                    <a:pt x="17" y="13"/>
                    <a:pt x="17" y="10"/>
                    <a:pt x="17" y="8"/>
                  </a:cubicBezTo>
                  <a:cubicBezTo>
                    <a:pt x="17" y="6"/>
                    <a:pt x="15" y="0"/>
                    <a:pt x="12" y="3"/>
                  </a:cubicBezTo>
                  <a:cubicBezTo>
                    <a:pt x="10" y="5"/>
                    <a:pt x="13" y="9"/>
                    <a:pt x="12" y="12"/>
                  </a:cubicBezTo>
                  <a:cubicBezTo>
                    <a:pt x="11" y="13"/>
                    <a:pt x="9" y="14"/>
                    <a:pt x="7" y="14"/>
                  </a:cubicBezTo>
                  <a:cubicBezTo>
                    <a:pt x="4" y="15"/>
                    <a:pt x="3" y="16"/>
                    <a:pt x="2" y="20"/>
                  </a:cubicBezTo>
                  <a:cubicBezTo>
                    <a:pt x="1" y="22"/>
                    <a:pt x="0" y="27"/>
                    <a:pt x="2" y="27"/>
                  </a:cubicBezTo>
                  <a:cubicBezTo>
                    <a:pt x="5" y="27"/>
                    <a:pt x="6" y="24"/>
                    <a:pt x="6" y="22"/>
                  </a:cubicBezTo>
                  <a:cubicBezTo>
                    <a:pt x="7" y="24"/>
                    <a:pt x="7" y="27"/>
                    <a:pt x="8" y="28"/>
                  </a:cubicBezTo>
                  <a:cubicBezTo>
                    <a:pt x="9" y="30"/>
                    <a:pt x="11" y="30"/>
                    <a:pt x="13" y="31"/>
                  </a:cubicBezTo>
                  <a:cubicBezTo>
                    <a:pt x="17" y="32"/>
                    <a:pt x="22" y="33"/>
                    <a:pt x="26" y="32"/>
                  </a:cubicBezTo>
                  <a:cubicBezTo>
                    <a:pt x="27" y="30"/>
                    <a:pt x="28" y="24"/>
                    <a:pt x="25" y="23"/>
                  </a:cubicBezTo>
                  <a:lnTo>
                    <a:pt x="23" y="2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5" name="Freeform 45">
              <a:extLst>
                <a:ext uri="{FF2B5EF4-FFF2-40B4-BE49-F238E27FC236}">
                  <a16:creationId xmlns:a16="http://schemas.microsoft.com/office/drawing/2014/main" id="{7F639D12-6798-4663-A37C-B0A02A5FE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6359525"/>
              <a:ext cx="38100" cy="42863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3" y="2"/>
                </a:cxn>
                <a:cxn ang="0">
                  <a:pos x="1" y="11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13" y="23"/>
                </a:cxn>
                <a:cxn ang="0">
                  <a:pos x="14" y="20"/>
                </a:cxn>
                <a:cxn ang="0">
                  <a:pos x="19" y="20"/>
                </a:cxn>
                <a:cxn ang="0">
                  <a:pos x="12" y="8"/>
                </a:cxn>
                <a:cxn ang="0">
                  <a:pos x="10" y="7"/>
                </a:cxn>
              </a:cxnLst>
              <a:rect l="0" t="0" r="r" b="b"/>
              <a:pathLst>
                <a:path w="21" h="23">
                  <a:moveTo>
                    <a:pt x="10" y="7"/>
                  </a:moveTo>
                  <a:cubicBezTo>
                    <a:pt x="8" y="5"/>
                    <a:pt x="6" y="0"/>
                    <a:pt x="3" y="2"/>
                  </a:cubicBezTo>
                  <a:cubicBezTo>
                    <a:pt x="0" y="3"/>
                    <a:pt x="1" y="9"/>
                    <a:pt x="1" y="11"/>
                  </a:cubicBezTo>
                  <a:cubicBezTo>
                    <a:pt x="2" y="13"/>
                    <a:pt x="3" y="16"/>
                    <a:pt x="4" y="18"/>
                  </a:cubicBezTo>
                  <a:cubicBezTo>
                    <a:pt x="5" y="21"/>
                    <a:pt x="5" y="21"/>
                    <a:pt x="8" y="22"/>
                  </a:cubicBezTo>
                  <a:cubicBezTo>
                    <a:pt x="9" y="22"/>
                    <a:pt x="12" y="23"/>
                    <a:pt x="13" y="23"/>
                  </a:cubicBezTo>
                  <a:cubicBezTo>
                    <a:pt x="13" y="22"/>
                    <a:pt x="13" y="21"/>
                    <a:pt x="14" y="20"/>
                  </a:cubicBezTo>
                  <a:cubicBezTo>
                    <a:pt x="16" y="20"/>
                    <a:pt x="17" y="23"/>
                    <a:pt x="19" y="20"/>
                  </a:cubicBezTo>
                  <a:cubicBezTo>
                    <a:pt x="21" y="16"/>
                    <a:pt x="15" y="10"/>
                    <a:pt x="12" y="8"/>
                  </a:cubicBezTo>
                  <a:lnTo>
                    <a:pt x="10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6" name="Freeform 46">
              <a:extLst>
                <a:ext uri="{FF2B5EF4-FFF2-40B4-BE49-F238E27FC236}">
                  <a16:creationId xmlns:a16="http://schemas.microsoft.com/office/drawing/2014/main" id="{FFE67F5E-2F18-4FA7-BD35-573C3C551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5" y="6384925"/>
              <a:ext cx="31750" cy="39688"/>
            </a:xfrm>
            <a:custGeom>
              <a:avLst/>
              <a:gdLst/>
              <a:ahLst/>
              <a:cxnLst>
                <a:cxn ang="0">
                  <a:pos x="10" y="6"/>
                </a:cxn>
                <a:cxn ang="0">
                  <a:pos x="1" y="1"/>
                </a:cxn>
                <a:cxn ang="0">
                  <a:pos x="7" y="12"/>
                </a:cxn>
                <a:cxn ang="0">
                  <a:pos x="16" y="21"/>
                </a:cxn>
                <a:cxn ang="0">
                  <a:pos x="15" y="14"/>
                </a:cxn>
                <a:cxn ang="0">
                  <a:pos x="10" y="7"/>
                </a:cxn>
                <a:cxn ang="0">
                  <a:pos x="10" y="6"/>
                </a:cxn>
              </a:cxnLst>
              <a:rect l="0" t="0" r="r" b="b"/>
              <a:pathLst>
                <a:path w="17" h="21">
                  <a:moveTo>
                    <a:pt x="10" y="6"/>
                  </a:moveTo>
                  <a:cubicBezTo>
                    <a:pt x="11" y="3"/>
                    <a:pt x="5" y="0"/>
                    <a:pt x="1" y="1"/>
                  </a:cubicBezTo>
                  <a:cubicBezTo>
                    <a:pt x="0" y="5"/>
                    <a:pt x="4" y="9"/>
                    <a:pt x="7" y="12"/>
                  </a:cubicBezTo>
                  <a:cubicBezTo>
                    <a:pt x="9" y="15"/>
                    <a:pt x="13" y="20"/>
                    <a:pt x="16" y="21"/>
                  </a:cubicBezTo>
                  <a:cubicBezTo>
                    <a:pt x="17" y="19"/>
                    <a:pt x="16" y="16"/>
                    <a:pt x="15" y="14"/>
                  </a:cubicBezTo>
                  <a:cubicBezTo>
                    <a:pt x="14" y="13"/>
                    <a:pt x="12" y="8"/>
                    <a:pt x="10" y="7"/>
                  </a:cubicBezTo>
                  <a:lnTo>
                    <a:pt x="10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7" name="Freeform 47">
              <a:extLst>
                <a:ext uri="{FF2B5EF4-FFF2-40B4-BE49-F238E27FC236}">
                  <a16:creationId xmlns:a16="http://schemas.microsoft.com/office/drawing/2014/main" id="{BF07A9AE-D83C-47B4-9805-D95D8BF1F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0425" y="6432550"/>
              <a:ext cx="31750" cy="15875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1"/>
                </a:cxn>
                <a:cxn ang="0">
                  <a:pos x="11" y="8"/>
                </a:cxn>
                <a:cxn ang="0">
                  <a:pos x="7" y="1"/>
                </a:cxn>
                <a:cxn ang="0">
                  <a:pos x="10" y="3"/>
                </a:cxn>
              </a:cxnLst>
              <a:rect l="0" t="0" r="r" b="b"/>
              <a:pathLst>
                <a:path w="17" h="9">
                  <a:moveTo>
                    <a:pt x="10" y="3"/>
                  </a:moveTo>
                  <a:cubicBezTo>
                    <a:pt x="7" y="2"/>
                    <a:pt x="4" y="0"/>
                    <a:pt x="1" y="1"/>
                  </a:cubicBezTo>
                  <a:cubicBezTo>
                    <a:pt x="0" y="6"/>
                    <a:pt x="6" y="9"/>
                    <a:pt x="11" y="8"/>
                  </a:cubicBezTo>
                  <a:cubicBezTo>
                    <a:pt x="17" y="8"/>
                    <a:pt x="11" y="1"/>
                    <a:pt x="7" y="1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8" name="Freeform 48">
              <a:extLst>
                <a:ext uri="{FF2B5EF4-FFF2-40B4-BE49-F238E27FC236}">
                  <a16:creationId xmlns:a16="http://schemas.microsoft.com/office/drawing/2014/main" id="{8FF0BAF2-F429-46DA-A953-0A36D965D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4238" y="6497638"/>
              <a:ext cx="22225" cy="36513"/>
            </a:xfrm>
            <a:custGeom>
              <a:avLst/>
              <a:gdLst/>
              <a:ahLst/>
              <a:cxnLst>
                <a:cxn ang="0">
                  <a:pos x="12" y="1"/>
                </a:cxn>
                <a:cxn ang="0">
                  <a:pos x="1" y="3"/>
                </a:cxn>
                <a:cxn ang="0">
                  <a:pos x="1" y="10"/>
                </a:cxn>
                <a:cxn ang="0">
                  <a:pos x="11" y="19"/>
                </a:cxn>
                <a:cxn ang="0">
                  <a:pos x="12" y="5"/>
                </a:cxn>
                <a:cxn ang="0">
                  <a:pos x="12" y="1"/>
                </a:cxn>
              </a:cxnLst>
              <a:rect l="0" t="0" r="r" b="b"/>
              <a:pathLst>
                <a:path w="12" h="20">
                  <a:moveTo>
                    <a:pt x="12" y="1"/>
                  </a:moveTo>
                  <a:cubicBezTo>
                    <a:pt x="8" y="1"/>
                    <a:pt x="3" y="0"/>
                    <a:pt x="1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2" y="13"/>
                    <a:pt x="7" y="20"/>
                    <a:pt x="11" y="19"/>
                  </a:cubicBezTo>
                  <a:cubicBezTo>
                    <a:pt x="12" y="14"/>
                    <a:pt x="12" y="10"/>
                    <a:pt x="12" y="5"/>
                  </a:cubicBezTo>
                  <a:lnTo>
                    <a:pt x="12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79" name="Freeform 49">
              <a:extLst>
                <a:ext uri="{FF2B5EF4-FFF2-40B4-BE49-F238E27FC236}">
                  <a16:creationId xmlns:a16="http://schemas.microsoft.com/office/drawing/2014/main" id="{B38AFA0F-FA14-423C-8396-8261A70F6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313" y="6503988"/>
              <a:ext cx="17463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11"/>
                </a:cxn>
                <a:cxn ang="0">
                  <a:pos x="8" y="14"/>
                </a:cxn>
                <a:cxn ang="0">
                  <a:pos x="9" y="4"/>
                </a:cxn>
                <a:cxn ang="0">
                  <a:pos x="10" y="0"/>
                </a:cxn>
              </a:cxnLst>
              <a:rect l="0" t="0" r="r" b="b"/>
              <a:pathLst>
                <a:path w="10" h="15">
                  <a:moveTo>
                    <a:pt x="10" y="0"/>
                  </a:moveTo>
                  <a:cubicBezTo>
                    <a:pt x="7" y="0"/>
                    <a:pt x="0" y="8"/>
                    <a:pt x="0" y="11"/>
                  </a:cubicBezTo>
                  <a:cubicBezTo>
                    <a:pt x="0" y="15"/>
                    <a:pt x="5" y="14"/>
                    <a:pt x="8" y="14"/>
                  </a:cubicBezTo>
                  <a:cubicBezTo>
                    <a:pt x="8" y="11"/>
                    <a:pt x="9" y="7"/>
                    <a:pt x="9" y="4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0" name="Freeform 50">
              <a:extLst>
                <a:ext uri="{FF2B5EF4-FFF2-40B4-BE49-F238E27FC236}">
                  <a16:creationId xmlns:a16="http://schemas.microsoft.com/office/drawing/2014/main" id="{6BF06423-2CFF-4FAE-AFF8-099EBB5FF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0875" y="6650038"/>
              <a:ext cx="273050" cy="58738"/>
            </a:xfrm>
            <a:custGeom>
              <a:avLst/>
              <a:gdLst/>
              <a:ahLst/>
              <a:cxnLst>
                <a:cxn ang="0">
                  <a:pos x="116" y="7"/>
                </a:cxn>
                <a:cxn ang="0">
                  <a:pos x="95" y="5"/>
                </a:cxn>
                <a:cxn ang="0">
                  <a:pos x="67" y="4"/>
                </a:cxn>
                <a:cxn ang="0">
                  <a:pos x="57" y="3"/>
                </a:cxn>
                <a:cxn ang="0">
                  <a:pos x="37" y="1"/>
                </a:cxn>
                <a:cxn ang="0">
                  <a:pos x="22" y="0"/>
                </a:cxn>
                <a:cxn ang="0">
                  <a:pos x="5" y="3"/>
                </a:cxn>
                <a:cxn ang="0">
                  <a:pos x="1" y="8"/>
                </a:cxn>
                <a:cxn ang="0">
                  <a:pos x="13" y="13"/>
                </a:cxn>
                <a:cxn ang="0">
                  <a:pos x="41" y="15"/>
                </a:cxn>
                <a:cxn ang="0">
                  <a:pos x="57" y="16"/>
                </a:cxn>
                <a:cxn ang="0">
                  <a:pos x="65" y="19"/>
                </a:cxn>
                <a:cxn ang="0">
                  <a:pos x="68" y="25"/>
                </a:cxn>
                <a:cxn ang="0">
                  <a:pos x="71" y="30"/>
                </a:cxn>
                <a:cxn ang="0">
                  <a:pos x="76" y="31"/>
                </a:cxn>
                <a:cxn ang="0">
                  <a:pos x="93" y="28"/>
                </a:cxn>
                <a:cxn ang="0">
                  <a:pos x="127" y="27"/>
                </a:cxn>
                <a:cxn ang="0">
                  <a:pos x="142" y="25"/>
                </a:cxn>
                <a:cxn ang="0">
                  <a:pos x="146" y="22"/>
                </a:cxn>
                <a:cxn ang="0">
                  <a:pos x="139" y="15"/>
                </a:cxn>
                <a:cxn ang="0">
                  <a:pos x="123" y="8"/>
                </a:cxn>
                <a:cxn ang="0">
                  <a:pos x="116" y="7"/>
                </a:cxn>
              </a:cxnLst>
              <a:rect l="0" t="0" r="r" b="b"/>
              <a:pathLst>
                <a:path w="146" h="31">
                  <a:moveTo>
                    <a:pt x="116" y="7"/>
                  </a:moveTo>
                  <a:cubicBezTo>
                    <a:pt x="109" y="5"/>
                    <a:pt x="102" y="5"/>
                    <a:pt x="95" y="5"/>
                  </a:cubicBezTo>
                  <a:cubicBezTo>
                    <a:pt x="86" y="5"/>
                    <a:pt x="77" y="4"/>
                    <a:pt x="67" y="4"/>
                  </a:cubicBezTo>
                  <a:cubicBezTo>
                    <a:pt x="64" y="3"/>
                    <a:pt x="60" y="3"/>
                    <a:pt x="57" y="3"/>
                  </a:cubicBezTo>
                  <a:cubicBezTo>
                    <a:pt x="50" y="3"/>
                    <a:pt x="44" y="1"/>
                    <a:pt x="37" y="1"/>
                  </a:cubicBezTo>
                  <a:cubicBezTo>
                    <a:pt x="32" y="0"/>
                    <a:pt x="27" y="1"/>
                    <a:pt x="22" y="0"/>
                  </a:cubicBezTo>
                  <a:cubicBezTo>
                    <a:pt x="16" y="0"/>
                    <a:pt x="10" y="0"/>
                    <a:pt x="5" y="3"/>
                  </a:cubicBezTo>
                  <a:cubicBezTo>
                    <a:pt x="3" y="4"/>
                    <a:pt x="0" y="5"/>
                    <a:pt x="1" y="8"/>
                  </a:cubicBezTo>
                  <a:cubicBezTo>
                    <a:pt x="3" y="11"/>
                    <a:pt x="11" y="12"/>
                    <a:pt x="13" y="13"/>
                  </a:cubicBezTo>
                  <a:cubicBezTo>
                    <a:pt x="22" y="14"/>
                    <a:pt x="31" y="14"/>
                    <a:pt x="41" y="15"/>
                  </a:cubicBezTo>
                  <a:cubicBezTo>
                    <a:pt x="46" y="15"/>
                    <a:pt x="52" y="15"/>
                    <a:pt x="57" y="16"/>
                  </a:cubicBezTo>
                  <a:cubicBezTo>
                    <a:pt x="59" y="17"/>
                    <a:pt x="64" y="18"/>
                    <a:pt x="65" y="19"/>
                  </a:cubicBezTo>
                  <a:cubicBezTo>
                    <a:pt x="67" y="21"/>
                    <a:pt x="67" y="23"/>
                    <a:pt x="68" y="25"/>
                  </a:cubicBezTo>
                  <a:cubicBezTo>
                    <a:pt x="68" y="27"/>
                    <a:pt x="69" y="30"/>
                    <a:pt x="71" y="30"/>
                  </a:cubicBezTo>
                  <a:cubicBezTo>
                    <a:pt x="72" y="31"/>
                    <a:pt x="75" y="31"/>
                    <a:pt x="76" y="31"/>
                  </a:cubicBezTo>
                  <a:cubicBezTo>
                    <a:pt x="82" y="30"/>
                    <a:pt x="88" y="28"/>
                    <a:pt x="93" y="28"/>
                  </a:cubicBezTo>
                  <a:cubicBezTo>
                    <a:pt x="104" y="27"/>
                    <a:pt x="116" y="27"/>
                    <a:pt x="127" y="27"/>
                  </a:cubicBezTo>
                  <a:cubicBezTo>
                    <a:pt x="132" y="27"/>
                    <a:pt x="137" y="27"/>
                    <a:pt x="142" y="25"/>
                  </a:cubicBezTo>
                  <a:cubicBezTo>
                    <a:pt x="143" y="25"/>
                    <a:pt x="145" y="23"/>
                    <a:pt x="146" y="22"/>
                  </a:cubicBezTo>
                  <a:cubicBezTo>
                    <a:pt x="146" y="19"/>
                    <a:pt x="140" y="16"/>
                    <a:pt x="139" y="15"/>
                  </a:cubicBezTo>
                  <a:cubicBezTo>
                    <a:pt x="134" y="12"/>
                    <a:pt x="129" y="10"/>
                    <a:pt x="123" y="8"/>
                  </a:cubicBezTo>
                  <a:lnTo>
                    <a:pt x="116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1" name="Freeform 51">
              <a:extLst>
                <a:ext uri="{FF2B5EF4-FFF2-40B4-BE49-F238E27FC236}">
                  <a16:creationId xmlns:a16="http://schemas.microsoft.com/office/drawing/2014/main" id="{205D6741-A49D-4ECD-8616-2B4B39DDE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975" y="6275388"/>
              <a:ext cx="39688" cy="76200"/>
            </a:xfrm>
            <a:custGeom>
              <a:avLst/>
              <a:gdLst/>
              <a:ahLst/>
              <a:cxnLst>
                <a:cxn ang="0">
                  <a:pos x="17" y="12"/>
                </a:cxn>
                <a:cxn ang="0">
                  <a:pos x="1" y="5"/>
                </a:cxn>
                <a:cxn ang="0">
                  <a:pos x="0" y="10"/>
                </a:cxn>
                <a:cxn ang="0">
                  <a:pos x="2" y="17"/>
                </a:cxn>
                <a:cxn ang="0">
                  <a:pos x="7" y="22"/>
                </a:cxn>
                <a:cxn ang="0">
                  <a:pos x="4" y="25"/>
                </a:cxn>
                <a:cxn ang="0">
                  <a:pos x="1" y="31"/>
                </a:cxn>
                <a:cxn ang="0">
                  <a:pos x="8" y="36"/>
                </a:cxn>
                <a:cxn ang="0">
                  <a:pos x="13" y="41"/>
                </a:cxn>
                <a:cxn ang="0">
                  <a:pos x="15" y="34"/>
                </a:cxn>
                <a:cxn ang="0">
                  <a:pos x="19" y="25"/>
                </a:cxn>
                <a:cxn ang="0">
                  <a:pos x="16" y="13"/>
                </a:cxn>
                <a:cxn ang="0">
                  <a:pos x="17" y="12"/>
                </a:cxn>
              </a:cxnLst>
              <a:rect l="0" t="0" r="r" b="b"/>
              <a:pathLst>
                <a:path w="22" h="41">
                  <a:moveTo>
                    <a:pt x="17" y="12"/>
                  </a:moveTo>
                  <a:cubicBezTo>
                    <a:pt x="14" y="9"/>
                    <a:pt x="6" y="0"/>
                    <a:pt x="1" y="5"/>
                  </a:cubicBezTo>
                  <a:cubicBezTo>
                    <a:pt x="0" y="7"/>
                    <a:pt x="0" y="9"/>
                    <a:pt x="0" y="10"/>
                  </a:cubicBezTo>
                  <a:cubicBezTo>
                    <a:pt x="0" y="13"/>
                    <a:pt x="1" y="15"/>
                    <a:pt x="2" y="17"/>
                  </a:cubicBezTo>
                  <a:cubicBezTo>
                    <a:pt x="3" y="18"/>
                    <a:pt x="6" y="20"/>
                    <a:pt x="7" y="22"/>
                  </a:cubicBezTo>
                  <a:cubicBezTo>
                    <a:pt x="8" y="25"/>
                    <a:pt x="6" y="24"/>
                    <a:pt x="4" y="25"/>
                  </a:cubicBezTo>
                  <a:cubicBezTo>
                    <a:pt x="1" y="26"/>
                    <a:pt x="1" y="28"/>
                    <a:pt x="1" y="31"/>
                  </a:cubicBezTo>
                  <a:cubicBezTo>
                    <a:pt x="2" y="35"/>
                    <a:pt x="5" y="34"/>
                    <a:pt x="8" y="36"/>
                  </a:cubicBezTo>
                  <a:cubicBezTo>
                    <a:pt x="10" y="38"/>
                    <a:pt x="10" y="41"/>
                    <a:pt x="13" y="41"/>
                  </a:cubicBezTo>
                  <a:cubicBezTo>
                    <a:pt x="15" y="40"/>
                    <a:pt x="15" y="36"/>
                    <a:pt x="15" y="34"/>
                  </a:cubicBezTo>
                  <a:cubicBezTo>
                    <a:pt x="15" y="29"/>
                    <a:pt x="17" y="28"/>
                    <a:pt x="19" y="25"/>
                  </a:cubicBezTo>
                  <a:cubicBezTo>
                    <a:pt x="22" y="21"/>
                    <a:pt x="22" y="14"/>
                    <a:pt x="16" y="13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2" name="Freeform 52">
              <a:extLst>
                <a:ext uri="{FF2B5EF4-FFF2-40B4-BE49-F238E27FC236}">
                  <a16:creationId xmlns:a16="http://schemas.microsoft.com/office/drawing/2014/main" id="{92EE7729-E0D3-4645-AE36-CEAF9F1B4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975" y="6175375"/>
              <a:ext cx="87313" cy="68263"/>
            </a:xfrm>
            <a:custGeom>
              <a:avLst/>
              <a:gdLst/>
              <a:ahLst/>
              <a:cxnLst>
                <a:cxn ang="0">
                  <a:pos x="39" y="6"/>
                </a:cxn>
                <a:cxn ang="0">
                  <a:pos x="35" y="5"/>
                </a:cxn>
                <a:cxn ang="0">
                  <a:pos x="25" y="0"/>
                </a:cxn>
                <a:cxn ang="0">
                  <a:pos x="19" y="3"/>
                </a:cxn>
                <a:cxn ang="0">
                  <a:pos x="16" y="5"/>
                </a:cxn>
                <a:cxn ang="0">
                  <a:pos x="5" y="9"/>
                </a:cxn>
                <a:cxn ang="0">
                  <a:pos x="0" y="14"/>
                </a:cxn>
                <a:cxn ang="0">
                  <a:pos x="6" y="20"/>
                </a:cxn>
                <a:cxn ang="0">
                  <a:pos x="10" y="23"/>
                </a:cxn>
                <a:cxn ang="0">
                  <a:pos x="12" y="22"/>
                </a:cxn>
                <a:cxn ang="0">
                  <a:pos x="31" y="22"/>
                </a:cxn>
                <a:cxn ang="0">
                  <a:pos x="20" y="30"/>
                </a:cxn>
                <a:cxn ang="0">
                  <a:pos x="33" y="33"/>
                </a:cxn>
                <a:cxn ang="0">
                  <a:pos x="39" y="34"/>
                </a:cxn>
                <a:cxn ang="0">
                  <a:pos x="43" y="35"/>
                </a:cxn>
                <a:cxn ang="0">
                  <a:pos x="45" y="27"/>
                </a:cxn>
                <a:cxn ang="0">
                  <a:pos x="40" y="25"/>
                </a:cxn>
                <a:cxn ang="0">
                  <a:pos x="39" y="21"/>
                </a:cxn>
                <a:cxn ang="0">
                  <a:pos x="37" y="16"/>
                </a:cxn>
                <a:cxn ang="0">
                  <a:pos x="34" y="11"/>
                </a:cxn>
                <a:cxn ang="0">
                  <a:pos x="34" y="5"/>
                </a:cxn>
                <a:cxn ang="0">
                  <a:pos x="39" y="6"/>
                </a:cxn>
              </a:cxnLst>
              <a:rect l="0" t="0" r="r" b="b"/>
              <a:pathLst>
                <a:path w="47" h="36">
                  <a:moveTo>
                    <a:pt x="39" y="6"/>
                  </a:moveTo>
                  <a:cubicBezTo>
                    <a:pt x="38" y="6"/>
                    <a:pt x="37" y="6"/>
                    <a:pt x="35" y="5"/>
                  </a:cubicBezTo>
                  <a:cubicBezTo>
                    <a:pt x="32" y="2"/>
                    <a:pt x="29" y="1"/>
                    <a:pt x="25" y="0"/>
                  </a:cubicBezTo>
                  <a:cubicBezTo>
                    <a:pt x="22" y="0"/>
                    <a:pt x="21" y="1"/>
                    <a:pt x="19" y="3"/>
                  </a:cubicBezTo>
                  <a:cubicBezTo>
                    <a:pt x="18" y="4"/>
                    <a:pt x="17" y="5"/>
                    <a:pt x="16" y="5"/>
                  </a:cubicBezTo>
                  <a:cubicBezTo>
                    <a:pt x="13" y="8"/>
                    <a:pt x="8" y="9"/>
                    <a:pt x="5" y="9"/>
                  </a:cubicBezTo>
                  <a:cubicBezTo>
                    <a:pt x="1" y="10"/>
                    <a:pt x="0" y="10"/>
                    <a:pt x="0" y="14"/>
                  </a:cubicBezTo>
                  <a:cubicBezTo>
                    <a:pt x="0" y="18"/>
                    <a:pt x="2" y="19"/>
                    <a:pt x="6" y="20"/>
                  </a:cubicBezTo>
                  <a:cubicBezTo>
                    <a:pt x="7" y="21"/>
                    <a:pt x="8" y="23"/>
                    <a:pt x="10" y="23"/>
                  </a:cubicBezTo>
                  <a:cubicBezTo>
                    <a:pt x="11" y="23"/>
                    <a:pt x="11" y="23"/>
                    <a:pt x="12" y="22"/>
                  </a:cubicBezTo>
                  <a:cubicBezTo>
                    <a:pt x="17" y="19"/>
                    <a:pt x="27" y="16"/>
                    <a:pt x="31" y="22"/>
                  </a:cubicBezTo>
                  <a:cubicBezTo>
                    <a:pt x="26" y="24"/>
                    <a:pt x="20" y="23"/>
                    <a:pt x="20" y="30"/>
                  </a:cubicBezTo>
                  <a:cubicBezTo>
                    <a:pt x="25" y="32"/>
                    <a:pt x="28" y="33"/>
                    <a:pt x="33" y="33"/>
                  </a:cubicBezTo>
                  <a:cubicBezTo>
                    <a:pt x="35" y="33"/>
                    <a:pt x="37" y="33"/>
                    <a:pt x="39" y="34"/>
                  </a:cubicBezTo>
                  <a:cubicBezTo>
                    <a:pt x="40" y="35"/>
                    <a:pt x="40" y="36"/>
                    <a:pt x="43" y="35"/>
                  </a:cubicBezTo>
                  <a:cubicBezTo>
                    <a:pt x="46" y="34"/>
                    <a:pt x="47" y="29"/>
                    <a:pt x="45" y="27"/>
                  </a:cubicBezTo>
                  <a:cubicBezTo>
                    <a:pt x="43" y="25"/>
                    <a:pt x="41" y="26"/>
                    <a:pt x="40" y="25"/>
                  </a:cubicBezTo>
                  <a:cubicBezTo>
                    <a:pt x="39" y="24"/>
                    <a:pt x="39" y="22"/>
                    <a:pt x="39" y="21"/>
                  </a:cubicBezTo>
                  <a:cubicBezTo>
                    <a:pt x="39" y="19"/>
                    <a:pt x="37" y="18"/>
                    <a:pt x="37" y="16"/>
                  </a:cubicBezTo>
                  <a:cubicBezTo>
                    <a:pt x="36" y="14"/>
                    <a:pt x="35" y="13"/>
                    <a:pt x="34" y="11"/>
                  </a:cubicBezTo>
                  <a:cubicBezTo>
                    <a:pt x="33" y="9"/>
                    <a:pt x="34" y="7"/>
                    <a:pt x="34" y="5"/>
                  </a:cubicBezTo>
                  <a:lnTo>
                    <a:pt x="39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3" name="Freeform 53">
              <a:extLst>
                <a:ext uri="{FF2B5EF4-FFF2-40B4-BE49-F238E27FC236}">
                  <a16:creationId xmlns:a16="http://schemas.microsoft.com/office/drawing/2014/main" id="{1AF42DB3-6826-4BD6-BC47-2613AEB1F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475" y="6632575"/>
              <a:ext cx="69850" cy="68263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5" y="7"/>
                </a:cxn>
                <a:cxn ang="0">
                  <a:pos x="12" y="11"/>
                </a:cxn>
                <a:cxn ang="0">
                  <a:pos x="12" y="13"/>
                </a:cxn>
                <a:cxn ang="0">
                  <a:pos x="3" y="21"/>
                </a:cxn>
                <a:cxn ang="0">
                  <a:pos x="7" y="24"/>
                </a:cxn>
                <a:cxn ang="0">
                  <a:pos x="11" y="28"/>
                </a:cxn>
                <a:cxn ang="0">
                  <a:pos x="12" y="31"/>
                </a:cxn>
                <a:cxn ang="0">
                  <a:pos x="14" y="31"/>
                </a:cxn>
                <a:cxn ang="0">
                  <a:pos x="17" y="35"/>
                </a:cxn>
                <a:cxn ang="0">
                  <a:pos x="22" y="23"/>
                </a:cxn>
                <a:cxn ang="0">
                  <a:pos x="33" y="11"/>
                </a:cxn>
                <a:cxn ang="0">
                  <a:pos x="33" y="3"/>
                </a:cxn>
                <a:cxn ang="0">
                  <a:pos x="23" y="6"/>
                </a:cxn>
                <a:cxn ang="0">
                  <a:pos x="27" y="0"/>
                </a:cxn>
              </a:cxnLst>
              <a:rect l="0" t="0" r="r" b="b"/>
              <a:pathLst>
                <a:path w="38" h="37">
                  <a:moveTo>
                    <a:pt x="27" y="0"/>
                  </a:moveTo>
                  <a:cubicBezTo>
                    <a:pt x="23" y="2"/>
                    <a:pt x="18" y="4"/>
                    <a:pt x="15" y="7"/>
                  </a:cubicBezTo>
                  <a:cubicBezTo>
                    <a:pt x="14" y="8"/>
                    <a:pt x="13" y="9"/>
                    <a:pt x="12" y="11"/>
                  </a:cubicBezTo>
                  <a:cubicBezTo>
                    <a:pt x="12" y="12"/>
                    <a:pt x="13" y="12"/>
                    <a:pt x="12" y="13"/>
                  </a:cubicBezTo>
                  <a:cubicBezTo>
                    <a:pt x="11" y="16"/>
                    <a:pt x="0" y="17"/>
                    <a:pt x="3" y="21"/>
                  </a:cubicBezTo>
                  <a:cubicBezTo>
                    <a:pt x="4" y="22"/>
                    <a:pt x="6" y="23"/>
                    <a:pt x="7" y="24"/>
                  </a:cubicBezTo>
                  <a:cubicBezTo>
                    <a:pt x="9" y="25"/>
                    <a:pt x="9" y="25"/>
                    <a:pt x="11" y="28"/>
                  </a:cubicBezTo>
                  <a:cubicBezTo>
                    <a:pt x="11" y="29"/>
                    <a:pt x="12" y="30"/>
                    <a:pt x="12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3"/>
                    <a:pt x="15" y="35"/>
                    <a:pt x="17" y="35"/>
                  </a:cubicBezTo>
                  <a:cubicBezTo>
                    <a:pt x="20" y="37"/>
                    <a:pt x="22" y="25"/>
                    <a:pt x="22" y="23"/>
                  </a:cubicBezTo>
                  <a:cubicBezTo>
                    <a:pt x="24" y="18"/>
                    <a:pt x="30" y="15"/>
                    <a:pt x="33" y="11"/>
                  </a:cubicBezTo>
                  <a:cubicBezTo>
                    <a:pt x="35" y="8"/>
                    <a:pt x="38" y="4"/>
                    <a:pt x="33" y="3"/>
                  </a:cubicBezTo>
                  <a:cubicBezTo>
                    <a:pt x="31" y="2"/>
                    <a:pt x="22" y="1"/>
                    <a:pt x="23" y="6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4" name="Freeform 54">
              <a:extLst>
                <a:ext uri="{FF2B5EF4-FFF2-40B4-BE49-F238E27FC236}">
                  <a16:creationId xmlns:a16="http://schemas.microsoft.com/office/drawing/2014/main" id="{D5921DB4-6619-4695-AFCE-62072D24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688" y="6553200"/>
              <a:ext cx="42863" cy="31750"/>
            </a:xfrm>
            <a:custGeom>
              <a:avLst/>
              <a:gdLst/>
              <a:ahLst/>
              <a:cxnLst>
                <a:cxn ang="0">
                  <a:pos x="21" y="2"/>
                </a:cxn>
                <a:cxn ang="0">
                  <a:pos x="5" y="7"/>
                </a:cxn>
                <a:cxn ang="0">
                  <a:pos x="3" y="15"/>
                </a:cxn>
                <a:cxn ang="0">
                  <a:pos x="18" y="5"/>
                </a:cxn>
                <a:cxn ang="0">
                  <a:pos x="22" y="3"/>
                </a:cxn>
                <a:cxn ang="0">
                  <a:pos x="23" y="0"/>
                </a:cxn>
                <a:cxn ang="0">
                  <a:pos x="21" y="2"/>
                </a:cxn>
              </a:cxnLst>
              <a:rect l="0" t="0" r="r" b="b"/>
              <a:pathLst>
                <a:path w="23" h="17">
                  <a:moveTo>
                    <a:pt x="21" y="2"/>
                  </a:moveTo>
                  <a:cubicBezTo>
                    <a:pt x="16" y="1"/>
                    <a:pt x="8" y="4"/>
                    <a:pt x="5" y="7"/>
                  </a:cubicBezTo>
                  <a:cubicBezTo>
                    <a:pt x="3" y="9"/>
                    <a:pt x="0" y="13"/>
                    <a:pt x="3" y="15"/>
                  </a:cubicBezTo>
                  <a:cubicBezTo>
                    <a:pt x="8" y="17"/>
                    <a:pt x="16" y="8"/>
                    <a:pt x="18" y="5"/>
                  </a:cubicBezTo>
                  <a:cubicBezTo>
                    <a:pt x="19" y="4"/>
                    <a:pt x="22" y="4"/>
                    <a:pt x="22" y="3"/>
                  </a:cubicBezTo>
                  <a:cubicBezTo>
                    <a:pt x="23" y="2"/>
                    <a:pt x="23" y="1"/>
                    <a:pt x="23" y="0"/>
                  </a:cubicBezTo>
                  <a:lnTo>
                    <a:pt x="21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5" name="Freeform 55">
              <a:extLst>
                <a:ext uri="{FF2B5EF4-FFF2-40B4-BE49-F238E27FC236}">
                  <a16:creationId xmlns:a16="http://schemas.microsoft.com/office/drawing/2014/main" id="{E798026B-D512-4B0A-BC82-5EA2AD762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6432550"/>
              <a:ext cx="42863" cy="22225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4" y="7"/>
                </a:cxn>
                <a:cxn ang="0">
                  <a:pos x="2" y="11"/>
                </a:cxn>
                <a:cxn ang="0">
                  <a:pos x="9" y="11"/>
                </a:cxn>
                <a:cxn ang="0">
                  <a:pos x="19" y="9"/>
                </a:cxn>
                <a:cxn ang="0">
                  <a:pos x="23" y="0"/>
                </a:cxn>
                <a:cxn ang="0">
                  <a:pos x="17" y="0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11" y="0"/>
                    <a:pt x="8" y="4"/>
                    <a:pt x="4" y="7"/>
                  </a:cubicBezTo>
                  <a:cubicBezTo>
                    <a:pt x="3" y="8"/>
                    <a:pt x="0" y="9"/>
                    <a:pt x="2" y="11"/>
                  </a:cubicBezTo>
                  <a:cubicBezTo>
                    <a:pt x="3" y="12"/>
                    <a:pt x="7" y="11"/>
                    <a:pt x="9" y="11"/>
                  </a:cubicBezTo>
                  <a:cubicBezTo>
                    <a:pt x="13" y="11"/>
                    <a:pt x="16" y="12"/>
                    <a:pt x="19" y="9"/>
                  </a:cubicBezTo>
                  <a:cubicBezTo>
                    <a:pt x="23" y="7"/>
                    <a:pt x="23" y="4"/>
                    <a:pt x="23" y="0"/>
                  </a:cubicBezTo>
                  <a:lnTo>
                    <a:pt x="1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6" name="Freeform 56">
              <a:extLst>
                <a:ext uri="{FF2B5EF4-FFF2-40B4-BE49-F238E27FC236}">
                  <a16:creationId xmlns:a16="http://schemas.microsoft.com/office/drawing/2014/main" id="{22A8F461-42EE-4D1E-AAE1-C8A8A7069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4075" y="6078538"/>
              <a:ext cx="42863" cy="39688"/>
            </a:xfrm>
            <a:custGeom>
              <a:avLst/>
              <a:gdLst/>
              <a:ahLst/>
              <a:cxnLst>
                <a:cxn ang="0">
                  <a:pos x="19" y="5"/>
                </a:cxn>
                <a:cxn ang="0">
                  <a:pos x="20" y="3"/>
                </a:cxn>
                <a:cxn ang="0">
                  <a:pos x="17" y="1"/>
                </a:cxn>
                <a:cxn ang="0">
                  <a:pos x="14" y="1"/>
                </a:cxn>
                <a:cxn ang="0">
                  <a:pos x="13" y="3"/>
                </a:cxn>
                <a:cxn ang="0">
                  <a:pos x="6" y="1"/>
                </a:cxn>
                <a:cxn ang="0">
                  <a:pos x="3" y="3"/>
                </a:cxn>
                <a:cxn ang="0">
                  <a:pos x="2" y="13"/>
                </a:cxn>
                <a:cxn ang="0">
                  <a:pos x="14" y="11"/>
                </a:cxn>
                <a:cxn ang="0">
                  <a:pos x="21" y="17"/>
                </a:cxn>
                <a:cxn ang="0">
                  <a:pos x="22" y="9"/>
                </a:cxn>
                <a:cxn ang="0">
                  <a:pos x="18" y="5"/>
                </a:cxn>
                <a:cxn ang="0">
                  <a:pos x="19" y="5"/>
                </a:cxn>
              </a:cxnLst>
              <a:rect l="0" t="0" r="r" b="b"/>
              <a:pathLst>
                <a:path w="23" h="21">
                  <a:moveTo>
                    <a:pt x="19" y="5"/>
                  </a:moveTo>
                  <a:cubicBezTo>
                    <a:pt x="20" y="5"/>
                    <a:pt x="20" y="4"/>
                    <a:pt x="20" y="3"/>
                  </a:cubicBezTo>
                  <a:cubicBezTo>
                    <a:pt x="20" y="1"/>
                    <a:pt x="19" y="1"/>
                    <a:pt x="17" y="1"/>
                  </a:cubicBezTo>
                  <a:cubicBezTo>
                    <a:pt x="16" y="1"/>
                    <a:pt x="15" y="1"/>
                    <a:pt x="14" y="1"/>
                  </a:cubicBezTo>
                  <a:cubicBezTo>
                    <a:pt x="13" y="1"/>
                    <a:pt x="14" y="2"/>
                    <a:pt x="13" y="3"/>
                  </a:cubicBezTo>
                  <a:cubicBezTo>
                    <a:pt x="10" y="4"/>
                    <a:pt x="8" y="0"/>
                    <a:pt x="6" y="1"/>
                  </a:cubicBezTo>
                  <a:cubicBezTo>
                    <a:pt x="4" y="1"/>
                    <a:pt x="4" y="1"/>
                    <a:pt x="3" y="3"/>
                  </a:cubicBezTo>
                  <a:cubicBezTo>
                    <a:pt x="2" y="6"/>
                    <a:pt x="0" y="11"/>
                    <a:pt x="2" y="13"/>
                  </a:cubicBezTo>
                  <a:cubicBezTo>
                    <a:pt x="5" y="16"/>
                    <a:pt x="11" y="13"/>
                    <a:pt x="14" y="11"/>
                  </a:cubicBezTo>
                  <a:cubicBezTo>
                    <a:pt x="15" y="15"/>
                    <a:pt x="16" y="21"/>
                    <a:pt x="21" y="17"/>
                  </a:cubicBezTo>
                  <a:cubicBezTo>
                    <a:pt x="23" y="15"/>
                    <a:pt x="22" y="12"/>
                    <a:pt x="22" y="9"/>
                  </a:cubicBezTo>
                  <a:cubicBezTo>
                    <a:pt x="22" y="5"/>
                    <a:pt x="21" y="4"/>
                    <a:pt x="18" y="5"/>
                  </a:cubicBezTo>
                  <a:lnTo>
                    <a:pt x="19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7" name="Freeform 57">
              <a:extLst>
                <a:ext uri="{FF2B5EF4-FFF2-40B4-BE49-F238E27FC236}">
                  <a16:creationId xmlns:a16="http://schemas.microsoft.com/office/drawing/2014/main" id="{D38893E7-0037-4487-A82B-11D2473A09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75" y="5954713"/>
              <a:ext cx="38100" cy="3968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5" y="1"/>
                </a:cxn>
                <a:cxn ang="0">
                  <a:pos x="1" y="12"/>
                </a:cxn>
                <a:cxn ang="0">
                  <a:pos x="15" y="17"/>
                </a:cxn>
                <a:cxn ang="0">
                  <a:pos x="14" y="4"/>
                </a:cxn>
                <a:cxn ang="0">
                  <a:pos x="16" y="2"/>
                </a:cxn>
              </a:cxnLst>
              <a:rect l="0" t="0" r="r" b="b"/>
              <a:pathLst>
                <a:path w="20" h="21">
                  <a:moveTo>
                    <a:pt x="16" y="2"/>
                  </a:moveTo>
                  <a:cubicBezTo>
                    <a:pt x="12" y="3"/>
                    <a:pt x="9" y="0"/>
                    <a:pt x="5" y="1"/>
                  </a:cubicBezTo>
                  <a:cubicBezTo>
                    <a:pt x="1" y="2"/>
                    <a:pt x="0" y="8"/>
                    <a:pt x="1" y="12"/>
                  </a:cubicBezTo>
                  <a:cubicBezTo>
                    <a:pt x="4" y="17"/>
                    <a:pt x="10" y="21"/>
                    <a:pt x="15" y="17"/>
                  </a:cubicBezTo>
                  <a:cubicBezTo>
                    <a:pt x="20" y="14"/>
                    <a:pt x="16" y="8"/>
                    <a:pt x="14" y="4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8" name="Freeform 58">
              <a:extLst>
                <a:ext uri="{FF2B5EF4-FFF2-40B4-BE49-F238E27FC236}">
                  <a16:creationId xmlns:a16="http://schemas.microsoft.com/office/drawing/2014/main" id="{97595810-1AB9-4BCD-89C6-988ED1F41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0" y="5995988"/>
              <a:ext cx="34925" cy="20638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5" y="2"/>
                </a:cxn>
                <a:cxn ang="0">
                  <a:pos x="0" y="8"/>
                </a:cxn>
                <a:cxn ang="0">
                  <a:pos x="8" y="11"/>
                </a:cxn>
                <a:cxn ang="0">
                  <a:pos x="19" y="11"/>
                </a:cxn>
                <a:cxn ang="0">
                  <a:pos x="16" y="9"/>
                </a:cxn>
                <a:cxn ang="0">
                  <a:pos x="17" y="7"/>
                </a:cxn>
              </a:cxnLst>
              <a:rect l="0" t="0" r="r" b="b"/>
              <a:pathLst>
                <a:path w="19" h="11">
                  <a:moveTo>
                    <a:pt x="17" y="7"/>
                  </a:moveTo>
                  <a:cubicBezTo>
                    <a:pt x="14" y="4"/>
                    <a:pt x="9" y="0"/>
                    <a:pt x="5" y="2"/>
                  </a:cubicBezTo>
                  <a:cubicBezTo>
                    <a:pt x="3" y="2"/>
                    <a:pt x="0" y="5"/>
                    <a:pt x="0" y="8"/>
                  </a:cubicBezTo>
                  <a:cubicBezTo>
                    <a:pt x="1" y="11"/>
                    <a:pt x="6" y="11"/>
                    <a:pt x="8" y="11"/>
                  </a:cubicBezTo>
                  <a:cubicBezTo>
                    <a:pt x="12" y="11"/>
                    <a:pt x="15" y="11"/>
                    <a:pt x="19" y="11"/>
                  </a:cubicBezTo>
                  <a:cubicBezTo>
                    <a:pt x="18" y="10"/>
                    <a:pt x="18" y="9"/>
                    <a:pt x="16" y="9"/>
                  </a:cubicBezTo>
                  <a:lnTo>
                    <a:pt x="17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89" name="Freeform 59">
              <a:extLst>
                <a:ext uri="{FF2B5EF4-FFF2-40B4-BE49-F238E27FC236}">
                  <a16:creationId xmlns:a16="http://schemas.microsoft.com/office/drawing/2014/main" id="{A1E4276F-5EE4-4630-8EB8-E0E0CDA38A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1863" y="5770563"/>
              <a:ext cx="2187575" cy="968375"/>
            </a:xfrm>
            <a:custGeom>
              <a:avLst/>
              <a:gdLst/>
              <a:ahLst/>
              <a:cxnLst>
                <a:cxn ang="0">
                  <a:pos x="135" y="37"/>
                </a:cxn>
                <a:cxn ang="0">
                  <a:pos x="102" y="10"/>
                </a:cxn>
                <a:cxn ang="0">
                  <a:pos x="53" y="16"/>
                </a:cxn>
                <a:cxn ang="0">
                  <a:pos x="54" y="38"/>
                </a:cxn>
                <a:cxn ang="0">
                  <a:pos x="19" y="104"/>
                </a:cxn>
                <a:cxn ang="0">
                  <a:pos x="59" y="122"/>
                </a:cxn>
                <a:cxn ang="0">
                  <a:pos x="74" y="124"/>
                </a:cxn>
                <a:cxn ang="0">
                  <a:pos x="113" y="111"/>
                </a:cxn>
                <a:cxn ang="0">
                  <a:pos x="104" y="96"/>
                </a:cxn>
                <a:cxn ang="0">
                  <a:pos x="141" y="88"/>
                </a:cxn>
                <a:cxn ang="0">
                  <a:pos x="187" y="95"/>
                </a:cxn>
                <a:cxn ang="0">
                  <a:pos x="311" y="435"/>
                </a:cxn>
                <a:cxn ang="0">
                  <a:pos x="1149" y="410"/>
                </a:cxn>
                <a:cxn ang="0">
                  <a:pos x="1131" y="343"/>
                </a:cxn>
                <a:cxn ang="0">
                  <a:pos x="1139" y="238"/>
                </a:cxn>
                <a:cxn ang="0">
                  <a:pos x="1079" y="167"/>
                </a:cxn>
                <a:cxn ang="0">
                  <a:pos x="1047" y="94"/>
                </a:cxn>
                <a:cxn ang="0">
                  <a:pos x="986" y="83"/>
                </a:cxn>
                <a:cxn ang="0">
                  <a:pos x="925" y="97"/>
                </a:cxn>
                <a:cxn ang="0">
                  <a:pos x="812" y="112"/>
                </a:cxn>
                <a:cxn ang="0">
                  <a:pos x="739" y="118"/>
                </a:cxn>
                <a:cxn ang="0">
                  <a:pos x="663" y="97"/>
                </a:cxn>
                <a:cxn ang="0">
                  <a:pos x="612" y="65"/>
                </a:cxn>
                <a:cxn ang="0">
                  <a:pos x="550" y="27"/>
                </a:cxn>
                <a:cxn ang="0">
                  <a:pos x="477" y="22"/>
                </a:cxn>
                <a:cxn ang="0">
                  <a:pos x="367" y="43"/>
                </a:cxn>
                <a:cxn ang="0">
                  <a:pos x="321" y="86"/>
                </a:cxn>
                <a:cxn ang="0">
                  <a:pos x="208" y="75"/>
                </a:cxn>
                <a:cxn ang="0">
                  <a:pos x="194" y="88"/>
                </a:cxn>
                <a:cxn ang="0">
                  <a:pos x="199" y="100"/>
                </a:cxn>
                <a:cxn ang="0">
                  <a:pos x="242" y="115"/>
                </a:cxn>
                <a:cxn ang="0">
                  <a:pos x="208" y="119"/>
                </a:cxn>
                <a:cxn ang="0">
                  <a:pos x="178" y="135"/>
                </a:cxn>
                <a:cxn ang="0">
                  <a:pos x="141" y="140"/>
                </a:cxn>
                <a:cxn ang="0">
                  <a:pos x="119" y="137"/>
                </a:cxn>
                <a:cxn ang="0">
                  <a:pos x="86" y="135"/>
                </a:cxn>
                <a:cxn ang="0">
                  <a:pos x="59" y="130"/>
                </a:cxn>
                <a:cxn ang="0">
                  <a:pos x="1" y="158"/>
                </a:cxn>
                <a:cxn ang="0">
                  <a:pos x="29" y="171"/>
                </a:cxn>
                <a:cxn ang="0">
                  <a:pos x="60" y="208"/>
                </a:cxn>
                <a:cxn ang="0">
                  <a:pos x="67" y="265"/>
                </a:cxn>
                <a:cxn ang="0">
                  <a:pos x="41" y="277"/>
                </a:cxn>
                <a:cxn ang="0">
                  <a:pos x="86" y="340"/>
                </a:cxn>
                <a:cxn ang="0">
                  <a:pos x="65" y="361"/>
                </a:cxn>
                <a:cxn ang="0">
                  <a:pos x="98" y="400"/>
                </a:cxn>
                <a:cxn ang="0">
                  <a:pos x="146" y="416"/>
                </a:cxn>
                <a:cxn ang="0">
                  <a:pos x="125" y="439"/>
                </a:cxn>
                <a:cxn ang="0">
                  <a:pos x="187" y="443"/>
                </a:cxn>
                <a:cxn ang="0">
                  <a:pos x="272" y="477"/>
                </a:cxn>
                <a:cxn ang="0">
                  <a:pos x="345" y="445"/>
                </a:cxn>
                <a:cxn ang="0">
                  <a:pos x="381" y="481"/>
                </a:cxn>
                <a:cxn ang="0">
                  <a:pos x="492" y="491"/>
                </a:cxn>
                <a:cxn ang="0">
                  <a:pos x="542" y="456"/>
                </a:cxn>
                <a:cxn ang="0">
                  <a:pos x="595" y="462"/>
                </a:cxn>
                <a:cxn ang="0">
                  <a:pos x="617" y="517"/>
                </a:cxn>
                <a:cxn ang="0">
                  <a:pos x="669" y="462"/>
                </a:cxn>
                <a:cxn ang="0">
                  <a:pos x="764" y="454"/>
                </a:cxn>
                <a:cxn ang="0">
                  <a:pos x="882" y="455"/>
                </a:cxn>
                <a:cxn ang="0">
                  <a:pos x="983" y="447"/>
                </a:cxn>
                <a:cxn ang="0">
                  <a:pos x="1079" y="436"/>
                </a:cxn>
              </a:cxnLst>
              <a:rect l="0" t="0" r="r" b="b"/>
              <a:pathLst>
                <a:path w="1171" h="518">
                  <a:moveTo>
                    <a:pt x="197" y="70"/>
                  </a:moveTo>
                  <a:cubicBezTo>
                    <a:pt x="193" y="69"/>
                    <a:pt x="188" y="67"/>
                    <a:pt x="184" y="66"/>
                  </a:cubicBezTo>
                  <a:cubicBezTo>
                    <a:pt x="181" y="65"/>
                    <a:pt x="178" y="66"/>
                    <a:pt x="175" y="65"/>
                  </a:cubicBezTo>
                  <a:cubicBezTo>
                    <a:pt x="172" y="65"/>
                    <a:pt x="171" y="64"/>
                    <a:pt x="168" y="63"/>
                  </a:cubicBezTo>
                  <a:cubicBezTo>
                    <a:pt x="165" y="61"/>
                    <a:pt x="164" y="62"/>
                    <a:pt x="162" y="59"/>
                  </a:cubicBezTo>
                  <a:cubicBezTo>
                    <a:pt x="161" y="58"/>
                    <a:pt x="160" y="56"/>
                    <a:pt x="159" y="55"/>
                  </a:cubicBezTo>
                  <a:cubicBezTo>
                    <a:pt x="158" y="53"/>
                    <a:pt x="156" y="54"/>
                    <a:pt x="154" y="54"/>
                  </a:cubicBezTo>
                  <a:cubicBezTo>
                    <a:pt x="152" y="53"/>
                    <a:pt x="150" y="51"/>
                    <a:pt x="148" y="49"/>
                  </a:cubicBezTo>
                  <a:cubicBezTo>
                    <a:pt x="145" y="47"/>
                    <a:pt x="142" y="48"/>
                    <a:pt x="140" y="47"/>
                  </a:cubicBezTo>
                  <a:cubicBezTo>
                    <a:pt x="135" y="45"/>
                    <a:pt x="137" y="41"/>
                    <a:pt x="135" y="37"/>
                  </a:cubicBezTo>
                  <a:cubicBezTo>
                    <a:pt x="135" y="36"/>
                    <a:pt x="134" y="35"/>
                    <a:pt x="134" y="34"/>
                  </a:cubicBezTo>
                  <a:cubicBezTo>
                    <a:pt x="134" y="32"/>
                    <a:pt x="134" y="30"/>
                    <a:pt x="134" y="28"/>
                  </a:cubicBezTo>
                  <a:cubicBezTo>
                    <a:pt x="133" y="24"/>
                    <a:pt x="131" y="23"/>
                    <a:pt x="131" y="19"/>
                  </a:cubicBezTo>
                  <a:cubicBezTo>
                    <a:pt x="131" y="16"/>
                    <a:pt x="130" y="14"/>
                    <a:pt x="128" y="11"/>
                  </a:cubicBezTo>
                  <a:cubicBezTo>
                    <a:pt x="128" y="11"/>
                    <a:pt x="127" y="11"/>
                    <a:pt x="126" y="11"/>
                  </a:cubicBezTo>
                  <a:cubicBezTo>
                    <a:pt x="123" y="12"/>
                    <a:pt x="121" y="13"/>
                    <a:pt x="118" y="13"/>
                  </a:cubicBezTo>
                  <a:cubicBezTo>
                    <a:pt x="116" y="13"/>
                    <a:pt x="114" y="14"/>
                    <a:pt x="112" y="15"/>
                  </a:cubicBezTo>
                  <a:cubicBezTo>
                    <a:pt x="111" y="15"/>
                    <a:pt x="110" y="16"/>
                    <a:pt x="108" y="16"/>
                  </a:cubicBezTo>
                  <a:cubicBezTo>
                    <a:pt x="106" y="16"/>
                    <a:pt x="107" y="16"/>
                    <a:pt x="106" y="14"/>
                  </a:cubicBezTo>
                  <a:cubicBezTo>
                    <a:pt x="105" y="13"/>
                    <a:pt x="103" y="11"/>
                    <a:pt x="102" y="10"/>
                  </a:cubicBezTo>
                  <a:cubicBezTo>
                    <a:pt x="101" y="8"/>
                    <a:pt x="101" y="8"/>
                    <a:pt x="99" y="8"/>
                  </a:cubicBezTo>
                  <a:cubicBezTo>
                    <a:pt x="98" y="7"/>
                    <a:pt x="98" y="6"/>
                    <a:pt x="97" y="6"/>
                  </a:cubicBezTo>
                  <a:cubicBezTo>
                    <a:pt x="96" y="5"/>
                    <a:pt x="95" y="6"/>
                    <a:pt x="93" y="6"/>
                  </a:cubicBezTo>
                  <a:cubicBezTo>
                    <a:pt x="90" y="6"/>
                    <a:pt x="88" y="3"/>
                    <a:pt x="86" y="2"/>
                  </a:cubicBezTo>
                  <a:cubicBezTo>
                    <a:pt x="83" y="0"/>
                    <a:pt x="82" y="3"/>
                    <a:pt x="80" y="4"/>
                  </a:cubicBezTo>
                  <a:cubicBezTo>
                    <a:pt x="76" y="6"/>
                    <a:pt x="74" y="8"/>
                    <a:pt x="71" y="10"/>
                  </a:cubicBezTo>
                  <a:cubicBezTo>
                    <a:pt x="69" y="11"/>
                    <a:pt x="69" y="11"/>
                    <a:pt x="67" y="10"/>
                  </a:cubicBezTo>
                  <a:cubicBezTo>
                    <a:pt x="66" y="10"/>
                    <a:pt x="65" y="11"/>
                    <a:pt x="64" y="11"/>
                  </a:cubicBezTo>
                  <a:cubicBezTo>
                    <a:pt x="62" y="12"/>
                    <a:pt x="60" y="12"/>
                    <a:pt x="58" y="12"/>
                  </a:cubicBezTo>
                  <a:cubicBezTo>
                    <a:pt x="57" y="13"/>
                    <a:pt x="55" y="14"/>
                    <a:pt x="53" y="16"/>
                  </a:cubicBezTo>
                  <a:cubicBezTo>
                    <a:pt x="53" y="16"/>
                    <a:pt x="53" y="17"/>
                    <a:pt x="53" y="17"/>
                  </a:cubicBezTo>
                  <a:cubicBezTo>
                    <a:pt x="52" y="18"/>
                    <a:pt x="52" y="18"/>
                    <a:pt x="51" y="19"/>
                  </a:cubicBezTo>
                  <a:cubicBezTo>
                    <a:pt x="51" y="19"/>
                    <a:pt x="50" y="19"/>
                    <a:pt x="50" y="20"/>
                  </a:cubicBezTo>
                  <a:cubicBezTo>
                    <a:pt x="50" y="20"/>
                    <a:pt x="49" y="20"/>
                    <a:pt x="50" y="21"/>
                  </a:cubicBezTo>
                  <a:cubicBezTo>
                    <a:pt x="47" y="21"/>
                    <a:pt x="47" y="21"/>
                    <a:pt x="45" y="23"/>
                  </a:cubicBezTo>
                  <a:cubicBezTo>
                    <a:pt x="44" y="24"/>
                    <a:pt x="44" y="25"/>
                    <a:pt x="43" y="27"/>
                  </a:cubicBezTo>
                  <a:cubicBezTo>
                    <a:pt x="43" y="29"/>
                    <a:pt x="43" y="31"/>
                    <a:pt x="43" y="33"/>
                  </a:cubicBezTo>
                  <a:cubicBezTo>
                    <a:pt x="43" y="32"/>
                    <a:pt x="43" y="31"/>
                    <a:pt x="43" y="30"/>
                  </a:cubicBezTo>
                  <a:cubicBezTo>
                    <a:pt x="45" y="31"/>
                    <a:pt x="46" y="33"/>
                    <a:pt x="48" y="34"/>
                  </a:cubicBezTo>
                  <a:cubicBezTo>
                    <a:pt x="51" y="35"/>
                    <a:pt x="54" y="34"/>
                    <a:pt x="54" y="38"/>
                  </a:cubicBezTo>
                  <a:cubicBezTo>
                    <a:pt x="54" y="43"/>
                    <a:pt x="54" y="46"/>
                    <a:pt x="55" y="50"/>
                  </a:cubicBezTo>
                  <a:cubicBezTo>
                    <a:pt x="55" y="54"/>
                    <a:pt x="57" y="59"/>
                    <a:pt x="53" y="61"/>
                  </a:cubicBezTo>
                  <a:cubicBezTo>
                    <a:pt x="51" y="63"/>
                    <a:pt x="46" y="61"/>
                    <a:pt x="44" y="63"/>
                  </a:cubicBezTo>
                  <a:cubicBezTo>
                    <a:pt x="40" y="65"/>
                    <a:pt x="40" y="70"/>
                    <a:pt x="40" y="74"/>
                  </a:cubicBezTo>
                  <a:cubicBezTo>
                    <a:pt x="40" y="78"/>
                    <a:pt x="39" y="81"/>
                    <a:pt x="39" y="85"/>
                  </a:cubicBezTo>
                  <a:cubicBezTo>
                    <a:pt x="39" y="87"/>
                    <a:pt x="39" y="87"/>
                    <a:pt x="38" y="89"/>
                  </a:cubicBezTo>
                  <a:cubicBezTo>
                    <a:pt x="37" y="91"/>
                    <a:pt x="33" y="93"/>
                    <a:pt x="31" y="95"/>
                  </a:cubicBezTo>
                  <a:cubicBezTo>
                    <a:pt x="28" y="97"/>
                    <a:pt x="27" y="100"/>
                    <a:pt x="25" y="103"/>
                  </a:cubicBezTo>
                  <a:cubicBezTo>
                    <a:pt x="24" y="105"/>
                    <a:pt x="24" y="107"/>
                    <a:pt x="22" y="107"/>
                  </a:cubicBezTo>
                  <a:cubicBezTo>
                    <a:pt x="22" y="107"/>
                    <a:pt x="21" y="106"/>
                    <a:pt x="19" y="104"/>
                  </a:cubicBezTo>
                  <a:cubicBezTo>
                    <a:pt x="19" y="105"/>
                    <a:pt x="19" y="106"/>
                    <a:pt x="19" y="107"/>
                  </a:cubicBezTo>
                  <a:cubicBezTo>
                    <a:pt x="20" y="108"/>
                    <a:pt x="21" y="109"/>
                    <a:pt x="21" y="111"/>
                  </a:cubicBezTo>
                  <a:cubicBezTo>
                    <a:pt x="22" y="116"/>
                    <a:pt x="22" y="120"/>
                    <a:pt x="29" y="121"/>
                  </a:cubicBezTo>
                  <a:cubicBezTo>
                    <a:pt x="35" y="122"/>
                    <a:pt x="42" y="121"/>
                    <a:pt x="48" y="121"/>
                  </a:cubicBezTo>
                  <a:cubicBezTo>
                    <a:pt x="50" y="121"/>
                    <a:pt x="51" y="121"/>
                    <a:pt x="52" y="122"/>
                  </a:cubicBezTo>
                  <a:cubicBezTo>
                    <a:pt x="51" y="121"/>
                    <a:pt x="56" y="124"/>
                    <a:pt x="56" y="123"/>
                  </a:cubicBezTo>
                  <a:cubicBezTo>
                    <a:pt x="57" y="124"/>
                    <a:pt x="57" y="126"/>
                    <a:pt x="58" y="126"/>
                  </a:cubicBezTo>
                  <a:cubicBezTo>
                    <a:pt x="58" y="126"/>
                    <a:pt x="59" y="126"/>
                    <a:pt x="59" y="126"/>
                  </a:cubicBezTo>
                  <a:cubicBezTo>
                    <a:pt x="59" y="126"/>
                    <a:pt x="59" y="126"/>
                    <a:pt x="59" y="125"/>
                  </a:cubicBezTo>
                  <a:cubicBezTo>
                    <a:pt x="59" y="124"/>
                    <a:pt x="58" y="123"/>
                    <a:pt x="59" y="122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60" y="122"/>
                    <a:pt x="60" y="123"/>
                    <a:pt x="61" y="123"/>
                  </a:cubicBezTo>
                  <a:cubicBezTo>
                    <a:pt x="61" y="124"/>
                    <a:pt x="61" y="125"/>
                    <a:pt x="61" y="12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2" y="127"/>
                    <a:pt x="62" y="127"/>
                    <a:pt x="62" y="128"/>
                  </a:cubicBezTo>
                  <a:cubicBezTo>
                    <a:pt x="62" y="128"/>
                    <a:pt x="63" y="128"/>
                    <a:pt x="63" y="128"/>
                  </a:cubicBezTo>
                  <a:cubicBezTo>
                    <a:pt x="64" y="128"/>
                    <a:pt x="64" y="128"/>
                    <a:pt x="65" y="128"/>
                  </a:cubicBezTo>
                  <a:cubicBezTo>
                    <a:pt x="66" y="128"/>
                    <a:pt x="67" y="128"/>
                    <a:pt x="68" y="128"/>
                  </a:cubicBezTo>
                  <a:cubicBezTo>
                    <a:pt x="69" y="127"/>
                    <a:pt x="70" y="126"/>
                    <a:pt x="71" y="126"/>
                  </a:cubicBezTo>
                  <a:cubicBezTo>
                    <a:pt x="72" y="125"/>
                    <a:pt x="73" y="124"/>
                    <a:pt x="74" y="124"/>
                  </a:cubicBezTo>
                  <a:cubicBezTo>
                    <a:pt x="75" y="124"/>
                    <a:pt x="76" y="124"/>
                    <a:pt x="76" y="124"/>
                  </a:cubicBezTo>
                  <a:cubicBezTo>
                    <a:pt x="77" y="123"/>
                    <a:pt x="78" y="122"/>
                    <a:pt x="79" y="121"/>
                  </a:cubicBezTo>
                  <a:cubicBezTo>
                    <a:pt x="81" y="120"/>
                    <a:pt x="84" y="119"/>
                    <a:pt x="85" y="117"/>
                  </a:cubicBezTo>
                  <a:cubicBezTo>
                    <a:pt x="85" y="116"/>
                    <a:pt x="85" y="115"/>
                    <a:pt x="86" y="114"/>
                  </a:cubicBezTo>
                  <a:cubicBezTo>
                    <a:pt x="87" y="113"/>
                    <a:pt x="90" y="112"/>
                    <a:pt x="92" y="112"/>
                  </a:cubicBezTo>
                  <a:cubicBezTo>
                    <a:pt x="93" y="112"/>
                    <a:pt x="94" y="112"/>
                    <a:pt x="95" y="112"/>
                  </a:cubicBezTo>
                  <a:cubicBezTo>
                    <a:pt x="97" y="112"/>
                    <a:pt x="100" y="112"/>
                    <a:pt x="103" y="112"/>
                  </a:cubicBezTo>
                  <a:cubicBezTo>
                    <a:pt x="104" y="112"/>
                    <a:pt x="105" y="112"/>
                    <a:pt x="106" y="112"/>
                  </a:cubicBezTo>
                  <a:cubicBezTo>
                    <a:pt x="107" y="111"/>
                    <a:pt x="107" y="111"/>
                    <a:pt x="108" y="111"/>
                  </a:cubicBezTo>
                  <a:cubicBezTo>
                    <a:pt x="109" y="110"/>
                    <a:pt x="111" y="111"/>
                    <a:pt x="113" y="111"/>
                  </a:cubicBezTo>
                  <a:cubicBezTo>
                    <a:pt x="113" y="111"/>
                    <a:pt x="114" y="111"/>
                    <a:pt x="115" y="111"/>
                  </a:cubicBezTo>
                  <a:cubicBezTo>
                    <a:pt x="117" y="113"/>
                    <a:pt x="119" y="114"/>
                    <a:pt x="121" y="115"/>
                  </a:cubicBezTo>
                  <a:cubicBezTo>
                    <a:pt x="124" y="116"/>
                    <a:pt x="127" y="117"/>
                    <a:pt x="129" y="114"/>
                  </a:cubicBezTo>
                  <a:cubicBezTo>
                    <a:pt x="130" y="112"/>
                    <a:pt x="132" y="109"/>
                    <a:pt x="132" y="107"/>
                  </a:cubicBezTo>
                  <a:cubicBezTo>
                    <a:pt x="131" y="106"/>
                    <a:pt x="130" y="105"/>
                    <a:pt x="129" y="104"/>
                  </a:cubicBezTo>
                  <a:cubicBezTo>
                    <a:pt x="128" y="104"/>
                    <a:pt x="128" y="103"/>
                    <a:pt x="127" y="102"/>
                  </a:cubicBezTo>
                  <a:cubicBezTo>
                    <a:pt x="126" y="101"/>
                    <a:pt x="125" y="101"/>
                    <a:pt x="124" y="101"/>
                  </a:cubicBezTo>
                  <a:cubicBezTo>
                    <a:pt x="121" y="101"/>
                    <a:pt x="119" y="101"/>
                    <a:pt x="117" y="100"/>
                  </a:cubicBezTo>
                  <a:cubicBezTo>
                    <a:pt x="115" y="100"/>
                    <a:pt x="113" y="99"/>
                    <a:pt x="111" y="98"/>
                  </a:cubicBezTo>
                  <a:cubicBezTo>
                    <a:pt x="109" y="98"/>
                    <a:pt x="105" y="98"/>
                    <a:pt x="104" y="96"/>
                  </a:cubicBezTo>
                  <a:cubicBezTo>
                    <a:pt x="103" y="95"/>
                    <a:pt x="104" y="94"/>
                    <a:pt x="104" y="93"/>
                  </a:cubicBezTo>
                  <a:cubicBezTo>
                    <a:pt x="105" y="92"/>
                    <a:pt x="107" y="92"/>
                    <a:pt x="108" y="92"/>
                  </a:cubicBezTo>
                  <a:cubicBezTo>
                    <a:pt x="110" y="91"/>
                    <a:pt x="112" y="91"/>
                    <a:pt x="114" y="91"/>
                  </a:cubicBezTo>
                  <a:cubicBezTo>
                    <a:pt x="116" y="91"/>
                    <a:pt x="118" y="91"/>
                    <a:pt x="120" y="91"/>
                  </a:cubicBezTo>
                  <a:cubicBezTo>
                    <a:pt x="123" y="91"/>
                    <a:pt x="125" y="92"/>
                    <a:pt x="128" y="92"/>
                  </a:cubicBezTo>
                  <a:cubicBezTo>
                    <a:pt x="129" y="92"/>
                    <a:pt x="129" y="92"/>
                    <a:pt x="130" y="91"/>
                  </a:cubicBezTo>
                  <a:cubicBezTo>
                    <a:pt x="131" y="91"/>
                    <a:pt x="132" y="90"/>
                    <a:pt x="132" y="89"/>
                  </a:cubicBezTo>
                  <a:cubicBezTo>
                    <a:pt x="132" y="88"/>
                    <a:pt x="131" y="87"/>
                    <a:pt x="132" y="87"/>
                  </a:cubicBezTo>
                  <a:cubicBezTo>
                    <a:pt x="133" y="86"/>
                    <a:pt x="135" y="87"/>
                    <a:pt x="136" y="87"/>
                  </a:cubicBezTo>
                  <a:cubicBezTo>
                    <a:pt x="138" y="87"/>
                    <a:pt x="140" y="87"/>
                    <a:pt x="141" y="88"/>
                  </a:cubicBezTo>
                  <a:cubicBezTo>
                    <a:pt x="143" y="88"/>
                    <a:pt x="145" y="88"/>
                    <a:pt x="146" y="88"/>
                  </a:cubicBezTo>
                  <a:cubicBezTo>
                    <a:pt x="150" y="87"/>
                    <a:pt x="153" y="87"/>
                    <a:pt x="156" y="88"/>
                  </a:cubicBezTo>
                  <a:cubicBezTo>
                    <a:pt x="157" y="89"/>
                    <a:pt x="158" y="90"/>
                    <a:pt x="159" y="90"/>
                  </a:cubicBezTo>
                  <a:cubicBezTo>
                    <a:pt x="160" y="91"/>
                    <a:pt x="161" y="91"/>
                    <a:pt x="162" y="92"/>
                  </a:cubicBezTo>
                  <a:cubicBezTo>
                    <a:pt x="164" y="92"/>
                    <a:pt x="166" y="93"/>
                    <a:pt x="168" y="94"/>
                  </a:cubicBezTo>
                  <a:cubicBezTo>
                    <a:pt x="171" y="95"/>
                    <a:pt x="173" y="95"/>
                    <a:pt x="175" y="96"/>
                  </a:cubicBezTo>
                  <a:cubicBezTo>
                    <a:pt x="177" y="97"/>
                    <a:pt x="178" y="96"/>
                    <a:pt x="179" y="95"/>
                  </a:cubicBezTo>
                  <a:cubicBezTo>
                    <a:pt x="180" y="95"/>
                    <a:pt x="181" y="94"/>
                    <a:pt x="183" y="94"/>
                  </a:cubicBezTo>
                  <a:cubicBezTo>
                    <a:pt x="183" y="94"/>
                    <a:pt x="184" y="95"/>
                    <a:pt x="185" y="95"/>
                  </a:cubicBezTo>
                  <a:cubicBezTo>
                    <a:pt x="185" y="95"/>
                    <a:pt x="187" y="95"/>
                    <a:pt x="187" y="95"/>
                  </a:cubicBezTo>
                  <a:cubicBezTo>
                    <a:pt x="188" y="95"/>
                    <a:pt x="188" y="94"/>
                    <a:pt x="189" y="94"/>
                  </a:cubicBezTo>
                  <a:cubicBezTo>
                    <a:pt x="189" y="93"/>
                    <a:pt x="190" y="92"/>
                    <a:pt x="191" y="92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2" y="90"/>
                    <a:pt x="191" y="88"/>
                    <a:pt x="191" y="87"/>
                  </a:cubicBezTo>
                  <a:cubicBezTo>
                    <a:pt x="191" y="85"/>
                    <a:pt x="192" y="84"/>
                    <a:pt x="193" y="82"/>
                  </a:cubicBezTo>
                  <a:cubicBezTo>
                    <a:pt x="194" y="80"/>
                    <a:pt x="195" y="77"/>
                    <a:pt x="195" y="75"/>
                  </a:cubicBezTo>
                  <a:cubicBezTo>
                    <a:pt x="195" y="74"/>
                    <a:pt x="196" y="72"/>
                    <a:pt x="197" y="71"/>
                  </a:cubicBezTo>
                  <a:cubicBezTo>
                    <a:pt x="197" y="71"/>
                    <a:pt x="197" y="70"/>
                    <a:pt x="197" y="70"/>
                  </a:cubicBezTo>
                  <a:moveTo>
                    <a:pt x="312" y="435"/>
                  </a:moveTo>
                  <a:cubicBezTo>
                    <a:pt x="312" y="435"/>
                    <a:pt x="311" y="435"/>
                    <a:pt x="311" y="435"/>
                  </a:cubicBezTo>
                  <a:cubicBezTo>
                    <a:pt x="311" y="435"/>
                    <a:pt x="312" y="435"/>
                    <a:pt x="312" y="435"/>
                  </a:cubicBezTo>
                  <a:moveTo>
                    <a:pt x="668" y="97"/>
                  </a:moveTo>
                  <a:cubicBezTo>
                    <a:pt x="669" y="97"/>
                    <a:pt x="670" y="97"/>
                    <a:pt x="671" y="97"/>
                  </a:cubicBezTo>
                  <a:cubicBezTo>
                    <a:pt x="670" y="97"/>
                    <a:pt x="669" y="97"/>
                    <a:pt x="668" y="97"/>
                  </a:cubicBezTo>
                  <a:cubicBezTo>
                    <a:pt x="668" y="97"/>
                    <a:pt x="668" y="97"/>
                    <a:pt x="668" y="97"/>
                  </a:cubicBezTo>
                  <a:moveTo>
                    <a:pt x="1170" y="445"/>
                  </a:moveTo>
                  <a:cubicBezTo>
                    <a:pt x="1169" y="442"/>
                    <a:pt x="1168" y="441"/>
                    <a:pt x="1165" y="439"/>
                  </a:cubicBezTo>
                  <a:cubicBezTo>
                    <a:pt x="1161" y="437"/>
                    <a:pt x="1159" y="436"/>
                    <a:pt x="1156" y="432"/>
                  </a:cubicBezTo>
                  <a:cubicBezTo>
                    <a:pt x="1151" y="428"/>
                    <a:pt x="1148" y="425"/>
                    <a:pt x="1149" y="419"/>
                  </a:cubicBezTo>
                  <a:cubicBezTo>
                    <a:pt x="1149" y="416"/>
                    <a:pt x="1149" y="413"/>
                    <a:pt x="1149" y="410"/>
                  </a:cubicBezTo>
                  <a:cubicBezTo>
                    <a:pt x="1149" y="407"/>
                    <a:pt x="1151" y="399"/>
                    <a:pt x="1149" y="396"/>
                  </a:cubicBezTo>
                  <a:cubicBezTo>
                    <a:pt x="1149" y="396"/>
                    <a:pt x="1145" y="394"/>
                    <a:pt x="1144" y="394"/>
                  </a:cubicBezTo>
                  <a:cubicBezTo>
                    <a:pt x="1142" y="393"/>
                    <a:pt x="1139" y="391"/>
                    <a:pt x="1137" y="390"/>
                  </a:cubicBezTo>
                  <a:cubicBezTo>
                    <a:pt x="1133" y="389"/>
                    <a:pt x="1131" y="391"/>
                    <a:pt x="1130" y="387"/>
                  </a:cubicBezTo>
                  <a:cubicBezTo>
                    <a:pt x="1129" y="384"/>
                    <a:pt x="1130" y="382"/>
                    <a:pt x="1132" y="380"/>
                  </a:cubicBezTo>
                  <a:cubicBezTo>
                    <a:pt x="1134" y="378"/>
                    <a:pt x="1134" y="380"/>
                    <a:pt x="1136" y="376"/>
                  </a:cubicBezTo>
                  <a:cubicBezTo>
                    <a:pt x="1138" y="372"/>
                    <a:pt x="1141" y="368"/>
                    <a:pt x="1142" y="363"/>
                  </a:cubicBezTo>
                  <a:cubicBezTo>
                    <a:pt x="1142" y="361"/>
                    <a:pt x="1143" y="354"/>
                    <a:pt x="1141" y="352"/>
                  </a:cubicBezTo>
                  <a:cubicBezTo>
                    <a:pt x="1140" y="350"/>
                    <a:pt x="1136" y="351"/>
                    <a:pt x="1134" y="351"/>
                  </a:cubicBezTo>
                  <a:cubicBezTo>
                    <a:pt x="1130" y="350"/>
                    <a:pt x="1131" y="347"/>
                    <a:pt x="1131" y="343"/>
                  </a:cubicBezTo>
                  <a:cubicBezTo>
                    <a:pt x="1131" y="339"/>
                    <a:pt x="1131" y="335"/>
                    <a:pt x="1131" y="331"/>
                  </a:cubicBezTo>
                  <a:cubicBezTo>
                    <a:pt x="1131" y="322"/>
                    <a:pt x="1128" y="312"/>
                    <a:pt x="1124" y="302"/>
                  </a:cubicBezTo>
                  <a:cubicBezTo>
                    <a:pt x="1123" y="299"/>
                    <a:pt x="1120" y="295"/>
                    <a:pt x="1119" y="291"/>
                  </a:cubicBezTo>
                  <a:cubicBezTo>
                    <a:pt x="1116" y="283"/>
                    <a:pt x="1122" y="275"/>
                    <a:pt x="1120" y="268"/>
                  </a:cubicBezTo>
                  <a:cubicBezTo>
                    <a:pt x="1118" y="267"/>
                    <a:pt x="1114" y="268"/>
                    <a:pt x="1111" y="266"/>
                  </a:cubicBezTo>
                  <a:cubicBezTo>
                    <a:pt x="1106" y="263"/>
                    <a:pt x="1111" y="262"/>
                    <a:pt x="1115" y="261"/>
                  </a:cubicBezTo>
                  <a:cubicBezTo>
                    <a:pt x="1119" y="261"/>
                    <a:pt x="1126" y="261"/>
                    <a:pt x="1128" y="257"/>
                  </a:cubicBezTo>
                  <a:cubicBezTo>
                    <a:pt x="1129" y="256"/>
                    <a:pt x="1129" y="255"/>
                    <a:pt x="1129" y="253"/>
                  </a:cubicBezTo>
                  <a:cubicBezTo>
                    <a:pt x="1130" y="252"/>
                    <a:pt x="1132" y="250"/>
                    <a:pt x="1133" y="248"/>
                  </a:cubicBezTo>
                  <a:cubicBezTo>
                    <a:pt x="1135" y="245"/>
                    <a:pt x="1136" y="241"/>
                    <a:pt x="1139" y="238"/>
                  </a:cubicBezTo>
                  <a:cubicBezTo>
                    <a:pt x="1140" y="237"/>
                    <a:pt x="1142" y="236"/>
                    <a:pt x="1144" y="235"/>
                  </a:cubicBezTo>
                  <a:cubicBezTo>
                    <a:pt x="1146" y="234"/>
                    <a:pt x="1149" y="232"/>
                    <a:pt x="1151" y="230"/>
                  </a:cubicBezTo>
                  <a:cubicBezTo>
                    <a:pt x="1147" y="228"/>
                    <a:pt x="1144" y="226"/>
                    <a:pt x="1140" y="224"/>
                  </a:cubicBezTo>
                  <a:cubicBezTo>
                    <a:pt x="1140" y="224"/>
                    <a:pt x="1133" y="222"/>
                    <a:pt x="1133" y="221"/>
                  </a:cubicBezTo>
                  <a:cubicBezTo>
                    <a:pt x="1131" y="220"/>
                    <a:pt x="1131" y="218"/>
                    <a:pt x="1130" y="216"/>
                  </a:cubicBezTo>
                  <a:cubicBezTo>
                    <a:pt x="1125" y="213"/>
                    <a:pt x="1119" y="214"/>
                    <a:pt x="1113" y="214"/>
                  </a:cubicBezTo>
                  <a:cubicBezTo>
                    <a:pt x="1104" y="213"/>
                    <a:pt x="1096" y="206"/>
                    <a:pt x="1090" y="201"/>
                  </a:cubicBezTo>
                  <a:cubicBezTo>
                    <a:pt x="1084" y="195"/>
                    <a:pt x="1083" y="190"/>
                    <a:pt x="1081" y="181"/>
                  </a:cubicBezTo>
                  <a:cubicBezTo>
                    <a:pt x="1080" y="178"/>
                    <a:pt x="1079" y="177"/>
                    <a:pt x="1078" y="175"/>
                  </a:cubicBezTo>
                  <a:cubicBezTo>
                    <a:pt x="1077" y="172"/>
                    <a:pt x="1078" y="169"/>
                    <a:pt x="1079" y="167"/>
                  </a:cubicBezTo>
                  <a:cubicBezTo>
                    <a:pt x="1081" y="161"/>
                    <a:pt x="1085" y="154"/>
                    <a:pt x="1084" y="148"/>
                  </a:cubicBezTo>
                  <a:cubicBezTo>
                    <a:pt x="1084" y="146"/>
                    <a:pt x="1083" y="144"/>
                    <a:pt x="1082" y="142"/>
                  </a:cubicBezTo>
                  <a:cubicBezTo>
                    <a:pt x="1082" y="141"/>
                    <a:pt x="1079" y="138"/>
                    <a:pt x="1078" y="136"/>
                  </a:cubicBezTo>
                  <a:cubicBezTo>
                    <a:pt x="1077" y="134"/>
                    <a:pt x="1072" y="133"/>
                    <a:pt x="1072" y="131"/>
                  </a:cubicBezTo>
                  <a:cubicBezTo>
                    <a:pt x="1068" y="125"/>
                    <a:pt x="1082" y="122"/>
                    <a:pt x="1080" y="116"/>
                  </a:cubicBezTo>
                  <a:cubicBezTo>
                    <a:pt x="1072" y="114"/>
                    <a:pt x="1065" y="111"/>
                    <a:pt x="1057" y="108"/>
                  </a:cubicBezTo>
                  <a:cubicBezTo>
                    <a:pt x="1056" y="107"/>
                    <a:pt x="1054" y="107"/>
                    <a:pt x="1052" y="107"/>
                  </a:cubicBezTo>
                  <a:cubicBezTo>
                    <a:pt x="1051" y="106"/>
                    <a:pt x="1051" y="106"/>
                    <a:pt x="1049" y="105"/>
                  </a:cubicBezTo>
                  <a:cubicBezTo>
                    <a:pt x="1047" y="104"/>
                    <a:pt x="1045" y="104"/>
                    <a:pt x="1045" y="101"/>
                  </a:cubicBezTo>
                  <a:cubicBezTo>
                    <a:pt x="1045" y="98"/>
                    <a:pt x="1047" y="96"/>
                    <a:pt x="1047" y="94"/>
                  </a:cubicBezTo>
                  <a:cubicBezTo>
                    <a:pt x="1044" y="93"/>
                    <a:pt x="1039" y="96"/>
                    <a:pt x="1037" y="94"/>
                  </a:cubicBezTo>
                  <a:cubicBezTo>
                    <a:pt x="1036" y="93"/>
                    <a:pt x="1035" y="90"/>
                    <a:pt x="1034" y="89"/>
                  </a:cubicBezTo>
                  <a:cubicBezTo>
                    <a:pt x="1032" y="87"/>
                    <a:pt x="1028" y="87"/>
                    <a:pt x="1027" y="85"/>
                  </a:cubicBezTo>
                  <a:cubicBezTo>
                    <a:pt x="1025" y="84"/>
                    <a:pt x="1026" y="82"/>
                    <a:pt x="1025" y="80"/>
                  </a:cubicBezTo>
                  <a:cubicBezTo>
                    <a:pt x="1023" y="77"/>
                    <a:pt x="1017" y="76"/>
                    <a:pt x="1014" y="75"/>
                  </a:cubicBezTo>
                  <a:cubicBezTo>
                    <a:pt x="1012" y="74"/>
                    <a:pt x="1008" y="72"/>
                    <a:pt x="1006" y="73"/>
                  </a:cubicBezTo>
                  <a:cubicBezTo>
                    <a:pt x="1005" y="75"/>
                    <a:pt x="1006" y="80"/>
                    <a:pt x="1006" y="81"/>
                  </a:cubicBezTo>
                  <a:cubicBezTo>
                    <a:pt x="1003" y="82"/>
                    <a:pt x="1000" y="81"/>
                    <a:pt x="996" y="81"/>
                  </a:cubicBezTo>
                  <a:cubicBezTo>
                    <a:pt x="995" y="81"/>
                    <a:pt x="992" y="81"/>
                    <a:pt x="990" y="81"/>
                  </a:cubicBezTo>
                  <a:cubicBezTo>
                    <a:pt x="988" y="82"/>
                    <a:pt x="988" y="83"/>
                    <a:pt x="986" y="83"/>
                  </a:cubicBezTo>
                  <a:cubicBezTo>
                    <a:pt x="985" y="82"/>
                    <a:pt x="983" y="82"/>
                    <a:pt x="982" y="81"/>
                  </a:cubicBezTo>
                  <a:cubicBezTo>
                    <a:pt x="981" y="81"/>
                    <a:pt x="979" y="79"/>
                    <a:pt x="978" y="79"/>
                  </a:cubicBezTo>
                  <a:cubicBezTo>
                    <a:pt x="976" y="78"/>
                    <a:pt x="973" y="79"/>
                    <a:pt x="970" y="79"/>
                  </a:cubicBezTo>
                  <a:cubicBezTo>
                    <a:pt x="969" y="79"/>
                    <a:pt x="968" y="79"/>
                    <a:pt x="967" y="79"/>
                  </a:cubicBezTo>
                  <a:cubicBezTo>
                    <a:pt x="965" y="79"/>
                    <a:pt x="966" y="80"/>
                    <a:pt x="964" y="80"/>
                  </a:cubicBezTo>
                  <a:cubicBezTo>
                    <a:pt x="962" y="82"/>
                    <a:pt x="959" y="83"/>
                    <a:pt x="955" y="83"/>
                  </a:cubicBezTo>
                  <a:cubicBezTo>
                    <a:pt x="953" y="82"/>
                    <a:pt x="951" y="81"/>
                    <a:pt x="949" y="81"/>
                  </a:cubicBezTo>
                  <a:cubicBezTo>
                    <a:pt x="945" y="80"/>
                    <a:pt x="942" y="81"/>
                    <a:pt x="938" y="81"/>
                  </a:cubicBezTo>
                  <a:cubicBezTo>
                    <a:pt x="939" y="86"/>
                    <a:pt x="930" y="93"/>
                    <a:pt x="926" y="96"/>
                  </a:cubicBezTo>
                  <a:cubicBezTo>
                    <a:pt x="926" y="97"/>
                    <a:pt x="926" y="97"/>
                    <a:pt x="925" y="97"/>
                  </a:cubicBezTo>
                  <a:cubicBezTo>
                    <a:pt x="923" y="98"/>
                    <a:pt x="921" y="98"/>
                    <a:pt x="920" y="99"/>
                  </a:cubicBezTo>
                  <a:cubicBezTo>
                    <a:pt x="919" y="99"/>
                    <a:pt x="918" y="101"/>
                    <a:pt x="917" y="102"/>
                  </a:cubicBezTo>
                  <a:cubicBezTo>
                    <a:pt x="916" y="102"/>
                    <a:pt x="914" y="103"/>
                    <a:pt x="913" y="104"/>
                  </a:cubicBezTo>
                  <a:cubicBezTo>
                    <a:pt x="910" y="105"/>
                    <a:pt x="907" y="106"/>
                    <a:pt x="904" y="107"/>
                  </a:cubicBezTo>
                  <a:cubicBezTo>
                    <a:pt x="901" y="109"/>
                    <a:pt x="897" y="110"/>
                    <a:pt x="893" y="110"/>
                  </a:cubicBezTo>
                  <a:cubicBezTo>
                    <a:pt x="886" y="110"/>
                    <a:pt x="879" y="110"/>
                    <a:pt x="874" y="115"/>
                  </a:cubicBezTo>
                  <a:cubicBezTo>
                    <a:pt x="870" y="119"/>
                    <a:pt x="866" y="120"/>
                    <a:pt x="862" y="122"/>
                  </a:cubicBezTo>
                  <a:cubicBezTo>
                    <a:pt x="854" y="125"/>
                    <a:pt x="848" y="121"/>
                    <a:pt x="841" y="118"/>
                  </a:cubicBezTo>
                  <a:cubicBezTo>
                    <a:pt x="833" y="115"/>
                    <a:pt x="824" y="117"/>
                    <a:pt x="816" y="115"/>
                  </a:cubicBezTo>
                  <a:cubicBezTo>
                    <a:pt x="814" y="114"/>
                    <a:pt x="813" y="113"/>
                    <a:pt x="812" y="112"/>
                  </a:cubicBezTo>
                  <a:cubicBezTo>
                    <a:pt x="810" y="112"/>
                    <a:pt x="809" y="113"/>
                    <a:pt x="808" y="113"/>
                  </a:cubicBezTo>
                  <a:cubicBezTo>
                    <a:pt x="806" y="112"/>
                    <a:pt x="804" y="111"/>
                    <a:pt x="802" y="111"/>
                  </a:cubicBezTo>
                  <a:cubicBezTo>
                    <a:pt x="801" y="111"/>
                    <a:pt x="800" y="111"/>
                    <a:pt x="799" y="111"/>
                  </a:cubicBezTo>
                  <a:cubicBezTo>
                    <a:pt x="798" y="111"/>
                    <a:pt x="798" y="113"/>
                    <a:pt x="796" y="113"/>
                  </a:cubicBezTo>
                  <a:cubicBezTo>
                    <a:pt x="794" y="114"/>
                    <a:pt x="789" y="113"/>
                    <a:pt x="786" y="113"/>
                  </a:cubicBezTo>
                  <a:cubicBezTo>
                    <a:pt x="780" y="113"/>
                    <a:pt x="777" y="114"/>
                    <a:pt x="771" y="116"/>
                  </a:cubicBezTo>
                  <a:cubicBezTo>
                    <a:pt x="768" y="118"/>
                    <a:pt x="765" y="117"/>
                    <a:pt x="762" y="118"/>
                  </a:cubicBezTo>
                  <a:cubicBezTo>
                    <a:pt x="759" y="118"/>
                    <a:pt x="757" y="121"/>
                    <a:pt x="754" y="121"/>
                  </a:cubicBezTo>
                  <a:cubicBezTo>
                    <a:pt x="753" y="121"/>
                    <a:pt x="752" y="121"/>
                    <a:pt x="752" y="121"/>
                  </a:cubicBezTo>
                  <a:cubicBezTo>
                    <a:pt x="748" y="120"/>
                    <a:pt x="743" y="119"/>
                    <a:pt x="739" y="118"/>
                  </a:cubicBezTo>
                  <a:cubicBezTo>
                    <a:pt x="736" y="116"/>
                    <a:pt x="735" y="114"/>
                    <a:pt x="731" y="113"/>
                  </a:cubicBezTo>
                  <a:cubicBezTo>
                    <a:pt x="729" y="112"/>
                    <a:pt x="726" y="113"/>
                    <a:pt x="723" y="112"/>
                  </a:cubicBezTo>
                  <a:cubicBezTo>
                    <a:pt x="720" y="112"/>
                    <a:pt x="719" y="111"/>
                    <a:pt x="717" y="108"/>
                  </a:cubicBezTo>
                  <a:cubicBezTo>
                    <a:pt x="714" y="105"/>
                    <a:pt x="710" y="100"/>
                    <a:pt x="706" y="99"/>
                  </a:cubicBezTo>
                  <a:cubicBezTo>
                    <a:pt x="704" y="98"/>
                    <a:pt x="701" y="99"/>
                    <a:pt x="698" y="99"/>
                  </a:cubicBezTo>
                  <a:cubicBezTo>
                    <a:pt x="695" y="98"/>
                    <a:pt x="692" y="97"/>
                    <a:pt x="689" y="97"/>
                  </a:cubicBezTo>
                  <a:cubicBezTo>
                    <a:pt x="683" y="97"/>
                    <a:pt x="677" y="97"/>
                    <a:pt x="671" y="97"/>
                  </a:cubicBezTo>
                  <a:cubicBezTo>
                    <a:pt x="672" y="98"/>
                    <a:pt x="673" y="98"/>
                    <a:pt x="674" y="99"/>
                  </a:cubicBezTo>
                  <a:cubicBezTo>
                    <a:pt x="672" y="99"/>
                    <a:pt x="670" y="98"/>
                    <a:pt x="668" y="97"/>
                  </a:cubicBezTo>
                  <a:cubicBezTo>
                    <a:pt x="666" y="97"/>
                    <a:pt x="665" y="97"/>
                    <a:pt x="663" y="97"/>
                  </a:cubicBezTo>
                  <a:cubicBezTo>
                    <a:pt x="665" y="97"/>
                    <a:pt x="666" y="97"/>
                    <a:pt x="668" y="97"/>
                  </a:cubicBezTo>
                  <a:cubicBezTo>
                    <a:pt x="665" y="96"/>
                    <a:pt x="662" y="94"/>
                    <a:pt x="659" y="92"/>
                  </a:cubicBezTo>
                  <a:cubicBezTo>
                    <a:pt x="655" y="90"/>
                    <a:pt x="653" y="89"/>
                    <a:pt x="653" y="84"/>
                  </a:cubicBezTo>
                  <a:cubicBezTo>
                    <a:pt x="652" y="80"/>
                    <a:pt x="652" y="80"/>
                    <a:pt x="648" y="81"/>
                  </a:cubicBezTo>
                  <a:cubicBezTo>
                    <a:pt x="646" y="81"/>
                    <a:pt x="640" y="81"/>
                    <a:pt x="640" y="84"/>
                  </a:cubicBezTo>
                  <a:cubicBezTo>
                    <a:pt x="638" y="84"/>
                    <a:pt x="634" y="84"/>
                    <a:pt x="632" y="84"/>
                  </a:cubicBezTo>
                  <a:cubicBezTo>
                    <a:pt x="629" y="83"/>
                    <a:pt x="625" y="81"/>
                    <a:pt x="623" y="80"/>
                  </a:cubicBezTo>
                  <a:cubicBezTo>
                    <a:pt x="618" y="79"/>
                    <a:pt x="620" y="80"/>
                    <a:pt x="619" y="78"/>
                  </a:cubicBezTo>
                  <a:cubicBezTo>
                    <a:pt x="617" y="76"/>
                    <a:pt x="618" y="71"/>
                    <a:pt x="616" y="69"/>
                  </a:cubicBezTo>
                  <a:cubicBezTo>
                    <a:pt x="615" y="67"/>
                    <a:pt x="613" y="68"/>
                    <a:pt x="612" y="65"/>
                  </a:cubicBezTo>
                  <a:cubicBezTo>
                    <a:pt x="611" y="64"/>
                    <a:pt x="610" y="62"/>
                    <a:pt x="610" y="60"/>
                  </a:cubicBezTo>
                  <a:cubicBezTo>
                    <a:pt x="610" y="55"/>
                    <a:pt x="612" y="46"/>
                    <a:pt x="609" y="41"/>
                  </a:cubicBezTo>
                  <a:cubicBezTo>
                    <a:pt x="606" y="38"/>
                    <a:pt x="602" y="38"/>
                    <a:pt x="598" y="38"/>
                  </a:cubicBezTo>
                  <a:cubicBezTo>
                    <a:pt x="596" y="39"/>
                    <a:pt x="596" y="39"/>
                    <a:pt x="594" y="40"/>
                  </a:cubicBezTo>
                  <a:cubicBezTo>
                    <a:pt x="592" y="41"/>
                    <a:pt x="591" y="42"/>
                    <a:pt x="589" y="43"/>
                  </a:cubicBezTo>
                  <a:cubicBezTo>
                    <a:pt x="588" y="44"/>
                    <a:pt x="587" y="45"/>
                    <a:pt x="586" y="46"/>
                  </a:cubicBezTo>
                  <a:cubicBezTo>
                    <a:pt x="582" y="49"/>
                    <a:pt x="571" y="46"/>
                    <a:pt x="566" y="46"/>
                  </a:cubicBezTo>
                  <a:cubicBezTo>
                    <a:pt x="564" y="46"/>
                    <a:pt x="563" y="46"/>
                    <a:pt x="561" y="46"/>
                  </a:cubicBezTo>
                  <a:cubicBezTo>
                    <a:pt x="559" y="44"/>
                    <a:pt x="557" y="38"/>
                    <a:pt x="555" y="36"/>
                  </a:cubicBezTo>
                  <a:cubicBezTo>
                    <a:pt x="552" y="33"/>
                    <a:pt x="549" y="32"/>
                    <a:pt x="550" y="27"/>
                  </a:cubicBezTo>
                  <a:cubicBezTo>
                    <a:pt x="550" y="24"/>
                    <a:pt x="552" y="22"/>
                    <a:pt x="550" y="20"/>
                  </a:cubicBezTo>
                  <a:cubicBezTo>
                    <a:pt x="548" y="19"/>
                    <a:pt x="543" y="19"/>
                    <a:pt x="541" y="19"/>
                  </a:cubicBezTo>
                  <a:cubicBezTo>
                    <a:pt x="539" y="20"/>
                    <a:pt x="538" y="23"/>
                    <a:pt x="536" y="24"/>
                  </a:cubicBezTo>
                  <a:cubicBezTo>
                    <a:pt x="533" y="25"/>
                    <a:pt x="527" y="27"/>
                    <a:pt x="523" y="27"/>
                  </a:cubicBezTo>
                  <a:cubicBezTo>
                    <a:pt x="520" y="27"/>
                    <a:pt x="519" y="26"/>
                    <a:pt x="516" y="25"/>
                  </a:cubicBezTo>
                  <a:cubicBezTo>
                    <a:pt x="513" y="25"/>
                    <a:pt x="510" y="25"/>
                    <a:pt x="508" y="24"/>
                  </a:cubicBezTo>
                  <a:cubicBezTo>
                    <a:pt x="505" y="24"/>
                    <a:pt x="502" y="22"/>
                    <a:pt x="499" y="23"/>
                  </a:cubicBezTo>
                  <a:cubicBezTo>
                    <a:pt x="496" y="23"/>
                    <a:pt x="495" y="24"/>
                    <a:pt x="491" y="25"/>
                  </a:cubicBezTo>
                  <a:cubicBezTo>
                    <a:pt x="490" y="25"/>
                    <a:pt x="487" y="25"/>
                    <a:pt x="486" y="25"/>
                  </a:cubicBezTo>
                  <a:cubicBezTo>
                    <a:pt x="482" y="25"/>
                    <a:pt x="480" y="23"/>
                    <a:pt x="477" y="22"/>
                  </a:cubicBezTo>
                  <a:cubicBezTo>
                    <a:pt x="469" y="21"/>
                    <a:pt x="462" y="20"/>
                    <a:pt x="454" y="20"/>
                  </a:cubicBezTo>
                  <a:cubicBezTo>
                    <a:pt x="447" y="20"/>
                    <a:pt x="437" y="19"/>
                    <a:pt x="430" y="21"/>
                  </a:cubicBezTo>
                  <a:cubicBezTo>
                    <a:pt x="426" y="22"/>
                    <a:pt x="422" y="23"/>
                    <a:pt x="418" y="25"/>
                  </a:cubicBezTo>
                  <a:cubicBezTo>
                    <a:pt x="416" y="27"/>
                    <a:pt x="413" y="27"/>
                    <a:pt x="411" y="28"/>
                  </a:cubicBezTo>
                  <a:cubicBezTo>
                    <a:pt x="411" y="28"/>
                    <a:pt x="408" y="29"/>
                    <a:pt x="408" y="29"/>
                  </a:cubicBezTo>
                  <a:cubicBezTo>
                    <a:pt x="406" y="30"/>
                    <a:pt x="403" y="30"/>
                    <a:pt x="400" y="30"/>
                  </a:cubicBezTo>
                  <a:cubicBezTo>
                    <a:pt x="398" y="31"/>
                    <a:pt x="395" y="30"/>
                    <a:pt x="393" y="31"/>
                  </a:cubicBezTo>
                  <a:cubicBezTo>
                    <a:pt x="389" y="32"/>
                    <a:pt x="386" y="34"/>
                    <a:pt x="383" y="35"/>
                  </a:cubicBezTo>
                  <a:cubicBezTo>
                    <a:pt x="380" y="36"/>
                    <a:pt x="378" y="37"/>
                    <a:pt x="375" y="39"/>
                  </a:cubicBezTo>
                  <a:cubicBezTo>
                    <a:pt x="373" y="41"/>
                    <a:pt x="370" y="41"/>
                    <a:pt x="367" y="43"/>
                  </a:cubicBezTo>
                  <a:cubicBezTo>
                    <a:pt x="365" y="45"/>
                    <a:pt x="365" y="45"/>
                    <a:pt x="362" y="46"/>
                  </a:cubicBezTo>
                  <a:cubicBezTo>
                    <a:pt x="361" y="46"/>
                    <a:pt x="360" y="46"/>
                    <a:pt x="358" y="46"/>
                  </a:cubicBezTo>
                  <a:cubicBezTo>
                    <a:pt x="355" y="47"/>
                    <a:pt x="356" y="47"/>
                    <a:pt x="354" y="49"/>
                  </a:cubicBezTo>
                  <a:cubicBezTo>
                    <a:pt x="353" y="51"/>
                    <a:pt x="351" y="52"/>
                    <a:pt x="350" y="55"/>
                  </a:cubicBezTo>
                  <a:cubicBezTo>
                    <a:pt x="348" y="59"/>
                    <a:pt x="351" y="63"/>
                    <a:pt x="347" y="66"/>
                  </a:cubicBezTo>
                  <a:cubicBezTo>
                    <a:pt x="346" y="67"/>
                    <a:pt x="343" y="67"/>
                    <a:pt x="341" y="68"/>
                  </a:cubicBezTo>
                  <a:cubicBezTo>
                    <a:pt x="340" y="69"/>
                    <a:pt x="340" y="71"/>
                    <a:pt x="339" y="72"/>
                  </a:cubicBezTo>
                  <a:cubicBezTo>
                    <a:pt x="338" y="74"/>
                    <a:pt x="336" y="74"/>
                    <a:pt x="335" y="76"/>
                  </a:cubicBezTo>
                  <a:cubicBezTo>
                    <a:pt x="333" y="78"/>
                    <a:pt x="335" y="81"/>
                    <a:pt x="334" y="84"/>
                  </a:cubicBezTo>
                  <a:cubicBezTo>
                    <a:pt x="332" y="88"/>
                    <a:pt x="324" y="86"/>
                    <a:pt x="321" y="86"/>
                  </a:cubicBezTo>
                  <a:cubicBezTo>
                    <a:pt x="319" y="86"/>
                    <a:pt x="314" y="85"/>
                    <a:pt x="312" y="86"/>
                  </a:cubicBezTo>
                  <a:cubicBezTo>
                    <a:pt x="310" y="87"/>
                    <a:pt x="309" y="89"/>
                    <a:pt x="307" y="89"/>
                  </a:cubicBezTo>
                  <a:cubicBezTo>
                    <a:pt x="304" y="91"/>
                    <a:pt x="302" y="91"/>
                    <a:pt x="299" y="90"/>
                  </a:cubicBezTo>
                  <a:cubicBezTo>
                    <a:pt x="295" y="88"/>
                    <a:pt x="292" y="86"/>
                    <a:pt x="288" y="85"/>
                  </a:cubicBezTo>
                  <a:cubicBezTo>
                    <a:pt x="282" y="83"/>
                    <a:pt x="274" y="85"/>
                    <a:pt x="269" y="81"/>
                  </a:cubicBezTo>
                  <a:cubicBezTo>
                    <a:pt x="266" y="79"/>
                    <a:pt x="266" y="78"/>
                    <a:pt x="262" y="80"/>
                  </a:cubicBezTo>
                  <a:cubicBezTo>
                    <a:pt x="259" y="82"/>
                    <a:pt x="255" y="81"/>
                    <a:pt x="251" y="81"/>
                  </a:cubicBezTo>
                  <a:cubicBezTo>
                    <a:pt x="243" y="81"/>
                    <a:pt x="234" y="83"/>
                    <a:pt x="226" y="81"/>
                  </a:cubicBezTo>
                  <a:cubicBezTo>
                    <a:pt x="223" y="81"/>
                    <a:pt x="221" y="79"/>
                    <a:pt x="218" y="77"/>
                  </a:cubicBezTo>
                  <a:cubicBezTo>
                    <a:pt x="214" y="76"/>
                    <a:pt x="211" y="76"/>
                    <a:pt x="208" y="75"/>
                  </a:cubicBezTo>
                  <a:cubicBezTo>
                    <a:pt x="205" y="74"/>
                    <a:pt x="202" y="72"/>
                    <a:pt x="200" y="71"/>
                  </a:cubicBezTo>
                  <a:cubicBezTo>
                    <a:pt x="200" y="71"/>
                    <a:pt x="200" y="71"/>
                    <a:pt x="200" y="72"/>
                  </a:cubicBezTo>
                  <a:cubicBezTo>
                    <a:pt x="200" y="72"/>
                    <a:pt x="199" y="73"/>
                    <a:pt x="199" y="74"/>
                  </a:cubicBezTo>
                  <a:cubicBezTo>
                    <a:pt x="198" y="74"/>
                    <a:pt x="198" y="75"/>
                    <a:pt x="198" y="76"/>
                  </a:cubicBezTo>
                  <a:cubicBezTo>
                    <a:pt x="197" y="78"/>
                    <a:pt x="197" y="80"/>
                    <a:pt x="195" y="82"/>
                  </a:cubicBezTo>
                  <a:cubicBezTo>
                    <a:pt x="195" y="82"/>
                    <a:pt x="195" y="82"/>
                    <a:pt x="194" y="83"/>
                  </a:cubicBezTo>
                  <a:cubicBezTo>
                    <a:pt x="194" y="83"/>
                    <a:pt x="195" y="83"/>
                    <a:pt x="195" y="83"/>
                  </a:cubicBezTo>
                  <a:cubicBezTo>
                    <a:pt x="194" y="84"/>
                    <a:pt x="194" y="84"/>
                    <a:pt x="194" y="84"/>
                  </a:cubicBezTo>
                  <a:cubicBezTo>
                    <a:pt x="194" y="85"/>
                    <a:pt x="194" y="85"/>
                    <a:pt x="194" y="86"/>
                  </a:cubicBezTo>
                  <a:cubicBezTo>
                    <a:pt x="194" y="87"/>
                    <a:pt x="194" y="87"/>
                    <a:pt x="194" y="88"/>
                  </a:cubicBezTo>
                  <a:cubicBezTo>
                    <a:pt x="194" y="90"/>
                    <a:pt x="194" y="92"/>
                    <a:pt x="194" y="94"/>
                  </a:cubicBezTo>
                  <a:cubicBezTo>
                    <a:pt x="194" y="95"/>
                    <a:pt x="194" y="96"/>
                    <a:pt x="194" y="96"/>
                  </a:cubicBezTo>
                  <a:cubicBezTo>
                    <a:pt x="195" y="98"/>
                    <a:pt x="198" y="99"/>
                    <a:pt x="199" y="100"/>
                  </a:cubicBezTo>
                  <a:cubicBezTo>
                    <a:pt x="199" y="100"/>
                    <a:pt x="200" y="100"/>
                    <a:pt x="201" y="101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199" y="99"/>
                    <a:pt x="199" y="99"/>
                    <a:pt x="198" y="99"/>
                  </a:cubicBezTo>
                  <a:cubicBezTo>
                    <a:pt x="198" y="99"/>
                    <a:pt x="198" y="99"/>
                    <a:pt x="197" y="98"/>
                  </a:cubicBezTo>
                  <a:cubicBezTo>
                    <a:pt x="197" y="98"/>
                    <a:pt x="196" y="98"/>
                    <a:pt x="196" y="97"/>
                  </a:cubicBezTo>
                  <a:cubicBezTo>
                    <a:pt x="196" y="97"/>
                    <a:pt x="196" y="97"/>
                    <a:pt x="195" y="97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200" y="100"/>
                    <a:pt x="200" y="100"/>
                    <a:pt x="201" y="100"/>
                  </a:cubicBezTo>
                  <a:cubicBezTo>
                    <a:pt x="204" y="100"/>
                    <a:pt x="206" y="103"/>
                    <a:pt x="209" y="105"/>
                  </a:cubicBezTo>
                  <a:cubicBezTo>
                    <a:pt x="209" y="106"/>
                    <a:pt x="210" y="106"/>
                    <a:pt x="211" y="106"/>
                  </a:cubicBezTo>
                  <a:cubicBezTo>
                    <a:pt x="212" y="106"/>
                    <a:pt x="213" y="106"/>
                    <a:pt x="215" y="107"/>
                  </a:cubicBezTo>
                  <a:cubicBezTo>
                    <a:pt x="216" y="107"/>
                    <a:pt x="218" y="108"/>
                    <a:pt x="219" y="108"/>
                  </a:cubicBezTo>
                  <a:cubicBezTo>
                    <a:pt x="222" y="110"/>
                    <a:pt x="225" y="112"/>
                    <a:pt x="228" y="113"/>
                  </a:cubicBezTo>
                  <a:cubicBezTo>
                    <a:pt x="230" y="114"/>
                    <a:pt x="231" y="114"/>
                    <a:pt x="233" y="114"/>
                  </a:cubicBezTo>
                  <a:cubicBezTo>
                    <a:pt x="237" y="114"/>
                    <a:pt x="241" y="113"/>
                    <a:pt x="245" y="113"/>
                  </a:cubicBezTo>
                  <a:cubicBezTo>
                    <a:pt x="246" y="114"/>
                    <a:pt x="247" y="114"/>
                    <a:pt x="248" y="115"/>
                  </a:cubicBezTo>
                  <a:cubicBezTo>
                    <a:pt x="246" y="115"/>
                    <a:pt x="244" y="115"/>
                    <a:pt x="242" y="115"/>
                  </a:cubicBezTo>
                  <a:cubicBezTo>
                    <a:pt x="241" y="115"/>
                    <a:pt x="240" y="115"/>
                    <a:pt x="239" y="115"/>
                  </a:cubicBezTo>
                  <a:cubicBezTo>
                    <a:pt x="237" y="115"/>
                    <a:pt x="235" y="115"/>
                    <a:pt x="233" y="116"/>
                  </a:cubicBezTo>
                  <a:cubicBezTo>
                    <a:pt x="232" y="117"/>
                    <a:pt x="232" y="118"/>
                    <a:pt x="232" y="119"/>
                  </a:cubicBezTo>
                  <a:cubicBezTo>
                    <a:pt x="231" y="122"/>
                    <a:pt x="227" y="119"/>
                    <a:pt x="225" y="118"/>
                  </a:cubicBezTo>
                  <a:cubicBezTo>
                    <a:pt x="225" y="118"/>
                    <a:pt x="224" y="117"/>
                    <a:pt x="224" y="117"/>
                  </a:cubicBezTo>
                  <a:cubicBezTo>
                    <a:pt x="223" y="118"/>
                    <a:pt x="222" y="118"/>
                    <a:pt x="222" y="118"/>
                  </a:cubicBezTo>
                  <a:cubicBezTo>
                    <a:pt x="221" y="118"/>
                    <a:pt x="220" y="119"/>
                    <a:pt x="219" y="118"/>
                  </a:cubicBezTo>
                  <a:cubicBezTo>
                    <a:pt x="217" y="118"/>
                    <a:pt x="216" y="118"/>
                    <a:pt x="214" y="118"/>
                  </a:cubicBezTo>
                  <a:cubicBezTo>
                    <a:pt x="212" y="117"/>
                    <a:pt x="212" y="116"/>
                    <a:pt x="210" y="117"/>
                  </a:cubicBezTo>
                  <a:cubicBezTo>
                    <a:pt x="210" y="117"/>
                    <a:pt x="208" y="118"/>
                    <a:pt x="208" y="119"/>
                  </a:cubicBezTo>
                  <a:cubicBezTo>
                    <a:pt x="208" y="119"/>
                    <a:pt x="208" y="120"/>
                    <a:pt x="208" y="120"/>
                  </a:cubicBezTo>
                  <a:cubicBezTo>
                    <a:pt x="207" y="121"/>
                    <a:pt x="208" y="121"/>
                    <a:pt x="207" y="121"/>
                  </a:cubicBezTo>
                  <a:cubicBezTo>
                    <a:pt x="206" y="121"/>
                    <a:pt x="206" y="121"/>
                    <a:pt x="205" y="121"/>
                  </a:cubicBezTo>
                  <a:cubicBezTo>
                    <a:pt x="201" y="120"/>
                    <a:pt x="195" y="119"/>
                    <a:pt x="191" y="122"/>
                  </a:cubicBezTo>
                  <a:cubicBezTo>
                    <a:pt x="191" y="122"/>
                    <a:pt x="191" y="122"/>
                    <a:pt x="191" y="122"/>
                  </a:cubicBezTo>
                  <a:cubicBezTo>
                    <a:pt x="192" y="123"/>
                    <a:pt x="191" y="124"/>
                    <a:pt x="191" y="125"/>
                  </a:cubicBezTo>
                  <a:cubicBezTo>
                    <a:pt x="191" y="126"/>
                    <a:pt x="189" y="126"/>
                    <a:pt x="188" y="126"/>
                  </a:cubicBezTo>
                  <a:cubicBezTo>
                    <a:pt x="186" y="127"/>
                    <a:pt x="183" y="126"/>
                    <a:pt x="181" y="127"/>
                  </a:cubicBezTo>
                  <a:cubicBezTo>
                    <a:pt x="178" y="128"/>
                    <a:pt x="182" y="131"/>
                    <a:pt x="183" y="132"/>
                  </a:cubicBezTo>
                  <a:cubicBezTo>
                    <a:pt x="183" y="134"/>
                    <a:pt x="179" y="135"/>
                    <a:pt x="178" y="135"/>
                  </a:cubicBezTo>
                  <a:cubicBezTo>
                    <a:pt x="176" y="135"/>
                    <a:pt x="176" y="134"/>
                    <a:pt x="175" y="134"/>
                  </a:cubicBezTo>
                  <a:cubicBezTo>
                    <a:pt x="173" y="133"/>
                    <a:pt x="170" y="134"/>
                    <a:pt x="168" y="133"/>
                  </a:cubicBezTo>
                  <a:cubicBezTo>
                    <a:pt x="167" y="132"/>
                    <a:pt x="166" y="131"/>
                    <a:pt x="166" y="130"/>
                  </a:cubicBezTo>
                  <a:cubicBezTo>
                    <a:pt x="166" y="130"/>
                    <a:pt x="164" y="127"/>
                    <a:pt x="163" y="127"/>
                  </a:cubicBezTo>
                  <a:cubicBezTo>
                    <a:pt x="163" y="127"/>
                    <a:pt x="161" y="128"/>
                    <a:pt x="161" y="129"/>
                  </a:cubicBezTo>
                  <a:cubicBezTo>
                    <a:pt x="159" y="130"/>
                    <a:pt x="157" y="131"/>
                    <a:pt x="156" y="133"/>
                  </a:cubicBezTo>
                  <a:cubicBezTo>
                    <a:pt x="153" y="134"/>
                    <a:pt x="152" y="136"/>
                    <a:pt x="150" y="137"/>
                  </a:cubicBezTo>
                  <a:cubicBezTo>
                    <a:pt x="149" y="138"/>
                    <a:pt x="148" y="138"/>
                    <a:pt x="148" y="138"/>
                  </a:cubicBezTo>
                  <a:cubicBezTo>
                    <a:pt x="147" y="139"/>
                    <a:pt x="146" y="139"/>
                    <a:pt x="145" y="140"/>
                  </a:cubicBezTo>
                  <a:cubicBezTo>
                    <a:pt x="143" y="140"/>
                    <a:pt x="143" y="140"/>
                    <a:pt x="141" y="140"/>
                  </a:cubicBezTo>
                  <a:cubicBezTo>
                    <a:pt x="140" y="139"/>
                    <a:pt x="140" y="139"/>
                    <a:pt x="138" y="140"/>
                  </a:cubicBezTo>
                  <a:cubicBezTo>
                    <a:pt x="137" y="140"/>
                    <a:pt x="136" y="140"/>
                    <a:pt x="134" y="140"/>
                  </a:cubicBezTo>
                  <a:cubicBezTo>
                    <a:pt x="134" y="140"/>
                    <a:pt x="133" y="140"/>
                    <a:pt x="133" y="140"/>
                  </a:cubicBezTo>
                  <a:cubicBezTo>
                    <a:pt x="132" y="140"/>
                    <a:pt x="132" y="138"/>
                    <a:pt x="132" y="138"/>
                  </a:cubicBezTo>
                  <a:cubicBezTo>
                    <a:pt x="133" y="136"/>
                    <a:pt x="134" y="134"/>
                    <a:pt x="133" y="132"/>
                  </a:cubicBezTo>
                  <a:cubicBezTo>
                    <a:pt x="133" y="130"/>
                    <a:pt x="131" y="129"/>
                    <a:pt x="129" y="129"/>
                  </a:cubicBezTo>
                  <a:cubicBezTo>
                    <a:pt x="127" y="129"/>
                    <a:pt x="126" y="129"/>
                    <a:pt x="125" y="129"/>
                  </a:cubicBezTo>
                  <a:cubicBezTo>
                    <a:pt x="122" y="129"/>
                    <a:pt x="118" y="127"/>
                    <a:pt x="115" y="128"/>
                  </a:cubicBezTo>
                  <a:cubicBezTo>
                    <a:pt x="113" y="129"/>
                    <a:pt x="113" y="132"/>
                    <a:pt x="114" y="134"/>
                  </a:cubicBezTo>
                  <a:cubicBezTo>
                    <a:pt x="115" y="136"/>
                    <a:pt x="116" y="136"/>
                    <a:pt x="119" y="137"/>
                  </a:cubicBezTo>
                  <a:cubicBezTo>
                    <a:pt x="121" y="137"/>
                    <a:pt x="125" y="140"/>
                    <a:pt x="126" y="143"/>
                  </a:cubicBezTo>
                  <a:cubicBezTo>
                    <a:pt x="126" y="145"/>
                    <a:pt x="123" y="146"/>
                    <a:pt x="121" y="147"/>
                  </a:cubicBezTo>
                  <a:cubicBezTo>
                    <a:pt x="118" y="147"/>
                    <a:pt x="114" y="145"/>
                    <a:pt x="111" y="144"/>
                  </a:cubicBezTo>
                  <a:cubicBezTo>
                    <a:pt x="110" y="144"/>
                    <a:pt x="109" y="143"/>
                    <a:pt x="107" y="143"/>
                  </a:cubicBezTo>
                  <a:cubicBezTo>
                    <a:pt x="105" y="143"/>
                    <a:pt x="102" y="144"/>
                    <a:pt x="100" y="143"/>
                  </a:cubicBezTo>
                  <a:cubicBezTo>
                    <a:pt x="98" y="143"/>
                    <a:pt x="95" y="141"/>
                    <a:pt x="93" y="140"/>
                  </a:cubicBezTo>
                  <a:cubicBezTo>
                    <a:pt x="93" y="139"/>
                    <a:pt x="92" y="138"/>
                    <a:pt x="92" y="137"/>
                  </a:cubicBezTo>
                  <a:cubicBezTo>
                    <a:pt x="91" y="136"/>
                    <a:pt x="92" y="136"/>
                    <a:pt x="91" y="135"/>
                  </a:cubicBezTo>
                  <a:cubicBezTo>
                    <a:pt x="91" y="135"/>
                    <a:pt x="90" y="133"/>
                    <a:pt x="89" y="132"/>
                  </a:cubicBezTo>
                  <a:cubicBezTo>
                    <a:pt x="88" y="132"/>
                    <a:pt x="87" y="134"/>
                    <a:pt x="86" y="135"/>
                  </a:cubicBezTo>
                  <a:cubicBezTo>
                    <a:pt x="86" y="135"/>
                    <a:pt x="85" y="135"/>
                    <a:pt x="85" y="135"/>
                  </a:cubicBezTo>
                  <a:cubicBezTo>
                    <a:pt x="84" y="135"/>
                    <a:pt x="84" y="135"/>
                    <a:pt x="83" y="135"/>
                  </a:cubicBezTo>
                  <a:cubicBezTo>
                    <a:pt x="81" y="136"/>
                    <a:pt x="78" y="136"/>
                    <a:pt x="76" y="136"/>
                  </a:cubicBezTo>
                  <a:cubicBezTo>
                    <a:pt x="74" y="135"/>
                    <a:pt x="72" y="135"/>
                    <a:pt x="71" y="135"/>
                  </a:cubicBezTo>
                  <a:cubicBezTo>
                    <a:pt x="69" y="135"/>
                    <a:pt x="68" y="136"/>
                    <a:pt x="66" y="136"/>
                  </a:cubicBezTo>
                  <a:cubicBezTo>
                    <a:pt x="64" y="137"/>
                    <a:pt x="63" y="138"/>
                    <a:pt x="60" y="137"/>
                  </a:cubicBezTo>
                  <a:cubicBezTo>
                    <a:pt x="59" y="137"/>
                    <a:pt x="58" y="138"/>
                    <a:pt x="58" y="136"/>
                  </a:cubicBezTo>
                  <a:cubicBezTo>
                    <a:pt x="58" y="136"/>
                    <a:pt x="58" y="135"/>
                    <a:pt x="58" y="134"/>
                  </a:cubicBezTo>
                  <a:cubicBezTo>
                    <a:pt x="58" y="134"/>
                    <a:pt x="59" y="133"/>
                    <a:pt x="59" y="132"/>
                  </a:cubicBezTo>
                  <a:cubicBezTo>
                    <a:pt x="59" y="132"/>
                    <a:pt x="59" y="131"/>
                    <a:pt x="59" y="130"/>
                  </a:cubicBezTo>
                  <a:cubicBezTo>
                    <a:pt x="59" y="130"/>
                    <a:pt x="59" y="130"/>
                    <a:pt x="59" y="129"/>
                  </a:cubicBezTo>
                  <a:cubicBezTo>
                    <a:pt x="57" y="130"/>
                    <a:pt x="55" y="130"/>
                    <a:pt x="54" y="131"/>
                  </a:cubicBezTo>
                  <a:cubicBezTo>
                    <a:pt x="52" y="132"/>
                    <a:pt x="51" y="132"/>
                    <a:pt x="49" y="133"/>
                  </a:cubicBezTo>
                  <a:cubicBezTo>
                    <a:pt x="48" y="134"/>
                    <a:pt x="47" y="136"/>
                    <a:pt x="46" y="136"/>
                  </a:cubicBezTo>
                  <a:cubicBezTo>
                    <a:pt x="42" y="138"/>
                    <a:pt x="34" y="136"/>
                    <a:pt x="30" y="136"/>
                  </a:cubicBezTo>
                  <a:cubicBezTo>
                    <a:pt x="27" y="136"/>
                    <a:pt x="20" y="135"/>
                    <a:pt x="17" y="137"/>
                  </a:cubicBezTo>
                  <a:cubicBezTo>
                    <a:pt x="15" y="138"/>
                    <a:pt x="16" y="139"/>
                    <a:pt x="16" y="140"/>
                  </a:cubicBezTo>
                  <a:cubicBezTo>
                    <a:pt x="15" y="142"/>
                    <a:pt x="15" y="145"/>
                    <a:pt x="14" y="147"/>
                  </a:cubicBezTo>
                  <a:cubicBezTo>
                    <a:pt x="11" y="150"/>
                    <a:pt x="8" y="150"/>
                    <a:pt x="5" y="151"/>
                  </a:cubicBezTo>
                  <a:cubicBezTo>
                    <a:pt x="2" y="152"/>
                    <a:pt x="0" y="155"/>
                    <a:pt x="1" y="158"/>
                  </a:cubicBezTo>
                  <a:cubicBezTo>
                    <a:pt x="4" y="164"/>
                    <a:pt x="6" y="158"/>
                    <a:pt x="8" y="156"/>
                  </a:cubicBezTo>
                  <a:cubicBezTo>
                    <a:pt x="9" y="155"/>
                    <a:pt x="11" y="154"/>
                    <a:pt x="12" y="154"/>
                  </a:cubicBezTo>
                  <a:cubicBezTo>
                    <a:pt x="14" y="153"/>
                    <a:pt x="19" y="150"/>
                    <a:pt x="21" y="150"/>
                  </a:cubicBezTo>
                  <a:cubicBezTo>
                    <a:pt x="21" y="151"/>
                    <a:pt x="23" y="152"/>
                    <a:pt x="25" y="153"/>
                  </a:cubicBezTo>
                  <a:cubicBezTo>
                    <a:pt x="26" y="153"/>
                    <a:pt x="29" y="153"/>
                    <a:pt x="30" y="154"/>
                  </a:cubicBezTo>
                  <a:cubicBezTo>
                    <a:pt x="32" y="156"/>
                    <a:pt x="28" y="161"/>
                    <a:pt x="29" y="163"/>
                  </a:cubicBezTo>
                  <a:cubicBezTo>
                    <a:pt x="32" y="165"/>
                    <a:pt x="39" y="157"/>
                    <a:pt x="38" y="166"/>
                  </a:cubicBezTo>
                  <a:cubicBezTo>
                    <a:pt x="37" y="169"/>
                    <a:pt x="37" y="167"/>
                    <a:pt x="34" y="168"/>
                  </a:cubicBezTo>
                  <a:cubicBezTo>
                    <a:pt x="33" y="169"/>
                    <a:pt x="32" y="169"/>
                    <a:pt x="32" y="170"/>
                  </a:cubicBezTo>
                  <a:cubicBezTo>
                    <a:pt x="31" y="171"/>
                    <a:pt x="30" y="171"/>
                    <a:pt x="29" y="171"/>
                  </a:cubicBezTo>
                  <a:cubicBezTo>
                    <a:pt x="27" y="172"/>
                    <a:pt x="27" y="170"/>
                    <a:pt x="26" y="173"/>
                  </a:cubicBezTo>
                  <a:cubicBezTo>
                    <a:pt x="26" y="175"/>
                    <a:pt x="26" y="180"/>
                    <a:pt x="27" y="182"/>
                  </a:cubicBezTo>
                  <a:cubicBezTo>
                    <a:pt x="27" y="187"/>
                    <a:pt x="29" y="194"/>
                    <a:pt x="26" y="198"/>
                  </a:cubicBezTo>
                  <a:cubicBezTo>
                    <a:pt x="25" y="201"/>
                    <a:pt x="25" y="201"/>
                    <a:pt x="24" y="204"/>
                  </a:cubicBezTo>
                  <a:cubicBezTo>
                    <a:pt x="24" y="205"/>
                    <a:pt x="25" y="207"/>
                    <a:pt x="24" y="208"/>
                  </a:cubicBezTo>
                  <a:cubicBezTo>
                    <a:pt x="26" y="209"/>
                    <a:pt x="29" y="209"/>
                    <a:pt x="31" y="209"/>
                  </a:cubicBezTo>
                  <a:cubicBezTo>
                    <a:pt x="34" y="210"/>
                    <a:pt x="35" y="211"/>
                    <a:pt x="38" y="211"/>
                  </a:cubicBezTo>
                  <a:cubicBezTo>
                    <a:pt x="41" y="211"/>
                    <a:pt x="46" y="212"/>
                    <a:pt x="48" y="211"/>
                  </a:cubicBezTo>
                  <a:cubicBezTo>
                    <a:pt x="51" y="210"/>
                    <a:pt x="51" y="209"/>
                    <a:pt x="53" y="208"/>
                  </a:cubicBezTo>
                  <a:cubicBezTo>
                    <a:pt x="55" y="208"/>
                    <a:pt x="58" y="208"/>
                    <a:pt x="60" y="208"/>
                  </a:cubicBezTo>
                  <a:cubicBezTo>
                    <a:pt x="64" y="208"/>
                    <a:pt x="68" y="208"/>
                    <a:pt x="73" y="208"/>
                  </a:cubicBezTo>
                  <a:cubicBezTo>
                    <a:pt x="74" y="213"/>
                    <a:pt x="61" y="217"/>
                    <a:pt x="58" y="220"/>
                  </a:cubicBezTo>
                  <a:cubicBezTo>
                    <a:pt x="55" y="222"/>
                    <a:pt x="52" y="226"/>
                    <a:pt x="54" y="229"/>
                  </a:cubicBezTo>
                  <a:cubicBezTo>
                    <a:pt x="55" y="232"/>
                    <a:pt x="60" y="233"/>
                    <a:pt x="61" y="235"/>
                  </a:cubicBezTo>
                  <a:cubicBezTo>
                    <a:pt x="62" y="237"/>
                    <a:pt x="63" y="239"/>
                    <a:pt x="63" y="241"/>
                  </a:cubicBezTo>
                  <a:cubicBezTo>
                    <a:pt x="65" y="244"/>
                    <a:pt x="63" y="248"/>
                    <a:pt x="64" y="252"/>
                  </a:cubicBezTo>
                  <a:cubicBezTo>
                    <a:pt x="65" y="253"/>
                    <a:pt x="66" y="256"/>
                    <a:pt x="66" y="256"/>
                  </a:cubicBezTo>
                  <a:cubicBezTo>
                    <a:pt x="68" y="257"/>
                    <a:pt x="69" y="256"/>
                    <a:pt x="70" y="257"/>
                  </a:cubicBezTo>
                  <a:cubicBezTo>
                    <a:pt x="71" y="258"/>
                    <a:pt x="72" y="259"/>
                    <a:pt x="72" y="261"/>
                  </a:cubicBezTo>
                  <a:cubicBezTo>
                    <a:pt x="72" y="265"/>
                    <a:pt x="70" y="264"/>
                    <a:pt x="67" y="265"/>
                  </a:cubicBezTo>
                  <a:cubicBezTo>
                    <a:pt x="66" y="266"/>
                    <a:pt x="65" y="268"/>
                    <a:pt x="64" y="269"/>
                  </a:cubicBezTo>
                  <a:cubicBezTo>
                    <a:pt x="62" y="270"/>
                    <a:pt x="60" y="270"/>
                    <a:pt x="59" y="273"/>
                  </a:cubicBezTo>
                  <a:cubicBezTo>
                    <a:pt x="58" y="277"/>
                    <a:pt x="64" y="286"/>
                    <a:pt x="66" y="288"/>
                  </a:cubicBezTo>
                  <a:cubicBezTo>
                    <a:pt x="68" y="290"/>
                    <a:pt x="69" y="290"/>
                    <a:pt x="70" y="291"/>
                  </a:cubicBezTo>
                  <a:cubicBezTo>
                    <a:pt x="70" y="292"/>
                    <a:pt x="72" y="296"/>
                    <a:pt x="72" y="297"/>
                  </a:cubicBezTo>
                  <a:cubicBezTo>
                    <a:pt x="72" y="303"/>
                    <a:pt x="60" y="299"/>
                    <a:pt x="57" y="299"/>
                  </a:cubicBezTo>
                  <a:cubicBezTo>
                    <a:pt x="52" y="299"/>
                    <a:pt x="50" y="298"/>
                    <a:pt x="49" y="293"/>
                  </a:cubicBezTo>
                  <a:cubicBezTo>
                    <a:pt x="48" y="291"/>
                    <a:pt x="49" y="289"/>
                    <a:pt x="49" y="287"/>
                  </a:cubicBezTo>
                  <a:cubicBezTo>
                    <a:pt x="48" y="285"/>
                    <a:pt x="47" y="284"/>
                    <a:pt x="46" y="283"/>
                  </a:cubicBezTo>
                  <a:cubicBezTo>
                    <a:pt x="45" y="280"/>
                    <a:pt x="46" y="275"/>
                    <a:pt x="41" y="277"/>
                  </a:cubicBezTo>
                  <a:cubicBezTo>
                    <a:pt x="35" y="280"/>
                    <a:pt x="37" y="289"/>
                    <a:pt x="39" y="293"/>
                  </a:cubicBezTo>
                  <a:cubicBezTo>
                    <a:pt x="40" y="295"/>
                    <a:pt x="41" y="297"/>
                    <a:pt x="40" y="299"/>
                  </a:cubicBezTo>
                  <a:cubicBezTo>
                    <a:pt x="40" y="302"/>
                    <a:pt x="36" y="301"/>
                    <a:pt x="35" y="302"/>
                  </a:cubicBezTo>
                  <a:cubicBezTo>
                    <a:pt x="34" y="305"/>
                    <a:pt x="37" y="310"/>
                    <a:pt x="40" y="310"/>
                  </a:cubicBezTo>
                  <a:cubicBezTo>
                    <a:pt x="40" y="314"/>
                    <a:pt x="48" y="315"/>
                    <a:pt x="51" y="315"/>
                  </a:cubicBezTo>
                  <a:cubicBezTo>
                    <a:pt x="54" y="315"/>
                    <a:pt x="56" y="315"/>
                    <a:pt x="58" y="316"/>
                  </a:cubicBezTo>
                  <a:cubicBezTo>
                    <a:pt x="60" y="317"/>
                    <a:pt x="60" y="320"/>
                    <a:pt x="62" y="320"/>
                  </a:cubicBezTo>
                  <a:cubicBezTo>
                    <a:pt x="67" y="322"/>
                    <a:pt x="71" y="321"/>
                    <a:pt x="75" y="326"/>
                  </a:cubicBezTo>
                  <a:cubicBezTo>
                    <a:pt x="78" y="329"/>
                    <a:pt x="81" y="332"/>
                    <a:pt x="82" y="336"/>
                  </a:cubicBezTo>
                  <a:cubicBezTo>
                    <a:pt x="85" y="336"/>
                    <a:pt x="85" y="337"/>
                    <a:pt x="86" y="340"/>
                  </a:cubicBezTo>
                  <a:cubicBezTo>
                    <a:pt x="87" y="343"/>
                    <a:pt x="90" y="347"/>
                    <a:pt x="89" y="350"/>
                  </a:cubicBezTo>
                  <a:cubicBezTo>
                    <a:pt x="86" y="357"/>
                    <a:pt x="73" y="350"/>
                    <a:pt x="70" y="348"/>
                  </a:cubicBezTo>
                  <a:cubicBezTo>
                    <a:pt x="67" y="346"/>
                    <a:pt x="68" y="344"/>
                    <a:pt x="63" y="344"/>
                  </a:cubicBezTo>
                  <a:cubicBezTo>
                    <a:pt x="62" y="344"/>
                    <a:pt x="59" y="344"/>
                    <a:pt x="57" y="344"/>
                  </a:cubicBezTo>
                  <a:cubicBezTo>
                    <a:pt x="57" y="345"/>
                    <a:pt x="56" y="346"/>
                    <a:pt x="55" y="347"/>
                  </a:cubicBezTo>
                  <a:cubicBezTo>
                    <a:pt x="55" y="347"/>
                    <a:pt x="53" y="348"/>
                    <a:pt x="52" y="348"/>
                  </a:cubicBezTo>
                  <a:cubicBezTo>
                    <a:pt x="51" y="349"/>
                    <a:pt x="47" y="351"/>
                    <a:pt x="48" y="353"/>
                  </a:cubicBezTo>
                  <a:cubicBezTo>
                    <a:pt x="50" y="356"/>
                    <a:pt x="52" y="354"/>
                    <a:pt x="54" y="355"/>
                  </a:cubicBezTo>
                  <a:cubicBezTo>
                    <a:pt x="56" y="355"/>
                    <a:pt x="57" y="358"/>
                    <a:pt x="59" y="359"/>
                  </a:cubicBezTo>
                  <a:cubicBezTo>
                    <a:pt x="61" y="360"/>
                    <a:pt x="62" y="361"/>
                    <a:pt x="65" y="361"/>
                  </a:cubicBezTo>
                  <a:cubicBezTo>
                    <a:pt x="68" y="362"/>
                    <a:pt x="69" y="362"/>
                    <a:pt x="71" y="364"/>
                  </a:cubicBezTo>
                  <a:cubicBezTo>
                    <a:pt x="73" y="365"/>
                    <a:pt x="74" y="366"/>
                    <a:pt x="75" y="367"/>
                  </a:cubicBezTo>
                  <a:cubicBezTo>
                    <a:pt x="77" y="368"/>
                    <a:pt x="78" y="370"/>
                    <a:pt x="79" y="371"/>
                  </a:cubicBezTo>
                  <a:cubicBezTo>
                    <a:pt x="80" y="371"/>
                    <a:pt x="81" y="371"/>
                    <a:pt x="82" y="371"/>
                  </a:cubicBezTo>
                  <a:cubicBezTo>
                    <a:pt x="83" y="371"/>
                    <a:pt x="84" y="374"/>
                    <a:pt x="84" y="375"/>
                  </a:cubicBezTo>
                  <a:cubicBezTo>
                    <a:pt x="86" y="380"/>
                    <a:pt x="82" y="386"/>
                    <a:pt x="89" y="387"/>
                  </a:cubicBezTo>
                  <a:cubicBezTo>
                    <a:pt x="94" y="388"/>
                    <a:pt x="96" y="382"/>
                    <a:pt x="101" y="384"/>
                  </a:cubicBezTo>
                  <a:cubicBezTo>
                    <a:pt x="104" y="385"/>
                    <a:pt x="108" y="392"/>
                    <a:pt x="108" y="396"/>
                  </a:cubicBezTo>
                  <a:cubicBezTo>
                    <a:pt x="107" y="400"/>
                    <a:pt x="102" y="405"/>
                    <a:pt x="98" y="402"/>
                  </a:cubicBezTo>
                  <a:cubicBezTo>
                    <a:pt x="98" y="402"/>
                    <a:pt x="98" y="401"/>
                    <a:pt x="98" y="400"/>
                  </a:cubicBezTo>
                  <a:cubicBezTo>
                    <a:pt x="97" y="399"/>
                    <a:pt x="95" y="401"/>
                    <a:pt x="94" y="400"/>
                  </a:cubicBezTo>
                  <a:cubicBezTo>
                    <a:pt x="93" y="400"/>
                    <a:pt x="93" y="399"/>
                    <a:pt x="93" y="398"/>
                  </a:cubicBezTo>
                  <a:cubicBezTo>
                    <a:pt x="91" y="397"/>
                    <a:pt x="90" y="397"/>
                    <a:pt x="88" y="398"/>
                  </a:cubicBezTo>
                  <a:cubicBezTo>
                    <a:pt x="85" y="399"/>
                    <a:pt x="86" y="401"/>
                    <a:pt x="85" y="403"/>
                  </a:cubicBezTo>
                  <a:cubicBezTo>
                    <a:pt x="84" y="406"/>
                    <a:pt x="82" y="404"/>
                    <a:pt x="85" y="407"/>
                  </a:cubicBezTo>
                  <a:cubicBezTo>
                    <a:pt x="88" y="410"/>
                    <a:pt x="92" y="412"/>
                    <a:pt x="96" y="412"/>
                  </a:cubicBezTo>
                  <a:cubicBezTo>
                    <a:pt x="105" y="412"/>
                    <a:pt x="114" y="411"/>
                    <a:pt x="123" y="412"/>
                  </a:cubicBezTo>
                  <a:cubicBezTo>
                    <a:pt x="125" y="412"/>
                    <a:pt x="128" y="412"/>
                    <a:pt x="130" y="413"/>
                  </a:cubicBezTo>
                  <a:cubicBezTo>
                    <a:pt x="133" y="413"/>
                    <a:pt x="137" y="412"/>
                    <a:pt x="140" y="413"/>
                  </a:cubicBezTo>
                  <a:cubicBezTo>
                    <a:pt x="142" y="414"/>
                    <a:pt x="144" y="416"/>
                    <a:pt x="146" y="416"/>
                  </a:cubicBezTo>
                  <a:cubicBezTo>
                    <a:pt x="147" y="417"/>
                    <a:pt x="149" y="416"/>
                    <a:pt x="150" y="416"/>
                  </a:cubicBezTo>
                  <a:cubicBezTo>
                    <a:pt x="149" y="422"/>
                    <a:pt x="139" y="415"/>
                    <a:pt x="139" y="423"/>
                  </a:cubicBezTo>
                  <a:cubicBezTo>
                    <a:pt x="138" y="423"/>
                    <a:pt x="138" y="424"/>
                    <a:pt x="137" y="424"/>
                  </a:cubicBezTo>
                  <a:cubicBezTo>
                    <a:pt x="135" y="425"/>
                    <a:pt x="134" y="425"/>
                    <a:pt x="132" y="425"/>
                  </a:cubicBezTo>
                  <a:cubicBezTo>
                    <a:pt x="129" y="426"/>
                    <a:pt x="126" y="425"/>
                    <a:pt x="124" y="425"/>
                  </a:cubicBezTo>
                  <a:cubicBezTo>
                    <a:pt x="121" y="426"/>
                    <a:pt x="121" y="428"/>
                    <a:pt x="118" y="429"/>
                  </a:cubicBezTo>
                  <a:cubicBezTo>
                    <a:pt x="112" y="432"/>
                    <a:pt x="106" y="425"/>
                    <a:pt x="101" y="427"/>
                  </a:cubicBezTo>
                  <a:cubicBezTo>
                    <a:pt x="98" y="428"/>
                    <a:pt x="96" y="431"/>
                    <a:pt x="96" y="433"/>
                  </a:cubicBezTo>
                  <a:cubicBezTo>
                    <a:pt x="97" y="439"/>
                    <a:pt x="102" y="438"/>
                    <a:pt x="106" y="438"/>
                  </a:cubicBezTo>
                  <a:cubicBezTo>
                    <a:pt x="113" y="438"/>
                    <a:pt x="119" y="440"/>
                    <a:pt x="125" y="439"/>
                  </a:cubicBezTo>
                  <a:cubicBezTo>
                    <a:pt x="127" y="438"/>
                    <a:pt x="134" y="436"/>
                    <a:pt x="134" y="440"/>
                  </a:cubicBezTo>
                  <a:cubicBezTo>
                    <a:pt x="133" y="442"/>
                    <a:pt x="130" y="442"/>
                    <a:pt x="128" y="444"/>
                  </a:cubicBezTo>
                  <a:cubicBezTo>
                    <a:pt x="130" y="448"/>
                    <a:pt x="143" y="452"/>
                    <a:pt x="147" y="448"/>
                  </a:cubicBezTo>
                  <a:cubicBezTo>
                    <a:pt x="150" y="444"/>
                    <a:pt x="144" y="435"/>
                    <a:pt x="149" y="433"/>
                  </a:cubicBezTo>
                  <a:cubicBezTo>
                    <a:pt x="150" y="432"/>
                    <a:pt x="156" y="433"/>
                    <a:pt x="157" y="434"/>
                  </a:cubicBezTo>
                  <a:cubicBezTo>
                    <a:pt x="159" y="434"/>
                    <a:pt x="160" y="436"/>
                    <a:pt x="162" y="436"/>
                  </a:cubicBezTo>
                  <a:cubicBezTo>
                    <a:pt x="164" y="436"/>
                    <a:pt x="165" y="435"/>
                    <a:pt x="166" y="436"/>
                  </a:cubicBezTo>
                  <a:cubicBezTo>
                    <a:pt x="170" y="438"/>
                    <a:pt x="169" y="443"/>
                    <a:pt x="174" y="443"/>
                  </a:cubicBezTo>
                  <a:cubicBezTo>
                    <a:pt x="176" y="443"/>
                    <a:pt x="180" y="441"/>
                    <a:pt x="181" y="439"/>
                  </a:cubicBezTo>
                  <a:cubicBezTo>
                    <a:pt x="183" y="439"/>
                    <a:pt x="186" y="441"/>
                    <a:pt x="187" y="443"/>
                  </a:cubicBezTo>
                  <a:cubicBezTo>
                    <a:pt x="190" y="445"/>
                    <a:pt x="189" y="446"/>
                    <a:pt x="190" y="449"/>
                  </a:cubicBezTo>
                  <a:cubicBezTo>
                    <a:pt x="191" y="456"/>
                    <a:pt x="195" y="458"/>
                    <a:pt x="200" y="462"/>
                  </a:cubicBezTo>
                  <a:cubicBezTo>
                    <a:pt x="202" y="463"/>
                    <a:pt x="204" y="464"/>
                    <a:pt x="206" y="466"/>
                  </a:cubicBezTo>
                  <a:cubicBezTo>
                    <a:pt x="207" y="467"/>
                    <a:pt x="207" y="468"/>
                    <a:pt x="208" y="470"/>
                  </a:cubicBezTo>
                  <a:cubicBezTo>
                    <a:pt x="211" y="475"/>
                    <a:pt x="213" y="481"/>
                    <a:pt x="217" y="486"/>
                  </a:cubicBezTo>
                  <a:cubicBezTo>
                    <a:pt x="221" y="492"/>
                    <a:pt x="225" y="494"/>
                    <a:pt x="232" y="495"/>
                  </a:cubicBezTo>
                  <a:cubicBezTo>
                    <a:pt x="236" y="495"/>
                    <a:pt x="240" y="495"/>
                    <a:pt x="243" y="495"/>
                  </a:cubicBezTo>
                  <a:cubicBezTo>
                    <a:pt x="248" y="494"/>
                    <a:pt x="250" y="491"/>
                    <a:pt x="254" y="489"/>
                  </a:cubicBezTo>
                  <a:cubicBezTo>
                    <a:pt x="257" y="487"/>
                    <a:pt x="259" y="485"/>
                    <a:pt x="262" y="483"/>
                  </a:cubicBezTo>
                  <a:cubicBezTo>
                    <a:pt x="265" y="481"/>
                    <a:pt x="269" y="479"/>
                    <a:pt x="272" y="477"/>
                  </a:cubicBezTo>
                  <a:cubicBezTo>
                    <a:pt x="274" y="476"/>
                    <a:pt x="272" y="474"/>
                    <a:pt x="275" y="475"/>
                  </a:cubicBezTo>
                  <a:cubicBezTo>
                    <a:pt x="277" y="475"/>
                    <a:pt x="279" y="480"/>
                    <a:pt x="282" y="477"/>
                  </a:cubicBezTo>
                  <a:cubicBezTo>
                    <a:pt x="286" y="475"/>
                    <a:pt x="283" y="463"/>
                    <a:pt x="283" y="459"/>
                  </a:cubicBezTo>
                  <a:cubicBezTo>
                    <a:pt x="284" y="452"/>
                    <a:pt x="288" y="444"/>
                    <a:pt x="291" y="438"/>
                  </a:cubicBezTo>
                  <a:cubicBezTo>
                    <a:pt x="293" y="433"/>
                    <a:pt x="295" y="431"/>
                    <a:pt x="300" y="433"/>
                  </a:cubicBezTo>
                  <a:cubicBezTo>
                    <a:pt x="304" y="435"/>
                    <a:pt x="307" y="435"/>
                    <a:pt x="311" y="435"/>
                  </a:cubicBezTo>
                  <a:cubicBezTo>
                    <a:pt x="309" y="435"/>
                    <a:pt x="307" y="434"/>
                    <a:pt x="307" y="432"/>
                  </a:cubicBezTo>
                  <a:cubicBezTo>
                    <a:pt x="312" y="431"/>
                    <a:pt x="313" y="433"/>
                    <a:pt x="316" y="436"/>
                  </a:cubicBezTo>
                  <a:cubicBezTo>
                    <a:pt x="319" y="438"/>
                    <a:pt x="323" y="439"/>
                    <a:pt x="327" y="440"/>
                  </a:cubicBezTo>
                  <a:cubicBezTo>
                    <a:pt x="333" y="441"/>
                    <a:pt x="339" y="444"/>
                    <a:pt x="345" y="445"/>
                  </a:cubicBezTo>
                  <a:cubicBezTo>
                    <a:pt x="349" y="447"/>
                    <a:pt x="351" y="449"/>
                    <a:pt x="355" y="451"/>
                  </a:cubicBezTo>
                  <a:cubicBezTo>
                    <a:pt x="359" y="453"/>
                    <a:pt x="362" y="454"/>
                    <a:pt x="365" y="457"/>
                  </a:cubicBezTo>
                  <a:cubicBezTo>
                    <a:pt x="368" y="459"/>
                    <a:pt x="368" y="461"/>
                    <a:pt x="369" y="464"/>
                  </a:cubicBezTo>
                  <a:cubicBezTo>
                    <a:pt x="369" y="464"/>
                    <a:pt x="371" y="466"/>
                    <a:pt x="371" y="467"/>
                  </a:cubicBezTo>
                  <a:cubicBezTo>
                    <a:pt x="371" y="467"/>
                    <a:pt x="371" y="468"/>
                    <a:pt x="371" y="468"/>
                  </a:cubicBezTo>
                  <a:cubicBezTo>
                    <a:pt x="371" y="470"/>
                    <a:pt x="372" y="470"/>
                    <a:pt x="373" y="471"/>
                  </a:cubicBezTo>
                  <a:cubicBezTo>
                    <a:pt x="372" y="470"/>
                    <a:pt x="375" y="474"/>
                    <a:pt x="374" y="473"/>
                  </a:cubicBezTo>
                  <a:cubicBezTo>
                    <a:pt x="375" y="475"/>
                    <a:pt x="377" y="474"/>
                    <a:pt x="378" y="476"/>
                  </a:cubicBezTo>
                  <a:cubicBezTo>
                    <a:pt x="378" y="476"/>
                    <a:pt x="378" y="477"/>
                    <a:pt x="379" y="478"/>
                  </a:cubicBezTo>
                  <a:cubicBezTo>
                    <a:pt x="379" y="479"/>
                    <a:pt x="380" y="480"/>
                    <a:pt x="381" y="481"/>
                  </a:cubicBezTo>
                  <a:cubicBezTo>
                    <a:pt x="383" y="483"/>
                    <a:pt x="384" y="484"/>
                    <a:pt x="385" y="486"/>
                  </a:cubicBezTo>
                  <a:cubicBezTo>
                    <a:pt x="387" y="487"/>
                    <a:pt x="390" y="489"/>
                    <a:pt x="392" y="491"/>
                  </a:cubicBezTo>
                  <a:cubicBezTo>
                    <a:pt x="394" y="493"/>
                    <a:pt x="394" y="496"/>
                    <a:pt x="398" y="497"/>
                  </a:cubicBezTo>
                  <a:cubicBezTo>
                    <a:pt x="403" y="499"/>
                    <a:pt x="408" y="501"/>
                    <a:pt x="413" y="502"/>
                  </a:cubicBezTo>
                  <a:cubicBezTo>
                    <a:pt x="417" y="504"/>
                    <a:pt x="419" y="504"/>
                    <a:pt x="424" y="503"/>
                  </a:cubicBezTo>
                  <a:cubicBezTo>
                    <a:pt x="429" y="502"/>
                    <a:pt x="433" y="500"/>
                    <a:pt x="438" y="500"/>
                  </a:cubicBezTo>
                  <a:cubicBezTo>
                    <a:pt x="447" y="500"/>
                    <a:pt x="456" y="500"/>
                    <a:pt x="465" y="500"/>
                  </a:cubicBezTo>
                  <a:cubicBezTo>
                    <a:pt x="472" y="500"/>
                    <a:pt x="479" y="501"/>
                    <a:pt x="486" y="500"/>
                  </a:cubicBezTo>
                  <a:cubicBezTo>
                    <a:pt x="490" y="500"/>
                    <a:pt x="490" y="498"/>
                    <a:pt x="491" y="495"/>
                  </a:cubicBezTo>
                  <a:cubicBezTo>
                    <a:pt x="492" y="493"/>
                    <a:pt x="491" y="493"/>
                    <a:pt x="492" y="491"/>
                  </a:cubicBezTo>
                  <a:cubicBezTo>
                    <a:pt x="492" y="490"/>
                    <a:pt x="495" y="489"/>
                    <a:pt x="496" y="488"/>
                  </a:cubicBezTo>
                  <a:cubicBezTo>
                    <a:pt x="498" y="485"/>
                    <a:pt x="500" y="483"/>
                    <a:pt x="501" y="480"/>
                  </a:cubicBezTo>
                  <a:cubicBezTo>
                    <a:pt x="503" y="478"/>
                    <a:pt x="502" y="479"/>
                    <a:pt x="504" y="477"/>
                  </a:cubicBezTo>
                  <a:cubicBezTo>
                    <a:pt x="505" y="476"/>
                    <a:pt x="507" y="474"/>
                    <a:pt x="508" y="473"/>
                  </a:cubicBezTo>
                  <a:cubicBezTo>
                    <a:pt x="512" y="470"/>
                    <a:pt x="519" y="473"/>
                    <a:pt x="520" y="465"/>
                  </a:cubicBezTo>
                  <a:cubicBezTo>
                    <a:pt x="520" y="463"/>
                    <a:pt x="519" y="459"/>
                    <a:pt x="521" y="457"/>
                  </a:cubicBezTo>
                  <a:cubicBezTo>
                    <a:pt x="522" y="455"/>
                    <a:pt x="523" y="455"/>
                    <a:pt x="525" y="454"/>
                  </a:cubicBezTo>
                  <a:cubicBezTo>
                    <a:pt x="527" y="453"/>
                    <a:pt x="526" y="452"/>
                    <a:pt x="528" y="451"/>
                  </a:cubicBezTo>
                  <a:cubicBezTo>
                    <a:pt x="531" y="450"/>
                    <a:pt x="535" y="452"/>
                    <a:pt x="537" y="454"/>
                  </a:cubicBezTo>
                  <a:cubicBezTo>
                    <a:pt x="539" y="455"/>
                    <a:pt x="540" y="456"/>
                    <a:pt x="542" y="456"/>
                  </a:cubicBezTo>
                  <a:cubicBezTo>
                    <a:pt x="544" y="457"/>
                    <a:pt x="546" y="456"/>
                    <a:pt x="547" y="456"/>
                  </a:cubicBezTo>
                  <a:cubicBezTo>
                    <a:pt x="550" y="457"/>
                    <a:pt x="551" y="459"/>
                    <a:pt x="554" y="461"/>
                  </a:cubicBezTo>
                  <a:cubicBezTo>
                    <a:pt x="558" y="464"/>
                    <a:pt x="561" y="464"/>
                    <a:pt x="565" y="466"/>
                  </a:cubicBezTo>
                  <a:cubicBezTo>
                    <a:pt x="565" y="466"/>
                    <a:pt x="568" y="467"/>
                    <a:pt x="568" y="467"/>
                  </a:cubicBezTo>
                  <a:cubicBezTo>
                    <a:pt x="570" y="468"/>
                    <a:pt x="571" y="468"/>
                    <a:pt x="573" y="469"/>
                  </a:cubicBezTo>
                  <a:cubicBezTo>
                    <a:pt x="574" y="469"/>
                    <a:pt x="575" y="470"/>
                    <a:pt x="576" y="470"/>
                  </a:cubicBezTo>
                  <a:cubicBezTo>
                    <a:pt x="579" y="471"/>
                    <a:pt x="582" y="470"/>
                    <a:pt x="585" y="470"/>
                  </a:cubicBezTo>
                  <a:cubicBezTo>
                    <a:pt x="588" y="470"/>
                    <a:pt x="589" y="470"/>
                    <a:pt x="591" y="468"/>
                  </a:cubicBezTo>
                  <a:cubicBezTo>
                    <a:pt x="592" y="467"/>
                    <a:pt x="591" y="465"/>
                    <a:pt x="592" y="464"/>
                  </a:cubicBezTo>
                  <a:cubicBezTo>
                    <a:pt x="593" y="462"/>
                    <a:pt x="594" y="463"/>
                    <a:pt x="595" y="462"/>
                  </a:cubicBezTo>
                  <a:cubicBezTo>
                    <a:pt x="598" y="462"/>
                    <a:pt x="600" y="461"/>
                    <a:pt x="602" y="459"/>
                  </a:cubicBezTo>
                  <a:cubicBezTo>
                    <a:pt x="605" y="458"/>
                    <a:pt x="607" y="457"/>
                    <a:pt x="610" y="456"/>
                  </a:cubicBezTo>
                  <a:cubicBezTo>
                    <a:pt x="614" y="455"/>
                    <a:pt x="621" y="451"/>
                    <a:pt x="624" y="457"/>
                  </a:cubicBezTo>
                  <a:cubicBezTo>
                    <a:pt x="625" y="460"/>
                    <a:pt x="623" y="462"/>
                    <a:pt x="621" y="464"/>
                  </a:cubicBezTo>
                  <a:cubicBezTo>
                    <a:pt x="619" y="467"/>
                    <a:pt x="619" y="470"/>
                    <a:pt x="616" y="472"/>
                  </a:cubicBezTo>
                  <a:cubicBezTo>
                    <a:pt x="612" y="474"/>
                    <a:pt x="608" y="475"/>
                    <a:pt x="605" y="477"/>
                  </a:cubicBezTo>
                  <a:cubicBezTo>
                    <a:pt x="601" y="479"/>
                    <a:pt x="601" y="480"/>
                    <a:pt x="601" y="484"/>
                  </a:cubicBezTo>
                  <a:cubicBezTo>
                    <a:pt x="601" y="491"/>
                    <a:pt x="605" y="495"/>
                    <a:pt x="608" y="500"/>
                  </a:cubicBezTo>
                  <a:cubicBezTo>
                    <a:pt x="609" y="503"/>
                    <a:pt x="611" y="507"/>
                    <a:pt x="613" y="510"/>
                  </a:cubicBezTo>
                  <a:cubicBezTo>
                    <a:pt x="614" y="512"/>
                    <a:pt x="614" y="515"/>
                    <a:pt x="617" y="517"/>
                  </a:cubicBezTo>
                  <a:cubicBezTo>
                    <a:pt x="619" y="518"/>
                    <a:pt x="624" y="518"/>
                    <a:pt x="627" y="518"/>
                  </a:cubicBezTo>
                  <a:cubicBezTo>
                    <a:pt x="631" y="518"/>
                    <a:pt x="632" y="514"/>
                    <a:pt x="634" y="511"/>
                  </a:cubicBezTo>
                  <a:cubicBezTo>
                    <a:pt x="636" y="508"/>
                    <a:pt x="637" y="504"/>
                    <a:pt x="640" y="503"/>
                  </a:cubicBezTo>
                  <a:cubicBezTo>
                    <a:pt x="643" y="502"/>
                    <a:pt x="646" y="503"/>
                    <a:pt x="648" y="503"/>
                  </a:cubicBezTo>
                  <a:cubicBezTo>
                    <a:pt x="650" y="502"/>
                    <a:pt x="654" y="502"/>
                    <a:pt x="655" y="500"/>
                  </a:cubicBezTo>
                  <a:cubicBezTo>
                    <a:pt x="657" y="497"/>
                    <a:pt x="652" y="493"/>
                    <a:pt x="651" y="490"/>
                  </a:cubicBezTo>
                  <a:cubicBezTo>
                    <a:pt x="650" y="488"/>
                    <a:pt x="650" y="483"/>
                    <a:pt x="651" y="481"/>
                  </a:cubicBezTo>
                  <a:cubicBezTo>
                    <a:pt x="651" y="477"/>
                    <a:pt x="654" y="475"/>
                    <a:pt x="655" y="472"/>
                  </a:cubicBezTo>
                  <a:cubicBezTo>
                    <a:pt x="657" y="469"/>
                    <a:pt x="657" y="466"/>
                    <a:pt x="661" y="464"/>
                  </a:cubicBezTo>
                  <a:cubicBezTo>
                    <a:pt x="663" y="463"/>
                    <a:pt x="666" y="462"/>
                    <a:pt x="669" y="462"/>
                  </a:cubicBezTo>
                  <a:cubicBezTo>
                    <a:pt x="672" y="462"/>
                    <a:pt x="675" y="462"/>
                    <a:pt x="678" y="462"/>
                  </a:cubicBezTo>
                  <a:cubicBezTo>
                    <a:pt x="679" y="463"/>
                    <a:pt x="680" y="464"/>
                    <a:pt x="682" y="464"/>
                  </a:cubicBezTo>
                  <a:cubicBezTo>
                    <a:pt x="683" y="465"/>
                    <a:pt x="685" y="464"/>
                    <a:pt x="686" y="464"/>
                  </a:cubicBezTo>
                  <a:cubicBezTo>
                    <a:pt x="689" y="465"/>
                    <a:pt x="691" y="465"/>
                    <a:pt x="694" y="466"/>
                  </a:cubicBezTo>
                  <a:cubicBezTo>
                    <a:pt x="696" y="466"/>
                    <a:pt x="698" y="467"/>
                    <a:pt x="701" y="467"/>
                  </a:cubicBezTo>
                  <a:cubicBezTo>
                    <a:pt x="703" y="467"/>
                    <a:pt x="706" y="467"/>
                    <a:pt x="708" y="467"/>
                  </a:cubicBezTo>
                  <a:cubicBezTo>
                    <a:pt x="714" y="467"/>
                    <a:pt x="719" y="465"/>
                    <a:pt x="724" y="464"/>
                  </a:cubicBezTo>
                  <a:cubicBezTo>
                    <a:pt x="730" y="464"/>
                    <a:pt x="735" y="460"/>
                    <a:pt x="741" y="459"/>
                  </a:cubicBezTo>
                  <a:cubicBezTo>
                    <a:pt x="744" y="457"/>
                    <a:pt x="749" y="457"/>
                    <a:pt x="752" y="456"/>
                  </a:cubicBezTo>
                  <a:cubicBezTo>
                    <a:pt x="756" y="455"/>
                    <a:pt x="759" y="453"/>
                    <a:pt x="764" y="454"/>
                  </a:cubicBezTo>
                  <a:cubicBezTo>
                    <a:pt x="767" y="454"/>
                    <a:pt x="771" y="457"/>
                    <a:pt x="774" y="459"/>
                  </a:cubicBezTo>
                  <a:cubicBezTo>
                    <a:pt x="780" y="462"/>
                    <a:pt x="786" y="466"/>
                    <a:pt x="793" y="467"/>
                  </a:cubicBezTo>
                  <a:cubicBezTo>
                    <a:pt x="799" y="468"/>
                    <a:pt x="806" y="468"/>
                    <a:pt x="813" y="468"/>
                  </a:cubicBezTo>
                  <a:cubicBezTo>
                    <a:pt x="824" y="468"/>
                    <a:pt x="834" y="467"/>
                    <a:pt x="845" y="467"/>
                  </a:cubicBezTo>
                  <a:cubicBezTo>
                    <a:pt x="850" y="467"/>
                    <a:pt x="852" y="466"/>
                    <a:pt x="857" y="465"/>
                  </a:cubicBezTo>
                  <a:cubicBezTo>
                    <a:pt x="859" y="464"/>
                    <a:pt x="861" y="463"/>
                    <a:pt x="863" y="462"/>
                  </a:cubicBezTo>
                  <a:cubicBezTo>
                    <a:pt x="865" y="462"/>
                    <a:pt x="866" y="462"/>
                    <a:pt x="868" y="462"/>
                  </a:cubicBezTo>
                  <a:cubicBezTo>
                    <a:pt x="869" y="462"/>
                    <a:pt x="871" y="461"/>
                    <a:pt x="872" y="460"/>
                  </a:cubicBezTo>
                  <a:cubicBezTo>
                    <a:pt x="873" y="459"/>
                    <a:pt x="874" y="459"/>
                    <a:pt x="875" y="459"/>
                  </a:cubicBezTo>
                  <a:cubicBezTo>
                    <a:pt x="878" y="458"/>
                    <a:pt x="880" y="456"/>
                    <a:pt x="882" y="455"/>
                  </a:cubicBezTo>
                  <a:cubicBezTo>
                    <a:pt x="886" y="452"/>
                    <a:pt x="888" y="449"/>
                    <a:pt x="893" y="449"/>
                  </a:cubicBezTo>
                  <a:cubicBezTo>
                    <a:pt x="901" y="449"/>
                    <a:pt x="909" y="449"/>
                    <a:pt x="917" y="448"/>
                  </a:cubicBezTo>
                  <a:cubicBezTo>
                    <a:pt x="925" y="448"/>
                    <a:pt x="937" y="447"/>
                    <a:pt x="945" y="448"/>
                  </a:cubicBezTo>
                  <a:cubicBezTo>
                    <a:pt x="947" y="449"/>
                    <a:pt x="948" y="450"/>
                    <a:pt x="950" y="451"/>
                  </a:cubicBezTo>
                  <a:cubicBezTo>
                    <a:pt x="952" y="452"/>
                    <a:pt x="954" y="451"/>
                    <a:pt x="957" y="451"/>
                  </a:cubicBezTo>
                  <a:cubicBezTo>
                    <a:pt x="959" y="451"/>
                    <a:pt x="961" y="451"/>
                    <a:pt x="962" y="451"/>
                  </a:cubicBezTo>
                  <a:cubicBezTo>
                    <a:pt x="963" y="449"/>
                    <a:pt x="964" y="449"/>
                    <a:pt x="965" y="449"/>
                  </a:cubicBezTo>
                  <a:cubicBezTo>
                    <a:pt x="964" y="450"/>
                    <a:pt x="963" y="450"/>
                    <a:pt x="962" y="451"/>
                  </a:cubicBezTo>
                  <a:cubicBezTo>
                    <a:pt x="962" y="452"/>
                    <a:pt x="962" y="455"/>
                    <a:pt x="963" y="456"/>
                  </a:cubicBezTo>
                  <a:cubicBezTo>
                    <a:pt x="970" y="455"/>
                    <a:pt x="976" y="450"/>
                    <a:pt x="983" y="447"/>
                  </a:cubicBezTo>
                  <a:cubicBezTo>
                    <a:pt x="985" y="446"/>
                    <a:pt x="988" y="445"/>
                    <a:pt x="990" y="444"/>
                  </a:cubicBezTo>
                  <a:cubicBezTo>
                    <a:pt x="992" y="443"/>
                    <a:pt x="994" y="441"/>
                    <a:pt x="996" y="441"/>
                  </a:cubicBezTo>
                  <a:cubicBezTo>
                    <a:pt x="1001" y="440"/>
                    <a:pt x="999" y="442"/>
                    <a:pt x="1001" y="445"/>
                  </a:cubicBezTo>
                  <a:cubicBezTo>
                    <a:pt x="1003" y="448"/>
                    <a:pt x="1008" y="448"/>
                    <a:pt x="1011" y="449"/>
                  </a:cubicBezTo>
                  <a:cubicBezTo>
                    <a:pt x="1013" y="449"/>
                    <a:pt x="1016" y="450"/>
                    <a:pt x="1018" y="449"/>
                  </a:cubicBezTo>
                  <a:cubicBezTo>
                    <a:pt x="1021" y="448"/>
                    <a:pt x="1026" y="444"/>
                    <a:pt x="1026" y="441"/>
                  </a:cubicBezTo>
                  <a:cubicBezTo>
                    <a:pt x="1029" y="441"/>
                    <a:pt x="1032" y="439"/>
                    <a:pt x="1035" y="437"/>
                  </a:cubicBezTo>
                  <a:cubicBezTo>
                    <a:pt x="1038" y="436"/>
                    <a:pt x="1039" y="435"/>
                    <a:pt x="1043" y="435"/>
                  </a:cubicBezTo>
                  <a:cubicBezTo>
                    <a:pt x="1050" y="435"/>
                    <a:pt x="1057" y="435"/>
                    <a:pt x="1064" y="435"/>
                  </a:cubicBezTo>
                  <a:cubicBezTo>
                    <a:pt x="1068" y="435"/>
                    <a:pt x="1074" y="435"/>
                    <a:pt x="1079" y="436"/>
                  </a:cubicBezTo>
                  <a:cubicBezTo>
                    <a:pt x="1081" y="436"/>
                    <a:pt x="1082" y="438"/>
                    <a:pt x="1084" y="439"/>
                  </a:cubicBezTo>
                  <a:cubicBezTo>
                    <a:pt x="1087" y="441"/>
                    <a:pt x="1089" y="441"/>
                    <a:pt x="1092" y="441"/>
                  </a:cubicBezTo>
                  <a:cubicBezTo>
                    <a:pt x="1098" y="440"/>
                    <a:pt x="1103" y="441"/>
                    <a:pt x="1109" y="441"/>
                  </a:cubicBezTo>
                  <a:cubicBezTo>
                    <a:pt x="1113" y="441"/>
                    <a:pt x="1118" y="440"/>
                    <a:pt x="1122" y="441"/>
                  </a:cubicBezTo>
                  <a:cubicBezTo>
                    <a:pt x="1128" y="442"/>
                    <a:pt x="1130" y="447"/>
                    <a:pt x="1132" y="452"/>
                  </a:cubicBezTo>
                  <a:cubicBezTo>
                    <a:pt x="1135" y="457"/>
                    <a:pt x="1137" y="469"/>
                    <a:pt x="1144" y="468"/>
                  </a:cubicBezTo>
                  <a:cubicBezTo>
                    <a:pt x="1149" y="467"/>
                    <a:pt x="1151" y="462"/>
                    <a:pt x="1154" y="459"/>
                  </a:cubicBezTo>
                  <a:cubicBezTo>
                    <a:pt x="1157" y="457"/>
                    <a:pt x="1159" y="455"/>
                    <a:pt x="1162" y="453"/>
                  </a:cubicBezTo>
                  <a:cubicBezTo>
                    <a:pt x="1167" y="451"/>
                    <a:pt x="1171" y="453"/>
                    <a:pt x="1170" y="44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0" name="Freeform 60">
              <a:extLst>
                <a:ext uri="{FF2B5EF4-FFF2-40B4-BE49-F238E27FC236}">
                  <a16:creationId xmlns:a16="http://schemas.microsoft.com/office/drawing/2014/main" id="{1F2B9DF9-99D8-49E6-A906-D9337B7722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623888"/>
              <a:ext cx="1301750" cy="3043238"/>
            </a:xfrm>
            <a:custGeom>
              <a:avLst/>
              <a:gdLst/>
              <a:ahLst/>
              <a:cxnLst>
                <a:cxn ang="0">
                  <a:pos x="16" y="1348"/>
                </a:cxn>
                <a:cxn ang="0">
                  <a:pos x="39" y="1406"/>
                </a:cxn>
                <a:cxn ang="0">
                  <a:pos x="65" y="1460"/>
                </a:cxn>
                <a:cxn ang="0">
                  <a:pos x="92" y="1509"/>
                </a:cxn>
                <a:cxn ang="0">
                  <a:pos x="77" y="1543"/>
                </a:cxn>
                <a:cxn ang="0">
                  <a:pos x="98" y="1574"/>
                </a:cxn>
                <a:cxn ang="0">
                  <a:pos x="94" y="1619"/>
                </a:cxn>
                <a:cxn ang="0">
                  <a:pos x="174" y="1598"/>
                </a:cxn>
                <a:cxn ang="0">
                  <a:pos x="197" y="1550"/>
                </a:cxn>
                <a:cxn ang="0">
                  <a:pos x="256" y="1552"/>
                </a:cxn>
                <a:cxn ang="0">
                  <a:pos x="290" y="1530"/>
                </a:cxn>
                <a:cxn ang="0">
                  <a:pos x="323" y="1440"/>
                </a:cxn>
                <a:cxn ang="0">
                  <a:pos x="291" y="1465"/>
                </a:cxn>
                <a:cxn ang="0">
                  <a:pos x="306" y="1384"/>
                </a:cxn>
                <a:cxn ang="0">
                  <a:pos x="313" y="1309"/>
                </a:cxn>
                <a:cxn ang="0">
                  <a:pos x="368" y="1274"/>
                </a:cxn>
                <a:cxn ang="0">
                  <a:pos x="405" y="1223"/>
                </a:cxn>
                <a:cxn ang="0">
                  <a:pos x="423" y="1177"/>
                </a:cxn>
                <a:cxn ang="0">
                  <a:pos x="411" y="1135"/>
                </a:cxn>
                <a:cxn ang="0">
                  <a:pos x="374" y="1103"/>
                </a:cxn>
                <a:cxn ang="0">
                  <a:pos x="335" y="1060"/>
                </a:cxn>
                <a:cxn ang="0">
                  <a:pos x="330" y="993"/>
                </a:cxn>
                <a:cxn ang="0">
                  <a:pos x="343" y="889"/>
                </a:cxn>
                <a:cxn ang="0">
                  <a:pos x="385" y="832"/>
                </a:cxn>
                <a:cxn ang="0">
                  <a:pos x="390" y="802"/>
                </a:cxn>
                <a:cxn ang="0">
                  <a:pos x="466" y="744"/>
                </a:cxn>
                <a:cxn ang="0">
                  <a:pos x="529" y="678"/>
                </a:cxn>
                <a:cxn ang="0">
                  <a:pos x="535" y="588"/>
                </a:cxn>
                <a:cxn ang="0">
                  <a:pos x="570" y="518"/>
                </a:cxn>
                <a:cxn ang="0">
                  <a:pos x="603" y="480"/>
                </a:cxn>
                <a:cxn ang="0">
                  <a:pos x="665" y="465"/>
                </a:cxn>
                <a:cxn ang="0">
                  <a:pos x="684" y="410"/>
                </a:cxn>
                <a:cxn ang="0">
                  <a:pos x="669" y="276"/>
                </a:cxn>
                <a:cxn ang="0">
                  <a:pos x="664" y="221"/>
                </a:cxn>
                <a:cxn ang="0">
                  <a:pos x="642" y="140"/>
                </a:cxn>
                <a:cxn ang="0">
                  <a:pos x="591" y="84"/>
                </a:cxn>
                <a:cxn ang="0">
                  <a:pos x="525" y="28"/>
                </a:cxn>
                <a:cxn ang="0">
                  <a:pos x="485" y="12"/>
                </a:cxn>
                <a:cxn ang="0">
                  <a:pos x="478" y="95"/>
                </a:cxn>
                <a:cxn ang="0">
                  <a:pos x="379" y="78"/>
                </a:cxn>
                <a:cxn ang="0">
                  <a:pos x="349" y="151"/>
                </a:cxn>
                <a:cxn ang="0">
                  <a:pos x="288" y="188"/>
                </a:cxn>
                <a:cxn ang="0">
                  <a:pos x="267" y="249"/>
                </a:cxn>
                <a:cxn ang="0">
                  <a:pos x="250" y="327"/>
                </a:cxn>
                <a:cxn ang="0">
                  <a:pos x="178" y="415"/>
                </a:cxn>
                <a:cxn ang="0">
                  <a:pos x="174" y="490"/>
                </a:cxn>
                <a:cxn ang="0">
                  <a:pos x="151" y="582"/>
                </a:cxn>
                <a:cxn ang="0">
                  <a:pos x="155" y="665"/>
                </a:cxn>
                <a:cxn ang="0">
                  <a:pos x="76" y="696"/>
                </a:cxn>
                <a:cxn ang="0">
                  <a:pos x="46" y="775"/>
                </a:cxn>
                <a:cxn ang="0">
                  <a:pos x="45" y="822"/>
                </a:cxn>
                <a:cxn ang="0">
                  <a:pos x="54" y="944"/>
                </a:cxn>
                <a:cxn ang="0">
                  <a:pos x="90" y="1011"/>
                </a:cxn>
                <a:cxn ang="0">
                  <a:pos x="61" y="1039"/>
                </a:cxn>
                <a:cxn ang="0">
                  <a:pos x="70" y="1128"/>
                </a:cxn>
                <a:cxn ang="0">
                  <a:pos x="36" y="1187"/>
                </a:cxn>
                <a:cxn ang="0">
                  <a:pos x="16" y="1270"/>
                </a:cxn>
              </a:cxnLst>
              <a:rect l="0" t="0" r="r" b="b"/>
              <a:pathLst>
                <a:path w="696" h="1628">
                  <a:moveTo>
                    <a:pt x="2" y="1255"/>
                  </a:moveTo>
                  <a:cubicBezTo>
                    <a:pt x="1" y="1264"/>
                    <a:pt x="0" y="1275"/>
                    <a:pt x="2" y="1284"/>
                  </a:cubicBezTo>
                  <a:cubicBezTo>
                    <a:pt x="3" y="1292"/>
                    <a:pt x="5" y="1298"/>
                    <a:pt x="4" y="1306"/>
                  </a:cubicBezTo>
                  <a:cubicBezTo>
                    <a:pt x="4" y="1308"/>
                    <a:pt x="4" y="1310"/>
                    <a:pt x="5" y="1312"/>
                  </a:cubicBezTo>
                  <a:cubicBezTo>
                    <a:pt x="6" y="1314"/>
                    <a:pt x="8" y="1315"/>
                    <a:pt x="9" y="1317"/>
                  </a:cubicBezTo>
                  <a:cubicBezTo>
                    <a:pt x="10" y="1319"/>
                    <a:pt x="9" y="1321"/>
                    <a:pt x="8" y="1324"/>
                  </a:cubicBezTo>
                  <a:cubicBezTo>
                    <a:pt x="8" y="1327"/>
                    <a:pt x="8" y="1330"/>
                    <a:pt x="8" y="1333"/>
                  </a:cubicBezTo>
                  <a:cubicBezTo>
                    <a:pt x="9" y="1339"/>
                    <a:pt x="14" y="1342"/>
                    <a:pt x="16" y="1348"/>
                  </a:cubicBezTo>
                  <a:cubicBezTo>
                    <a:pt x="18" y="1350"/>
                    <a:pt x="19" y="1357"/>
                    <a:pt x="20" y="1359"/>
                  </a:cubicBezTo>
                  <a:cubicBezTo>
                    <a:pt x="20" y="1357"/>
                    <a:pt x="20" y="1356"/>
                    <a:pt x="21" y="1354"/>
                  </a:cubicBezTo>
                  <a:cubicBezTo>
                    <a:pt x="23" y="1353"/>
                    <a:pt x="30" y="1355"/>
                    <a:pt x="32" y="1356"/>
                  </a:cubicBezTo>
                  <a:cubicBezTo>
                    <a:pt x="36" y="1358"/>
                    <a:pt x="33" y="1360"/>
                    <a:pt x="30" y="1361"/>
                  </a:cubicBezTo>
                  <a:cubicBezTo>
                    <a:pt x="28" y="1362"/>
                    <a:pt x="27" y="1362"/>
                    <a:pt x="27" y="1365"/>
                  </a:cubicBezTo>
                  <a:cubicBezTo>
                    <a:pt x="25" y="1372"/>
                    <a:pt x="27" y="1379"/>
                    <a:pt x="31" y="1384"/>
                  </a:cubicBezTo>
                  <a:cubicBezTo>
                    <a:pt x="34" y="1388"/>
                    <a:pt x="34" y="1394"/>
                    <a:pt x="35" y="1398"/>
                  </a:cubicBezTo>
                  <a:cubicBezTo>
                    <a:pt x="36" y="1401"/>
                    <a:pt x="37" y="1404"/>
                    <a:pt x="39" y="1406"/>
                  </a:cubicBezTo>
                  <a:cubicBezTo>
                    <a:pt x="40" y="1407"/>
                    <a:pt x="40" y="1407"/>
                    <a:pt x="41" y="1407"/>
                  </a:cubicBezTo>
                  <a:cubicBezTo>
                    <a:pt x="43" y="1408"/>
                    <a:pt x="44" y="1410"/>
                    <a:pt x="47" y="1410"/>
                  </a:cubicBezTo>
                  <a:cubicBezTo>
                    <a:pt x="48" y="1415"/>
                    <a:pt x="49" y="1420"/>
                    <a:pt x="49" y="1425"/>
                  </a:cubicBezTo>
                  <a:cubicBezTo>
                    <a:pt x="51" y="1426"/>
                    <a:pt x="54" y="1426"/>
                    <a:pt x="55" y="1427"/>
                  </a:cubicBezTo>
                  <a:cubicBezTo>
                    <a:pt x="57" y="1429"/>
                    <a:pt x="56" y="1432"/>
                    <a:pt x="57" y="1434"/>
                  </a:cubicBezTo>
                  <a:cubicBezTo>
                    <a:pt x="57" y="1438"/>
                    <a:pt x="59" y="1441"/>
                    <a:pt x="60" y="1445"/>
                  </a:cubicBezTo>
                  <a:cubicBezTo>
                    <a:pt x="61" y="1448"/>
                    <a:pt x="60" y="1452"/>
                    <a:pt x="62" y="1455"/>
                  </a:cubicBezTo>
                  <a:cubicBezTo>
                    <a:pt x="63" y="1457"/>
                    <a:pt x="64" y="1459"/>
                    <a:pt x="65" y="1460"/>
                  </a:cubicBezTo>
                  <a:cubicBezTo>
                    <a:pt x="67" y="1462"/>
                    <a:pt x="67" y="1464"/>
                    <a:pt x="68" y="1466"/>
                  </a:cubicBezTo>
                  <a:cubicBezTo>
                    <a:pt x="70" y="1470"/>
                    <a:pt x="73" y="1474"/>
                    <a:pt x="75" y="1479"/>
                  </a:cubicBezTo>
                  <a:cubicBezTo>
                    <a:pt x="75" y="1474"/>
                    <a:pt x="79" y="1474"/>
                    <a:pt x="81" y="1478"/>
                  </a:cubicBezTo>
                  <a:cubicBezTo>
                    <a:pt x="82" y="1479"/>
                    <a:pt x="82" y="1483"/>
                    <a:pt x="83" y="1484"/>
                  </a:cubicBezTo>
                  <a:cubicBezTo>
                    <a:pt x="83" y="1487"/>
                    <a:pt x="83" y="1490"/>
                    <a:pt x="85" y="1493"/>
                  </a:cubicBezTo>
                  <a:cubicBezTo>
                    <a:pt x="86" y="1495"/>
                    <a:pt x="88" y="1497"/>
                    <a:pt x="89" y="1498"/>
                  </a:cubicBezTo>
                  <a:cubicBezTo>
                    <a:pt x="91" y="1501"/>
                    <a:pt x="89" y="1500"/>
                    <a:pt x="91" y="1500"/>
                  </a:cubicBezTo>
                  <a:cubicBezTo>
                    <a:pt x="91" y="1503"/>
                    <a:pt x="90" y="1507"/>
                    <a:pt x="92" y="1509"/>
                  </a:cubicBezTo>
                  <a:cubicBezTo>
                    <a:pt x="93" y="1510"/>
                    <a:pt x="101" y="1514"/>
                    <a:pt x="97" y="1517"/>
                  </a:cubicBezTo>
                  <a:cubicBezTo>
                    <a:pt x="93" y="1512"/>
                    <a:pt x="87" y="1515"/>
                    <a:pt x="85" y="1521"/>
                  </a:cubicBezTo>
                  <a:cubicBezTo>
                    <a:pt x="84" y="1523"/>
                    <a:pt x="84" y="1525"/>
                    <a:pt x="85" y="1527"/>
                  </a:cubicBezTo>
                  <a:cubicBezTo>
                    <a:pt x="86" y="1531"/>
                    <a:pt x="95" y="1535"/>
                    <a:pt x="92" y="1540"/>
                  </a:cubicBezTo>
                  <a:cubicBezTo>
                    <a:pt x="90" y="1540"/>
                    <a:pt x="87" y="1541"/>
                    <a:pt x="85" y="1540"/>
                  </a:cubicBezTo>
                  <a:cubicBezTo>
                    <a:pt x="82" y="1539"/>
                    <a:pt x="83" y="1537"/>
                    <a:pt x="82" y="1534"/>
                  </a:cubicBezTo>
                  <a:cubicBezTo>
                    <a:pt x="81" y="1533"/>
                    <a:pt x="76" y="1535"/>
                    <a:pt x="75" y="1537"/>
                  </a:cubicBezTo>
                  <a:cubicBezTo>
                    <a:pt x="74" y="1539"/>
                    <a:pt x="76" y="1541"/>
                    <a:pt x="77" y="1543"/>
                  </a:cubicBezTo>
                  <a:cubicBezTo>
                    <a:pt x="78" y="1545"/>
                    <a:pt x="79" y="1547"/>
                    <a:pt x="81" y="1549"/>
                  </a:cubicBezTo>
                  <a:cubicBezTo>
                    <a:pt x="82" y="1550"/>
                    <a:pt x="83" y="1551"/>
                    <a:pt x="83" y="1551"/>
                  </a:cubicBezTo>
                  <a:cubicBezTo>
                    <a:pt x="84" y="1553"/>
                    <a:pt x="85" y="1554"/>
                    <a:pt x="86" y="1555"/>
                  </a:cubicBezTo>
                  <a:cubicBezTo>
                    <a:pt x="88" y="1556"/>
                    <a:pt x="92" y="1554"/>
                    <a:pt x="91" y="1558"/>
                  </a:cubicBezTo>
                  <a:cubicBezTo>
                    <a:pt x="90" y="1560"/>
                    <a:pt x="88" y="1559"/>
                    <a:pt x="88" y="1562"/>
                  </a:cubicBezTo>
                  <a:cubicBezTo>
                    <a:pt x="87" y="1563"/>
                    <a:pt x="88" y="1566"/>
                    <a:pt x="89" y="1568"/>
                  </a:cubicBezTo>
                  <a:cubicBezTo>
                    <a:pt x="90" y="1570"/>
                    <a:pt x="88" y="1569"/>
                    <a:pt x="91" y="1571"/>
                  </a:cubicBezTo>
                  <a:cubicBezTo>
                    <a:pt x="93" y="1572"/>
                    <a:pt x="96" y="1573"/>
                    <a:pt x="98" y="1574"/>
                  </a:cubicBezTo>
                  <a:cubicBezTo>
                    <a:pt x="104" y="1578"/>
                    <a:pt x="99" y="1583"/>
                    <a:pt x="98" y="1589"/>
                  </a:cubicBezTo>
                  <a:cubicBezTo>
                    <a:pt x="98" y="1591"/>
                    <a:pt x="98" y="1594"/>
                    <a:pt x="99" y="1596"/>
                  </a:cubicBezTo>
                  <a:cubicBezTo>
                    <a:pt x="100" y="1598"/>
                    <a:pt x="101" y="1598"/>
                    <a:pt x="102" y="1601"/>
                  </a:cubicBezTo>
                  <a:cubicBezTo>
                    <a:pt x="103" y="1606"/>
                    <a:pt x="98" y="1606"/>
                    <a:pt x="94" y="1606"/>
                  </a:cubicBezTo>
                  <a:cubicBezTo>
                    <a:pt x="91" y="1606"/>
                    <a:pt x="89" y="1605"/>
                    <a:pt x="88" y="1609"/>
                  </a:cubicBezTo>
                  <a:cubicBezTo>
                    <a:pt x="87" y="1611"/>
                    <a:pt x="87" y="1615"/>
                    <a:pt x="89" y="1617"/>
                  </a:cubicBezTo>
                  <a:cubicBezTo>
                    <a:pt x="90" y="1617"/>
                    <a:pt x="91" y="1617"/>
                    <a:pt x="92" y="1617"/>
                  </a:cubicBezTo>
                  <a:cubicBezTo>
                    <a:pt x="93" y="1617"/>
                    <a:pt x="93" y="1618"/>
                    <a:pt x="94" y="1619"/>
                  </a:cubicBezTo>
                  <a:cubicBezTo>
                    <a:pt x="95" y="1620"/>
                    <a:pt x="99" y="1620"/>
                    <a:pt x="100" y="1621"/>
                  </a:cubicBezTo>
                  <a:cubicBezTo>
                    <a:pt x="107" y="1623"/>
                    <a:pt x="114" y="1624"/>
                    <a:pt x="121" y="1626"/>
                  </a:cubicBezTo>
                  <a:cubicBezTo>
                    <a:pt x="123" y="1627"/>
                    <a:pt x="125" y="1628"/>
                    <a:pt x="127" y="1627"/>
                  </a:cubicBezTo>
                  <a:cubicBezTo>
                    <a:pt x="131" y="1626"/>
                    <a:pt x="133" y="1624"/>
                    <a:pt x="138" y="1624"/>
                  </a:cubicBezTo>
                  <a:cubicBezTo>
                    <a:pt x="143" y="1624"/>
                    <a:pt x="148" y="1625"/>
                    <a:pt x="153" y="1624"/>
                  </a:cubicBezTo>
                  <a:cubicBezTo>
                    <a:pt x="157" y="1624"/>
                    <a:pt x="160" y="1622"/>
                    <a:pt x="163" y="1619"/>
                  </a:cubicBezTo>
                  <a:cubicBezTo>
                    <a:pt x="167" y="1616"/>
                    <a:pt x="172" y="1611"/>
                    <a:pt x="173" y="1606"/>
                  </a:cubicBezTo>
                  <a:cubicBezTo>
                    <a:pt x="174" y="1605"/>
                    <a:pt x="174" y="1599"/>
                    <a:pt x="174" y="1598"/>
                  </a:cubicBezTo>
                  <a:cubicBezTo>
                    <a:pt x="173" y="1595"/>
                    <a:pt x="172" y="1595"/>
                    <a:pt x="170" y="1594"/>
                  </a:cubicBezTo>
                  <a:cubicBezTo>
                    <a:pt x="166" y="1592"/>
                    <a:pt x="162" y="1591"/>
                    <a:pt x="164" y="1585"/>
                  </a:cubicBezTo>
                  <a:cubicBezTo>
                    <a:pt x="165" y="1581"/>
                    <a:pt x="168" y="1577"/>
                    <a:pt x="171" y="1575"/>
                  </a:cubicBezTo>
                  <a:cubicBezTo>
                    <a:pt x="174" y="1572"/>
                    <a:pt x="179" y="1572"/>
                    <a:pt x="180" y="1568"/>
                  </a:cubicBezTo>
                  <a:cubicBezTo>
                    <a:pt x="181" y="1566"/>
                    <a:pt x="180" y="1564"/>
                    <a:pt x="180" y="1562"/>
                  </a:cubicBezTo>
                  <a:cubicBezTo>
                    <a:pt x="180" y="1560"/>
                    <a:pt x="183" y="1553"/>
                    <a:pt x="185" y="1553"/>
                  </a:cubicBezTo>
                  <a:cubicBezTo>
                    <a:pt x="185" y="1556"/>
                    <a:pt x="196" y="1562"/>
                    <a:pt x="198" y="1559"/>
                  </a:cubicBezTo>
                  <a:cubicBezTo>
                    <a:pt x="200" y="1556"/>
                    <a:pt x="195" y="1553"/>
                    <a:pt x="197" y="1550"/>
                  </a:cubicBezTo>
                  <a:cubicBezTo>
                    <a:pt x="199" y="1547"/>
                    <a:pt x="203" y="1547"/>
                    <a:pt x="206" y="1546"/>
                  </a:cubicBezTo>
                  <a:cubicBezTo>
                    <a:pt x="206" y="1545"/>
                    <a:pt x="206" y="1545"/>
                    <a:pt x="207" y="1545"/>
                  </a:cubicBezTo>
                  <a:cubicBezTo>
                    <a:pt x="208" y="1545"/>
                    <a:pt x="209" y="1545"/>
                    <a:pt x="209" y="1545"/>
                  </a:cubicBezTo>
                  <a:cubicBezTo>
                    <a:pt x="212" y="1545"/>
                    <a:pt x="213" y="1545"/>
                    <a:pt x="216" y="1544"/>
                  </a:cubicBezTo>
                  <a:cubicBezTo>
                    <a:pt x="220" y="1543"/>
                    <a:pt x="224" y="1543"/>
                    <a:pt x="228" y="1542"/>
                  </a:cubicBezTo>
                  <a:cubicBezTo>
                    <a:pt x="233" y="1540"/>
                    <a:pt x="236" y="1539"/>
                    <a:pt x="240" y="1544"/>
                  </a:cubicBezTo>
                  <a:cubicBezTo>
                    <a:pt x="243" y="1549"/>
                    <a:pt x="243" y="1556"/>
                    <a:pt x="250" y="1554"/>
                  </a:cubicBezTo>
                  <a:cubicBezTo>
                    <a:pt x="252" y="1554"/>
                    <a:pt x="254" y="1553"/>
                    <a:pt x="256" y="1552"/>
                  </a:cubicBezTo>
                  <a:cubicBezTo>
                    <a:pt x="257" y="1552"/>
                    <a:pt x="259" y="1553"/>
                    <a:pt x="261" y="1552"/>
                  </a:cubicBezTo>
                  <a:cubicBezTo>
                    <a:pt x="261" y="1550"/>
                    <a:pt x="263" y="1548"/>
                    <a:pt x="264" y="1546"/>
                  </a:cubicBezTo>
                  <a:cubicBezTo>
                    <a:pt x="265" y="1545"/>
                    <a:pt x="267" y="1543"/>
                    <a:pt x="268" y="1540"/>
                  </a:cubicBezTo>
                  <a:cubicBezTo>
                    <a:pt x="270" y="1536"/>
                    <a:pt x="272" y="1533"/>
                    <a:pt x="274" y="1529"/>
                  </a:cubicBezTo>
                  <a:cubicBezTo>
                    <a:pt x="276" y="1524"/>
                    <a:pt x="277" y="1519"/>
                    <a:pt x="278" y="1515"/>
                  </a:cubicBezTo>
                  <a:cubicBezTo>
                    <a:pt x="279" y="1512"/>
                    <a:pt x="282" y="1502"/>
                    <a:pt x="286" y="1502"/>
                  </a:cubicBezTo>
                  <a:cubicBezTo>
                    <a:pt x="289" y="1503"/>
                    <a:pt x="289" y="1512"/>
                    <a:pt x="290" y="1515"/>
                  </a:cubicBezTo>
                  <a:cubicBezTo>
                    <a:pt x="291" y="1520"/>
                    <a:pt x="291" y="1524"/>
                    <a:pt x="290" y="1530"/>
                  </a:cubicBezTo>
                  <a:cubicBezTo>
                    <a:pt x="290" y="1533"/>
                    <a:pt x="288" y="1543"/>
                    <a:pt x="290" y="1545"/>
                  </a:cubicBezTo>
                  <a:cubicBezTo>
                    <a:pt x="292" y="1543"/>
                    <a:pt x="294" y="1541"/>
                    <a:pt x="295" y="1539"/>
                  </a:cubicBezTo>
                  <a:cubicBezTo>
                    <a:pt x="296" y="1536"/>
                    <a:pt x="296" y="1533"/>
                    <a:pt x="297" y="1530"/>
                  </a:cubicBezTo>
                  <a:cubicBezTo>
                    <a:pt x="298" y="1524"/>
                    <a:pt x="300" y="1520"/>
                    <a:pt x="301" y="1514"/>
                  </a:cubicBezTo>
                  <a:cubicBezTo>
                    <a:pt x="303" y="1507"/>
                    <a:pt x="306" y="1500"/>
                    <a:pt x="309" y="1493"/>
                  </a:cubicBezTo>
                  <a:cubicBezTo>
                    <a:pt x="313" y="1485"/>
                    <a:pt x="317" y="1476"/>
                    <a:pt x="320" y="1467"/>
                  </a:cubicBezTo>
                  <a:cubicBezTo>
                    <a:pt x="321" y="1462"/>
                    <a:pt x="322" y="1456"/>
                    <a:pt x="323" y="1451"/>
                  </a:cubicBezTo>
                  <a:cubicBezTo>
                    <a:pt x="323" y="1448"/>
                    <a:pt x="323" y="1444"/>
                    <a:pt x="323" y="1440"/>
                  </a:cubicBezTo>
                  <a:cubicBezTo>
                    <a:pt x="323" y="1438"/>
                    <a:pt x="324" y="1430"/>
                    <a:pt x="320" y="1433"/>
                  </a:cubicBezTo>
                  <a:cubicBezTo>
                    <a:pt x="318" y="1434"/>
                    <a:pt x="317" y="1439"/>
                    <a:pt x="316" y="1441"/>
                  </a:cubicBezTo>
                  <a:cubicBezTo>
                    <a:pt x="315" y="1444"/>
                    <a:pt x="314" y="1446"/>
                    <a:pt x="312" y="1449"/>
                  </a:cubicBezTo>
                  <a:cubicBezTo>
                    <a:pt x="310" y="1454"/>
                    <a:pt x="308" y="1458"/>
                    <a:pt x="306" y="1462"/>
                  </a:cubicBezTo>
                  <a:cubicBezTo>
                    <a:pt x="304" y="1465"/>
                    <a:pt x="303" y="1469"/>
                    <a:pt x="303" y="1473"/>
                  </a:cubicBezTo>
                  <a:cubicBezTo>
                    <a:pt x="302" y="1475"/>
                    <a:pt x="302" y="1480"/>
                    <a:pt x="300" y="1482"/>
                  </a:cubicBezTo>
                  <a:cubicBezTo>
                    <a:pt x="299" y="1483"/>
                    <a:pt x="294" y="1486"/>
                    <a:pt x="293" y="1485"/>
                  </a:cubicBezTo>
                  <a:cubicBezTo>
                    <a:pt x="289" y="1484"/>
                    <a:pt x="290" y="1469"/>
                    <a:pt x="291" y="1465"/>
                  </a:cubicBezTo>
                  <a:cubicBezTo>
                    <a:pt x="292" y="1460"/>
                    <a:pt x="293" y="1456"/>
                    <a:pt x="293" y="1451"/>
                  </a:cubicBezTo>
                  <a:cubicBezTo>
                    <a:pt x="292" y="1450"/>
                    <a:pt x="292" y="1449"/>
                    <a:pt x="292" y="1447"/>
                  </a:cubicBezTo>
                  <a:cubicBezTo>
                    <a:pt x="292" y="1444"/>
                    <a:pt x="293" y="1440"/>
                    <a:pt x="295" y="1437"/>
                  </a:cubicBezTo>
                  <a:cubicBezTo>
                    <a:pt x="297" y="1435"/>
                    <a:pt x="299" y="1436"/>
                    <a:pt x="300" y="1433"/>
                  </a:cubicBezTo>
                  <a:cubicBezTo>
                    <a:pt x="301" y="1430"/>
                    <a:pt x="301" y="1426"/>
                    <a:pt x="302" y="1423"/>
                  </a:cubicBezTo>
                  <a:cubicBezTo>
                    <a:pt x="302" y="1414"/>
                    <a:pt x="301" y="1406"/>
                    <a:pt x="302" y="1397"/>
                  </a:cubicBezTo>
                  <a:cubicBezTo>
                    <a:pt x="303" y="1394"/>
                    <a:pt x="303" y="1391"/>
                    <a:pt x="304" y="1388"/>
                  </a:cubicBezTo>
                  <a:cubicBezTo>
                    <a:pt x="304" y="1387"/>
                    <a:pt x="305" y="1386"/>
                    <a:pt x="306" y="1384"/>
                  </a:cubicBezTo>
                  <a:cubicBezTo>
                    <a:pt x="306" y="1382"/>
                    <a:pt x="306" y="1379"/>
                    <a:pt x="307" y="1376"/>
                  </a:cubicBezTo>
                  <a:cubicBezTo>
                    <a:pt x="308" y="1369"/>
                    <a:pt x="310" y="1363"/>
                    <a:pt x="309" y="1356"/>
                  </a:cubicBezTo>
                  <a:cubicBezTo>
                    <a:pt x="309" y="1353"/>
                    <a:pt x="308" y="1349"/>
                    <a:pt x="309" y="1345"/>
                  </a:cubicBezTo>
                  <a:cubicBezTo>
                    <a:pt x="310" y="1341"/>
                    <a:pt x="317" y="1337"/>
                    <a:pt x="312" y="1332"/>
                  </a:cubicBezTo>
                  <a:cubicBezTo>
                    <a:pt x="310" y="1329"/>
                    <a:pt x="308" y="1330"/>
                    <a:pt x="309" y="1326"/>
                  </a:cubicBezTo>
                  <a:cubicBezTo>
                    <a:pt x="309" y="1325"/>
                    <a:pt x="310" y="1322"/>
                    <a:pt x="311" y="1321"/>
                  </a:cubicBezTo>
                  <a:cubicBezTo>
                    <a:pt x="313" y="1318"/>
                    <a:pt x="318" y="1317"/>
                    <a:pt x="316" y="1313"/>
                  </a:cubicBezTo>
                  <a:cubicBezTo>
                    <a:pt x="315" y="1311"/>
                    <a:pt x="313" y="1310"/>
                    <a:pt x="313" y="1309"/>
                  </a:cubicBezTo>
                  <a:cubicBezTo>
                    <a:pt x="312" y="1307"/>
                    <a:pt x="314" y="1306"/>
                    <a:pt x="314" y="1304"/>
                  </a:cubicBezTo>
                  <a:cubicBezTo>
                    <a:pt x="316" y="1300"/>
                    <a:pt x="315" y="1298"/>
                    <a:pt x="319" y="1298"/>
                  </a:cubicBezTo>
                  <a:cubicBezTo>
                    <a:pt x="322" y="1297"/>
                    <a:pt x="323" y="1297"/>
                    <a:pt x="325" y="1296"/>
                  </a:cubicBezTo>
                  <a:cubicBezTo>
                    <a:pt x="328" y="1294"/>
                    <a:pt x="330" y="1290"/>
                    <a:pt x="333" y="1288"/>
                  </a:cubicBezTo>
                  <a:cubicBezTo>
                    <a:pt x="336" y="1285"/>
                    <a:pt x="342" y="1286"/>
                    <a:pt x="346" y="1283"/>
                  </a:cubicBezTo>
                  <a:cubicBezTo>
                    <a:pt x="351" y="1280"/>
                    <a:pt x="352" y="1271"/>
                    <a:pt x="357" y="1268"/>
                  </a:cubicBezTo>
                  <a:cubicBezTo>
                    <a:pt x="357" y="1271"/>
                    <a:pt x="357" y="1277"/>
                    <a:pt x="361" y="1278"/>
                  </a:cubicBezTo>
                  <a:cubicBezTo>
                    <a:pt x="363" y="1278"/>
                    <a:pt x="367" y="1275"/>
                    <a:pt x="368" y="1274"/>
                  </a:cubicBezTo>
                  <a:cubicBezTo>
                    <a:pt x="369" y="1271"/>
                    <a:pt x="367" y="1267"/>
                    <a:pt x="368" y="1264"/>
                  </a:cubicBezTo>
                  <a:cubicBezTo>
                    <a:pt x="376" y="1264"/>
                    <a:pt x="387" y="1267"/>
                    <a:pt x="393" y="1262"/>
                  </a:cubicBezTo>
                  <a:cubicBezTo>
                    <a:pt x="394" y="1262"/>
                    <a:pt x="394" y="1260"/>
                    <a:pt x="395" y="1260"/>
                  </a:cubicBezTo>
                  <a:cubicBezTo>
                    <a:pt x="397" y="1259"/>
                    <a:pt x="399" y="1258"/>
                    <a:pt x="401" y="1257"/>
                  </a:cubicBezTo>
                  <a:cubicBezTo>
                    <a:pt x="403" y="1256"/>
                    <a:pt x="409" y="1254"/>
                    <a:pt x="407" y="1250"/>
                  </a:cubicBezTo>
                  <a:cubicBezTo>
                    <a:pt x="403" y="1249"/>
                    <a:pt x="399" y="1250"/>
                    <a:pt x="395" y="1248"/>
                  </a:cubicBezTo>
                  <a:cubicBezTo>
                    <a:pt x="395" y="1240"/>
                    <a:pt x="386" y="1235"/>
                    <a:pt x="388" y="1226"/>
                  </a:cubicBezTo>
                  <a:cubicBezTo>
                    <a:pt x="392" y="1225"/>
                    <a:pt x="407" y="1233"/>
                    <a:pt x="405" y="1223"/>
                  </a:cubicBezTo>
                  <a:cubicBezTo>
                    <a:pt x="398" y="1220"/>
                    <a:pt x="389" y="1218"/>
                    <a:pt x="392" y="1208"/>
                  </a:cubicBezTo>
                  <a:cubicBezTo>
                    <a:pt x="393" y="1204"/>
                    <a:pt x="401" y="1205"/>
                    <a:pt x="405" y="1206"/>
                  </a:cubicBezTo>
                  <a:cubicBezTo>
                    <a:pt x="412" y="1207"/>
                    <a:pt x="408" y="1204"/>
                    <a:pt x="410" y="1199"/>
                  </a:cubicBezTo>
                  <a:cubicBezTo>
                    <a:pt x="411" y="1196"/>
                    <a:pt x="411" y="1196"/>
                    <a:pt x="414" y="1195"/>
                  </a:cubicBezTo>
                  <a:cubicBezTo>
                    <a:pt x="416" y="1194"/>
                    <a:pt x="420" y="1194"/>
                    <a:pt x="423" y="1192"/>
                  </a:cubicBezTo>
                  <a:cubicBezTo>
                    <a:pt x="425" y="1190"/>
                    <a:pt x="426" y="1190"/>
                    <a:pt x="424" y="1187"/>
                  </a:cubicBezTo>
                  <a:cubicBezTo>
                    <a:pt x="424" y="1186"/>
                    <a:pt x="422" y="1185"/>
                    <a:pt x="421" y="1185"/>
                  </a:cubicBezTo>
                  <a:cubicBezTo>
                    <a:pt x="421" y="1183"/>
                    <a:pt x="422" y="1178"/>
                    <a:pt x="423" y="1177"/>
                  </a:cubicBezTo>
                  <a:cubicBezTo>
                    <a:pt x="425" y="1176"/>
                    <a:pt x="428" y="1178"/>
                    <a:pt x="430" y="1176"/>
                  </a:cubicBezTo>
                  <a:cubicBezTo>
                    <a:pt x="434" y="1174"/>
                    <a:pt x="433" y="1169"/>
                    <a:pt x="432" y="1166"/>
                  </a:cubicBezTo>
                  <a:cubicBezTo>
                    <a:pt x="431" y="1163"/>
                    <a:pt x="430" y="1161"/>
                    <a:pt x="428" y="1159"/>
                  </a:cubicBezTo>
                  <a:cubicBezTo>
                    <a:pt x="427" y="1159"/>
                    <a:pt x="426" y="1158"/>
                    <a:pt x="426" y="1157"/>
                  </a:cubicBezTo>
                  <a:cubicBezTo>
                    <a:pt x="422" y="1155"/>
                    <a:pt x="419" y="1155"/>
                    <a:pt x="417" y="1151"/>
                  </a:cubicBezTo>
                  <a:cubicBezTo>
                    <a:pt x="416" y="1148"/>
                    <a:pt x="417" y="1145"/>
                    <a:pt x="416" y="1143"/>
                  </a:cubicBezTo>
                  <a:cubicBezTo>
                    <a:pt x="416" y="1142"/>
                    <a:pt x="414" y="1141"/>
                    <a:pt x="413" y="1140"/>
                  </a:cubicBezTo>
                  <a:cubicBezTo>
                    <a:pt x="412" y="1139"/>
                    <a:pt x="412" y="1137"/>
                    <a:pt x="411" y="1135"/>
                  </a:cubicBezTo>
                  <a:cubicBezTo>
                    <a:pt x="410" y="1134"/>
                    <a:pt x="408" y="1134"/>
                    <a:pt x="408" y="1133"/>
                  </a:cubicBezTo>
                  <a:cubicBezTo>
                    <a:pt x="407" y="1131"/>
                    <a:pt x="408" y="1127"/>
                    <a:pt x="407" y="1125"/>
                  </a:cubicBezTo>
                  <a:cubicBezTo>
                    <a:pt x="407" y="1122"/>
                    <a:pt x="406" y="1122"/>
                    <a:pt x="404" y="1120"/>
                  </a:cubicBezTo>
                  <a:cubicBezTo>
                    <a:pt x="403" y="1119"/>
                    <a:pt x="400" y="1118"/>
                    <a:pt x="399" y="1117"/>
                  </a:cubicBezTo>
                  <a:cubicBezTo>
                    <a:pt x="399" y="1116"/>
                    <a:pt x="399" y="1114"/>
                    <a:pt x="399" y="1113"/>
                  </a:cubicBezTo>
                  <a:cubicBezTo>
                    <a:pt x="398" y="1108"/>
                    <a:pt x="394" y="1099"/>
                    <a:pt x="389" y="1098"/>
                  </a:cubicBezTo>
                  <a:cubicBezTo>
                    <a:pt x="389" y="1102"/>
                    <a:pt x="390" y="1109"/>
                    <a:pt x="385" y="1110"/>
                  </a:cubicBezTo>
                  <a:cubicBezTo>
                    <a:pt x="381" y="1111"/>
                    <a:pt x="377" y="1106"/>
                    <a:pt x="374" y="1103"/>
                  </a:cubicBezTo>
                  <a:cubicBezTo>
                    <a:pt x="371" y="1099"/>
                    <a:pt x="368" y="1096"/>
                    <a:pt x="366" y="1091"/>
                  </a:cubicBezTo>
                  <a:cubicBezTo>
                    <a:pt x="365" y="1089"/>
                    <a:pt x="364" y="1087"/>
                    <a:pt x="361" y="1088"/>
                  </a:cubicBezTo>
                  <a:cubicBezTo>
                    <a:pt x="361" y="1089"/>
                    <a:pt x="361" y="1093"/>
                    <a:pt x="360" y="1094"/>
                  </a:cubicBezTo>
                  <a:cubicBezTo>
                    <a:pt x="357" y="1095"/>
                    <a:pt x="354" y="1089"/>
                    <a:pt x="353" y="1088"/>
                  </a:cubicBezTo>
                  <a:cubicBezTo>
                    <a:pt x="351" y="1084"/>
                    <a:pt x="353" y="1083"/>
                    <a:pt x="348" y="1083"/>
                  </a:cubicBezTo>
                  <a:cubicBezTo>
                    <a:pt x="344" y="1083"/>
                    <a:pt x="338" y="1081"/>
                    <a:pt x="336" y="1076"/>
                  </a:cubicBezTo>
                  <a:cubicBezTo>
                    <a:pt x="334" y="1070"/>
                    <a:pt x="341" y="1072"/>
                    <a:pt x="341" y="1068"/>
                  </a:cubicBezTo>
                  <a:cubicBezTo>
                    <a:pt x="341" y="1064"/>
                    <a:pt x="336" y="1063"/>
                    <a:pt x="335" y="1060"/>
                  </a:cubicBezTo>
                  <a:cubicBezTo>
                    <a:pt x="334" y="1057"/>
                    <a:pt x="334" y="1054"/>
                    <a:pt x="334" y="1051"/>
                  </a:cubicBezTo>
                  <a:cubicBezTo>
                    <a:pt x="334" y="1047"/>
                    <a:pt x="333" y="1044"/>
                    <a:pt x="332" y="1041"/>
                  </a:cubicBezTo>
                  <a:cubicBezTo>
                    <a:pt x="331" y="1040"/>
                    <a:pt x="331" y="1040"/>
                    <a:pt x="330" y="1039"/>
                  </a:cubicBezTo>
                  <a:cubicBezTo>
                    <a:pt x="330" y="1038"/>
                    <a:pt x="330" y="1037"/>
                    <a:pt x="330" y="1036"/>
                  </a:cubicBezTo>
                  <a:cubicBezTo>
                    <a:pt x="330" y="1034"/>
                    <a:pt x="330" y="1032"/>
                    <a:pt x="330" y="1029"/>
                  </a:cubicBezTo>
                  <a:cubicBezTo>
                    <a:pt x="330" y="1024"/>
                    <a:pt x="330" y="1018"/>
                    <a:pt x="330" y="1013"/>
                  </a:cubicBezTo>
                  <a:cubicBezTo>
                    <a:pt x="330" y="1009"/>
                    <a:pt x="330" y="1006"/>
                    <a:pt x="329" y="1003"/>
                  </a:cubicBezTo>
                  <a:cubicBezTo>
                    <a:pt x="329" y="1000"/>
                    <a:pt x="330" y="996"/>
                    <a:pt x="330" y="993"/>
                  </a:cubicBezTo>
                  <a:cubicBezTo>
                    <a:pt x="331" y="988"/>
                    <a:pt x="330" y="983"/>
                    <a:pt x="330" y="979"/>
                  </a:cubicBezTo>
                  <a:cubicBezTo>
                    <a:pt x="330" y="977"/>
                    <a:pt x="330" y="974"/>
                    <a:pt x="330" y="973"/>
                  </a:cubicBezTo>
                  <a:cubicBezTo>
                    <a:pt x="331" y="969"/>
                    <a:pt x="336" y="969"/>
                    <a:pt x="338" y="966"/>
                  </a:cubicBezTo>
                  <a:cubicBezTo>
                    <a:pt x="343" y="960"/>
                    <a:pt x="342" y="946"/>
                    <a:pt x="342" y="938"/>
                  </a:cubicBezTo>
                  <a:cubicBezTo>
                    <a:pt x="342" y="930"/>
                    <a:pt x="340" y="920"/>
                    <a:pt x="342" y="912"/>
                  </a:cubicBezTo>
                  <a:cubicBezTo>
                    <a:pt x="343" y="909"/>
                    <a:pt x="344" y="907"/>
                    <a:pt x="344" y="903"/>
                  </a:cubicBezTo>
                  <a:cubicBezTo>
                    <a:pt x="344" y="901"/>
                    <a:pt x="343" y="899"/>
                    <a:pt x="342" y="897"/>
                  </a:cubicBezTo>
                  <a:cubicBezTo>
                    <a:pt x="342" y="895"/>
                    <a:pt x="342" y="890"/>
                    <a:pt x="343" y="889"/>
                  </a:cubicBezTo>
                  <a:cubicBezTo>
                    <a:pt x="345" y="887"/>
                    <a:pt x="350" y="888"/>
                    <a:pt x="352" y="888"/>
                  </a:cubicBezTo>
                  <a:cubicBezTo>
                    <a:pt x="356" y="887"/>
                    <a:pt x="356" y="886"/>
                    <a:pt x="358" y="882"/>
                  </a:cubicBezTo>
                  <a:cubicBezTo>
                    <a:pt x="360" y="877"/>
                    <a:pt x="362" y="872"/>
                    <a:pt x="365" y="867"/>
                  </a:cubicBezTo>
                  <a:cubicBezTo>
                    <a:pt x="365" y="865"/>
                    <a:pt x="366" y="861"/>
                    <a:pt x="368" y="860"/>
                  </a:cubicBezTo>
                  <a:cubicBezTo>
                    <a:pt x="368" y="859"/>
                    <a:pt x="369" y="859"/>
                    <a:pt x="370" y="858"/>
                  </a:cubicBezTo>
                  <a:cubicBezTo>
                    <a:pt x="372" y="857"/>
                    <a:pt x="374" y="853"/>
                    <a:pt x="374" y="851"/>
                  </a:cubicBezTo>
                  <a:cubicBezTo>
                    <a:pt x="375" y="848"/>
                    <a:pt x="375" y="845"/>
                    <a:pt x="377" y="841"/>
                  </a:cubicBezTo>
                  <a:cubicBezTo>
                    <a:pt x="378" y="839"/>
                    <a:pt x="382" y="834"/>
                    <a:pt x="385" y="832"/>
                  </a:cubicBezTo>
                  <a:cubicBezTo>
                    <a:pt x="387" y="832"/>
                    <a:pt x="388" y="833"/>
                    <a:pt x="389" y="832"/>
                  </a:cubicBezTo>
                  <a:cubicBezTo>
                    <a:pt x="389" y="831"/>
                    <a:pt x="391" y="828"/>
                    <a:pt x="391" y="827"/>
                  </a:cubicBezTo>
                  <a:cubicBezTo>
                    <a:pt x="392" y="825"/>
                    <a:pt x="393" y="822"/>
                    <a:pt x="393" y="819"/>
                  </a:cubicBezTo>
                  <a:cubicBezTo>
                    <a:pt x="393" y="817"/>
                    <a:pt x="391" y="815"/>
                    <a:pt x="392" y="812"/>
                  </a:cubicBezTo>
                  <a:cubicBezTo>
                    <a:pt x="392" y="811"/>
                    <a:pt x="393" y="812"/>
                    <a:pt x="393" y="811"/>
                  </a:cubicBezTo>
                  <a:cubicBezTo>
                    <a:pt x="393" y="809"/>
                    <a:pt x="393" y="809"/>
                    <a:pt x="393" y="808"/>
                  </a:cubicBezTo>
                  <a:cubicBezTo>
                    <a:pt x="392" y="806"/>
                    <a:pt x="392" y="804"/>
                    <a:pt x="391" y="803"/>
                  </a:cubicBezTo>
                  <a:cubicBezTo>
                    <a:pt x="391" y="802"/>
                    <a:pt x="390" y="802"/>
                    <a:pt x="390" y="802"/>
                  </a:cubicBezTo>
                  <a:cubicBezTo>
                    <a:pt x="395" y="801"/>
                    <a:pt x="400" y="800"/>
                    <a:pt x="404" y="798"/>
                  </a:cubicBezTo>
                  <a:cubicBezTo>
                    <a:pt x="407" y="796"/>
                    <a:pt x="407" y="795"/>
                    <a:pt x="409" y="793"/>
                  </a:cubicBezTo>
                  <a:cubicBezTo>
                    <a:pt x="415" y="783"/>
                    <a:pt x="422" y="775"/>
                    <a:pt x="431" y="768"/>
                  </a:cubicBezTo>
                  <a:cubicBezTo>
                    <a:pt x="434" y="766"/>
                    <a:pt x="437" y="764"/>
                    <a:pt x="440" y="761"/>
                  </a:cubicBezTo>
                  <a:cubicBezTo>
                    <a:pt x="443" y="759"/>
                    <a:pt x="445" y="756"/>
                    <a:pt x="448" y="753"/>
                  </a:cubicBezTo>
                  <a:cubicBezTo>
                    <a:pt x="451" y="750"/>
                    <a:pt x="452" y="750"/>
                    <a:pt x="456" y="752"/>
                  </a:cubicBezTo>
                  <a:cubicBezTo>
                    <a:pt x="458" y="752"/>
                    <a:pt x="459" y="753"/>
                    <a:pt x="461" y="753"/>
                  </a:cubicBezTo>
                  <a:cubicBezTo>
                    <a:pt x="464" y="752"/>
                    <a:pt x="464" y="746"/>
                    <a:pt x="466" y="744"/>
                  </a:cubicBezTo>
                  <a:cubicBezTo>
                    <a:pt x="471" y="740"/>
                    <a:pt x="476" y="739"/>
                    <a:pt x="481" y="736"/>
                  </a:cubicBezTo>
                  <a:cubicBezTo>
                    <a:pt x="484" y="735"/>
                    <a:pt x="487" y="731"/>
                    <a:pt x="490" y="730"/>
                  </a:cubicBezTo>
                  <a:cubicBezTo>
                    <a:pt x="493" y="729"/>
                    <a:pt x="497" y="731"/>
                    <a:pt x="500" y="732"/>
                  </a:cubicBezTo>
                  <a:cubicBezTo>
                    <a:pt x="503" y="732"/>
                    <a:pt x="507" y="732"/>
                    <a:pt x="510" y="732"/>
                  </a:cubicBezTo>
                  <a:cubicBezTo>
                    <a:pt x="513" y="732"/>
                    <a:pt x="514" y="733"/>
                    <a:pt x="515" y="729"/>
                  </a:cubicBezTo>
                  <a:cubicBezTo>
                    <a:pt x="517" y="725"/>
                    <a:pt x="518" y="719"/>
                    <a:pt x="518" y="715"/>
                  </a:cubicBezTo>
                  <a:cubicBezTo>
                    <a:pt x="519" y="706"/>
                    <a:pt x="520" y="697"/>
                    <a:pt x="523" y="689"/>
                  </a:cubicBezTo>
                  <a:cubicBezTo>
                    <a:pt x="525" y="685"/>
                    <a:pt x="527" y="681"/>
                    <a:pt x="529" y="678"/>
                  </a:cubicBezTo>
                  <a:cubicBezTo>
                    <a:pt x="530" y="675"/>
                    <a:pt x="530" y="672"/>
                    <a:pt x="532" y="670"/>
                  </a:cubicBezTo>
                  <a:cubicBezTo>
                    <a:pt x="533" y="668"/>
                    <a:pt x="535" y="667"/>
                    <a:pt x="536" y="665"/>
                  </a:cubicBezTo>
                  <a:cubicBezTo>
                    <a:pt x="538" y="663"/>
                    <a:pt x="538" y="661"/>
                    <a:pt x="540" y="659"/>
                  </a:cubicBezTo>
                  <a:cubicBezTo>
                    <a:pt x="544" y="655"/>
                    <a:pt x="548" y="651"/>
                    <a:pt x="552" y="647"/>
                  </a:cubicBezTo>
                  <a:cubicBezTo>
                    <a:pt x="557" y="641"/>
                    <a:pt x="556" y="634"/>
                    <a:pt x="554" y="627"/>
                  </a:cubicBezTo>
                  <a:cubicBezTo>
                    <a:pt x="553" y="624"/>
                    <a:pt x="551" y="618"/>
                    <a:pt x="547" y="619"/>
                  </a:cubicBezTo>
                  <a:cubicBezTo>
                    <a:pt x="546" y="612"/>
                    <a:pt x="540" y="605"/>
                    <a:pt x="537" y="599"/>
                  </a:cubicBezTo>
                  <a:cubicBezTo>
                    <a:pt x="536" y="595"/>
                    <a:pt x="535" y="592"/>
                    <a:pt x="535" y="588"/>
                  </a:cubicBezTo>
                  <a:cubicBezTo>
                    <a:pt x="536" y="581"/>
                    <a:pt x="541" y="575"/>
                    <a:pt x="544" y="569"/>
                  </a:cubicBezTo>
                  <a:cubicBezTo>
                    <a:pt x="546" y="566"/>
                    <a:pt x="551" y="563"/>
                    <a:pt x="551" y="559"/>
                  </a:cubicBezTo>
                  <a:cubicBezTo>
                    <a:pt x="552" y="558"/>
                    <a:pt x="551" y="556"/>
                    <a:pt x="552" y="555"/>
                  </a:cubicBezTo>
                  <a:cubicBezTo>
                    <a:pt x="552" y="551"/>
                    <a:pt x="553" y="547"/>
                    <a:pt x="554" y="543"/>
                  </a:cubicBezTo>
                  <a:cubicBezTo>
                    <a:pt x="556" y="540"/>
                    <a:pt x="558" y="537"/>
                    <a:pt x="558" y="533"/>
                  </a:cubicBezTo>
                  <a:cubicBezTo>
                    <a:pt x="558" y="531"/>
                    <a:pt x="558" y="529"/>
                    <a:pt x="559" y="527"/>
                  </a:cubicBezTo>
                  <a:cubicBezTo>
                    <a:pt x="559" y="526"/>
                    <a:pt x="562" y="524"/>
                    <a:pt x="563" y="523"/>
                  </a:cubicBezTo>
                  <a:cubicBezTo>
                    <a:pt x="565" y="521"/>
                    <a:pt x="566" y="518"/>
                    <a:pt x="570" y="518"/>
                  </a:cubicBezTo>
                  <a:cubicBezTo>
                    <a:pt x="571" y="518"/>
                    <a:pt x="572" y="518"/>
                    <a:pt x="573" y="518"/>
                  </a:cubicBezTo>
                  <a:cubicBezTo>
                    <a:pt x="576" y="517"/>
                    <a:pt x="582" y="517"/>
                    <a:pt x="584" y="516"/>
                  </a:cubicBezTo>
                  <a:cubicBezTo>
                    <a:pt x="586" y="514"/>
                    <a:pt x="584" y="509"/>
                    <a:pt x="587" y="507"/>
                  </a:cubicBezTo>
                  <a:cubicBezTo>
                    <a:pt x="588" y="506"/>
                    <a:pt x="589" y="507"/>
                    <a:pt x="590" y="507"/>
                  </a:cubicBezTo>
                  <a:cubicBezTo>
                    <a:pt x="592" y="507"/>
                    <a:pt x="592" y="506"/>
                    <a:pt x="593" y="505"/>
                  </a:cubicBezTo>
                  <a:cubicBezTo>
                    <a:pt x="596" y="503"/>
                    <a:pt x="598" y="502"/>
                    <a:pt x="599" y="499"/>
                  </a:cubicBezTo>
                  <a:cubicBezTo>
                    <a:pt x="599" y="498"/>
                    <a:pt x="599" y="495"/>
                    <a:pt x="600" y="494"/>
                  </a:cubicBezTo>
                  <a:cubicBezTo>
                    <a:pt x="601" y="489"/>
                    <a:pt x="603" y="485"/>
                    <a:pt x="603" y="480"/>
                  </a:cubicBezTo>
                  <a:cubicBezTo>
                    <a:pt x="604" y="474"/>
                    <a:pt x="602" y="468"/>
                    <a:pt x="603" y="462"/>
                  </a:cubicBezTo>
                  <a:cubicBezTo>
                    <a:pt x="606" y="461"/>
                    <a:pt x="607" y="465"/>
                    <a:pt x="610" y="465"/>
                  </a:cubicBezTo>
                  <a:cubicBezTo>
                    <a:pt x="615" y="465"/>
                    <a:pt x="612" y="460"/>
                    <a:pt x="615" y="460"/>
                  </a:cubicBezTo>
                  <a:cubicBezTo>
                    <a:pt x="621" y="469"/>
                    <a:pt x="632" y="472"/>
                    <a:pt x="642" y="467"/>
                  </a:cubicBezTo>
                  <a:cubicBezTo>
                    <a:pt x="643" y="467"/>
                    <a:pt x="643" y="467"/>
                    <a:pt x="644" y="467"/>
                  </a:cubicBezTo>
                  <a:cubicBezTo>
                    <a:pt x="645" y="466"/>
                    <a:pt x="645" y="465"/>
                    <a:pt x="646" y="464"/>
                  </a:cubicBezTo>
                  <a:cubicBezTo>
                    <a:pt x="648" y="462"/>
                    <a:pt x="651" y="463"/>
                    <a:pt x="653" y="463"/>
                  </a:cubicBezTo>
                  <a:cubicBezTo>
                    <a:pt x="657" y="463"/>
                    <a:pt x="661" y="464"/>
                    <a:pt x="665" y="465"/>
                  </a:cubicBezTo>
                  <a:cubicBezTo>
                    <a:pt x="668" y="466"/>
                    <a:pt x="670" y="467"/>
                    <a:pt x="672" y="468"/>
                  </a:cubicBezTo>
                  <a:cubicBezTo>
                    <a:pt x="676" y="468"/>
                    <a:pt x="675" y="467"/>
                    <a:pt x="677" y="465"/>
                  </a:cubicBezTo>
                  <a:cubicBezTo>
                    <a:pt x="676" y="465"/>
                    <a:pt x="680" y="463"/>
                    <a:pt x="680" y="463"/>
                  </a:cubicBezTo>
                  <a:cubicBezTo>
                    <a:pt x="682" y="462"/>
                    <a:pt x="685" y="460"/>
                    <a:pt x="687" y="460"/>
                  </a:cubicBezTo>
                  <a:cubicBezTo>
                    <a:pt x="690" y="459"/>
                    <a:pt x="692" y="460"/>
                    <a:pt x="694" y="459"/>
                  </a:cubicBezTo>
                  <a:cubicBezTo>
                    <a:pt x="694" y="458"/>
                    <a:pt x="695" y="456"/>
                    <a:pt x="695" y="455"/>
                  </a:cubicBezTo>
                  <a:cubicBezTo>
                    <a:pt x="696" y="450"/>
                    <a:pt x="695" y="444"/>
                    <a:pt x="694" y="439"/>
                  </a:cubicBezTo>
                  <a:cubicBezTo>
                    <a:pt x="691" y="429"/>
                    <a:pt x="690" y="419"/>
                    <a:pt x="684" y="410"/>
                  </a:cubicBezTo>
                  <a:cubicBezTo>
                    <a:pt x="682" y="406"/>
                    <a:pt x="679" y="405"/>
                    <a:pt x="677" y="401"/>
                  </a:cubicBezTo>
                  <a:cubicBezTo>
                    <a:pt x="676" y="398"/>
                    <a:pt x="677" y="394"/>
                    <a:pt x="677" y="391"/>
                  </a:cubicBezTo>
                  <a:cubicBezTo>
                    <a:pt x="677" y="387"/>
                    <a:pt x="676" y="384"/>
                    <a:pt x="677" y="380"/>
                  </a:cubicBezTo>
                  <a:cubicBezTo>
                    <a:pt x="677" y="376"/>
                    <a:pt x="679" y="374"/>
                    <a:pt x="681" y="371"/>
                  </a:cubicBezTo>
                  <a:cubicBezTo>
                    <a:pt x="684" y="365"/>
                    <a:pt x="683" y="359"/>
                    <a:pt x="684" y="353"/>
                  </a:cubicBezTo>
                  <a:cubicBezTo>
                    <a:pt x="686" y="345"/>
                    <a:pt x="689" y="337"/>
                    <a:pt x="687" y="328"/>
                  </a:cubicBezTo>
                  <a:cubicBezTo>
                    <a:pt x="686" y="320"/>
                    <a:pt x="682" y="312"/>
                    <a:pt x="677" y="305"/>
                  </a:cubicBezTo>
                  <a:cubicBezTo>
                    <a:pt x="672" y="296"/>
                    <a:pt x="669" y="286"/>
                    <a:pt x="669" y="276"/>
                  </a:cubicBezTo>
                  <a:cubicBezTo>
                    <a:pt x="669" y="273"/>
                    <a:pt x="668" y="267"/>
                    <a:pt x="670" y="265"/>
                  </a:cubicBezTo>
                  <a:cubicBezTo>
                    <a:pt x="671" y="263"/>
                    <a:pt x="673" y="264"/>
                    <a:pt x="673" y="262"/>
                  </a:cubicBezTo>
                  <a:cubicBezTo>
                    <a:pt x="674" y="259"/>
                    <a:pt x="673" y="255"/>
                    <a:pt x="672" y="253"/>
                  </a:cubicBezTo>
                  <a:cubicBezTo>
                    <a:pt x="672" y="249"/>
                    <a:pt x="671" y="246"/>
                    <a:pt x="670" y="243"/>
                  </a:cubicBezTo>
                  <a:cubicBezTo>
                    <a:pt x="670" y="241"/>
                    <a:pt x="670" y="240"/>
                    <a:pt x="669" y="239"/>
                  </a:cubicBezTo>
                  <a:cubicBezTo>
                    <a:pt x="667" y="238"/>
                    <a:pt x="663" y="239"/>
                    <a:pt x="661" y="237"/>
                  </a:cubicBezTo>
                  <a:cubicBezTo>
                    <a:pt x="659" y="236"/>
                    <a:pt x="658" y="233"/>
                    <a:pt x="657" y="230"/>
                  </a:cubicBezTo>
                  <a:cubicBezTo>
                    <a:pt x="656" y="225"/>
                    <a:pt x="661" y="224"/>
                    <a:pt x="664" y="221"/>
                  </a:cubicBezTo>
                  <a:cubicBezTo>
                    <a:pt x="666" y="218"/>
                    <a:pt x="666" y="214"/>
                    <a:pt x="666" y="211"/>
                  </a:cubicBezTo>
                  <a:cubicBezTo>
                    <a:pt x="665" y="204"/>
                    <a:pt x="662" y="199"/>
                    <a:pt x="662" y="192"/>
                  </a:cubicBezTo>
                  <a:cubicBezTo>
                    <a:pt x="662" y="188"/>
                    <a:pt x="662" y="184"/>
                    <a:pt x="662" y="180"/>
                  </a:cubicBezTo>
                  <a:cubicBezTo>
                    <a:pt x="662" y="178"/>
                    <a:pt x="663" y="176"/>
                    <a:pt x="663" y="174"/>
                  </a:cubicBezTo>
                  <a:cubicBezTo>
                    <a:pt x="665" y="169"/>
                    <a:pt x="668" y="167"/>
                    <a:pt x="667" y="162"/>
                  </a:cubicBezTo>
                  <a:cubicBezTo>
                    <a:pt x="660" y="161"/>
                    <a:pt x="659" y="153"/>
                    <a:pt x="656" y="148"/>
                  </a:cubicBezTo>
                  <a:cubicBezTo>
                    <a:pt x="654" y="145"/>
                    <a:pt x="653" y="143"/>
                    <a:pt x="649" y="142"/>
                  </a:cubicBezTo>
                  <a:cubicBezTo>
                    <a:pt x="647" y="141"/>
                    <a:pt x="645" y="140"/>
                    <a:pt x="642" y="140"/>
                  </a:cubicBezTo>
                  <a:cubicBezTo>
                    <a:pt x="641" y="137"/>
                    <a:pt x="642" y="133"/>
                    <a:pt x="641" y="129"/>
                  </a:cubicBezTo>
                  <a:cubicBezTo>
                    <a:pt x="641" y="128"/>
                    <a:pt x="642" y="125"/>
                    <a:pt x="641" y="123"/>
                  </a:cubicBezTo>
                  <a:cubicBezTo>
                    <a:pt x="639" y="122"/>
                    <a:pt x="634" y="121"/>
                    <a:pt x="632" y="120"/>
                  </a:cubicBezTo>
                  <a:cubicBezTo>
                    <a:pt x="629" y="119"/>
                    <a:pt x="628" y="120"/>
                    <a:pt x="627" y="117"/>
                  </a:cubicBezTo>
                  <a:cubicBezTo>
                    <a:pt x="626" y="115"/>
                    <a:pt x="625" y="114"/>
                    <a:pt x="624" y="112"/>
                  </a:cubicBezTo>
                  <a:cubicBezTo>
                    <a:pt x="621" y="106"/>
                    <a:pt x="616" y="100"/>
                    <a:pt x="613" y="95"/>
                  </a:cubicBezTo>
                  <a:cubicBezTo>
                    <a:pt x="609" y="90"/>
                    <a:pt x="607" y="89"/>
                    <a:pt x="602" y="86"/>
                  </a:cubicBezTo>
                  <a:cubicBezTo>
                    <a:pt x="598" y="85"/>
                    <a:pt x="595" y="84"/>
                    <a:pt x="591" y="84"/>
                  </a:cubicBezTo>
                  <a:cubicBezTo>
                    <a:pt x="589" y="84"/>
                    <a:pt x="588" y="84"/>
                    <a:pt x="587" y="83"/>
                  </a:cubicBezTo>
                  <a:cubicBezTo>
                    <a:pt x="585" y="82"/>
                    <a:pt x="583" y="80"/>
                    <a:pt x="582" y="78"/>
                  </a:cubicBezTo>
                  <a:cubicBezTo>
                    <a:pt x="579" y="76"/>
                    <a:pt x="577" y="74"/>
                    <a:pt x="574" y="72"/>
                  </a:cubicBezTo>
                  <a:cubicBezTo>
                    <a:pt x="570" y="69"/>
                    <a:pt x="568" y="69"/>
                    <a:pt x="563" y="68"/>
                  </a:cubicBezTo>
                  <a:cubicBezTo>
                    <a:pt x="559" y="67"/>
                    <a:pt x="555" y="62"/>
                    <a:pt x="552" y="59"/>
                  </a:cubicBezTo>
                  <a:cubicBezTo>
                    <a:pt x="549" y="54"/>
                    <a:pt x="547" y="50"/>
                    <a:pt x="542" y="47"/>
                  </a:cubicBezTo>
                  <a:cubicBezTo>
                    <a:pt x="538" y="44"/>
                    <a:pt x="537" y="39"/>
                    <a:pt x="534" y="35"/>
                  </a:cubicBezTo>
                  <a:cubicBezTo>
                    <a:pt x="531" y="32"/>
                    <a:pt x="528" y="30"/>
                    <a:pt x="525" y="28"/>
                  </a:cubicBezTo>
                  <a:cubicBezTo>
                    <a:pt x="523" y="26"/>
                    <a:pt x="522" y="24"/>
                    <a:pt x="519" y="22"/>
                  </a:cubicBezTo>
                  <a:cubicBezTo>
                    <a:pt x="516" y="19"/>
                    <a:pt x="513" y="17"/>
                    <a:pt x="510" y="14"/>
                  </a:cubicBezTo>
                  <a:cubicBezTo>
                    <a:pt x="508" y="11"/>
                    <a:pt x="505" y="8"/>
                    <a:pt x="504" y="5"/>
                  </a:cubicBezTo>
                  <a:cubicBezTo>
                    <a:pt x="503" y="4"/>
                    <a:pt x="503" y="2"/>
                    <a:pt x="502" y="1"/>
                  </a:cubicBezTo>
                  <a:cubicBezTo>
                    <a:pt x="502" y="1"/>
                    <a:pt x="502" y="0"/>
                    <a:pt x="502" y="0"/>
                  </a:cubicBezTo>
                  <a:cubicBezTo>
                    <a:pt x="500" y="0"/>
                    <a:pt x="498" y="0"/>
                    <a:pt x="497" y="1"/>
                  </a:cubicBezTo>
                  <a:cubicBezTo>
                    <a:pt x="494" y="1"/>
                    <a:pt x="481" y="1"/>
                    <a:pt x="480" y="4"/>
                  </a:cubicBezTo>
                  <a:cubicBezTo>
                    <a:pt x="482" y="6"/>
                    <a:pt x="483" y="10"/>
                    <a:pt x="485" y="12"/>
                  </a:cubicBezTo>
                  <a:cubicBezTo>
                    <a:pt x="487" y="17"/>
                    <a:pt x="490" y="22"/>
                    <a:pt x="493" y="26"/>
                  </a:cubicBezTo>
                  <a:cubicBezTo>
                    <a:pt x="498" y="33"/>
                    <a:pt x="500" y="39"/>
                    <a:pt x="500" y="47"/>
                  </a:cubicBezTo>
                  <a:cubicBezTo>
                    <a:pt x="500" y="54"/>
                    <a:pt x="497" y="56"/>
                    <a:pt x="492" y="60"/>
                  </a:cubicBezTo>
                  <a:cubicBezTo>
                    <a:pt x="487" y="64"/>
                    <a:pt x="483" y="67"/>
                    <a:pt x="478" y="70"/>
                  </a:cubicBezTo>
                  <a:cubicBezTo>
                    <a:pt x="475" y="72"/>
                    <a:pt x="470" y="73"/>
                    <a:pt x="468" y="76"/>
                  </a:cubicBezTo>
                  <a:cubicBezTo>
                    <a:pt x="471" y="78"/>
                    <a:pt x="484" y="81"/>
                    <a:pt x="484" y="85"/>
                  </a:cubicBezTo>
                  <a:cubicBezTo>
                    <a:pt x="484" y="86"/>
                    <a:pt x="481" y="88"/>
                    <a:pt x="481" y="89"/>
                  </a:cubicBezTo>
                  <a:cubicBezTo>
                    <a:pt x="480" y="91"/>
                    <a:pt x="480" y="92"/>
                    <a:pt x="478" y="95"/>
                  </a:cubicBezTo>
                  <a:cubicBezTo>
                    <a:pt x="478" y="96"/>
                    <a:pt x="475" y="100"/>
                    <a:pt x="474" y="101"/>
                  </a:cubicBezTo>
                  <a:cubicBezTo>
                    <a:pt x="472" y="102"/>
                    <a:pt x="471" y="101"/>
                    <a:pt x="469" y="101"/>
                  </a:cubicBezTo>
                  <a:cubicBezTo>
                    <a:pt x="462" y="100"/>
                    <a:pt x="456" y="98"/>
                    <a:pt x="449" y="94"/>
                  </a:cubicBezTo>
                  <a:cubicBezTo>
                    <a:pt x="444" y="91"/>
                    <a:pt x="438" y="92"/>
                    <a:pt x="432" y="91"/>
                  </a:cubicBezTo>
                  <a:cubicBezTo>
                    <a:pt x="423" y="89"/>
                    <a:pt x="414" y="87"/>
                    <a:pt x="405" y="84"/>
                  </a:cubicBezTo>
                  <a:cubicBezTo>
                    <a:pt x="403" y="83"/>
                    <a:pt x="399" y="83"/>
                    <a:pt x="397" y="82"/>
                  </a:cubicBezTo>
                  <a:cubicBezTo>
                    <a:pt x="394" y="81"/>
                    <a:pt x="393" y="80"/>
                    <a:pt x="391" y="80"/>
                  </a:cubicBezTo>
                  <a:cubicBezTo>
                    <a:pt x="387" y="80"/>
                    <a:pt x="382" y="81"/>
                    <a:pt x="379" y="78"/>
                  </a:cubicBezTo>
                  <a:cubicBezTo>
                    <a:pt x="380" y="83"/>
                    <a:pt x="380" y="89"/>
                    <a:pt x="380" y="94"/>
                  </a:cubicBezTo>
                  <a:cubicBezTo>
                    <a:pt x="380" y="117"/>
                    <a:pt x="380" y="117"/>
                    <a:pt x="380" y="117"/>
                  </a:cubicBezTo>
                  <a:cubicBezTo>
                    <a:pt x="380" y="119"/>
                    <a:pt x="380" y="123"/>
                    <a:pt x="380" y="124"/>
                  </a:cubicBezTo>
                  <a:cubicBezTo>
                    <a:pt x="379" y="126"/>
                    <a:pt x="378" y="128"/>
                    <a:pt x="378" y="129"/>
                  </a:cubicBezTo>
                  <a:cubicBezTo>
                    <a:pt x="377" y="132"/>
                    <a:pt x="375" y="134"/>
                    <a:pt x="373" y="137"/>
                  </a:cubicBezTo>
                  <a:cubicBezTo>
                    <a:pt x="371" y="142"/>
                    <a:pt x="368" y="147"/>
                    <a:pt x="366" y="151"/>
                  </a:cubicBezTo>
                  <a:cubicBezTo>
                    <a:pt x="365" y="153"/>
                    <a:pt x="365" y="155"/>
                    <a:pt x="364" y="157"/>
                  </a:cubicBezTo>
                  <a:cubicBezTo>
                    <a:pt x="359" y="155"/>
                    <a:pt x="354" y="152"/>
                    <a:pt x="349" y="151"/>
                  </a:cubicBezTo>
                  <a:cubicBezTo>
                    <a:pt x="345" y="149"/>
                    <a:pt x="343" y="147"/>
                    <a:pt x="340" y="146"/>
                  </a:cubicBezTo>
                  <a:cubicBezTo>
                    <a:pt x="336" y="144"/>
                    <a:pt x="329" y="144"/>
                    <a:pt x="325" y="145"/>
                  </a:cubicBezTo>
                  <a:cubicBezTo>
                    <a:pt x="322" y="146"/>
                    <a:pt x="319" y="149"/>
                    <a:pt x="317" y="151"/>
                  </a:cubicBezTo>
                  <a:cubicBezTo>
                    <a:pt x="313" y="153"/>
                    <a:pt x="311" y="155"/>
                    <a:pt x="308" y="159"/>
                  </a:cubicBezTo>
                  <a:cubicBezTo>
                    <a:pt x="305" y="163"/>
                    <a:pt x="302" y="168"/>
                    <a:pt x="299" y="172"/>
                  </a:cubicBezTo>
                  <a:cubicBezTo>
                    <a:pt x="298" y="173"/>
                    <a:pt x="295" y="175"/>
                    <a:pt x="295" y="177"/>
                  </a:cubicBezTo>
                  <a:cubicBezTo>
                    <a:pt x="292" y="178"/>
                    <a:pt x="292" y="181"/>
                    <a:pt x="291" y="183"/>
                  </a:cubicBezTo>
                  <a:cubicBezTo>
                    <a:pt x="290" y="185"/>
                    <a:pt x="289" y="186"/>
                    <a:pt x="288" y="188"/>
                  </a:cubicBezTo>
                  <a:cubicBezTo>
                    <a:pt x="289" y="187"/>
                    <a:pt x="290" y="187"/>
                    <a:pt x="290" y="187"/>
                  </a:cubicBezTo>
                  <a:cubicBezTo>
                    <a:pt x="289" y="188"/>
                    <a:pt x="289" y="190"/>
                    <a:pt x="288" y="192"/>
                  </a:cubicBezTo>
                  <a:cubicBezTo>
                    <a:pt x="287" y="195"/>
                    <a:pt x="285" y="199"/>
                    <a:pt x="284" y="202"/>
                  </a:cubicBezTo>
                  <a:cubicBezTo>
                    <a:pt x="282" y="207"/>
                    <a:pt x="280" y="211"/>
                    <a:pt x="279" y="216"/>
                  </a:cubicBezTo>
                  <a:cubicBezTo>
                    <a:pt x="279" y="220"/>
                    <a:pt x="278" y="223"/>
                    <a:pt x="274" y="224"/>
                  </a:cubicBezTo>
                  <a:cubicBezTo>
                    <a:pt x="269" y="227"/>
                    <a:pt x="268" y="229"/>
                    <a:pt x="267" y="234"/>
                  </a:cubicBezTo>
                  <a:cubicBezTo>
                    <a:pt x="266" y="237"/>
                    <a:pt x="266" y="239"/>
                    <a:pt x="266" y="243"/>
                  </a:cubicBezTo>
                  <a:cubicBezTo>
                    <a:pt x="266" y="245"/>
                    <a:pt x="266" y="247"/>
                    <a:pt x="267" y="249"/>
                  </a:cubicBezTo>
                  <a:cubicBezTo>
                    <a:pt x="268" y="253"/>
                    <a:pt x="268" y="256"/>
                    <a:pt x="269" y="259"/>
                  </a:cubicBezTo>
                  <a:cubicBezTo>
                    <a:pt x="269" y="261"/>
                    <a:pt x="271" y="263"/>
                    <a:pt x="272" y="265"/>
                  </a:cubicBezTo>
                  <a:cubicBezTo>
                    <a:pt x="272" y="266"/>
                    <a:pt x="272" y="268"/>
                    <a:pt x="272" y="270"/>
                  </a:cubicBezTo>
                  <a:cubicBezTo>
                    <a:pt x="272" y="272"/>
                    <a:pt x="274" y="275"/>
                    <a:pt x="275" y="278"/>
                  </a:cubicBezTo>
                  <a:cubicBezTo>
                    <a:pt x="276" y="282"/>
                    <a:pt x="277" y="294"/>
                    <a:pt x="273" y="297"/>
                  </a:cubicBezTo>
                  <a:cubicBezTo>
                    <a:pt x="269" y="299"/>
                    <a:pt x="265" y="300"/>
                    <a:pt x="261" y="303"/>
                  </a:cubicBezTo>
                  <a:cubicBezTo>
                    <a:pt x="258" y="306"/>
                    <a:pt x="256" y="310"/>
                    <a:pt x="256" y="314"/>
                  </a:cubicBezTo>
                  <a:cubicBezTo>
                    <a:pt x="255" y="319"/>
                    <a:pt x="252" y="323"/>
                    <a:pt x="250" y="327"/>
                  </a:cubicBezTo>
                  <a:cubicBezTo>
                    <a:pt x="247" y="335"/>
                    <a:pt x="243" y="344"/>
                    <a:pt x="239" y="352"/>
                  </a:cubicBezTo>
                  <a:cubicBezTo>
                    <a:pt x="237" y="357"/>
                    <a:pt x="236" y="360"/>
                    <a:pt x="231" y="363"/>
                  </a:cubicBezTo>
                  <a:cubicBezTo>
                    <a:pt x="227" y="366"/>
                    <a:pt x="224" y="368"/>
                    <a:pt x="225" y="374"/>
                  </a:cubicBezTo>
                  <a:cubicBezTo>
                    <a:pt x="225" y="379"/>
                    <a:pt x="233" y="388"/>
                    <a:pt x="230" y="394"/>
                  </a:cubicBezTo>
                  <a:cubicBezTo>
                    <a:pt x="228" y="397"/>
                    <a:pt x="223" y="396"/>
                    <a:pt x="220" y="398"/>
                  </a:cubicBezTo>
                  <a:cubicBezTo>
                    <a:pt x="215" y="401"/>
                    <a:pt x="215" y="408"/>
                    <a:pt x="209" y="410"/>
                  </a:cubicBezTo>
                  <a:cubicBezTo>
                    <a:pt x="206" y="412"/>
                    <a:pt x="201" y="413"/>
                    <a:pt x="197" y="414"/>
                  </a:cubicBezTo>
                  <a:cubicBezTo>
                    <a:pt x="193" y="415"/>
                    <a:pt x="181" y="412"/>
                    <a:pt x="178" y="415"/>
                  </a:cubicBezTo>
                  <a:cubicBezTo>
                    <a:pt x="178" y="415"/>
                    <a:pt x="178" y="416"/>
                    <a:pt x="178" y="416"/>
                  </a:cubicBezTo>
                  <a:cubicBezTo>
                    <a:pt x="178" y="418"/>
                    <a:pt x="178" y="422"/>
                    <a:pt x="178" y="422"/>
                  </a:cubicBezTo>
                  <a:cubicBezTo>
                    <a:pt x="179" y="428"/>
                    <a:pt x="180" y="435"/>
                    <a:pt x="181" y="441"/>
                  </a:cubicBezTo>
                  <a:cubicBezTo>
                    <a:pt x="182" y="449"/>
                    <a:pt x="186" y="456"/>
                    <a:pt x="184" y="463"/>
                  </a:cubicBezTo>
                  <a:cubicBezTo>
                    <a:pt x="184" y="466"/>
                    <a:pt x="184" y="467"/>
                    <a:pt x="183" y="469"/>
                  </a:cubicBezTo>
                  <a:cubicBezTo>
                    <a:pt x="182" y="470"/>
                    <a:pt x="181" y="471"/>
                    <a:pt x="180" y="471"/>
                  </a:cubicBezTo>
                  <a:cubicBezTo>
                    <a:pt x="179" y="473"/>
                    <a:pt x="179" y="475"/>
                    <a:pt x="178" y="477"/>
                  </a:cubicBezTo>
                  <a:cubicBezTo>
                    <a:pt x="177" y="481"/>
                    <a:pt x="174" y="485"/>
                    <a:pt x="174" y="490"/>
                  </a:cubicBezTo>
                  <a:cubicBezTo>
                    <a:pt x="173" y="496"/>
                    <a:pt x="174" y="502"/>
                    <a:pt x="175" y="508"/>
                  </a:cubicBezTo>
                  <a:cubicBezTo>
                    <a:pt x="175" y="513"/>
                    <a:pt x="175" y="518"/>
                    <a:pt x="175" y="524"/>
                  </a:cubicBezTo>
                  <a:cubicBezTo>
                    <a:pt x="175" y="530"/>
                    <a:pt x="175" y="531"/>
                    <a:pt x="171" y="534"/>
                  </a:cubicBezTo>
                  <a:cubicBezTo>
                    <a:pt x="168" y="536"/>
                    <a:pt x="166" y="540"/>
                    <a:pt x="165" y="543"/>
                  </a:cubicBezTo>
                  <a:cubicBezTo>
                    <a:pt x="163" y="547"/>
                    <a:pt x="162" y="552"/>
                    <a:pt x="160" y="556"/>
                  </a:cubicBezTo>
                  <a:cubicBezTo>
                    <a:pt x="157" y="561"/>
                    <a:pt x="157" y="567"/>
                    <a:pt x="154" y="570"/>
                  </a:cubicBezTo>
                  <a:cubicBezTo>
                    <a:pt x="153" y="572"/>
                    <a:pt x="153" y="574"/>
                    <a:pt x="152" y="576"/>
                  </a:cubicBezTo>
                  <a:cubicBezTo>
                    <a:pt x="151" y="578"/>
                    <a:pt x="151" y="580"/>
                    <a:pt x="151" y="582"/>
                  </a:cubicBezTo>
                  <a:cubicBezTo>
                    <a:pt x="150" y="586"/>
                    <a:pt x="149" y="590"/>
                    <a:pt x="147" y="593"/>
                  </a:cubicBezTo>
                  <a:cubicBezTo>
                    <a:pt x="145" y="598"/>
                    <a:pt x="142" y="602"/>
                    <a:pt x="139" y="606"/>
                  </a:cubicBezTo>
                  <a:cubicBezTo>
                    <a:pt x="137" y="609"/>
                    <a:pt x="135" y="612"/>
                    <a:pt x="134" y="615"/>
                  </a:cubicBezTo>
                  <a:cubicBezTo>
                    <a:pt x="137" y="616"/>
                    <a:pt x="138" y="618"/>
                    <a:pt x="140" y="620"/>
                  </a:cubicBezTo>
                  <a:cubicBezTo>
                    <a:pt x="143" y="621"/>
                    <a:pt x="145" y="622"/>
                    <a:pt x="148" y="624"/>
                  </a:cubicBezTo>
                  <a:cubicBezTo>
                    <a:pt x="153" y="628"/>
                    <a:pt x="151" y="636"/>
                    <a:pt x="151" y="642"/>
                  </a:cubicBezTo>
                  <a:cubicBezTo>
                    <a:pt x="151" y="646"/>
                    <a:pt x="151" y="650"/>
                    <a:pt x="151" y="653"/>
                  </a:cubicBezTo>
                  <a:cubicBezTo>
                    <a:pt x="152" y="657"/>
                    <a:pt x="154" y="661"/>
                    <a:pt x="155" y="665"/>
                  </a:cubicBezTo>
                  <a:cubicBezTo>
                    <a:pt x="155" y="669"/>
                    <a:pt x="154" y="672"/>
                    <a:pt x="152" y="676"/>
                  </a:cubicBezTo>
                  <a:cubicBezTo>
                    <a:pt x="151" y="679"/>
                    <a:pt x="150" y="684"/>
                    <a:pt x="148" y="687"/>
                  </a:cubicBezTo>
                  <a:cubicBezTo>
                    <a:pt x="144" y="685"/>
                    <a:pt x="138" y="685"/>
                    <a:pt x="134" y="684"/>
                  </a:cubicBezTo>
                  <a:cubicBezTo>
                    <a:pt x="128" y="684"/>
                    <a:pt x="123" y="683"/>
                    <a:pt x="117" y="682"/>
                  </a:cubicBezTo>
                  <a:cubicBezTo>
                    <a:pt x="112" y="682"/>
                    <a:pt x="108" y="683"/>
                    <a:pt x="103" y="683"/>
                  </a:cubicBezTo>
                  <a:cubicBezTo>
                    <a:pt x="98" y="683"/>
                    <a:pt x="94" y="684"/>
                    <a:pt x="89" y="686"/>
                  </a:cubicBezTo>
                  <a:cubicBezTo>
                    <a:pt x="85" y="688"/>
                    <a:pt x="84" y="692"/>
                    <a:pt x="81" y="694"/>
                  </a:cubicBezTo>
                  <a:cubicBezTo>
                    <a:pt x="80" y="695"/>
                    <a:pt x="78" y="695"/>
                    <a:pt x="76" y="696"/>
                  </a:cubicBezTo>
                  <a:cubicBezTo>
                    <a:pt x="74" y="697"/>
                    <a:pt x="73" y="699"/>
                    <a:pt x="71" y="700"/>
                  </a:cubicBezTo>
                  <a:cubicBezTo>
                    <a:pt x="70" y="702"/>
                    <a:pt x="70" y="703"/>
                    <a:pt x="68" y="705"/>
                  </a:cubicBezTo>
                  <a:cubicBezTo>
                    <a:pt x="67" y="706"/>
                    <a:pt x="67" y="708"/>
                    <a:pt x="67" y="710"/>
                  </a:cubicBezTo>
                  <a:cubicBezTo>
                    <a:pt x="66" y="712"/>
                    <a:pt x="65" y="715"/>
                    <a:pt x="64" y="718"/>
                  </a:cubicBezTo>
                  <a:cubicBezTo>
                    <a:pt x="63" y="722"/>
                    <a:pt x="60" y="727"/>
                    <a:pt x="57" y="731"/>
                  </a:cubicBezTo>
                  <a:cubicBezTo>
                    <a:pt x="54" y="736"/>
                    <a:pt x="49" y="738"/>
                    <a:pt x="48" y="745"/>
                  </a:cubicBezTo>
                  <a:cubicBezTo>
                    <a:pt x="48" y="749"/>
                    <a:pt x="48" y="753"/>
                    <a:pt x="48" y="757"/>
                  </a:cubicBezTo>
                  <a:cubicBezTo>
                    <a:pt x="48" y="762"/>
                    <a:pt x="49" y="770"/>
                    <a:pt x="46" y="775"/>
                  </a:cubicBezTo>
                  <a:cubicBezTo>
                    <a:pt x="45" y="777"/>
                    <a:pt x="44" y="778"/>
                    <a:pt x="44" y="780"/>
                  </a:cubicBezTo>
                  <a:cubicBezTo>
                    <a:pt x="44" y="782"/>
                    <a:pt x="45" y="784"/>
                    <a:pt x="45" y="786"/>
                  </a:cubicBezTo>
                  <a:cubicBezTo>
                    <a:pt x="47" y="789"/>
                    <a:pt x="48" y="792"/>
                    <a:pt x="49" y="795"/>
                  </a:cubicBezTo>
                  <a:cubicBezTo>
                    <a:pt x="50" y="799"/>
                    <a:pt x="50" y="803"/>
                    <a:pt x="52" y="807"/>
                  </a:cubicBezTo>
                  <a:cubicBezTo>
                    <a:pt x="53" y="809"/>
                    <a:pt x="54" y="810"/>
                    <a:pt x="53" y="812"/>
                  </a:cubicBezTo>
                  <a:cubicBezTo>
                    <a:pt x="53" y="814"/>
                    <a:pt x="50" y="816"/>
                    <a:pt x="49" y="817"/>
                  </a:cubicBezTo>
                  <a:cubicBezTo>
                    <a:pt x="48" y="818"/>
                    <a:pt x="48" y="820"/>
                    <a:pt x="47" y="821"/>
                  </a:cubicBezTo>
                  <a:cubicBezTo>
                    <a:pt x="47" y="822"/>
                    <a:pt x="45" y="821"/>
                    <a:pt x="45" y="822"/>
                  </a:cubicBezTo>
                  <a:cubicBezTo>
                    <a:pt x="44" y="824"/>
                    <a:pt x="45" y="828"/>
                    <a:pt x="45" y="830"/>
                  </a:cubicBezTo>
                  <a:cubicBezTo>
                    <a:pt x="45" y="836"/>
                    <a:pt x="45" y="841"/>
                    <a:pt x="45" y="847"/>
                  </a:cubicBezTo>
                  <a:cubicBezTo>
                    <a:pt x="45" y="851"/>
                    <a:pt x="44" y="855"/>
                    <a:pt x="43" y="860"/>
                  </a:cubicBezTo>
                  <a:cubicBezTo>
                    <a:pt x="43" y="863"/>
                    <a:pt x="44" y="863"/>
                    <a:pt x="45" y="866"/>
                  </a:cubicBezTo>
                  <a:cubicBezTo>
                    <a:pt x="49" y="872"/>
                    <a:pt x="52" y="879"/>
                    <a:pt x="55" y="886"/>
                  </a:cubicBezTo>
                  <a:cubicBezTo>
                    <a:pt x="56" y="888"/>
                    <a:pt x="57" y="890"/>
                    <a:pt x="57" y="892"/>
                  </a:cubicBezTo>
                  <a:cubicBezTo>
                    <a:pt x="58" y="896"/>
                    <a:pt x="57" y="900"/>
                    <a:pt x="57" y="904"/>
                  </a:cubicBezTo>
                  <a:cubicBezTo>
                    <a:pt x="57" y="918"/>
                    <a:pt x="57" y="931"/>
                    <a:pt x="54" y="944"/>
                  </a:cubicBezTo>
                  <a:cubicBezTo>
                    <a:pt x="53" y="950"/>
                    <a:pt x="48" y="958"/>
                    <a:pt x="51" y="964"/>
                  </a:cubicBezTo>
                  <a:cubicBezTo>
                    <a:pt x="53" y="968"/>
                    <a:pt x="58" y="969"/>
                    <a:pt x="61" y="971"/>
                  </a:cubicBezTo>
                  <a:cubicBezTo>
                    <a:pt x="64" y="973"/>
                    <a:pt x="65" y="976"/>
                    <a:pt x="68" y="979"/>
                  </a:cubicBezTo>
                  <a:cubicBezTo>
                    <a:pt x="72" y="983"/>
                    <a:pt x="80" y="979"/>
                    <a:pt x="84" y="985"/>
                  </a:cubicBezTo>
                  <a:cubicBezTo>
                    <a:pt x="85" y="985"/>
                    <a:pt x="84" y="987"/>
                    <a:pt x="85" y="987"/>
                  </a:cubicBezTo>
                  <a:cubicBezTo>
                    <a:pt x="86" y="989"/>
                    <a:pt x="87" y="989"/>
                    <a:pt x="88" y="990"/>
                  </a:cubicBezTo>
                  <a:cubicBezTo>
                    <a:pt x="90" y="992"/>
                    <a:pt x="93" y="998"/>
                    <a:pt x="96" y="999"/>
                  </a:cubicBezTo>
                  <a:cubicBezTo>
                    <a:pt x="97" y="1003"/>
                    <a:pt x="92" y="1008"/>
                    <a:pt x="90" y="1011"/>
                  </a:cubicBezTo>
                  <a:cubicBezTo>
                    <a:pt x="88" y="1016"/>
                    <a:pt x="86" y="1021"/>
                    <a:pt x="84" y="1026"/>
                  </a:cubicBezTo>
                  <a:cubicBezTo>
                    <a:pt x="82" y="1029"/>
                    <a:pt x="82" y="1028"/>
                    <a:pt x="82" y="1030"/>
                  </a:cubicBezTo>
                  <a:cubicBezTo>
                    <a:pt x="81" y="1032"/>
                    <a:pt x="82" y="1032"/>
                    <a:pt x="81" y="1034"/>
                  </a:cubicBezTo>
                  <a:cubicBezTo>
                    <a:pt x="80" y="1034"/>
                    <a:pt x="79" y="1035"/>
                    <a:pt x="77" y="1035"/>
                  </a:cubicBezTo>
                  <a:cubicBezTo>
                    <a:pt x="76" y="1035"/>
                    <a:pt x="76" y="1035"/>
                    <a:pt x="76" y="1036"/>
                  </a:cubicBezTo>
                  <a:cubicBezTo>
                    <a:pt x="75" y="1036"/>
                    <a:pt x="74" y="1036"/>
                    <a:pt x="73" y="1037"/>
                  </a:cubicBezTo>
                  <a:cubicBezTo>
                    <a:pt x="71" y="1038"/>
                    <a:pt x="69" y="1039"/>
                    <a:pt x="66" y="1039"/>
                  </a:cubicBezTo>
                  <a:cubicBezTo>
                    <a:pt x="64" y="1040"/>
                    <a:pt x="63" y="1039"/>
                    <a:pt x="61" y="1039"/>
                  </a:cubicBezTo>
                  <a:cubicBezTo>
                    <a:pt x="60" y="1042"/>
                    <a:pt x="62" y="1048"/>
                    <a:pt x="62" y="1051"/>
                  </a:cubicBezTo>
                  <a:cubicBezTo>
                    <a:pt x="63" y="1055"/>
                    <a:pt x="64" y="1059"/>
                    <a:pt x="65" y="1063"/>
                  </a:cubicBezTo>
                  <a:cubicBezTo>
                    <a:pt x="68" y="1075"/>
                    <a:pt x="76" y="1084"/>
                    <a:pt x="78" y="1096"/>
                  </a:cubicBezTo>
                  <a:cubicBezTo>
                    <a:pt x="78" y="1099"/>
                    <a:pt x="79" y="1102"/>
                    <a:pt x="78" y="1105"/>
                  </a:cubicBezTo>
                  <a:cubicBezTo>
                    <a:pt x="78" y="1107"/>
                    <a:pt x="77" y="1108"/>
                    <a:pt x="75" y="1111"/>
                  </a:cubicBezTo>
                  <a:cubicBezTo>
                    <a:pt x="72" y="1116"/>
                    <a:pt x="67" y="1122"/>
                    <a:pt x="65" y="1129"/>
                  </a:cubicBezTo>
                  <a:cubicBezTo>
                    <a:pt x="66" y="1128"/>
                    <a:pt x="67" y="1128"/>
                    <a:pt x="67" y="1128"/>
                  </a:cubicBezTo>
                  <a:cubicBezTo>
                    <a:pt x="68" y="1127"/>
                    <a:pt x="69" y="1126"/>
                    <a:pt x="70" y="1128"/>
                  </a:cubicBezTo>
                  <a:cubicBezTo>
                    <a:pt x="69" y="1128"/>
                    <a:pt x="68" y="1128"/>
                    <a:pt x="67" y="1128"/>
                  </a:cubicBezTo>
                  <a:cubicBezTo>
                    <a:pt x="67" y="1129"/>
                    <a:pt x="67" y="1131"/>
                    <a:pt x="67" y="1131"/>
                  </a:cubicBezTo>
                  <a:cubicBezTo>
                    <a:pt x="66" y="1134"/>
                    <a:pt x="64" y="1135"/>
                    <a:pt x="63" y="1138"/>
                  </a:cubicBezTo>
                  <a:cubicBezTo>
                    <a:pt x="61" y="1143"/>
                    <a:pt x="62" y="1150"/>
                    <a:pt x="60" y="1154"/>
                  </a:cubicBezTo>
                  <a:cubicBezTo>
                    <a:pt x="57" y="1158"/>
                    <a:pt x="52" y="1161"/>
                    <a:pt x="49" y="1162"/>
                  </a:cubicBezTo>
                  <a:cubicBezTo>
                    <a:pt x="44" y="1164"/>
                    <a:pt x="41" y="1169"/>
                    <a:pt x="35" y="1169"/>
                  </a:cubicBezTo>
                  <a:cubicBezTo>
                    <a:pt x="34" y="1173"/>
                    <a:pt x="39" y="1177"/>
                    <a:pt x="39" y="1181"/>
                  </a:cubicBezTo>
                  <a:cubicBezTo>
                    <a:pt x="38" y="1184"/>
                    <a:pt x="38" y="1185"/>
                    <a:pt x="36" y="1187"/>
                  </a:cubicBezTo>
                  <a:cubicBezTo>
                    <a:pt x="35" y="1189"/>
                    <a:pt x="31" y="1192"/>
                    <a:pt x="30" y="1195"/>
                  </a:cubicBezTo>
                  <a:cubicBezTo>
                    <a:pt x="30" y="1197"/>
                    <a:pt x="30" y="1200"/>
                    <a:pt x="30" y="1202"/>
                  </a:cubicBezTo>
                  <a:cubicBezTo>
                    <a:pt x="30" y="1210"/>
                    <a:pt x="33" y="1218"/>
                    <a:pt x="33" y="1226"/>
                  </a:cubicBezTo>
                  <a:cubicBezTo>
                    <a:pt x="33" y="1235"/>
                    <a:pt x="33" y="1244"/>
                    <a:pt x="30" y="1253"/>
                  </a:cubicBezTo>
                  <a:cubicBezTo>
                    <a:pt x="29" y="1258"/>
                    <a:pt x="30" y="1262"/>
                    <a:pt x="29" y="1266"/>
                  </a:cubicBezTo>
                  <a:cubicBezTo>
                    <a:pt x="28" y="1270"/>
                    <a:pt x="26" y="1274"/>
                    <a:pt x="21" y="1273"/>
                  </a:cubicBezTo>
                  <a:cubicBezTo>
                    <a:pt x="20" y="1273"/>
                    <a:pt x="21" y="1271"/>
                    <a:pt x="19" y="1271"/>
                  </a:cubicBezTo>
                  <a:cubicBezTo>
                    <a:pt x="18" y="1270"/>
                    <a:pt x="17" y="1270"/>
                    <a:pt x="16" y="1270"/>
                  </a:cubicBezTo>
                  <a:cubicBezTo>
                    <a:pt x="13" y="1268"/>
                    <a:pt x="13" y="1265"/>
                    <a:pt x="12" y="1262"/>
                  </a:cubicBezTo>
                  <a:cubicBezTo>
                    <a:pt x="11" y="1259"/>
                    <a:pt x="11" y="1253"/>
                    <a:pt x="8" y="1252"/>
                  </a:cubicBezTo>
                  <a:cubicBezTo>
                    <a:pt x="6" y="1251"/>
                    <a:pt x="3" y="1253"/>
                    <a:pt x="2" y="1254"/>
                  </a:cubicBezTo>
                  <a:cubicBezTo>
                    <a:pt x="2" y="1254"/>
                    <a:pt x="2" y="1255"/>
                    <a:pt x="2" y="125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1" name="Freeform 61">
              <a:extLst>
                <a:ext uri="{FF2B5EF4-FFF2-40B4-BE49-F238E27FC236}">
                  <a16:creationId xmlns:a16="http://schemas.microsoft.com/office/drawing/2014/main" id="{6CB452FA-2403-425A-AC28-4C2657F1F6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0188" y="3175000"/>
              <a:ext cx="106363" cy="204788"/>
            </a:xfrm>
            <a:custGeom>
              <a:avLst/>
              <a:gdLst/>
              <a:ahLst/>
              <a:cxnLst>
                <a:cxn ang="0">
                  <a:pos x="55" y="10"/>
                </a:cxn>
                <a:cxn ang="0">
                  <a:pos x="55" y="23"/>
                </a:cxn>
                <a:cxn ang="0">
                  <a:pos x="49" y="25"/>
                </a:cxn>
                <a:cxn ang="0">
                  <a:pos x="46" y="27"/>
                </a:cxn>
                <a:cxn ang="0">
                  <a:pos x="43" y="28"/>
                </a:cxn>
                <a:cxn ang="0">
                  <a:pos x="42" y="39"/>
                </a:cxn>
                <a:cxn ang="0">
                  <a:pos x="42" y="51"/>
                </a:cxn>
                <a:cxn ang="0">
                  <a:pos x="46" y="54"/>
                </a:cxn>
                <a:cxn ang="0">
                  <a:pos x="44" y="61"/>
                </a:cxn>
                <a:cxn ang="0">
                  <a:pos x="39" y="64"/>
                </a:cxn>
                <a:cxn ang="0">
                  <a:pos x="39" y="68"/>
                </a:cxn>
                <a:cxn ang="0">
                  <a:pos x="38" y="72"/>
                </a:cxn>
                <a:cxn ang="0">
                  <a:pos x="35" y="79"/>
                </a:cxn>
                <a:cxn ang="0">
                  <a:pos x="29" y="84"/>
                </a:cxn>
                <a:cxn ang="0">
                  <a:pos x="24" y="87"/>
                </a:cxn>
                <a:cxn ang="0">
                  <a:pos x="18" y="92"/>
                </a:cxn>
                <a:cxn ang="0">
                  <a:pos x="15" y="98"/>
                </a:cxn>
                <a:cxn ang="0">
                  <a:pos x="6" y="107"/>
                </a:cxn>
                <a:cxn ang="0">
                  <a:pos x="4" y="105"/>
                </a:cxn>
                <a:cxn ang="0">
                  <a:pos x="5" y="101"/>
                </a:cxn>
                <a:cxn ang="0">
                  <a:pos x="7" y="94"/>
                </a:cxn>
                <a:cxn ang="0">
                  <a:pos x="4" y="86"/>
                </a:cxn>
                <a:cxn ang="0">
                  <a:pos x="1" y="77"/>
                </a:cxn>
                <a:cxn ang="0">
                  <a:pos x="1" y="67"/>
                </a:cxn>
                <a:cxn ang="0">
                  <a:pos x="3" y="59"/>
                </a:cxn>
                <a:cxn ang="0">
                  <a:pos x="2" y="45"/>
                </a:cxn>
                <a:cxn ang="0">
                  <a:pos x="7" y="41"/>
                </a:cxn>
                <a:cxn ang="0">
                  <a:pos x="13" y="35"/>
                </a:cxn>
                <a:cxn ang="0">
                  <a:pos x="13" y="22"/>
                </a:cxn>
                <a:cxn ang="0">
                  <a:pos x="37" y="5"/>
                </a:cxn>
                <a:cxn ang="0">
                  <a:pos x="42" y="6"/>
                </a:cxn>
                <a:cxn ang="0">
                  <a:pos x="47" y="3"/>
                </a:cxn>
                <a:cxn ang="0">
                  <a:pos x="55" y="6"/>
                </a:cxn>
                <a:cxn ang="0">
                  <a:pos x="55" y="10"/>
                </a:cxn>
              </a:cxnLst>
              <a:rect l="0" t="0" r="r" b="b"/>
              <a:pathLst>
                <a:path w="57" h="109">
                  <a:moveTo>
                    <a:pt x="55" y="10"/>
                  </a:moveTo>
                  <a:cubicBezTo>
                    <a:pt x="55" y="13"/>
                    <a:pt x="57" y="20"/>
                    <a:pt x="55" y="23"/>
                  </a:cubicBezTo>
                  <a:cubicBezTo>
                    <a:pt x="54" y="26"/>
                    <a:pt x="51" y="24"/>
                    <a:pt x="49" y="25"/>
                  </a:cubicBezTo>
                  <a:cubicBezTo>
                    <a:pt x="48" y="26"/>
                    <a:pt x="46" y="27"/>
                    <a:pt x="46" y="27"/>
                  </a:cubicBezTo>
                  <a:cubicBezTo>
                    <a:pt x="44" y="27"/>
                    <a:pt x="45" y="26"/>
                    <a:pt x="43" y="28"/>
                  </a:cubicBezTo>
                  <a:cubicBezTo>
                    <a:pt x="39" y="31"/>
                    <a:pt x="42" y="36"/>
                    <a:pt x="42" y="39"/>
                  </a:cubicBezTo>
                  <a:cubicBezTo>
                    <a:pt x="42" y="43"/>
                    <a:pt x="40" y="47"/>
                    <a:pt x="42" y="51"/>
                  </a:cubicBezTo>
                  <a:cubicBezTo>
                    <a:pt x="43" y="53"/>
                    <a:pt x="45" y="52"/>
                    <a:pt x="46" y="54"/>
                  </a:cubicBezTo>
                  <a:cubicBezTo>
                    <a:pt x="48" y="55"/>
                    <a:pt x="45" y="59"/>
                    <a:pt x="44" y="61"/>
                  </a:cubicBezTo>
                  <a:cubicBezTo>
                    <a:pt x="43" y="62"/>
                    <a:pt x="40" y="62"/>
                    <a:pt x="39" y="64"/>
                  </a:cubicBezTo>
                  <a:cubicBezTo>
                    <a:pt x="38" y="65"/>
                    <a:pt x="39" y="67"/>
                    <a:pt x="39" y="68"/>
                  </a:cubicBezTo>
                  <a:cubicBezTo>
                    <a:pt x="39" y="69"/>
                    <a:pt x="38" y="70"/>
                    <a:pt x="38" y="72"/>
                  </a:cubicBezTo>
                  <a:cubicBezTo>
                    <a:pt x="37" y="74"/>
                    <a:pt x="37" y="77"/>
                    <a:pt x="35" y="79"/>
                  </a:cubicBezTo>
                  <a:cubicBezTo>
                    <a:pt x="34" y="81"/>
                    <a:pt x="31" y="83"/>
                    <a:pt x="29" y="84"/>
                  </a:cubicBezTo>
                  <a:cubicBezTo>
                    <a:pt x="27" y="86"/>
                    <a:pt x="26" y="86"/>
                    <a:pt x="24" y="87"/>
                  </a:cubicBezTo>
                  <a:cubicBezTo>
                    <a:pt x="21" y="88"/>
                    <a:pt x="20" y="90"/>
                    <a:pt x="18" y="92"/>
                  </a:cubicBezTo>
                  <a:cubicBezTo>
                    <a:pt x="14" y="94"/>
                    <a:pt x="15" y="94"/>
                    <a:pt x="15" y="98"/>
                  </a:cubicBezTo>
                  <a:cubicBezTo>
                    <a:pt x="15" y="102"/>
                    <a:pt x="12" y="109"/>
                    <a:pt x="6" y="107"/>
                  </a:cubicBezTo>
                  <a:cubicBezTo>
                    <a:pt x="4" y="106"/>
                    <a:pt x="5" y="108"/>
                    <a:pt x="4" y="105"/>
                  </a:cubicBezTo>
                  <a:cubicBezTo>
                    <a:pt x="3" y="103"/>
                    <a:pt x="4" y="102"/>
                    <a:pt x="5" y="101"/>
                  </a:cubicBezTo>
                  <a:cubicBezTo>
                    <a:pt x="6" y="98"/>
                    <a:pt x="7" y="97"/>
                    <a:pt x="7" y="94"/>
                  </a:cubicBezTo>
                  <a:cubicBezTo>
                    <a:pt x="8" y="91"/>
                    <a:pt x="6" y="89"/>
                    <a:pt x="4" y="86"/>
                  </a:cubicBezTo>
                  <a:cubicBezTo>
                    <a:pt x="3" y="83"/>
                    <a:pt x="2" y="80"/>
                    <a:pt x="1" y="77"/>
                  </a:cubicBezTo>
                  <a:cubicBezTo>
                    <a:pt x="1" y="74"/>
                    <a:pt x="0" y="71"/>
                    <a:pt x="1" y="67"/>
                  </a:cubicBezTo>
                  <a:cubicBezTo>
                    <a:pt x="1" y="64"/>
                    <a:pt x="3" y="62"/>
                    <a:pt x="3" y="59"/>
                  </a:cubicBezTo>
                  <a:cubicBezTo>
                    <a:pt x="2" y="55"/>
                    <a:pt x="0" y="48"/>
                    <a:pt x="2" y="45"/>
                  </a:cubicBezTo>
                  <a:cubicBezTo>
                    <a:pt x="4" y="43"/>
                    <a:pt x="6" y="42"/>
                    <a:pt x="7" y="41"/>
                  </a:cubicBezTo>
                  <a:cubicBezTo>
                    <a:pt x="9" y="39"/>
                    <a:pt x="11" y="37"/>
                    <a:pt x="13" y="35"/>
                  </a:cubicBezTo>
                  <a:cubicBezTo>
                    <a:pt x="16" y="32"/>
                    <a:pt x="14" y="27"/>
                    <a:pt x="13" y="22"/>
                  </a:cubicBezTo>
                  <a:cubicBezTo>
                    <a:pt x="7" y="8"/>
                    <a:pt x="37" y="17"/>
                    <a:pt x="37" y="5"/>
                  </a:cubicBezTo>
                  <a:cubicBezTo>
                    <a:pt x="39" y="4"/>
                    <a:pt x="40" y="6"/>
                    <a:pt x="42" y="6"/>
                  </a:cubicBezTo>
                  <a:cubicBezTo>
                    <a:pt x="45" y="6"/>
                    <a:pt x="45" y="5"/>
                    <a:pt x="47" y="3"/>
                  </a:cubicBezTo>
                  <a:cubicBezTo>
                    <a:pt x="51" y="0"/>
                    <a:pt x="55" y="1"/>
                    <a:pt x="55" y="6"/>
                  </a:cubicBezTo>
                  <a:lnTo>
                    <a:pt x="55" y="1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2" name="Freeform 62">
              <a:extLst>
                <a:ext uri="{FF2B5EF4-FFF2-40B4-BE49-F238E27FC236}">
                  <a16:creationId xmlns:a16="http://schemas.microsoft.com/office/drawing/2014/main" id="{8FF2915A-A277-4D32-9A7A-2420F751C9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4025" y="330200"/>
              <a:ext cx="1131888" cy="2497138"/>
            </a:xfrm>
            <a:custGeom>
              <a:avLst/>
              <a:gdLst/>
              <a:ahLst/>
              <a:cxnLst>
                <a:cxn ang="0">
                  <a:pos x="479" y="128"/>
                </a:cxn>
                <a:cxn ang="0">
                  <a:pos x="589" y="963"/>
                </a:cxn>
                <a:cxn ang="0">
                  <a:pos x="528" y="880"/>
                </a:cxn>
                <a:cxn ang="0">
                  <a:pos x="530" y="815"/>
                </a:cxn>
                <a:cxn ang="0">
                  <a:pos x="520" y="761"/>
                </a:cxn>
                <a:cxn ang="0">
                  <a:pos x="501" y="712"/>
                </a:cxn>
                <a:cxn ang="0">
                  <a:pos x="502" y="654"/>
                </a:cxn>
                <a:cxn ang="0">
                  <a:pos x="513" y="378"/>
                </a:cxn>
                <a:cxn ang="0">
                  <a:pos x="491" y="323"/>
                </a:cxn>
                <a:cxn ang="0">
                  <a:pos x="441" y="261"/>
                </a:cxn>
                <a:cxn ang="0">
                  <a:pos x="437" y="185"/>
                </a:cxn>
                <a:cxn ang="0">
                  <a:pos x="458" y="162"/>
                </a:cxn>
                <a:cxn ang="0">
                  <a:pos x="452" y="133"/>
                </a:cxn>
                <a:cxn ang="0">
                  <a:pos x="471" y="84"/>
                </a:cxn>
                <a:cxn ang="0">
                  <a:pos x="434" y="45"/>
                </a:cxn>
                <a:cxn ang="0">
                  <a:pos x="414" y="17"/>
                </a:cxn>
                <a:cxn ang="0">
                  <a:pos x="393" y="3"/>
                </a:cxn>
                <a:cxn ang="0">
                  <a:pos x="374" y="14"/>
                </a:cxn>
                <a:cxn ang="0">
                  <a:pos x="339" y="26"/>
                </a:cxn>
                <a:cxn ang="0">
                  <a:pos x="306" y="64"/>
                </a:cxn>
                <a:cxn ang="0">
                  <a:pos x="292" y="86"/>
                </a:cxn>
                <a:cxn ang="0">
                  <a:pos x="287" y="167"/>
                </a:cxn>
                <a:cxn ang="0">
                  <a:pos x="271" y="186"/>
                </a:cxn>
                <a:cxn ang="0">
                  <a:pos x="256" y="203"/>
                </a:cxn>
                <a:cxn ang="0">
                  <a:pos x="248" y="210"/>
                </a:cxn>
                <a:cxn ang="0">
                  <a:pos x="232" y="220"/>
                </a:cxn>
                <a:cxn ang="0">
                  <a:pos x="200" y="203"/>
                </a:cxn>
                <a:cxn ang="0">
                  <a:pos x="172" y="215"/>
                </a:cxn>
                <a:cxn ang="0">
                  <a:pos x="142" y="217"/>
                </a:cxn>
                <a:cxn ang="0">
                  <a:pos x="105" y="211"/>
                </a:cxn>
                <a:cxn ang="0">
                  <a:pos x="93" y="174"/>
                </a:cxn>
                <a:cxn ang="0">
                  <a:pos x="67" y="135"/>
                </a:cxn>
                <a:cxn ang="0">
                  <a:pos x="34" y="151"/>
                </a:cxn>
                <a:cxn ang="0">
                  <a:pos x="0" y="158"/>
                </a:cxn>
                <a:cxn ang="0">
                  <a:pos x="22" y="179"/>
                </a:cxn>
                <a:cxn ang="0">
                  <a:pos x="66" y="225"/>
                </a:cxn>
                <a:cxn ang="0">
                  <a:pos x="105" y="243"/>
                </a:cxn>
                <a:cxn ang="0">
                  <a:pos x="144" y="280"/>
                </a:cxn>
                <a:cxn ang="0">
                  <a:pos x="170" y="319"/>
                </a:cxn>
                <a:cxn ang="0">
                  <a:pos x="167" y="378"/>
                </a:cxn>
                <a:cxn ang="0">
                  <a:pos x="175" y="410"/>
                </a:cxn>
                <a:cxn ang="0">
                  <a:pos x="190" y="485"/>
                </a:cxn>
                <a:cxn ang="0">
                  <a:pos x="180" y="558"/>
                </a:cxn>
                <a:cxn ang="0">
                  <a:pos x="196" y="616"/>
                </a:cxn>
                <a:cxn ang="0">
                  <a:pos x="262" y="666"/>
                </a:cxn>
                <a:cxn ang="0">
                  <a:pos x="261" y="726"/>
                </a:cxn>
                <a:cxn ang="0">
                  <a:pos x="222" y="758"/>
                </a:cxn>
                <a:cxn ang="0">
                  <a:pos x="164" y="841"/>
                </a:cxn>
                <a:cxn ang="0">
                  <a:pos x="124" y="871"/>
                </a:cxn>
                <a:cxn ang="0">
                  <a:pos x="96" y="932"/>
                </a:cxn>
                <a:cxn ang="0">
                  <a:pos x="50" y="969"/>
                </a:cxn>
                <a:cxn ang="0">
                  <a:pos x="43" y="1013"/>
                </a:cxn>
                <a:cxn ang="0">
                  <a:pos x="60" y="1098"/>
                </a:cxn>
                <a:cxn ang="0">
                  <a:pos x="61" y="1178"/>
                </a:cxn>
                <a:cxn ang="0">
                  <a:pos x="50" y="1251"/>
                </a:cxn>
                <a:cxn ang="0">
                  <a:pos x="87" y="1294"/>
                </a:cxn>
                <a:cxn ang="0">
                  <a:pos x="130" y="1311"/>
                </a:cxn>
                <a:cxn ang="0">
                  <a:pos x="167" y="1328"/>
                </a:cxn>
                <a:cxn ang="0">
                  <a:pos x="210" y="1302"/>
                </a:cxn>
                <a:cxn ang="0">
                  <a:pos x="282" y="1292"/>
                </a:cxn>
                <a:cxn ang="0">
                  <a:pos x="347" y="1265"/>
                </a:cxn>
                <a:cxn ang="0">
                  <a:pos x="401" y="1244"/>
                </a:cxn>
                <a:cxn ang="0">
                  <a:pos x="494" y="1162"/>
                </a:cxn>
              </a:cxnLst>
              <a:rect l="0" t="0" r="r" b="b"/>
              <a:pathLst>
                <a:path w="605" h="1336">
                  <a:moveTo>
                    <a:pt x="477" y="135"/>
                  </a:moveTo>
                  <a:cubicBezTo>
                    <a:pt x="480" y="130"/>
                    <a:pt x="483" y="125"/>
                    <a:pt x="486" y="120"/>
                  </a:cubicBezTo>
                  <a:cubicBezTo>
                    <a:pt x="484" y="120"/>
                    <a:pt x="483" y="120"/>
                    <a:pt x="481" y="121"/>
                  </a:cubicBezTo>
                  <a:cubicBezTo>
                    <a:pt x="480" y="122"/>
                    <a:pt x="479" y="123"/>
                    <a:pt x="478" y="124"/>
                  </a:cubicBezTo>
                  <a:cubicBezTo>
                    <a:pt x="478" y="125"/>
                    <a:pt x="479" y="127"/>
                    <a:pt x="479" y="128"/>
                  </a:cubicBezTo>
                  <a:cubicBezTo>
                    <a:pt x="478" y="130"/>
                    <a:pt x="478" y="133"/>
                    <a:pt x="477" y="135"/>
                  </a:cubicBezTo>
                  <a:moveTo>
                    <a:pt x="603" y="991"/>
                  </a:moveTo>
                  <a:cubicBezTo>
                    <a:pt x="603" y="988"/>
                    <a:pt x="602" y="986"/>
                    <a:pt x="600" y="983"/>
                  </a:cubicBezTo>
                  <a:cubicBezTo>
                    <a:pt x="598" y="979"/>
                    <a:pt x="595" y="976"/>
                    <a:pt x="594" y="972"/>
                  </a:cubicBezTo>
                  <a:cubicBezTo>
                    <a:pt x="592" y="968"/>
                    <a:pt x="592" y="967"/>
                    <a:pt x="589" y="963"/>
                  </a:cubicBezTo>
                  <a:cubicBezTo>
                    <a:pt x="586" y="959"/>
                    <a:pt x="584" y="953"/>
                    <a:pt x="583" y="949"/>
                  </a:cubicBezTo>
                  <a:cubicBezTo>
                    <a:pt x="580" y="942"/>
                    <a:pt x="576" y="936"/>
                    <a:pt x="573" y="929"/>
                  </a:cubicBezTo>
                  <a:cubicBezTo>
                    <a:pt x="566" y="917"/>
                    <a:pt x="553" y="908"/>
                    <a:pt x="544" y="898"/>
                  </a:cubicBezTo>
                  <a:cubicBezTo>
                    <a:pt x="541" y="893"/>
                    <a:pt x="537" y="891"/>
                    <a:pt x="533" y="887"/>
                  </a:cubicBezTo>
                  <a:cubicBezTo>
                    <a:pt x="530" y="885"/>
                    <a:pt x="528" y="884"/>
                    <a:pt x="528" y="880"/>
                  </a:cubicBezTo>
                  <a:cubicBezTo>
                    <a:pt x="527" y="878"/>
                    <a:pt x="529" y="874"/>
                    <a:pt x="529" y="872"/>
                  </a:cubicBezTo>
                  <a:cubicBezTo>
                    <a:pt x="529" y="868"/>
                    <a:pt x="529" y="865"/>
                    <a:pt x="530" y="862"/>
                  </a:cubicBezTo>
                  <a:cubicBezTo>
                    <a:pt x="533" y="852"/>
                    <a:pt x="530" y="841"/>
                    <a:pt x="535" y="832"/>
                  </a:cubicBezTo>
                  <a:cubicBezTo>
                    <a:pt x="540" y="821"/>
                    <a:pt x="535" y="834"/>
                    <a:pt x="532" y="823"/>
                  </a:cubicBezTo>
                  <a:cubicBezTo>
                    <a:pt x="531" y="821"/>
                    <a:pt x="531" y="818"/>
                    <a:pt x="530" y="815"/>
                  </a:cubicBezTo>
                  <a:cubicBezTo>
                    <a:pt x="526" y="806"/>
                    <a:pt x="519" y="800"/>
                    <a:pt x="514" y="792"/>
                  </a:cubicBezTo>
                  <a:cubicBezTo>
                    <a:pt x="513" y="791"/>
                    <a:pt x="513" y="789"/>
                    <a:pt x="512" y="788"/>
                  </a:cubicBezTo>
                  <a:cubicBezTo>
                    <a:pt x="511" y="786"/>
                    <a:pt x="510" y="789"/>
                    <a:pt x="510" y="786"/>
                  </a:cubicBezTo>
                  <a:cubicBezTo>
                    <a:pt x="509" y="783"/>
                    <a:pt x="513" y="780"/>
                    <a:pt x="514" y="778"/>
                  </a:cubicBezTo>
                  <a:cubicBezTo>
                    <a:pt x="517" y="772"/>
                    <a:pt x="518" y="766"/>
                    <a:pt x="520" y="761"/>
                  </a:cubicBezTo>
                  <a:cubicBezTo>
                    <a:pt x="521" y="759"/>
                    <a:pt x="524" y="758"/>
                    <a:pt x="522" y="755"/>
                  </a:cubicBezTo>
                  <a:cubicBezTo>
                    <a:pt x="519" y="750"/>
                    <a:pt x="509" y="749"/>
                    <a:pt x="504" y="746"/>
                  </a:cubicBezTo>
                  <a:cubicBezTo>
                    <a:pt x="500" y="742"/>
                    <a:pt x="497" y="738"/>
                    <a:pt x="495" y="733"/>
                  </a:cubicBezTo>
                  <a:cubicBezTo>
                    <a:pt x="493" y="729"/>
                    <a:pt x="492" y="719"/>
                    <a:pt x="494" y="714"/>
                  </a:cubicBezTo>
                  <a:cubicBezTo>
                    <a:pt x="495" y="710"/>
                    <a:pt x="497" y="713"/>
                    <a:pt x="501" y="712"/>
                  </a:cubicBezTo>
                  <a:cubicBezTo>
                    <a:pt x="505" y="711"/>
                    <a:pt x="503" y="710"/>
                    <a:pt x="505" y="708"/>
                  </a:cubicBezTo>
                  <a:cubicBezTo>
                    <a:pt x="509" y="703"/>
                    <a:pt x="510" y="699"/>
                    <a:pt x="505" y="693"/>
                  </a:cubicBezTo>
                  <a:cubicBezTo>
                    <a:pt x="502" y="691"/>
                    <a:pt x="500" y="691"/>
                    <a:pt x="499" y="688"/>
                  </a:cubicBezTo>
                  <a:cubicBezTo>
                    <a:pt x="497" y="685"/>
                    <a:pt x="499" y="679"/>
                    <a:pt x="499" y="676"/>
                  </a:cubicBezTo>
                  <a:cubicBezTo>
                    <a:pt x="499" y="668"/>
                    <a:pt x="498" y="661"/>
                    <a:pt x="502" y="654"/>
                  </a:cubicBezTo>
                  <a:cubicBezTo>
                    <a:pt x="504" y="651"/>
                    <a:pt x="504" y="652"/>
                    <a:pt x="505" y="649"/>
                  </a:cubicBezTo>
                  <a:cubicBezTo>
                    <a:pt x="505" y="646"/>
                    <a:pt x="504" y="643"/>
                    <a:pt x="506" y="640"/>
                  </a:cubicBezTo>
                  <a:cubicBezTo>
                    <a:pt x="512" y="633"/>
                    <a:pt x="530" y="647"/>
                    <a:pt x="516" y="607"/>
                  </a:cubicBezTo>
                  <a:cubicBezTo>
                    <a:pt x="514" y="599"/>
                    <a:pt x="460" y="469"/>
                    <a:pt x="462" y="461"/>
                  </a:cubicBezTo>
                  <a:cubicBezTo>
                    <a:pt x="464" y="455"/>
                    <a:pt x="508" y="393"/>
                    <a:pt x="513" y="378"/>
                  </a:cubicBezTo>
                  <a:cubicBezTo>
                    <a:pt x="515" y="372"/>
                    <a:pt x="519" y="366"/>
                    <a:pt x="515" y="359"/>
                  </a:cubicBezTo>
                  <a:cubicBezTo>
                    <a:pt x="514" y="357"/>
                    <a:pt x="511" y="355"/>
                    <a:pt x="509" y="353"/>
                  </a:cubicBezTo>
                  <a:cubicBezTo>
                    <a:pt x="507" y="351"/>
                    <a:pt x="506" y="349"/>
                    <a:pt x="504" y="346"/>
                  </a:cubicBezTo>
                  <a:cubicBezTo>
                    <a:pt x="503" y="343"/>
                    <a:pt x="500" y="340"/>
                    <a:pt x="498" y="337"/>
                  </a:cubicBezTo>
                  <a:cubicBezTo>
                    <a:pt x="496" y="332"/>
                    <a:pt x="493" y="327"/>
                    <a:pt x="491" y="323"/>
                  </a:cubicBezTo>
                  <a:cubicBezTo>
                    <a:pt x="488" y="316"/>
                    <a:pt x="484" y="312"/>
                    <a:pt x="479" y="307"/>
                  </a:cubicBezTo>
                  <a:cubicBezTo>
                    <a:pt x="476" y="304"/>
                    <a:pt x="477" y="304"/>
                    <a:pt x="472" y="302"/>
                  </a:cubicBezTo>
                  <a:cubicBezTo>
                    <a:pt x="470" y="301"/>
                    <a:pt x="468" y="299"/>
                    <a:pt x="466" y="297"/>
                  </a:cubicBezTo>
                  <a:cubicBezTo>
                    <a:pt x="458" y="292"/>
                    <a:pt x="449" y="293"/>
                    <a:pt x="444" y="284"/>
                  </a:cubicBezTo>
                  <a:cubicBezTo>
                    <a:pt x="440" y="277"/>
                    <a:pt x="441" y="269"/>
                    <a:pt x="441" y="261"/>
                  </a:cubicBezTo>
                  <a:cubicBezTo>
                    <a:pt x="441" y="252"/>
                    <a:pt x="441" y="243"/>
                    <a:pt x="441" y="235"/>
                  </a:cubicBezTo>
                  <a:cubicBezTo>
                    <a:pt x="441" y="226"/>
                    <a:pt x="443" y="219"/>
                    <a:pt x="444" y="211"/>
                  </a:cubicBezTo>
                  <a:cubicBezTo>
                    <a:pt x="446" y="203"/>
                    <a:pt x="445" y="194"/>
                    <a:pt x="449" y="188"/>
                  </a:cubicBezTo>
                  <a:cubicBezTo>
                    <a:pt x="447" y="188"/>
                    <a:pt x="447" y="188"/>
                    <a:pt x="447" y="188"/>
                  </a:cubicBezTo>
                  <a:cubicBezTo>
                    <a:pt x="443" y="188"/>
                    <a:pt x="434" y="189"/>
                    <a:pt x="437" y="185"/>
                  </a:cubicBezTo>
                  <a:cubicBezTo>
                    <a:pt x="436" y="185"/>
                    <a:pt x="442" y="181"/>
                    <a:pt x="442" y="181"/>
                  </a:cubicBezTo>
                  <a:cubicBezTo>
                    <a:pt x="446" y="180"/>
                    <a:pt x="445" y="182"/>
                    <a:pt x="448" y="178"/>
                  </a:cubicBezTo>
                  <a:cubicBezTo>
                    <a:pt x="452" y="174"/>
                    <a:pt x="457" y="171"/>
                    <a:pt x="460" y="166"/>
                  </a:cubicBezTo>
                  <a:cubicBezTo>
                    <a:pt x="461" y="165"/>
                    <a:pt x="462" y="164"/>
                    <a:pt x="462" y="163"/>
                  </a:cubicBezTo>
                  <a:cubicBezTo>
                    <a:pt x="461" y="163"/>
                    <a:pt x="459" y="164"/>
                    <a:pt x="458" y="162"/>
                  </a:cubicBezTo>
                  <a:cubicBezTo>
                    <a:pt x="456" y="161"/>
                    <a:pt x="455" y="159"/>
                    <a:pt x="454" y="158"/>
                  </a:cubicBezTo>
                  <a:cubicBezTo>
                    <a:pt x="453" y="156"/>
                    <a:pt x="452" y="154"/>
                    <a:pt x="451" y="152"/>
                  </a:cubicBezTo>
                  <a:cubicBezTo>
                    <a:pt x="450" y="150"/>
                    <a:pt x="450" y="148"/>
                    <a:pt x="449" y="147"/>
                  </a:cubicBezTo>
                  <a:cubicBezTo>
                    <a:pt x="447" y="143"/>
                    <a:pt x="448" y="140"/>
                    <a:pt x="450" y="136"/>
                  </a:cubicBezTo>
                  <a:cubicBezTo>
                    <a:pt x="450" y="135"/>
                    <a:pt x="451" y="134"/>
                    <a:pt x="452" y="133"/>
                  </a:cubicBezTo>
                  <a:cubicBezTo>
                    <a:pt x="454" y="130"/>
                    <a:pt x="455" y="127"/>
                    <a:pt x="456" y="125"/>
                  </a:cubicBezTo>
                  <a:cubicBezTo>
                    <a:pt x="460" y="118"/>
                    <a:pt x="463" y="112"/>
                    <a:pt x="467" y="107"/>
                  </a:cubicBezTo>
                  <a:cubicBezTo>
                    <a:pt x="469" y="104"/>
                    <a:pt x="470" y="102"/>
                    <a:pt x="472" y="100"/>
                  </a:cubicBezTo>
                  <a:cubicBezTo>
                    <a:pt x="473" y="98"/>
                    <a:pt x="474" y="96"/>
                    <a:pt x="474" y="94"/>
                  </a:cubicBezTo>
                  <a:cubicBezTo>
                    <a:pt x="474" y="91"/>
                    <a:pt x="472" y="87"/>
                    <a:pt x="471" y="84"/>
                  </a:cubicBezTo>
                  <a:cubicBezTo>
                    <a:pt x="469" y="80"/>
                    <a:pt x="468" y="77"/>
                    <a:pt x="467" y="73"/>
                  </a:cubicBezTo>
                  <a:cubicBezTo>
                    <a:pt x="466" y="72"/>
                    <a:pt x="466" y="70"/>
                    <a:pt x="466" y="69"/>
                  </a:cubicBezTo>
                  <a:cubicBezTo>
                    <a:pt x="465" y="67"/>
                    <a:pt x="464" y="66"/>
                    <a:pt x="462" y="65"/>
                  </a:cubicBezTo>
                  <a:cubicBezTo>
                    <a:pt x="458" y="63"/>
                    <a:pt x="456" y="59"/>
                    <a:pt x="452" y="56"/>
                  </a:cubicBezTo>
                  <a:cubicBezTo>
                    <a:pt x="447" y="51"/>
                    <a:pt x="441" y="48"/>
                    <a:pt x="434" y="45"/>
                  </a:cubicBezTo>
                  <a:cubicBezTo>
                    <a:pt x="432" y="43"/>
                    <a:pt x="431" y="42"/>
                    <a:pt x="430" y="40"/>
                  </a:cubicBezTo>
                  <a:cubicBezTo>
                    <a:pt x="429" y="39"/>
                    <a:pt x="428" y="37"/>
                    <a:pt x="428" y="36"/>
                  </a:cubicBezTo>
                  <a:cubicBezTo>
                    <a:pt x="426" y="34"/>
                    <a:pt x="425" y="32"/>
                    <a:pt x="423" y="29"/>
                  </a:cubicBezTo>
                  <a:cubicBezTo>
                    <a:pt x="422" y="26"/>
                    <a:pt x="419" y="24"/>
                    <a:pt x="417" y="21"/>
                  </a:cubicBezTo>
                  <a:cubicBezTo>
                    <a:pt x="417" y="21"/>
                    <a:pt x="415" y="18"/>
                    <a:pt x="414" y="17"/>
                  </a:cubicBezTo>
                  <a:cubicBezTo>
                    <a:pt x="412" y="16"/>
                    <a:pt x="410" y="17"/>
                    <a:pt x="409" y="14"/>
                  </a:cubicBezTo>
                  <a:cubicBezTo>
                    <a:pt x="408" y="13"/>
                    <a:pt x="409" y="10"/>
                    <a:pt x="409" y="9"/>
                  </a:cubicBezTo>
                  <a:cubicBezTo>
                    <a:pt x="409" y="8"/>
                    <a:pt x="408" y="5"/>
                    <a:pt x="407" y="5"/>
                  </a:cubicBezTo>
                  <a:cubicBezTo>
                    <a:pt x="405" y="2"/>
                    <a:pt x="408" y="4"/>
                    <a:pt x="404" y="3"/>
                  </a:cubicBezTo>
                  <a:cubicBezTo>
                    <a:pt x="401" y="3"/>
                    <a:pt x="397" y="5"/>
                    <a:pt x="393" y="3"/>
                  </a:cubicBezTo>
                  <a:cubicBezTo>
                    <a:pt x="392" y="2"/>
                    <a:pt x="392" y="1"/>
                    <a:pt x="390" y="0"/>
                  </a:cubicBezTo>
                  <a:cubicBezTo>
                    <a:pt x="389" y="1"/>
                    <a:pt x="388" y="1"/>
                    <a:pt x="387" y="1"/>
                  </a:cubicBezTo>
                  <a:cubicBezTo>
                    <a:pt x="386" y="1"/>
                    <a:pt x="385" y="2"/>
                    <a:pt x="385" y="2"/>
                  </a:cubicBezTo>
                  <a:cubicBezTo>
                    <a:pt x="382" y="4"/>
                    <a:pt x="381" y="7"/>
                    <a:pt x="379" y="9"/>
                  </a:cubicBezTo>
                  <a:cubicBezTo>
                    <a:pt x="377" y="11"/>
                    <a:pt x="375" y="12"/>
                    <a:pt x="374" y="14"/>
                  </a:cubicBezTo>
                  <a:cubicBezTo>
                    <a:pt x="371" y="17"/>
                    <a:pt x="372" y="21"/>
                    <a:pt x="371" y="25"/>
                  </a:cubicBezTo>
                  <a:cubicBezTo>
                    <a:pt x="368" y="26"/>
                    <a:pt x="365" y="26"/>
                    <a:pt x="362" y="27"/>
                  </a:cubicBezTo>
                  <a:cubicBezTo>
                    <a:pt x="359" y="27"/>
                    <a:pt x="355" y="29"/>
                    <a:pt x="352" y="28"/>
                  </a:cubicBezTo>
                  <a:cubicBezTo>
                    <a:pt x="352" y="28"/>
                    <a:pt x="352" y="26"/>
                    <a:pt x="352" y="26"/>
                  </a:cubicBezTo>
                  <a:cubicBezTo>
                    <a:pt x="348" y="25"/>
                    <a:pt x="343" y="26"/>
                    <a:pt x="339" y="26"/>
                  </a:cubicBezTo>
                  <a:cubicBezTo>
                    <a:pt x="335" y="26"/>
                    <a:pt x="330" y="25"/>
                    <a:pt x="326" y="27"/>
                  </a:cubicBezTo>
                  <a:cubicBezTo>
                    <a:pt x="321" y="30"/>
                    <a:pt x="315" y="36"/>
                    <a:pt x="312" y="41"/>
                  </a:cubicBezTo>
                  <a:cubicBezTo>
                    <a:pt x="311" y="43"/>
                    <a:pt x="311" y="46"/>
                    <a:pt x="309" y="48"/>
                  </a:cubicBezTo>
                  <a:cubicBezTo>
                    <a:pt x="308" y="49"/>
                    <a:pt x="307" y="50"/>
                    <a:pt x="307" y="52"/>
                  </a:cubicBezTo>
                  <a:cubicBezTo>
                    <a:pt x="306" y="56"/>
                    <a:pt x="309" y="61"/>
                    <a:pt x="306" y="64"/>
                  </a:cubicBezTo>
                  <a:cubicBezTo>
                    <a:pt x="303" y="67"/>
                    <a:pt x="297" y="65"/>
                    <a:pt x="295" y="69"/>
                  </a:cubicBezTo>
                  <a:cubicBezTo>
                    <a:pt x="294" y="70"/>
                    <a:pt x="294" y="71"/>
                    <a:pt x="294" y="72"/>
                  </a:cubicBezTo>
                  <a:cubicBezTo>
                    <a:pt x="293" y="73"/>
                    <a:pt x="293" y="73"/>
                    <a:pt x="293" y="74"/>
                  </a:cubicBezTo>
                  <a:cubicBezTo>
                    <a:pt x="292" y="75"/>
                    <a:pt x="293" y="77"/>
                    <a:pt x="293" y="78"/>
                  </a:cubicBezTo>
                  <a:cubicBezTo>
                    <a:pt x="293" y="80"/>
                    <a:pt x="292" y="83"/>
                    <a:pt x="292" y="86"/>
                  </a:cubicBezTo>
                  <a:cubicBezTo>
                    <a:pt x="291" y="91"/>
                    <a:pt x="292" y="97"/>
                    <a:pt x="290" y="102"/>
                  </a:cubicBezTo>
                  <a:cubicBezTo>
                    <a:pt x="289" y="107"/>
                    <a:pt x="288" y="110"/>
                    <a:pt x="288" y="115"/>
                  </a:cubicBezTo>
                  <a:cubicBezTo>
                    <a:pt x="288" y="121"/>
                    <a:pt x="288" y="128"/>
                    <a:pt x="288" y="135"/>
                  </a:cubicBezTo>
                  <a:cubicBezTo>
                    <a:pt x="288" y="143"/>
                    <a:pt x="288" y="152"/>
                    <a:pt x="288" y="160"/>
                  </a:cubicBezTo>
                  <a:cubicBezTo>
                    <a:pt x="288" y="164"/>
                    <a:pt x="288" y="165"/>
                    <a:pt x="287" y="167"/>
                  </a:cubicBezTo>
                  <a:cubicBezTo>
                    <a:pt x="286" y="169"/>
                    <a:pt x="285" y="169"/>
                    <a:pt x="284" y="170"/>
                  </a:cubicBezTo>
                  <a:cubicBezTo>
                    <a:pt x="283" y="172"/>
                    <a:pt x="282" y="175"/>
                    <a:pt x="281" y="177"/>
                  </a:cubicBezTo>
                  <a:cubicBezTo>
                    <a:pt x="280" y="178"/>
                    <a:pt x="279" y="180"/>
                    <a:pt x="278" y="183"/>
                  </a:cubicBezTo>
                  <a:cubicBezTo>
                    <a:pt x="278" y="184"/>
                    <a:pt x="279" y="185"/>
                    <a:pt x="278" y="187"/>
                  </a:cubicBezTo>
                  <a:cubicBezTo>
                    <a:pt x="275" y="187"/>
                    <a:pt x="274" y="186"/>
                    <a:pt x="271" y="186"/>
                  </a:cubicBezTo>
                  <a:cubicBezTo>
                    <a:pt x="268" y="185"/>
                    <a:pt x="268" y="185"/>
                    <a:pt x="266" y="189"/>
                  </a:cubicBezTo>
                  <a:cubicBezTo>
                    <a:pt x="265" y="192"/>
                    <a:pt x="265" y="194"/>
                    <a:pt x="263" y="196"/>
                  </a:cubicBezTo>
                  <a:cubicBezTo>
                    <a:pt x="263" y="196"/>
                    <a:pt x="260" y="198"/>
                    <a:pt x="260" y="198"/>
                  </a:cubicBezTo>
                  <a:cubicBezTo>
                    <a:pt x="260" y="199"/>
                    <a:pt x="259" y="200"/>
                    <a:pt x="258" y="201"/>
                  </a:cubicBezTo>
                  <a:cubicBezTo>
                    <a:pt x="257" y="202"/>
                    <a:pt x="256" y="201"/>
                    <a:pt x="256" y="203"/>
                  </a:cubicBezTo>
                  <a:cubicBezTo>
                    <a:pt x="255" y="203"/>
                    <a:pt x="255" y="202"/>
                    <a:pt x="255" y="201"/>
                  </a:cubicBezTo>
                  <a:cubicBezTo>
                    <a:pt x="254" y="201"/>
                    <a:pt x="254" y="199"/>
                    <a:pt x="252" y="198"/>
                  </a:cubicBezTo>
                  <a:cubicBezTo>
                    <a:pt x="249" y="195"/>
                    <a:pt x="244" y="196"/>
                    <a:pt x="241" y="195"/>
                  </a:cubicBezTo>
                  <a:cubicBezTo>
                    <a:pt x="243" y="198"/>
                    <a:pt x="250" y="201"/>
                    <a:pt x="254" y="201"/>
                  </a:cubicBezTo>
                  <a:cubicBezTo>
                    <a:pt x="252" y="203"/>
                    <a:pt x="249" y="207"/>
                    <a:pt x="248" y="210"/>
                  </a:cubicBezTo>
                  <a:cubicBezTo>
                    <a:pt x="247" y="214"/>
                    <a:pt x="255" y="224"/>
                    <a:pt x="249" y="227"/>
                  </a:cubicBezTo>
                  <a:cubicBezTo>
                    <a:pt x="247" y="228"/>
                    <a:pt x="245" y="226"/>
                    <a:pt x="243" y="228"/>
                  </a:cubicBezTo>
                  <a:cubicBezTo>
                    <a:pt x="241" y="229"/>
                    <a:pt x="241" y="231"/>
                    <a:pt x="239" y="232"/>
                  </a:cubicBezTo>
                  <a:cubicBezTo>
                    <a:pt x="236" y="232"/>
                    <a:pt x="237" y="226"/>
                    <a:pt x="235" y="224"/>
                  </a:cubicBezTo>
                  <a:cubicBezTo>
                    <a:pt x="234" y="223"/>
                    <a:pt x="234" y="221"/>
                    <a:pt x="232" y="220"/>
                  </a:cubicBezTo>
                  <a:cubicBezTo>
                    <a:pt x="229" y="219"/>
                    <a:pt x="225" y="217"/>
                    <a:pt x="222" y="216"/>
                  </a:cubicBezTo>
                  <a:cubicBezTo>
                    <a:pt x="220" y="215"/>
                    <a:pt x="218" y="215"/>
                    <a:pt x="217" y="214"/>
                  </a:cubicBezTo>
                  <a:cubicBezTo>
                    <a:pt x="216" y="213"/>
                    <a:pt x="215" y="213"/>
                    <a:pt x="214" y="213"/>
                  </a:cubicBezTo>
                  <a:cubicBezTo>
                    <a:pt x="214" y="212"/>
                    <a:pt x="213" y="212"/>
                    <a:pt x="213" y="211"/>
                  </a:cubicBezTo>
                  <a:cubicBezTo>
                    <a:pt x="209" y="208"/>
                    <a:pt x="204" y="206"/>
                    <a:pt x="200" y="203"/>
                  </a:cubicBezTo>
                  <a:cubicBezTo>
                    <a:pt x="195" y="200"/>
                    <a:pt x="190" y="196"/>
                    <a:pt x="184" y="196"/>
                  </a:cubicBezTo>
                  <a:cubicBezTo>
                    <a:pt x="183" y="198"/>
                    <a:pt x="183" y="200"/>
                    <a:pt x="182" y="202"/>
                  </a:cubicBezTo>
                  <a:cubicBezTo>
                    <a:pt x="181" y="203"/>
                    <a:pt x="179" y="205"/>
                    <a:pt x="178" y="206"/>
                  </a:cubicBezTo>
                  <a:cubicBezTo>
                    <a:pt x="176" y="209"/>
                    <a:pt x="176" y="212"/>
                    <a:pt x="175" y="214"/>
                  </a:cubicBezTo>
                  <a:cubicBezTo>
                    <a:pt x="174" y="215"/>
                    <a:pt x="172" y="214"/>
                    <a:pt x="172" y="215"/>
                  </a:cubicBezTo>
                  <a:cubicBezTo>
                    <a:pt x="172" y="216"/>
                    <a:pt x="172" y="217"/>
                    <a:pt x="172" y="217"/>
                  </a:cubicBezTo>
                  <a:cubicBezTo>
                    <a:pt x="170" y="220"/>
                    <a:pt x="172" y="220"/>
                    <a:pt x="169" y="220"/>
                  </a:cubicBezTo>
                  <a:cubicBezTo>
                    <a:pt x="167" y="220"/>
                    <a:pt x="165" y="220"/>
                    <a:pt x="163" y="220"/>
                  </a:cubicBezTo>
                  <a:cubicBezTo>
                    <a:pt x="159" y="220"/>
                    <a:pt x="154" y="224"/>
                    <a:pt x="150" y="223"/>
                  </a:cubicBezTo>
                  <a:cubicBezTo>
                    <a:pt x="146" y="222"/>
                    <a:pt x="146" y="219"/>
                    <a:pt x="142" y="217"/>
                  </a:cubicBezTo>
                  <a:cubicBezTo>
                    <a:pt x="140" y="217"/>
                    <a:pt x="137" y="217"/>
                    <a:pt x="135" y="217"/>
                  </a:cubicBezTo>
                  <a:cubicBezTo>
                    <a:pt x="133" y="217"/>
                    <a:pt x="132" y="216"/>
                    <a:pt x="130" y="215"/>
                  </a:cubicBezTo>
                  <a:cubicBezTo>
                    <a:pt x="125" y="213"/>
                    <a:pt x="121" y="212"/>
                    <a:pt x="115" y="211"/>
                  </a:cubicBezTo>
                  <a:cubicBezTo>
                    <a:pt x="114" y="210"/>
                    <a:pt x="112" y="210"/>
                    <a:pt x="110" y="210"/>
                  </a:cubicBezTo>
                  <a:cubicBezTo>
                    <a:pt x="108" y="210"/>
                    <a:pt x="107" y="211"/>
                    <a:pt x="105" y="211"/>
                  </a:cubicBezTo>
                  <a:cubicBezTo>
                    <a:pt x="104" y="204"/>
                    <a:pt x="105" y="196"/>
                    <a:pt x="104" y="189"/>
                  </a:cubicBezTo>
                  <a:cubicBezTo>
                    <a:pt x="103" y="186"/>
                    <a:pt x="103" y="188"/>
                    <a:pt x="101" y="186"/>
                  </a:cubicBezTo>
                  <a:cubicBezTo>
                    <a:pt x="100" y="185"/>
                    <a:pt x="100" y="184"/>
                    <a:pt x="99" y="183"/>
                  </a:cubicBezTo>
                  <a:cubicBezTo>
                    <a:pt x="99" y="181"/>
                    <a:pt x="97" y="180"/>
                    <a:pt x="96" y="178"/>
                  </a:cubicBezTo>
                  <a:cubicBezTo>
                    <a:pt x="95" y="177"/>
                    <a:pt x="94" y="175"/>
                    <a:pt x="93" y="174"/>
                  </a:cubicBezTo>
                  <a:cubicBezTo>
                    <a:pt x="91" y="171"/>
                    <a:pt x="88" y="167"/>
                    <a:pt x="85" y="164"/>
                  </a:cubicBezTo>
                  <a:cubicBezTo>
                    <a:pt x="83" y="162"/>
                    <a:pt x="81" y="160"/>
                    <a:pt x="79" y="157"/>
                  </a:cubicBezTo>
                  <a:cubicBezTo>
                    <a:pt x="76" y="153"/>
                    <a:pt x="74" y="148"/>
                    <a:pt x="73" y="144"/>
                  </a:cubicBezTo>
                  <a:cubicBezTo>
                    <a:pt x="72" y="142"/>
                    <a:pt x="72" y="141"/>
                    <a:pt x="71" y="139"/>
                  </a:cubicBezTo>
                  <a:cubicBezTo>
                    <a:pt x="70" y="138"/>
                    <a:pt x="68" y="137"/>
                    <a:pt x="67" y="135"/>
                  </a:cubicBezTo>
                  <a:cubicBezTo>
                    <a:pt x="66" y="133"/>
                    <a:pt x="66" y="129"/>
                    <a:pt x="64" y="127"/>
                  </a:cubicBezTo>
                  <a:cubicBezTo>
                    <a:pt x="62" y="125"/>
                    <a:pt x="57" y="126"/>
                    <a:pt x="55" y="126"/>
                  </a:cubicBezTo>
                  <a:cubicBezTo>
                    <a:pt x="49" y="126"/>
                    <a:pt x="44" y="129"/>
                    <a:pt x="39" y="130"/>
                  </a:cubicBezTo>
                  <a:cubicBezTo>
                    <a:pt x="34" y="132"/>
                    <a:pt x="27" y="134"/>
                    <a:pt x="30" y="141"/>
                  </a:cubicBezTo>
                  <a:cubicBezTo>
                    <a:pt x="31" y="144"/>
                    <a:pt x="33" y="146"/>
                    <a:pt x="34" y="151"/>
                  </a:cubicBezTo>
                  <a:cubicBezTo>
                    <a:pt x="34" y="154"/>
                    <a:pt x="34" y="158"/>
                    <a:pt x="34" y="161"/>
                  </a:cubicBezTo>
                  <a:cubicBezTo>
                    <a:pt x="31" y="160"/>
                    <a:pt x="28" y="158"/>
                    <a:pt x="25" y="157"/>
                  </a:cubicBezTo>
                  <a:cubicBezTo>
                    <a:pt x="23" y="156"/>
                    <a:pt x="19" y="153"/>
                    <a:pt x="17" y="154"/>
                  </a:cubicBezTo>
                  <a:cubicBezTo>
                    <a:pt x="17" y="154"/>
                    <a:pt x="17" y="155"/>
                    <a:pt x="17" y="156"/>
                  </a:cubicBezTo>
                  <a:cubicBezTo>
                    <a:pt x="11" y="157"/>
                    <a:pt x="5" y="157"/>
                    <a:pt x="0" y="158"/>
                  </a:cubicBezTo>
                  <a:cubicBezTo>
                    <a:pt x="1" y="157"/>
                    <a:pt x="3" y="157"/>
                    <a:pt x="5" y="157"/>
                  </a:cubicBezTo>
                  <a:cubicBezTo>
                    <a:pt x="5" y="157"/>
                    <a:pt x="5" y="158"/>
                    <a:pt x="5" y="158"/>
                  </a:cubicBezTo>
                  <a:cubicBezTo>
                    <a:pt x="6" y="159"/>
                    <a:pt x="6" y="161"/>
                    <a:pt x="7" y="162"/>
                  </a:cubicBezTo>
                  <a:cubicBezTo>
                    <a:pt x="8" y="165"/>
                    <a:pt x="11" y="168"/>
                    <a:pt x="13" y="171"/>
                  </a:cubicBezTo>
                  <a:cubicBezTo>
                    <a:pt x="16" y="174"/>
                    <a:pt x="19" y="176"/>
                    <a:pt x="22" y="179"/>
                  </a:cubicBezTo>
                  <a:cubicBezTo>
                    <a:pt x="25" y="181"/>
                    <a:pt x="26" y="183"/>
                    <a:pt x="28" y="185"/>
                  </a:cubicBezTo>
                  <a:cubicBezTo>
                    <a:pt x="31" y="187"/>
                    <a:pt x="34" y="189"/>
                    <a:pt x="37" y="192"/>
                  </a:cubicBezTo>
                  <a:cubicBezTo>
                    <a:pt x="40" y="196"/>
                    <a:pt x="41" y="201"/>
                    <a:pt x="45" y="204"/>
                  </a:cubicBezTo>
                  <a:cubicBezTo>
                    <a:pt x="50" y="207"/>
                    <a:pt x="52" y="211"/>
                    <a:pt x="55" y="216"/>
                  </a:cubicBezTo>
                  <a:cubicBezTo>
                    <a:pt x="58" y="219"/>
                    <a:pt x="62" y="224"/>
                    <a:pt x="66" y="225"/>
                  </a:cubicBezTo>
                  <a:cubicBezTo>
                    <a:pt x="71" y="226"/>
                    <a:pt x="73" y="226"/>
                    <a:pt x="77" y="229"/>
                  </a:cubicBezTo>
                  <a:cubicBezTo>
                    <a:pt x="80" y="231"/>
                    <a:pt x="82" y="233"/>
                    <a:pt x="85" y="235"/>
                  </a:cubicBezTo>
                  <a:cubicBezTo>
                    <a:pt x="86" y="237"/>
                    <a:pt x="88" y="239"/>
                    <a:pt x="90" y="240"/>
                  </a:cubicBezTo>
                  <a:cubicBezTo>
                    <a:pt x="91" y="241"/>
                    <a:pt x="92" y="241"/>
                    <a:pt x="94" y="241"/>
                  </a:cubicBezTo>
                  <a:cubicBezTo>
                    <a:pt x="98" y="241"/>
                    <a:pt x="101" y="242"/>
                    <a:pt x="105" y="243"/>
                  </a:cubicBezTo>
                  <a:cubicBezTo>
                    <a:pt x="110" y="246"/>
                    <a:pt x="112" y="247"/>
                    <a:pt x="116" y="252"/>
                  </a:cubicBezTo>
                  <a:cubicBezTo>
                    <a:pt x="119" y="257"/>
                    <a:pt x="124" y="263"/>
                    <a:pt x="127" y="269"/>
                  </a:cubicBezTo>
                  <a:cubicBezTo>
                    <a:pt x="128" y="271"/>
                    <a:pt x="129" y="272"/>
                    <a:pt x="130" y="274"/>
                  </a:cubicBezTo>
                  <a:cubicBezTo>
                    <a:pt x="131" y="277"/>
                    <a:pt x="132" y="276"/>
                    <a:pt x="135" y="277"/>
                  </a:cubicBezTo>
                  <a:cubicBezTo>
                    <a:pt x="137" y="278"/>
                    <a:pt x="142" y="279"/>
                    <a:pt x="144" y="280"/>
                  </a:cubicBezTo>
                  <a:cubicBezTo>
                    <a:pt x="145" y="282"/>
                    <a:pt x="144" y="285"/>
                    <a:pt x="144" y="286"/>
                  </a:cubicBezTo>
                  <a:cubicBezTo>
                    <a:pt x="145" y="290"/>
                    <a:pt x="144" y="294"/>
                    <a:pt x="145" y="297"/>
                  </a:cubicBezTo>
                  <a:cubicBezTo>
                    <a:pt x="148" y="297"/>
                    <a:pt x="150" y="298"/>
                    <a:pt x="152" y="299"/>
                  </a:cubicBezTo>
                  <a:cubicBezTo>
                    <a:pt x="156" y="300"/>
                    <a:pt x="157" y="302"/>
                    <a:pt x="159" y="305"/>
                  </a:cubicBezTo>
                  <a:cubicBezTo>
                    <a:pt x="162" y="310"/>
                    <a:pt x="163" y="318"/>
                    <a:pt x="170" y="319"/>
                  </a:cubicBezTo>
                  <a:cubicBezTo>
                    <a:pt x="171" y="324"/>
                    <a:pt x="168" y="326"/>
                    <a:pt x="166" y="331"/>
                  </a:cubicBezTo>
                  <a:cubicBezTo>
                    <a:pt x="166" y="333"/>
                    <a:pt x="165" y="335"/>
                    <a:pt x="165" y="337"/>
                  </a:cubicBezTo>
                  <a:cubicBezTo>
                    <a:pt x="165" y="341"/>
                    <a:pt x="165" y="345"/>
                    <a:pt x="165" y="349"/>
                  </a:cubicBezTo>
                  <a:cubicBezTo>
                    <a:pt x="165" y="356"/>
                    <a:pt x="168" y="361"/>
                    <a:pt x="169" y="368"/>
                  </a:cubicBezTo>
                  <a:cubicBezTo>
                    <a:pt x="169" y="371"/>
                    <a:pt x="169" y="375"/>
                    <a:pt x="167" y="378"/>
                  </a:cubicBezTo>
                  <a:cubicBezTo>
                    <a:pt x="164" y="381"/>
                    <a:pt x="159" y="382"/>
                    <a:pt x="160" y="387"/>
                  </a:cubicBezTo>
                  <a:cubicBezTo>
                    <a:pt x="161" y="390"/>
                    <a:pt x="162" y="393"/>
                    <a:pt x="164" y="394"/>
                  </a:cubicBezTo>
                  <a:cubicBezTo>
                    <a:pt x="166" y="396"/>
                    <a:pt x="170" y="395"/>
                    <a:pt x="172" y="396"/>
                  </a:cubicBezTo>
                  <a:cubicBezTo>
                    <a:pt x="173" y="397"/>
                    <a:pt x="173" y="398"/>
                    <a:pt x="173" y="400"/>
                  </a:cubicBezTo>
                  <a:cubicBezTo>
                    <a:pt x="174" y="403"/>
                    <a:pt x="175" y="406"/>
                    <a:pt x="175" y="410"/>
                  </a:cubicBezTo>
                  <a:cubicBezTo>
                    <a:pt x="176" y="412"/>
                    <a:pt x="177" y="416"/>
                    <a:pt x="176" y="419"/>
                  </a:cubicBezTo>
                  <a:cubicBezTo>
                    <a:pt x="176" y="421"/>
                    <a:pt x="174" y="420"/>
                    <a:pt x="173" y="422"/>
                  </a:cubicBezTo>
                  <a:cubicBezTo>
                    <a:pt x="171" y="424"/>
                    <a:pt x="172" y="430"/>
                    <a:pt x="172" y="433"/>
                  </a:cubicBezTo>
                  <a:cubicBezTo>
                    <a:pt x="172" y="443"/>
                    <a:pt x="175" y="453"/>
                    <a:pt x="180" y="462"/>
                  </a:cubicBezTo>
                  <a:cubicBezTo>
                    <a:pt x="185" y="469"/>
                    <a:pt x="189" y="477"/>
                    <a:pt x="190" y="485"/>
                  </a:cubicBezTo>
                  <a:cubicBezTo>
                    <a:pt x="192" y="494"/>
                    <a:pt x="189" y="502"/>
                    <a:pt x="187" y="510"/>
                  </a:cubicBezTo>
                  <a:cubicBezTo>
                    <a:pt x="186" y="516"/>
                    <a:pt x="187" y="522"/>
                    <a:pt x="184" y="528"/>
                  </a:cubicBezTo>
                  <a:cubicBezTo>
                    <a:pt x="182" y="531"/>
                    <a:pt x="180" y="533"/>
                    <a:pt x="180" y="537"/>
                  </a:cubicBezTo>
                  <a:cubicBezTo>
                    <a:pt x="179" y="541"/>
                    <a:pt x="180" y="544"/>
                    <a:pt x="180" y="548"/>
                  </a:cubicBezTo>
                  <a:cubicBezTo>
                    <a:pt x="180" y="551"/>
                    <a:pt x="179" y="555"/>
                    <a:pt x="180" y="558"/>
                  </a:cubicBezTo>
                  <a:cubicBezTo>
                    <a:pt x="182" y="562"/>
                    <a:pt x="185" y="563"/>
                    <a:pt x="187" y="567"/>
                  </a:cubicBezTo>
                  <a:cubicBezTo>
                    <a:pt x="193" y="576"/>
                    <a:pt x="194" y="586"/>
                    <a:pt x="197" y="596"/>
                  </a:cubicBezTo>
                  <a:cubicBezTo>
                    <a:pt x="198" y="601"/>
                    <a:pt x="199" y="607"/>
                    <a:pt x="198" y="612"/>
                  </a:cubicBezTo>
                  <a:cubicBezTo>
                    <a:pt x="198" y="613"/>
                    <a:pt x="197" y="615"/>
                    <a:pt x="197" y="616"/>
                  </a:cubicBezTo>
                  <a:cubicBezTo>
                    <a:pt x="197" y="616"/>
                    <a:pt x="197" y="616"/>
                    <a:pt x="196" y="616"/>
                  </a:cubicBezTo>
                  <a:cubicBezTo>
                    <a:pt x="199" y="619"/>
                    <a:pt x="202" y="620"/>
                    <a:pt x="205" y="620"/>
                  </a:cubicBezTo>
                  <a:cubicBezTo>
                    <a:pt x="205" y="630"/>
                    <a:pt x="221" y="632"/>
                    <a:pt x="228" y="634"/>
                  </a:cubicBezTo>
                  <a:cubicBezTo>
                    <a:pt x="234" y="636"/>
                    <a:pt x="242" y="639"/>
                    <a:pt x="247" y="644"/>
                  </a:cubicBezTo>
                  <a:cubicBezTo>
                    <a:pt x="252" y="648"/>
                    <a:pt x="255" y="654"/>
                    <a:pt x="258" y="659"/>
                  </a:cubicBezTo>
                  <a:cubicBezTo>
                    <a:pt x="259" y="661"/>
                    <a:pt x="260" y="664"/>
                    <a:pt x="262" y="666"/>
                  </a:cubicBezTo>
                  <a:cubicBezTo>
                    <a:pt x="263" y="667"/>
                    <a:pt x="265" y="667"/>
                    <a:pt x="266" y="667"/>
                  </a:cubicBezTo>
                  <a:cubicBezTo>
                    <a:pt x="270" y="674"/>
                    <a:pt x="265" y="686"/>
                    <a:pt x="264" y="693"/>
                  </a:cubicBezTo>
                  <a:cubicBezTo>
                    <a:pt x="264" y="698"/>
                    <a:pt x="264" y="702"/>
                    <a:pt x="267" y="706"/>
                  </a:cubicBezTo>
                  <a:cubicBezTo>
                    <a:pt x="269" y="711"/>
                    <a:pt x="276" y="716"/>
                    <a:pt x="274" y="723"/>
                  </a:cubicBezTo>
                  <a:cubicBezTo>
                    <a:pt x="271" y="723"/>
                    <a:pt x="263" y="723"/>
                    <a:pt x="261" y="726"/>
                  </a:cubicBezTo>
                  <a:cubicBezTo>
                    <a:pt x="264" y="728"/>
                    <a:pt x="271" y="735"/>
                    <a:pt x="267" y="738"/>
                  </a:cubicBezTo>
                  <a:cubicBezTo>
                    <a:pt x="263" y="735"/>
                    <a:pt x="261" y="733"/>
                    <a:pt x="256" y="735"/>
                  </a:cubicBezTo>
                  <a:cubicBezTo>
                    <a:pt x="251" y="737"/>
                    <a:pt x="250" y="741"/>
                    <a:pt x="246" y="743"/>
                  </a:cubicBezTo>
                  <a:cubicBezTo>
                    <a:pt x="239" y="746"/>
                    <a:pt x="228" y="739"/>
                    <a:pt x="224" y="749"/>
                  </a:cubicBezTo>
                  <a:cubicBezTo>
                    <a:pt x="223" y="752"/>
                    <a:pt x="224" y="755"/>
                    <a:pt x="222" y="758"/>
                  </a:cubicBezTo>
                  <a:cubicBezTo>
                    <a:pt x="221" y="763"/>
                    <a:pt x="217" y="763"/>
                    <a:pt x="214" y="767"/>
                  </a:cubicBezTo>
                  <a:cubicBezTo>
                    <a:pt x="208" y="774"/>
                    <a:pt x="201" y="783"/>
                    <a:pt x="195" y="791"/>
                  </a:cubicBezTo>
                  <a:cubicBezTo>
                    <a:pt x="187" y="802"/>
                    <a:pt x="180" y="816"/>
                    <a:pt x="171" y="826"/>
                  </a:cubicBezTo>
                  <a:cubicBezTo>
                    <a:pt x="169" y="828"/>
                    <a:pt x="167" y="830"/>
                    <a:pt x="166" y="833"/>
                  </a:cubicBezTo>
                  <a:cubicBezTo>
                    <a:pt x="165" y="836"/>
                    <a:pt x="168" y="840"/>
                    <a:pt x="164" y="841"/>
                  </a:cubicBezTo>
                  <a:cubicBezTo>
                    <a:pt x="160" y="843"/>
                    <a:pt x="158" y="839"/>
                    <a:pt x="155" y="841"/>
                  </a:cubicBezTo>
                  <a:cubicBezTo>
                    <a:pt x="151" y="844"/>
                    <a:pt x="146" y="853"/>
                    <a:pt x="145" y="857"/>
                  </a:cubicBezTo>
                  <a:cubicBezTo>
                    <a:pt x="144" y="862"/>
                    <a:pt x="147" y="868"/>
                    <a:pt x="140" y="869"/>
                  </a:cubicBezTo>
                  <a:cubicBezTo>
                    <a:pt x="134" y="870"/>
                    <a:pt x="133" y="864"/>
                    <a:pt x="128" y="863"/>
                  </a:cubicBezTo>
                  <a:cubicBezTo>
                    <a:pt x="127" y="866"/>
                    <a:pt x="125" y="868"/>
                    <a:pt x="124" y="871"/>
                  </a:cubicBezTo>
                  <a:cubicBezTo>
                    <a:pt x="124" y="874"/>
                    <a:pt x="125" y="877"/>
                    <a:pt x="124" y="881"/>
                  </a:cubicBezTo>
                  <a:cubicBezTo>
                    <a:pt x="124" y="884"/>
                    <a:pt x="124" y="885"/>
                    <a:pt x="122" y="887"/>
                  </a:cubicBezTo>
                  <a:cubicBezTo>
                    <a:pt x="119" y="890"/>
                    <a:pt x="112" y="890"/>
                    <a:pt x="109" y="893"/>
                  </a:cubicBezTo>
                  <a:cubicBezTo>
                    <a:pt x="105" y="898"/>
                    <a:pt x="109" y="905"/>
                    <a:pt x="111" y="910"/>
                  </a:cubicBezTo>
                  <a:cubicBezTo>
                    <a:pt x="116" y="919"/>
                    <a:pt x="105" y="929"/>
                    <a:pt x="96" y="932"/>
                  </a:cubicBezTo>
                  <a:cubicBezTo>
                    <a:pt x="93" y="930"/>
                    <a:pt x="89" y="931"/>
                    <a:pt x="86" y="931"/>
                  </a:cubicBezTo>
                  <a:cubicBezTo>
                    <a:pt x="82" y="931"/>
                    <a:pt x="78" y="929"/>
                    <a:pt x="75" y="929"/>
                  </a:cubicBezTo>
                  <a:cubicBezTo>
                    <a:pt x="65" y="928"/>
                    <a:pt x="66" y="935"/>
                    <a:pt x="66" y="943"/>
                  </a:cubicBezTo>
                  <a:cubicBezTo>
                    <a:pt x="66" y="949"/>
                    <a:pt x="67" y="964"/>
                    <a:pt x="62" y="967"/>
                  </a:cubicBezTo>
                  <a:cubicBezTo>
                    <a:pt x="58" y="970"/>
                    <a:pt x="54" y="967"/>
                    <a:pt x="50" y="969"/>
                  </a:cubicBezTo>
                  <a:cubicBezTo>
                    <a:pt x="43" y="972"/>
                    <a:pt x="42" y="986"/>
                    <a:pt x="43" y="994"/>
                  </a:cubicBezTo>
                  <a:cubicBezTo>
                    <a:pt x="43" y="994"/>
                    <a:pt x="43" y="994"/>
                    <a:pt x="43" y="995"/>
                  </a:cubicBezTo>
                  <a:cubicBezTo>
                    <a:pt x="43" y="994"/>
                    <a:pt x="43" y="994"/>
                    <a:pt x="43" y="994"/>
                  </a:cubicBezTo>
                  <a:cubicBezTo>
                    <a:pt x="43" y="993"/>
                    <a:pt x="42" y="993"/>
                    <a:pt x="42" y="993"/>
                  </a:cubicBezTo>
                  <a:cubicBezTo>
                    <a:pt x="39" y="997"/>
                    <a:pt x="41" y="1008"/>
                    <a:pt x="43" y="1013"/>
                  </a:cubicBezTo>
                  <a:cubicBezTo>
                    <a:pt x="46" y="1025"/>
                    <a:pt x="59" y="1035"/>
                    <a:pt x="55" y="1049"/>
                  </a:cubicBezTo>
                  <a:cubicBezTo>
                    <a:pt x="53" y="1054"/>
                    <a:pt x="51" y="1056"/>
                    <a:pt x="52" y="1061"/>
                  </a:cubicBezTo>
                  <a:cubicBezTo>
                    <a:pt x="53" y="1066"/>
                    <a:pt x="54" y="1070"/>
                    <a:pt x="54" y="1075"/>
                  </a:cubicBezTo>
                  <a:cubicBezTo>
                    <a:pt x="54" y="1082"/>
                    <a:pt x="52" y="1095"/>
                    <a:pt x="56" y="1101"/>
                  </a:cubicBezTo>
                  <a:cubicBezTo>
                    <a:pt x="58" y="1101"/>
                    <a:pt x="60" y="1099"/>
                    <a:pt x="60" y="1098"/>
                  </a:cubicBezTo>
                  <a:cubicBezTo>
                    <a:pt x="58" y="1105"/>
                    <a:pt x="54" y="1112"/>
                    <a:pt x="55" y="1120"/>
                  </a:cubicBezTo>
                  <a:cubicBezTo>
                    <a:pt x="56" y="1127"/>
                    <a:pt x="61" y="1131"/>
                    <a:pt x="64" y="1137"/>
                  </a:cubicBezTo>
                  <a:cubicBezTo>
                    <a:pt x="68" y="1142"/>
                    <a:pt x="70" y="1145"/>
                    <a:pt x="68" y="1152"/>
                  </a:cubicBezTo>
                  <a:cubicBezTo>
                    <a:pt x="67" y="1156"/>
                    <a:pt x="64" y="1158"/>
                    <a:pt x="62" y="1162"/>
                  </a:cubicBezTo>
                  <a:cubicBezTo>
                    <a:pt x="60" y="1166"/>
                    <a:pt x="61" y="1173"/>
                    <a:pt x="61" y="1178"/>
                  </a:cubicBezTo>
                  <a:cubicBezTo>
                    <a:pt x="61" y="1180"/>
                    <a:pt x="62" y="1183"/>
                    <a:pt x="61" y="1185"/>
                  </a:cubicBezTo>
                  <a:cubicBezTo>
                    <a:pt x="60" y="1192"/>
                    <a:pt x="55" y="1197"/>
                    <a:pt x="55" y="1204"/>
                  </a:cubicBezTo>
                  <a:cubicBezTo>
                    <a:pt x="55" y="1210"/>
                    <a:pt x="57" y="1216"/>
                    <a:pt x="56" y="1221"/>
                  </a:cubicBezTo>
                  <a:cubicBezTo>
                    <a:pt x="55" y="1228"/>
                    <a:pt x="49" y="1232"/>
                    <a:pt x="47" y="1238"/>
                  </a:cubicBezTo>
                  <a:cubicBezTo>
                    <a:pt x="46" y="1243"/>
                    <a:pt x="47" y="1247"/>
                    <a:pt x="50" y="1251"/>
                  </a:cubicBezTo>
                  <a:cubicBezTo>
                    <a:pt x="53" y="1257"/>
                    <a:pt x="54" y="1254"/>
                    <a:pt x="59" y="1251"/>
                  </a:cubicBezTo>
                  <a:cubicBezTo>
                    <a:pt x="64" y="1249"/>
                    <a:pt x="68" y="1248"/>
                    <a:pt x="70" y="1253"/>
                  </a:cubicBezTo>
                  <a:cubicBezTo>
                    <a:pt x="73" y="1260"/>
                    <a:pt x="66" y="1266"/>
                    <a:pt x="65" y="1272"/>
                  </a:cubicBezTo>
                  <a:cubicBezTo>
                    <a:pt x="71" y="1275"/>
                    <a:pt x="76" y="1277"/>
                    <a:pt x="80" y="1282"/>
                  </a:cubicBezTo>
                  <a:cubicBezTo>
                    <a:pt x="84" y="1285"/>
                    <a:pt x="84" y="1292"/>
                    <a:pt x="87" y="1294"/>
                  </a:cubicBezTo>
                  <a:cubicBezTo>
                    <a:pt x="92" y="1288"/>
                    <a:pt x="97" y="1281"/>
                    <a:pt x="106" y="1280"/>
                  </a:cubicBezTo>
                  <a:cubicBezTo>
                    <a:pt x="113" y="1279"/>
                    <a:pt x="112" y="1282"/>
                    <a:pt x="114" y="1288"/>
                  </a:cubicBezTo>
                  <a:cubicBezTo>
                    <a:pt x="114" y="1291"/>
                    <a:pt x="117" y="1310"/>
                    <a:pt x="122" y="1309"/>
                  </a:cubicBezTo>
                  <a:cubicBezTo>
                    <a:pt x="125" y="1308"/>
                    <a:pt x="126" y="1302"/>
                    <a:pt x="129" y="1303"/>
                  </a:cubicBezTo>
                  <a:cubicBezTo>
                    <a:pt x="130" y="1306"/>
                    <a:pt x="129" y="1309"/>
                    <a:pt x="130" y="1311"/>
                  </a:cubicBezTo>
                  <a:cubicBezTo>
                    <a:pt x="134" y="1308"/>
                    <a:pt x="141" y="1303"/>
                    <a:pt x="146" y="1303"/>
                  </a:cubicBezTo>
                  <a:cubicBezTo>
                    <a:pt x="144" y="1307"/>
                    <a:pt x="134" y="1311"/>
                    <a:pt x="134" y="1316"/>
                  </a:cubicBezTo>
                  <a:cubicBezTo>
                    <a:pt x="135" y="1318"/>
                    <a:pt x="139" y="1322"/>
                    <a:pt x="140" y="1325"/>
                  </a:cubicBezTo>
                  <a:cubicBezTo>
                    <a:pt x="145" y="1336"/>
                    <a:pt x="151" y="1324"/>
                    <a:pt x="157" y="1319"/>
                  </a:cubicBezTo>
                  <a:cubicBezTo>
                    <a:pt x="161" y="1323"/>
                    <a:pt x="162" y="1327"/>
                    <a:pt x="167" y="1328"/>
                  </a:cubicBezTo>
                  <a:cubicBezTo>
                    <a:pt x="173" y="1328"/>
                    <a:pt x="175" y="1322"/>
                    <a:pt x="180" y="1319"/>
                  </a:cubicBezTo>
                  <a:cubicBezTo>
                    <a:pt x="186" y="1314"/>
                    <a:pt x="191" y="1311"/>
                    <a:pt x="199" y="1310"/>
                  </a:cubicBezTo>
                  <a:cubicBezTo>
                    <a:pt x="203" y="1309"/>
                    <a:pt x="209" y="1306"/>
                    <a:pt x="210" y="1302"/>
                  </a:cubicBezTo>
                  <a:cubicBezTo>
                    <a:pt x="210" y="1301"/>
                    <a:pt x="210" y="1301"/>
                    <a:pt x="211" y="1301"/>
                  </a:cubicBezTo>
                  <a:cubicBezTo>
                    <a:pt x="211" y="1301"/>
                    <a:pt x="210" y="1301"/>
                    <a:pt x="210" y="1302"/>
                  </a:cubicBezTo>
                  <a:cubicBezTo>
                    <a:pt x="213" y="1303"/>
                    <a:pt x="233" y="1303"/>
                    <a:pt x="240" y="1295"/>
                  </a:cubicBezTo>
                  <a:cubicBezTo>
                    <a:pt x="244" y="1296"/>
                    <a:pt x="249" y="1299"/>
                    <a:pt x="253" y="1297"/>
                  </a:cubicBezTo>
                  <a:cubicBezTo>
                    <a:pt x="257" y="1296"/>
                    <a:pt x="259" y="1289"/>
                    <a:pt x="263" y="1288"/>
                  </a:cubicBezTo>
                  <a:cubicBezTo>
                    <a:pt x="265" y="1287"/>
                    <a:pt x="266" y="1289"/>
                    <a:pt x="268" y="1290"/>
                  </a:cubicBezTo>
                  <a:cubicBezTo>
                    <a:pt x="272" y="1291"/>
                    <a:pt x="277" y="1291"/>
                    <a:pt x="282" y="1292"/>
                  </a:cubicBezTo>
                  <a:cubicBezTo>
                    <a:pt x="284" y="1293"/>
                    <a:pt x="291" y="1294"/>
                    <a:pt x="293" y="1291"/>
                  </a:cubicBezTo>
                  <a:cubicBezTo>
                    <a:pt x="295" y="1288"/>
                    <a:pt x="293" y="1275"/>
                    <a:pt x="293" y="1272"/>
                  </a:cubicBezTo>
                  <a:cubicBezTo>
                    <a:pt x="293" y="1267"/>
                    <a:pt x="292" y="1265"/>
                    <a:pt x="297" y="1263"/>
                  </a:cubicBezTo>
                  <a:cubicBezTo>
                    <a:pt x="303" y="1261"/>
                    <a:pt x="309" y="1266"/>
                    <a:pt x="314" y="1268"/>
                  </a:cubicBezTo>
                  <a:cubicBezTo>
                    <a:pt x="323" y="1270"/>
                    <a:pt x="338" y="1269"/>
                    <a:pt x="347" y="1265"/>
                  </a:cubicBezTo>
                  <a:cubicBezTo>
                    <a:pt x="352" y="1264"/>
                    <a:pt x="355" y="1259"/>
                    <a:pt x="359" y="1257"/>
                  </a:cubicBezTo>
                  <a:cubicBezTo>
                    <a:pt x="363" y="1256"/>
                    <a:pt x="370" y="1257"/>
                    <a:pt x="374" y="1257"/>
                  </a:cubicBezTo>
                  <a:cubicBezTo>
                    <a:pt x="382" y="1256"/>
                    <a:pt x="390" y="1255"/>
                    <a:pt x="398" y="1253"/>
                  </a:cubicBezTo>
                  <a:cubicBezTo>
                    <a:pt x="397" y="1251"/>
                    <a:pt x="399" y="1250"/>
                    <a:pt x="400" y="1248"/>
                  </a:cubicBezTo>
                  <a:cubicBezTo>
                    <a:pt x="401" y="1247"/>
                    <a:pt x="400" y="1246"/>
                    <a:pt x="401" y="1244"/>
                  </a:cubicBezTo>
                  <a:cubicBezTo>
                    <a:pt x="404" y="1242"/>
                    <a:pt x="409" y="1240"/>
                    <a:pt x="412" y="1239"/>
                  </a:cubicBezTo>
                  <a:cubicBezTo>
                    <a:pt x="423" y="1233"/>
                    <a:pt x="430" y="1223"/>
                    <a:pt x="439" y="1216"/>
                  </a:cubicBezTo>
                  <a:cubicBezTo>
                    <a:pt x="445" y="1211"/>
                    <a:pt x="451" y="1207"/>
                    <a:pt x="456" y="1201"/>
                  </a:cubicBezTo>
                  <a:cubicBezTo>
                    <a:pt x="462" y="1196"/>
                    <a:pt x="467" y="1190"/>
                    <a:pt x="472" y="1184"/>
                  </a:cubicBezTo>
                  <a:cubicBezTo>
                    <a:pt x="480" y="1177"/>
                    <a:pt x="488" y="1170"/>
                    <a:pt x="494" y="1162"/>
                  </a:cubicBezTo>
                  <a:cubicBezTo>
                    <a:pt x="498" y="1156"/>
                    <a:pt x="501" y="1149"/>
                    <a:pt x="505" y="1143"/>
                  </a:cubicBezTo>
                  <a:cubicBezTo>
                    <a:pt x="520" y="1121"/>
                    <a:pt x="533" y="1097"/>
                    <a:pt x="546" y="1073"/>
                  </a:cubicBezTo>
                  <a:cubicBezTo>
                    <a:pt x="555" y="1054"/>
                    <a:pt x="569" y="1034"/>
                    <a:pt x="586" y="1019"/>
                  </a:cubicBezTo>
                  <a:cubicBezTo>
                    <a:pt x="594" y="1012"/>
                    <a:pt x="605" y="1004"/>
                    <a:pt x="603" y="99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3" name="Freeform 63">
              <a:extLst>
                <a:ext uri="{FF2B5EF4-FFF2-40B4-BE49-F238E27FC236}">
                  <a16:creationId xmlns:a16="http://schemas.microsoft.com/office/drawing/2014/main" id="{ABAAD4F2-2D52-4939-B635-9887BF4B60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3097213"/>
              <a:ext cx="850900" cy="1528763"/>
            </a:xfrm>
            <a:custGeom>
              <a:avLst/>
              <a:gdLst/>
              <a:ahLst/>
              <a:cxnLst>
                <a:cxn ang="0">
                  <a:pos x="416" y="555"/>
                </a:cxn>
                <a:cxn ang="0">
                  <a:pos x="363" y="502"/>
                </a:cxn>
                <a:cxn ang="0">
                  <a:pos x="302" y="396"/>
                </a:cxn>
                <a:cxn ang="0">
                  <a:pos x="260" y="298"/>
                </a:cxn>
                <a:cxn ang="0">
                  <a:pos x="170" y="270"/>
                </a:cxn>
                <a:cxn ang="0">
                  <a:pos x="230" y="236"/>
                </a:cxn>
                <a:cxn ang="0">
                  <a:pos x="246" y="155"/>
                </a:cxn>
                <a:cxn ang="0">
                  <a:pos x="184" y="99"/>
                </a:cxn>
                <a:cxn ang="0">
                  <a:pos x="139" y="117"/>
                </a:cxn>
                <a:cxn ang="0">
                  <a:pos x="157" y="88"/>
                </a:cxn>
                <a:cxn ang="0">
                  <a:pos x="158" y="69"/>
                </a:cxn>
                <a:cxn ang="0">
                  <a:pos x="198" y="27"/>
                </a:cxn>
                <a:cxn ang="0">
                  <a:pos x="183" y="3"/>
                </a:cxn>
                <a:cxn ang="0">
                  <a:pos x="136" y="16"/>
                </a:cxn>
                <a:cxn ang="0">
                  <a:pos x="109" y="24"/>
                </a:cxn>
                <a:cxn ang="0">
                  <a:pos x="89" y="25"/>
                </a:cxn>
                <a:cxn ang="0">
                  <a:pos x="78" y="63"/>
                </a:cxn>
                <a:cxn ang="0">
                  <a:pos x="72" y="84"/>
                </a:cxn>
                <a:cxn ang="0">
                  <a:pos x="50" y="91"/>
                </a:cxn>
                <a:cxn ang="0">
                  <a:pos x="59" y="121"/>
                </a:cxn>
                <a:cxn ang="0">
                  <a:pos x="66" y="137"/>
                </a:cxn>
                <a:cxn ang="0">
                  <a:pos x="46" y="148"/>
                </a:cxn>
                <a:cxn ang="0">
                  <a:pos x="33" y="129"/>
                </a:cxn>
                <a:cxn ang="0">
                  <a:pos x="9" y="116"/>
                </a:cxn>
                <a:cxn ang="0">
                  <a:pos x="12" y="136"/>
                </a:cxn>
                <a:cxn ang="0">
                  <a:pos x="42" y="159"/>
                </a:cxn>
                <a:cxn ang="0">
                  <a:pos x="64" y="164"/>
                </a:cxn>
                <a:cxn ang="0">
                  <a:pos x="48" y="183"/>
                </a:cxn>
                <a:cxn ang="0">
                  <a:pos x="32" y="205"/>
                </a:cxn>
                <a:cxn ang="0">
                  <a:pos x="50" y="220"/>
                </a:cxn>
                <a:cxn ang="0">
                  <a:pos x="26" y="221"/>
                </a:cxn>
                <a:cxn ang="0">
                  <a:pos x="18" y="239"/>
                </a:cxn>
                <a:cxn ang="0">
                  <a:pos x="67" y="218"/>
                </a:cxn>
                <a:cxn ang="0">
                  <a:pos x="79" y="206"/>
                </a:cxn>
                <a:cxn ang="0">
                  <a:pos x="64" y="258"/>
                </a:cxn>
                <a:cxn ang="0">
                  <a:pos x="73" y="277"/>
                </a:cxn>
                <a:cxn ang="0">
                  <a:pos x="98" y="290"/>
                </a:cxn>
                <a:cxn ang="0">
                  <a:pos x="84" y="377"/>
                </a:cxn>
                <a:cxn ang="0">
                  <a:pos x="156" y="388"/>
                </a:cxn>
                <a:cxn ang="0">
                  <a:pos x="180" y="380"/>
                </a:cxn>
                <a:cxn ang="0">
                  <a:pos x="195" y="451"/>
                </a:cxn>
                <a:cxn ang="0">
                  <a:pos x="194" y="504"/>
                </a:cxn>
                <a:cxn ang="0">
                  <a:pos x="136" y="525"/>
                </a:cxn>
                <a:cxn ang="0">
                  <a:pos x="107" y="574"/>
                </a:cxn>
                <a:cxn ang="0">
                  <a:pos x="137" y="614"/>
                </a:cxn>
                <a:cxn ang="0">
                  <a:pos x="85" y="655"/>
                </a:cxn>
                <a:cxn ang="0">
                  <a:pos x="134" y="682"/>
                </a:cxn>
                <a:cxn ang="0">
                  <a:pos x="205" y="682"/>
                </a:cxn>
                <a:cxn ang="0">
                  <a:pos x="165" y="708"/>
                </a:cxn>
                <a:cxn ang="0">
                  <a:pos x="91" y="770"/>
                </a:cxn>
                <a:cxn ang="0">
                  <a:pos x="67" y="795"/>
                </a:cxn>
                <a:cxn ang="0">
                  <a:pos x="57" y="810"/>
                </a:cxn>
                <a:cxn ang="0">
                  <a:pos x="86" y="815"/>
                </a:cxn>
                <a:cxn ang="0">
                  <a:pos x="107" y="784"/>
                </a:cxn>
                <a:cxn ang="0">
                  <a:pos x="141" y="787"/>
                </a:cxn>
                <a:cxn ang="0">
                  <a:pos x="172" y="789"/>
                </a:cxn>
                <a:cxn ang="0">
                  <a:pos x="187" y="755"/>
                </a:cxn>
                <a:cxn ang="0">
                  <a:pos x="259" y="751"/>
                </a:cxn>
                <a:cxn ang="0">
                  <a:pos x="341" y="743"/>
                </a:cxn>
                <a:cxn ang="0">
                  <a:pos x="415" y="731"/>
                </a:cxn>
                <a:cxn ang="0">
                  <a:pos x="370" y="685"/>
                </a:cxn>
                <a:cxn ang="0">
                  <a:pos x="444" y="635"/>
                </a:cxn>
              </a:cxnLst>
              <a:rect l="0" t="0" r="r" b="b"/>
              <a:pathLst>
                <a:path w="455" h="818">
                  <a:moveTo>
                    <a:pt x="126" y="139"/>
                  </a:moveTo>
                  <a:cubicBezTo>
                    <a:pt x="126" y="141"/>
                    <a:pt x="126" y="142"/>
                    <a:pt x="125" y="144"/>
                  </a:cubicBezTo>
                  <a:cubicBezTo>
                    <a:pt x="124" y="145"/>
                    <a:pt x="117" y="155"/>
                    <a:pt x="116" y="157"/>
                  </a:cubicBezTo>
                  <a:cubicBezTo>
                    <a:pt x="114" y="159"/>
                    <a:pt x="111" y="160"/>
                    <a:pt x="110" y="163"/>
                  </a:cubicBezTo>
                  <a:cubicBezTo>
                    <a:pt x="106" y="164"/>
                    <a:pt x="109" y="162"/>
                    <a:pt x="109" y="161"/>
                  </a:cubicBezTo>
                  <a:cubicBezTo>
                    <a:pt x="110" y="160"/>
                    <a:pt x="112" y="159"/>
                    <a:pt x="112" y="157"/>
                  </a:cubicBezTo>
                  <a:cubicBezTo>
                    <a:pt x="113" y="154"/>
                    <a:pt x="117" y="148"/>
                    <a:pt x="118" y="147"/>
                  </a:cubicBezTo>
                  <a:cubicBezTo>
                    <a:pt x="119" y="146"/>
                    <a:pt x="119" y="145"/>
                    <a:pt x="120" y="144"/>
                  </a:cubicBezTo>
                  <a:cubicBezTo>
                    <a:pt x="120" y="144"/>
                    <a:pt x="122" y="142"/>
                    <a:pt x="122" y="141"/>
                  </a:cubicBezTo>
                  <a:cubicBezTo>
                    <a:pt x="123" y="140"/>
                    <a:pt x="124" y="139"/>
                    <a:pt x="124" y="138"/>
                  </a:cubicBezTo>
                  <a:cubicBezTo>
                    <a:pt x="126" y="137"/>
                    <a:pt x="126" y="138"/>
                    <a:pt x="126" y="139"/>
                  </a:cubicBezTo>
                  <a:moveTo>
                    <a:pt x="452" y="569"/>
                  </a:moveTo>
                  <a:cubicBezTo>
                    <a:pt x="450" y="566"/>
                    <a:pt x="446" y="568"/>
                    <a:pt x="443" y="567"/>
                  </a:cubicBezTo>
                  <a:cubicBezTo>
                    <a:pt x="441" y="566"/>
                    <a:pt x="441" y="564"/>
                    <a:pt x="440" y="563"/>
                  </a:cubicBezTo>
                  <a:cubicBezTo>
                    <a:pt x="439" y="562"/>
                    <a:pt x="436" y="561"/>
                    <a:pt x="434" y="560"/>
                  </a:cubicBezTo>
                  <a:cubicBezTo>
                    <a:pt x="432" y="559"/>
                    <a:pt x="431" y="559"/>
                    <a:pt x="429" y="558"/>
                  </a:cubicBezTo>
                  <a:cubicBezTo>
                    <a:pt x="427" y="558"/>
                    <a:pt x="425" y="555"/>
                    <a:pt x="422" y="555"/>
                  </a:cubicBezTo>
                  <a:cubicBezTo>
                    <a:pt x="420" y="554"/>
                    <a:pt x="418" y="555"/>
                    <a:pt x="416" y="555"/>
                  </a:cubicBezTo>
                  <a:cubicBezTo>
                    <a:pt x="413" y="556"/>
                    <a:pt x="410" y="555"/>
                    <a:pt x="407" y="555"/>
                  </a:cubicBezTo>
                  <a:cubicBezTo>
                    <a:pt x="402" y="555"/>
                    <a:pt x="398" y="554"/>
                    <a:pt x="393" y="554"/>
                  </a:cubicBezTo>
                  <a:cubicBezTo>
                    <a:pt x="388" y="554"/>
                    <a:pt x="387" y="555"/>
                    <a:pt x="385" y="559"/>
                  </a:cubicBezTo>
                  <a:cubicBezTo>
                    <a:pt x="384" y="561"/>
                    <a:pt x="383" y="562"/>
                    <a:pt x="382" y="563"/>
                  </a:cubicBezTo>
                  <a:cubicBezTo>
                    <a:pt x="380" y="565"/>
                    <a:pt x="380" y="567"/>
                    <a:pt x="378" y="568"/>
                  </a:cubicBezTo>
                  <a:cubicBezTo>
                    <a:pt x="376" y="570"/>
                    <a:pt x="375" y="570"/>
                    <a:pt x="373" y="569"/>
                  </a:cubicBezTo>
                  <a:cubicBezTo>
                    <a:pt x="370" y="568"/>
                    <a:pt x="371" y="565"/>
                    <a:pt x="368" y="563"/>
                  </a:cubicBezTo>
                  <a:cubicBezTo>
                    <a:pt x="366" y="561"/>
                    <a:pt x="364" y="562"/>
                    <a:pt x="364" y="558"/>
                  </a:cubicBezTo>
                  <a:cubicBezTo>
                    <a:pt x="364" y="556"/>
                    <a:pt x="364" y="555"/>
                    <a:pt x="365" y="553"/>
                  </a:cubicBezTo>
                  <a:cubicBezTo>
                    <a:pt x="367" y="550"/>
                    <a:pt x="372" y="551"/>
                    <a:pt x="375" y="549"/>
                  </a:cubicBezTo>
                  <a:cubicBezTo>
                    <a:pt x="377" y="547"/>
                    <a:pt x="377" y="545"/>
                    <a:pt x="378" y="543"/>
                  </a:cubicBezTo>
                  <a:cubicBezTo>
                    <a:pt x="378" y="540"/>
                    <a:pt x="380" y="538"/>
                    <a:pt x="380" y="536"/>
                  </a:cubicBezTo>
                  <a:cubicBezTo>
                    <a:pt x="382" y="532"/>
                    <a:pt x="381" y="528"/>
                    <a:pt x="380" y="524"/>
                  </a:cubicBezTo>
                  <a:cubicBezTo>
                    <a:pt x="379" y="522"/>
                    <a:pt x="379" y="519"/>
                    <a:pt x="378" y="518"/>
                  </a:cubicBezTo>
                  <a:cubicBezTo>
                    <a:pt x="377" y="517"/>
                    <a:pt x="376" y="518"/>
                    <a:pt x="375" y="517"/>
                  </a:cubicBezTo>
                  <a:cubicBezTo>
                    <a:pt x="373" y="517"/>
                    <a:pt x="372" y="514"/>
                    <a:pt x="370" y="513"/>
                  </a:cubicBezTo>
                  <a:cubicBezTo>
                    <a:pt x="368" y="511"/>
                    <a:pt x="368" y="508"/>
                    <a:pt x="367" y="506"/>
                  </a:cubicBezTo>
                  <a:cubicBezTo>
                    <a:pt x="366" y="505"/>
                    <a:pt x="365" y="502"/>
                    <a:pt x="363" y="502"/>
                  </a:cubicBezTo>
                  <a:cubicBezTo>
                    <a:pt x="362" y="501"/>
                    <a:pt x="358" y="501"/>
                    <a:pt x="358" y="499"/>
                  </a:cubicBezTo>
                  <a:cubicBezTo>
                    <a:pt x="360" y="498"/>
                    <a:pt x="365" y="498"/>
                    <a:pt x="367" y="499"/>
                  </a:cubicBezTo>
                  <a:cubicBezTo>
                    <a:pt x="370" y="499"/>
                    <a:pt x="371" y="501"/>
                    <a:pt x="375" y="501"/>
                  </a:cubicBezTo>
                  <a:cubicBezTo>
                    <a:pt x="376" y="498"/>
                    <a:pt x="374" y="498"/>
                    <a:pt x="372" y="497"/>
                  </a:cubicBezTo>
                  <a:cubicBezTo>
                    <a:pt x="371" y="496"/>
                    <a:pt x="370" y="495"/>
                    <a:pt x="369" y="495"/>
                  </a:cubicBezTo>
                  <a:cubicBezTo>
                    <a:pt x="368" y="489"/>
                    <a:pt x="364" y="485"/>
                    <a:pt x="361" y="481"/>
                  </a:cubicBezTo>
                  <a:cubicBezTo>
                    <a:pt x="359" y="476"/>
                    <a:pt x="358" y="470"/>
                    <a:pt x="354" y="466"/>
                  </a:cubicBezTo>
                  <a:cubicBezTo>
                    <a:pt x="352" y="464"/>
                    <a:pt x="350" y="459"/>
                    <a:pt x="349" y="456"/>
                  </a:cubicBezTo>
                  <a:cubicBezTo>
                    <a:pt x="348" y="452"/>
                    <a:pt x="354" y="451"/>
                    <a:pt x="354" y="447"/>
                  </a:cubicBezTo>
                  <a:cubicBezTo>
                    <a:pt x="350" y="445"/>
                    <a:pt x="347" y="443"/>
                    <a:pt x="345" y="439"/>
                  </a:cubicBezTo>
                  <a:cubicBezTo>
                    <a:pt x="344" y="437"/>
                    <a:pt x="343" y="434"/>
                    <a:pt x="341" y="432"/>
                  </a:cubicBezTo>
                  <a:cubicBezTo>
                    <a:pt x="340" y="430"/>
                    <a:pt x="338" y="429"/>
                    <a:pt x="337" y="427"/>
                  </a:cubicBezTo>
                  <a:cubicBezTo>
                    <a:pt x="335" y="424"/>
                    <a:pt x="333" y="419"/>
                    <a:pt x="330" y="417"/>
                  </a:cubicBezTo>
                  <a:cubicBezTo>
                    <a:pt x="327" y="414"/>
                    <a:pt x="323" y="414"/>
                    <a:pt x="319" y="412"/>
                  </a:cubicBezTo>
                  <a:cubicBezTo>
                    <a:pt x="317" y="410"/>
                    <a:pt x="315" y="408"/>
                    <a:pt x="313" y="407"/>
                  </a:cubicBezTo>
                  <a:cubicBezTo>
                    <a:pt x="312" y="406"/>
                    <a:pt x="310" y="406"/>
                    <a:pt x="308" y="405"/>
                  </a:cubicBezTo>
                  <a:cubicBezTo>
                    <a:pt x="306" y="403"/>
                    <a:pt x="304" y="403"/>
                    <a:pt x="304" y="400"/>
                  </a:cubicBezTo>
                  <a:cubicBezTo>
                    <a:pt x="304" y="397"/>
                    <a:pt x="305" y="397"/>
                    <a:pt x="302" y="396"/>
                  </a:cubicBezTo>
                  <a:cubicBezTo>
                    <a:pt x="299" y="396"/>
                    <a:pt x="292" y="397"/>
                    <a:pt x="292" y="392"/>
                  </a:cubicBezTo>
                  <a:cubicBezTo>
                    <a:pt x="291" y="388"/>
                    <a:pt x="293" y="391"/>
                    <a:pt x="295" y="390"/>
                  </a:cubicBezTo>
                  <a:cubicBezTo>
                    <a:pt x="296" y="389"/>
                    <a:pt x="297" y="386"/>
                    <a:pt x="295" y="385"/>
                  </a:cubicBezTo>
                  <a:cubicBezTo>
                    <a:pt x="297" y="385"/>
                    <a:pt x="299" y="382"/>
                    <a:pt x="299" y="380"/>
                  </a:cubicBezTo>
                  <a:cubicBezTo>
                    <a:pt x="299" y="378"/>
                    <a:pt x="297" y="377"/>
                    <a:pt x="295" y="376"/>
                  </a:cubicBezTo>
                  <a:cubicBezTo>
                    <a:pt x="292" y="374"/>
                    <a:pt x="290" y="373"/>
                    <a:pt x="290" y="368"/>
                  </a:cubicBezTo>
                  <a:cubicBezTo>
                    <a:pt x="290" y="364"/>
                    <a:pt x="292" y="360"/>
                    <a:pt x="288" y="357"/>
                  </a:cubicBezTo>
                  <a:cubicBezTo>
                    <a:pt x="286" y="356"/>
                    <a:pt x="284" y="356"/>
                    <a:pt x="282" y="358"/>
                  </a:cubicBezTo>
                  <a:cubicBezTo>
                    <a:pt x="282" y="359"/>
                    <a:pt x="282" y="359"/>
                    <a:pt x="280" y="360"/>
                  </a:cubicBezTo>
                  <a:cubicBezTo>
                    <a:pt x="281" y="359"/>
                    <a:pt x="282" y="358"/>
                    <a:pt x="282" y="358"/>
                  </a:cubicBezTo>
                  <a:cubicBezTo>
                    <a:pt x="284" y="353"/>
                    <a:pt x="279" y="343"/>
                    <a:pt x="278" y="341"/>
                  </a:cubicBezTo>
                  <a:cubicBezTo>
                    <a:pt x="277" y="338"/>
                    <a:pt x="276" y="336"/>
                    <a:pt x="276" y="332"/>
                  </a:cubicBezTo>
                  <a:cubicBezTo>
                    <a:pt x="276" y="327"/>
                    <a:pt x="277" y="324"/>
                    <a:pt x="283" y="328"/>
                  </a:cubicBezTo>
                  <a:cubicBezTo>
                    <a:pt x="279" y="323"/>
                    <a:pt x="277" y="318"/>
                    <a:pt x="274" y="312"/>
                  </a:cubicBezTo>
                  <a:cubicBezTo>
                    <a:pt x="272" y="310"/>
                    <a:pt x="272" y="310"/>
                    <a:pt x="270" y="309"/>
                  </a:cubicBezTo>
                  <a:cubicBezTo>
                    <a:pt x="268" y="308"/>
                    <a:pt x="267" y="308"/>
                    <a:pt x="267" y="306"/>
                  </a:cubicBezTo>
                  <a:cubicBezTo>
                    <a:pt x="266" y="303"/>
                    <a:pt x="269" y="302"/>
                    <a:pt x="266" y="300"/>
                  </a:cubicBezTo>
                  <a:cubicBezTo>
                    <a:pt x="265" y="299"/>
                    <a:pt x="262" y="298"/>
                    <a:pt x="260" y="298"/>
                  </a:cubicBezTo>
                  <a:cubicBezTo>
                    <a:pt x="256" y="297"/>
                    <a:pt x="251" y="294"/>
                    <a:pt x="250" y="290"/>
                  </a:cubicBezTo>
                  <a:cubicBezTo>
                    <a:pt x="249" y="286"/>
                    <a:pt x="252" y="283"/>
                    <a:pt x="252" y="279"/>
                  </a:cubicBezTo>
                  <a:cubicBezTo>
                    <a:pt x="251" y="277"/>
                    <a:pt x="250" y="275"/>
                    <a:pt x="249" y="273"/>
                  </a:cubicBezTo>
                  <a:cubicBezTo>
                    <a:pt x="248" y="273"/>
                    <a:pt x="245" y="271"/>
                    <a:pt x="243" y="271"/>
                  </a:cubicBezTo>
                  <a:cubicBezTo>
                    <a:pt x="239" y="271"/>
                    <a:pt x="239" y="277"/>
                    <a:pt x="233" y="273"/>
                  </a:cubicBezTo>
                  <a:cubicBezTo>
                    <a:pt x="233" y="273"/>
                    <a:pt x="233" y="272"/>
                    <a:pt x="232" y="272"/>
                  </a:cubicBezTo>
                  <a:cubicBezTo>
                    <a:pt x="231" y="271"/>
                    <a:pt x="229" y="271"/>
                    <a:pt x="229" y="271"/>
                  </a:cubicBezTo>
                  <a:cubicBezTo>
                    <a:pt x="227" y="270"/>
                    <a:pt x="227" y="267"/>
                    <a:pt x="224" y="268"/>
                  </a:cubicBezTo>
                  <a:cubicBezTo>
                    <a:pt x="225" y="272"/>
                    <a:pt x="222" y="269"/>
                    <a:pt x="221" y="268"/>
                  </a:cubicBezTo>
                  <a:cubicBezTo>
                    <a:pt x="220" y="266"/>
                    <a:pt x="220" y="266"/>
                    <a:pt x="217" y="266"/>
                  </a:cubicBezTo>
                  <a:cubicBezTo>
                    <a:pt x="214" y="266"/>
                    <a:pt x="209" y="265"/>
                    <a:pt x="207" y="268"/>
                  </a:cubicBezTo>
                  <a:cubicBezTo>
                    <a:pt x="207" y="269"/>
                    <a:pt x="208" y="271"/>
                    <a:pt x="206" y="272"/>
                  </a:cubicBezTo>
                  <a:cubicBezTo>
                    <a:pt x="204" y="273"/>
                    <a:pt x="203" y="271"/>
                    <a:pt x="202" y="270"/>
                  </a:cubicBezTo>
                  <a:cubicBezTo>
                    <a:pt x="198" y="270"/>
                    <a:pt x="195" y="274"/>
                    <a:pt x="192" y="275"/>
                  </a:cubicBezTo>
                  <a:cubicBezTo>
                    <a:pt x="190" y="276"/>
                    <a:pt x="187" y="275"/>
                    <a:pt x="185" y="274"/>
                  </a:cubicBezTo>
                  <a:cubicBezTo>
                    <a:pt x="184" y="274"/>
                    <a:pt x="183" y="274"/>
                    <a:pt x="183" y="274"/>
                  </a:cubicBezTo>
                  <a:cubicBezTo>
                    <a:pt x="182" y="274"/>
                    <a:pt x="181" y="273"/>
                    <a:pt x="180" y="272"/>
                  </a:cubicBezTo>
                  <a:cubicBezTo>
                    <a:pt x="177" y="270"/>
                    <a:pt x="174" y="271"/>
                    <a:pt x="170" y="270"/>
                  </a:cubicBezTo>
                  <a:cubicBezTo>
                    <a:pt x="167" y="270"/>
                    <a:pt x="163" y="270"/>
                    <a:pt x="160" y="269"/>
                  </a:cubicBezTo>
                  <a:cubicBezTo>
                    <a:pt x="158" y="269"/>
                    <a:pt x="156" y="268"/>
                    <a:pt x="154" y="268"/>
                  </a:cubicBezTo>
                  <a:cubicBezTo>
                    <a:pt x="152" y="268"/>
                    <a:pt x="152" y="269"/>
                    <a:pt x="150" y="269"/>
                  </a:cubicBezTo>
                  <a:cubicBezTo>
                    <a:pt x="149" y="268"/>
                    <a:pt x="149" y="268"/>
                    <a:pt x="150" y="267"/>
                  </a:cubicBezTo>
                  <a:cubicBezTo>
                    <a:pt x="156" y="266"/>
                    <a:pt x="163" y="267"/>
                    <a:pt x="170" y="267"/>
                  </a:cubicBezTo>
                  <a:cubicBezTo>
                    <a:pt x="173" y="267"/>
                    <a:pt x="176" y="267"/>
                    <a:pt x="179" y="267"/>
                  </a:cubicBezTo>
                  <a:cubicBezTo>
                    <a:pt x="182" y="267"/>
                    <a:pt x="185" y="268"/>
                    <a:pt x="188" y="268"/>
                  </a:cubicBezTo>
                  <a:cubicBezTo>
                    <a:pt x="188" y="264"/>
                    <a:pt x="191" y="266"/>
                    <a:pt x="193" y="265"/>
                  </a:cubicBezTo>
                  <a:cubicBezTo>
                    <a:pt x="196" y="264"/>
                    <a:pt x="194" y="261"/>
                    <a:pt x="195" y="258"/>
                  </a:cubicBezTo>
                  <a:cubicBezTo>
                    <a:pt x="196" y="256"/>
                    <a:pt x="200" y="256"/>
                    <a:pt x="202" y="255"/>
                  </a:cubicBezTo>
                  <a:cubicBezTo>
                    <a:pt x="204" y="254"/>
                    <a:pt x="205" y="254"/>
                    <a:pt x="206" y="253"/>
                  </a:cubicBezTo>
                  <a:cubicBezTo>
                    <a:pt x="207" y="252"/>
                    <a:pt x="208" y="251"/>
                    <a:pt x="210" y="251"/>
                  </a:cubicBezTo>
                  <a:cubicBezTo>
                    <a:pt x="210" y="252"/>
                    <a:pt x="210" y="253"/>
                    <a:pt x="210" y="254"/>
                  </a:cubicBezTo>
                  <a:cubicBezTo>
                    <a:pt x="212" y="255"/>
                    <a:pt x="214" y="254"/>
                    <a:pt x="216" y="254"/>
                  </a:cubicBezTo>
                  <a:cubicBezTo>
                    <a:pt x="216" y="252"/>
                    <a:pt x="216" y="249"/>
                    <a:pt x="217" y="247"/>
                  </a:cubicBezTo>
                  <a:cubicBezTo>
                    <a:pt x="218" y="243"/>
                    <a:pt x="222" y="243"/>
                    <a:pt x="225" y="243"/>
                  </a:cubicBezTo>
                  <a:cubicBezTo>
                    <a:pt x="228" y="243"/>
                    <a:pt x="230" y="243"/>
                    <a:pt x="232" y="241"/>
                  </a:cubicBezTo>
                  <a:cubicBezTo>
                    <a:pt x="234" y="239"/>
                    <a:pt x="233" y="237"/>
                    <a:pt x="230" y="236"/>
                  </a:cubicBezTo>
                  <a:cubicBezTo>
                    <a:pt x="227" y="236"/>
                    <a:pt x="226" y="237"/>
                    <a:pt x="224" y="237"/>
                  </a:cubicBezTo>
                  <a:cubicBezTo>
                    <a:pt x="221" y="237"/>
                    <a:pt x="219" y="234"/>
                    <a:pt x="217" y="233"/>
                  </a:cubicBezTo>
                  <a:cubicBezTo>
                    <a:pt x="215" y="232"/>
                    <a:pt x="213" y="231"/>
                    <a:pt x="212" y="230"/>
                  </a:cubicBezTo>
                  <a:cubicBezTo>
                    <a:pt x="210" y="228"/>
                    <a:pt x="212" y="225"/>
                    <a:pt x="209" y="224"/>
                  </a:cubicBezTo>
                  <a:cubicBezTo>
                    <a:pt x="213" y="223"/>
                    <a:pt x="215" y="219"/>
                    <a:pt x="220" y="219"/>
                  </a:cubicBezTo>
                  <a:cubicBezTo>
                    <a:pt x="221" y="219"/>
                    <a:pt x="222" y="219"/>
                    <a:pt x="223" y="219"/>
                  </a:cubicBezTo>
                  <a:cubicBezTo>
                    <a:pt x="224" y="219"/>
                    <a:pt x="224" y="217"/>
                    <a:pt x="225" y="217"/>
                  </a:cubicBezTo>
                  <a:cubicBezTo>
                    <a:pt x="225" y="216"/>
                    <a:pt x="226" y="216"/>
                    <a:pt x="227" y="216"/>
                  </a:cubicBezTo>
                  <a:cubicBezTo>
                    <a:pt x="228" y="215"/>
                    <a:pt x="230" y="210"/>
                    <a:pt x="230" y="209"/>
                  </a:cubicBezTo>
                  <a:cubicBezTo>
                    <a:pt x="231" y="205"/>
                    <a:pt x="230" y="202"/>
                    <a:pt x="227" y="201"/>
                  </a:cubicBezTo>
                  <a:cubicBezTo>
                    <a:pt x="227" y="198"/>
                    <a:pt x="228" y="196"/>
                    <a:pt x="230" y="195"/>
                  </a:cubicBezTo>
                  <a:cubicBezTo>
                    <a:pt x="231" y="194"/>
                    <a:pt x="232" y="194"/>
                    <a:pt x="233" y="194"/>
                  </a:cubicBezTo>
                  <a:cubicBezTo>
                    <a:pt x="235" y="193"/>
                    <a:pt x="235" y="192"/>
                    <a:pt x="237" y="191"/>
                  </a:cubicBezTo>
                  <a:cubicBezTo>
                    <a:pt x="239" y="190"/>
                    <a:pt x="240" y="188"/>
                    <a:pt x="242" y="186"/>
                  </a:cubicBezTo>
                  <a:cubicBezTo>
                    <a:pt x="245" y="183"/>
                    <a:pt x="247" y="183"/>
                    <a:pt x="246" y="179"/>
                  </a:cubicBezTo>
                  <a:cubicBezTo>
                    <a:pt x="246" y="177"/>
                    <a:pt x="245" y="174"/>
                    <a:pt x="245" y="172"/>
                  </a:cubicBezTo>
                  <a:cubicBezTo>
                    <a:pt x="246" y="169"/>
                    <a:pt x="248" y="169"/>
                    <a:pt x="250" y="167"/>
                  </a:cubicBezTo>
                  <a:cubicBezTo>
                    <a:pt x="251" y="164"/>
                    <a:pt x="250" y="151"/>
                    <a:pt x="246" y="155"/>
                  </a:cubicBezTo>
                  <a:cubicBezTo>
                    <a:pt x="249" y="154"/>
                    <a:pt x="251" y="151"/>
                    <a:pt x="252" y="149"/>
                  </a:cubicBezTo>
                  <a:cubicBezTo>
                    <a:pt x="253" y="145"/>
                    <a:pt x="255" y="145"/>
                    <a:pt x="258" y="142"/>
                  </a:cubicBezTo>
                  <a:cubicBezTo>
                    <a:pt x="261" y="140"/>
                    <a:pt x="265" y="138"/>
                    <a:pt x="266" y="134"/>
                  </a:cubicBezTo>
                  <a:cubicBezTo>
                    <a:pt x="266" y="130"/>
                    <a:pt x="266" y="126"/>
                    <a:pt x="266" y="123"/>
                  </a:cubicBezTo>
                  <a:cubicBezTo>
                    <a:pt x="266" y="120"/>
                    <a:pt x="267" y="115"/>
                    <a:pt x="266" y="112"/>
                  </a:cubicBezTo>
                  <a:cubicBezTo>
                    <a:pt x="264" y="109"/>
                    <a:pt x="261" y="107"/>
                    <a:pt x="258" y="106"/>
                  </a:cubicBezTo>
                  <a:cubicBezTo>
                    <a:pt x="257" y="106"/>
                    <a:pt x="254" y="104"/>
                    <a:pt x="253" y="104"/>
                  </a:cubicBezTo>
                  <a:cubicBezTo>
                    <a:pt x="252" y="102"/>
                    <a:pt x="252" y="100"/>
                    <a:pt x="250" y="100"/>
                  </a:cubicBezTo>
                  <a:cubicBezTo>
                    <a:pt x="247" y="99"/>
                    <a:pt x="243" y="103"/>
                    <a:pt x="242" y="105"/>
                  </a:cubicBezTo>
                  <a:cubicBezTo>
                    <a:pt x="238" y="106"/>
                    <a:pt x="236" y="104"/>
                    <a:pt x="232" y="106"/>
                  </a:cubicBezTo>
                  <a:cubicBezTo>
                    <a:pt x="231" y="107"/>
                    <a:pt x="230" y="108"/>
                    <a:pt x="228" y="108"/>
                  </a:cubicBezTo>
                  <a:cubicBezTo>
                    <a:pt x="228" y="107"/>
                    <a:pt x="227" y="106"/>
                    <a:pt x="226" y="105"/>
                  </a:cubicBezTo>
                  <a:cubicBezTo>
                    <a:pt x="225" y="105"/>
                    <a:pt x="225" y="105"/>
                    <a:pt x="224" y="105"/>
                  </a:cubicBezTo>
                  <a:cubicBezTo>
                    <a:pt x="222" y="104"/>
                    <a:pt x="222" y="102"/>
                    <a:pt x="220" y="102"/>
                  </a:cubicBezTo>
                  <a:cubicBezTo>
                    <a:pt x="219" y="101"/>
                    <a:pt x="215" y="102"/>
                    <a:pt x="213" y="102"/>
                  </a:cubicBezTo>
                  <a:cubicBezTo>
                    <a:pt x="210" y="102"/>
                    <a:pt x="206" y="101"/>
                    <a:pt x="203" y="102"/>
                  </a:cubicBezTo>
                  <a:cubicBezTo>
                    <a:pt x="202" y="107"/>
                    <a:pt x="197" y="105"/>
                    <a:pt x="194" y="104"/>
                  </a:cubicBezTo>
                  <a:cubicBezTo>
                    <a:pt x="191" y="101"/>
                    <a:pt x="188" y="99"/>
                    <a:pt x="184" y="99"/>
                  </a:cubicBezTo>
                  <a:cubicBezTo>
                    <a:pt x="182" y="99"/>
                    <a:pt x="177" y="99"/>
                    <a:pt x="176" y="101"/>
                  </a:cubicBezTo>
                  <a:cubicBezTo>
                    <a:pt x="174" y="103"/>
                    <a:pt x="175" y="105"/>
                    <a:pt x="174" y="106"/>
                  </a:cubicBezTo>
                  <a:cubicBezTo>
                    <a:pt x="173" y="107"/>
                    <a:pt x="171" y="106"/>
                    <a:pt x="169" y="106"/>
                  </a:cubicBezTo>
                  <a:cubicBezTo>
                    <a:pt x="167" y="107"/>
                    <a:pt x="165" y="108"/>
                    <a:pt x="162" y="109"/>
                  </a:cubicBezTo>
                  <a:cubicBezTo>
                    <a:pt x="161" y="110"/>
                    <a:pt x="159" y="111"/>
                    <a:pt x="157" y="112"/>
                  </a:cubicBezTo>
                  <a:cubicBezTo>
                    <a:pt x="157" y="113"/>
                    <a:pt x="157" y="113"/>
                    <a:pt x="157" y="114"/>
                  </a:cubicBezTo>
                  <a:cubicBezTo>
                    <a:pt x="157" y="114"/>
                    <a:pt x="157" y="115"/>
                    <a:pt x="156" y="115"/>
                  </a:cubicBezTo>
                  <a:cubicBezTo>
                    <a:pt x="156" y="115"/>
                    <a:pt x="153" y="117"/>
                    <a:pt x="153" y="117"/>
                  </a:cubicBezTo>
                  <a:cubicBezTo>
                    <a:pt x="150" y="117"/>
                    <a:pt x="147" y="116"/>
                    <a:pt x="144" y="117"/>
                  </a:cubicBezTo>
                  <a:cubicBezTo>
                    <a:pt x="142" y="118"/>
                    <a:pt x="143" y="118"/>
                    <a:pt x="141" y="120"/>
                  </a:cubicBezTo>
                  <a:cubicBezTo>
                    <a:pt x="140" y="122"/>
                    <a:pt x="139" y="122"/>
                    <a:pt x="136" y="123"/>
                  </a:cubicBezTo>
                  <a:cubicBezTo>
                    <a:pt x="134" y="125"/>
                    <a:pt x="134" y="126"/>
                    <a:pt x="132" y="128"/>
                  </a:cubicBezTo>
                  <a:cubicBezTo>
                    <a:pt x="130" y="129"/>
                    <a:pt x="129" y="132"/>
                    <a:pt x="130" y="128"/>
                  </a:cubicBezTo>
                  <a:cubicBezTo>
                    <a:pt x="131" y="127"/>
                    <a:pt x="132" y="125"/>
                    <a:pt x="131" y="126"/>
                  </a:cubicBezTo>
                  <a:cubicBezTo>
                    <a:pt x="132" y="125"/>
                    <a:pt x="132" y="125"/>
                    <a:pt x="132" y="124"/>
                  </a:cubicBezTo>
                  <a:cubicBezTo>
                    <a:pt x="133" y="123"/>
                    <a:pt x="134" y="122"/>
                    <a:pt x="135" y="121"/>
                  </a:cubicBezTo>
                  <a:cubicBezTo>
                    <a:pt x="136" y="120"/>
                    <a:pt x="136" y="120"/>
                    <a:pt x="137" y="119"/>
                  </a:cubicBezTo>
                  <a:cubicBezTo>
                    <a:pt x="137" y="118"/>
                    <a:pt x="138" y="118"/>
                    <a:pt x="139" y="117"/>
                  </a:cubicBezTo>
                  <a:cubicBezTo>
                    <a:pt x="141" y="115"/>
                    <a:pt x="143" y="111"/>
                    <a:pt x="145" y="109"/>
                  </a:cubicBezTo>
                  <a:cubicBezTo>
                    <a:pt x="145" y="108"/>
                    <a:pt x="146" y="108"/>
                    <a:pt x="146" y="107"/>
                  </a:cubicBezTo>
                  <a:cubicBezTo>
                    <a:pt x="146" y="106"/>
                    <a:pt x="143" y="105"/>
                    <a:pt x="142" y="105"/>
                  </a:cubicBezTo>
                  <a:cubicBezTo>
                    <a:pt x="139" y="104"/>
                    <a:pt x="136" y="107"/>
                    <a:pt x="134" y="108"/>
                  </a:cubicBezTo>
                  <a:cubicBezTo>
                    <a:pt x="132" y="109"/>
                    <a:pt x="130" y="111"/>
                    <a:pt x="128" y="112"/>
                  </a:cubicBezTo>
                  <a:cubicBezTo>
                    <a:pt x="128" y="113"/>
                    <a:pt x="127" y="113"/>
                    <a:pt x="127" y="114"/>
                  </a:cubicBezTo>
                  <a:cubicBezTo>
                    <a:pt x="125" y="114"/>
                    <a:pt x="124" y="114"/>
                    <a:pt x="125" y="112"/>
                  </a:cubicBezTo>
                  <a:cubicBezTo>
                    <a:pt x="126" y="111"/>
                    <a:pt x="127" y="110"/>
                    <a:pt x="128" y="108"/>
                  </a:cubicBezTo>
                  <a:cubicBezTo>
                    <a:pt x="129" y="107"/>
                    <a:pt x="130" y="106"/>
                    <a:pt x="132" y="105"/>
                  </a:cubicBezTo>
                  <a:cubicBezTo>
                    <a:pt x="135" y="103"/>
                    <a:pt x="138" y="102"/>
                    <a:pt x="141" y="101"/>
                  </a:cubicBezTo>
                  <a:cubicBezTo>
                    <a:pt x="142" y="100"/>
                    <a:pt x="143" y="100"/>
                    <a:pt x="144" y="100"/>
                  </a:cubicBezTo>
                  <a:cubicBezTo>
                    <a:pt x="146" y="100"/>
                    <a:pt x="145" y="102"/>
                    <a:pt x="146" y="102"/>
                  </a:cubicBezTo>
                  <a:cubicBezTo>
                    <a:pt x="147" y="103"/>
                    <a:pt x="147" y="103"/>
                    <a:pt x="148" y="103"/>
                  </a:cubicBezTo>
                  <a:cubicBezTo>
                    <a:pt x="149" y="102"/>
                    <a:pt x="150" y="102"/>
                    <a:pt x="150" y="101"/>
                  </a:cubicBezTo>
                  <a:cubicBezTo>
                    <a:pt x="151" y="98"/>
                    <a:pt x="152" y="96"/>
                    <a:pt x="154" y="94"/>
                  </a:cubicBezTo>
                  <a:cubicBezTo>
                    <a:pt x="155" y="92"/>
                    <a:pt x="157" y="90"/>
                    <a:pt x="159" y="88"/>
                  </a:cubicBezTo>
                  <a:cubicBezTo>
                    <a:pt x="160" y="87"/>
                    <a:pt x="161" y="86"/>
                    <a:pt x="161" y="85"/>
                  </a:cubicBezTo>
                  <a:cubicBezTo>
                    <a:pt x="159" y="85"/>
                    <a:pt x="158" y="87"/>
                    <a:pt x="157" y="88"/>
                  </a:cubicBezTo>
                  <a:cubicBezTo>
                    <a:pt x="157" y="89"/>
                    <a:pt x="156" y="89"/>
                    <a:pt x="155" y="89"/>
                  </a:cubicBezTo>
                  <a:cubicBezTo>
                    <a:pt x="154" y="90"/>
                    <a:pt x="153" y="89"/>
                    <a:pt x="152" y="89"/>
                  </a:cubicBezTo>
                  <a:cubicBezTo>
                    <a:pt x="150" y="89"/>
                    <a:pt x="148" y="87"/>
                    <a:pt x="147" y="88"/>
                  </a:cubicBezTo>
                  <a:cubicBezTo>
                    <a:pt x="145" y="88"/>
                    <a:pt x="143" y="90"/>
                    <a:pt x="141" y="89"/>
                  </a:cubicBezTo>
                  <a:cubicBezTo>
                    <a:pt x="139" y="89"/>
                    <a:pt x="138" y="88"/>
                    <a:pt x="136" y="87"/>
                  </a:cubicBezTo>
                  <a:cubicBezTo>
                    <a:pt x="134" y="85"/>
                    <a:pt x="131" y="85"/>
                    <a:pt x="129" y="85"/>
                  </a:cubicBezTo>
                  <a:cubicBezTo>
                    <a:pt x="128" y="85"/>
                    <a:pt x="123" y="86"/>
                    <a:pt x="123" y="84"/>
                  </a:cubicBezTo>
                  <a:cubicBezTo>
                    <a:pt x="124" y="83"/>
                    <a:pt x="128" y="83"/>
                    <a:pt x="130" y="83"/>
                  </a:cubicBezTo>
                  <a:cubicBezTo>
                    <a:pt x="131" y="83"/>
                    <a:pt x="132" y="84"/>
                    <a:pt x="133" y="84"/>
                  </a:cubicBezTo>
                  <a:cubicBezTo>
                    <a:pt x="135" y="84"/>
                    <a:pt x="139" y="83"/>
                    <a:pt x="141" y="84"/>
                  </a:cubicBezTo>
                  <a:cubicBezTo>
                    <a:pt x="143" y="84"/>
                    <a:pt x="144" y="85"/>
                    <a:pt x="146" y="84"/>
                  </a:cubicBezTo>
                  <a:cubicBezTo>
                    <a:pt x="147" y="84"/>
                    <a:pt x="147" y="83"/>
                    <a:pt x="147" y="81"/>
                  </a:cubicBezTo>
                  <a:cubicBezTo>
                    <a:pt x="147" y="80"/>
                    <a:pt x="147" y="79"/>
                    <a:pt x="148" y="78"/>
                  </a:cubicBezTo>
                  <a:cubicBezTo>
                    <a:pt x="148" y="77"/>
                    <a:pt x="149" y="76"/>
                    <a:pt x="150" y="76"/>
                  </a:cubicBezTo>
                  <a:cubicBezTo>
                    <a:pt x="152" y="75"/>
                    <a:pt x="154" y="74"/>
                    <a:pt x="155" y="73"/>
                  </a:cubicBezTo>
                  <a:cubicBezTo>
                    <a:pt x="156" y="72"/>
                    <a:pt x="156" y="73"/>
                    <a:pt x="156" y="72"/>
                  </a:cubicBezTo>
                  <a:cubicBezTo>
                    <a:pt x="157" y="72"/>
                    <a:pt x="157" y="71"/>
                    <a:pt x="157" y="71"/>
                  </a:cubicBezTo>
                  <a:cubicBezTo>
                    <a:pt x="157" y="70"/>
                    <a:pt x="157" y="70"/>
                    <a:pt x="158" y="69"/>
                  </a:cubicBezTo>
                  <a:cubicBezTo>
                    <a:pt x="158" y="68"/>
                    <a:pt x="159" y="68"/>
                    <a:pt x="159" y="68"/>
                  </a:cubicBezTo>
                  <a:cubicBezTo>
                    <a:pt x="160" y="67"/>
                    <a:pt x="161" y="66"/>
                    <a:pt x="161" y="65"/>
                  </a:cubicBezTo>
                  <a:cubicBezTo>
                    <a:pt x="162" y="64"/>
                    <a:pt x="164" y="63"/>
                    <a:pt x="164" y="62"/>
                  </a:cubicBezTo>
                  <a:cubicBezTo>
                    <a:pt x="166" y="61"/>
                    <a:pt x="166" y="59"/>
                    <a:pt x="168" y="58"/>
                  </a:cubicBezTo>
                  <a:cubicBezTo>
                    <a:pt x="168" y="58"/>
                    <a:pt x="169" y="58"/>
                    <a:pt x="169" y="58"/>
                  </a:cubicBezTo>
                  <a:cubicBezTo>
                    <a:pt x="170" y="57"/>
                    <a:pt x="169" y="57"/>
                    <a:pt x="170" y="57"/>
                  </a:cubicBezTo>
                  <a:cubicBezTo>
                    <a:pt x="170" y="56"/>
                    <a:pt x="171" y="56"/>
                    <a:pt x="172" y="56"/>
                  </a:cubicBezTo>
                  <a:cubicBezTo>
                    <a:pt x="175" y="54"/>
                    <a:pt x="177" y="53"/>
                    <a:pt x="179" y="50"/>
                  </a:cubicBezTo>
                  <a:cubicBezTo>
                    <a:pt x="180" y="48"/>
                    <a:pt x="180" y="47"/>
                    <a:pt x="181" y="45"/>
                  </a:cubicBezTo>
                  <a:cubicBezTo>
                    <a:pt x="182" y="45"/>
                    <a:pt x="182" y="44"/>
                    <a:pt x="182" y="43"/>
                  </a:cubicBezTo>
                  <a:cubicBezTo>
                    <a:pt x="183" y="43"/>
                    <a:pt x="186" y="44"/>
                    <a:pt x="187" y="43"/>
                  </a:cubicBezTo>
                  <a:cubicBezTo>
                    <a:pt x="187" y="42"/>
                    <a:pt x="187" y="42"/>
                    <a:pt x="188" y="41"/>
                  </a:cubicBezTo>
                  <a:cubicBezTo>
                    <a:pt x="188" y="40"/>
                    <a:pt x="190" y="40"/>
                    <a:pt x="190" y="39"/>
                  </a:cubicBezTo>
                  <a:cubicBezTo>
                    <a:pt x="191" y="38"/>
                    <a:pt x="191" y="37"/>
                    <a:pt x="192" y="36"/>
                  </a:cubicBezTo>
                  <a:cubicBezTo>
                    <a:pt x="192" y="35"/>
                    <a:pt x="193" y="35"/>
                    <a:pt x="194" y="34"/>
                  </a:cubicBezTo>
                  <a:cubicBezTo>
                    <a:pt x="194" y="33"/>
                    <a:pt x="195" y="32"/>
                    <a:pt x="195" y="31"/>
                  </a:cubicBezTo>
                  <a:cubicBezTo>
                    <a:pt x="196" y="30"/>
                    <a:pt x="197" y="30"/>
                    <a:pt x="197" y="29"/>
                  </a:cubicBezTo>
                  <a:cubicBezTo>
                    <a:pt x="197" y="28"/>
                    <a:pt x="197" y="28"/>
                    <a:pt x="198" y="27"/>
                  </a:cubicBezTo>
                  <a:cubicBezTo>
                    <a:pt x="198" y="26"/>
                    <a:pt x="198" y="26"/>
                    <a:pt x="199" y="25"/>
                  </a:cubicBezTo>
                  <a:cubicBezTo>
                    <a:pt x="199" y="24"/>
                    <a:pt x="199" y="24"/>
                    <a:pt x="199" y="24"/>
                  </a:cubicBezTo>
                  <a:cubicBezTo>
                    <a:pt x="198" y="23"/>
                    <a:pt x="195" y="23"/>
                    <a:pt x="194" y="22"/>
                  </a:cubicBezTo>
                  <a:cubicBezTo>
                    <a:pt x="194" y="22"/>
                    <a:pt x="194" y="21"/>
                    <a:pt x="193" y="21"/>
                  </a:cubicBezTo>
                  <a:cubicBezTo>
                    <a:pt x="193" y="20"/>
                    <a:pt x="193" y="20"/>
                    <a:pt x="192" y="19"/>
                  </a:cubicBezTo>
                  <a:cubicBezTo>
                    <a:pt x="192" y="18"/>
                    <a:pt x="193" y="17"/>
                    <a:pt x="194" y="15"/>
                  </a:cubicBezTo>
                  <a:cubicBezTo>
                    <a:pt x="195" y="15"/>
                    <a:pt x="195" y="14"/>
                    <a:pt x="196" y="13"/>
                  </a:cubicBezTo>
                  <a:cubicBezTo>
                    <a:pt x="196" y="13"/>
                    <a:pt x="197" y="13"/>
                    <a:pt x="198" y="12"/>
                  </a:cubicBezTo>
                  <a:cubicBezTo>
                    <a:pt x="198" y="12"/>
                    <a:pt x="198" y="11"/>
                    <a:pt x="199" y="11"/>
                  </a:cubicBezTo>
                  <a:cubicBezTo>
                    <a:pt x="200" y="9"/>
                    <a:pt x="202" y="8"/>
                    <a:pt x="201" y="6"/>
                  </a:cubicBezTo>
                  <a:cubicBezTo>
                    <a:pt x="201" y="6"/>
                    <a:pt x="199" y="5"/>
                    <a:pt x="199" y="4"/>
                  </a:cubicBezTo>
                  <a:cubicBezTo>
                    <a:pt x="198" y="4"/>
                    <a:pt x="197" y="4"/>
                    <a:pt x="196" y="4"/>
                  </a:cubicBezTo>
                  <a:cubicBezTo>
                    <a:pt x="195" y="4"/>
                    <a:pt x="194" y="3"/>
                    <a:pt x="193" y="4"/>
                  </a:cubicBezTo>
                  <a:cubicBezTo>
                    <a:pt x="193" y="4"/>
                    <a:pt x="192" y="5"/>
                    <a:pt x="191" y="5"/>
                  </a:cubicBezTo>
                  <a:cubicBezTo>
                    <a:pt x="191" y="5"/>
                    <a:pt x="190" y="4"/>
                    <a:pt x="189" y="4"/>
                  </a:cubicBezTo>
                  <a:cubicBezTo>
                    <a:pt x="188" y="4"/>
                    <a:pt x="188" y="4"/>
                    <a:pt x="187" y="4"/>
                  </a:cubicBezTo>
                  <a:cubicBezTo>
                    <a:pt x="186" y="4"/>
                    <a:pt x="186" y="4"/>
                    <a:pt x="185" y="4"/>
                  </a:cubicBezTo>
                  <a:cubicBezTo>
                    <a:pt x="184" y="4"/>
                    <a:pt x="184" y="3"/>
                    <a:pt x="183" y="3"/>
                  </a:cubicBezTo>
                  <a:cubicBezTo>
                    <a:pt x="183" y="3"/>
                    <a:pt x="182" y="3"/>
                    <a:pt x="182" y="3"/>
                  </a:cubicBezTo>
                  <a:cubicBezTo>
                    <a:pt x="182" y="2"/>
                    <a:pt x="181" y="2"/>
                    <a:pt x="181" y="2"/>
                  </a:cubicBezTo>
                  <a:cubicBezTo>
                    <a:pt x="181" y="1"/>
                    <a:pt x="181" y="0"/>
                    <a:pt x="180" y="1"/>
                  </a:cubicBezTo>
                  <a:cubicBezTo>
                    <a:pt x="179" y="1"/>
                    <a:pt x="179" y="4"/>
                    <a:pt x="179" y="5"/>
                  </a:cubicBezTo>
                  <a:cubicBezTo>
                    <a:pt x="180" y="7"/>
                    <a:pt x="182" y="5"/>
                    <a:pt x="183" y="7"/>
                  </a:cubicBezTo>
                  <a:cubicBezTo>
                    <a:pt x="184" y="8"/>
                    <a:pt x="180" y="10"/>
                    <a:pt x="179" y="11"/>
                  </a:cubicBezTo>
                  <a:cubicBezTo>
                    <a:pt x="178" y="11"/>
                    <a:pt x="176" y="11"/>
                    <a:pt x="175" y="11"/>
                  </a:cubicBezTo>
                  <a:cubicBezTo>
                    <a:pt x="173" y="10"/>
                    <a:pt x="169" y="6"/>
                    <a:pt x="167" y="9"/>
                  </a:cubicBezTo>
                  <a:cubicBezTo>
                    <a:pt x="166" y="9"/>
                    <a:pt x="164" y="9"/>
                    <a:pt x="163" y="10"/>
                  </a:cubicBezTo>
                  <a:cubicBezTo>
                    <a:pt x="162" y="11"/>
                    <a:pt x="162" y="12"/>
                    <a:pt x="162" y="12"/>
                  </a:cubicBezTo>
                  <a:cubicBezTo>
                    <a:pt x="160" y="13"/>
                    <a:pt x="157" y="12"/>
                    <a:pt x="156" y="12"/>
                  </a:cubicBezTo>
                  <a:cubicBezTo>
                    <a:pt x="154" y="13"/>
                    <a:pt x="152" y="13"/>
                    <a:pt x="151" y="13"/>
                  </a:cubicBezTo>
                  <a:cubicBezTo>
                    <a:pt x="149" y="13"/>
                    <a:pt x="149" y="11"/>
                    <a:pt x="147" y="11"/>
                  </a:cubicBezTo>
                  <a:cubicBezTo>
                    <a:pt x="146" y="11"/>
                    <a:pt x="146" y="11"/>
                    <a:pt x="145" y="12"/>
                  </a:cubicBezTo>
                  <a:cubicBezTo>
                    <a:pt x="143" y="13"/>
                    <a:pt x="142" y="12"/>
                    <a:pt x="141" y="13"/>
                  </a:cubicBezTo>
                  <a:cubicBezTo>
                    <a:pt x="140" y="13"/>
                    <a:pt x="139" y="13"/>
                    <a:pt x="139" y="13"/>
                  </a:cubicBezTo>
                  <a:cubicBezTo>
                    <a:pt x="139" y="14"/>
                    <a:pt x="139" y="14"/>
                    <a:pt x="139" y="15"/>
                  </a:cubicBezTo>
                  <a:cubicBezTo>
                    <a:pt x="138" y="15"/>
                    <a:pt x="137" y="16"/>
                    <a:pt x="136" y="16"/>
                  </a:cubicBezTo>
                  <a:cubicBezTo>
                    <a:pt x="136" y="17"/>
                    <a:pt x="135" y="17"/>
                    <a:pt x="134" y="17"/>
                  </a:cubicBezTo>
                  <a:cubicBezTo>
                    <a:pt x="134" y="17"/>
                    <a:pt x="133" y="17"/>
                    <a:pt x="132" y="17"/>
                  </a:cubicBezTo>
                  <a:cubicBezTo>
                    <a:pt x="131" y="17"/>
                    <a:pt x="131" y="18"/>
                    <a:pt x="131" y="18"/>
                  </a:cubicBezTo>
                  <a:cubicBezTo>
                    <a:pt x="130" y="19"/>
                    <a:pt x="129" y="18"/>
                    <a:pt x="129" y="18"/>
                  </a:cubicBezTo>
                  <a:cubicBezTo>
                    <a:pt x="129" y="20"/>
                    <a:pt x="127" y="22"/>
                    <a:pt x="126" y="23"/>
                  </a:cubicBezTo>
                  <a:cubicBezTo>
                    <a:pt x="125" y="25"/>
                    <a:pt x="124" y="27"/>
                    <a:pt x="122" y="28"/>
                  </a:cubicBezTo>
                  <a:cubicBezTo>
                    <a:pt x="121" y="27"/>
                    <a:pt x="122" y="25"/>
                    <a:pt x="122" y="24"/>
                  </a:cubicBezTo>
                  <a:cubicBezTo>
                    <a:pt x="122" y="24"/>
                    <a:pt x="122" y="23"/>
                    <a:pt x="122" y="22"/>
                  </a:cubicBezTo>
                  <a:cubicBezTo>
                    <a:pt x="122" y="21"/>
                    <a:pt x="122" y="20"/>
                    <a:pt x="123" y="19"/>
                  </a:cubicBezTo>
                  <a:cubicBezTo>
                    <a:pt x="123" y="18"/>
                    <a:pt x="123" y="17"/>
                    <a:pt x="123" y="16"/>
                  </a:cubicBezTo>
                  <a:cubicBezTo>
                    <a:pt x="123" y="15"/>
                    <a:pt x="123" y="15"/>
                    <a:pt x="123" y="14"/>
                  </a:cubicBezTo>
                  <a:cubicBezTo>
                    <a:pt x="122" y="14"/>
                    <a:pt x="123" y="14"/>
                    <a:pt x="122" y="13"/>
                  </a:cubicBezTo>
                  <a:cubicBezTo>
                    <a:pt x="121" y="12"/>
                    <a:pt x="117" y="13"/>
                    <a:pt x="116" y="14"/>
                  </a:cubicBezTo>
                  <a:cubicBezTo>
                    <a:pt x="115" y="15"/>
                    <a:pt x="115" y="17"/>
                    <a:pt x="115" y="18"/>
                  </a:cubicBezTo>
                  <a:cubicBezTo>
                    <a:pt x="114" y="19"/>
                    <a:pt x="114" y="20"/>
                    <a:pt x="113" y="20"/>
                  </a:cubicBezTo>
                  <a:cubicBezTo>
                    <a:pt x="112" y="21"/>
                    <a:pt x="112" y="21"/>
                    <a:pt x="112" y="21"/>
                  </a:cubicBezTo>
                  <a:cubicBezTo>
                    <a:pt x="111" y="21"/>
                    <a:pt x="111" y="22"/>
                    <a:pt x="111" y="23"/>
                  </a:cubicBezTo>
                  <a:cubicBezTo>
                    <a:pt x="110" y="23"/>
                    <a:pt x="110" y="23"/>
                    <a:pt x="109" y="24"/>
                  </a:cubicBezTo>
                  <a:cubicBezTo>
                    <a:pt x="109" y="24"/>
                    <a:pt x="108" y="25"/>
                    <a:pt x="107" y="25"/>
                  </a:cubicBezTo>
                  <a:cubicBezTo>
                    <a:pt x="105" y="25"/>
                    <a:pt x="107" y="23"/>
                    <a:pt x="108" y="22"/>
                  </a:cubicBezTo>
                  <a:cubicBezTo>
                    <a:pt x="109" y="20"/>
                    <a:pt x="111" y="20"/>
                    <a:pt x="111" y="18"/>
                  </a:cubicBezTo>
                  <a:cubicBezTo>
                    <a:pt x="111" y="16"/>
                    <a:pt x="109" y="14"/>
                    <a:pt x="107" y="13"/>
                  </a:cubicBezTo>
                  <a:cubicBezTo>
                    <a:pt x="106" y="13"/>
                    <a:pt x="106" y="14"/>
                    <a:pt x="106" y="15"/>
                  </a:cubicBezTo>
                  <a:cubicBezTo>
                    <a:pt x="106" y="15"/>
                    <a:pt x="105" y="15"/>
                    <a:pt x="105" y="15"/>
                  </a:cubicBezTo>
                  <a:cubicBezTo>
                    <a:pt x="105" y="15"/>
                    <a:pt x="105" y="16"/>
                    <a:pt x="105" y="16"/>
                  </a:cubicBezTo>
                  <a:cubicBezTo>
                    <a:pt x="105" y="16"/>
                    <a:pt x="105" y="17"/>
                    <a:pt x="105" y="17"/>
                  </a:cubicBezTo>
                  <a:cubicBezTo>
                    <a:pt x="104" y="17"/>
                    <a:pt x="103" y="14"/>
                    <a:pt x="103" y="13"/>
                  </a:cubicBezTo>
                  <a:cubicBezTo>
                    <a:pt x="103" y="11"/>
                    <a:pt x="104" y="10"/>
                    <a:pt x="102" y="9"/>
                  </a:cubicBezTo>
                  <a:cubicBezTo>
                    <a:pt x="101" y="8"/>
                    <a:pt x="100" y="7"/>
                    <a:pt x="98" y="8"/>
                  </a:cubicBezTo>
                  <a:cubicBezTo>
                    <a:pt x="98" y="8"/>
                    <a:pt x="96" y="8"/>
                    <a:pt x="96" y="9"/>
                  </a:cubicBezTo>
                  <a:cubicBezTo>
                    <a:pt x="95" y="10"/>
                    <a:pt x="95" y="12"/>
                    <a:pt x="94" y="13"/>
                  </a:cubicBezTo>
                  <a:cubicBezTo>
                    <a:pt x="94" y="14"/>
                    <a:pt x="93" y="15"/>
                    <a:pt x="92" y="16"/>
                  </a:cubicBezTo>
                  <a:cubicBezTo>
                    <a:pt x="90" y="18"/>
                    <a:pt x="88" y="20"/>
                    <a:pt x="88" y="22"/>
                  </a:cubicBezTo>
                  <a:cubicBezTo>
                    <a:pt x="89" y="22"/>
                    <a:pt x="89" y="23"/>
                    <a:pt x="89" y="23"/>
                  </a:cubicBezTo>
                  <a:cubicBezTo>
                    <a:pt x="90" y="23"/>
                    <a:pt x="90" y="24"/>
                    <a:pt x="90" y="24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7" y="28"/>
                    <a:pt x="92" y="28"/>
                    <a:pt x="89" y="30"/>
                  </a:cubicBezTo>
                  <a:cubicBezTo>
                    <a:pt x="87" y="31"/>
                    <a:pt x="85" y="34"/>
                    <a:pt x="84" y="37"/>
                  </a:cubicBezTo>
                  <a:cubicBezTo>
                    <a:pt x="84" y="38"/>
                    <a:pt x="85" y="38"/>
                    <a:pt x="86" y="39"/>
                  </a:cubicBezTo>
                  <a:cubicBezTo>
                    <a:pt x="87" y="40"/>
                    <a:pt x="87" y="40"/>
                    <a:pt x="87" y="42"/>
                  </a:cubicBezTo>
                  <a:cubicBezTo>
                    <a:pt x="87" y="43"/>
                    <a:pt x="87" y="43"/>
                    <a:pt x="89" y="43"/>
                  </a:cubicBezTo>
                  <a:cubicBezTo>
                    <a:pt x="89" y="43"/>
                    <a:pt x="90" y="43"/>
                    <a:pt x="90" y="44"/>
                  </a:cubicBezTo>
                  <a:cubicBezTo>
                    <a:pt x="91" y="45"/>
                    <a:pt x="89" y="45"/>
                    <a:pt x="89" y="45"/>
                  </a:cubicBezTo>
                  <a:cubicBezTo>
                    <a:pt x="86" y="46"/>
                    <a:pt x="84" y="45"/>
                    <a:pt x="81" y="45"/>
                  </a:cubicBezTo>
                  <a:cubicBezTo>
                    <a:pt x="80" y="45"/>
                    <a:pt x="79" y="45"/>
                    <a:pt x="77" y="46"/>
                  </a:cubicBezTo>
                  <a:cubicBezTo>
                    <a:pt x="76" y="46"/>
                    <a:pt x="75" y="45"/>
                    <a:pt x="74" y="46"/>
                  </a:cubicBezTo>
                  <a:cubicBezTo>
                    <a:pt x="74" y="47"/>
                    <a:pt x="73" y="50"/>
                    <a:pt x="74" y="50"/>
                  </a:cubicBezTo>
                  <a:cubicBezTo>
                    <a:pt x="74" y="51"/>
                    <a:pt x="75" y="52"/>
                    <a:pt x="76" y="52"/>
                  </a:cubicBezTo>
                  <a:cubicBezTo>
                    <a:pt x="76" y="53"/>
                    <a:pt x="76" y="54"/>
                    <a:pt x="76" y="55"/>
                  </a:cubicBezTo>
                  <a:cubicBezTo>
                    <a:pt x="76" y="56"/>
                    <a:pt x="76" y="57"/>
                    <a:pt x="76" y="58"/>
                  </a:cubicBezTo>
                  <a:cubicBezTo>
                    <a:pt x="76" y="60"/>
                    <a:pt x="77" y="61"/>
                    <a:pt x="77" y="62"/>
                  </a:cubicBezTo>
                  <a:cubicBezTo>
                    <a:pt x="78" y="62"/>
                    <a:pt x="77" y="59"/>
                    <a:pt x="78" y="59"/>
                  </a:cubicBezTo>
                  <a:cubicBezTo>
                    <a:pt x="79" y="59"/>
                    <a:pt x="79" y="61"/>
                    <a:pt x="79" y="61"/>
                  </a:cubicBezTo>
                  <a:cubicBezTo>
                    <a:pt x="78" y="62"/>
                    <a:pt x="78" y="62"/>
                    <a:pt x="78" y="63"/>
                  </a:cubicBezTo>
                  <a:cubicBezTo>
                    <a:pt x="77" y="64"/>
                    <a:pt x="77" y="67"/>
                    <a:pt x="78" y="67"/>
                  </a:cubicBezTo>
                  <a:cubicBezTo>
                    <a:pt x="76" y="68"/>
                    <a:pt x="75" y="66"/>
                    <a:pt x="73" y="65"/>
                  </a:cubicBezTo>
                  <a:cubicBezTo>
                    <a:pt x="73" y="65"/>
                    <a:pt x="70" y="63"/>
                    <a:pt x="69" y="64"/>
                  </a:cubicBezTo>
                  <a:cubicBezTo>
                    <a:pt x="67" y="67"/>
                    <a:pt x="72" y="70"/>
                    <a:pt x="73" y="71"/>
                  </a:cubicBezTo>
                  <a:cubicBezTo>
                    <a:pt x="74" y="72"/>
                    <a:pt x="75" y="73"/>
                    <a:pt x="76" y="74"/>
                  </a:cubicBezTo>
                  <a:cubicBezTo>
                    <a:pt x="77" y="74"/>
                    <a:pt x="78" y="74"/>
                    <a:pt x="78" y="75"/>
                  </a:cubicBezTo>
                  <a:cubicBezTo>
                    <a:pt x="79" y="75"/>
                    <a:pt x="79" y="76"/>
                    <a:pt x="80" y="76"/>
                  </a:cubicBezTo>
                  <a:cubicBezTo>
                    <a:pt x="81" y="78"/>
                    <a:pt x="83" y="77"/>
                    <a:pt x="84" y="79"/>
                  </a:cubicBezTo>
                  <a:cubicBezTo>
                    <a:pt x="86" y="80"/>
                    <a:pt x="84" y="82"/>
                    <a:pt x="84" y="84"/>
                  </a:cubicBezTo>
                  <a:cubicBezTo>
                    <a:pt x="84" y="86"/>
                    <a:pt x="86" y="86"/>
                    <a:pt x="87" y="88"/>
                  </a:cubicBezTo>
                  <a:cubicBezTo>
                    <a:pt x="86" y="86"/>
                    <a:pt x="84" y="85"/>
                    <a:pt x="82" y="84"/>
                  </a:cubicBezTo>
                  <a:cubicBezTo>
                    <a:pt x="81" y="84"/>
                    <a:pt x="79" y="83"/>
                    <a:pt x="77" y="82"/>
                  </a:cubicBezTo>
                  <a:cubicBezTo>
                    <a:pt x="76" y="81"/>
                    <a:pt x="75" y="81"/>
                    <a:pt x="75" y="81"/>
                  </a:cubicBezTo>
                  <a:cubicBezTo>
                    <a:pt x="74" y="83"/>
                    <a:pt x="76" y="84"/>
                    <a:pt x="77" y="85"/>
                  </a:cubicBezTo>
                  <a:cubicBezTo>
                    <a:pt x="78" y="86"/>
                    <a:pt x="79" y="87"/>
                    <a:pt x="80" y="89"/>
                  </a:cubicBezTo>
                  <a:cubicBezTo>
                    <a:pt x="78" y="88"/>
                    <a:pt x="77" y="87"/>
                    <a:pt x="75" y="86"/>
                  </a:cubicBezTo>
                  <a:cubicBezTo>
                    <a:pt x="75" y="85"/>
                    <a:pt x="74" y="85"/>
                    <a:pt x="74" y="84"/>
                  </a:cubicBezTo>
                  <a:cubicBezTo>
                    <a:pt x="73" y="84"/>
                    <a:pt x="73" y="84"/>
                    <a:pt x="72" y="84"/>
                  </a:cubicBezTo>
                  <a:cubicBezTo>
                    <a:pt x="72" y="83"/>
                    <a:pt x="71" y="82"/>
                    <a:pt x="70" y="83"/>
                  </a:cubicBezTo>
                  <a:cubicBezTo>
                    <a:pt x="70" y="83"/>
                    <a:pt x="69" y="85"/>
                    <a:pt x="69" y="86"/>
                  </a:cubicBezTo>
                  <a:cubicBezTo>
                    <a:pt x="69" y="86"/>
                    <a:pt x="68" y="88"/>
                    <a:pt x="67" y="87"/>
                  </a:cubicBezTo>
                  <a:cubicBezTo>
                    <a:pt x="66" y="87"/>
                    <a:pt x="66" y="86"/>
                    <a:pt x="66" y="85"/>
                  </a:cubicBezTo>
                  <a:cubicBezTo>
                    <a:pt x="65" y="84"/>
                    <a:pt x="66" y="84"/>
                    <a:pt x="65" y="83"/>
                  </a:cubicBezTo>
                  <a:cubicBezTo>
                    <a:pt x="65" y="83"/>
                    <a:pt x="64" y="83"/>
                    <a:pt x="64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2" y="82"/>
                    <a:pt x="62" y="82"/>
                  </a:cubicBezTo>
                  <a:cubicBezTo>
                    <a:pt x="61" y="82"/>
                    <a:pt x="60" y="82"/>
                    <a:pt x="60" y="83"/>
                  </a:cubicBezTo>
                  <a:cubicBezTo>
                    <a:pt x="60" y="84"/>
                    <a:pt x="60" y="86"/>
                    <a:pt x="60" y="86"/>
                  </a:cubicBezTo>
                  <a:cubicBezTo>
                    <a:pt x="60" y="89"/>
                    <a:pt x="60" y="91"/>
                    <a:pt x="60" y="93"/>
                  </a:cubicBezTo>
                  <a:cubicBezTo>
                    <a:pt x="60" y="94"/>
                    <a:pt x="60" y="96"/>
                    <a:pt x="59" y="96"/>
                  </a:cubicBezTo>
                  <a:cubicBezTo>
                    <a:pt x="58" y="96"/>
                    <a:pt x="57" y="92"/>
                    <a:pt x="57" y="91"/>
                  </a:cubicBezTo>
                  <a:cubicBezTo>
                    <a:pt x="57" y="90"/>
                    <a:pt x="57" y="88"/>
                    <a:pt x="56" y="87"/>
                  </a:cubicBezTo>
                  <a:cubicBezTo>
                    <a:pt x="54" y="85"/>
                    <a:pt x="52" y="87"/>
                    <a:pt x="51" y="88"/>
                  </a:cubicBezTo>
                  <a:cubicBezTo>
                    <a:pt x="50" y="88"/>
                    <a:pt x="49" y="89"/>
                    <a:pt x="49" y="90"/>
                  </a:cubicBezTo>
                  <a:cubicBezTo>
                    <a:pt x="49" y="90"/>
                    <a:pt x="50" y="90"/>
                    <a:pt x="50" y="90"/>
                  </a:cubicBezTo>
                  <a:cubicBezTo>
                    <a:pt x="50" y="90"/>
                    <a:pt x="50" y="91"/>
                    <a:pt x="50" y="91"/>
                  </a:cubicBezTo>
                  <a:cubicBezTo>
                    <a:pt x="50" y="92"/>
                    <a:pt x="50" y="92"/>
                    <a:pt x="50" y="93"/>
                  </a:cubicBezTo>
                  <a:cubicBezTo>
                    <a:pt x="50" y="95"/>
                    <a:pt x="50" y="97"/>
                    <a:pt x="51" y="100"/>
                  </a:cubicBezTo>
                  <a:cubicBezTo>
                    <a:pt x="51" y="101"/>
                    <a:pt x="52" y="101"/>
                    <a:pt x="52" y="101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54" y="102"/>
                    <a:pt x="56" y="103"/>
                    <a:pt x="55" y="104"/>
                  </a:cubicBezTo>
                  <a:cubicBezTo>
                    <a:pt x="54" y="104"/>
                    <a:pt x="52" y="104"/>
                    <a:pt x="51" y="105"/>
                  </a:cubicBezTo>
                  <a:cubicBezTo>
                    <a:pt x="52" y="105"/>
                    <a:pt x="53" y="106"/>
                    <a:pt x="53" y="106"/>
                  </a:cubicBezTo>
                  <a:cubicBezTo>
                    <a:pt x="53" y="106"/>
                    <a:pt x="53" y="107"/>
                    <a:pt x="52" y="107"/>
                  </a:cubicBezTo>
                  <a:cubicBezTo>
                    <a:pt x="52" y="108"/>
                    <a:pt x="51" y="107"/>
                    <a:pt x="51" y="108"/>
                  </a:cubicBezTo>
                  <a:cubicBezTo>
                    <a:pt x="51" y="109"/>
                    <a:pt x="50" y="109"/>
                    <a:pt x="50" y="110"/>
                  </a:cubicBezTo>
                  <a:cubicBezTo>
                    <a:pt x="51" y="111"/>
                    <a:pt x="51" y="110"/>
                    <a:pt x="52" y="111"/>
                  </a:cubicBezTo>
                  <a:cubicBezTo>
                    <a:pt x="52" y="111"/>
                    <a:pt x="53" y="112"/>
                    <a:pt x="54" y="112"/>
                  </a:cubicBezTo>
                  <a:cubicBezTo>
                    <a:pt x="54" y="113"/>
                    <a:pt x="54" y="114"/>
                    <a:pt x="55" y="114"/>
                  </a:cubicBezTo>
                  <a:cubicBezTo>
                    <a:pt x="55" y="115"/>
                    <a:pt x="56" y="116"/>
                    <a:pt x="57" y="117"/>
                  </a:cubicBezTo>
                  <a:cubicBezTo>
                    <a:pt x="57" y="117"/>
                    <a:pt x="57" y="118"/>
                    <a:pt x="57" y="119"/>
                  </a:cubicBezTo>
                  <a:cubicBezTo>
                    <a:pt x="59" y="120"/>
                    <a:pt x="61" y="117"/>
                    <a:pt x="62" y="118"/>
                  </a:cubicBezTo>
                  <a:cubicBezTo>
                    <a:pt x="63" y="118"/>
                    <a:pt x="64" y="119"/>
                    <a:pt x="64" y="120"/>
                  </a:cubicBezTo>
                  <a:cubicBezTo>
                    <a:pt x="63" y="121"/>
                    <a:pt x="60" y="121"/>
                    <a:pt x="59" y="121"/>
                  </a:cubicBezTo>
                  <a:cubicBezTo>
                    <a:pt x="58" y="121"/>
                    <a:pt x="58" y="121"/>
                    <a:pt x="58" y="122"/>
                  </a:cubicBezTo>
                  <a:cubicBezTo>
                    <a:pt x="55" y="121"/>
                    <a:pt x="53" y="118"/>
                    <a:pt x="50" y="117"/>
                  </a:cubicBezTo>
                  <a:cubicBezTo>
                    <a:pt x="50" y="117"/>
                    <a:pt x="48" y="117"/>
                    <a:pt x="48" y="117"/>
                  </a:cubicBezTo>
                  <a:cubicBezTo>
                    <a:pt x="47" y="118"/>
                    <a:pt x="47" y="121"/>
                    <a:pt x="47" y="122"/>
                  </a:cubicBezTo>
                  <a:cubicBezTo>
                    <a:pt x="47" y="123"/>
                    <a:pt x="47" y="124"/>
                    <a:pt x="47" y="125"/>
                  </a:cubicBezTo>
                  <a:cubicBezTo>
                    <a:pt x="48" y="126"/>
                    <a:pt x="48" y="127"/>
                    <a:pt x="49" y="129"/>
                  </a:cubicBezTo>
                  <a:cubicBezTo>
                    <a:pt x="49" y="130"/>
                    <a:pt x="49" y="131"/>
                    <a:pt x="49" y="132"/>
                  </a:cubicBezTo>
                  <a:cubicBezTo>
                    <a:pt x="49" y="133"/>
                    <a:pt x="49" y="133"/>
                    <a:pt x="49" y="134"/>
                  </a:cubicBezTo>
                  <a:cubicBezTo>
                    <a:pt x="49" y="135"/>
                    <a:pt x="49" y="136"/>
                    <a:pt x="49" y="137"/>
                  </a:cubicBezTo>
                  <a:cubicBezTo>
                    <a:pt x="49" y="139"/>
                    <a:pt x="50" y="140"/>
                    <a:pt x="51" y="140"/>
                  </a:cubicBezTo>
                  <a:cubicBezTo>
                    <a:pt x="51" y="140"/>
                    <a:pt x="52" y="140"/>
                    <a:pt x="52" y="140"/>
                  </a:cubicBezTo>
                  <a:cubicBezTo>
                    <a:pt x="53" y="139"/>
                    <a:pt x="53" y="139"/>
                    <a:pt x="53" y="138"/>
                  </a:cubicBezTo>
                  <a:cubicBezTo>
                    <a:pt x="54" y="137"/>
                    <a:pt x="55" y="137"/>
                    <a:pt x="56" y="136"/>
                  </a:cubicBezTo>
                  <a:cubicBezTo>
                    <a:pt x="57" y="136"/>
                    <a:pt x="59" y="135"/>
                    <a:pt x="60" y="135"/>
                  </a:cubicBezTo>
                  <a:cubicBezTo>
                    <a:pt x="61" y="135"/>
                    <a:pt x="61" y="135"/>
                    <a:pt x="61" y="136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8"/>
                    <a:pt x="63" y="138"/>
                    <a:pt x="63" y="138"/>
                  </a:cubicBezTo>
                  <a:cubicBezTo>
                    <a:pt x="65" y="138"/>
                    <a:pt x="65" y="138"/>
                    <a:pt x="66" y="137"/>
                  </a:cubicBezTo>
                  <a:cubicBezTo>
                    <a:pt x="67" y="136"/>
                    <a:pt x="66" y="135"/>
                    <a:pt x="67" y="134"/>
                  </a:cubicBezTo>
                  <a:cubicBezTo>
                    <a:pt x="68" y="134"/>
                    <a:pt x="70" y="134"/>
                    <a:pt x="71" y="134"/>
                  </a:cubicBezTo>
                  <a:cubicBezTo>
                    <a:pt x="72" y="136"/>
                    <a:pt x="70" y="137"/>
                    <a:pt x="69" y="138"/>
                  </a:cubicBezTo>
                  <a:cubicBezTo>
                    <a:pt x="68" y="139"/>
                    <a:pt x="67" y="140"/>
                    <a:pt x="66" y="140"/>
                  </a:cubicBezTo>
                  <a:cubicBezTo>
                    <a:pt x="64" y="141"/>
                    <a:pt x="62" y="141"/>
                    <a:pt x="61" y="142"/>
                  </a:cubicBezTo>
                  <a:cubicBezTo>
                    <a:pt x="60" y="142"/>
                    <a:pt x="58" y="141"/>
                    <a:pt x="57" y="142"/>
                  </a:cubicBezTo>
                  <a:cubicBezTo>
                    <a:pt x="56" y="142"/>
                    <a:pt x="56" y="144"/>
                    <a:pt x="55" y="144"/>
                  </a:cubicBezTo>
                  <a:cubicBezTo>
                    <a:pt x="56" y="144"/>
                    <a:pt x="58" y="145"/>
                    <a:pt x="59" y="145"/>
                  </a:cubicBezTo>
                  <a:cubicBezTo>
                    <a:pt x="59" y="146"/>
                    <a:pt x="61" y="146"/>
                    <a:pt x="62" y="146"/>
                  </a:cubicBezTo>
                  <a:cubicBezTo>
                    <a:pt x="63" y="146"/>
                    <a:pt x="65" y="146"/>
                    <a:pt x="64" y="147"/>
                  </a:cubicBezTo>
                  <a:cubicBezTo>
                    <a:pt x="64" y="148"/>
                    <a:pt x="62" y="148"/>
                    <a:pt x="61" y="149"/>
                  </a:cubicBezTo>
                  <a:cubicBezTo>
                    <a:pt x="60" y="149"/>
                    <a:pt x="60" y="150"/>
                    <a:pt x="60" y="151"/>
                  </a:cubicBezTo>
                  <a:cubicBezTo>
                    <a:pt x="59" y="152"/>
                    <a:pt x="59" y="151"/>
                    <a:pt x="59" y="150"/>
                  </a:cubicBezTo>
                  <a:cubicBezTo>
                    <a:pt x="58" y="150"/>
                    <a:pt x="58" y="149"/>
                    <a:pt x="58" y="148"/>
                  </a:cubicBezTo>
                  <a:cubicBezTo>
                    <a:pt x="58" y="147"/>
                    <a:pt x="55" y="147"/>
                    <a:pt x="55" y="148"/>
                  </a:cubicBezTo>
                  <a:cubicBezTo>
                    <a:pt x="54" y="148"/>
                    <a:pt x="54" y="149"/>
                    <a:pt x="54" y="149"/>
                  </a:cubicBezTo>
                  <a:cubicBezTo>
                    <a:pt x="53" y="149"/>
                    <a:pt x="52" y="149"/>
                    <a:pt x="51" y="149"/>
                  </a:cubicBezTo>
                  <a:cubicBezTo>
                    <a:pt x="49" y="149"/>
                    <a:pt x="48" y="149"/>
                    <a:pt x="46" y="148"/>
                  </a:cubicBezTo>
                  <a:cubicBezTo>
                    <a:pt x="46" y="148"/>
                    <a:pt x="46" y="147"/>
                    <a:pt x="45" y="146"/>
                  </a:cubicBezTo>
                  <a:cubicBezTo>
                    <a:pt x="45" y="146"/>
                    <a:pt x="45" y="144"/>
                    <a:pt x="45" y="143"/>
                  </a:cubicBezTo>
                  <a:cubicBezTo>
                    <a:pt x="44" y="142"/>
                    <a:pt x="42" y="141"/>
                    <a:pt x="41" y="141"/>
                  </a:cubicBezTo>
                  <a:cubicBezTo>
                    <a:pt x="41" y="141"/>
                    <a:pt x="40" y="141"/>
                    <a:pt x="40" y="141"/>
                  </a:cubicBezTo>
                  <a:cubicBezTo>
                    <a:pt x="39" y="140"/>
                    <a:pt x="39" y="139"/>
                    <a:pt x="39" y="138"/>
                  </a:cubicBezTo>
                  <a:cubicBezTo>
                    <a:pt x="39" y="137"/>
                    <a:pt x="39" y="136"/>
                    <a:pt x="39" y="134"/>
                  </a:cubicBezTo>
                  <a:cubicBezTo>
                    <a:pt x="40" y="133"/>
                    <a:pt x="40" y="131"/>
                    <a:pt x="41" y="130"/>
                  </a:cubicBezTo>
                  <a:cubicBezTo>
                    <a:pt x="41" y="129"/>
                    <a:pt x="41" y="128"/>
                    <a:pt x="42" y="126"/>
                  </a:cubicBezTo>
                  <a:cubicBezTo>
                    <a:pt x="43" y="124"/>
                    <a:pt x="43" y="122"/>
                    <a:pt x="43" y="119"/>
                  </a:cubicBezTo>
                  <a:cubicBezTo>
                    <a:pt x="43" y="119"/>
                    <a:pt x="43" y="118"/>
                    <a:pt x="43" y="117"/>
                  </a:cubicBezTo>
                  <a:cubicBezTo>
                    <a:pt x="42" y="115"/>
                    <a:pt x="40" y="116"/>
                    <a:pt x="40" y="117"/>
                  </a:cubicBezTo>
                  <a:cubicBezTo>
                    <a:pt x="39" y="119"/>
                    <a:pt x="39" y="121"/>
                    <a:pt x="39" y="122"/>
                  </a:cubicBezTo>
                  <a:cubicBezTo>
                    <a:pt x="40" y="124"/>
                    <a:pt x="39" y="124"/>
                    <a:pt x="38" y="125"/>
                  </a:cubicBezTo>
                  <a:cubicBezTo>
                    <a:pt x="37" y="127"/>
                    <a:pt x="37" y="130"/>
                    <a:pt x="36" y="132"/>
                  </a:cubicBezTo>
                  <a:cubicBezTo>
                    <a:pt x="36" y="134"/>
                    <a:pt x="36" y="134"/>
                    <a:pt x="36" y="136"/>
                  </a:cubicBezTo>
                  <a:cubicBezTo>
                    <a:pt x="36" y="136"/>
                    <a:pt x="37" y="138"/>
                    <a:pt x="36" y="139"/>
                  </a:cubicBezTo>
                  <a:cubicBezTo>
                    <a:pt x="35" y="138"/>
                    <a:pt x="34" y="135"/>
                    <a:pt x="33" y="133"/>
                  </a:cubicBezTo>
                  <a:cubicBezTo>
                    <a:pt x="33" y="132"/>
                    <a:pt x="33" y="130"/>
                    <a:pt x="33" y="129"/>
                  </a:cubicBezTo>
                  <a:cubicBezTo>
                    <a:pt x="33" y="126"/>
                    <a:pt x="33" y="124"/>
                    <a:pt x="33" y="121"/>
                  </a:cubicBezTo>
                  <a:cubicBezTo>
                    <a:pt x="33" y="118"/>
                    <a:pt x="31" y="114"/>
                    <a:pt x="30" y="112"/>
                  </a:cubicBezTo>
                  <a:cubicBezTo>
                    <a:pt x="29" y="111"/>
                    <a:pt x="28" y="110"/>
                    <a:pt x="28" y="109"/>
                  </a:cubicBezTo>
                  <a:cubicBezTo>
                    <a:pt x="27" y="108"/>
                    <a:pt x="26" y="107"/>
                    <a:pt x="26" y="106"/>
                  </a:cubicBezTo>
                  <a:cubicBezTo>
                    <a:pt x="24" y="104"/>
                    <a:pt x="22" y="103"/>
                    <a:pt x="20" y="105"/>
                  </a:cubicBezTo>
                  <a:cubicBezTo>
                    <a:pt x="19" y="107"/>
                    <a:pt x="18" y="109"/>
                    <a:pt x="17" y="110"/>
                  </a:cubicBezTo>
                  <a:cubicBezTo>
                    <a:pt x="17" y="112"/>
                    <a:pt x="18" y="114"/>
                    <a:pt x="18" y="115"/>
                  </a:cubicBezTo>
                  <a:cubicBezTo>
                    <a:pt x="18" y="117"/>
                    <a:pt x="18" y="118"/>
                    <a:pt x="20" y="119"/>
                  </a:cubicBezTo>
                  <a:cubicBezTo>
                    <a:pt x="20" y="119"/>
                    <a:pt x="21" y="120"/>
                    <a:pt x="21" y="121"/>
                  </a:cubicBezTo>
                  <a:cubicBezTo>
                    <a:pt x="21" y="121"/>
                    <a:pt x="21" y="122"/>
                    <a:pt x="21" y="123"/>
                  </a:cubicBezTo>
                  <a:cubicBezTo>
                    <a:pt x="21" y="123"/>
                    <a:pt x="23" y="124"/>
                    <a:pt x="22" y="125"/>
                  </a:cubicBezTo>
                  <a:cubicBezTo>
                    <a:pt x="22" y="125"/>
                    <a:pt x="21" y="124"/>
                    <a:pt x="20" y="123"/>
                  </a:cubicBezTo>
                  <a:cubicBezTo>
                    <a:pt x="20" y="123"/>
                    <a:pt x="20" y="123"/>
                    <a:pt x="19" y="123"/>
                  </a:cubicBezTo>
                  <a:cubicBezTo>
                    <a:pt x="18" y="123"/>
                    <a:pt x="17" y="124"/>
                    <a:pt x="16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3" y="120"/>
                    <a:pt x="12" y="120"/>
                    <a:pt x="11" y="119"/>
                  </a:cubicBezTo>
                  <a:cubicBezTo>
                    <a:pt x="11" y="119"/>
                    <a:pt x="10" y="118"/>
                    <a:pt x="10" y="118"/>
                  </a:cubicBezTo>
                  <a:cubicBezTo>
                    <a:pt x="9" y="117"/>
                    <a:pt x="9" y="117"/>
                    <a:pt x="9" y="116"/>
                  </a:cubicBezTo>
                  <a:cubicBezTo>
                    <a:pt x="8" y="115"/>
                    <a:pt x="8" y="113"/>
                    <a:pt x="7" y="113"/>
                  </a:cubicBezTo>
                  <a:cubicBezTo>
                    <a:pt x="6" y="114"/>
                    <a:pt x="6" y="116"/>
                    <a:pt x="6" y="117"/>
                  </a:cubicBezTo>
                  <a:cubicBezTo>
                    <a:pt x="7" y="118"/>
                    <a:pt x="7" y="119"/>
                    <a:pt x="8" y="120"/>
                  </a:cubicBezTo>
                  <a:cubicBezTo>
                    <a:pt x="8" y="121"/>
                    <a:pt x="7" y="123"/>
                    <a:pt x="8" y="123"/>
                  </a:cubicBezTo>
                  <a:cubicBezTo>
                    <a:pt x="8" y="123"/>
                    <a:pt x="8" y="123"/>
                    <a:pt x="8" y="123"/>
                  </a:cubicBezTo>
                  <a:cubicBezTo>
                    <a:pt x="7" y="124"/>
                    <a:pt x="8" y="126"/>
                    <a:pt x="8" y="127"/>
                  </a:cubicBezTo>
                  <a:cubicBezTo>
                    <a:pt x="8" y="127"/>
                    <a:pt x="8" y="128"/>
                    <a:pt x="8" y="129"/>
                  </a:cubicBezTo>
                  <a:cubicBezTo>
                    <a:pt x="8" y="129"/>
                    <a:pt x="9" y="130"/>
                    <a:pt x="8" y="131"/>
                  </a:cubicBezTo>
                  <a:cubicBezTo>
                    <a:pt x="7" y="132"/>
                    <a:pt x="5" y="128"/>
                    <a:pt x="4" y="127"/>
                  </a:cubicBezTo>
                  <a:cubicBezTo>
                    <a:pt x="4" y="126"/>
                    <a:pt x="3" y="123"/>
                    <a:pt x="1" y="123"/>
                  </a:cubicBezTo>
                  <a:cubicBezTo>
                    <a:pt x="1" y="124"/>
                    <a:pt x="1" y="124"/>
                    <a:pt x="1" y="125"/>
                  </a:cubicBezTo>
                  <a:cubicBezTo>
                    <a:pt x="1" y="125"/>
                    <a:pt x="0" y="126"/>
                    <a:pt x="0" y="126"/>
                  </a:cubicBezTo>
                  <a:cubicBezTo>
                    <a:pt x="0" y="129"/>
                    <a:pt x="0" y="131"/>
                    <a:pt x="0" y="133"/>
                  </a:cubicBezTo>
                  <a:cubicBezTo>
                    <a:pt x="0" y="135"/>
                    <a:pt x="0" y="136"/>
                    <a:pt x="2" y="137"/>
                  </a:cubicBezTo>
                  <a:cubicBezTo>
                    <a:pt x="2" y="138"/>
                    <a:pt x="3" y="139"/>
                    <a:pt x="4" y="139"/>
                  </a:cubicBezTo>
                  <a:cubicBezTo>
                    <a:pt x="5" y="140"/>
                    <a:pt x="6" y="140"/>
                    <a:pt x="7" y="140"/>
                  </a:cubicBezTo>
                  <a:cubicBezTo>
                    <a:pt x="8" y="140"/>
                    <a:pt x="8" y="140"/>
                    <a:pt x="9" y="139"/>
                  </a:cubicBezTo>
                  <a:cubicBezTo>
                    <a:pt x="9" y="138"/>
                    <a:pt x="10" y="136"/>
                    <a:pt x="12" y="136"/>
                  </a:cubicBezTo>
                  <a:cubicBezTo>
                    <a:pt x="13" y="136"/>
                    <a:pt x="15" y="137"/>
                    <a:pt x="16" y="138"/>
                  </a:cubicBezTo>
                  <a:cubicBezTo>
                    <a:pt x="16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8" y="140"/>
                  </a:cubicBezTo>
                  <a:cubicBezTo>
                    <a:pt x="19" y="141"/>
                    <a:pt x="21" y="142"/>
                    <a:pt x="22" y="144"/>
                  </a:cubicBezTo>
                  <a:cubicBezTo>
                    <a:pt x="20" y="144"/>
                    <a:pt x="19" y="143"/>
                    <a:pt x="17" y="143"/>
                  </a:cubicBezTo>
                  <a:cubicBezTo>
                    <a:pt x="17" y="143"/>
                    <a:pt x="14" y="141"/>
                    <a:pt x="13" y="141"/>
                  </a:cubicBezTo>
                  <a:cubicBezTo>
                    <a:pt x="12" y="141"/>
                    <a:pt x="12" y="143"/>
                    <a:pt x="12" y="144"/>
                  </a:cubicBezTo>
                  <a:cubicBezTo>
                    <a:pt x="11" y="148"/>
                    <a:pt x="14" y="150"/>
                    <a:pt x="17" y="153"/>
                  </a:cubicBezTo>
                  <a:cubicBezTo>
                    <a:pt x="18" y="154"/>
                    <a:pt x="19" y="155"/>
                    <a:pt x="20" y="156"/>
                  </a:cubicBezTo>
                  <a:cubicBezTo>
                    <a:pt x="20" y="157"/>
                    <a:pt x="21" y="157"/>
                    <a:pt x="21" y="158"/>
                  </a:cubicBezTo>
                  <a:cubicBezTo>
                    <a:pt x="22" y="159"/>
                    <a:pt x="23" y="160"/>
                    <a:pt x="26" y="160"/>
                  </a:cubicBezTo>
                  <a:cubicBezTo>
                    <a:pt x="27" y="160"/>
                    <a:pt x="27" y="160"/>
                    <a:pt x="28" y="159"/>
                  </a:cubicBezTo>
                  <a:cubicBezTo>
                    <a:pt x="28" y="159"/>
                    <a:pt x="29" y="159"/>
                    <a:pt x="30" y="159"/>
                  </a:cubicBezTo>
                  <a:cubicBezTo>
                    <a:pt x="30" y="159"/>
                    <a:pt x="30" y="158"/>
                    <a:pt x="31" y="158"/>
                  </a:cubicBezTo>
                  <a:cubicBezTo>
                    <a:pt x="32" y="158"/>
                    <a:pt x="32" y="158"/>
                    <a:pt x="33" y="159"/>
                  </a:cubicBezTo>
                  <a:cubicBezTo>
                    <a:pt x="33" y="159"/>
                    <a:pt x="33" y="160"/>
                    <a:pt x="33" y="160"/>
                  </a:cubicBezTo>
                  <a:cubicBezTo>
                    <a:pt x="34" y="160"/>
                    <a:pt x="35" y="160"/>
                    <a:pt x="36" y="160"/>
                  </a:cubicBezTo>
                  <a:cubicBezTo>
                    <a:pt x="37" y="159"/>
                    <a:pt x="40" y="158"/>
                    <a:pt x="42" y="159"/>
                  </a:cubicBezTo>
                  <a:cubicBezTo>
                    <a:pt x="44" y="160"/>
                    <a:pt x="38" y="165"/>
                    <a:pt x="38" y="167"/>
                  </a:cubicBezTo>
                  <a:cubicBezTo>
                    <a:pt x="38" y="168"/>
                    <a:pt x="38" y="169"/>
                    <a:pt x="39" y="170"/>
                  </a:cubicBezTo>
                  <a:cubicBezTo>
                    <a:pt x="40" y="170"/>
                    <a:pt x="40" y="171"/>
                    <a:pt x="41" y="171"/>
                  </a:cubicBezTo>
                  <a:cubicBezTo>
                    <a:pt x="42" y="172"/>
                    <a:pt x="43" y="171"/>
                    <a:pt x="44" y="171"/>
                  </a:cubicBezTo>
                  <a:cubicBezTo>
                    <a:pt x="46" y="170"/>
                    <a:pt x="47" y="169"/>
                    <a:pt x="48" y="168"/>
                  </a:cubicBezTo>
                  <a:cubicBezTo>
                    <a:pt x="50" y="167"/>
                    <a:pt x="49" y="166"/>
                    <a:pt x="50" y="164"/>
                  </a:cubicBezTo>
                  <a:cubicBezTo>
                    <a:pt x="50" y="163"/>
                    <a:pt x="51" y="161"/>
                    <a:pt x="52" y="160"/>
                  </a:cubicBezTo>
                  <a:cubicBezTo>
                    <a:pt x="53" y="159"/>
                    <a:pt x="53" y="159"/>
                    <a:pt x="54" y="158"/>
                  </a:cubicBezTo>
                  <a:cubicBezTo>
                    <a:pt x="54" y="158"/>
                    <a:pt x="55" y="157"/>
                    <a:pt x="55" y="156"/>
                  </a:cubicBezTo>
                  <a:cubicBezTo>
                    <a:pt x="56" y="155"/>
                    <a:pt x="58" y="154"/>
                    <a:pt x="59" y="154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60" y="156"/>
                    <a:pt x="56" y="157"/>
                    <a:pt x="58" y="159"/>
                  </a:cubicBezTo>
                  <a:cubicBezTo>
                    <a:pt x="59" y="159"/>
                    <a:pt x="60" y="159"/>
                    <a:pt x="60" y="160"/>
                  </a:cubicBezTo>
                  <a:cubicBezTo>
                    <a:pt x="61" y="160"/>
                    <a:pt x="61" y="161"/>
                    <a:pt x="62" y="162"/>
                  </a:cubicBezTo>
                  <a:cubicBezTo>
                    <a:pt x="63" y="163"/>
                    <a:pt x="64" y="163"/>
                    <a:pt x="66" y="163"/>
                  </a:cubicBezTo>
                  <a:cubicBezTo>
                    <a:pt x="67" y="163"/>
                    <a:pt x="67" y="163"/>
                    <a:pt x="68" y="164"/>
                  </a:cubicBezTo>
                  <a:cubicBezTo>
                    <a:pt x="69" y="166"/>
                    <a:pt x="66" y="165"/>
                    <a:pt x="65" y="165"/>
                  </a:cubicBezTo>
                  <a:cubicBezTo>
                    <a:pt x="64" y="165"/>
                    <a:pt x="64" y="165"/>
                    <a:pt x="64" y="164"/>
                  </a:cubicBezTo>
                  <a:cubicBezTo>
                    <a:pt x="62" y="164"/>
                    <a:pt x="62" y="163"/>
                    <a:pt x="60" y="163"/>
                  </a:cubicBezTo>
                  <a:cubicBezTo>
                    <a:pt x="60" y="163"/>
                    <a:pt x="59" y="163"/>
                    <a:pt x="59" y="163"/>
                  </a:cubicBezTo>
                  <a:cubicBezTo>
                    <a:pt x="58" y="163"/>
                    <a:pt x="57" y="162"/>
                    <a:pt x="56" y="162"/>
                  </a:cubicBezTo>
                  <a:cubicBezTo>
                    <a:pt x="56" y="163"/>
                    <a:pt x="55" y="164"/>
                    <a:pt x="55" y="165"/>
                  </a:cubicBezTo>
                  <a:cubicBezTo>
                    <a:pt x="54" y="166"/>
                    <a:pt x="54" y="167"/>
                    <a:pt x="54" y="168"/>
                  </a:cubicBezTo>
                  <a:cubicBezTo>
                    <a:pt x="54" y="171"/>
                    <a:pt x="57" y="171"/>
                    <a:pt x="59" y="172"/>
                  </a:cubicBezTo>
                  <a:cubicBezTo>
                    <a:pt x="59" y="173"/>
                    <a:pt x="60" y="173"/>
                    <a:pt x="60" y="174"/>
                  </a:cubicBezTo>
                  <a:cubicBezTo>
                    <a:pt x="61" y="174"/>
                    <a:pt x="61" y="175"/>
                    <a:pt x="61" y="175"/>
                  </a:cubicBezTo>
                  <a:cubicBezTo>
                    <a:pt x="60" y="175"/>
                    <a:pt x="59" y="175"/>
                    <a:pt x="58" y="175"/>
                  </a:cubicBezTo>
                  <a:cubicBezTo>
                    <a:pt x="57" y="174"/>
                    <a:pt x="57" y="173"/>
                    <a:pt x="55" y="173"/>
                  </a:cubicBezTo>
                  <a:cubicBezTo>
                    <a:pt x="53" y="173"/>
                    <a:pt x="51" y="174"/>
                    <a:pt x="49" y="174"/>
                  </a:cubicBezTo>
                  <a:cubicBezTo>
                    <a:pt x="49" y="175"/>
                    <a:pt x="48" y="175"/>
                    <a:pt x="48" y="176"/>
                  </a:cubicBezTo>
                  <a:cubicBezTo>
                    <a:pt x="47" y="177"/>
                    <a:pt x="48" y="177"/>
                    <a:pt x="49" y="178"/>
                  </a:cubicBezTo>
                  <a:cubicBezTo>
                    <a:pt x="50" y="178"/>
                    <a:pt x="52" y="179"/>
                    <a:pt x="50" y="180"/>
                  </a:cubicBezTo>
                  <a:cubicBezTo>
                    <a:pt x="50" y="180"/>
                    <a:pt x="49" y="179"/>
                    <a:pt x="49" y="180"/>
                  </a:cubicBezTo>
                  <a:cubicBezTo>
                    <a:pt x="49" y="180"/>
                    <a:pt x="49" y="180"/>
                    <a:pt x="49" y="181"/>
                  </a:cubicBezTo>
                  <a:cubicBezTo>
                    <a:pt x="48" y="181"/>
                    <a:pt x="48" y="181"/>
                    <a:pt x="48" y="182"/>
                  </a:cubicBezTo>
                  <a:cubicBezTo>
                    <a:pt x="48" y="182"/>
                    <a:pt x="48" y="182"/>
                    <a:pt x="48" y="183"/>
                  </a:cubicBezTo>
                  <a:cubicBezTo>
                    <a:pt x="48" y="184"/>
                    <a:pt x="47" y="183"/>
                    <a:pt x="46" y="183"/>
                  </a:cubicBezTo>
                  <a:cubicBezTo>
                    <a:pt x="45" y="184"/>
                    <a:pt x="43" y="186"/>
                    <a:pt x="44" y="187"/>
                  </a:cubicBezTo>
                  <a:cubicBezTo>
                    <a:pt x="45" y="188"/>
                    <a:pt x="47" y="186"/>
                    <a:pt x="47" y="186"/>
                  </a:cubicBezTo>
                  <a:cubicBezTo>
                    <a:pt x="48" y="186"/>
                    <a:pt x="50" y="185"/>
                    <a:pt x="51" y="185"/>
                  </a:cubicBezTo>
                  <a:cubicBezTo>
                    <a:pt x="53" y="186"/>
                    <a:pt x="54" y="188"/>
                    <a:pt x="54" y="189"/>
                  </a:cubicBezTo>
                  <a:cubicBezTo>
                    <a:pt x="52" y="190"/>
                    <a:pt x="49" y="189"/>
                    <a:pt x="48" y="190"/>
                  </a:cubicBezTo>
                  <a:cubicBezTo>
                    <a:pt x="47" y="191"/>
                    <a:pt x="47" y="192"/>
                    <a:pt x="47" y="192"/>
                  </a:cubicBezTo>
                  <a:cubicBezTo>
                    <a:pt x="46" y="194"/>
                    <a:pt x="47" y="195"/>
                    <a:pt x="46" y="196"/>
                  </a:cubicBezTo>
                  <a:cubicBezTo>
                    <a:pt x="45" y="196"/>
                    <a:pt x="44" y="197"/>
                    <a:pt x="44" y="198"/>
                  </a:cubicBezTo>
                  <a:cubicBezTo>
                    <a:pt x="44" y="198"/>
                    <a:pt x="44" y="196"/>
                    <a:pt x="43" y="196"/>
                  </a:cubicBezTo>
                  <a:cubicBezTo>
                    <a:pt x="42" y="196"/>
                    <a:pt x="42" y="197"/>
                    <a:pt x="41" y="197"/>
                  </a:cubicBezTo>
                  <a:cubicBezTo>
                    <a:pt x="40" y="197"/>
                    <a:pt x="39" y="197"/>
                    <a:pt x="39" y="197"/>
                  </a:cubicBezTo>
                  <a:cubicBezTo>
                    <a:pt x="38" y="198"/>
                    <a:pt x="38" y="198"/>
                    <a:pt x="38" y="198"/>
                  </a:cubicBezTo>
                  <a:cubicBezTo>
                    <a:pt x="37" y="198"/>
                    <a:pt x="35" y="198"/>
                    <a:pt x="34" y="198"/>
                  </a:cubicBezTo>
                  <a:cubicBezTo>
                    <a:pt x="33" y="198"/>
                    <a:pt x="33" y="198"/>
                    <a:pt x="32" y="198"/>
                  </a:cubicBezTo>
                  <a:cubicBezTo>
                    <a:pt x="30" y="197"/>
                    <a:pt x="28" y="200"/>
                    <a:pt x="26" y="201"/>
                  </a:cubicBezTo>
                  <a:cubicBezTo>
                    <a:pt x="24" y="203"/>
                    <a:pt x="24" y="203"/>
                    <a:pt x="26" y="204"/>
                  </a:cubicBezTo>
                  <a:cubicBezTo>
                    <a:pt x="28" y="204"/>
                    <a:pt x="30" y="204"/>
                    <a:pt x="32" y="205"/>
                  </a:cubicBezTo>
                  <a:cubicBezTo>
                    <a:pt x="32" y="207"/>
                    <a:pt x="35" y="205"/>
                    <a:pt x="36" y="205"/>
                  </a:cubicBezTo>
                  <a:cubicBezTo>
                    <a:pt x="36" y="207"/>
                    <a:pt x="39" y="207"/>
                    <a:pt x="40" y="207"/>
                  </a:cubicBezTo>
                  <a:cubicBezTo>
                    <a:pt x="42" y="207"/>
                    <a:pt x="44" y="207"/>
                    <a:pt x="45" y="207"/>
                  </a:cubicBezTo>
                  <a:cubicBezTo>
                    <a:pt x="46" y="206"/>
                    <a:pt x="46" y="206"/>
                    <a:pt x="47" y="206"/>
                  </a:cubicBezTo>
                  <a:cubicBezTo>
                    <a:pt x="49" y="207"/>
                    <a:pt x="51" y="206"/>
                    <a:pt x="52" y="206"/>
                  </a:cubicBezTo>
                  <a:cubicBezTo>
                    <a:pt x="55" y="206"/>
                    <a:pt x="57" y="207"/>
                    <a:pt x="59" y="207"/>
                  </a:cubicBezTo>
                  <a:cubicBezTo>
                    <a:pt x="58" y="209"/>
                    <a:pt x="52" y="208"/>
                    <a:pt x="50" y="208"/>
                  </a:cubicBezTo>
                  <a:cubicBezTo>
                    <a:pt x="49" y="208"/>
                    <a:pt x="48" y="207"/>
                    <a:pt x="46" y="207"/>
                  </a:cubicBezTo>
                  <a:cubicBezTo>
                    <a:pt x="45" y="208"/>
                    <a:pt x="44" y="209"/>
                    <a:pt x="43" y="209"/>
                  </a:cubicBezTo>
                  <a:cubicBezTo>
                    <a:pt x="43" y="210"/>
                    <a:pt x="42" y="210"/>
                    <a:pt x="42" y="210"/>
                  </a:cubicBezTo>
                  <a:cubicBezTo>
                    <a:pt x="41" y="211"/>
                    <a:pt x="40" y="210"/>
                    <a:pt x="39" y="210"/>
                  </a:cubicBezTo>
                  <a:cubicBezTo>
                    <a:pt x="38" y="211"/>
                    <a:pt x="38" y="213"/>
                    <a:pt x="39" y="213"/>
                  </a:cubicBezTo>
                  <a:cubicBezTo>
                    <a:pt x="40" y="214"/>
                    <a:pt x="40" y="214"/>
                    <a:pt x="41" y="214"/>
                  </a:cubicBezTo>
                  <a:cubicBezTo>
                    <a:pt x="42" y="215"/>
                    <a:pt x="42" y="214"/>
                    <a:pt x="42" y="216"/>
                  </a:cubicBezTo>
                  <a:cubicBezTo>
                    <a:pt x="42" y="216"/>
                    <a:pt x="42" y="217"/>
                    <a:pt x="43" y="217"/>
                  </a:cubicBezTo>
                  <a:cubicBezTo>
                    <a:pt x="44" y="218"/>
                    <a:pt x="44" y="218"/>
                    <a:pt x="45" y="218"/>
                  </a:cubicBezTo>
                  <a:cubicBezTo>
                    <a:pt x="46" y="218"/>
                    <a:pt x="47" y="219"/>
                    <a:pt x="48" y="219"/>
                  </a:cubicBezTo>
                  <a:cubicBezTo>
                    <a:pt x="49" y="220"/>
                    <a:pt x="50" y="220"/>
                    <a:pt x="50" y="220"/>
                  </a:cubicBezTo>
                  <a:cubicBezTo>
                    <a:pt x="51" y="220"/>
                    <a:pt x="52" y="221"/>
                    <a:pt x="52" y="220"/>
                  </a:cubicBezTo>
                  <a:cubicBezTo>
                    <a:pt x="54" y="221"/>
                    <a:pt x="54" y="222"/>
                    <a:pt x="56" y="222"/>
                  </a:cubicBezTo>
                  <a:cubicBezTo>
                    <a:pt x="57" y="222"/>
                    <a:pt x="58" y="222"/>
                    <a:pt x="58" y="223"/>
                  </a:cubicBezTo>
                  <a:cubicBezTo>
                    <a:pt x="59" y="224"/>
                    <a:pt x="59" y="225"/>
                    <a:pt x="57" y="225"/>
                  </a:cubicBezTo>
                  <a:cubicBezTo>
                    <a:pt x="57" y="225"/>
                    <a:pt x="56" y="225"/>
                    <a:pt x="55" y="224"/>
                  </a:cubicBezTo>
                  <a:cubicBezTo>
                    <a:pt x="54" y="224"/>
                    <a:pt x="54" y="224"/>
                    <a:pt x="53" y="223"/>
                  </a:cubicBezTo>
                  <a:cubicBezTo>
                    <a:pt x="52" y="222"/>
                    <a:pt x="50" y="222"/>
                    <a:pt x="49" y="221"/>
                  </a:cubicBezTo>
                  <a:cubicBezTo>
                    <a:pt x="47" y="220"/>
                    <a:pt x="46" y="220"/>
                    <a:pt x="44" y="219"/>
                  </a:cubicBezTo>
                  <a:cubicBezTo>
                    <a:pt x="43" y="218"/>
                    <a:pt x="43" y="218"/>
                    <a:pt x="42" y="218"/>
                  </a:cubicBezTo>
                  <a:cubicBezTo>
                    <a:pt x="41" y="217"/>
                    <a:pt x="41" y="217"/>
                    <a:pt x="41" y="217"/>
                  </a:cubicBezTo>
                  <a:cubicBezTo>
                    <a:pt x="41" y="217"/>
                    <a:pt x="41" y="216"/>
                    <a:pt x="40" y="215"/>
                  </a:cubicBezTo>
                  <a:cubicBezTo>
                    <a:pt x="39" y="214"/>
                    <a:pt x="38" y="214"/>
                    <a:pt x="38" y="213"/>
                  </a:cubicBezTo>
                  <a:cubicBezTo>
                    <a:pt x="37" y="212"/>
                    <a:pt x="37" y="211"/>
                    <a:pt x="36" y="211"/>
                  </a:cubicBezTo>
                  <a:cubicBezTo>
                    <a:pt x="35" y="210"/>
                    <a:pt x="34" y="210"/>
                    <a:pt x="33" y="210"/>
                  </a:cubicBezTo>
                  <a:cubicBezTo>
                    <a:pt x="30" y="209"/>
                    <a:pt x="28" y="212"/>
                    <a:pt x="26" y="213"/>
                  </a:cubicBezTo>
                  <a:cubicBezTo>
                    <a:pt x="25" y="214"/>
                    <a:pt x="24" y="215"/>
                    <a:pt x="23" y="216"/>
                  </a:cubicBezTo>
                  <a:cubicBezTo>
                    <a:pt x="23" y="216"/>
                    <a:pt x="22" y="218"/>
                    <a:pt x="23" y="219"/>
                  </a:cubicBezTo>
                  <a:cubicBezTo>
                    <a:pt x="23" y="220"/>
                    <a:pt x="25" y="221"/>
                    <a:pt x="26" y="221"/>
                  </a:cubicBezTo>
                  <a:cubicBezTo>
                    <a:pt x="27" y="222"/>
                    <a:pt x="29" y="221"/>
                    <a:pt x="30" y="222"/>
                  </a:cubicBezTo>
                  <a:cubicBezTo>
                    <a:pt x="31" y="222"/>
                    <a:pt x="30" y="223"/>
                    <a:pt x="31" y="222"/>
                  </a:cubicBezTo>
                  <a:cubicBezTo>
                    <a:pt x="31" y="223"/>
                    <a:pt x="31" y="225"/>
                    <a:pt x="30" y="225"/>
                  </a:cubicBezTo>
                  <a:cubicBezTo>
                    <a:pt x="30" y="225"/>
                    <a:pt x="28" y="225"/>
                    <a:pt x="27" y="225"/>
                  </a:cubicBezTo>
                  <a:cubicBezTo>
                    <a:pt x="25" y="225"/>
                    <a:pt x="22" y="225"/>
                    <a:pt x="22" y="228"/>
                  </a:cubicBezTo>
                  <a:cubicBezTo>
                    <a:pt x="23" y="228"/>
                    <a:pt x="25" y="228"/>
                    <a:pt x="26" y="228"/>
                  </a:cubicBezTo>
                  <a:cubicBezTo>
                    <a:pt x="26" y="228"/>
                    <a:pt x="26" y="228"/>
                    <a:pt x="27" y="229"/>
                  </a:cubicBezTo>
                  <a:cubicBezTo>
                    <a:pt x="27" y="229"/>
                    <a:pt x="28" y="229"/>
                    <a:pt x="28" y="229"/>
                  </a:cubicBezTo>
                  <a:cubicBezTo>
                    <a:pt x="29" y="229"/>
                    <a:pt x="30" y="229"/>
                    <a:pt x="31" y="229"/>
                  </a:cubicBezTo>
                  <a:cubicBezTo>
                    <a:pt x="33" y="228"/>
                    <a:pt x="34" y="227"/>
                    <a:pt x="35" y="226"/>
                  </a:cubicBezTo>
                  <a:cubicBezTo>
                    <a:pt x="36" y="226"/>
                    <a:pt x="39" y="225"/>
                    <a:pt x="39" y="226"/>
                  </a:cubicBezTo>
                  <a:cubicBezTo>
                    <a:pt x="40" y="229"/>
                    <a:pt x="35" y="231"/>
                    <a:pt x="33" y="232"/>
                  </a:cubicBezTo>
                  <a:cubicBezTo>
                    <a:pt x="32" y="233"/>
                    <a:pt x="26" y="237"/>
                    <a:pt x="30" y="238"/>
                  </a:cubicBezTo>
                  <a:cubicBezTo>
                    <a:pt x="31" y="238"/>
                    <a:pt x="34" y="238"/>
                    <a:pt x="36" y="238"/>
                  </a:cubicBezTo>
                  <a:cubicBezTo>
                    <a:pt x="38" y="238"/>
                    <a:pt x="39" y="236"/>
                    <a:pt x="41" y="236"/>
                  </a:cubicBezTo>
                  <a:cubicBezTo>
                    <a:pt x="42" y="240"/>
                    <a:pt x="35" y="240"/>
                    <a:pt x="33" y="240"/>
                  </a:cubicBezTo>
                  <a:cubicBezTo>
                    <a:pt x="30" y="240"/>
                    <a:pt x="26" y="240"/>
                    <a:pt x="23" y="239"/>
                  </a:cubicBezTo>
                  <a:cubicBezTo>
                    <a:pt x="22" y="239"/>
                    <a:pt x="20" y="239"/>
                    <a:pt x="18" y="239"/>
                  </a:cubicBezTo>
                  <a:cubicBezTo>
                    <a:pt x="17" y="240"/>
                    <a:pt x="17" y="242"/>
                    <a:pt x="18" y="243"/>
                  </a:cubicBezTo>
                  <a:cubicBezTo>
                    <a:pt x="22" y="245"/>
                    <a:pt x="25" y="247"/>
                    <a:pt x="29" y="247"/>
                  </a:cubicBezTo>
                  <a:cubicBezTo>
                    <a:pt x="30" y="247"/>
                    <a:pt x="32" y="247"/>
                    <a:pt x="34" y="247"/>
                  </a:cubicBezTo>
                  <a:cubicBezTo>
                    <a:pt x="34" y="247"/>
                    <a:pt x="35" y="246"/>
                    <a:pt x="35" y="246"/>
                  </a:cubicBezTo>
                  <a:cubicBezTo>
                    <a:pt x="37" y="245"/>
                    <a:pt x="39" y="245"/>
                    <a:pt x="40" y="244"/>
                  </a:cubicBezTo>
                  <a:cubicBezTo>
                    <a:pt x="43" y="243"/>
                    <a:pt x="47" y="244"/>
                    <a:pt x="50" y="243"/>
                  </a:cubicBezTo>
                  <a:cubicBezTo>
                    <a:pt x="51" y="242"/>
                    <a:pt x="53" y="241"/>
                    <a:pt x="54" y="241"/>
                  </a:cubicBezTo>
                  <a:cubicBezTo>
                    <a:pt x="56" y="240"/>
                    <a:pt x="58" y="239"/>
                    <a:pt x="59" y="236"/>
                  </a:cubicBezTo>
                  <a:cubicBezTo>
                    <a:pt x="59" y="234"/>
                    <a:pt x="58" y="233"/>
                    <a:pt x="58" y="231"/>
                  </a:cubicBezTo>
                  <a:cubicBezTo>
                    <a:pt x="58" y="230"/>
                    <a:pt x="58" y="228"/>
                    <a:pt x="57" y="228"/>
                  </a:cubicBezTo>
                  <a:cubicBezTo>
                    <a:pt x="57" y="228"/>
                    <a:pt x="56" y="227"/>
                    <a:pt x="56" y="227"/>
                  </a:cubicBezTo>
                  <a:cubicBezTo>
                    <a:pt x="57" y="227"/>
                    <a:pt x="57" y="227"/>
                    <a:pt x="58" y="226"/>
                  </a:cubicBezTo>
                  <a:cubicBezTo>
                    <a:pt x="58" y="226"/>
                    <a:pt x="60" y="226"/>
                    <a:pt x="60" y="226"/>
                  </a:cubicBezTo>
                  <a:cubicBezTo>
                    <a:pt x="60" y="226"/>
                    <a:pt x="61" y="225"/>
                    <a:pt x="61" y="225"/>
                  </a:cubicBezTo>
                  <a:cubicBezTo>
                    <a:pt x="62" y="224"/>
                    <a:pt x="62" y="223"/>
                    <a:pt x="62" y="223"/>
                  </a:cubicBezTo>
                  <a:cubicBezTo>
                    <a:pt x="62" y="222"/>
                    <a:pt x="62" y="222"/>
                    <a:pt x="63" y="221"/>
                  </a:cubicBezTo>
                  <a:cubicBezTo>
                    <a:pt x="64" y="221"/>
                    <a:pt x="64" y="220"/>
                    <a:pt x="64" y="220"/>
                  </a:cubicBezTo>
                  <a:cubicBezTo>
                    <a:pt x="65" y="219"/>
                    <a:pt x="66" y="219"/>
                    <a:pt x="67" y="218"/>
                  </a:cubicBezTo>
                  <a:cubicBezTo>
                    <a:pt x="67" y="217"/>
                    <a:pt x="67" y="215"/>
                    <a:pt x="68" y="214"/>
                  </a:cubicBezTo>
                  <a:cubicBezTo>
                    <a:pt x="69" y="213"/>
                    <a:pt x="70" y="213"/>
                    <a:pt x="71" y="212"/>
                  </a:cubicBezTo>
                  <a:cubicBezTo>
                    <a:pt x="71" y="211"/>
                    <a:pt x="72" y="211"/>
                    <a:pt x="72" y="210"/>
                  </a:cubicBezTo>
                  <a:cubicBezTo>
                    <a:pt x="72" y="210"/>
                    <a:pt x="73" y="209"/>
                    <a:pt x="73" y="209"/>
                  </a:cubicBezTo>
                  <a:cubicBezTo>
                    <a:pt x="73" y="209"/>
                    <a:pt x="73" y="209"/>
                    <a:pt x="74" y="208"/>
                  </a:cubicBezTo>
                  <a:cubicBezTo>
                    <a:pt x="74" y="208"/>
                    <a:pt x="74" y="208"/>
                    <a:pt x="74" y="208"/>
                  </a:cubicBezTo>
                  <a:cubicBezTo>
                    <a:pt x="75" y="207"/>
                    <a:pt x="76" y="207"/>
                    <a:pt x="76" y="206"/>
                  </a:cubicBezTo>
                  <a:cubicBezTo>
                    <a:pt x="78" y="204"/>
                    <a:pt x="84" y="196"/>
                    <a:pt x="85" y="195"/>
                  </a:cubicBezTo>
                  <a:cubicBezTo>
                    <a:pt x="85" y="194"/>
                    <a:pt x="86" y="193"/>
                    <a:pt x="86" y="193"/>
                  </a:cubicBezTo>
                  <a:cubicBezTo>
                    <a:pt x="86" y="193"/>
                    <a:pt x="87" y="193"/>
                    <a:pt x="87" y="192"/>
                  </a:cubicBezTo>
                  <a:cubicBezTo>
                    <a:pt x="87" y="192"/>
                    <a:pt x="87" y="191"/>
                    <a:pt x="87" y="191"/>
                  </a:cubicBezTo>
                  <a:cubicBezTo>
                    <a:pt x="88" y="189"/>
                    <a:pt x="98" y="179"/>
                    <a:pt x="99" y="177"/>
                  </a:cubicBezTo>
                  <a:cubicBezTo>
                    <a:pt x="99" y="176"/>
                    <a:pt x="100" y="176"/>
                    <a:pt x="100" y="175"/>
                  </a:cubicBezTo>
                  <a:cubicBezTo>
                    <a:pt x="101" y="174"/>
                    <a:pt x="102" y="172"/>
                    <a:pt x="101" y="175"/>
                  </a:cubicBezTo>
                  <a:cubicBezTo>
                    <a:pt x="100" y="177"/>
                    <a:pt x="92" y="189"/>
                    <a:pt x="92" y="189"/>
                  </a:cubicBezTo>
                  <a:cubicBezTo>
                    <a:pt x="90" y="190"/>
                    <a:pt x="90" y="191"/>
                    <a:pt x="89" y="192"/>
                  </a:cubicBezTo>
                  <a:cubicBezTo>
                    <a:pt x="86" y="195"/>
                    <a:pt x="85" y="198"/>
                    <a:pt x="82" y="202"/>
                  </a:cubicBezTo>
                  <a:cubicBezTo>
                    <a:pt x="81" y="203"/>
                    <a:pt x="81" y="204"/>
                    <a:pt x="79" y="206"/>
                  </a:cubicBezTo>
                  <a:cubicBezTo>
                    <a:pt x="78" y="208"/>
                    <a:pt x="76" y="209"/>
                    <a:pt x="75" y="211"/>
                  </a:cubicBezTo>
                  <a:cubicBezTo>
                    <a:pt x="72" y="214"/>
                    <a:pt x="72" y="218"/>
                    <a:pt x="70" y="222"/>
                  </a:cubicBezTo>
                  <a:cubicBezTo>
                    <a:pt x="70" y="223"/>
                    <a:pt x="69" y="222"/>
                    <a:pt x="69" y="223"/>
                  </a:cubicBezTo>
                  <a:cubicBezTo>
                    <a:pt x="68" y="224"/>
                    <a:pt x="69" y="226"/>
                    <a:pt x="68" y="226"/>
                  </a:cubicBezTo>
                  <a:cubicBezTo>
                    <a:pt x="68" y="227"/>
                    <a:pt x="68" y="229"/>
                    <a:pt x="68" y="230"/>
                  </a:cubicBezTo>
                  <a:cubicBezTo>
                    <a:pt x="70" y="229"/>
                    <a:pt x="73" y="229"/>
                    <a:pt x="75" y="229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2"/>
                    <a:pt x="68" y="232"/>
                  </a:cubicBezTo>
                  <a:cubicBezTo>
                    <a:pt x="67" y="232"/>
                    <a:pt x="67" y="232"/>
                    <a:pt x="66" y="232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0"/>
                    <a:pt x="68" y="230"/>
                  </a:cubicBezTo>
                  <a:cubicBezTo>
                    <a:pt x="68" y="230"/>
                    <a:pt x="67" y="230"/>
                    <a:pt x="67" y="231"/>
                  </a:cubicBezTo>
                  <a:cubicBezTo>
                    <a:pt x="65" y="232"/>
                    <a:pt x="66" y="233"/>
                    <a:pt x="66" y="236"/>
                  </a:cubicBezTo>
                  <a:cubicBezTo>
                    <a:pt x="62" y="237"/>
                    <a:pt x="63" y="239"/>
                    <a:pt x="61" y="243"/>
                  </a:cubicBezTo>
                  <a:cubicBezTo>
                    <a:pt x="60" y="245"/>
                    <a:pt x="59" y="245"/>
                    <a:pt x="59" y="248"/>
                  </a:cubicBezTo>
                  <a:cubicBezTo>
                    <a:pt x="59" y="250"/>
                    <a:pt x="59" y="252"/>
                    <a:pt x="59" y="254"/>
                  </a:cubicBezTo>
                  <a:cubicBezTo>
                    <a:pt x="60" y="254"/>
                    <a:pt x="64" y="244"/>
                    <a:pt x="67" y="250"/>
                  </a:cubicBezTo>
                  <a:cubicBezTo>
                    <a:pt x="63" y="252"/>
                    <a:pt x="65" y="255"/>
                    <a:pt x="64" y="258"/>
                  </a:cubicBezTo>
                  <a:cubicBezTo>
                    <a:pt x="64" y="258"/>
                    <a:pt x="63" y="258"/>
                    <a:pt x="63" y="258"/>
                  </a:cubicBezTo>
                  <a:cubicBezTo>
                    <a:pt x="62" y="259"/>
                    <a:pt x="62" y="260"/>
                    <a:pt x="63" y="261"/>
                  </a:cubicBezTo>
                  <a:cubicBezTo>
                    <a:pt x="63" y="262"/>
                    <a:pt x="64" y="262"/>
                    <a:pt x="64" y="262"/>
                  </a:cubicBezTo>
                  <a:cubicBezTo>
                    <a:pt x="64" y="262"/>
                    <a:pt x="64" y="263"/>
                    <a:pt x="64" y="264"/>
                  </a:cubicBezTo>
                  <a:cubicBezTo>
                    <a:pt x="61" y="263"/>
                    <a:pt x="62" y="270"/>
                    <a:pt x="62" y="272"/>
                  </a:cubicBezTo>
                  <a:cubicBezTo>
                    <a:pt x="62" y="275"/>
                    <a:pt x="60" y="277"/>
                    <a:pt x="60" y="280"/>
                  </a:cubicBezTo>
                  <a:cubicBezTo>
                    <a:pt x="60" y="283"/>
                    <a:pt x="60" y="286"/>
                    <a:pt x="60" y="288"/>
                  </a:cubicBezTo>
                  <a:cubicBezTo>
                    <a:pt x="59" y="289"/>
                    <a:pt x="60" y="291"/>
                    <a:pt x="60" y="291"/>
                  </a:cubicBezTo>
                  <a:cubicBezTo>
                    <a:pt x="59" y="292"/>
                    <a:pt x="58" y="292"/>
                    <a:pt x="58" y="293"/>
                  </a:cubicBezTo>
                  <a:cubicBezTo>
                    <a:pt x="57" y="294"/>
                    <a:pt x="57" y="294"/>
                    <a:pt x="57" y="296"/>
                  </a:cubicBezTo>
                  <a:cubicBezTo>
                    <a:pt x="62" y="297"/>
                    <a:pt x="63" y="295"/>
                    <a:pt x="65" y="291"/>
                  </a:cubicBezTo>
                  <a:cubicBezTo>
                    <a:pt x="68" y="287"/>
                    <a:pt x="71" y="285"/>
                    <a:pt x="71" y="280"/>
                  </a:cubicBezTo>
                  <a:cubicBezTo>
                    <a:pt x="71" y="277"/>
                    <a:pt x="70" y="271"/>
                    <a:pt x="71" y="268"/>
                  </a:cubicBezTo>
                  <a:cubicBezTo>
                    <a:pt x="73" y="267"/>
                    <a:pt x="75" y="268"/>
                    <a:pt x="77" y="267"/>
                  </a:cubicBezTo>
                  <a:cubicBezTo>
                    <a:pt x="78" y="267"/>
                    <a:pt x="80" y="266"/>
                    <a:pt x="81" y="265"/>
                  </a:cubicBezTo>
                  <a:cubicBezTo>
                    <a:pt x="83" y="269"/>
                    <a:pt x="78" y="270"/>
                    <a:pt x="76" y="273"/>
                  </a:cubicBezTo>
                  <a:cubicBezTo>
                    <a:pt x="75" y="274"/>
                    <a:pt x="76" y="275"/>
                    <a:pt x="75" y="275"/>
                  </a:cubicBezTo>
                  <a:cubicBezTo>
                    <a:pt x="75" y="276"/>
                    <a:pt x="73" y="276"/>
                    <a:pt x="73" y="277"/>
                  </a:cubicBezTo>
                  <a:cubicBezTo>
                    <a:pt x="72" y="278"/>
                    <a:pt x="72" y="281"/>
                    <a:pt x="72" y="282"/>
                  </a:cubicBezTo>
                  <a:cubicBezTo>
                    <a:pt x="73" y="286"/>
                    <a:pt x="75" y="291"/>
                    <a:pt x="79" y="290"/>
                  </a:cubicBezTo>
                  <a:cubicBezTo>
                    <a:pt x="82" y="289"/>
                    <a:pt x="81" y="290"/>
                    <a:pt x="81" y="286"/>
                  </a:cubicBezTo>
                  <a:cubicBezTo>
                    <a:pt x="82" y="284"/>
                    <a:pt x="83" y="283"/>
                    <a:pt x="86" y="284"/>
                  </a:cubicBezTo>
                  <a:cubicBezTo>
                    <a:pt x="86" y="287"/>
                    <a:pt x="86" y="288"/>
                    <a:pt x="88" y="290"/>
                  </a:cubicBezTo>
                  <a:cubicBezTo>
                    <a:pt x="90" y="292"/>
                    <a:pt x="91" y="294"/>
                    <a:pt x="92" y="296"/>
                  </a:cubicBezTo>
                  <a:cubicBezTo>
                    <a:pt x="93" y="298"/>
                    <a:pt x="94" y="301"/>
                    <a:pt x="95" y="298"/>
                  </a:cubicBezTo>
                  <a:cubicBezTo>
                    <a:pt x="95" y="297"/>
                    <a:pt x="95" y="294"/>
                    <a:pt x="95" y="293"/>
                  </a:cubicBezTo>
                  <a:cubicBezTo>
                    <a:pt x="95" y="291"/>
                    <a:pt x="93" y="290"/>
                    <a:pt x="94" y="288"/>
                  </a:cubicBezTo>
                  <a:cubicBezTo>
                    <a:pt x="95" y="288"/>
                    <a:pt x="96" y="288"/>
                    <a:pt x="98" y="288"/>
                  </a:cubicBezTo>
                  <a:cubicBezTo>
                    <a:pt x="98" y="287"/>
                    <a:pt x="98" y="285"/>
                    <a:pt x="98" y="283"/>
                  </a:cubicBezTo>
                  <a:cubicBezTo>
                    <a:pt x="98" y="280"/>
                    <a:pt x="98" y="279"/>
                    <a:pt x="99" y="277"/>
                  </a:cubicBezTo>
                  <a:cubicBezTo>
                    <a:pt x="100" y="276"/>
                    <a:pt x="100" y="273"/>
                    <a:pt x="101" y="272"/>
                  </a:cubicBezTo>
                  <a:cubicBezTo>
                    <a:pt x="104" y="272"/>
                    <a:pt x="103" y="275"/>
                    <a:pt x="103" y="277"/>
                  </a:cubicBezTo>
                  <a:cubicBezTo>
                    <a:pt x="106" y="277"/>
                    <a:pt x="112" y="275"/>
                    <a:pt x="110" y="279"/>
                  </a:cubicBezTo>
                  <a:cubicBezTo>
                    <a:pt x="108" y="280"/>
                    <a:pt x="105" y="279"/>
                    <a:pt x="103" y="280"/>
                  </a:cubicBezTo>
                  <a:cubicBezTo>
                    <a:pt x="101" y="281"/>
                    <a:pt x="102" y="283"/>
                    <a:pt x="102" y="285"/>
                  </a:cubicBezTo>
                  <a:cubicBezTo>
                    <a:pt x="101" y="288"/>
                    <a:pt x="99" y="288"/>
                    <a:pt x="98" y="290"/>
                  </a:cubicBezTo>
                  <a:cubicBezTo>
                    <a:pt x="97" y="292"/>
                    <a:pt x="97" y="294"/>
                    <a:pt x="97" y="296"/>
                  </a:cubicBezTo>
                  <a:cubicBezTo>
                    <a:pt x="98" y="297"/>
                    <a:pt x="98" y="298"/>
                    <a:pt x="99" y="299"/>
                  </a:cubicBezTo>
                  <a:cubicBezTo>
                    <a:pt x="99" y="300"/>
                    <a:pt x="98" y="301"/>
                    <a:pt x="99" y="301"/>
                  </a:cubicBezTo>
                  <a:cubicBezTo>
                    <a:pt x="99" y="302"/>
                    <a:pt x="100" y="302"/>
                    <a:pt x="100" y="302"/>
                  </a:cubicBezTo>
                  <a:cubicBezTo>
                    <a:pt x="101" y="303"/>
                    <a:pt x="102" y="305"/>
                    <a:pt x="103" y="306"/>
                  </a:cubicBezTo>
                  <a:cubicBezTo>
                    <a:pt x="103" y="307"/>
                    <a:pt x="105" y="307"/>
                    <a:pt x="106" y="308"/>
                  </a:cubicBezTo>
                  <a:cubicBezTo>
                    <a:pt x="107" y="308"/>
                    <a:pt x="108" y="310"/>
                    <a:pt x="110" y="310"/>
                  </a:cubicBezTo>
                  <a:cubicBezTo>
                    <a:pt x="111" y="310"/>
                    <a:pt x="112" y="310"/>
                    <a:pt x="113" y="311"/>
                  </a:cubicBezTo>
                  <a:cubicBezTo>
                    <a:pt x="114" y="312"/>
                    <a:pt x="114" y="319"/>
                    <a:pt x="113" y="320"/>
                  </a:cubicBezTo>
                  <a:cubicBezTo>
                    <a:pt x="110" y="320"/>
                    <a:pt x="109" y="324"/>
                    <a:pt x="108" y="327"/>
                  </a:cubicBezTo>
                  <a:cubicBezTo>
                    <a:pt x="107" y="330"/>
                    <a:pt x="107" y="332"/>
                    <a:pt x="106" y="336"/>
                  </a:cubicBezTo>
                  <a:cubicBezTo>
                    <a:pt x="105" y="341"/>
                    <a:pt x="102" y="347"/>
                    <a:pt x="98" y="351"/>
                  </a:cubicBezTo>
                  <a:cubicBezTo>
                    <a:pt x="97" y="353"/>
                    <a:pt x="95" y="355"/>
                    <a:pt x="93" y="356"/>
                  </a:cubicBezTo>
                  <a:cubicBezTo>
                    <a:pt x="91" y="359"/>
                    <a:pt x="91" y="362"/>
                    <a:pt x="91" y="365"/>
                  </a:cubicBezTo>
                  <a:cubicBezTo>
                    <a:pt x="91" y="369"/>
                    <a:pt x="92" y="377"/>
                    <a:pt x="96" y="379"/>
                  </a:cubicBezTo>
                  <a:cubicBezTo>
                    <a:pt x="93" y="380"/>
                    <a:pt x="92" y="373"/>
                    <a:pt x="91" y="372"/>
                  </a:cubicBezTo>
                  <a:cubicBezTo>
                    <a:pt x="90" y="368"/>
                    <a:pt x="88" y="367"/>
                    <a:pt x="84" y="368"/>
                  </a:cubicBezTo>
                  <a:cubicBezTo>
                    <a:pt x="83" y="371"/>
                    <a:pt x="83" y="374"/>
                    <a:pt x="84" y="377"/>
                  </a:cubicBezTo>
                  <a:cubicBezTo>
                    <a:pt x="85" y="380"/>
                    <a:pt x="87" y="383"/>
                    <a:pt x="89" y="385"/>
                  </a:cubicBezTo>
                  <a:cubicBezTo>
                    <a:pt x="90" y="386"/>
                    <a:pt x="92" y="387"/>
                    <a:pt x="93" y="388"/>
                  </a:cubicBezTo>
                  <a:cubicBezTo>
                    <a:pt x="94" y="390"/>
                    <a:pt x="97" y="405"/>
                    <a:pt x="101" y="403"/>
                  </a:cubicBezTo>
                  <a:cubicBezTo>
                    <a:pt x="102" y="398"/>
                    <a:pt x="99" y="392"/>
                    <a:pt x="99" y="387"/>
                  </a:cubicBezTo>
                  <a:cubicBezTo>
                    <a:pt x="99" y="383"/>
                    <a:pt x="98" y="380"/>
                    <a:pt x="102" y="378"/>
                  </a:cubicBezTo>
                  <a:cubicBezTo>
                    <a:pt x="105" y="377"/>
                    <a:pt x="105" y="378"/>
                    <a:pt x="107" y="381"/>
                  </a:cubicBezTo>
                  <a:cubicBezTo>
                    <a:pt x="107" y="382"/>
                    <a:pt x="109" y="382"/>
                    <a:pt x="109" y="382"/>
                  </a:cubicBezTo>
                  <a:cubicBezTo>
                    <a:pt x="110" y="384"/>
                    <a:pt x="111" y="385"/>
                    <a:pt x="112" y="386"/>
                  </a:cubicBezTo>
                  <a:cubicBezTo>
                    <a:pt x="113" y="388"/>
                    <a:pt x="115" y="389"/>
                    <a:pt x="117" y="390"/>
                  </a:cubicBezTo>
                  <a:cubicBezTo>
                    <a:pt x="121" y="394"/>
                    <a:pt x="123" y="399"/>
                    <a:pt x="130" y="399"/>
                  </a:cubicBezTo>
                  <a:cubicBezTo>
                    <a:pt x="131" y="395"/>
                    <a:pt x="130" y="395"/>
                    <a:pt x="128" y="391"/>
                  </a:cubicBezTo>
                  <a:cubicBezTo>
                    <a:pt x="127" y="388"/>
                    <a:pt x="127" y="385"/>
                    <a:pt x="127" y="381"/>
                  </a:cubicBezTo>
                  <a:cubicBezTo>
                    <a:pt x="127" y="376"/>
                    <a:pt x="130" y="380"/>
                    <a:pt x="133" y="382"/>
                  </a:cubicBezTo>
                  <a:cubicBezTo>
                    <a:pt x="137" y="384"/>
                    <a:pt x="136" y="385"/>
                    <a:pt x="137" y="390"/>
                  </a:cubicBezTo>
                  <a:cubicBezTo>
                    <a:pt x="139" y="390"/>
                    <a:pt x="142" y="391"/>
                    <a:pt x="145" y="391"/>
                  </a:cubicBezTo>
                  <a:cubicBezTo>
                    <a:pt x="145" y="391"/>
                    <a:pt x="147" y="392"/>
                    <a:pt x="147" y="392"/>
                  </a:cubicBezTo>
                  <a:cubicBezTo>
                    <a:pt x="148" y="392"/>
                    <a:pt x="149" y="390"/>
                    <a:pt x="150" y="390"/>
                  </a:cubicBezTo>
                  <a:cubicBezTo>
                    <a:pt x="153" y="389"/>
                    <a:pt x="154" y="390"/>
                    <a:pt x="156" y="388"/>
                  </a:cubicBezTo>
                  <a:cubicBezTo>
                    <a:pt x="158" y="386"/>
                    <a:pt x="158" y="385"/>
                    <a:pt x="160" y="383"/>
                  </a:cubicBezTo>
                  <a:cubicBezTo>
                    <a:pt x="162" y="381"/>
                    <a:pt x="162" y="380"/>
                    <a:pt x="165" y="381"/>
                  </a:cubicBezTo>
                  <a:cubicBezTo>
                    <a:pt x="166" y="381"/>
                    <a:pt x="166" y="382"/>
                    <a:pt x="166" y="383"/>
                  </a:cubicBezTo>
                  <a:cubicBezTo>
                    <a:pt x="167" y="383"/>
                    <a:pt x="168" y="382"/>
                    <a:pt x="168" y="383"/>
                  </a:cubicBezTo>
                  <a:cubicBezTo>
                    <a:pt x="169" y="383"/>
                    <a:pt x="170" y="383"/>
                    <a:pt x="171" y="383"/>
                  </a:cubicBezTo>
                  <a:cubicBezTo>
                    <a:pt x="174" y="382"/>
                    <a:pt x="175" y="381"/>
                    <a:pt x="174" y="378"/>
                  </a:cubicBezTo>
                  <a:cubicBezTo>
                    <a:pt x="174" y="377"/>
                    <a:pt x="172" y="376"/>
                    <a:pt x="171" y="375"/>
                  </a:cubicBezTo>
                  <a:cubicBezTo>
                    <a:pt x="171" y="374"/>
                    <a:pt x="171" y="373"/>
                    <a:pt x="172" y="372"/>
                  </a:cubicBezTo>
                  <a:cubicBezTo>
                    <a:pt x="175" y="371"/>
                    <a:pt x="177" y="372"/>
                    <a:pt x="180" y="372"/>
                  </a:cubicBezTo>
                  <a:cubicBezTo>
                    <a:pt x="183" y="372"/>
                    <a:pt x="185" y="372"/>
                    <a:pt x="187" y="372"/>
                  </a:cubicBezTo>
                  <a:cubicBezTo>
                    <a:pt x="189" y="371"/>
                    <a:pt x="191" y="370"/>
                    <a:pt x="193" y="369"/>
                  </a:cubicBezTo>
                  <a:cubicBezTo>
                    <a:pt x="196" y="368"/>
                    <a:pt x="197" y="366"/>
                    <a:pt x="201" y="367"/>
                  </a:cubicBezTo>
                  <a:cubicBezTo>
                    <a:pt x="201" y="368"/>
                    <a:pt x="201" y="369"/>
                    <a:pt x="201" y="371"/>
                  </a:cubicBezTo>
                  <a:cubicBezTo>
                    <a:pt x="197" y="370"/>
                    <a:pt x="195" y="375"/>
                    <a:pt x="192" y="375"/>
                  </a:cubicBezTo>
                  <a:cubicBezTo>
                    <a:pt x="190" y="376"/>
                    <a:pt x="189" y="373"/>
                    <a:pt x="187" y="374"/>
                  </a:cubicBezTo>
                  <a:cubicBezTo>
                    <a:pt x="186" y="375"/>
                    <a:pt x="186" y="377"/>
                    <a:pt x="186" y="378"/>
                  </a:cubicBezTo>
                  <a:cubicBezTo>
                    <a:pt x="185" y="378"/>
                    <a:pt x="183" y="378"/>
                    <a:pt x="182" y="378"/>
                  </a:cubicBezTo>
                  <a:cubicBezTo>
                    <a:pt x="180" y="379"/>
                    <a:pt x="182" y="378"/>
                    <a:pt x="180" y="380"/>
                  </a:cubicBezTo>
                  <a:cubicBezTo>
                    <a:pt x="179" y="382"/>
                    <a:pt x="178" y="385"/>
                    <a:pt x="176" y="388"/>
                  </a:cubicBezTo>
                  <a:cubicBezTo>
                    <a:pt x="175" y="389"/>
                    <a:pt x="175" y="390"/>
                    <a:pt x="174" y="391"/>
                  </a:cubicBezTo>
                  <a:cubicBezTo>
                    <a:pt x="174" y="391"/>
                    <a:pt x="174" y="392"/>
                    <a:pt x="173" y="392"/>
                  </a:cubicBezTo>
                  <a:cubicBezTo>
                    <a:pt x="173" y="392"/>
                    <a:pt x="172" y="392"/>
                    <a:pt x="171" y="392"/>
                  </a:cubicBezTo>
                  <a:cubicBezTo>
                    <a:pt x="170" y="393"/>
                    <a:pt x="170" y="394"/>
                    <a:pt x="169" y="395"/>
                  </a:cubicBezTo>
                  <a:cubicBezTo>
                    <a:pt x="169" y="396"/>
                    <a:pt x="169" y="397"/>
                    <a:pt x="169" y="397"/>
                  </a:cubicBezTo>
                  <a:cubicBezTo>
                    <a:pt x="169" y="398"/>
                    <a:pt x="168" y="398"/>
                    <a:pt x="168" y="399"/>
                  </a:cubicBezTo>
                  <a:cubicBezTo>
                    <a:pt x="165" y="402"/>
                    <a:pt x="164" y="409"/>
                    <a:pt x="165" y="414"/>
                  </a:cubicBezTo>
                  <a:cubicBezTo>
                    <a:pt x="166" y="418"/>
                    <a:pt x="171" y="422"/>
                    <a:pt x="172" y="425"/>
                  </a:cubicBezTo>
                  <a:cubicBezTo>
                    <a:pt x="173" y="427"/>
                    <a:pt x="173" y="429"/>
                    <a:pt x="174" y="430"/>
                  </a:cubicBezTo>
                  <a:cubicBezTo>
                    <a:pt x="174" y="431"/>
                    <a:pt x="175" y="432"/>
                    <a:pt x="176" y="433"/>
                  </a:cubicBezTo>
                  <a:cubicBezTo>
                    <a:pt x="176" y="434"/>
                    <a:pt x="177" y="434"/>
                    <a:pt x="177" y="435"/>
                  </a:cubicBezTo>
                  <a:cubicBezTo>
                    <a:pt x="178" y="435"/>
                    <a:pt x="177" y="436"/>
                    <a:pt x="177" y="437"/>
                  </a:cubicBezTo>
                  <a:cubicBezTo>
                    <a:pt x="180" y="441"/>
                    <a:pt x="186" y="442"/>
                    <a:pt x="185" y="448"/>
                  </a:cubicBezTo>
                  <a:cubicBezTo>
                    <a:pt x="184" y="450"/>
                    <a:pt x="182" y="452"/>
                    <a:pt x="185" y="454"/>
                  </a:cubicBezTo>
                  <a:cubicBezTo>
                    <a:pt x="185" y="455"/>
                    <a:pt x="187" y="456"/>
                    <a:pt x="188" y="456"/>
                  </a:cubicBezTo>
                  <a:cubicBezTo>
                    <a:pt x="190" y="455"/>
                    <a:pt x="189" y="454"/>
                    <a:pt x="190" y="453"/>
                  </a:cubicBezTo>
                  <a:cubicBezTo>
                    <a:pt x="192" y="452"/>
                    <a:pt x="193" y="453"/>
                    <a:pt x="195" y="451"/>
                  </a:cubicBezTo>
                  <a:cubicBezTo>
                    <a:pt x="196" y="449"/>
                    <a:pt x="196" y="447"/>
                    <a:pt x="199" y="448"/>
                  </a:cubicBezTo>
                  <a:cubicBezTo>
                    <a:pt x="202" y="449"/>
                    <a:pt x="203" y="452"/>
                    <a:pt x="205" y="448"/>
                  </a:cubicBezTo>
                  <a:cubicBezTo>
                    <a:pt x="206" y="446"/>
                    <a:pt x="206" y="442"/>
                    <a:pt x="209" y="443"/>
                  </a:cubicBezTo>
                  <a:cubicBezTo>
                    <a:pt x="212" y="443"/>
                    <a:pt x="213" y="447"/>
                    <a:pt x="212" y="449"/>
                  </a:cubicBezTo>
                  <a:cubicBezTo>
                    <a:pt x="212" y="452"/>
                    <a:pt x="209" y="452"/>
                    <a:pt x="208" y="455"/>
                  </a:cubicBezTo>
                  <a:cubicBezTo>
                    <a:pt x="206" y="455"/>
                    <a:pt x="205" y="459"/>
                    <a:pt x="205" y="461"/>
                  </a:cubicBezTo>
                  <a:cubicBezTo>
                    <a:pt x="205" y="461"/>
                    <a:pt x="206" y="462"/>
                    <a:pt x="206" y="462"/>
                  </a:cubicBezTo>
                  <a:cubicBezTo>
                    <a:pt x="206" y="463"/>
                    <a:pt x="206" y="464"/>
                    <a:pt x="206" y="465"/>
                  </a:cubicBezTo>
                  <a:cubicBezTo>
                    <a:pt x="205" y="466"/>
                    <a:pt x="205" y="466"/>
                    <a:pt x="204" y="468"/>
                  </a:cubicBezTo>
                  <a:cubicBezTo>
                    <a:pt x="204" y="468"/>
                    <a:pt x="203" y="467"/>
                    <a:pt x="203" y="467"/>
                  </a:cubicBezTo>
                  <a:cubicBezTo>
                    <a:pt x="202" y="468"/>
                    <a:pt x="202" y="468"/>
                    <a:pt x="202" y="469"/>
                  </a:cubicBezTo>
                  <a:cubicBezTo>
                    <a:pt x="201" y="469"/>
                    <a:pt x="200" y="470"/>
                    <a:pt x="200" y="471"/>
                  </a:cubicBezTo>
                  <a:cubicBezTo>
                    <a:pt x="198" y="473"/>
                    <a:pt x="197" y="474"/>
                    <a:pt x="199" y="476"/>
                  </a:cubicBezTo>
                  <a:cubicBezTo>
                    <a:pt x="198" y="478"/>
                    <a:pt x="196" y="478"/>
                    <a:pt x="195" y="480"/>
                  </a:cubicBezTo>
                  <a:cubicBezTo>
                    <a:pt x="193" y="483"/>
                    <a:pt x="195" y="483"/>
                    <a:pt x="196" y="485"/>
                  </a:cubicBezTo>
                  <a:cubicBezTo>
                    <a:pt x="197" y="487"/>
                    <a:pt x="198" y="490"/>
                    <a:pt x="197" y="492"/>
                  </a:cubicBezTo>
                  <a:cubicBezTo>
                    <a:pt x="196" y="494"/>
                    <a:pt x="194" y="494"/>
                    <a:pt x="194" y="498"/>
                  </a:cubicBezTo>
                  <a:cubicBezTo>
                    <a:pt x="194" y="500"/>
                    <a:pt x="195" y="502"/>
                    <a:pt x="194" y="504"/>
                  </a:cubicBezTo>
                  <a:cubicBezTo>
                    <a:pt x="194" y="506"/>
                    <a:pt x="195" y="510"/>
                    <a:pt x="194" y="511"/>
                  </a:cubicBezTo>
                  <a:cubicBezTo>
                    <a:pt x="193" y="515"/>
                    <a:pt x="187" y="512"/>
                    <a:pt x="188" y="516"/>
                  </a:cubicBezTo>
                  <a:cubicBezTo>
                    <a:pt x="188" y="517"/>
                    <a:pt x="190" y="518"/>
                    <a:pt x="190" y="519"/>
                  </a:cubicBezTo>
                  <a:cubicBezTo>
                    <a:pt x="190" y="520"/>
                    <a:pt x="189" y="521"/>
                    <a:pt x="189" y="522"/>
                  </a:cubicBezTo>
                  <a:cubicBezTo>
                    <a:pt x="187" y="523"/>
                    <a:pt x="186" y="521"/>
                    <a:pt x="185" y="519"/>
                  </a:cubicBezTo>
                  <a:cubicBezTo>
                    <a:pt x="184" y="518"/>
                    <a:pt x="182" y="518"/>
                    <a:pt x="181" y="517"/>
                  </a:cubicBezTo>
                  <a:cubicBezTo>
                    <a:pt x="180" y="516"/>
                    <a:pt x="179" y="514"/>
                    <a:pt x="178" y="514"/>
                  </a:cubicBezTo>
                  <a:cubicBezTo>
                    <a:pt x="176" y="513"/>
                    <a:pt x="173" y="515"/>
                    <a:pt x="174" y="517"/>
                  </a:cubicBezTo>
                  <a:cubicBezTo>
                    <a:pt x="169" y="518"/>
                    <a:pt x="161" y="511"/>
                    <a:pt x="157" y="514"/>
                  </a:cubicBezTo>
                  <a:cubicBezTo>
                    <a:pt x="163" y="515"/>
                    <a:pt x="160" y="523"/>
                    <a:pt x="163" y="525"/>
                  </a:cubicBezTo>
                  <a:cubicBezTo>
                    <a:pt x="160" y="525"/>
                    <a:pt x="155" y="524"/>
                    <a:pt x="152" y="525"/>
                  </a:cubicBezTo>
                  <a:cubicBezTo>
                    <a:pt x="150" y="526"/>
                    <a:pt x="151" y="530"/>
                    <a:pt x="148" y="531"/>
                  </a:cubicBezTo>
                  <a:cubicBezTo>
                    <a:pt x="148" y="531"/>
                    <a:pt x="146" y="532"/>
                    <a:pt x="146" y="532"/>
                  </a:cubicBezTo>
                  <a:cubicBezTo>
                    <a:pt x="144" y="533"/>
                    <a:pt x="143" y="533"/>
                    <a:pt x="142" y="531"/>
                  </a:cubicBezTo>
                  <a:cubicBezTo>
                    <a:pt x="141" y="529"/>
                    <a:pt x="143" y="529"/>
                    <a:pt x="143" y="528"/>
                  </a:cubicBezTo>
                  <a:cubicBezTo>
                    <a:pt x="144" y="526"/>
                    <a:pt x="144" y="526"/>
                    <a:pt x="144" y="523"/>
                  </a:cubicBezTo>
                  <a:cubicBezTo>
                    <a:pt x="142" y="522"/>
                    <a:pt x="142" y="524"/>
                    <a:pt x="141" y="525"/>
                  </a:cubicBezTo>
                  <a:cubicBezTo>
                    <a:pt x="139" y="525"/>
                    <a:pt x="138" y="525"/>
                    <a:pt x="136" y="525"/>
                  </a:cubicBezTo>
                  <a:cubicBezTo>
                    <a:pt x="136" y="523"/>
                    <a:pt x="136" y="522"/>
                    <a:pt x="135" y="520"/>
                  </a:cubicBezTo>
                  <a:cubicBezTo>
                    <a:pt x="134" y="518"/>
                    <a:pt x="132" y="515"/>
                    <a:pt x="130" y="514"/>
                  </a:cubicBezTo>
                  <a:cubicBezTo>
                    <a:pt x="128" y="512"/>
                    <a:pt x="123" y="513"/>
                    <a:pt x="120" y="513"/>
                  </a:cubicBezTo>
                  <a:cubicBezTo>
                    <a:pt x="116" y="513"/>
                    <a:pt x="112" y="516"/>
                    <a:pt x="114" y="521"/>
                  </a:cubicBezTo>
                  <a:cubicBezTo>
                    <a:pt x="115" y="523"/>
                    <a:pt x="119" y="525"/>
                    <a:pt x="118" y="526"/>
                  </a:cubicBezTo>
                  <a:cubicBezTo>
                    <a:pt x="116" y="529"/>
                    <a:pt x="109" y="520"/>
                    <a:pt x="107" y="521"/>
                  </a:cubicBezTo>
                  <a:cubicBezTo>
                    <a:pt x="109" y="525"/>
                    <a:pt x="112" y="529"/>
                    <a:pt x="115" y="531"/>
                  </a:cubicBezTo>
                  <a:cubicBezTo>
                    <a:pt x="118" y="534"/>
                    <a:pt x="121" y="532"/>
                    <a:pt x="122" y="537"/>
                  </a:cubicBezTo>
                  <a:cubicBezTo>
                    <a:pt x="125" y="537"/>
                    <a:pt x="124" y="539"/>
                    <a:pt x="126" y="541"/>
                  </a:cubicBezTo>
                  <a:cubicBezTo>
                    <a:pt x="127" y="543"/>
                    <a:pt x="129" y="543"/>
                    <a:pt x="130" y="545"/>
                  </a:cubicBezTo>
                  <a:cubicBezTo>
                    <a:pt x="129" y="545"/>
                    <a:pt x="128" y="548"/>
                    <a:pt x="127" y="549"/>
                  </a:cubicBezTo>
                  <a:cubicBezTo>
                    <a:pt x="125" y="552"/>
                    <a:pt x="124" y="556"/>
                    <a:pt x="123" y="560"/>
                  </a:cubicBezTo>
                  <a:cubicBezTo>
                    <a:pt x="123" y="559"/>
                    <a:pt x="123" y="559"/>
                    <a:pt x="123" y="558"/>
                  </a:cubicBezTo>
                  <a:cubicBezTo>
                    <a:pt x="122" y="560"/>
                    <a:pt x="120" y="562"/>
                    <a:pt x="118" y="563"/>
                  </a:cubicBezTo>
                  <a:cubicBezTo>
                    <a:pt x="117" y="564"/>
                    <a:pt x="114" y="563"/>
                    <a:pt x="112" y="564"/>
                  </a:cubicBezTo>
                  <a:cubicBezTo>
                    <a:pt x="112" y="564"/>
                    <a:pt x="111" y="565"/>
                    <a:pt x="110" y="566"/>
                  </a:cubicBezTo>
                  <a:cubicBezTo>
                    <a:pt x="109" y="567"/>
                    <a:pt x="109" y="566"/>
                    <a:pt x="108" y="568"/>
                  </a:cubicBezTo>
                  <a:cubicBezTo>
                    <a:pt x="106" y="570"/>
                    <a:pt x="106" y="572"/>
                    <a:pt x="107" y="574"/>
                  </a:cubicBezTo>
                  <a:cubicBezTo>
                    <a:pt x="108" y="574"/>
                    <a:pt x="110" y="574"/>
                    <a:pt x="112" y="574"/>
                  </a:cubicBezTo>
                  <a:cubicBezTo>
                    <a:pt x="113" y="574"/>
                    <a:pt x="112" y="575"/>
                    <a:pt x="113" y="576"/>
                  </a:cubicBezTo>
                  <a:cubicBezTo>
                    <a:pt x="114" y="576"/>
                    <a:pt x="116" y="576"/>
                    <a:pt x="117" y="576"/>
                  </a:cubicBezTo>
                  <a:cubicBezTo>
                    <a:pt x="122" y="577"/>
                    <a:pt x="121" y="570"/>
                    <a:pt x="124" y="567"/>
                  </a:cubicBezTo>
                  <a:cubicBezTo>
                    <a:pt x="126" y="564"/>
                    <a:pt x="129" y="563"/>
                    <a:pt x="132" y="561"/>
                  </a:cubicBezTo>
                  <a:cubicBezTo>
                    <a:pt x="135" y="559"/>
                    <a:pt x="141" y="558"/>
                    <a:pt x="144" y="559"/>
                  </a:cubicBezTo>
                  <a:cubicBezTo>
                    <a:pt x="144" y="561"/>
                    <a:pt x="143" y="562"/>
                    <a:pt x="143" y="563"/>
                  </a:cubicBezTo>
                  <a:cubicBezTo>
                    <a:pt x="142" y="565"/>
                    <a:pt x="142" y="565"/>
                    <a:pt x="142" y="567"/>
                  </a:cubicBezTo>
                  <a:cubicBezTo>
                    <a:pt x="142" y="570"/>
                    <a:pt x="146" y="574"/>
                    <a:pt x="142" y="574"/>
                  </a:cubicBezTo>
                  <a:cubicBezTo>
                    <a:pt x="142" y="576"/>
                    <a:pt x="141" y="577"/>
                    <a:pt x="141" y="578"/>
                  </a:cubicBezTo>
                  <a:cubicBezTo>
                    <a:pt x="141" y="580"/>
                    <a:pt x="143" y="582"/>
                    <a:pt x="143" y="584"/>
                  </a:cubicBezTo>
                  <a:cubicBezTo>
                    <a:pt x="143" y="585"/>
                    <a:pt x="139" y="589"/>
                    <a:pt x="143" y="590"/>
                  </a:cubicBezTo>
                  <a:cubicBezTo>
                    <a:pt x="143" y="592"/>
                    <a:pt x="145" y="595"/>
                    <a:pt x="144" y="597"/>
                  </a:cubicBezTo>
                  <a:cubicBezTo>
                    <a:pt x="144" y="598"/>
                    <a:pt x="143" y="598"/>
                    <a:pt x="142" y="600"/>
                  </a:cubicBezTo>
                  <a:cubicBezTo>
                    <a:pt x="141" y="601"/>
                    <a:pt x="141" y="602"/>
                    <a:pt x="141" y="603"/>
                  </a:cubicBezTo>
                  <a:cubicBezTo>
                    <a:pt x="141" y="605"/>
                    <a:pt x="140" y="606"/>
                    <a:pt x="139" y="608"/>
                  </a:cubicBezTo>
                  <a:cubicBezTo>
                    <a:pt x="139" y="609"/>
                    <a:pt x="140" y="611"/>
                    <a:pt x="139" y="612"/>
                  </a:cubicBezTo>
                  <a:cubicBezTo>
                    <a:pt x="139" y="613"/>
                    <a:pt x="137" y="613"/>
                    <a:pt x="137" y="614"/>
                  </a:cubicBezTo>
                  <a:cubicBezTo>
                    <a:pt x="136" y="615"/>
                    <a:pt x="136" y="616"/>
                    <a:pt x="136" y="617"/>
                  </a:cubicBezTo>
                  <a:cubicBezTo>
                    <a:pt x="134" y="621"/>
                    <a:pt x="134" y="619"/>
                    <a:pt x="132" y="620"/>
                  </a:cubicBezTo>
                  <a:cubicBezTo>
                    <a:pt x="130" y="621"/>
                    <a:pt x="129" y="623"/>
                    <a:pt x="128" y="624"/>
                  </a:cubicBezTo>
                  <a:cubicBezTo>
                    <a:pt x="127" y="624"/>
                    <a:pt x="126" y="625"/>
                    <a:pt x="125" y="625"/>
                  </a:cubicBezTo>
                  <a:cubicBezTo>
                    <a:pt x="125" y="626"/>
                    <a:pt x="124" y="625"/>
                    <a:pt x="123" y="626"/>
                  </a:cubicBezTo>
                  <a:cubicBezTo>
                    <a:pt x="122" y="626"/>
                    <a:pt x="121" y="629"/>
                    <a:pt x="120" y="630"/>
                  </a:cubicBezTo>
                  <a:cubicBezTo>
                    <a:pt x="118" y="631"/>
                    <a:pt x="115" y="629"/>
                    <a:pt x="113" y="630"/>
                  </a:cubicBezTo>
                  <a:cubicBezTo>
                    <a:pt x="113" y="630"/>
                    <a:pt x="112" y="631"/>
                    <a:pt x="112" y="631"/>
                  </a:cubicBezTo>
                  <a:cubicBezTo>
                    <a:pt x="111" y="631"/>
                    <a:pt x="109" y="631"/>
                    <a:pt x="109" y="631"/>
                  </a:cubicBezTo>
                  <a:cubicBezTo>
                    <a:pt x="108" y="632"/>
                    <a:pt x="106" y="633"/>
                    <a:pt x="105" y="634"/>
                  </a:cubicBezTo>
                  <a:cubicBezTo>
                    <a:pt x="104" y="635"/>
                    <a:pt x="104" y="637"/>
                    <a:pt x="103" y="638"/>
                  </a:cubicBezTo>
                  <a:cubicBezTo>
                    <a:pt x="101" y="640"/>
                    <a:pt x="95" y="639"/>
                    <a:pt x="93" y="637"/>
                  </a:cubicBezTo>
                  <a:cubicBezTo>
                    <a:pt x="91" y="636"/>
                    <a:pt x="92" y="635"/>
                    <a:pt x="89" y="636"/>
                  </a:cubicBezTo>
                  <a:cubicBezTo>
                    <a:pt x="87" y="638"/>
                    <a:pt x="88" y="639"/>
                    <a:pt x="87" y="642"/>
                  </a:cubicBezTo>
                  <a:cubicBezTo>
                    <a:pt x="86" y="643"/>
                    <a:pt x="82" y="642"/>
                    <a:pt x="82" y="643"/>
                  </a:cubicBezTo>
                  <a:cubicBezTo>
                    <a:pt x="81" y="644"/>
                    <a:pt x="82" y="648"/>
                    <a:pt x="81" y="650"/>
                  </a:cubicBezTo>
                  <a:cubicBezTo>
                    <a:pt x="79" y="653"/>
                    <a:pt x="76" y="651"/>
                    <a:pt x="75" y="655"/>
                  </a:cubicBezTo>
                  <a:cubicBezTo>
                    <a:pt x="77" y="655"/>
                    <a:pt x="82" y="654"/>
                    <a:pt x="85" y="655"/>
                  </a:cubicBezTo>
                  <a:cubicBezTo>
                    <a:pt x="88" y="656"/>
                    <a:pt x="86" y="658"/>
                    <a:pt x="85" y="660"/>
                  </a:cubicBezTo>
                  <a:cubicBezTo>
                    <a:pt x="83" y="662"/>
                    <a:pt x="82" y="663"/>
                    <a:pt x="79" y="664"/>
                  </a:cubicBezTo>
                  <a:cubicBezTo>
                    <a:pt x="78" y="665"/>
                    <a:pt x="77" y="664"/>
                    <a:pt x="76" y="666"/>
                  </a:cubicBezTo>
                  <a:cubicBezTo>
                    <a:pt x="76" y="669"/>
                    <a:pt x="77" y="669"/>
                    <a:pt x="79" y="670"/>
                  </a:cubicBezTo>
                  <a:cubicBezTo>
                    <a:pt x="82" y="672"/>
                    <a:pt x="84" y="672"/>
                    <a:pt x="87" y="672"/>
                  </a:cubicBezTo>
                  <a:cubicBezTo>
                    <a:pt x="88" y="672"/>
                    <a:pt x="89" y="672"/>
                    <a:pt x="89" y="672"/>
                  </a:cubicBezTo>
                  <a:cubicBezTo>
                    <a:pt x="90" y="673"/>
                    <a:pt x="90" y="674"/>
                    <a:pt x="90" y="674"/>
                  </a:cubicBezTo>
                  <a:cubicBezTo>
                    <a:pt x="92" y="675"/>
                    <a:pt x="93" y="675"/>
                    <a:pt x="95" y="675"/>
                  </a:cubicBezTo>
                  <a:cubicBezTo>
                    <a:pt x="97" y="675"/>
                    <a:pt x="100" y="675"/>
                    <a:pt x="102" y="675"/>
                  </a:cubicBezTo>
                  <a:cubicBezTo>
                    <a:pt x="104" y="676"/>
                    <a:pt x="103" y="676"/>
                    <a:pt x="105" y="677"/>
                  </a:cubicBezTo>
                  <a:cubicBezTo>
                    <a:pt x="105" y="678"/>
                    <a:pt x="105" y="679"/>
                    <a:pt x="107" y="678"/>
                  </a:cubicBezTo>
                  <a:cubicBezTo>
                    <a:pt x="110" y="677"/>
                    <a:pt x="107" y="674"/>
                    <a:pt x="108" y="672"/>
                  </a:cubicBezTo>
                  <a:cubicBezTo>
                    <a:pt x="111" y="671"/>
                    <a:pt x="113" y="671"/>
                    <a:pt x="116" y="671"/>
                  </a:cubicBezTo>
                  <a:cubicBezTo>
                    <a:pt x="119" y="671"/>
                    <a:pt x="119" y="669"/>
                    <a:pt x="122" y="669"/>
                  </a:cubicBezTo>
                  <a:cubicBezTo>
                    <a:pt x="125" y="668"/>
                    <a:pt x="127" y="668"/>
                    <a:pt x="128" y="671"/>
                  </a:cubicBezTo>
                  <a:cubicBezTo>
                    <a:pt x="128" y="673"/>
                    <a:pt x="127" y="677"/>
                    <a:pt x="128" y="678"/>
                  </a:cubicBezTo>
                  <a:cubicBezTo>
                    <a:pt x="129" y="679"/>
                    <a:pt x="131" y="679"/>
                    <a:pt x="131" y="679"/>
                  </a:cubicBezTo>
                  <a:cubicBezTo>
                    <a:pt x="133" y="680"/>
                    <a:pt x="133" y="682"/>
                    <a:pt x="134" y="682"/>
                  </a:cubicBezTo>
                  <a:cubicBezTo>
                    <a:pt x="135" y="683"/>
                    <a:pt x="139" y="682"/>
                    <a:pt x="140" y="682"/>
                  </a:cubicBezTo>
                  <a:cubicBezTo>
                    <a:pt x="143" y="682"/>
                    <a:pt x="143" y="682"/>
                    <a:pt x="145" y="680"/>
                  </a:cubicBezTo>
                  <a:cubicBezTo>
                    <a:pt x="148" y="678"/>
                    <a:pt x="147" y="678"/>
                    <a:pt x="147" y="675"/>
                  </a:cubicBezTo>
                  <a:cubicBezTo>
                    <a:pt x="148" y="672"/>
                    <a:pt x="148" y="671"/>
                    <a:pt x="151" y="672"/>
                  </a:cubicBezTo>
                  <a:cubicBezTo>
                    <a:pt x="153" y="672"/>
                    <a:pt x="154" y="672"/>
                    <a:pt x="155" y="675"/>
                  </a:cubicBezTo>
                  <a:cubicBezTo>
                    <a:pt x="155" y="676"/>
                    <a:pt x="154" y="678"/>
                    <a:pt x="155" y="678"/>
                  </a:cubicBezTo>
                  <a:cubicBezTo>
                    <a:pt x="156" y="680"/>
                    <a:pt x="158" y="680"/>
                    <a:pt x="160" y="681"/>
                  </a:cubicBezTo>
                  <a:cubicBezTo>
                    <a:pt x="162" y="682"/>
                    <a:pt x="163" y="684"/>
                    <a:pt x="165" y="686"/>
                  </a:cubicBezTo>
                  <a:cubicBezTo>
                    <a:pt x="166" y="689"/>
                    <a:pt x="167" y="691"/>
                    <a:pt x="169" y="691"/>
                  </a:cubicBezTo>
                  <a:cubicBezTo>
                    <a:pt x="171" y="692"/>
                    <a:pt x="172" y="691"/>
                    <a:pt x="173" y="692"/>
                  </a:cubicBezTo>
                  <a:cubicBezTo>
                    <a:pt x="176" y="693"/>
                    <a:pt x="176" y="694"/>
                    <a:pt x="179" y="695"/>
                  </a:cubicBezTo>
                  <a:cubicBezTo>
                    <a:pt x="182" y="696"/>
                    <a:pt x="185" y="697"/>
                    <a:pt x="189" y="697"/>
                  </a:cubicBezTo>
                  <a:cubicBezTo>
                    <a:pt x="191" y="697"/>
                    <a:pt x="193" y="696"/>
                    <a:pt x="194" y="694"/>
                  </a:cubicBezTo>
                  <a:cubicBezTo>
                    <a:pt x="195" y="691"/>
                    <a:pt x="192" y="689"/>
                    <a:pt x="194" y="687"/>
                  </a:cubicBezTo>
                  <a:cubicBezTo>
                    <a:pt x="196" y="685"/>
                    <a:pt x="196" y="685"/>
                    <a:pt x="198" y="685"/>
                  </a:cubicBezTo>
                  <a:cubicBezTo>
                    <a:pt x="198" y="685"/>
                    <a:pt x="199" y="685"/>
                    <a:pt x="200" y="685"/>
                  </a:cubicBezTo>
                  <a:cubicBezTo>
                    <a:pt x="201" y="685"/>
                    <a:pt x="201" y="684"/>
                    <a:pt x="202" y="683"/>
                  </a:cubicBezTo>
                  <a:cubicBezTo>
                    <a:pt x="203" y="683"/>
                    <a:pt x="204" y="683"/>
                    <a:pt x="205" y="682"/>
                  </a:cubicBezTo>
                  <a:cubicBezTo>
                    <a:pt x="206" y="682"/>
                    <a:pt x="208" y="680"/>
                    <a:pt x="209" y="679"/>
                  </a:cubicBezTo>
                  <a:cubicBezTo>
                    <a:pt x="211" y="678"/>
                    <a:pt x="214" y="680"/>
                    <a:pt x="216" y="678"/>
                  </a:cubicBezTo>
                  <a:cubicBezTo>
                    <a:pt x="218" y="677"/>
                    <a:pt x="218" y="676"/>
                    <a:pt x="219" y="675"/>
                  </a:cubicBezTo>
                  <a:cubicBezTo>
                    <a:pt x="220" y="674"/>
                    <a:pt x="221" y="675"/>
                    <a:pt x="222" y="675"/>
                  </a:cubicBezTo>
                  <a:cubicBezTo>
                    <a:pt x="223" y="674"/>
                    <a:pt x="223" y="673"/>
                    <a:pt x="224" y="673"/>
                  </a:cubicBezTo>
                  <a:cubicBezTo>
                    <a:pt x="225" y="674"/>
                    <a:pt x="218" y="677"/>
                    <a:pt x="217" y="679"/>
                  </a:cubicBezTo>
                  <a:cubicBezTo>
                    <a:pt x="215" y="680"/>
                    <a:pt x="216" y="682"/>
                    <a:pt x="215" y="683"/>
                  </a:cubicBezTo>
                  <a:cubicBezTo>
                    <a:pt x="214" y="686"/>
                    <a:pt x="212" y="686"/>
                    <a:pt x="210" y="687"/>
                  </a:cubicBezTo>
                  <a:cubicBezTo>
                    <a:pt x="208" y="689"/>
                    <a:pt x="206" y="690"/>
                    <a:pt x="204" y="692"/>
                  </a:cubicBezTo>
                  <a:cubicBezTo>
                    <a:pt x="204" y="693"/>
                    <a:pt x="203" y="695"/>
                    <a:pt x="202" y="696"/>
                  </a:cubicBezTo>
                  <a:cubicBezTo>
                    <a:pt x="202" y="696"/>
                    <a:pt x="202" y="697"/>
                    <a:pt x="202" y="698"/>
                  </a:cubicBezTo>
                  <a:cubicBezTo>
                    <a:pt x="201" y="698"/>
                    <a:pt x="200" y="700"/>
                    <a:pt x="200" y="700"/>
                  </a:cubicBezTo>
                  <a:cubicBezTo>
                    <a:pt x="199" y="704"/>
                    <a:pt x="200" y="708"/>
                    <a:pt x="195" y="709"/>
                  </a:cubicBezTo>
                  <a:cubicBezTo>
                    <a:pt x="193" y="709"/>
                    <a:pt x="192" y="709"/>
                    <a:pt x="190" y="709"/>
                  </a:cubicBezTo>
                  <a:cubicBezTo>
                    <a:pt x="190" y="709"/>
                    <a:pt x="188" y="708"/>
                    <a:pt x="187" y="709"/>
                  </a:cubicBezTo>
                  <a:cubicBezTo>
                    <a:pt x="186" y="709"/>
                    <a:pt x="186" y="710"/>
                    <a:pt x="185" y="711"/>
                  </a:cubicBezTo>
                  <a:cubicBezTo>
                    <a:pt x="182" y="713"/>
                    <a:pt x="179" y="711"/>
                    <a:pt x="177" y="709"/>
                  </a:cubicBezTo>
                  <a:cubicBezTo>
                    <a:pt x="174" y="707"/>
                    <a:pt x="169" y="708"/>
                    <a:pt x="165" y="708"/>
                  </a:cubicBezTo>
                  <a:cubicBezTo>
                    <a:pt x="161" y="708"/>
                    <a:pt x="157" y="707"/>
                    <a:pt x="152" y="707"/>
                  </a:cubicBezTo>
                  <a:cubicBezTo>
                    <a:pt x="149" y="707"/>
                    <a:pt x="145" y="708"/>
                    <a:pt x="141" y="708"/>
                  </a:cubicBezTo>
                  <a:cubicBezTo>
                    <a:pt x="137" y="708"/>
                    <a:pt x="134" y="707"/>
                    <a:pt x="134" y="712"/>
                  </a:cubicBezTo>
                  <a:cubicBezTo>
                    <a:pt x="134" y="714"/>
                    <a:pt x="134" y="715"/>
                    <a:pt x="133" y="717"/>
                  </a:cubicBezTo>
                  <a:cubicBezTo>
                    <a:pt x="133" y="717"/>
                    <a:pt x="132" y="718"/>
                    <a:pt x="132" y="719"/>
                  </a:cubicBezTo>
                  <a:cubicBezTo>
                    <a:pt x="132" y="720"/>
                    <a:pt x="132" y="722"/>
                    <a:pt x="132" y="724"/>
                  </a:cubicBezTo>
                  <a:cubicBezTo>
                    <a:pt x="132" y="726"/>
                    <a:pt x="132" y="727"/>
                    <a:pt x="130" y="728"/>
                  </a:cubicBezTo>
                  <a:cubicBezTo>
                    <a:pt x="129" y="729"/>
                    <a:pt x="125" y="729"/>
                    <a:pt x="124" y="728"/>
                  </a:cubicBezTo>
                  <a:cubicBezTo>
                    <a:pt x="123" y="727"/>
                    <a:pt x="122" y="721"/>
                    <a:pt x="118" y="724"/>
                  </a:cubicBezTo>
                  <a:cubicBezTo>
                    <a:pt x="116" y="727"/>
                    <a:pt x="117" y="733"/>
                    <a:pt x="117" y="736"/>
                  </a:cubicBezTo>
                  <a:cubicBezTo>
                    <a:pt x="117" y="738"/>
                    <a:pt x="117" y="740"/>
                    <a:pt x="116" y="742"/>
                  </a:cubicBezTo>
                  <a:cubicBezTo>
                    <a:pt x="115" y="744"/>
                    <a:pt x="114" y="746"/>
                    <a:pt x="114" y="748"/>
                  </a:cubicBezTo>
                  <a:cubicBezTo>
                    <a:pt x="113" y="749"/>
                    <a:pt x="110" y="750"/>
                    <a:pt x="109" y="751"/>
                  </a:cubicBezTo>
                  <a:cubicBezTo>
                    <a:pt x="108" y="753"/>
                    <a:pt x="107" y="755"/>
                    <a:pt x="106" y="756"/>
                  </a:cubicBezTo>
                  <a:cubicBezTo>
                    <a:pt x="105" y="758"/>
                    <a:pt x="105" y="760"/>
                    <a:pt x="104" y="761"/>
                  </a:cubicBezTo>
                  <a:cubicBezTo>
                    <a:pt x="103" y="763"/>
                    <a:pt x="101" y="762"/>
                    <a:pt x="100" y="762"/>
                  </a:cubicBezTo>
                  <a:cubicBezTo>
                    <a:pt x="96" y="763"/>
                    <a:pt x="96" y="763"/>
                    <a:pt x="94" y="766"/>
                  </a:cubicBezTo>
                  <a:cubicBezTo>
                    <a:pt x="94" y="767"/>
                    <a:pt x="92" y="769"/>
                    <a:pt x="91" y="770"/>
                  </a:cubicBezTo>
                  <a:cubicBezTo>
                    <a:pt x="91" y="771"/>
                    <a:pt x="91" y="771"/>
                    <a:pt x="92" y="772"/>
                  </a:cubicBezTo>
                  <a:cubicBezTo>
                    <a:pt x="91" y="773"/>
                    <a:pt x="91" y="774"/>
                    <a:pt x="90" y="775"/>
                  </a:cubicBezTo>
                  <a:cubicBezTo>
                    <a:pt x="83" y="781"/>
                    <a:pt x="83" y="781"/>
                    <a:pt x="83" y="781"/>
                  </a:cubicBezTo>
                  <a:cubicBezTo>
                    <a:pt x="83" y="782"/>
                    <a:pt x="82" y="782"/>
                    <a:pt x="82" y="783"/>
                  </a:cubicBezTo>
                  <a:cubicBezTo>
                    <a:pt x="82" y="783"/>
                    <a:pt x="82" y="783"/>
                    <a:pt x="81" y="784"/>
                  </a:cubicBezTo>
                  <a:cubicBezTo>
                    <a:pt x="81" y="784"/>
                    <a:pt x="81" y="784"/>
                    <a:pt x="81" y="784"/>
                  </a:cubicBezTo>
                  <a:cubicBezTo>
                    <a:pt x="80" y="784"/>
                    <a:pt x="81" y="785"/>
                    <a:pt x="81" y="785"/>
                  </a:cubicBezTo>
                  <a:cubicBezTo>
                    <a:pt x="81" y="786"/>
                    <a:pt x="81" y="786"/>
                    <a:pt x="81" y="787"/>
                  </a:cubicBezTo>
                  <a:cubicBezTo>
                    <a:pt x="81" y="787"/>
                    <a:pt x="81" y="787"/>
                    <a:pt x="80" y="787"/>
                  </a:cubicBezTo>
                  <a:cubicBezTo>
                    <a:pt x="80" y="787"/>
                    <a:pt x="80" y="788"/>
                    <a:pt x="79" y="788"/>
                  </a:cubicBezTo>
                  <a:cubicBezTo>
                    <a:pt x="79" y="788"/>
                    <a:pt x="78" y="788"/>
                    <a:pt x="78" y="788"/>
                  </a:cubicBezTo>
                  <a:cubicBezTo>
                    <a:pt x="77" y="789"/>
                    <a:pt x="77" y="790"/>
                    <a:pt x="76" y="791"/>
                  </a:cubicBezTo>
                  <a:cubicBezTo>
                    <a:pt x="75" y="792"/>
                    <a:pt x="74" y="793"/>
                    <a:pt x="73" y="793"/>
                  </a:cubicBezTo>
                  <a:cubicBezTo>
                    <a:pt x="73" y="793"/>
                    <a:pt x="73" y="793"/>
                    <a:pt x="73" y="793"/>
                  </a:cubicBezTo>
                  <a:cubicBezTo>
                    <a:pt x="72" y="794"/>
                    <a:pt x="72" y="794"/>
                    <a:pt x="72" y="794"/>
                  </a:cubicBezTo>
                  <a:cubicBezTo>
                    <a:pt x="71" y="795"/>
                    <a:pt x="71" y="795"/>
                    <a:pt x="70" y="796"/>
                  </a:cubicBezTo>
                  <a:cubicBezTo>
                    <a:pt x="70" y="796"/>
                    <a:pt x="70" y="796"/>
                    <a:pt x="70" y="796"/>
                  </a:cubicBezTo>
                  <a:cubicBezTo>
                    <a:pt x="69" y="796"/>
                    <a:pt x="67" y="795"/>
                    <a:pt x="67" y="795"/>
                  </a:cubicBezTo>
                  <a:cubicBezTo>
                    <a:pt x="67" y="795"/>
                    <a:pt x="66" y="794"/>
                    <a:pt x="66" y="794"/>
                  </a:cubicBezTo>
                  <a:cubicBezTo>
                    <a:pt x="66" y="794"/>
                    <a:pt x="66" y="793"/>
                    <a:pt x="65" y="793"/>
                  </a:cubicBezTo>
                  <a:cubicBezTo>
                    <a:pt x="65" y="793"/>
                    <a:pt x="64" y="794"/>
                    <a:pt x="64" y="794"/>
                  </a:cubicBezTo>
                  <a:cubicBezTo>
                    <a:pt x="63" y="794"/>
                    <a:pt x="63" y="794"/>
                    <a:pt x="63" y="795"/>
                  </a:cubicBezTo>
                  <a:cubicBezTo>
                    <a:pt x="62" y="795"/>
                    <a:pt x="62" y="795"/>
                    <a:pt x="62" y="796"/>
                  </a:cubicBezTo>
                  <a:cubicBezTo>
                    <a:pt x="62" y="796"/>
                    <a:pt x="62" y="796"/>
                    <a:pt x="62" y="796"/>
                  </a:cubicBezTo>
                  <a:cubicBezTo>
                    <a:pt x="62" y="796"/>
                    <a:pt x="61" y="796"/>
                    <a:pt x="61" y="796"/>
                  </a:cubicBezTo>
                  <a:cubicBezTo>
                    <a:pt x="60" y="796"/>
                    <a:pt x="59" y="796"/>
                    <a:pt x="59" y="796"/>
                  </a:cubicBezTo>
                  <a:cubicBezTo>
                    <a:pt x="58" y="797"/>
                    <a:pt x="57" y="797"/>
                    <a:pt x="57" y="798"/>
                  </a:cubicBezTo>
                  <a:cubicBezTo>
                    <a:pt x="56" y="799"/>
                    <a:pt x="56" y="800"/>
                    <a:pt x="55" y="801"/>
                  </a:cubicBezTo>
                  <a:cubicBezTo>
                    <a:pt x="55" y="802"/>
                    <a:pt x="54" y="802"/>
                    <a:pt x="54" y="803"/>
                  </a:cubicBezTo>
                  <a:cubicBezTo>
                    <a:pt x="54" y="804"/>
                    <a:pt x="54" y="804"/>
                    <a:pt x="54" y="805"/>
                  </a:cubicBezTo>
                  <a:cubicBezTo>
                    <a:pt x="54" y="805"/>
                    <a:pt x="53" y="806"/>
                    <a:pt x="54" y="806"/>
                  </a:cubicBezTo>
                  <a:cubicBezTo>
                    <a:pt x="54" y="807"/>
                    <a:pt x="54" y="808"/>
                    <a:pt x="55" y="808"/>
                  </a:cubicBezTo>
                  <a:cubicBezTo>
                    <a:pt x="55" y="808"/>
                    <a:pt x="55" y="809"/>
                    <a:pt x="55" y="809"/>
                  </a:cubicBezTo>
                  <a:cubicBezTo>
                    <a:pt x="56" y="809"/>
                    <a:pt x="56" y="809"/>
                    <a:pt x="56" y="809"/>
                  </a:cubicBezTo>
                  <a:cubicBezTo>
                    <a:pt x="56" y="809"/>
                    <a:pt x="56" y="809"/>
                    <a:pt x="57" y="810"/>
                  </a:cubicBezTo>
                  <a:cubicBezTo>
                    <a:pt x="57" y="810"/>
                    <a:pt x="57" y="810"/>
                    <a:pt x="57" y="810"/>
                  </a:cubicBezTo>
                  <a:cubicBezTo>
                    <a:pt x="58" y="810"/>
                    <a:pt x="58" y="810"/>
                    <a:pt x="59" y="811"/>
                  </a:cubicBezTo>
                  <a:cubicBezTo>
                    <a:pt x="60" y="811"/>
                    <a:pt x="60" y="811"/>
                    <a:pt x="61" y="810"/>
                  </a:cubicBezTo>
                  <a:cubicBezTo>
                    <a:pt x="62" y="810"/>
                    <a:pt x="62" y="810"/>
                    <a:pt x="63" y="809"/>
                  </a:cubicBezTo>
                  <a:cubicBezTo>
                    <a:pt x="63" y="809"/>
                    <a:pt x="64" y="809"/>
                    <a:pt x="64" y="808"/>
                  </a:cubicBezTo>
                  <a:cubicBezTo>
                    <a:pt x="65" y="808"/>
                    <a:pt x="65" y="807"/>
                    <a:pt x="65" y="806"/>
                  </a:cubicBezTo>
                  <a:cubicBezTo>
                    <a:pt x="65" y="806"/>
                    <a:pt x="66" y="805"/>
                    <a:pt x="66" y="804"/>
                  </a:cubicBezTo>
                  <a:cubicBezTo>
                    <a:pt x="67" y="804"/>
                    <a:pt x="67" y="804"/>
                    <a:pt x="68" y="804"/>
                  </a:cubicBezTo>
                  <a:cubicBezTo>
                    <a:pt x="69" y="804"/>
                    <a:pt x="70" y="805"/>
                    <a:pt x="70" y="805"/>
                  </a:cubicBezTo>
                  <a:cubicBezTo>
                    <a:pt x="71" y="805"/>
                    <a:pt x="72" y="806"/>
                    <a:pt x="73" y="806"/>
                  </a:cubicBezTo>
                  <a:cubicBezTo>
                    <a:pt x="73" y="806"/>
                    <a:pt x="74" y="807"/>
                    <a:pt x="74" y="807"/>
                  </a:cubicBezTo>
                  <a:cubicBezTo>
                    <a:pt x="74" y="807"/>
                    <a:pt x="74" y="808"/>
                    <a:pt x="74" y="808"/>
                  </a:cubicBezTo>
                  <a:cubicBezTo>
                    <a:pt x="74" y="808"/>
                    <a:pt x="75" y="809"/>
                    <a:pt x="75" y="810"/>
                  </a:cubicBezTo>
                  <a:cubicBezTo>
                    <a:pt x="76" y="811"/>
                    <a:pt x="77" y="811"/>
                    <a:pt x="77" y="812"/>
                  </a:cubicBezTo>
                  <a:cubicBezTo>
                    <a:pt x="78" y="813"/>
                    <a:pt x="78" y="814"/>
                    <a:pt x="78" y="815"/>
                  </a:cubicBezTo>
                  <a:cubicBezTo>
                    <a:pt x="79" y="817"/>
                    <a:pt x="81" y="818"/>
                    <a:pt x="83" y="818"/>
                  </a:cubicBezTo>
                  <a:cubicBezTo>
                    <a:pt x="83" y="818"/>
                    <a:pt x="84" y="818"/>
                    <a:pt x="85" y="817"/>
                  </a:cubicBezTo>
                  <a:cubicBezTo>
                    <a:pt x="85" y="817"/>
                    <a:pt x="85" y="817"/>
                    <a:pt x="85" y="817"/>
                  </a:cubicBezTo>
                  <a:cubicBezTo>
                    <a:pt x="85" y="816"/>
                    <a:pt x="85" y="816"/>
                    <a:pt x="86" y="815"/>
                  </a:cubicBezTo>
                  <a:cubicBezTo>
                    <a:pt x="87" y="814"/>
                    <a:pt x="88" y="813"/>
                    <a:pt x="88" y="811"/>
                  </a:cubicBezTo>
                  <a:cubicBezTo>
                    <a:pt x="89" y="811"/>
                    <a:pt x="89" y="811"/>
                    <a:pt x="89" y="810"/>
                  </a:cubicBezTo>
                  <a:cubicBezTo>
                    <a:pt x="90" y="810"/>
                    <a:pt x="90" y="809"/>
                    <a:pt x="90" y="809"/>
                  </a:cubicBezTo>
                  <a:cubicBezTo>
                    <a:pt x="91" y="807"/>
                    <a:pt x="90" y="806"/>
                    <a:pt x="89" y="805"/>
                  </a:cubicBezTo>
                  <a:cubicBezTo>
                    <a:pt x="89" y="804"/>
                    <a:pt x="89" y="804"/>
                    <a:pt x="89" y="803"/>
                  </a:cubicBezTo>
                  <a:cubicBezTo>
                    <a:pt x="89" y="802"/>
                    <a:pt x="89" y="802"/>
                    <a:pt x="90" y="802"/>
                  </a:cubicBezTo>
                  <a:cubicBezTo>
                    <a:pt x="91" y="802"/>
                    <a:pt x="91" y="802"/>
                    <a:pt x="91" y="802"/>
                  </a:cubicBezTo>
                  <a:cubicBezTo>
                    <a:pt x="91" y="801"/>
                    <a:pt x="92" y="801"/>
                    <a:pt x="92" y="801"/>
                  </a:cubicBezTo>
                  <a:cubicBezTo>
                    <a:pt x="93" y="800"/>
                    <a:pt x="93" y="800"/>
                    <a:pt x="94" y="800"/>
                  </a:cubicBezTo>
                  <a:cubicBezTo>
                    <a:pt x="94" y="799"/>
                    <a:pt x="95" y="799"/>
                    <a:pt x="96" y="799"/>
                  </a:cubicBezTo>
                  <a:cubicBezTo>
                    <a:pt x="97" y="798"/>
                    <a:pt x="98" y="798"/>
                    <a:pt x="99" y="797"/>
                  </a:cubicBezTo>
                  <a:cubicBezTo>
                    <a:pt x="100" y="797"/>
                    <a:pt x="101" y="796"/>
                    <a:pt x="103" y="795"/>
                  </a:cubicBezTo>
                  <a:cubicBezTo>
                    <a:pt x="104" y="794"/>
                    <a:pt x="105" y="793"/>
                    <a:pt x="105" y="792"/>
                  </a:cubicBezTo>
                  <a:cubicBezTo>
                    <a:pt x="105" y="791"/>
                    <a:pt x="105" y="791"/>
                    <a:pt x="105" y="791"/>
                  </a:cubicBezTo>
                  <a:cubicBezTo>
                    <a:pt x="105" y="790"/>
                    <a:pt x="106" y="789"/>
                    <a:pt x="106" y="788"/>
                  </a:cubicBezTo>
                  <a:cubicBezTo>
                    <a:pt x="106" y="788"/>
                    <a:pt x="106" y="787"/>
                    <a:pt x="106" y="786"/>
                  </a:cubicBezTo>
                  <a:cubicBezTo>
                    <a:pt x="106" y="786"/>
                    <a:pt x="106" y="786"/>
                    <a:pt x="106" y="785"/>
                  </a:cubicBezTo>
                  <a:cubicBezTo>
                    <a:pt x="107" y="785"/>
                    <a:pt x="106" y="784"/>
                    <a:pt x="107" y="784"/>
                  </a:cubicBezTo>
                  <a:cubicBezTo>
                    <a:pt x="107" y="783"/>
                    <a:pt x="107" y="783"/>
                    <a:pt x="108" y="783"/>
                  </a:cubicBezTo>
                  <a:cubicBezTo>
                    <a:pt x="108" y="783"/>
                    <a:pt x="108" y="783"/>
                    <a:pt x="109" y="783"/>
                  </a:cubicBezTo>
                  <a:cubicBezTo>
                    <a:pt x="109" y="784"/>
                    <a:pt x="109" y="785"/>
                    <a:pt x="109" y="785"/>
                  </a:cubicBezTo>
                  <a:cubicBezTo>
                    <a:pt x="111" y="787"/>
                    <a:pt x="112" y="787"/>
                    <a:pt x="114" y="786"/>
                  </a:cubicBezTo>
                  <a:cubicBezTo>
                    <a:pt x="115" y="786"/>
                    <a:pt x="116" y="786"/>
                    <a:pt x="117" y="786"/>
                  </a:cubicBezTo>
                  <a:cubicBezTo>
                    <a:pt x="118" y="785"/>
                    <a:pt x="119" y="786"/>
                    <a:pt x="120" y="786"/>
                  </a:cubicBezTo>
                  <a:cubicBezTo>
                    <a:pt x="121" y="785"/>
                    <a:pt x="122" y="785"/>
                    <a:pt x="124" y="784"/>
                  </a:cubicBezTo>
                  <a:cubicBezTo>
                    <a:pt x="124" y="783"/>
                    <a:pt x="124" y="783"/>
                    <a:pt x="125" y="783"/>
                  </a:cubicBezTo>
                  <a:cubicBezTo>
                    <a:pt x="125" y="783"/>
                    <a:pt x="126" y="783"/>
                    <a:pt x="127" y="783"/>
                  </a:cubicBezTo>
                  <a:cubicBezTo>
                    <a:pt x="128" y="782"/>
                    <a:pt x="128" y="782"/>
                    <a:pt x="129" y="781"/>
                  </a:cubicBezTo>
                  <a:cubicBezTo>
                    <a:pt x="129" y="781"/>
                    <a:pt x="130" y="780"/>
                    <a:pt x="130" y="780"/>
                  </a:cubicBezTo>
                  <a:cubicBezTo>
                    <a:pt x="131" y="779"/>
                    <a:pt x="131" y="780"/>
                    <a:pt x="132" y="780"/>
                  </a:cubicBezTo>
                  <a:cubicBezTo>
                    <a:pt x="133" y="780"/>
                    <a:pt x="133" y="780"/>
                    <a:pt x="134" y="781"/>
                  </a:cubicBezTo>
                  <a:cubicBezTo>
                    <a:pt x="134" y="781"/>
                    <a:pt x="134" y="781"/>
                    <a:pt x="134" y="781"/>
                  </a:cubicBezTo>
                  <a:cubicBezTo>
                    <a:pt x="134" y="782"/>
                    <a:pt x="134" y="782"/>
                    <a:pt x="135" y="783"/>
                  </a:cubicBezTo>
                  <a:cubicBezTo>
                    <a:pt x="135" y="784"/>
                    <a:pt x="135" y="785"/>
                    <a:pt x="136" y="786"/>
                  </a:cubicBezTo>
                  <a:cubicBezTo>
                    <a:pt x="136" y="786"/>
                    <a:pt x="138" y="786"/>
                    <a:pt x="138" y="786"/>
                  </a:cubicBezTo>
                  <a:cubicBezTo>
                    <a:pt x="139" y="786"/>
                    <a:pt x="140" y="787"/>
                    <a:pt x="141" y="787"/>
                  </a:cubicBezTo>
                  <a:cubicBezTo>
                    <a:pt x="141" y="788"/>
                    <a:pt x="141" y="787"/>
                    <a:pt x="142" y="788"/>
                  </a:cubicBezTo>
                  <a:cubicBezTo>
                    <a:pt x="142" y="788"/>
                    <a:pt x="143" y="788"/>
                    <a:pt x="144" y="788"/>
                  </a:cubicBezTo>
                  <a:cubicBezTo>
                    <a:pt x="145" y="788"/>
                    <a:pt x="146" y="789"/>
                    <a:pt x="147" y="788"/>
                  </a:cubicBezTo>
                  <a:cubicBezTo>
                    <a:pt x="147" y="787"/>
                    <a:pt x="147" y="787"/>
                    <a:pt x="148" y="787"/>
                  </a:cubicBezTo>
                  <a:cubicBezTo>
                    <a:pt x="148" y="788"/>
                    <a:pt x="149" y="788"/>
                    <a:pt x="149" y="788"/>
                  </a:cubicBezTo>
                  <a:cubicBezTo>
                    <a:pt x="150" y="788"/>
                    <a:pt x="151" y="789"/>
                    <a:pt x="151" y="790"/>
                  </a:cubicBezTo>
                  <a:cubicBezTo>
                    <a:pt x="151" y="791"/>
                    <a:pt x="151" y="791"/>
                    <a:pt x="151" y="792"/>
                  </a:cubicBezTo>
                  <a:cubicBezTo>
                    <a:pt x="152" y="793"/>
                    <a:pt x="152" y="793"/>
                    <a:pt x="153" y="793"/>
                  </a:cubicBezTo>
                  <a:cubicBezTo>
                    <a:pt x="153" y="794"/>
                    <a:pt x="154" y="794"/>
                    <a:pt x="154" y="795"/>
                  </a:cubicBezTo>
                  <a:cubicBezTo>
                    <a:pt x="156" y="795"/>
                    <a:pt x="157" y="796"/>
                    <a:pt x="158" y="796"/>
                  </a:cubicBezTo>
                  <a:cubicBezTo>
                    <a:pt x="159" y="796"/>
                    <a:pt x="160" y="796"/>
                    <a:pt x="160" y="796"/>
                  </a:cubicBezTo>
                  <a:cubicBezTo>
                    <a:pt x="161" y="796"/>
                    <a:pt x="163" y="797"/>
                    <a:pt x="163" y="796"/>
                  </a:cubicBezTo>
                  <a:cubicBezTo>
                    <a:pt x="165" y="796"/>
                    <a:pt x="164" y="795"/>
                    <a:pt x="165" y="794"/>
                  </a:cubicBezTo>
                  <a:cubicBezTo>
                    <a:pt x="165" y="793"/>
                    <a:pt x="165" y="793"/>
                    <a:pt x="165" y="792"/>
                  </a:cubicBezTo>
                  <a:cubicBezTo>
                    <a:pt x="165" y="791"/>
                    <a:pt x="165" y="790"/>
                    <a:pt x="165" y="789"/>
                  </a:cubicBezTo>
                  <a:cubicBezTo>
                    <a:pt x="166" y="789"/>
                    <a:pt x="166" y="789"/>
                    <a:pt x="166" y="789"/>
                  </a:cubicBezTo>
                  <a:cubicBezTo>
                    <a:pt x="167" y="789"/>
                    <a:pt x="168" y="789"/>
                    <a:pt x="169" y="789"/>
                  </a:cubicBezTo>
                  <a:cubicBezTo>
                    <a:pt x="170" y="789"/>
                    <a:pt x="171" y="789"/>
                    <a:pt x="172" y="789"/>
                  </a:cubicBezTo>
                  <a:cubicBezTo>
                    <a:pt x="173" y="789"/>
                    <a:pt x="174" y="789"/>
                    <a:pt x="176" y="789"/>
                  </a:cubicBezTo>
                  <a:cubicBezTo>
                    <a:pt x="176" y="789"/>
                    <a:pt x="177" y="789"/>
                    <a:pt x="178" y="789"/>
                  </a:cubicBezTo>
                  <a:cubicBezTo>
                    <a:pt x="180" y="789"/>
                    <a:pt x="181" y="788"/>
                    <a:pt x="183" y="788"/>
                  </a:cubicBezTo>
                  <a:cubicBezTo>
                    <a:pt x="187" y="787"/>
                    <a:pt x="193" y="788"/>
                    <a:pt x="193" y="786"/>
                  </a:cubicBezTo>
                  <a:cubicBezTo>
                    <a:pt x="195" y="780"/>
                    <a:pt x="191" y="779"/>
                    <a:pt x="191" y="778"/>
                  </a:cubicBezTo>
                  <a:cubicBezTo>
                    <a:pt x="189" y="777"/>
                    <a:pt x="182" y="777"/>
                    <a:pt x="180" y="777"/>
                  </a:cubicBezTo>
                  <a:cubicBezTo>
                    <a:pt x="177" y="777"/>
                    <a:pt x="174" y="777"/>
                    <a:pt x="172" y="777"/>
                  </a:cubicBezTo>
                  <a:cubicBezTo>
                    <a:pt x="171" y="777"/>
                    <a:pt x="169" y="777"/>
                    <a:pt x="169" y="776"/>
                  </a:cubicBezTo>
                  <a:cubicBezTo>
                    <a:pt x="169" y="775"/>
                    <a:pt x="170" y="773"/>
                    <a:pt x="171" y="773"/>
                  </a:cubicBezTo>
                  <a:cubicBezTo>
                    <a:pt x="172" y="771"/>
                    <a:pt x="174" y="769"/>
                    <a:pt x="175" y="767"/>
                  </a:cubicBezTo>
                  <a:cubicBezTo>
                    <a:pt x="176" y="766"/>
                    <a:pt x="176" y="764"/>
                    <a:pt x="177" y="763"/>
                  </a:cubicBezTo>
                  <a:cubicBezTo>
                    <a:pt x="178" y="762"/>
                    <a:pt x="178" y="761"/>
                    <a:pt x="178" y="760"/>
                  </a:cubicBezTo>
                  <a:cubicBezTo>
                    <a:pt x="179" y="760"/>
                    <a:pt x="179" y="760"/>
                    <a:pt x="180" y="759"/>
                  </a:cubicBezTo>
                  <a:cubicBezTo>
                    <a:pt x="181" y="759"/>
                    <a:pt x="181" y="759"/>
                    <a:pt x="181" y="759"/>
                  </a:cubicBezTo>
                  <a:cubicBezTo>
                    <a:pt x="182" y="759"/>
                    <a:pt x="182" y="759"/>
                    <a:pt x="183" y="759"/>
                  </a:cubicBezTo>
                  <a:cubicBezTo>
                    <a:pt x="183" y="759"/>
                    <a:pt x="183" y="759"/>
                    <a:pt x="183" y="759"/>
                  </a:cubicBezTo>
                  <a:cubicBezTo>
                    <a:pt x="184" y="758"/>
                    <a:pt x="184" y="758"/>
                    <a:pt x="185" y="757"/>
                  </a:cubicBezTo>
                  <a:cubicBezTo>
                    <a:pt x="185" y="756"/>
                    <a:pt x="186" y="755"/>
                    <a:pt x="187" y="755"/>
                  </a:cubicBezTo>
                  <a:cubicBezTo>
                    <a:pt x="188" y="755"/>
                    <a:pt x="189" y="754"/>
                    <a:pt x="190" y="754"/>
                  </a:cubicBezTo>
                  <a:cubicBezTo>
                    <a:pt x="191" y="754"/>
                    <a:pt x="192" y="754"/>
                    <a:pt x="192" y="754"/>
                  </a:cubicBezTo>
                  <a:cubicBezTo>
                    <a:pt x="194" y="754"/>
                    <a:pt x="195" y="755"/>
                    <a:pt x="196" y="755"/>
                  </a:cubicBezTo>
                  <a:cubicBezTo>
                    <a:pt x="196" y="755"/>
                    <a:pt x="196" y="755"/>
                    <a:pt x="196" y="755"/>
                  </a:cubicBezTo>
                  <a:cubicBezTo>
                    <a:pt x="198" y="754"/>
                    <a:pt x="199" y="755"/>
                    <a:pt x="200" y="754"/>
                  </a:cubicBezTo>
                  <a:cubicBezTo>
                    <a:pt x="201" y="754"/>
                    <a:pt x="200" y="753"/>
                    <a:pt x="201" y="752"/>
                  </a:cubicBezTo>
                  <a:cubicBezTo>
                    <a:pt x="201" y="752"/>
                    <a:pt x="202" y="751"/>
                    <a:pt x="202" y="751"/>
                  </a:cubicBezTo>
                  <a:cubicBezTo>
                    <a:pt x="203" y="749"/>
                    <a:pt x="202" y="748"/>
                    <a:pt x="204" y="747"/>
                  </a:cubicBezTo>
                  <a:cubicBezTo>
                    <a:pt x="205" y="747"/>
                    <a:pt x="209" y="748"/>
                    <a:pt x="210" y="749"/>
                  </a:cubicBezTo>
                  <a:cubicBezTo>
                    <a:pt x="211" y="750"/>
                    <a:pt x="211" y="752"/>
                    <a:pt x="211" y="754"/>
                  </a:cubicBezTo>
                  <a:cubicBezTo>
                    <a:pt x="213" y="755"/>
                    <a:pt x="216" y="754"/>
                    <a:pt x="218" y="755"/>
                  </a:cubicBezTo>
                  <a:cubicBezTo>
                    <a:pt x="220" y="756"/>
                    <a:pt x="222" y="757"/>
                    <a:pt x="225" y="759"/>
                  </a:cubicBezTo>
                  <a:cubicBezTo>
                    <a:pt x="228" y="760"/>
                    <a:pt x="231" y="763"/>
                    <a:pt x="235" y="763"/>
                  </a:cubicBezTo>
                  <a:cubicBezTo>
                    <a:pt x="238" y="763"/>
                    <a:pt x="240" y="762"/>
                    <a:pt x="243" y="762"/>
                  </a:cubicBezTo>
                  <a:cubicBezTo>
                    <a:pt x="246" y="762"/>
                    <a:pt x="250" y="762"/>
                    <a:pt x="254" y="762"/>
                  </a:cubicBezTo>
                  <a:cubicBezTo>
                    <a:pt x="256" y="762"/>
                    <a:pt x="257" y="763"/>
                    <a:pt x="258" y="760"/>
                  </a:cubicBezTo>
                  <a:cubicBezTo>
                    <a:pt x="258" y="759"/>
                    <a:pt x="255" y="755"/>
                    <a:pt x="253" y="755"/>
                  </a:cubicBezTo>
                  <a:cubicBezTo>
                    <a:pt x="252" y="750"/>
                    <a:pt x="257" y="751"/>
                    <a:pt x="259" y="751"/>
                  </a:cubicBezTo>
                  <a:cubicBezTo>
                    <a:pt x="261" y="752"/>
                    <a:pt x="264" y="752"/>
                    <a:pt x="266" y="753"/>
                  </a:cubicBezTo>
                  <a:cubicBezTo>
                    <a:pt x="268" y="753"/>
                    <a:pt x="268" y="753"/>
                    <a:pt x="269" y="754"/>
                  </a:cubicBezTo>
                  <a:cubicBezTo>
                    <a:pt x="269" y="754"/>
                    <a:pt x="270" y="754"/>
                    <a:pt x="270" y="754"/>
                  </a:cubicBezTo>
                  <a:cubicBezTo>
                    <a:pt x="271" y="753"/>
                    <a:pt x="272" y="752"/>
                    <a:pt x="273" y="752"/>
                  </a:cubicBezTo>
                  <a:cubicBezTo>
                    <a:pt x="274" y="751"/>
                    <a:pt x="274" y="751"/>
                    <a:pt x="275" y="751"/>
                  </a:cubicBezTo>
                  <a:cubicBezTo>
                    <a:pt x="276" y="750"/>
                    <a:pt x="276" y="750"/>
                    <a:pt x="277" y="750"/>
                  </a:cubicBezTo>
                  <a:cubicBezTo>
                    <a:pt x="279" y="750"/>
                    <a:pt x="280" y="750"/>
                    <a:pt x="281" y="749"/>
                  </a:cubicBezTo>
                  <a:cubicBezTo>
                    <a:pt x="282" y="749"/>
                    <a:pt x="282" y="749"/>
                    <a:pt x="282" y="749"/>
                  </a:cubicBezTo>
                  <a:cubicBezTo>
                    <a:pt x="282" y="748"/>
                    <a:pt x="282" y="746"/>
                    <a:pt x="283" y="746"/>
                  </a:cubicBezTo>
                  <a:cubicBezTo>
                    <a:pt x="285" y="742"/>
                    <a:pt x="287" y="744"/>
                    <a:pt x="289" y="745"/>
                  </a:cubicBezTo>
                  <a:cubicBezTo>
                    <a:pt x="290" y="746"/>
                    <a:pt x="292" y="745"/>
                    <a:pt x="293" y="745"/>
                  </a:cubicBezTo>
                  <a:cubicBezTo>
                    <a:pt x="296" y="745"/>
                    <a:pt x="297" y="746"/>
                    <a:pt x="299" y="747"/>
                  </a:cubicBezTo>
                  <a:cubicBezTo>
                    <a:pt x="303" y="749"/>
                    <a:pt x="307" y="746"/>
                    <a:pt x="310" y="748"/>
                  </a:cubicBezTo>
                  <a:cubicBezTo>
                    <a:pt x="312" y="749"/>
                    <a:pt x="312" y="750"/>
                    <a:pt x="314" y="751"/>
                  </a:cubicBezTo>
                  <a:cubicBezTo>
                    <a:pt x="316" y="751"/>
                    <a:pt x="318" y="751"/>
                    <a:pt x="319" y="751"/>
                  </a:cubicBezTo>
                  <a:cubicBezTo>
                    <a:pt x="324" y="751"/>
                    <a:pt x="325" y="748"/>
                    <a:pt x="329" y="748"/>
                  </a:cubicBezTo>
                  <a:cubicBezTo>
                    <a:pt x="332" y="748"/>
                    <a:pt x="334" y="748"/>
                    <a:pt x="336" y="747"/>
                  </a:cubicBezTo>
                  <a:cubicBezTo>
                    <a:pt x="338" y="746"/>
                    <a:pt x="340" y="745"/>
                    <a:pt x="341" y="743"/>
                  </a:cubicBezTo>
                  <a:cubicBezTo>
                    <a:pt x="342" y="743"/>
                    <a:pt x="343" y="743"/>
                    <a:pt x="344" y="743"/>
                  </a:cubicBezTo>
                  <a:cubicBezTo>
                    <a:pt x="344" y="742"/>
                    <a:pt x="344" y="742"/>
                    <a:pt x="345" y="741"/>
                  </a:cubicBezTo>
                  <a:cubicBezTo>
                    <a:pt x="346" y="740"/>
                    <a:pt x="347" y="739"/>
                    <a:pt x="349" y="740"/>
                  </a:cubicBezTo>
                  <a:cubicBezTo>
                    <a:pt x="350" y="740"/>
                    <a:pt x="352" y="742"/>
                    <a:pt x="353" y="743"/>
                  </a:cubicBezTo>
                  <a:cubicBezTo>
                    <a:pt x="355" y="744"/>
                    <a:pt x="356" y="745"/>
                    <a:pt x="358" y="745"/>
                  </a:cubicBezTo>
                  <a:cubicBezTo>
                    <a:pt x="360" y="746"/>
                    <a:pt x="361" y="745"/>
                    <a:pt x="364" y="748"/>
                  </a:cubicBezTo>
                  <a:cubicBezTo>
                    <a:pt x="366" y="750"/>
                    <a:pt x="366" y="751"/>
                    <a:pt x="369" y="750"/>
                  </a:cubicBezTo>
                  <a:cubicBezTo>
                    <a:pt x="371" y="750"/>
                    <a:pt x="372" y="749"/>
                    <a:pt x="374" y="748"/>
                  </a:cubicBezTo>
                  <a:cubicBezTo>
                    <a:pt x="374" y="748"/>
                    <a:pt x="377" y="747"/>
                    <a:pt x="377" y="747"/>
                  </a:cubicBezTo>
                  <a:cubicBezTo>
                    <a:pt x="378" y="746"/>
                    <a:pt x="378" y="744"/>
                    <a:pt x="378" y="743"/>
                  </a:cubicBezTo>
                  <a:cubicBezTo>
                    <a:pt x="380" y="743"/>
                    <a:pt x="383" y="743"/>
                    <a:pt x="385" y="743"/>
                  </a:cubicBezTo>
                  <a:cubicBezTo>
                    <a:pt x="386" y="742"/>
                    <a:pt x="387" y="741"/>
                    <a:pt x="388" y="740"/>
                  </a:cubicBezTo>
                  <a:cubicBezTo>
                    <a:pt x="390" y="738"/>
                    <a:pt x="394" y="738"/>
                    <a:pt x="397" y="737"/>
                  </a:cubicBezTo>
                  <a:cubicBezTo>
                    <a:pt x="400" y="737"/>
                    <a:pt x="403" y="738"/>
                    <a:pt x="406" y="737"/>
                  </a:cubicBezTo>
                  <a:cubicBezTo>
                    <a:pt x="407" y="737"/>
                    <a:pt x="408" y="736"/>
                    <a:pt x="410" y="736"/>
                  </a:cubicBezTo>
                  <a:cubicBezTo>
                    <a:pt x="411" y="736"/>
                    <a:pt x="413" y="736"/>
                    <a:pt x="414" y="736"/>
                  </a:cubicBezTo>
                  <a:cubicBezTo>
                    <a:pt x="415" y="736"/>
                    <a:pt x="417" y="735"/>
                    <a:pt x="417" y="735"/>
                  </a:cubicBezTo>
                  <a:cubicBezTo>
                    <a:pt x="419" y="732"/>
                    <a:pt x="417" y="733"/>
                    <a:pt x="415" y="731"/>
                  </a:cubicBezTo>
                  <a:cubicBezTo>
                    <a:pt x="413" y="728"/>
                    <a:pt x="416" y="726"/>
                    <a:pt x="418" y="724"/>
                  </a:cubicBezTo>
                  <a:cubicBezTo>
                    <a:pt x="420" y="722"/>
                    <a:pt x="423" y="722"/>
                    <a:pt x="426" y="722"/>
                  </a:cubicBezTo>
                  <a:cubicBezTo>
                    <a:pt x="430" y="722"/>
                    <a:pt x="431" y="722"/>
                    <a:pt x="432" y="718"/>
                  </a:cubicBezTo>
                  <a:cubicBezTo>
                    <a:pt x="435" y="717"/>
                    <a:pt x="440" y="719"/>
                    <a:pt x="443" y="717"/>
                  </a:cubicBezTo>
                  <a:cubicBezTo>
                    <a:pt x="445" y="716"/>
                    <a:pt x="446" y="713"/>
                    <a:pt x="447" y="712"/>
                  </a:cubicBezTo>
                  <a:cubicBezTo>
                    <a:pt x="448" y="711"/>
                    <a:pt x="451" y="709"/>
                    <a:pt x="451" y="708"/>
                  </a:cubicBezTo>
                  <a:cubicBezTo>
                    <a:pt x="450" y="707"/>
                    <a:pt x="448" y="707"/>
                    <a:pt x="448" y="706"/>
                  </a:cubicBezTo>
                  <a:cubicBezTo>
                    <a:pt x="446" y="705"/>
                    <a:pt x="444" y="704"/>
                    <a:pt x="442" y="703"/>
                  </a:cubicBezTo>
                  <a:cubicBezTo>
                    <a:pt x="439" y="702"/>
                    <a:pt x="433" y="703"/>
                    <a:pt x="433" y="700"/>
                  </a:cubicBezTo>
                  <a:cubicBezTo>
                    <a:pt x="433" y="698"/>
                    <a:pt x="437" y="697"/>
                    <a:pt x="436" y="694"/>
                  </a:cubicBezTo>
                  <a:cubicBezTo>
                    <a:pt x="434" y="692"/>
                    <a:pt x="424" y="694"/>
                    <a:pt x="422" y="694"/>
                  </a:cubicBezTo>
                  <a:cubicBezTo>
                    <a:pt x="418" y="695"/>
                    <a:pt x="417" y="695"/>
                    <a:pt x="413" y="694"/>
                  </a:cubicBezTo>
                  <a:cubicBezTo>
                    <a:pt x="412" y="693"/>
                    <a:pt x="410" y="692"/>
                    <a:pt x="408" y="691"/>
                  </a:cubicBezTo>
                  <a:cubicBezTo>
                    <a:pt x="405" y="690"/>
                    <a:pt x="403" y="693"/>
                    <a:pt x="401" y="693"/>
                  </a:cubicBezTo>
                  <a:cubicBezTo>
                    <a:pt x="399" y="693"/>
                    <a:pt x="397" y="690"/>
                    <a:pt x="395" y="690"/>
                  </a:cubicBezTo>
                  <a:cubicBezTo>
                    <a:pt x="391" y="689"/>
                    <a:pt x="387" y="690"/>
                    <a:pt x="383" y="690"/>
                  </a:cubicBezTo>
                  <a:cubicBezTo>
                    <a:pt x="381" y="689"/>
                    <a:pt x="378" y="689"/>
                    <a:pt x="375" y="688"/>
                  </a:cubicBezTo>
                  <a:cubicBezTo>
                    <a:pt x="373" y="688"/>
                    <a:pt x="371" y="687"/>
                    <a:pt x="370" y="685"/>
                  </a:cubicBezTo>
                  <a:cubicBezTo>
                    <a:pt x="375" y="684"/>
                    <a:pt x="381" y="685"/>
                    <a:pt x="385" y="685"/>
                  </a:cubicBezTo>
                  <a:cubicBezTo>
                    <a:pt x="391" y="685"/>
                    <a:pt x="399" y="687"/>
                    <a:pt x="403" y="682"/>
                  </a:cubicBezTo>
                  <a:cubicBezTo>
                    <a:pt x="404" y="681"/>
                    <a:pt x="405" y="679"/>
                    <a:pt x="406" y="677"/>
                  </a:cubicBezTo>
                  <a:cubicBezTo>
                    <a:pt x="406" y="676"/>
                    <a:pt x="406" y="675"/>
                    <a:pt x="407" y="674"/>
                  </a:cubicBezTo>
                  <a:cubicBezTo>
                    <a:pt x="409" y="672"/>
                    <a:pt x="412" y="674"/>
                    <a:pt x="413" y="672"/>
                  </a:cubicBezTo>
                  <a:cubicBezTo>
                    <a:pt x="414" y="669"/>
                    <a:pt x="412" y="665"/>
                    <a:pt x="410" y="664"/>
                  </a:cubicBezTo>
                  <a:cubicBezTo>
                    <a:pt x="408" y="663"/>
                    <a:pt x="405" y="663"/>
                    <a:pt x="403" y="664"/>
                  </a:cubicBezTo>
                  <a:cubicBezTo>
                    <a:pt x="403" y="660"/>
                    <a:pt x="407" y="661"/>
                    <a:pt x="410" y="661"/>
                  </a:cubicBezTo>
                  <a:cubicBezTo>
                    <a:pt x="411" y="660"/>
                    <a:pt x="413" y="660"/>
                    <a:pt x="414" y="660"/>
                  </a:cubicBezTo>
                  <a:cubicBezTo>
                    <a:pt x="417" y="660"/>
                    <a:pt x="415" y="661"/>
                    <a:pt x="417" y="661"/>
                  </a:cubicBezTo>
                  <a:cubicBezTo>
                    <a:pt x="419" y="662"/>
                    <a:pt x="420" y="662"/>
                    <a:pt x="422" y="661"/>
                  </a:cubicBezTo>
                  <a:cubicBezTo>
                    <a:pt x="423" y="661"/>
                    <a:pt x="424" y="659"/>
                    <a:pt x="425" y="658"/>
                  </a:cubicBezTo>
                  <a:cubicBezTo>
                    <a:pt x="426" y="657"/>
                    <a:pt x="426" y="657"/>
                    <a:pt x="427" y="656"/>
                  </a:cubicBezTo>
                  <a:cubicBezTo>
                    <a:pt x="427" y="655"/>
                    <a:pt x="429" y="655"/>
                    <a:pt x="429" y="655"/>
                  </a:cubicBezTo>
                  <a:cubicBezTo>
                    <a:pt x="431" y="654"/>
                    <a:pt x="433" y="651"/>
                    <a:pt x="434" y="649"/>
                  </a:cubicBezTo>
                  <a:cubicBezTo>
                    <a:pt x="434" y="648"/>
                    <a:pt x="433" y="644"/>
                    <a:pt x="432" y="644"/>
                  </a:cubicBezTo>
                  <a:cubicBezTo>
                    <a:pt x="433" y="640"/>
                    <a:pt x="435" y="640"/>
                    <a:pt x="439" y="639"/>
                  </a:cubicBezTo>
                  <a:cubicBezTo>
                    <a:pt x="442" y="639"/>
                    <a:pt x="443" y="638"/>
                    <a:pt x="444" y="635"/>
                  </a:cubicBezTo>
                  <a:cubicBezTo>
                    <a:pt x="445" y="631"/>
                    <a:pt x="447" y="627"/>
                    <a:pt x="447" y="622"/>
                  </a:cubicBezTo>
                  <a:cubicBezTo>
                    <a:pt x="448" y="620"/>
                    <a:pt x="448" y="619"/>
                    <a:pt x="449" y="617"/>
                  </a:cubicBezTo>
                  <a:cubicBezTo>
                    <a:pt x="450" y="614"/>
                    <a:pt x="451" y="613"/>
                    <a:pt x="451" y="611"/>
                  </a:cubicBezTo>
                  <a:cubicBezTo>
                    <a:pt x="451" y="609"/>
                    <a:pt x="452" y="607"/>
                    <a:pt x="452" y="604"/>
                  </a:cubicBezTo>
                  <a:cubicBezTo>
                    <a:pt x="452" y="601"/>
                    <a:pt x="453" y="599"/>
                    <a:pt x="453" y="596"/>
                  </a:cubicBezTo>
                  <a:cubicBezTo>
                    <a:pt x="454" y="592"/>
                    <a:pt x="453" y="587"/>
                    <a:pt x="453" y="583"/>
                  </a:cubicBezTo>
                  <a:cubicBezTo>
                    <a:pt x="453" y="579"/>
                    <a:pt x="455" y="572"/>
                    <a:pt x="452" y="569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4" name="Freeform 64">
              <a:extLst>
                <a:ext uri="{FF2B5EF4-FFF2-40B4-BE49-F238E27FC236}">
                  <a16:creationId xmlns:a16="http://schemas.microsoft.com/office/drawing/2014/main" id="{CE760996-CC00-428B-9F00-9D4A0E29C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3584575"/>
              <a:ext cx="41275" cy="63500"/>
            </a:xfrm>
            <a:custGeom>
              <a:avLst/>
              <a:gdLst/>
              <a:ahLst/>
              <a:cxnLst>
                <a:cxn ang="0">
                  <a:pos x="18" y="2"/>
                </a:cxn>
                <a:cxn ang="0">
                  <a:pos x="22" y="1"/>
                </a:cxn>
                <a:cxn ang="0">
                  <a:pos x="17" y="10"/>
                </a:cxn>
                <a:cxn ang="0">
                  <a:pos x="12" y="15"/>
                </a:cxn>
                <a:cxn ang="0">
                  <a:pos x="10" y="19"/>
                </a:cxn>
                <a:cxn ang="0">
                  <a:pos x="10" y="23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2" y="32"/>
                </a:cxn>
                <a:cxn ang="0">
                  <a:pos x="1" y="25"/>
                </a:cxn>
                <a:cxn ang="0">
                  <a:pos x="1" y="21"/>
                </a:cxn>
                <a:cxn ang="0">
                  <a:pos x="3" y="19"/>
                </a:cxn>
                <a:cxn ang="0">
                  <a:pos x="9" y="15"/>
                </a:cxn>
                <a:cxn ang="0">
                  <a:pos x="3" y="14"/>
                </a:cxn>
                <a:cxn ang="0">
                  <a:pos x="5" y="13"/>
                </a:cxn>
                <a:cxn ang="0">
                  <a:pos x="6" y="9"/>
                </a:cxn>
                <a:cxn ang="0">
                  <a:pos x="10" y="5"/>
                </a:cxn>
                <a:cxn ang="0">
                  <a:pos x="18" y="0"/>
                </a:cxn>
                <a:cxn ang="0">
                  <a:pos x="18" y="2"/>
                </a:cxn>
              </a:cxnLst>
              <a:rect l="0" t="0" r="r" b="b"/>
              <a:pathLst>
                <a:path w="22" h="34">
                  <a:moveTo>
                    <a:pt x="18" y="2"/>
                  </a:moveTo>
                  <a:cubicBezTo>
                    <a:pt x="19" y="1"/>
                    <a:pt x="21" y="1"/>
                    <a:pt x="22" y="1"/>
                  </a:cubicBezTo>
                  <a:cubicBezTo>
                    <a:pt x="22" y="4"/>
                    <a:pt x="19" y="7"/>
                    <a:pt x="17" y="10"/>
                  </a:cubicBezTo>
                  <a:cubicBezTo>
                    <a:pt x="16" y="11"/>
                    <a:pt x="14" y="13"/>
                    <a:pt x="12" y="15"/>
                  </a:cubicBezTo>
                  <a:cubicBezTo>
                    <a:pt x="12" y="16"/>
                    <a:pt x="11" y="17"/>
                    <a:pt x="10" y="19"/>
                  </a:cubicBezTo>
                  <a:cubicBezTo>
                    <a:pt x="10" y="20"/>
                    <a:pt x="10" y="21"/>
                    <a:pt x="10" y="23"/>
                  </a:cubicBezTo>
                  <a:cubicBezTo>
                    <a:pt x="10" y="26"/>
                    <a:pt x="8" y="29"/>
                    <a:pt x="6" y="32"/>
                  </a:cubicBezTo>
                  <a:cubicBezTo>
                    <a:pt x="6" y="32"/>
                    <a:pt x="6" y="33"/>
                    <a:pt x="5" y="34"/>
                  </a:cubicBezTo>
                  <a:cubicBezTo>
                    <a:pt x="4" y="34"/>
                    <a:pt x="3" y="32"/>
                    <a:pt x="2" y="32"/>
                  </a:cubicBezTo>
                  <a:cubicBezTo>
                    <a:pt x="1" y="29"/>
                    <a:pt x="2" y="27"/>
                    <a:pt x="1" y="25"/>
                  </a:cubicBezTo>
                  <a:cubicBezTo>
                    <a:pt x="1" y="23"/>
                    <a:pt x="0" y="23"/>
                    <a:pt x="1" y="21"/>
                  </a:cubicBezTo>
                  <a:cubicBezTo>
                    <a:pt x="1" y="20"/>
                    <a:pt x="2" y="19"/>
                    <a:pt x="3" y="19"/>
                  </a:cubicBezTo>
                  <a:cubicBezTo>
                    <a:pt x="5" y="17"/>
                    <a:pt x="8" y="17"/>
                    <a:pt x="9" y="15"/>
                  </a:cubicBezTo>
                  <a:cubicBezTo>
                    <a:pt x="8" y="13"/>
                    <a:pt x="2" y="18"/>
                    <a:pt x="3" y="14"/>
                  </a:cubicBezTo>
                  <a:cubicBezTo>
                    <a:pt x="3" y="14"/>
                    <a:pt x="4" y="13"/>
                    <a:pt x="5" y="13"/>
                  </a:cubicBezTo>
                  <a:cubicBezTo>
                    <a:pt x="5" y="12"/>
                    <a:pt x="5" y="10"/>
                    <a:pt x="6" y="9"/>
                  </a:cubicBezTo>
                  <a:cubicBezTo>
                    <a:pt x="7" y="7"/>
                    <a:pt x="8" y="7"/>
                    <a:pt x="10" y="5"/>
                  </a:cubicBezTo>
                  <a:cubicBezTo>
                    <a:pt x="13" y="4"/>
                    <a:pt x="15" y="0"/>
                    <a:pt x="18" y="0"/>
                  </a:cubicBezTo>
                  <a:lnTo>
                    <a:pt x="18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5" name="Freeform 65">
              <a:extLst>
                <a:ext uri="{FF2B5EF4-FFF2-40B4-BE49-F238E27FC236}">
                  <a16:creationId xmlns:a16="http://schemas.microsoft.com/office/drawing/2014/main" id="{148815E0-CB08-4AB3-9349-169B655EA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2100" y="3638550"/>
              <a:ext cx="44450" cy="92075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9" y="11"/>
                </a:cxn>
                <a:cxn ang="0">
                  <a:pos x="6" y="13"/>
                </a:cxn>
                <a:cxn ang="0">
                  <a:pos x="5" y="13"/>
                </a:cxn>
                <a:cxn ang="0">
                  <a:pos x="3" y="16"/>
                </a:cxn>
                <a:cxn ang="0">
                  <a:pos x="3" y="23"/>
                </a:cxn>
                <a:cxn ang="0">
                  <a:pos x="4" y="28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6" y="38"/>
                </a:cxn>
                <a:cxn ang="0">
                  <a:pos x="7" y="38"/>
                </a:cxn>
                <a:cxn ang="0">
                  <a:pos x="8" y="40"/>
                </a:cxn>
                <a:cxn ang="0">
                  <a:pos x="1" y="40"/>
                </a:cxn>
                <a:cxn ang="0">
                  <a:pos x="0" y="44"/>
                </a:cxn>
                <a:cxn ang="0">
                  <a:pos x="2" y="48"/>
                </a:cxn>
                <a:cxn ang="0">
                  <a:pos x="7" y="47"/>
                </a:cxn>
                <a:cxn ang="0">
                  <a:pos x="11" y="44"/>
                </a:cxn>
                <a:cxn ang="0">
                  <a:pos x="12" y="41"/>
                </a:cxn>
                <a:cxn ang="0">
                  <a:pos x="10" y="37"/>
                </a:cxn>
                <a:cxn ang="0">
                  <a:pos x="11" y="34"/>
                </a:cxn>
                <a:cxn ang="0">
                  <a:pos x="12" y="31"/>
                </a:cxn>
                <a:cxn ang="0">
                  <a:pos x="14" y="29"/>
                </a:cxn>
                <a:cxn ang="0">
                  <a:pos x="13" y="25"/>
                </a:cxn>
                <a:cxn ang="0">
                  <a:pos x="13" y="19"/>
                </a:cxn>
                <a:cxn ang="0">
                  <a:pos x="14" y="13"/>
                </a:cxn>
                <a:cxn ang="0">
                  <a:pos x="17" y="9"/>
                </a:cxn>
                <a:cxn ang="0">
                  <a:pos x="22" y="6"/>
                </a:cxn>
                <a:cxn ang="0">
                  <a:pos x="19" y="2"/>
                </a:cxn>
                <a:cxn ang="0">
                  <a:pos x="19" y="0"/>
                </a:cxn>
              </a:cxnLst>
              <a:rect l="0" t="0" r="r" b="b"/>
              <a:pathLst>
                <a:path w="24" h="49">
                  <a:moveTo>
                    <a:pt x="19" y="0"/>
                  </a:moveTo>
                  <a:cubicBezTo>
                    <a:pt x="15" y="3"/>
                    <a:pt x="12" y="7"/>
                    <a:pt x="9" y="11"/>
                  </a:cubicBezTo>
                  <a:cubicBezTo>
                    <a:pt x="8" y="12"/>
                    <a:pt x="7" y="12"/>
                    <a:pt x="6" y="13"/>
                  </a:cubicBezTo>
                  <a:cubicBezTo>
                    <a:pt x="6" y="13"/>
                    <a:pt x="5" y="13"/>
                    <a:pt x="5" y="13"/>
                  </a:cubicBezTo>
                  <a:cubicBezTo>
                    <a:pt x="4" y="13"/>
                    <a:pt x="3" y="15"/>
                    <a:pt x="3" y="16"/>
                  </a:cubicBezTo>
                  <a:cubicBezTo>
                    <a:pt x="3" y="18"/>
                    <a:pt x="3" y="20"/>
                    <a:pt x="3" y="23"/>
                  </a:cubicBezTo>
                  <a:cubicBezTo>
                    <a:pt x="3" y="25"/>
                    <a:pt x="3" y="26"/>
                    <a:pt x="4" y="28"/>
                  </a:cubicBezTo>
                  <a:cubicBezTo>
                    <a:pt x="4" y="29"/>
                    <a:pt x="6" y="30"/>
                    <a:pt x="6" y="32"/>
                  </a:cubicBezTo>
                  <a:cubicBezTo>
                    <a:pt x="6" y="32"/>
                    <a:pt x="5" y="33"/>
                    <a:pt x="5" y="34"/>
                  </a:cubicBezTo>
                  <a:cubicBezTo>
                    <a:pt x="4" y="35"/>
                    <a:pt x="4" y="36"/>
                    <a:pt x="6" y="38"/>
                  </a:cubicBezTo>
                  <a:cubicBezTo>
                    <a:pt x="6" y="38"/>
                    <a:pt x="7" y="38"/>
                    <a:pt x="7" y="38"/>
                  </a:cubicBezTo>
                  <a:cubicBezTo>
                    <a:pt x="8" y="39"/>
                    <a:pt x="8" y="40"/>
                    <a:pt x="8" y="40"/>
                  </a:cubicBezTo>
                  <a:cubicBezTo>
                    <a:pt x="6" y="40"/>
                    <a:pt x="3" y="39"/>
                    <a:pt x="1" y="40"/>
                  </a:cubicBezTo>
                  <a:cubicBezTo>
                    <a:pt x="1" y="41"/>
                    <a:pt x="0" y="42"/>
                    <a:pt x="0" y="44"/>
                  </a:cubicBezTo>
                  <a:cubicBezTo>
                    <a:pt x="0" y="45"/>
                    <a:pt x="1" y="47"/>
                    <a:pt x="2" y="48"/>
                  </a:cubicBezTo>
                  <a:cubicBezTo>
                    <a:pt x="4" y="49"/>
                    <a:pt x="5" y="48"/>
                    <a:pt x="7" y="47"/>
                  </a:cubicBezTo>
                  <a:cubicBezTo>
                    <a:pt x="8" y="46"/>
                    <a:pt x="9" y="45"/>
                    <a:pt x="11" y="44"/>
                  </a:cubicBezTo>
                  <a:cubicBezTo>
                    <a:pt x="11" y="43"/>
                    <a:pt x="12" y="42"/>
                    <a:pt x="12" y="41"/>
                  </a:cubicBezTo>
                  <a:cubicBezTo>
                    <a:pt x="10" y="41"/>
                    <a:pt x="10" y="38"/>
                    <a:pt x="10" y="37"/>
                  </a:cubicBezTo>
                  <a:cubicBezTo>
                    <a:pt x="10" y="35"/>
                    <a:pt x="11" y="35"/>
                    <a:pt x="11" y="34"/>
                  </a:cubicBezTo>
                  <a:cubicBezTo>
                    <a:pt x="12" y="33"/>
                    <a:pt x="12" y="32"/>
                    <a:pt x="12" y="31"/>
                  </a:cubicBezTo>
                  <a:cubicBezTo>
                    <a:pt x="12" y="30"/>
                    <a:pt x="13" y="29"/>
                    <a:pt x="14" y="29"/>
                  </a:cubicBezTo>
                  <a:cubicBezTo>
                    <a:pt x="14" y="28"/>
                    <a:pt x="13" y="26"/>
                    <a:pt x="13" y="25"/>
                  </a:cubicBezTo>
                  <a:cubicBezTo>
                    <a:pt x="13" y="23"/>
                    <a:pt x="13" y="21"/>
                    <a:pt x="13" y="19"/>
                  </a:cubicBezTo>
                  <a:cubicBezTo>
                    <a:pt x="14" y="17"/>
                    <a:pt x="14" y="15"/>
                    <a:pt x="14" y="13"/>
                  </a:cubicBezTo>
                  <a:cubicBezTo>
                    <a:pt x="14" y="10"/>
                    <a:pt x="14" y="10"/>
                    <a:pt x="17" y="9"/>
                  </a:cubicBezTo>
                  <a:cubicBezTo>
                    <a:pt x="19" y="8"/>
                    <a:pt x="21" y="8"/>
                    <a:pt x="22" y="6"/>
                  </a:cubicBezTo>
                  <a:cubicBezTo>
                    <a:pt x="24" y="2"/>
                    <a:pt x="20" y="4"/>
                    <a:pt x="19" y="2"/>
                  </a:cubicBezTo>
                  <a:lnTo>
                    <a:pt x="19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6" name="Freeform 66">
              <a:extLst>
                <a:ext uri="{FF2B5EF4-FFF2-40B4-BE49-F238E27FC236}">
                  <a16:creationId xmlns:a16="http://schemas.microsoft.com/office/drawing/2014/main" id="{F0CC8E5E-41FA-487F-8C65-258536D0B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3850" y="3654425"/>
              <a:ext cx="36513" cy="60325"/>
            </a:xfrm>
            <a:custGeom>
              <a:avLst/>
              <a:gdLst/>
              <a:ahLst/>
              <a:cxnLst>
                <a:cxn ang="0">
                  <a:pos x="13" y="5"/>
                </a:cxn>
                <a:cxn ang="0">
                  <a:pos x="0" y="5"/>
                </a:cxn>
                <a:cxn ang="0">
                  <a:pos x="2" y="14"/>
                </a:cxn>
                <a:cxn ang="0">
                  <a:pos x="4" y="17"/>
                </a:cxn>
                <a:cxn ang="0">
                  <a:pos x="4" y="20"/>
                </a:cxn>
                <a:cxn ang="0">
                  <a:pos x="6" y="26"/>
                </a:cxn>
                <a:cxn ang="0">
                  <a:pos x="13" y="30"/>
                </a:cxn>
                <a:cxn ang="0">
                  <a:pos x="16" y="31"/>
                </a:cxn>
                <a:cxn ang="0">
                  <a:pos x="19" y="25"/>
                </a:cxn>
                <a:cxn ang="0">
                  <a:pos x="13" y="19"/>
                </a:cxn>
                <a:cxn ang="0">
                  <a:pos x="15" y="16"/>
                </a:cxn>
                <a:cxn ang="0">
                  <a:pos x="16" y="13"/>
                </a:cxn>
                <a:cxn ang="0">
                  <a:pos x="16" y="11"/>
                </a:cxn>
                <a:cxn ang="0">
                  <a:pos x="16" y="9"/>
                </a:cxn>
                <a:cxn ang="0">
                  <a:pos x="13" y="7"/>
                </a:cxn>
                <a:cxn ang="0">
                  <a:pos x="13" y="5"/>
                </a:cxn>
              </a:cxnLst>
              <a:rect l="0" t="0" r="r" b="b"/>
              <a:pathLst>
                <a:path w="20" h="32">
                  <a:moveTo>
                    <a:pt x="13" y="5"/>
                  </a:moveTo>
                  <a:cubicBezTo>
                    <a:pt x="11" y="1"/>
                    <a:pt x="2" y="0"/>
                    <a:pt x="0" y="5"/>
                  </a:cubicBezTo>
                  <a:cubicBezTo>
                    <a:pt x="0" y="8"/>
                    <a:pt x="1" y="11"/>
                    <a:pt x="2" y="14"/>
                  </a:cubicBezTo>
                  <a:cubicBezTo>
                    <a:pt x="3" y="15"/>
                    <a:pt x="4" y="16"/>
                    <a:pt x="4" y="17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2"/>
                    <a:pt x="4" y="24"/>
                    <a:pt x="6" y="26"/>
                  </a:cubicBezTo>
                  <a:cubicBezTo>
                    <a:pt x="8" y="28"/>
                    <a:pt x="10" y="29"/>
                    <a:pt x="13" y="30"/>
                  </a:cubicBezTo>
                  <a:cubicBezTo>
                    <a:pt x="14" y="30"/>
                    <a:pt x="15" y="31"/>
                    <a:pt x="16" y="31"/>
                  </a:cubicBezTo>
                  <a:cubicBezTo>
                    <a:pt x="20" y="32"/>
                    <a:pt x="19" y="27"/>
                    <a:pt x="19" y="25"/>
                  </a:cubicBezTo>
                  <a:cubicBezTo>
                    <a:pt x="19" y="21"/>
                    <a:pt x="16" y="19"/>
                    <a:pt x="13" y="19"/>
                  </a:cubicBezTo>
                  <a:cubicBezTo>
                    <a:pt x="15" y="20"/>
                    <a:pt x="15" y="18"/>
                    <a:pt x="15" y="16"/>
                  </a:cubicBezTo>
                  <a:cubicBezTo>
                    <a:pt x="16" y="15"/>
                    <a:pt x="16" y="14"/>
                    <a:pt x="16" y="13"/>
                  </a:cubicBezTo>
                  <a:cubicBezTo>
                    <a:pt x="16" y="13"/>
                    <a:pt x="16" y="12"/>
                    <a:pt x="16" y="11"/>
                  </a:cubicBezTo>
                  <a:cubicBezTo>
                    <a:pt x="16" y="11"/>
                    <a:pt x="16" y="10"/>
                    <a:pt x="16" y="9"/>
                  </a:cubicBezTo>
                  <a:cubicBezTo>
                    <a:pt x="15" y="7"/>
                    <a:pt x="14" y="8"/>
                    <a:pt x="13" y="7"/>
                  </a:cubicBezTo>
                  <a:lnTo>
                    <a:pt x="13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7" name="Freeform 67">
              <a:extLst>
                <a:ext uri="{FF2B5EF4-FFF2-40B4-BE49-F238E27FC236}">
                  <a16:creationId xmlns:a16="http://schemas.microsoft.com/office/drawing/2014/main" id="{D57087C0-B4BD-44A8-8004-119DF69FA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7488" y="3619500"/>
              <a:ext cx="46038" cy="6508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7" y="1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6"/>
                </a:cxn>
                <a:cxn ang="0">
                  <a:pos x="4" y="11"/>
                </a:cxn>
                <a:cxn ang="0">
                  <a:pos x="3" y="12"/>
                </a:cxn>
                <a:cxn ang="0">
                  <a:pos x="1" y="13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3" y="24"/>
                </a:cxn>
                <a:cxn ang="0">
                  <a:pos x="4" y="21"/>
                </a:cxn>
                <a:cxn ang="0">
                  <a:pos x="6" y="19"/>
                </a:cxn>
                <a:cxn ang="0">
                  <a:pos x="7" y="18"/>
                </a:cxn>
                <a:cxn ang="0">
                  <a:pos x="10" y="17"/>
                </a:cxn>
                <a:cxn ang="0">
                  <a:pos x="15" y="14"/>
                </a:cxn>
                <a:cxn ang="0">
                  <a:pos x="11" y="19"/>
                </a:cxn>
                <a:cxn ang="0">
                  <a:pos x="8" y="21"/>
                </a:cxn>
                <a:cxn ang="0">
                  <a:pos x="11" y="24"/>
                </a:cxn>
                <a:cxn ang="0">
                  <a:pos x="9" y="27"/>
                </a:cxn>
                <a:cxn ang="0">
                  <a:pos x="11" y="31"/>
                </a:cxn>
                <a:cxn ang="0">
                  <a:pos x="10" y="34"/>
                </a:cxn>
                <a:cxn ang="0">
                  <a:pos x="15" y="30"/>
                </a:cxn>
                <a:cxn ang="0">
                  <a:pos x="22" y="30"/>
                </a:cxn>
                <a:cxn ang="0">
                  <a:pos x="24" y="26"/>
                </a:cxn>
                <a:cxn ang="0">
                  <a:pos x="21" y="16"/>
                </a:cxn>
                <a:cxn ang="0">
                  <a:pos x="19" y="16"/>
                </a:cxn>
                <a:cxn ang="0">
                  <a:pos x="19" y="14"/>
                </a:cxn>
                <a:cxn ang="0">
                  <a:pos x="19" y="9"/>
                </a:cxn>
                <a:cxn ang="0">
                  <a:pos x="18" y="2"/>
                </a:cxn>
                <a:cxn ang="0">
                  <a:pos x="18" y="0"/>
                </a:cxn>
              </a:cxnLst>
              <a:rect l="0" t="0" r="r" b="b"/>
              <a:pathLst>
                <a:path w="25" h="35">
                  <a:moveTo>
                    <a:pt x="18" y="0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5" y="2"/>
                    <a:pt x="13" y="1"/>
                    <a:pt x="12" y="4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2" y="6"/>
                    <a:pt x="11" y="6"/>
                    <a:pt x="11" y="7"/>
                  </a:cubicBezTo>
                  <a:cubicBezTo>
                    <a:pt x="10" y="8"/>
                    <a:pt x="10" y="9"/>
                    <a:pt x="10" y="10"/>
                  </a:cubicBezTo>
                  <a:cubicBezTo>
                    <a:pt x="9" y="9"/>
                    <a:pt x="8" y="5"/>
                    <a:pt x="6" y="6"/>
                  </a:cubicBezTo>
                  <a:cubicBezTo>
                    <a:pt x="5" y="6"/>
                    <a:pt x="5" y="10"/>
                    <a:pt x="4" y="11"/>
                  </a:cubicBezTo>
                  <a:cubicBezTo>
                    <a:pt x="3" y="12"/>
                    <a:pt x="4" y="12"/>
                    <a:pt x="3" y="12"/>
                  </a:cubicBezTo>
                  <a:cubicBezTo>
                    <a:pt x="2" y="13"/>
                    <a:pt x="1" y="12"/>
                    <a:pt x="1" y="13"/>
                  </a:cubicBezTo>
                  <a:cubicBezTo>
                    <a:pt x="0" y="15"/>
                    <a:pt x="1" y="17"/>
                    <a:pt x="1" y="19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0" y="24"/>
                    <a:pt x="2" y="25"/>
                    <a:pt x="3" y="24"/>
                  </a:cubicBezTo>
                  <a:cubicBezTo>
                    <a:pt x="5" y="23"/>
                    <a:pt x="4" y="23"/>
                    <a:pt x="4" y="21"/>
                  </a:cubicBezTo>
                  <a:cubicBezTo>
                    <a:pt x="5" y="20"/>
                    <a:pt x="5" y="20"/>
                    <a:pt x="6" y="19"/>
                  </a:cubicBezTo>
                  <a:cubicBezTo>
                    <a:pt x="6" y="19"/>
                    <a:pt x="6" y="18"/>
                    <a:pt x="7" y="18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1" y="16"/>
                    <a:pt x="13" y="15"/>
                    <a:pt x="15" y="14"/>
                  </a:cubicBezTo>
                  <a:cubicBezTo>
                    <a:pt x="15" y="17"/>
                    <a:pt x="12" y="18"/>
                    <a:pt x="11" y="19"/>
                  </a:cubicBezTo>
                  <a:cubicBezTo>
                    <a:pt x="10" y="20"/>
                    <a:pt x="9" y="21"/>
                    <a:pt x="8" y="21"/>
                  </a:cubicBezTo>
                  <a:cubicBezTo>
                    <a:pt x="9" y="22"/>
                    <a:pt x="10" y="23"/>
                    <a:pt x="11" y="24"/>
                  </a:cubicBezTo>
                  <a:cubicBezTo>
                    <a:pt x="11" y="25"/>
                    <a:pt x="9" y="26"/>
                    <a:pt x="9" y="27"/>
                  </a:cubicBezTo>
                  <a:cubicBezTo>
                    <a:pt x="8" y="29"/>
                    <a:pt x="11" y="29"/>
                    <a:pt x="11" y="31"/>
                  </a:cubicBezTo>
                  <a:cubicBezTo>
                    <a:pt x="10" y="32"/>
                    <a:pt x="10" y="33"/>
                    <a:pt x="10" y="34"/>
                  </a:cubicBezTo>
                  <a:cubicBezTo>
                    <a:pt x="14" y="35"/>
                    <a:pt x="15" y="33"/>
                    <a:pt x="15" y="30"/>
                  </a:cubicBezTo>
                  <a:cubicBezTo>
                    <a:pt x="16" y="32"/>
                    <a:pt x="20" y="31"/>
                    <a:pt x="22" y="30"/>
                  </a:cubicBezTo>
                  <a:cubicBezTo>
                    <a:pt x="23" y="29"/>
                    <a:pt x="24" y="27"/>
                    <a:pt x="24" y="26"/>
                  </a:cubicBezTo>
                  <a:cubicBezTo>
                    <a:pt x="25" y="23"/>
                    <a:pt x="23" y="18"/>
                    <a:pt x="21" y="16"/>
                  </a:cubicBezTo>
                  <a:cubicBezTo>
                    <a:pt x="20" y="16"/>
                    <a:pt x="20" y="16"/>
                    <a:pt x="19" y="16"/>
                  </a:cubicBezTo>
                  <a:cubicBezTo>
                    <a:pt x="19" y="15"/>
                    <a:pt x="19" y="14"/>
                    <a:pt x="19" y="14"/>
                  </a:cubicBezTo>
                  <a:cubicBezTo>
                    <a:pt x="19" y="12"/>
                    <a:pt x="19" y="11"/>
                    <a:pt x="19" y="9"/>
                  </a:cubicBezTo>
                  <a:cubicBezTo>
                    <a:pt x="19" y="7"/>
                    <a:pt x="20" y="2"/>
                    <a:pt x="18" y="2"/>
                  </a:cubicBezTo>
                  <a:lnTo>
                    <a:pt x="18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8" name="Freeform 68">
              <a:extLst>
                <a:ext uri="{FF2B5EF4-FFF2-40B4-BE49-F238E27FC236}">
                  <a16:creationId xmlns:a16="http://schemas.microsoft.com/office/drawing/2014/main" id="{BFA126FA-6299-4EDA-A766-5ED4C1664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6538" y="3581400"/>
              <a:ext cx="14288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" y="4"/>
                </a:cxn>
                <a:cxn ang="0">
                  <a:pos x="0" y="10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6" y="6"/>
                </a:cxn>
                <a:cxn ang="0">
                  <a:pos x="8" y="3"/>
                </a:cxn>
                <a:cxn ang="0">
                  <a:pos x="8" y="0"/>
                </a:cxn>
              </a:cxnLst>
              <a:rect l="0" t="0" r="r" b="b"/>
              <a:pathLst>
                <a:path w="8" h="13">
                  <a:moveTo>
                    <a:pt x="8" y="0"/>
                  </a:moveTo>
                  <a:cubicBezTo>
                    <a:pt x="5" y="0"/>
                    <a:pt x="3" y="3"/>
                    <a:pt x="2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1" y="11"/>
                    <a:pt x="0" y="12"/>
                    <a:pt x="1" y="12"/>
                  </a:cubicBezTo>
                  <a:cubicBezTo>
                    <a:pt x="1" y="13"/>
                    <a:pt x="3" y="12"/>
                    <a:pt x="3" y="12"/>
                  </a:cubicBezTo>
                  <a:cubicBezTo>
                    <a:pt x="5" y="11"/>
                    <a:pt x="5" y="8"/>
                    <a:pt x="6" y="6"/>
                  </a:cubicBezTo>
                  <a:cubicBezTo>
                    <a:pt x="7" y="5"/>
                    <a:pt x="8" y="4"/>
                    <a:pt x="8" y="3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299" name="Freeform 69">
              <a:extLst>
                <a:ext uri="{FF2B5EF4-FFF2-40B4-BE49-F238E27FC236}">
                  <a16:creationId xmlns:a16="http://schemas.microsoft.com/office/drawing/2014/main" id="{BC5186A3-9B4B-4093-9AB6-3DAB56A41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8275" y="3482975"/>
              <a:ext cx="58738" cy="39688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0" y="7"/>
                </a:cxn>
                <a:cxn ang="0">
                  <a:pos x="19" y="9"/>
                </a:cxn>
                <a:cxn ang="0">
                  <a:pos x="16" y="10"/>
                </a:cxn>
                <a:cxn ang="0">
                  <a:pos x="15" y="12"/>
                </a:cxn>
                <a:cxn ang="0">
                  <a:pos x="13" y="13"/>
                </a:cxn>
                <a:cxn ang="0">
                  <a:pos x="9" y="15"/>
                </a:cxn>
                <a:cxn ang="0">
                  <a:pos x="4" y="15"/>
                </a:cxn>
                <a:cxn ang="0">
                  <a:pos x="0" y="19"/>
                </a:cxn>
                <a:cxn ang="0">
                  <a:pos x="3" y="22"/>
                </a:cxn>
                <a:cxn ang="0">
                  <a:pos x="5" y="18"/>
                </a:cxn>
                <a:cxn ang="0">
                  <a:pos x="10" y="18"/>
                </a:cxn>
                <a:cxn ang="0">
                  <a:pos x="14" y="15"/>
                </a:cxn>
                <a:cxn ang="0">
                  <a:pos x="15" y="12"/>
                </a:cxn>
                <a:cxn ang="0">
                  <a:pos x="21" y="11"/>
                </a:cxn>
                <a:cxn ang="0">
                  <a:pos x="23" y="10"/>
                </a:cxn>
                <a:cxn ang="0">
                  <a:pos x="28" y="6"/>
                </a:cxn>
                <a:cxn ang="0">
                  <a:pos x="31" y="1"/>
                </a:cxn>
                <a:cxn ang="0">
                  <a:pos x="27" y="0"/>
                </a:cxn>
              </a:cxnLst>
              <a:rect l="0" t="0" r="r" b="b"/>
              <a:pathLst>
                <a:path w="31" h="22">
                  <a:moveTo>
                    <a:pt x="27" y="0"/>
                  </a:moveTo>
                  <a:cubicBezTo>
                    <a:pt x="24" y="2"/>
                    <a:pt x="21" y="4"/>
                    <a:pt x="20" y="7"/>
                  </a:cubicBezTo>
                  <a:cubicBezTo>
                    <a:pt x="19" y="8"/>
                    <a:pt x="19" y="9"/>
                    <a:pt x="19" y="9"/>
                  </a:cubicBezTo>
                  <a:cubicBezTo>
                    <a:pt x="18" y="11"/>
                    <a:pt x="17" y="9"/>
                    <a:pt x="16" y="10"/>
                  </a:cubicBezTo>
                  <a:cubicBezTo>
                    <a:pt x="14" y="11"/>
                    <a:pt x="15" y="11"/>
                    <a:pt x="15" y="12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2" y="13"/>
                    <a:pt x="8" y="14"/>
                    <a:pt x="9" y="15"/>
                  </a:cubicBezTo>
                  <a:cubicBezTo>
                    <a:pt x="7" y="16"/>
                    <a:pt x="6" y="15"/>
                    <a:pt x="4" y="15"/>
                  </a:cubicBezTo>
                  <a:cubicBezTo>
                    <a:pt x="2" y="15"/>
                    <a:pt x="1" y="16"/>
                    <a:pt x="0" y="19"/>
                  </a:cubicBezTo>
                  <a:cubicBezTo>
                    <a:pt x="0" y="21"/>
                    <a:pt x="1" y="21"/>
                    <a:pt x="3" y="22"/>
                  </a:cubicBezTo>
                  <a:cubicBezTo>
                    <a:pt x="6" y="22"/>
                    <a:pt x="4" y="20"/>
                    <a:pt x="5" y="18"/>
                  </a:cubicBezTo>
                  <a:cubicBezTo>
                    <a:pt x="8" y="20"/>
                    <a:pt x="7" y="19"/>
                    <a:pt x="10" y="18"/>
                  </a:cubicBezTo>
                  <a:cubicBezTo>
                    <a:pt x="12" y="18"/>
                    <a:pt x="14" y="18"/>
                    <a:pt x="14" y="15"/>
                  </a:cubicBezTo>
                  <a:cubicBezTo>
                    <a:pt x="14" y="13"/>
                    <a:pt x="15" y="13"/>
                    <a:pt x="15" y="12"/>
                  </a:cubicBezTo>
                  <a:cubicBezTo>
                    <a:pt x="17" y="11"/>
                    <a:pt x="19" y="11"/>
                    <a:pt x="21" y="11"/>
                  </a:cubicBezTo>
                  <a:cubicBezTo>
                    <a:pt x="22" y="11"/>
                    <a:pt x="22" y="11"/>
                    <a:pt x="23" y="10"/>
                  </a:cubicBezTo>
                  <a:cubicBezTo>
                    <a:pt x="25" y="9"/>
                    <a:pt x="27" y="8"/>
                    <a:pt x="28" y="6"/>
                  </a:cubicBezTo>
                  <a:cubicBezTo>
                    <a:pt x="29" y="5"/>
                    <a:pt x="30" y="2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0" name="Freeform 70">
              <a:extLst>
                <a:ext uri="{FF2B5EF4-FFF2-40B4-BE49-F238E27FC236}">
                  <a16:creationId xmlns:a16="http://schemas.microsoft.com/office/drawing/2014/main" id="{00660239-F576-48E8-951F-854730A98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9238" y="3435350"/>
              <a:ext cx="7938" cy="952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0" y="5"/>
                </a:cxn>
                <a:cxn ang="0">
                  <a:pos x="2" y="1"/>
                </a:cxn>
                <a:cxn ang="0">
                  <a:pos x="3" y="2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4" y="4"/>
                    <a:pt x="2" y="5"/>
                    <a:pt x="0" y="5"/>
                  </a:cubicBezTo>
                  <a:cubicBezTo>
                    <a:pt x="0" y="4"/>
                    <a:pt x="0" y="0"/>
                    <a:pt x="2" y="1"/>
                  </a:cubicBezTo>
                  <a:cubicBezTo>
                    <a:pt x="2" y="1"/>
                    <a:pt x="2" y="2"/>
                    <a:pt x="3" y="2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1" name="Freeform 71">
              <a:extLst>
                <a:ext uri="{FF2B5EF4-FFF2-40B4-BE49-F238E27FC236}">
                  <a16:creationId xmlns:a16="http://schemas.microsoft.com/office/drawing/2014/main" id="{EC6B2E87-9031-4266-80B3-D33053F75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538" y="3416300"/>
              <a:ext cx="22225" cy="26988"/>
            </a:xfrm>
            <a:custGeom>
              <a:avLst/>
              <a:gdLst/>
              <a:ahLst/>
              <a:cxnLst>
                <a:cxn ang="0">
                  <a:pos x="12" y="5"/>
                </a:cxn>
                <a:cxn ang="0">
                  <a:pos x="10" y="0"/>
                </a:cxn>
                <a:cxn ang="0">
                  <a:pos x="7" y="3"/>
                </a:cxn>
                <a:cxn ang="0">
                  <a:pos x="1" y="9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9"/>
                </a:cxn>
                <a:cxn ang="0">
                  <a:pos x="8" y="7"/>
                </a:cxn>
                <a:cxn ang="0">
                  <a:pos x="11" y="4"/>
                </a:cxn>
                <a:cxn ang="0">
                  <a:pos x="12" y="5"/>
                </a:cxn>
              </a:cxnLst>
              <a:rect l="0" t="0" r="r" b="b"/>
              <a:pathLst>
                <a:path w="12" h="14">
                  <a:moveTo>
                    <a:pt x="12" y="5"/>
                  </a:moveTo>
                  <a:cubicBezTo>
                    <a:pt x="12" y="3"/>
                    <a:pt x="12" y="1"/>
                    <a:pt x="10" y="0"/>
                  </a:cubicBezTo>
                  <a:cubicBezTo>
                    <a:pt x="7" y="0"/>
                    <a:pt x="8" y="2"/>
                    <a:pt x="7" y="3"/>
                  </a:cubicBezTo>
                  <a:cubicBezTo>
                    <a:pt x="6" y="6"/>
                    <a:pt x="2" y="6"/>
                    <a:pt x="1" y="9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1" y="14"/>
                    <a:pt x="4" y="14"/>
                    <a:pt x="4" y="12"/>
                  </a:cubicBezTo>
                  <a:cubicBezTo>
                    <a:pt x="4" y="11"/>
                    <a:pt x="3" y="10"/>
                    <a:pt x="4" y="9"/>
                  </a:cubicBezTo>
                  <a:cubicBezTo>
                    <a:pt x="4" y="8"/>
                    <a:pt x="7" y="7"/>
                    <a:pt x="8" y="7"/>
                  </a:cubicBezTo>
                  <a:cubicBezTo>
                    <a:pt x="9" y="6"/>
                    <a:pt x="11" y="6"/>
                    <a:pt x="11" y="4"/>
                  </a:cubicBezTo>
                  <a:lnTo>
                    <a:pt x="12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2" name="Freeform 72">
              <a:extLst>
                <a:ext uri="{FF2B5EF4-FFF2-40B4-BE49-F238E27FC236}">
                  <a16:creationId xmlns:a16="http://schemas.microsoft.com/office/drawing/2014/main" id="{55A5C007-4CAF-4D20-B2C0-3D232BCBF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3455988"/>
              <a:ext cx="6350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2" y="3"/>
                    <a:pt x="3" y="2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3" name="Freeform 73">
              <a:extLst>
                <a:ext uri="{FF2B5EF4-FFF2-40B4-BE49-F238E27FC236}">
                  <a16:creationId xmlns:a16="http://schemas.microsoft.com/office/drawing/2014/main" id="{682D16F3-5877-4B70-AB0B-F8F6D755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300" y="3294063"/>
              <a:ext cx="42863" cy="120650"/>
            </a:xfrm>
            <a:custGeom>
              <a:avLst/>
              <a:gdLst/>
              <a:ahLst/>
              <a:cxnLst>
                <a:cxn ang="0">
                  <a:pos x="7" y="61"/>
                </a:cxn>
                <a:cxn ang="0">
                  <a:pos x="12" y="62"/>
                </a:cxn>
                <a:cxn ang="0">
                  <a:pos x="12" y="65"/>
                </a:cxn>
                <a:cxn ang="0">
                  <a:pos x="14" y="61"/>
                </a:cxn>
                <a:cxn ang="0">
                  <a:pos x="15" y="58"/>
                </a:cxn>
                <a:cxn ang="0">
                  <a:pos x="17" y="58"/>
                </a:cxn>
                <a:cxn ang="0">
                  <a:pos x="14" y="57"/>
                </a:cxn>
                <a:cxn ang="0">
                  <a:pos x="14" y="55"/>
                </a:cxn>
                <a:cxn ang="0">
                  <a:pos x="13" y="50"/>
                </a:cxn>
                <a:cxn ang="0">
                  <a:pos x="16" y="47"/>
                </a:cxn>
                <a:cxn ang="0">
                  <a:pos x="13" y="41"/>
                </a:cxn>
                <a:cxn ang="0">
                  <a:pos x="14" y="38"/>
                </a:cxn>
                <a:cxn ang="0">
                  <a:pos x="12" y="37"/>
                </a:cxn>
                <a:cxn ang="0">
                  <a:pos x="13" y="33"/>
                </a:cxn>
                <a:cxn ang="0">
                  <a:pos x="12" y="31"/>
                </a:cxn>
                <a:cxn ang="0">
                  <a:pos x="16" y="30"/>
                </a:cxn>
                <a:cxn ang="0">
                  <a:pos x="13" y="25"/>
                </a:cxn>
                <a:cxn ang="0">
                  <a:pos x="20" y="22"/>
                </a:cxn>
                <a:cxn ang="0">
                  <a:pos x="20" y="18"/>
                </a:cxn>
                <a:cxn ang="0">
                  <a:pos x="20" y="17"/>
                </a:cxn>
                <a:cxn ang="0">
                  <a:pos x="19" y="13"/>
                </a:cxn>
                <a:cxn ang="0">
                  <a:pos x="22" y="12"/>
                </a:cxn>
                <a:cxn ang="0">
                  <a:pos x="23" y="6"/>
                </a:cxn>
                <a:cxn ang="0">
                  <a:pos x="20" y="4"/>
                </a:cxn>
                <a:cxn ang="0">
                  <a:pos x="20" y="5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7" y="5"/>
                </a:cxn>
                <a:cxn ang="0">
                  <a:pos x="2" y="2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6" y="14"/>
                </a:cxn>
                <a:cxn ang="0">
                  <a:pos x="6" y="17"/>
                </a:cxn>
                <a:cxn ang="0">
                  <a:pos x="8" y="17"/>
                </a:cxn>
                <a:cxn ang="0">
                  <a:pos x="8" y="20"/>
                </a:cxn>
                <a:cxn ang="0">
                  <a:pos x="9" y="20"/>
                </a:cxn>
                <a:cxn ang="0">
                  <a:pos x="4" y="23"/>
                </a:cxn>
                <a:cxn ang="0">
                  <a:pos x="8" y="27"/>
                </a:cxn>
                <a:cxn ang="0">
                  <a:pos x="2" y="32"/>
                </a:cxn>
                <a:cxn ang="0">
                  <a:pos x="3" y="33"/>
                </a:cxn>
                <a:cxn ang="0">
                  <a:pos x="4" y="34"/>
                </a:cxn>
                <a:cxn ang="0">
                  <a:pos x="5" y="39"/>
                </a:cxn>
                <a:cxn ang="0">
                  <a:pos x="6" y="41"/>
                </a:cxn>
                <a:cxn ang="0">
                  <a:pos x="5" y="41"/>
                </a:cxn>
                <a:cxn ang="0">
                  <a:pos x="4" y="44"/>
                </a:cxn>
                <a:cxn ang="0">
                  <a:pos x="6" y="55"/>
                </a:cxn>
                <a:cxn ang="0">
                  <a:pos x="6" y="58"/>
                </a:cxn>
                <a:cxn ang="0">
                  <a:pos x="9" y="61"/>
                </a:cxn>
                <a:cxn ang="0">
                  <a:pos x="10" y="61"/>
                </a:cxn>
                <a:cxn ang="0">
                  <a:pos x="7" y="61"/>
                </a:cxn>
              </a:cxnLst>
              <a:rect l="0" t="0" r="r" b="b"/>
              <a:pathLst>
                <a:path w="23" h="65">
                  <a:moveTo>
                    <a:pt x="7" y="61"/>
                  </a:moveTo>
                  <a:cubicBezTo>
                    <a:pt x="9" y="62"/>
                    <a:pt x="10" y="62"/>
                    <a:pt x="12" y="62"/>
                  </a:cubicBezTo>
                  <a:cubicBezTo>
                    <a:pt x="13" y="63"/>
                    <a:pt x="12" y="64"/>
                    <a:pt x="12" y="65"/>
                  </a:cubicBezTo>
                  <a:cubicBezTo>
                    <a:pt x="13" y="64"/>
                    <a:pt x="14" y="63"/>
                    <a:pt x="14" y="61"/>
                  </a:cubicBezTo>
                  <a:cubicBezTo>
                    <a:pt x="15" y="60"/>
                    <a:pt x="14" y="59"/>
                    <a:pt x="15" y="58"/>
                  </a:cubicBezTo>
                  <a:cubicBezTo>
                    <a:pt x="15" y="58"/>
                    <a:pt x="16" y="58"/>
                    <a:pt x="17" y="58"/>
                  </a:cubicBezTo>
                  <a:cubicBezTo>
                    <a:pt x="17" y="57"/>
                    <a:pt x="15" y="57"/>
                    <a:pt x="14" y="57"/>
                  </a:cubicBezTo>
                  <a:cubicBezTo>
                    <a:pt x="13" y="56"/>
                    <a:pt x="14" y="56"/>
                    <a:pt x="14" y="55"/>
                  </a:cubicBezTo>
                  <a:cubicBezTo>
                    <a:pt x="13" y="53"/>
                    <a:pt x="15" y="52"/>
                    <a:pt x="13" y="50"/>
                  </a:cubicBezTo>
                  <a:cubicBezTo>
                    <a:pt x="14" y="49"/>
                    <a:pt x="15" y="47"/>
                    <a:pt x="16" y="47"/>
                  </a:cubicBezTo>
                  <a:cubicBezTo>
                    <a:pt x="17" y="44"/>
                    <a:pt x="14" y="43"/>
                    <a:pt x="13" y="41"/>
                  </a:cubicBezTo>
                  <a:cubicBezTo>
                    <a:pt x="13" y="40"/>
                    <a:pt x="15" y="39"/>
                    <a:pt x="14" y="38"/>
                  </a:cubicBezTo>
                  <a:cubicBezTo>
                    <a:pt x="14" y="37"/>
                    <a:pt x="13" y="38"/>
                    <a:pt x="12" y="37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32"/>
                    <a:pt x="12" y="32"/>
                    <a:pt x="12" y="31"/>
                  </a:cubicBezTo>
                  <a:cubicBezTo>
                    <a:pt x="13" y="30"/>
                    <a:pt x="16" y="32"/>
                    <a:pt x="16" y="30"/>
                  </a:cubicBezTo>
                  <a:cubicBezTo>
                    <a:pt x="17" y="28"/>
                    <a:pt x="11" y="28"/>
                    <a:pt x="13" y="25"/>
                  </a:cubicBezTo>
                  <a:cubicBezTo>
                    <a:pt x="15" y="25"/>
                    <a:pt x="17" y="22"/>
                    <a:pt x="20" y="22"/>
                  </a:cubicBezTo>
                  <a:cubicBezTo>
                    <a:pt x="20" y="20"/>
                    <a:pt x="20" y="20"/>
                    <a:pt x="20" y="18"/>
                  </a:cubicBezTo>
                  <a:cubicBezTo>
                    <a:pt x="21" y="19"/>
                    <a:pt x="21" y="17"/>
                    <a:pt x="20" y="17"/>
                  </a:cubicBezTo>
                  <a:cubicBezTo>
                    <a:pt x="19" y="15"/>
                    <a:pt x="18" y="14"/>
                    <a:pt x="19" y="13"/>
                  </a:cubicBezTo>
                  <a:cubicBezTo>
                    <a:pt x="20" y="12"/>
                    <a:pt x="22" y="14"/>
                    <a:pt x="22" y="12"/>
                  </a:cubicBezTo>
                  <a:cubicBezTo>
                    <a:pt x="23" y="10"/>
                    <a:pt x="23" y="8"/>
                    <a:pt x="23" y="6"/>
                  </a:cubicBezTo>
                  <a:cubicBezTo>
                    <a:pt x="23" y="5"/>
                    <a:pt x="22" y="3"/>
                    <a:pt x="20" y="4"/>
                  </a:cubicBezTo>
                  <a:cubicBezTo>
                    <a:pt x="20" y="4"/>
                    <a:pt x="21" y="5"/>
                    <a:pt x="20" y="5"/>
                  </a:cubicBezTo>
                  <a:cubicBezTo>
                    <a:pt x="19" y="6"/>
                    <a:pt x="17" y="2"/>
                    <a:pt x="16" y="2"/>
                  </a:cubicBezTo>
                  <a:cubicBezTo>
                    <a:pt x="15" y="0"/>
                    <a:pt x="14" y="1"/>
                    <a:pt x="13" y="2"/>
                  </a:cubicBezTo>
                  <a:cubicBezTo>
                    <a:pt x="11" y="4"/>
                    <a:pt x="10" y="6"/>
                    <a:pt x="7" y="5"/>
                  </a:cubicBezTo>
                  <a:cubicBezTo>
                    <a:pt x="5" y="4"/>
                    <a:pt x="4" y="2"/>
                    <a:pt x="2" y="2"/>
                  </a:cubicBezTo>
                  <a:cubicBezTo>
                    <a:pt x="0" y="3"/>
                    <a:pt x="0" y="10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4"/>
                    <a:pt x="7" y="15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8" y="18"/>
                    <a:pt x="8" y="19"/>
                    <a:pt x="8" y="20"/>
                  </a:cubicBezTo>
                  <a:cubicBezTo>
                    <a:pt x="8" y="20"/>
                    <a:pt x="8" y="20"/>
                    <a:pt x="9" y="20"/>
                  </a:cubicBezTo>
                  <a:cubicBezTo>
                    <a:pt x="7" y="21"/>
                    <a:pt x="5" y="22"/>
                    <a:pt x="4" y="23"/>
                  </a:cubicBezTo>
                  <a:cubicBezTo>
                    <a:pt x="3" y="27"/>
                    <a:pt x="6" y="25"/>
                    <a:pt x="8" y="27"/>
                  </a:cubicBezTo>
                  <a:cubicBezTo>
                    <a:pt x="7" y="29"/>
                    <a:pt x="2" y="29"/>
                    <a:pt x="2" y="32"/>
                  </a:cubicBezTo>
                  <a:cubicBezTo>
                    <a:pt x="2" y="32"/>
                    <a:pt x="3" y="32"/>
                    <a:pt x="3" y="33"/>
                  </a:cubicBezTo>
                  <a:cubicBezTo>
                    <a:pt x="4" y="33"/>
                    <a:pt x="4" y="34"/>
                    <a:pt x="4" y="34"/>
                  </a:cubicBezTo>
                  <a:cubicBezTo>
                    <a:pt x="5" y="36"/>
                    <a:pt x="5" y="37"/>
                    <a:pt x="5" y="39"/>
                  </a:cubicBezTo>
                  <a:cubicBezTo>
                    <a:pt x="6" y="39"/>
                    <a:pt x="6" y="40"/>
                    <a:pt x="6" y="41"/>
                  </a:cubicBezTo>
                  <a:cubicBezTo>
                    <a:pt x="6" y="41"/>
                    <a:pt x="6" y="41"/>
                    <a:pt x="5" y="41"/>
                  </a:cubicBezTo>
                  <a:cubicBezTo>
                    <a:pt x="5" y="42"/>
                    <a:pt x="4" y="43"/>
                    <a:pt x="4" y="44"/>
                  </a:cubicBezTo>
                  <a:cubicBezTo>
                    <a:pt x="3" y="48"/>
                    <a:pt x="5" y="51"/>
                    <a:pt x="6" y="55"/>
                  </a:cubicBezTo>
                  <a:cubicBezTo>
                    <a:pt x="6" y="55"/>
                    <a:pt x="6" y="57"/>
                    <a:pt x="6" y="58"/>
                  </a:cubicBezTo>
                  <a:cubicBezTo>
                    <a:pt x="7" y="59"/>
                    <a:pt x="9" y="59"/>
                    <a:pt x="9" y="61"/>
                  </a:cubicBezTo>
                  <a:cubicBezTo>
                    <a:pt x="10" y="61"/>
                    <a:pt x="10" y="61"/>
                    <a:pt x="10" y="61"/>
                  </a:cubicBezTo>
                  <a:lnTo>
                    <a:pt x="7" y="6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4" name="Freeform 74">
              <a:extLst>
                <a:ext uri="{FF2B5EF4-FFF2-40B4-BE49-F238E27FC236}">
                  <a16:creationId xmlns:a16="http://schemas.microsoft.com/office/drawing/2014/main" id="{2665EE22-C849-44DB-91BB-B73377621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713" y="3184525"/>
              <a:ext cx="17463" cy="1746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7" y="6"/>
                </a:cxn>
                <a:cxn ang="0">
                  <a:pos x="8" y="2"/>
                </a:cxn>
                <a:cxn ang="0">
                  <a:pos x="3" y="3"/>
                </a:cxn>
                <a:cxn ang="0">
                  <a:pos x="0" y="7"/>
                </a:cxn>
              </a:cxnLst>
              <a:rect l="0" t="0" r="r" b="b"/>
              <a:pathLst>
                <a:path w="9" h="9">
                  <a:moveTo>
                    <a:pt x="0" y="7"/>
                  </a:moveTo>
                  <a:cubicBezTo>
                    <a:pt x="0" y="9"/>
                    <a:pt x="6" y="7"/>
                    <a:pt x="7" y="6"/>
                  </a:cubicBezTo>
                  <a:cubicBezTo>
                    <a:pt x="8" y="5"/>
                    <a:pt x="9" y="3"/>
                    <a:pt x="8" y="2"/>
                  </a:cubicBezTo>
                  <a:cubicBezTo>
                    <a:pt x="7" y="0"/>
                    <a:pt x="4" y="2"/>
                    <a:pt x="3" y="3"/>
                  </a:cubicBezTo>
                  <a:cubicBezTo>
                    <a:pt x="1" y="5"/>
                    <a:pt x="0" y="7"/>
                    <a:pt x="0" y="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5" name="Freeform 75">
              <a:extLst>
                <a:ext uri="{FF2B5EF4-FFF2-40B4-BE49-F238E27FC236}">
                  <a16:creationId xmlns:a16="http://schemas.microsoft.com/office/drawing/2014/main" id="{665B53DB-BB14-4C39-A570-6EA85854A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136900"/>
              <a:ext cx="100013" cy="147638"/>
            </a:xfrm>
            <a:custGeom>
              <a:avLst/>
              <a:gdLst/>
              <a:ahLst/>
              <a:cxnLst>
                <a:cxn ang="0">
                  <a:pos x="51" y="15"/>
                </a:cxn>
                <a:cxn ang="0">
                  <a:pos x="52" y="10"/>
                </a:cxn>
                <a:cxn ang="0">
                  <a:pos x="52" y="6"/>
                </a:cxn>
                <a:cxn ang="0">
                  <a:pos x="51" y="2"/>
                </a:cxn>
                <a:cxn ang="0">
                  <a:pos x="44" y="7"/>
                </a:cxn>
                <a:cxn ang="0">
                  <a:pos x="41" y="8"/>
                </a:cxn>
                <a:cxn ang="0">
                  <a:pos x="38" y="10"/>
                </a:cxn>
                <a:cxn ang="0">
                  <a:pos x="38" y="11"/>
                </a:cxn>
                <a:cxn ang="0">
                  <a:pos x="34" y="11"/>
                </a:cxn>
                <a:cxn ang="0">
                  <a:pos x="32" y="15"/>
                </a:cxn>
                <a:cxn ang="0">
                  <a:pos x="21" y="19"/>
                </a:cxn>
                <a:cxn ang="0">
                  <a:pos x="18" y="24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14" y="29"/>
                </a:cxn>
                <a:cxn ang="0">
                  <a:pos x="12" y="30"/>
                </a:cxn>
                <a:cxn ang="0">
                  <a:pos x="13" y="32"/>
                </a:cxn>
                <a:cxn ang="0">
                  <a:pos x="8" y="29"/>
                </a:cxn>
                <a:cxn ang="0">
                  <a:pos x="5" y="32"/>
                </a:cxn>
                <a:cxn ang="0">
                  <a:pos x="4" y="36"/>
                </a:cxn>
                <a:cxn ang="0">
                  <a:pos x="5" y="39"/>
                </a:cxn>
                <a:cxn ang="0">
                  <a:pos x="3" y="42"/>
                </a:cxn>
                <a:cxn ang="0">
                  <a:pos x="9" y="50"/>
                </a:cxn>
                <a:cxn ang="0">
                  <a:pos x="1" y="52"/>
                </a:cxn>
                <a:cxn ang="0">
                  <a:pos x="3" y="58"/>
                </a:cxn>
                <a:cxn ang="0">
                  <a:pos x="14" y="63"/>
                </a:cxn>
                <a:cxn ang="0">
                  <a:pos x="8" y="65"/>
                </a:cxn>
                <a:cxn ang="0">
                  <a:pos x="9" y="67"/>
                </a:cxn>
                <a:cxn ang="0">
                  <a:pos x="8" y="68"/>
                </a:cxn>
                <a:cxn ang="0">
                  <a:pos x="7" y="70"/>
                </a:cxn>
                <a:cxn ang="0">
                  <a:pos x="4" y="72"/>
                </a:cxn>
                <a:cxn ang="0">
                  <a:pos x="5" y="75"/>
                </a:cxn>
                <a:cxn ang="0">
                  <a:pos x="6" y="77"/>
                </a:cxn>
                <a:cxn ang="0">
                  <a:pos x="10" y="79"/>
                </a:cxn>
                <a:cxn ang="0">
                  <a:pos x="13" y="75"/>
                </a:cxn>
                <a:cxn ang="0">
                  <a:pos x="23" y="75"/>
                </a:cxn>
                <a:cxn ang="0">
                  <a:pos x="20" y="66"/>
                </a:cxn>
                <a:cxn ang="0">
                  <a:pos x="23" y="67"/>
                </a:cxn>
                <a:cxn ang="0">
                  <a:pos x="28" y="68"/>
                </a:cxn>
                <a:cxn ang="0">
                  <a:pos x="26" y="61"/>
                </a:cxn>
                <a:cxn ang="0">
                  <a:pos x="31" y="61"/>
                </a:cxn>
                <a:cxn ang="0">
                  <a:pos x="34" y="59"/>
                </a:cxn>
                <a:cxn ang="0">
                  <a:pos x="37" y="57"/>
                </a:cxn>
                <a:cxn ang="0">
                  <a:pos x="31" y="54"/>
                </a:cxn>
                <a:cxn ang="0">
                  <a:pos x="42" y="49"/>
                </a:cxn>
                <a:cxn ang="0">
                  <a:pos x="38" y="41"/>
                </a:cxn>
                <a:cxn ang="0">
                  <a:pos x="42" y="39"/>
                </a:cxn>
                <a:cxn ang="0">
                  <a:pos x="41" y="37"/>
                </a:cxn>
                <a:cxn ang="0">
                  <a:pos x="41" y="34"/>
                </a:cxn>
                <a:cxn ang="0">
                  <a:pos x="42" y="32"/>
                </a:cxn>
                <a:cxn ang="0">
                  <a:pos x="41" y="30"/>
                </a:cxn>
                <a:cxn ang="0">
                  <a:pos x="45" y="25"/>
                </a:cxn>
                <a:cxn ang="0">
                  <a:pos x="49" y="21"/>
                </a:cxn>
                <a:cxn ang="0">
                  <a:pos x="51" y="15"/>
                </a:cxn>
              </a:cxnLst>
              <a:rect l="0" t="0" r="r" b="b"/>
              <a:pathLst>
                <a:path w="54" h="79">
                  <a:moveTo>
                    <a:pt x="51" y="15"/>
                  </a:moveTo>
                  <a:cubicBezTo>
                    <a:pt x="54" y="11"/>
                    <a:pt x="53" y="15"/>
                    <a:pt x="52" y="10"/>
                  </a:cubicBezTo>
                  <a:cubicBezTo>
                    <a:pt x="52" y="8"/>
                    <a:pt x="52" y="7"/>
                    <a:pt x="52" y="6"/>
                  </a:cubicBezTo>
                  <a:cubicBezTo>
                    <a:pt x="52" y="4"/>
                    <a:pt x="52" y="3"/>
                    <a:pt x="51" y="2"/>
                  </a:cubicBezTo>
                  <a:cubicBezTo>
                    <a:pt x="47" y="0"/>
                    <a:pt x="46" y="4"/>
                    <a:pt x="44" y="7"/>
                  </a:cubicBezTo>
                  <a:cubicBezTo>
                    <a:pt x="43" y="7"/>
                    <a:pt x="42" y="8"/>
                    <a:pt x="41" y="8"/>
                  </a:cubicBezTo>
                  <a:cubicBezTo>
                    <a:pt x="40" y="9"/>
                    <a:pt x="39" y="9"/>
                    <a:pt x="38" y="10"/>
                  </a:cubicBezTo>
                  <a:cubicBezTo>
                    <a:pt x="38" y="10"/>
                    <a:pt x="38" y="10"/>
                    <a:pt x="38" y="11"/>
                  </a:cubicBezTo>
                  <a:cubicBezTo>
                    <a:pt x="37" y="11"/>
                    <a:pt x="35" y="10"/>
                    <a:pt x="34" y="11"/>
                  </a:cubicBezTo>
                  <a:cubicBezTo>
                    <a:pt x="33" y="11"/>
                    <a:pt x="32" y="14"/>
                    <a:pt x="32" y="15"/>
                  </a:cubicBezTo>
                  <a:cubicBezTo>
                    <a:pt x="29" y="19"/>
                    <a:pt x="25" y="19"/>
                    <a:pt x="21" y="19"/>
                  </a:cubicBezTo>
                  <a:cubicBezTo>
                    <a:pt x="19" y="19"/>
                    <a:pt x="19" y="22"/>
                    <a:pt x="18" y="24"/>
                  </a:cubicBezTo>
                  <a:cubicBezTo>
                    <a:pt x="18" y="26"/>
                    <a:pt x="17" y="29"/>
                    <a:pt x="17" y="30"/>
                  </a:cubicBezTo>
                  <a:cubicBezTo>
                    <a:pt x="17" y="32"/>
                    <a:pt x="19" y="31"/>
                    <a:pt x="19" y="32"/>
                  </a:cubicBezTo>
                  <a:cubicBezTo>
                    <a:pt x="18" y="31"/>
                    <a:pt x="16" y="30"/>
                    <a:pt x="14" y="29"/>
                  </a:cubicBezTo>
                  <a:cubicBezTo>
                    <a:pt x="13" y="29"/>
                    <a:pt x="13" y="28"/>
                    <a:pt x="12" y="30"/>
                  </a:cubicBezTo>
                  <a:cubicBezTo>
                    <a:pt x="12" y="30"/>
                    <a:pt x="12" y="31"/>
                    <a:pt x="13" y="32"/>
                  </a:cubicBezTo>
                  <a:cubicBezTo>
                    <a:pt x="10" y="32"/>
                    <a:pt x="8" y="31"/>
                    <a:pt x="8" y="29"/>
                  </a:cubicBezTo>
                  <a:cubicBezTo>
                    <a:pt x="7" y="29"/>
                    <a:pt x="6" y="31"/>
                    <a:pt x="5" y="32"/>
                  </a:cubicBezTo>
                  <a:cubicBezTo>
                    <a:pt x="4" y="33"/>
                    <a:pt x="4" y="35"/>
                    <a:pt x="4" y="36"/>
                  </a:cubicBezTo>
                  <a:cubicBezTo>
                    <a:pt x="5" y="37"/>
                    <a:pt x="5" y="38"/>
                    <a:pt x="5" y="39"/>
                  </a:cubicBezTo>
                  <a:cubicBezTo>
                    <a:pt x="5" y="40"/>
                    <a:pt x="3" y="41"/>
                    <a:pt x="3" y="42"/>
                  </a:cubicBezTo>
                  <a:cubicBezTo>
                    <a:pt x="3" y="45"/>
                    <a:pt x="9" y="46"/>
                    <a:pt x="9" y="50"/>
                  </a:cubicBezTo>
                  <a:cubicBezTo>
                    <a:pt x="7" y="50"/>
                    <a:pt x="2" y="50"/>
                    <a:pt x="1" y="52"/>
                  </a:cubicBezTo>
                  <a:cubicBezTo>
                    <a:pt x="0" y="53"/>
                    <a:pt x="2" y="57"/>
                    <a:pt x="3" y="58"/>
                  </a:cubicBezTo>
                  <a:cubicBezTo>
                    <a:pt x="5" y="59"/>
                    <a:pt x="15" y="60"/>
                    <a:pt x="14" y="63"/>
                  </a:cubicBezTo>
                  <a:cubicBezTo>
                    <a:pt x="13" y="63"/>
                    <a:pt x="9" y="62"/>
                    <a:pt x="8" y="65"/>
                  </a:cubicBezTo>
                  <a:cubicBezTo>
                    <a:pt x="8" y="65"/>
                    <a:pt x="9" y="66"/>
                    <a:pt x="9" y="67"/>
                  </a:cubicBezTo>
                  <a:cubicBezTo>
                    <a:pt x="9" y="67"/>
                    <a:pt x="8" y="67"/>
                    <a:pt x="8" y="68"/>
                  </a:cubicBezTo>
                  <a:cubicBezTo>
                    <a:pt x="7" y="69"/>
                    <a:pt x="7" y="69"/>
                    <a:pt x="7" y="70"/>
                  </a:cubicBezTo>
                  <a:cubicBezTo>
                    <a:pt x="5" y="71"/>
                    <a:pt x="5" y="71"/>
                    <a:pt x="4" y="72"/>
                  </a:cubicBezTo>
                  <a:cubicBezTo>
                    <a:pt x="4" y="73"/>
                    <a:pt x="4" y="74"/>
                    <a:pt x="5" y="75"/>
                  </a:cubicBezTo>
                  <a:cubicBezTo>
                    <a:pt x="5" y="76"/>
                    <a:pt x="6" y="76"/>
                    <a:pt x="6" y="77"/>
                  </a:cubicBezTo>
                  <a:cubicBezTo>
                    <a:pt x="7" y="77"/>
                    <a:pt x="8" y="79"/>
                    <a:pt x="10" y="79"/>
                  </a:cubicBezTo>
                  <a:cubicBezTo>
                    <a:pt x="12" y="79"/>
                    <a:pt x="13" y="77"/>
                    <a:pt x="13" y="75"/>
                  </a:cubicBezTo>
                  <a:cubicBezTo>
                    <a:pt x="16" y="74"/>
                    <a:pt x="20" y="75"/>
                    <a:pt x="23" y="75"/>
                  </a:cubicBezTo>
                  <a:cubicBezTo>
                    <a:pt x="24" y="71"/>
                    <a:pt x="22" y="69"/>
                    <a:pt x="20" y="66"/>
                  </a:cubicBezTo>
                  <a:cubicBezTo>
                    <a:pt x="21" y="65"/>
                    <a:pt x="22" y="66"/>
                    <a:pt x="23" y="67"/>
                  </a:cubicBezTo>
                  <a:cubicBezTo>
                    <a:pt x="25" y="69"/>
                    <a:pt x="26" y="69"/>
                    <a:pt x="28" y="68"/>
                  </a:cubicBezTo>
                  <a:cubicBezTo>
                    <a:pt x="31" y="65"/>
                    <a:pt x="29" y="63"/>
                    <a:pt x="26" y="61"/>
                  </a:cubicBezTo>
                  <a:cubicBezTo>
                    <a:pt x="27" y="60"/>
                    <a:pt x="29" y="61"/>
                    <a:pt x="31" y="61"/>
                  </a:cubicBezTo>
                  <a:cubicBezTo>
                    <a:pt x="33" y="61"/>
                    <a:pt x="33" y="60"/>
                    <a:pt x="34" y="59"/>
                  </a:cubicBezTo>
                  <a:cubicBezTo>
                    <a:pt x="35" y="59"/>
                    <a:pt x="37" y="58"/>
                    <a:pt x="37" y="57"/>
                  </a:cubicBezTo>
                  <a:cubicBezTo>
                    <a:pt x="37" y="56"/>
                    <a:pt x="33" y="54"/>
                    <a:pt x="31" y="54"/>
                  </a:cubicBezTo>
                  <a:cubicBezTo>
                    <a:pt x="34" y="54"/>
                    <a:pt x="42" y="52"/>
                    <a:pt x="42" y="49"/>
                  </a:cubicBezTo>
                  <a:cubicBezTo>
                    <a:pt x="42" y="46"/>
                    <a:pt x="35" y="43"/>
                    <a:pt x="38" y="41"/>
                  </a:cubicBezTo>
                  <a:cubicBezTo>
                    <a:pt x="39" y="40"/>
                    <a:pt x="41" y="41"/>
                    <a:pt x="42" y="39"/>
                  </a:cubicBezTo>
                  <a:cubicBezTo>
                    <a:pt x="44" y="38"/>
                    <a:pt x="42" y="38"/>
                    <a:pt x="41" y="37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1" y="33"/>
                    <a:pt x="42" y="33"/>
                    <a:pt x="42" y="32"/>
                  </a:cubicBezTo>
                  <a:cubicBezTo>
                    <a:pt x="42" y="32"/>
                    <a:pt x="41" y="31"/>
                    <a:pt x="41" y="30"/>
                  </a:cubicBezTo>
                  <a:cubicBezTo>
                    <a:pt x="41" y="28"/>
                    <a:pt x="43" y="26"/>
                    <a:pt x="45" y="25"/>
                  </a:cubicBezTo>
                  <a:cubicBezTo>
                    <a:pt x="47" y="24"/>
                    <a:pt x="49" y="24"/>
                    <a:pt x="49" y="21"/>
                  </a:cubicBezTo>
                  <a:lnTo>
                    <a:pt x="51" y="1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6" name="Freeform 76">
              <a:extLst>
                <a:ext uri="{FF2B5EF4-FFF2-40B4-BE49-F238E27FC236}">
                  <a16:creationId xmlns:a16="http://schemas.microsoft.com/office/drawing/2014/main" id="{E208D153-9BD9-4DF6-9E79-E03CF62252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463" y="3005138"/>
              <a:ext cx="69850" cy="53975"/>
            </a:xfrm>
            <a:custGeom>
              <a:avLst/>
              <a:gdLst/>
              <a:ahLst/>
              <a:cxnLst>
                <a:cxn ang="0">
                  <a:pos x="20" y="7"/>
                </a:cxn>
                <a:cxn ang="0">
                  <a:pos x="13" y="2"/>
                </a:cxn>
                <a:cxn ang="0">
                  <a:pos x="9" y="1"/>
                </a:cxn>
                <a:cxn ang="0">
                  <a:pos x="5" y="11"/>
                </a:cxn>
                <a:cxn ang="0">
                  <a:pos x="3" y="21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0" y="13"/>
                </a:cxn>
                <a:cxn ang="0">
                  <a:pos x="12" y="19"/>
                </a:cxn>
                <a:cxn ang="0">
                  <a:pos x="11" y="24"/>
                </a:cxn>
                <a:cxn ang="0">
                  <a:pos x="19" y="22"/>
                </a:cxn>
                <a:cxn ang="0">
                  <a:pos x="23" y="25"/>
                </a:cxn>
                <a:cxn ang="0">
                  <a:pos x="26" y="26"/>
                </a:cxn>
                <a:cxn ang="0">
                  <a:pos x="28" y="27"/>
                </a:cxn>
                <a:cxn ang="0">
                  <a:pos x="33" y="28"/>
                </a:cxn>
                <a:cxn ang="0">
                  <a:pos x="37" y="23"/>
                </a:cxn>
                <a:cxn ang="0">
                  <a:pos x="31" y="22"/>
                </a:cxn>
                <a:cxn ang="0">
                  <a:pos x="31" y="19"/>
                </a:cxn>
                <a:cxn ang="0">
                  <a:pos x="23" y="15"/>
                </a:cxn>
                <a:cxn ang="0">
                  <a:pos x="20" y="15"/>
                </a:cxn>
                <a:cxn ang="0">
                  <a:pos x="19" y="7"/>
                </a:cxn>
                <a:cxn ang="0">
                  <a:pos x="20" y="7"/>
                </a:cxn>
              </a:cxnLst>
              <a:rect l="0" t="0" r="r" b="b"/>
              <a:pathLst>
                <a:path w="37" h="29">
                  <a:moveTo>
                    <a:pt x="20" y="7"/>
                  </a:moveTo>
                  <a:cubicBezTo>
                    <a:pt x="20" y="5"/>
                    <a:pt x="15" y="3"/>
                    <a:pt x="13" y="2"/>
                  </a:cubicBezTo>
                  <a:cubicBezTo>
                    <a:pt x="12" y="1"/>
                    <a:pt x="10" y="0"/>
                    <a:pt x="9" y="1"/>
                  </a:cubicBezTo>
                  <a:cubicBezTo>
                    <a:pt x="8" y="5"/>
                    <a:pt x="6" y="7"/>
                    <a:pt x="5" y="11"/>
                  </a:cubicBezTo>
                  <a:cubicBezTo>
                    <a:pt x="3" y="14"/>
                    <a:pt x="0" y="17"/>
                    <a:pt x="3" y="21"/>
                  </a:cubicBezTo>
                  <a:cubicBezTo>
                    <a:pt x="5" y="24"/>
                    <a:pt x="8" y="23"/>
                    <a:pt x="8" y="20"/>
                  </a:cubicBezTo>
                  <a:cubicBezTo>
                    <a:pt x="9" y="19"/>
                    <a:pt x="8" y="17"/>
                    <a:pt x="8" y="16"/>
                  </a:cubicBezTo>
                  <a:cubicBezTo>
                    <a:pt x="9" y="15"/>
                    <a:pt x="10" y="14"/>
                    <a:pt x="10" y="13"/>
                  </a:cubicBezTo>
                  <a:cubicBezTo>
                    <a:pt x="12" y="13"/>
                    <a:pt x="13" y="17"/>
                    <a:pt x="12" y="19"/>
                  </a:cubicBezTo>
                  <a:cubicBezTo>
                    <a:pt x="12" y="20"/>
                    <a:pt x="10" y="22"/>
                    <a:pt x="11" y="24"/>
                  </a:cubicBezTo>
                  <a:cubicBezTo>
                    <a:pt x="12" y="26"/>
                    <a:pt x="17" y="23"/>
                    <a:pt x="19" y="22"/>
                  </a:cubicBezTo>
                  <a:cubicBezTo>
                    <a:pt x="21" y="22"/>
                    <a:pt x="22" y="24"/>
                    <a:pt x="23" y="25"/>
                  </a:cubicBezTo>
                  <a:cubicBezTo>
                    <a:pt x="24" y="25"/>
                    <a:pt x="25" y="25"/>
                    <a:pt x="26" y="26"/>
                  </a:cubicBezTo>
                  <a:cubicBezTo>
                    <a:pt x="28" y="26"/>
                    <a:pt x="27" y="26"/>
                    <a:pt x="28" y="27"/>
                  </a:cubicBezTo>
                  <a:cubicBezTo>
                    <a:pt x="30" y="28"/>
                    <a:pt x="31" y="29"/>
                    <a:pt x="33" y="28"/>
                  </a:cubicBezTo>
                  <a:cubicBezTo>
                    <a:pt x="34" y="28"/>
                    <a:pt x="37" y="24"/>
                    <a:pt x="37" y="23"/>
                  </a:cubicBezTo>
                  <a:cubicBezTo>
                    <a:pt x="36" y="22"/>
                    <a:pt x="33" y="23"/>
                    <a:pt x="31" y="22"/>
                  </a:cubicBezTo>
                  <a:cubicBezTo>
                    <a:pt x="31" y="22"/>
                    <a:pt x="31" y="20"/>
                    <a:pt x="31" y="19"/>
                  </a:cubicBezTo>
                  <a:cubicBezTo>
                    <a:pt x="29" y="18"/>
                    <a:pt x="22" y="18"/>
                    <a:pt x="23" y="15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20" y="14"/>
                    <a:pt x="25" y="6"/>
                    <a:pt x="19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7" name="Freeform 77">
              <a:extLst>
                <a:ext uri="{FF2B5EF4-FFF2-40B4-BE49-F238E27FC236}">
                  <a16:creationId xmlns:a16="http://schemas.microsoft.com/office/drawing/2014/main" id="{7638218C-9B50-47B6-827F-5FC1333FC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2994025"/>
              <a:ext cx="25400" cy="26988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2"/>
                </a:cxn>
                <a:cxn ang="0">
                  <a:pos x="8" y="9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4" y="11"/>
                </a:cxn>
                <a:cxn ang="0">
                  <a:pos x="10" y="6"/>
                </a:cxn>
                <a:cxn ang="0">
                  <a:pos x="10" y="3"/>
                </a:cxn>
              </a:cxnLst>
              <a:rect l="0" t="0" r="r" b="b"/>
              <a:pathLst>
                <a:path w="14" h="14">
                  <a:moveTo>
                    <a:pt x="10" y="3"/>
                  </a:moveTo>
                  <a:cubicBezTo>
                    <a:pt x="8" y="3"/>
                    <a:pt x="3" y="0"/>
                    <a:pt x="1" y="2"/>
                  </a:cubicBezTo>
                  <a:cubicBezTo>
                    <a:pt x="0" y="5"/>
                    <a:pt x="6" y="7"/>
                    <a:pt x="8" y="9"/>
                  </a:cubicBezTo>
                  <a:cubicBezTo>
                    <a:pt x="9" y="10"/>
                    <a:pt x="10" y="11"/>
                    <a:pt x="11" y="12"/>
                  </a:cubicBezTo>
                  <a:cubicBezTo>
                    <a:pt x="11" y="13"/>
                    <a:pt x="11" y="14"/>
                    <a:pt x="12" y="14"/>
                  </a:cubicBezTo>
                  <a:cubicBezTo>
                    <a:pt x="14" y="14"/>
                    <a:pt x="14" y="12"/>
                    <a:pt x="14" y="11"/>
                  </a:cubicBezTo>
                  <a:cubicBezTo>
                    <a:pt x="14" y="8"/>
                    <a:pt x="13" y="7"/>
                    <a:pt x="10" y="6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8" name="Freeform 78">
              <a:extLst>
                <a:ext uri="{FF2B5EF4-FFF2-40B4-BE49-F238E27FC236}">
                  <a16:creationId xmlns:a16="http://schemas.microsoft.com/office/drawing/2014/main" id="{EBDF0557-4120-422C-B696-E2429176B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150" y="2962275"/>
              <a:ext cx="23813" cy="285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7"/>
                </a:cxn>
                <a:cxn ang="0">
                  <a:pos x="4" y="9"/>
                </a:cxn>
                <a:cxn ang="0">
                  <a:pos x="4" y="12"/>
                </a:cxn>
                <a:cxn ang="0">
                  <a:pos x="11" y="14"/>
                </a:cxn>
                <a:cxn ang="0">
                  <a:pos x="5" y="8"/>
                </a:cxn>
                <a:cxn ang="0">
                  <a:pos x="11" y="5"/>
                </a:cxn>
                <a:cxn ang="0">
                  <a:pos x="7" y="0"/>
                </a:cxn>
              </a:cxnLst>
              <a:rect l="0" t="0" r="r" b="b"/>
              <a:pathLst>
                <a:path w="13" h="15">
                  <a:moveTo>
                    <a:pt x="7" y="0"/>
                  </a:moveTo>
                  <a:cubicBezTo>
                    <a:pt x="4" y="0"/>
                    <a:pt x="0" y="3"/>
                    <a:pt x="0" y="7"/>
                  </a:cubicBezTo>
                  <a:cubicBezTo>
                    <a:pt x="0" y="9"/>
                    <a:pt x="2" y="8"/>
                    <a:pt x="4" y="9"/>
                  </a:cubicBezTo>
                  <a:cubicBezTo>
                    <a:pt x="4" y="10"/>
                    <a:pt x="4" y="11"/>
                    <a:pt x="4" y="12"/>
                  </a:cubicBezTo>
                  <a:cubicBezTo>
                    <a:pt x="5" y="14"/>
                    <a:pt x="9" y="15"/>
                    <a:pt x="11" y="14"/>
                  </a:cubicBezTo>
                  <a:cubicBezTo>
                    <a:pt x="11" y="11"/>
                    <a:pt x="8" y="8"/>
                    <a:pt x="5" y="8"/>
                  </a:cubicBezTo>
                  <a:cubicBezTo>
                    <a:pt x="6" y="6"/>
                    <a:pt x="10" y="6"/>
                    <a:pt x="11" y="5"/>
                  </a:cubicBezTo>
                  <a:cubicBezTo>
                    <a:pt x="13" y="2"/>
                    <a:pt x="9" y="0"/>
                    <a:pt x="7" y="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09" name="Freeform 79">
              <a:extLst>
                <a:ext uri="{FF2B5EF4-FFF2-40B4-BE49-F238E27FC236}">
                  <a16:creationId xmlns:a16="http://schemas.microsoft.com/office/drawing/2014/main" id="{551333EF-A824-4A37-AFF2-748405A1E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138" y="2974975"/>
              <a:ext cx="36513" cy="26988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1" y="11"/>
                </a:cxn>
                <a:cxn ang="0">
                  <a:pos x="8" y="13"/>
                </a:cxn>
                <a:cxn ang="0">
                  <a:pos x="10" y="10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5" y="7"/>
                </a:cxn>
                <a:cxn ang="0">
                  <a:pos x="19" y="1"/>
                </a:cxn>
                <a:cxn ang="0">
                  <a:pos x="11" y="3"/>
                </a:cxn>
                <a:cxn ang="0">
                  <a:pos x="10" y="1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10"/>
                </a:cxn>
                <a:cxn ang="0">
                  <a:pos x="0" y="8"/>
                </a:cxn>
                <a:cxn ang="0">
                  <a:pos x="2" y="9"/>
                </a:cxn>
              </a:cxnLst>
              <a:rect l="0" t="0" r="r" b="b"/>
              <a:pathLst>
                <a:path w="19" h="14">
                  <a:moveTo>
                    <a:pt x="2" y="9"/>
                  </a:moveTo>
                  <a:cubicBezTo>
                    <a:pt x="1" y="8"/>
                    <a:pt x="0" y="10"/>
                    <a:pt x="1" y="11"/>
                  </a:cubicBezTo>
                  <a:cubicBezTo>
                    <a:pt x="2" y="13"/>
                    <a:pt x="6" y="14"/>
                    <a:pt x="8" y="13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9"/>
                    <a:pt x="9" y="7"/>
                    <a:pt x="10" y="7"/>
                  </a:cubicBezTo>
                  <a:cubicBezTo>
                    <a:pt x="11" y="6"/>
                    <a:pt x="13" y="7"/>
                    <a:pt x="13" y="7"/>
                  </a:cubicBezTo>
                  <a:cubicBezTo>
                    <a:pt x="15" y="7"/>
                    <a:pt x="14" y="8"/>
                    <a:pt x="15" y="7"/>
                  </a:cubicBezTo>
                  <a:cubicBezTo>
                    <a:pt x="17" y="5"/>
                    <a:pt x="17" y="3"/>
                    <a:pt x="19" y="1"/>
                  </a:cubicBezTo>
                  <a:cubicBezTo>
                    <a:pt x="17" y="1"/>
                    <a:pt x="10" y="0"/>
                    <a:pt x="11" y="3"/>
                  </a:cubicBezTo>
                  <a:cubicBezTo>
                    <a:pt x="11" y="3"/>
                    <a:pt x="11" y="1"/>
                    <a:pt x="10" y="1"/>
                  </a:cubicBezTo>
                  <a:cubicBezTo>
                    <a:pt x="8" y="0"/>
                    <a:pt x="8" y="3"/>
                    <a:pt x="8" y="4"/>
                  </a:cubicBezTo>
                  <a:cubicBezTo>
                    <a:pt x="8" y="6"/>
                    <a:pt x="7" y="5"/>
                    <a:pt x="6" y="6"/>
                  </a:cubicBezTo>
                  <a:cubicBezTo>
                    <a:pt x="5" y="7"/>
                    <a:pt x="5" y="9"/>
                    <a:pt x="4" y="10"/>
                  </a:cubicBezTo>
                  <a:cubicBezTo>
                    <a:pt x="3" y="9"/>
                    <a:pt x="2" y="8"/>
                    <a:pt x="0" y="8"/>
                  </a:cubicBezTo>
                  <a:lnTo>
                    <a:pt x="2" y="9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0" name="Freeform 80">
              <a:extLst>
                <a:ext uri="{FF2B5EF4-FFF2-40B4-BE49-F238E27FC236}">
                  <a16:creationId xmlns:a16="http://schemas.microsoft.com/office/drawing/2014/main" id="{BCA3C1BD-BFFE-4855-8CCC-511CC2FA1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663" y="3013075"/>
              <a:ext cx="17463" cy="11113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5" y="6"/>
                </a:cxn>
                <a:cxn ang="0">
                  <a:pos x="1" y="1"/>
                </a:cxn>
                <a:cxn ang="0">
                  <a:pos x="3" y="1"/>
                </a:cxn>
              </a:cxnLst>
              <a:rect l="0" t="0" r="r" b="b"/>
              <a:pathLst>
                <a:path w="9" h="6">
                  <a:moveTo>
                    <a:pt x="3" y="1"/>
                  </a:moveTo>
                  <a:cubicBezTo>
                    <a:pt x="3" y="1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4" y="6"/>
                    <a:pt x="5" y="6"/>
                  </a:cubicBezTo>
                  <a:cubicBezTo>
                    <a:pt x="9" y="5"/>
                    <a:pt x="4" y="0"/>
                    <a:pt x="1" y="1"/>
                  </a:cubicBezTo>
                  <a:lnTo>
                    <a:pt x="3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1" name="Freeform 81">
              <a:extLst>
                <a:ext uri="{FF2B5EF4-FFF2-40B4-BE49-F238E27FC236}">
                  <a16:creationId xmlns:a16="http://schemas.microsoft.com/office/drawing/2014/main" id="{140BDAEF-D525-40C1-9015-5264050D2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463" y="3054350"/>
              <a:ext cx="30163" cy="31750"/>
            </a:xfrm>
            <a:custGeom>
              <a:avLst/>
              <a:gdLst/>
              <a:ahLst/>
              <a:cxnLst>
                <a:cxn ang="0">
                  <a:pos x="11" y="6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9" y="15"/>
                </a:cxn>
                <a:cxn ang="0">
                  <a:pos x="13" y="16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8" y="5"/>
                </a:cxn>
                <a:cxn ang="0">
                  <a:pos x="11" y="6"/>
                </a:cxn>
              </a:cxnLst>
              <a:rect l="0" t="0" r="r" b="b"/>
              <a:pathLst>
                <a:path w="16" h="17">
                  <a:moveTo>
                    <a:pt x="11" y="6"/>
                  </a:moveTo>
                  <a:cubicBezTo>
                    <a:pt x="12" y="3"/>
                    <a:pt x="7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0" y="0"/>
                    <a:pt x="0" y="3"/>
                  </a:cubicBezTo>
                  <a:cubicBezTo>
                    <a:pt x="0" y="8"/>
                    <a:pt x="4" y="13"/>
                    <a:pt x="9" y="15"/>
                  </a:cubicBezTo>
                  <a:cubicBezTo>
                    <a:pt x="10" y="16"/>
                    <a:pt x="12" y="17"/>
                    <a:pt x="13" y="16"/>
                  </a:cubicBezTo>
                  <a:cubicBezTo>
                    <a:pt x="14" y="15"/>
                    <a:pt x="12" y="12"/>
                    <a:pt x="13" y="11"/>
                  </a:cubicBezTo>
                  <a:cubicBezTo>
                    <a:pt x="13" y="11"/>
                    <a:pt x="14" y="11"/>
                    <a:pt x="15" y="11"/>
                  </a:cubicBezTo>
                  <a:cubicBezTo>
                    <a:pt x="16" y="9"/>
                    <a:pt x="9" y="6"/>
                    <a:pt x="8" y="5"/>
                  </a:cubicBezTo>
                  <a:lnTo>
                    <a:pt x="11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2" name="Freeform 82">
              <a:extLst>
                <a:ext uri="{FF2B5EF4-FFF2-40B4-BE49-F238E27FC236}">
                  <a16:creationId xmlns:a16="http://schemas.microsoft.com/office/drawing/2014/main" id="{889E84F0-8F4E-4AFB-AF45-40AE2B35D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6738" y="3063875"/>
              <a:ext cx="14288" cy="26988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3" y="2"/>
                </a:cxn>
                <a:cxn ang="0">
                  <a:pos x="1" y="6"/>
                </a:cxn>
                <a:cxn ang="0">
                  <a:pos x="0" y="11"/>
                </a:cxn>
                <a:cxn ang="0">
                  <a:pos x="5" y="12"/>
                </a:cxn>
                <a:cxn ang="0">
                  <a:pos x="4" y="5"/>
                </a:cxn>
                <a:cxn ang="0">
                  <a:pos x="5" y="0"/>
                </a:cxn>
                <a:cxn ang="0">
                  <a:pos x="6" y="3"/>
                </a:cxn>
              </a:cxnLst>
              <a:rect l="0" t="0" r="r" b="b"/>
              <a:pathLst>
                <a:path w="8" h="15">
                  <a:moveTo>
                    <a:pt x="6" y="3"/>
                  </a:moveTo>
                  <a:cubicBezTo>
                    <a:pt x="6" y="2"/>
                    <a:pt x="4" y="2"/>
                    <a:pt x="3" y="2"/>
                  </a:cubicBezTo>
                  <a:cubicBezTo>
                    <a:pt x="2" y="3"/>
                    <a:pt x="1" y="4"/>
                    <a:pt x="1" y="6"/>
                  </a:cubicBezTo>
                  <a:cubicBezTo>
                    <a:pt x="1" y="7"/>
                    <a:pt x="0" y="9"/>
                    <a:pt x="0" y="11"/>
                  </a:cubicBezTo>
                  <a:cubicBezTo>
                    <a:pt x="0" y="14"/>
                    <a:pt x="4" y="15"/>
                    <a:pt x="5" y="12"/>
                  </a:cubicBezTo>
                  <a:cubicBezTo>
                    <a:pt x="6" y="9"/>
                    <a:pt x="3" y="7"/>
                    <a:pt x="4" y="5"/>
                  </a:cubicBezTo>
                  <a:cubicBezTo>
                    <a:pt x="8" y="4"/>
                    <a:pt x="7" y="3"/>
                    <a:pt x="5" y="0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3" name="Freeform 83">
              <a:extLst>
                <a:ext uri="{FF2B5EF4-FFF2-40B4-BE49-F238E27FC236}">
                  <a16:creationId xmlns:a16="http://schemas.microsoft.com/office/drawing/2014/main" id="{AFDB9BFD-7166-408D-A8CB-29DB89DDA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8825" y="2697163"/>
              <a:ext cx="28575" cy="60325"/>
            </a:xfrm>
            <a:custGeom>
              <a:avLst/>
              <a:gdLst/>
              <a:ahLst/>
              <a:cxnLst>
                <a:cxn ang="0">
                  <a:pos x="11" y="5"/>
                </a:cxn>
                <a:cxn ang="0">
                  <a:pos x="10" y="1"/>
                </a:cxn>
                <a:cxn ang="0">
                  <a:pos x="1" y="8"/>
                </a:cxn>
                <a:cxn ang="0">
                  <a:pos x="3" y="11"/>
                </a:cxn>
                <a:cxn ang="0">
                  <a:pos x="1" y="14"/>
                </a:cxn>
                <a:cxn ang="0">
                  <a:pos x="2" y="21"/>
                </a:cxn>
                <a:cxn ang="0">
                  <a:pos x="3" y="27"/>
                </a:cxn>
                <a:cxn ang="0">
                  <a:pos x="4" y="29"/>
                </a:cxn>
                <a:cxn ang="0">
                  <a:pos x="8" y="32"/>
                </a:cxn>
                <a:cxn ang="0">
                  <a:pos x="11" y="29"/>
                </a:cxn>
                <a:cxn ang="0">
                  <a:pos x="11" y="24"/>
                </a:cxn>
                <a:cxn ang="0">
                  <a:pos x="12" y="20"/>
                </a:cxn>
                <a:cxn ang="0">
                  <a:pos x="11" y="16"/>
                </a:cxn>
                <a:cxn ang="0">
                  <a:pos x="10" y="12"/>
                </a:cxn>
                <a:cxn ang="0">
                  <a:pos x="14" y="6"/>
                </a:cxn>
                <a:cxn ang="0">
                  <a:pos x="9" y="1"/>
                </a:cxn>
                <a:cxn ang="0">
                  <a:pos x="11" y="5"/>
                </a:cxn>
              </a:cxnLst>
              <a:rect l="0" t="0" r="r" b="b"/>
              <a:pathLst>
                <a:path w="15" h="32">
                  <a:moveTo>
                    <a:pt x="11" y="5"/>
                  </a:moveTo>
                  <a:cubicBezTo>
                    <a:pt x="13" y="4"/>
                    <a:pt x="12" y="2"/>
                    <a:pt x="10" y="1"/>
                  </a:cubicBezTo>
                  <a:cubicBezTo>
                    <a:pt x="6" y="0"/>
                    <a:pt x="1" y="4"/>
                    <a:pt x="1" y="8"/>
                  </a:cubicBezTo>
                  <a:cubicBezTo>
                    <a:pt x="0" y="10"/>
                    <a:pt x="2" y="9"/>
                    <a:pt x="3" y="11"/>
                  </a:cubicBezTo>
                  <a:cubicBezTo>
                    <a:pt x="3" y="12"/>
                    <a:pt x="2" y="14"/>
                    <a:pt x="1" y="14"/>
                  </a:cubicBezTo>
                  <a:cubicBezTo>
                    <a:pt x="0" y="16"/>
                    <a:pt x="1" y="19"/>
                    <a:pt x="2" y="21"/>
                  </a:cubicBezTo>
                  <a:cubicBezTo>
                    <a:pt x="2" y="23"/>
                    <a:pt x="3" y="25"/>
                    <a:pt x="3" y="27"/>
                  </a:cubicBezTo>
                  <a:cubicBezTo>
                    <a:pt x="4" y="29"/>
                    <a:pt x="3" y="28"/>
                    <a:pt x="4" y="29"/>
                  </a:cubicBezTo>
                  <a:cubicBezTo>
                    <a:pt x="5" y="30"/>
                    <a:pt x="7" y="31"/>
                    <a:pt x="8" y="32"/>
                  </a:cubicBezTo>
                  <a:cubicBezTo>
                    <a:pt x="10" y="32"/>
                    <a:pt x="10" y="31"/>
                    <a:pt x="11" y="29"/>
                  </a:cubicBezTo>
                  <a:cubicBezTo>
                    <a:pt x="11" y="27"/>
                    <a:pt x="11" y="25"/>
                    <a:pt x="11" y="24"/>
                  </a:cubicBezTo>
                  <a:cubicBezTo>
                    <a:pt x="11" y="23"/>
                    <a:pt x="12" y="22"/>
                    <a:pt x="12" y="20"/>
                  </a:cubicBezTo>
                  <a:cubicBezTo>
                    <a:pt x="12" y="18"/>
                    <a:pt x="12" y="17"/>
                    <a:pt x="11" y="16"/>
                  </a:cubicBezTo>
                  <a:cubicBezTo>
                    <a:pt x="11" y="15"/>
                    <a:pt x="10" y="13"/>
                    <a:pt x="10" y="12"/>
                  </a:cubicBezTo>
                  <a:cubicBezTo>
                    <a:pt x="10" y="10"/>
                    <a:pt x="13" y="8"/>
                    <a:pt x="14" y="6"/>
                  </a:cubicBezTo>
                  <a:cubicBezTo>
                    <a:pt x="15" y="3"/>
                    <a:pt x="10" y="3"/>
                    <a:pt x="9" y="1"/>
                  </a:cubicBezTo>
                  <a:lnTo>
                    <a:pt x="11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4" name="Freeform 84">
              <a:extLst>
                <a:ext uri="{FF2B5EF4-FFF2-40B4-BE49-F238E27FC236}">
                  <a16:creationId xmlns:a16="http://schemas.microsoft.com/office/drawing/2014/main" id="{492BBD86-F194-4146-BD5A-74897CDA5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575" y="2724150"/>
              <a:ext cx="11113" cy="1270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5" y="6"/>
                </a:cxn>
                <a:cxn ang="0">
                  <a:pos x="3" y="7"/>
                </a:cxn>
                <a:cxn ang="0">
                  <a:pos x="1" y="5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6" y="0"/>
                    <a:pt x="6" y="4"/>
                    <a:pt x="5" y="6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2" y="7"/>
                    <a:pt x="1" y="6"/>
                    <a:pt x="1" y="5"/>
                  </a:cubicBezTo>
                  <a:cubicBezTo>
                    <a:pt x="0" y="3"/>
                    <a:pt x="2" y="0"/>
                    <a:pt x="5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5" name="Freeform 85">
              <a:extLst>
                <a:ext uri="{FF2B5EF4-FFF2-40B4-BE49-F238E27FC236}">
                  <a16:creationId xmlns:a16="http://schemas.microsoft.com/office/drawing/2014/main" id="{1FC221AD-D254-467D-9163-F2D226C12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8025" y="2706688"/>
              <a:ext cx="82550" cy="173038"/>
            </a:xfrm>
            <a:custGeom>
              <a:avLst/>
              <a:gdLst/>
              <a:ahLst/>
              <a:cxnLst>
                <a:cxn ang="0">
                  <a:pos x="36" y="35"/>
                </a:cxn>
                <a:cxn ang="0">
                  <a:pos x="44" y="37"/>
                </a:cxn>
                <a:cxn ang="0">
                  <a:pos x="41" y="34"/>
                </a:cxn>
                <a:cxn ang="0">
                  <a:pos x="33" y="33"/>
                </a:cxn>
                <a:cxn ang="0">
                  <a:pos x="30" y="32"/>
                </a:cxn>
                <a:cxn ang="0">
                  <a:pos x="28" y="26"/>
                </a:cxn>
                <a:cxn ang="0">
                  <a:pos x="20" y="26"/>
                </a:cxn>
                <a:cxn ang="0">
                  <a:pos x="20" y="16"/>
                </a:cxn>
                <a:cxn ang="0">
                  <a:pos x="21" y="12"/>
                </a:cxn>
                <a:cxn ang="0">
                  <a:pos x="6" y="20"/>
                </a:cxn>
                <a:cxn ang="0">
                  <a:pos x="9" y="25"/>
                </a:cxn>
                <a:cxn ang="0">
                  <a:pos x="12" y="28"/>
                </a:cxn>
                <a:cxn ang="0">
                  <a:pos x="13" y="32"/>
                </a:cxn>
                <a:cxn ang="0">
                  <a:pos x="16" y="36"/>
                </a:cxn>
                <a:cxn ang="0">
                  <a:pos x="13" y="41"/>
                </a:cxn>
                <a:cxn ang="0">
                  <a:pos x="11" y="44"/>
                </a:cxn>
                <a:cxn ang="0">
                  <a:pos x="4" y="41"/>
                </a:cxn>
                <a:cxn ang="0">
                  <a:pos x="0" y="44"/>
                </a:cxn>
                <a:cxn ang="0">
                  <a:pos x="3" y="48"/>
                </a:cxn>
                <a:cxn ang="0">
                  <a:pos x="6" y="54"/>
                </a:cxn>
                <a:cxn ang="0">
                  <a:pos x="21" y="54"/>
                </a:cxn>
                <a:cxn ang="0">
                  <a:pos x="21" y="67"/>
                </a:cxn>
                <a:cxn ang="0">
                  <a:pos x="20" y="80"/>
                </a:cxn>
                <a:cxn ang="0">
                  <a:pos x="20" y="92"/>
                </a:cxn>
                <a:cxn ang="0">
                  <a:pos x="25" y="82"/>
                </a:cxn>
                <a:cxn ang="0">
                  <a:pos x="28" y="68"/>
                </a:cxn>
                <a:cxn ang="0">
                  <a:pos x="30" y="61"/>
                </a:cxn>
                <a:cxn ang="0">
                  <a:pos x="36" y="62"/>
                </a:cxn>
                <a:cxn ang="0">
                  <a:pos x="33" y="58"/>
                </a:cxn>
                <a:cxn ang="0">
                  <a:pos x="29" y="52"/>
                </a:cxn>
                <a:cxn ang="0">
                  <a:pos x="34" y="44"/>
                </a:cxn>
                <a:cxn ang="0">
                  <a:pos x="33" y="38"/>
                </a:cxn>
                <a:cxn ang="0">
                  <a:pos x="37" y="34"/>
                </a:cxn>
              </a:cxnLst>
              <a:rect l="0" t="0" r="r" b="b"/>
              <a:pathLst>
                <a:path w="44" h="93">
                  <a:moveTo>
                    <a:pt x="37" y="34"/>
                  </a:moveTo>
                  <a:cubicBezTo>
                    <a:pt x="37" y="35"/>
                    <a:pt x="37" y="35"/>
                    <a:pt x="36" y="35"/>
                  </a:cubicBezTo>
                  <a:cubicBezTo>
                    <a:pt x="36" y="35"/>
                    <a:pt x="36" y="37"/>
                    <a:pt x="36" y="38"/>
                  </a:cubicBezTo>
                  <a:cubicBezTo>
                    <a:pt x="38" y="38"/>
                    <a:pt x="43" y="39"/>
                    <a:pt x="44" y="37"/>
                  </a:cubicBezTo>
                  <a:cubicBezTo>
                    <a:pt x="43" y="37"/>
                    <a:pt x="42" y="37"/>
                    <a:pt x="42" y="36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0" y="33"/>
                    <a:pt x="35" y="32"/>
                    <a:pt x="35" y="35"/>
                  </a:cubicBezTo>
                  <a:cubicBezTo>
                    <a:pt x="34" y="35"/>
                    <a:pt x="33" y="34"/>
                    <a:pt x="33" y="33"/>
                  </a:cubicBezTo>
                  <a:cubicBezTo>
                    <a:pt x="32" y="32"/>
                    <a:pt x="33" y="32"/>
                    <a:pt x="33" y="31"/>
                  </a:cubicBezTo>
                  <a:cubicBezTo>
                    <a:pt x="32" y="31"/>
                    <a:pt x="29" y="30"/>
                    <a:pt x="30" y="32"/>
                  </a:cubicBezTo>
                  <a:cubicBezTo>
                    <a:pt x="30" y="31"/>
                    <a:pt x="30" y="30"/>
                    <a:pt x="30" y="29"/>
                  </a:cubicBezTo>
                  <a:cubicBezTo>
                    <a:pt x="30" y="27"/>
                    <a:pt x="30" y="27"/>
                    <a:pt x="28" y="26"/>
                  </a:cubicBezTo>
                  <a:cubicBezTo>
                    <a:pt x="24" y="25"/>
                    <a:pt x="22" y="25"/>
                    <a:pt x="22" y="30"/>
                  </a:cubicBezTo>
                  <a:cubicBezTo>
                    <a:pt x="22" y="28"/>
                    <a:pt x="20" y="27"/>
                    <a:pt x="20" y="26"/>
                  </a:cubicBezTo>
                  <a:cubicBezTo>
                    <a:pt x="19" y="25"/>
                    <a:pt x="20" y="22"/>
                    <a:pt x="20" y="21"/>
                  </a:cubicBezTo>
                  <a:cubicBezTo>
                    <a:pt x="20" y="19"/>
                    <a:pt x="19" y="18"/>
                    <a:pt x="20" y="16"/>
                  </a:cubicBezTo>
                  <a:cubicBezTo>
                    <a:pt x="20" y="16"/>
                    <a:pt x="20" y="16"/>
                    <a:pt x="21" y="15"/>
                  </a:cubicBezTo>
                  <a:cubicBezTo>
                    <a:pt x="21" y="14"/>
                    <a:pt x="21" y="13"/>
                    <a:pt x="21" y="12"/>
                  </a:cubicBezTo>
                  <a:cubicBezTo>
                    <a:pt x="21" y="0"/>
                    <a:pt x="8" y="20"/>
                    <a:pt x="10" y="21"/>
                  </a:cubicBezTo>
                  <a:cubicBezTo>
                    <a:pt x="9" y="21"/>
                    <a:pt x="7" y="20"/>
                    <a:pt x="6" y="20"/>
                  </a:cubicBezTo>
                  <a:cubicBezTo>
                    <a:pt x="6" y="21"/>
                    <a:pt x="6" y="22"/>
                    <a:pt x="6" y="22"/>
                  </a:cubicBezTo>
                  <a:cubicBezTo>
                    <a:pt x="6" y="24"/>
                    <a:pt x="8" y="24"/>
                    <a:pt x="9" y="25"/>
                  </a:cubicBezTo>
                  <a:cubicBezTo>
                    <a:pt x="9" y="25"/>
                    <a:pt x="8" y="26"/>
                    <a:pt x="9" y="26"/>
                  </a:cubicBezTo>
                  <a:cubicBezTo>
                    <a:pt x="10" y="28"/>
                    <a:pt x="10" y="27"/>
                    <a:pt x="12" y="28"/>
                  </a:cubicBezTo>
                  <a:cubicBezTo>
                    <a:pt x="14" y="28"/>
                    <a:pt x="13" y="28"/>
                    <a:pt x="14" y="29"/>
                  </a:cubicBezTo>
                  <a:cubicBezTo>
                    <a:pt x="14" y="30"/>
                    <a:pt x="13" y="31"/>
                    <a:pt x="13" y="32"/>
                  </a:cubicBezTo>
                  <a:cubicBezTo>
                    <a:pt x="14" y="33"/>
                    <a:pt x="14" y="33"/>
                    <a:pt x="15" y="35"/>
                  </a:cubicBezTo>
                  <a:cubicBezTo>
                    <a:pt x="16" y="35"/>
                    <a:pt x="16" y="35"/>
                    <a:pt x="16" y="36"/>
                  </a:cubicBezTo>
                  <a:cubicBezTo>
                    <a:pt x="15" y="36"/>
                    <a:pt x="12" y="35"/>
                    <a:pt x="11" y="36"/>
                  </a:cubicBezTo>
                  <a:cubicBezTo>
                    <a:pt x="11" y="37"/>
                    <a:pt x="12" y="40"/>
                    <a:pt x="13" y="41"/>
                  </a:cubicBezTo>
                  <a:cubicBezTo>
                    <a:pt x="12" y="42"/>
                    <a:pt x="11" y="41"/>
                    <a:pt x="11" y="42"/>
                  </a:cubicBezTo>
                  <a:cubicBezTo>
                    <a:pt x="10" y="42"/>
                    <a:pt x="11" y="43"/>
                    <a:pt x="11" y="44"/>
                  </a:cubicBezTo>
                  <a:cubicBezTo>
                    <a:pt x="9" y="44"/>
                    <a:pt x="6" y="45"/>
                    <a:pt x="5" y="44"/>
                  </a:cubicBezTo>
                  <a:cubicBezTo>
                    <a:pt x="3" y="44"/>
                    <a:pt x="4" y="43"/>
                    <a:pt x="4" y="41"/>
                  </a:cubicBezTo>
                  <a:cubicBezTo>
                    <a:pt x="4" y="40"/>
                    <a:pt x="2" y="38"/>
                    <a:pt x="0" y="40"/>
                  </a:cubicBezTo>
                  <a:cubicBezTo>
                    <a:pt x="0" y="40"/>
                    <a:pt x="0" y="43"/>
                    <a:pt x="0" y="44"/>
                  </a:cubicBezTo>
                  <a:cubicBezTo>
                    <a:pt x="0" y="45"/>
                    <a:pt x="0" y="47"/>
                    <a:pt x="0" y="47"/>
                  </a:cubicBezTo>
                  <a:cubicBezTo>
                    <a:pt x="1" y="48"/>
                    <a:pt x="2" y="47"/>
                    <a:pt x="3" y="48"/>
                  </a:cubicBezTo>
                  <a:cubicBezTo>
                    <a:pt x="5" y="49"/>
                    <a:pt x="4" y="50"/>
                    <a:pt x="4" y="51"/>
                  </a:cubicBezTo>
                  <a:cubicBezTo>
                    <a:pt x="4" y="52"/>
                    <a:pt x="5" y="53"/>
                    <a:pt x="6" y="54"/>
                  </a:cubicBezTo>
                  <a:cubicBezTo>
                    <a:pt x="9" y="56"/>
                    <a:pt x="11" y="54"/>
                    <a:pt x="14" y="55"/>
                  </a:cubicBezTo>
                  <a:cubicBezTo>
                    <a:pt x="14" y="60"/>
                    <a:pt x="20" y="57"/>
                    <a:pt x="21" y="54"/>
                  </a:cubicBezTo>
                  <a:cubicBezTo>
                    <a:pt x="21" y="57"/>
                    <a:pt x="20" y="60"/>
                    <a:pt x="20" y="63"/>
                  </a:cubicBezTo>
                  <a:cubicBezTo>
                    <a:pt x="20" y="64"/>
                    <a:pt x="21" y="66"/>
                    <a:pt x="21" y="67"/>
                  </a:cubicBezTo>
                  <a:cubicBezTo>
                    <a:pt x="20" y="69"/>
                    <a:pt x="18" y="70"/>
                    <a:pt x="17" y="72"/>
                  </a:cubicBezTo>
                  <a:cubicBezTo>
                    <a:pt x="17" y="76"/>
                    <a:pt x="20" y="77"/>
                    <a:pt x="20" y="80"/>
                  </a:cubicBezTo>
                  <a:cubicBezTo>
                    <a:pt x="19" y="83"/>
                    <a:pt x="19" y="86"/>
                    <a:pt x="19" y="89"/>
                  </a:cubicBezTo>
                  <a:cubicBezTo>
                    <a:pt x="19" y="90"/>
                    <a:pt x="19" y="91"/>
                    <a:pt x="20" y="92"/>
                  </a:cubicBezTo>
                  <a:cubicBezTo>
                    <a:pt x="21" y="93"/>
                    <a:pt x="22" y="92"/>
                    <a:pt x="23" y="91"/>
                  </a:cubicBezTo>
                  <a:cubicBezTo>
                    <a:pt x="25" y="88"/>
                    <a:pt x="26" y="86"/>
                    <a:pt x="25" y="82"/>
                  </a:cubicBezTo>
                  <a:cubicBezTo>
                    <a:pt x="24" y="80"/>
                    <a:pt x="25" y="78"/>
                    <a:pt x="25" y="76"/>
                  </a:cubicBezTo>
                  <a:cubicBezTo>
                    <a:pt x="25" y="73"/>
                    <a:pt x="25" y="70"/>
                    <a:pt x="28" y="68"/>
                  </a:cubicBezTo>
                  <a:cubicBezTo>
                    <a:pt x="29" y="68"/>
                    <a:pt x="31" y="67"/>
                    <a:pt x="31" y="65"/>
                  </a:cubicBezTo>
                  <a:cubicBezTo>
                    <a:pt x="30" y="64"/>
                    <a:pt x="29" y="63"/>
                    <a:pt x="30" y="61"/>
                  </a:cubicBezTo>
                  <a:cubicBezTo>
                    <a:pt x="32" y="61"/>
                    <a:pt x="31" y="63"/>
                    <a:pt x="32" y="64"/>
                  </a:cubicBezTo>
                  <a:cubicBezTo>
                    <a:pt x="33" y="65"/>
                    <a:pt x="35" y="63"/>
                    <a:pt x="36" y="62"/>
                  </a:cubicBezTo>
                  <a:cubicBezTo>
                    <a:pt x="37" y="60"/>
                    <a:pt x="39" y="58"/>
                    <a:pt x="37" y="57"/>
                  </a:cubicBezTo>
                  <a:cubicBezTo>
                    <a:pt x="36" y="56"/>
                    <a:pt x="33" y="56"/>
                    <a:pt x="33" y="58"/>
                  </a:cubicBezTo>
                  <a:cubicBezTo>
                    <a:pt x="32" y="58"/>
                    <a:pt x="32" y="57"/>
                    <a:pt x="31" y="56"/>
                  </a:cubicBezTo>
                  <a:cubicBezTo>
                    <a:pt x="31" y="55"/>
                    <a:pt x="28" y="53"/>
                    <a:pt x="29" y="52"/>
                  </a:cubicBezTo>
                  <a:cubicBezTo>
                    <a:pt x="31" y="51"/>
                    <a:pt x="34" y="52"/>
                    <a:pt x="36" y="50"/>
                  </a:cubicBezTo>
                  <a:cubicBezTo>
                    <a:pt x="37" y="48"/>
                    <a:pt x="33" y="46"/>
                    <a:pt x="34" y="44"/>
                  </a:cubicBezTo>
                  <a:cubicBezTo>
                    <a:pt x="34" y="43"/>
                    <a:pt x="34" y="43"/>
                    <a:pt x="34" y="42"/>
                  </a:cubicBezTo>
                  <a:cubicBezTo>
                    <a:pt x="35" y="40"/>
                    <a:pt x="34" y="39"/>
                    <a:pt x="33" y="38"/>
                  </a:cubicBezTo>
                  <a:cubicBezTo>
                    <a:pt x="33" y="38"/>
                    <a:pt x="34" y="37"/>
                    <a:pt x="35" y="37"/>
                  </a:cubicBezTo>
                  <a:lnTo>
                    <a:pt x="37" y="34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6" name="Freeform 86">
              <a:extLst>
                <a:ext uri="{FF2B5EF4-FFF2-40B4-BE49-F238E27FC236}">
                  <a16:creationId xmlns:a16="http://schemas.microsoft.com/office/drawing/2014/main" id="{9DED3959-5AF8-42C6-BA10-15B529F77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813" y="2676525"/>
              <a:ext cx="20638" cy="39688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1" y="11"/>
                </a:cxn>
                <a:cxn ang="0">
                  <a:pos x="1" y="18"/>
                </a:cxn>
                <a:cxn ang="0">
                  <a:pos x="8" y="15"/>
                </a:cxn>
                <a:cxn ang="0">
                  <a:pos x="9" y="0"/>
                </a:cxn>
                <a:cxn ang="0">
                  <a:pos x="9" y="2"/>
                </a:cxn>
              </a:cxnLst>
              <a:rect l="0" t="0" r="r" b="b"/>
              <a:pathLst>
                <a:path w="11" h="21">
                  <a:moveTo>
                    <a:pt x="9" y="2"/>
                  </a:moveTo>
                  <a:cubicBezTo>
                    <a:pt x="4" y="2"/>
                    <a:pt x="1" y="7"/>
                    <a:pt x="1" y="11"/>
                  </a:cubicBezTo>
                  <a:cubicBezTo>
                    <a:pt x="1" y="13"/>
                    <a:pt x="0" y="17"/>
                    <a:pt x="1" y="18"/>
                  </a:cubicBezTo>
                  <a:cubicBezTo>
                    <a:pt x="3" y="21"/>
                    <a:pt x="7" y="17"/>
                    <a:pt x="8" y="15"/>
                  </a:cubicBezTo>
                  <a:cubicBezTo>
                    <a:pt x="10" y="11"/>
                    <a:pt x="11" y="6"/>
                    <a:pt x="9" y="0"/>
                  </a:cubicBezTo>
                  <a:lnTo>
                    <a:pt x="9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7" name="Line 87">
              <a:extLst>
                <a:ext uri="{FF2B5EF4-FFF2-40B4-BE49-F238E27FC236}">
                  <a16:creationId xmlns:a16="http://schemas.microsoft.com/office/drawing/2014/main" id="{310C060A-9272-43EB-BFFF-FA174F2697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8" name="Line 88">
              <a:extLst>
                <a:ext uri="{FF2B5EF4-FFF2-40B4-BE49-F238E27FC236}">
                  <a16:creationId xmlns:a16="http://schemas.microsoft.com/office/drawing/2014/main" id="{C804A228-6E8C-4BB0-A1D3-774AC892DD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19" name="Freeform 89">
              <a:extLst>
                <a:ext uri="{FF2B5EF4-FFF2-40B4-BE49-F238E27FC236}">
                  <a16:creationId xmlns:a16="http://schemas.microsoft.com/office/drawing/2014/main" id="{9030C7C9-18D6-4E74-B213-9454B065F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8738" y="3735388"/>
              <a:ext cx="263525" cy="222250"/>
            </a:xfrm>
            <a:custGeom>
              <a:avLst/>
              <a:gdLst/>
              <a:ahLst/>
              <a:cxnLst>
                <a:cxn ang="0">
                  <a:pos x="140" y="68"/>
                </a:cxn>
                <a:cxn ang="0">
                  <a:pos x="135" y="48"/>
                </a:cxn>
                <a:cxn ang="0">
                  <a:pos x="127" y="45"/>
                </a:cxn>
                <a:cxn ang="0">
                  <a:pos x="118" y="42"/>
                </a:cxn>
                <a:cxn ang="0">
                  <a:pos x="107" y="16"/>
                </a:cxn>
                <a:cxn ang="0">
                  <a:pos x="90" y="6"/>
                </a:cxn>
                <a:cxn ang="0">
                  <a:pos x="78" y="1"/>
                </a:cxn>
                <a:cxn ang="0">
                  <a:pos x="73" y="0"/>
                </a:cxn>
                <a:cxn ang="0">
                  <a:pos x="61" y="6"/>
                </a:cxn>
                <a:cxn ang="0">
                  <a:pos x="58" y="13"/>
                </a:cxn>
                <a:cxn ang="0">
                  <a:pos x="55" y="16"/>
                </a:cxn>
                <a:cxn ang="0">
                  <a:pos x="50" y="21"/>
                </a:cxn>
                <a:cxn ang="0">
                  <a:pos x="41" y="26"/>
                </a:cxn>
                <a:cxn ang="0">
                  <a:pos x="35" y="36"/>
                </a:cxn>
                <a:cxn ang="0">
                  <a:pos x="31" y="44"/>
                </a:cxn>
                <a:cxn ang="0">
                  <a:pos x="24" y="53"/>
                </a:cxn>
                <a:cxn ang="0">
                  <a:pos x="11" y="55"/>
                </a:cxn>
                <a:cxn ang="0">
                  <a:pos x="11" y="61"/>
                </a:cxn>
                <a:cxn ang="0">
                  <a:pos x="19" y="63"/>
                </a:cxn>
                <a:cxn ang="0">
                  <a:pos x="14" y="68"/>
                </a:cxn>
                <a:cxn ang="0">
                  <a:pos x="3" y="76"/>
                </a:cxn>
                <a:cxn ang="0">
                  <a:pos x="1" y="86"/>
                </a:cxn>
                <a:cxn ang="0">
                  <a:pos x="6" y="90"/>
                </a:cxn>
                <a:cxn ang="0">
                  <a:pos x="7" y="94"/>
                </a:cxn>
                <a:cxn ang="0">
                  <a:pos x="11" y="100"/>
                </a:cxn>
                <a:cxn ang="0">
                  <a:pos x="22" y="103"/>
                </a:cxn>
                <a:cxn ang="0">
                  <a:pos x="25" y="106"/>
                </a:cxn>
                <a:cxn ang="0">
                  <a:pos x="35" y="109"/>
                </a:cxn>
                <a:cxn ang="0">
                  <a:pos x="42" y="104"/>
                </a:cxn>
                <a:cxn ang="0">
                  <a:pos x="49" y="97"/>
                </a:cxn>
                <a:cxn ang="0">
                  <a:pos x="50" y="89"/>
                </a:cxn>
                <a:cxn ang="0">
                  <a:pos x="58" y="84"/>
                </a:cxn>
                <a:cxn ang="0">
                  <a:pos x="66" y="95"/>
                </a:cxn>
                <a:cxn ang="0">
                  <a:pos x="71" y="102"/>
                </a:cxn>
                <a:cxn ang="0">
                  <a:pos x="76" y="113"/>
                </a:cxn>
                <a:cxn ang="0">
                  <a:pos x="85" y="116"/>
                </a:cxn>
                <a:cxn ang="0">
                  <a:pos x="89" y="113"/>
                </a:cxn>
                <a:cxn ang="0">
                  <a:pos x="95" y="112"/>
                </a:cxn>
                <a:cxn ang="0">
                  <a:pos x="104" y="116"/>
                </a:cxn>
                <a:cxn ang="0">
                  <a:pos x="110" y="117"/>
                </a:cxn>
                <a:cxn ang="0">
                  <a:pos x="117" y="99"/>
                </a:cxn>
                <a:cxn ang="0">
                  <a:pos x="132" y="94"/>
                </a:cxn>
                <a:cxn ang="0">
                  <a:pos x="140" y="77"/>
                </a:cxn>
              </a:cxnLst>
              <a:rect l="0" t="0" r="r" b="b"/>
              <a:pathLst>
                <a:path w="141" h="119">
                  <a:moveTo>
                    <a:pt x="140" y="77"/>
                  </a:moveTo>
                  <a:cubicBezTo>
                    <a:pt x="140" y="74"/>
                    <a:pt x="141" y="71"/>
                    <a:pt x="140" y="68"/>
                  </a:cubicBezTo>
                  <a:cubicBezTo>
                    <a:pt x="139" y="65"/>
                    <a:pt x="135" y="62"/>
                    <a:pt x="133" y="62"/>
                  </a:cubicBezTo>
                  <a:cubicBezTo>
                    <a:pt x="132" y="57"/>
                    <a:pt x="137" y="53"/>
                    <a:pt x="135" y="48"/>
                  </a:cubicBezTo>
                  <a:cubicBezTo>
                    <a:pt x="134" y="48"/>
                    <a:pt x="132" y="48"/>
                    <a:pt x="131" y="47"/>
                  </a:cubicBezTo>
                  <a:cubicBezTo>
                    <a:pt x="128" y="46"/>
                    <a:pt x="129" y="47"/>
                    <a:pt x="127" y="45"/>
                  </a:cubicBezTo>
                  <a:cubicBezTo>
                    <a:pt x="126" y="43"/>
                    <a:pt x="125" y="41"/>
                    <a:pt x="122" y="41"/>
                  </a:cubicBezTo>
                  <a:cubicBezTo>
                    <a:pt x="120" y="41"/>
                    <a:pt x="120" y="43"/>
                    <a:pt x="118" y="42"/>
                  </a:cubicBezTo>
                  <a:cubicBezTo>
                    <a:pt x="118" y="38"/>
                    <a:pt x="114" y="34"/>
                    <a:pt x="112" y="30"/>
                  </a:cubicBezTo>
                  <a:cubicBezTo>
                    <a:pt x="109" y="25"/>
                    <a:pt x="107" y="22"/>
                    <a:pt x="107" y="16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06" y="6"/>
                    <a:pt x="97" y="5"/>
                    <a:pt x="90" y="6"/>
                  </a:cubicBezTo>
                  <a:cubicBezTo>
                    <a:pt x="86" y="6"/>
                    <a:pt x="85" y="8"/>
                    <a:pt x="82" y="8"/>
                  </a:cubicBezTo>
                  <a:cubicBezTo>
                    <a:pt x="77" y="9"/>
                    <a:pt x="78" y="4"/>
                    <a:pt x="78" y="1"/>
                  </a:cubicBezTo>
                  <a:cubicBezTo>
                    <a:pt x="76" y="0"/>
                    <a:pt x="75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2"/>
                    <a:pt x="68" y="2"/>
                    <a:pt x="66" y="3"/>
                  </a:cubicBezTo>
                  <a:cubicBezTo>
                    <a:pt x="64" y="3"/>
                    <a:pt x="63" y="5"/>
                    <a:pt x="61" y="6"/>
                  </a:cubicBezTo>
                  <a:cubicBezTo>
                    <a:pt x="60" y="7"/>
                    <a:pt x="58" y="9"/>
                    <a:pt x="58" y="10"/>
                  </a:cubicBezTo>
                  <a:cubicBezTo>
                    <a:pt x="58" y="11"/>
                    <a:pt x="58" y="12"/>
                    <a:pt x="58" y="13"/>
                  </a:cubicBezTo>
                  <a:cubicBezTo>
                    <a:pt x="57" y="13"/>
                    <a:pt x="57" y="13"/>
                    <a:pt x="56" y="13"/>
                  </a:cubicBezTo>
                  <a:cubicBezTo>
                    <a:pt x="56" y="14"/>
                    <a:pt x="56" y="15"/>
                    <a:pt x="55" y="16"/>
                  </a:cubicBezTo>
                  <a:cubicBezTo>
                    <a:pt x="55" y="16"/>
                    <a:pt x="54" y="18"/>
                    <a:pt x="54" y="18"/>
                  </a:cubicBezTo>
                  <a:cubicBezTo>
                    <a:pt x="53" y="19"/>
                    <a:pt x="51" y="20"/>
                    <a:pt x="50" y="21"/>
                  </a:cubicBezTo>
                  <a:cubicBezTo>
                    <a:pt x="48" y="22"/>
                    <a:pt x="48" y="23"/>
                    <a:pt x="46" y="23"/>
                  </a:cubicBezTo>
                  <a:cubicBezTo>
                    <a:pt x="43" y="24"/>
                    <a:pt x="42" y="22"/>
                    <a:pt x="41" y="26"/>
                  </a:cubicBezTo>
                  <a:cubicBezTo>
                    <a:pt x="41" y="29"/>
                    <a:pt x="40" y="29"/>
                    <a:pt x="38" y="31"/>
                  </a:cubicBezTo>
                  <a:cubicBezTo>
                    <a:pt x="37" y="33"/>
                    <a:pt x="36" y="34"/>
                    <a:pt x="35" y="36"/>
                  </a:cubicBezTo>
                  <a:cubicBezTo>
                    <a:pt x="34" y="38"/>
                    <a:pt x="34" y="40"/>
                    <a:pt x="33" y="41"/>
                  </a:cubicBezTo>
                  <a:cubicBezTo>
                    <a:pt x="33" y="43"/>
                    <a:pt x="32" y="43"/>
                    <a:pt x="31" y="44"/>
                  </a:cubicBezTo>
                  <a:cubicBezTo>
                    <a:pt x="29" y="46"/>
                    <a:pt x="28" y="49"/>
                    <a:pt x="28" y="51"/>
                  </a:cubicBezTo>
                  <a:cubicBezTo>
                    <a:pt x="27" y="53"/>
                    <a:pt x="27" y="53"/>
                    <a:pt x="24" y="53"/>
                  </a:cubicBezTo>
                  <a:cubicBezTo>
                    <a:pt x="22" y="53"/>
                    <a:pt x="20" y="53"/>
                    <a:pt x="17" y="53"/>
                  </a:cubicBezTo>
                  <a:cubicBezTo>
                    <a:pt x="15" y="53"/>
                    <a:pt x="12" y="53"/>
                    <a:pt x="11" y="55"/>
                  </a:cubicBezTo>
                  <a:cubicBezTo>
                    <a:pt x="11" y="56"/>
                    <a:pt x="10" y="58"/>
                    <a:pt x="10" y="59"/>
                  </a:cubicBezTo>
                  <a:cubicBezTo>
                    <a:pt x="10" y="60"/>
                    <a:pt x="10" y="60"/>
                    <a:pt x="11" y="61"/>
                  </a:cubicBezTo>
                  <a:cubicBezTo>
                    <a:pt x="13" y="62"/>
                    <a:pt x="14" y="62"/>
                    <a:pt x="16" y="62"/>
                  </a:cubicBezTo>
                  <a:cubicBezTo>
                    <a:pt x="17" y="62"/>
                    <a:pt x="18" y="63"/>
                    <a:pt x="19" y="63"/>
                  </a:cubicBezTo>
                  <a:cubicBezTo>
                    <a:pt x="18" y="63"/>
                    <a:pt x="17" y="64"/>
                    <a:pt x="16" y="65"/>
                  </a:cubicBezTo>
                  <a:cubicBezTo>
                    <a:pt x="16" y="66"/>
                    <a:pt x="15" y="67"/>
                    <a:pt x="14" y="68"/>
                  </a:cubicBezTo>
                  <a:cubicBezTo>
                    <a:pt x="13" y="69"/>
                    <a:pt x="10" y="71"/>
                    <a:pt x="8" y="72"/>
                  </a:cubicBezTo>
                  <a:cubicBezTo>
                    <a:pt x="6" y="73"/>
                    <a:pt x="5" y="74"/>
                    <a:pt x="3" y="76"/>
                  </a:cubicBezTo>
                  <a:cubicBezTo>
                    <a:pt x="2" y="78"/>
                    <a:pt x="0" y="78"/>
                    <a:pt x="0" y="80"/>
                  </a:cubicBezTo>
                  <a:cubicBezTo>
                    <a:pt x="0" y="82"/>
                    <a:pt x="0" y="84"/>
                    <a:pt x="1" y="86"/>
                  </a:cubicBezTo>
                  <a:cubicBezTo>
                    <a:pt x="2" y="87"/>
                    <a:pt x="3" y="88"/>
                    <a:pt x="5" y="89"/>
                  </a:cubicBezTo>
                  <a:cubicBezTo>
                    <a:pt x="5" y="89"/>
                    <a:pt x="6" y="90"/>
                    <a:pt x="6" y="90"/>
                  </a:cubicBezTo>
                  <a:cubicBezTo>
                    <a:pt x="7" y="91"/>
                    <a:pt x="6" y="91"/>
                    <a:pt x="6" y="92"/>
                  </a:cubicBezTo>
                  <a:cubicBezTo>
                    <a:pt x="7" y="92"/>
                    <a:pt x="7" y="93"/>
                    <a:pt x="7" y="94"/>
                  </a:cubicBezTo>
                  <a:cubicBezTo>
                    <a:pt x="8" y="95"/>
                    <a:pt x="9" y="95"/>
                    <a:pt x="10" y="97"/>
                  </a:cubicBezTo>
                  <a:cubicBezTo>
                    <a:pt x="10" y="98"/>
                    <a:pt x="10" y="99"/>
                    <a:pt x="11" y="100"/>
                  </a:cubicBezTo>
                  <a:cubicBezTo>
                    <a:pt x="12" y="101"/>
                    <a:pt x="15" y="102"/>
                    <a:pt x="17" y="102"/>
                  </a:cubicBezTo>
                  <a:cubicBezTo>
                    <a:pt x="18" y="102"/>
                    <a:pt x="21" y="102"/>
                    <a:pt x="22" y="103"/>
                  </a:cubicBezTo>
                  <a:cubicBezTo>
                    <a:pt x="23" y="104"/>
                    <a:pt x="22" y="104"/>
                    <a:pt x="23" y="104"/>
                  </a:cubicBezTo>
                  <a:cubicBezTo>
                    <a:pt x="24" y="105"/>
                    <a:pt x="24" y="105"/>
                    <a:pt x="25" y="106"/>
                  </a:cubicBezTo>
                  <a:cubicBezTo>
                    <a:pt x="26" y="106"/>
                    <a:pt x="27" y="107"/>
                    <a:pt x="28" y="108"/>
                  </a:cubicBezTo>
                  <a:cubicBezTo>
                    <a:pt x="30" y="109"/>
                    <a:pt x="33" y="108"/>
                    <a:pt x="35" y="109"/>
                  </a:cubicBezTo>
                  <a:cubicBezTo>
                    <a:pt x="36" y="109"/>
                    <a:pt x="39" y="110"/>
                    <a:pt x="41" y="110"/>
                  </a:cubicBezTo>
                  <a:cubicBezTo>
                    <a:pt x="43" y="109"/>
                    <a:pt x="41" y="106"/>
                    <a:pt x="42" y="104"/>
                  </a:cubicBezTo>
                  <a:cubicBezTo>
                    <a:pt x="43" y="102"/>
                    <a:pt x="47" y="104"/>
                    <a:pt x="48" y="103"/>
                  </a:cubicBezTo>
                  <a:cubicBezTo>
                    <a:pt x="50" y="102"/>
                    <a:pt x="50" y="99"/>
                    <a:pt x="49" y="97"/>
                  </a:cubicBezTo>
                  <a:cubicBezTo>
                    <a:pt x="48" y="96"/>
                    <a:pt x="48" y="95"/>
                    <a:pt x="48" y="94"/>
                  </a:cubicBezTo>
                  <a:cubicBezTo>
                    <a:pt x="48" y="92"/>
                    <a:pt x="49" y="91"/>
                    <a:pt x="50" y="89"/>
                  </a:cubicBezTo>
                  <a:cubicBezTo>
                    <a:pt x="51" y="88"/>
                    <a:pt x="52" y="85"/>
                    <a:pt x="54" y="85"/>
                  </a:cubicBezTo>
                  <a:cubicBezTo>
                    <a:pt x="55" y="84"/>
                    <a:pt x="57" y="85"/>
                    <a:pt x="58" y="84"/>
                  </a:cubicBezTo>
                  <a:cubicBezTo>
                    <a:pt x="60" y="86"/>
                    <a:pt x="61" y="88"/>
                    <a:pt x="62" y="90"/>
                  </a:cubicBezTo>
                  <a:cubicBezTo>
                    <a:pt x="64" y="92"/>
                    <a:pt x="65" y="93"/>
                    <a:pt x="66" y="95"/>
                  </a:cubicBezTo>
                  <a:cubicBezTo>
                    <a:pt x="67" y="97"/>
                    <a:pt x="66" y="98"/>
                    <a:pt x="66" y="100"/>
                  </a:cubicBezTo>
                  <a:cubicBezTo>
                    <a:pt x="66" y="102"/>
                    <a:pt x="69" y="102"/>
                    <a:pt x="71" y="102"/>
                  </a:cubicBezTo>
                  <a:cubicBezTo>
                    <a:pt x="73" y="103"/>
                    <a:pt x="74" y="104"/>
                    <a:pt x="74" y="105"/>
                  </a:cubicBezTo>
                  <a:cubicBezTo>
                    <a:pt x="75" y="108"/>
                    <a:pt x="76" y="110"/>
                    <a:pt x="76" y="113"/>
                  </a:cubicBezTo>
                  <a:cubicBezTo>
                    <a:pt x="76" y="115"/>
                    <a:pt x="76" y="117"/>
                    <a:pt x="79" y="117"/>
                  </a:cubicBezTo>
                  <a:cubicBezTo>
                    <a:pt x="81" y="117"/>
                    <a:pt x="83" y="117"/>
                    <a:pt x="85" y="116"/>
                  </a:cubicBezTo>
                  <a:cubicBezTo>
                    <a:pt x="86" y="115"/>
                    <a:pt x="87" y="115"/>
                    <a:pt x="88" y="113"/>
                  </a:cubicBezTo>
                  <a:cubicBezTo>
                    <a:pt x="88" y="113"/>
                    <a:pt x="88" y="113"/>
                    <a:pt x="89" y="113"/>
                  </a:cubicBezTo>
                  <a:cubicBezTo>
                    <a:pt x="89" y="112"/>
                    <a:pt x="89" y="111"/>
                    <a:pt x="90" y="110"/>
                  </a:cubicBezTo>
                  <a:cubicBezTo>
                    <a:pt x="92" y="111"/>
                    <a:pt x="93" y="111"/>
                    <a:pt x="95" y="112"/>
                  </a:cubicBezTo>
                  <a:cubicBezTo>
                    <a:pt x="97" y="113"/>
                    <a:pt x="98" y="115"/>
                    <a:pt x="100" y="115"/>
                  </a:cubicBezTo>
                  <a:cubicBezTo>
                    <a:pt x="102" y="115"/>
                    <a:pt x="102" y="115"/>
                    <a:pt x="104" y="116"/>
                  </a:cubicBezTo>
                  <a:cubicBezTo>
                    <a:pt x="106" y="117"/>
                    <a:pt x="108" y="118"/>
                    <a:pt x="109" y="119"/>
                  </a:cubicBezTo>
                  <a:cubicBezTo>
                    <a:pt x="110" y="118"/>
                    <a:pt x="110" y="118"/>
                    <a:pt x="110" y="117"/>
                  </a:cubicBezTo>
                  <a:cubicBezTo>
                    <a:pt x="113" y="114"/>
                    <a:pt x="114" y="111"/>
                    <a:pt x="114" y="107"/>
                  </a:cubicBezTo>
                  <a:cubicBezTo>
                    <a:pt x="114" y="103"/>
                    <a:pt x="113" y="100"/>
                    <a:pt x="117" y="99"/>
                  </a:cubicBezTo>
                  <a:cubicBezTo>
                    <a:pt x="120" y="99"/>
                    <a:pt x="123" y="99"/>
                    <a:pt x="125" y="99"/>
                  </a:cubicBezTo>
                  <a:cubicBezTo>
                    <a:pt x="130" y="99"/>
                    <a:pt x="130" y="98"/>
                    <a:pt x="132" y="94"/>
                  </a:cubicBezTo>
                  <a:cubicBezTo>
                    <a:pt x="134" y="92"/>
                    <a:pt x="136" y="90"/>
                    <a:pt x="138" y="87"/>
                  </a:cubicBezTo>
                  <a:cubicBezTo>
                    <a:pt x="139" y="84"/>
                    <a:pt x="139" y="80"/>
                    <a:pt x="140" y="77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0" name="Freeform 90">
              <a:extLst>
                <a:ext uri="{FF2B5EF4-FFF2-40B4-BE49-F238E27FC236}">
                  <a16:creationId xmlns:a16="http://schemas.microsoft.com/office/drawing/2014/main" id="{477DB7C2-5E64-4CC7-B1EE-07A76871F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0525" y="3887788"/>
              <a:ext cx="46038" cy="53975"/>
            </a:xfrm>
            <a:custGeom>
              <a:avLst/>
              <a:gdLst/>
              <a:ahLst/>
              <a:cxnLst>
                <a:cxn ang="0">
                  <a:pos x="21" y="1"/>
                </a:cxn>
                <a:cxn ang="0">
                  <a:pos x="21" y="1"/>
                </a:cxn>
                <a:cxn ang="0">
                  <a:pos x="19" y="0"/>
                </a:cxn>
                <a:cxn ang="0">
                  <a:pos x="11" y="3"/>
                </a:cxn>
                <a:cxn ang="0">
                  <a:pos x="8" y="7"/>
                </a:cxn>
                <a:cxn ang="0">
                  <a:pos x="6" y="10"/>
                </a:cxn>
                <a:cxn ang="0">
                  <a:pos x="1" y="19"/>
                </a:cxn>
                <a:cxn ang="0">
                  <a:pos x="1" y="25"/>
                </a:cxn>
                <a:cxn ang="0">
                  <a:pos x="2" y="27"/>
                </a:cxn>
                <a:cxn ang="0">
                  <a:pos x="4" y="28"/>
                </a:cxn>
                <a:cxn ang="0">
                  <a:pos x="10" y="28"/>
                </a:cxn>
                <a:cxn ang="0">
                  <a:pos x="15" y="27"/>
                </a:cxn>
                <a:cxn ang="0">
                  <a:pos x="18" y="24"/>
                </a:cxn>
                <a:cxn ang="0">
                  <a:pos x="21" y="21"/>
                </a:cxn>
                <a:cxn ang="0">
                  <a:pos x="24" y="14"/>
                </a:cxn>
                <a:cxn ang="0">
                  <a:pos x="22" y="6"/>
                </a:cxn>
                <a:cxn ang="0">
                  <a:pos x="20" y="4"/>
                </a:cxn>
                <a:cxn ang="0">
                  <a:pos x="18" y="2"/>
                </a:cxn>
                <a:cxn ang="0">
                  <a:pos x="21" y="1"/>
                </a:cxn>
              </a:cxnLst>
              <a:rect l="0" t="0" r="r" b="b"/>
              <a:pathLst>
                <a:path w="24" h="29">
                  <a:moveTo>
                    <a:pt x="21" y="1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6" y="0"/>
                    <a:pt x="13" y="0"/>
                    <a:pt x="11" y="3"/>
                  </a:cubicBezTo>
                  <a:cubicBezTo>
                    <a:pt x="10" y="4"/>
                    <a:pt x="9" y="6"/>
                    <a:pt x="8" y="7"/>
                  </a:cubicBezTo>
                  <a:cubicBezTo>
                    <a:pt x="8" y="8"/>
                    <a:pt x="7" y="9"/>
                    <a:pt x="6" y="10"/>
                  </a:cubicBezTo>
                  <a:cubicBezTo>
                    <a:pt x="4" y="13"/>
                    <a:pt x="2" y="16"/>
                    <a:pt x="1" y="19"/>
                  </a:cubicBezTo>
                  <a:cubicBezTo>
                    <a:pt x="0" y="21"/>
                    <a:pt x="0" y="23"/>
                    <a:pt x="1" y="25"/>
                  </a:cubicBezTo>
                  <a:cubicBezTo>
                    <a:pt x="1" y="26"/>
                    <a:pt x="1" y="27"/>
                    <a:pt x="2" y="27"/>
                  </a:cubicBezTo>
                  <a:cubicBezTo>
                    <a:pt x="2" y="28"/>
                    <a:pt x="3" y="28"/>
                    <a:pt x="4" y="28"/>
                  </a:cubicBezTo>
                  <a:cubicBezTo>
                    <a:pt x="6" y="28"/>
                    <a:pt x="8" y="29"/>
                    <a:pt x="10" y="28"/>
                  </a:cubicBezTo>
                  <a:cubicBezTo>
                    <a:pt x="12" y="28"/>
                    <a:pt x="13" y="28"/>
                    <a:pt x="15" y="27"/>
                  </a:cubicBezTo>
                  <a:cubicBezTo>
                    <a:pt x="16" y="26"/>
                    <a:pt x="17" y="25"/>
                    <a:pt x="18" y="24"/>
                  </a:cubicBezTo>
                  <a:cubicBezTo>
                    <a:pt x="19" y="23"/>
                    <a:pt x="20" y="22"/>
                    <a:pt x="21" y="21"/>
                  </a:cubicBezTo>
                  <a:cubicBezTo>
                    <a:pt x="23" y="19"/>
                    <a:pt x="23" y="16"/>
                    <a:pt x="24" y="14"/>
                  </a:cubicBezTo>
                  <a:cubicBezTo>
                    <a:pt x="24" y="11"/>
                    <a:pt x="24" y="9"/>
                    <a:pt x="22" y="6"/>
                  </a:cubicBezTo>
                  <a:cubicBezTo>
                    <a:pt x="21" y="6"/>
                    <a:pt x="20" y="5"/>
                    <a:pt x="20" y="4"/>
                  </a:cubicBezTo>
                  <a:cubicBezTo>
                    <a:pt x="19" y="4"/>
                    <a:pt x="18" y="3"/>
                    <a:pt x="18" y="2"/>
                  </a:cubicBezTo>
                  <a:lnTo>
                    <a:pt x="21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1" name="Freeform 91">
              <a:extLst>
                <a:ext uri="{FF2B5EF4-FFF2-40B4-BE49-F238E27FC236}">
                  <a16:creationId xmlns:a16="http://schemas.microsoft.com/office/drawing/2014/main" id="{465548CA-7E7A-4CA9-9084-3CD5B0A19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3263" y="4511675"/>
              <a:ext cx="71438" cy="30163"/>
            </a:xfrm>
            <a:custGeom>
              <a:avLst/>
              <a:gdLst/>
              <a:ahLst/>
              <a:cxnLst>
                <a:cxn ang="0">
                  <a:pos x="29" y="3"/>
                </a:cxn>
                <a:cxn ang="0">
                  <a:pos x="29" y="3"/>
                </a:cxn>
                <a:cxn ang="0">
                  <a:pos x="24" y="1"/>
                </a:cxn>
                <a:cxn ang="0">
                  <a:pos x="13" y="1"/>
                </a:cxn>
                <a:cxn ang="0">
                  <a:pos x="9" y="3"/>
                </a:cxn>
                <a:cxn ang="0">
                  <a:pos x="4" y="4"/>
                </a:cxn>
                <a:cxn ang="0">
                  <a:pos x="1" y="6"/>
                </a:cxn>
                <a:cxn ang="0">
                  <a:pos x="0" y="9"/>
                </a:cxn>
                <a:cxn ang="0">
                  <a:pos x="2" y="12"/>
                </a:cxn>
                <a:cxn ang="0">
                  <a:pos x="6" y="14"/>
                </a:cxn>
                <a:cxn ang="0">
                  <a:pos x="13" y="16"/>
                </a:cxn>
                <a:cxn ang="0">
                  <a:pos x="21" y="16"/>
                </a:cxn>
                <a:cxn ang="0">
                  <a:pos x="29" y="15"/>
                </a:cxn>
                <a:cxn ang="0">
                  <a:pos x="34" y="13"/>
                </a:cxn>
                <a:cxn ang="0">
                  <a:pos x="38" y="10"/>
                </a:cxn>
                <a:cxn ang="0">
                  <a:pos x="36" y="5"/>
                </a:cxn>
                <a:cxn ang="0">
                  <a:pos x="29" y="3"/>
                </a:cxn>
              </a:cxnLst>
              <a:rect l="0" t="0" r="r" b="b"/>
              <a:pathLst>
                <a:path w="38" h="16">
                  <a:moveTo>
                    <a:pt x="29" y="3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8" y="2"/>
                    <a:pt x="26" y="1"/>
                    <a:pt x="24" y="1"/>
                  </a:cubicBezTo>
                  <a:cubicBezTo>
                    <a:pt x="21" y="0"/>
                    <a:pt x="17" y="0"/>
                    <a:pt x="13" y="1"/>
                  </a:cubicBezTo>
                  <a:cubicBezTo>
                    <a:pt x="12" y="1"/>
                    <a:pt x="10" y="2"/>
                    <a:pt x="9" y="3"/>
                  </a:cubicBezTo>
                  <a:cubicBezTo>
                    <a:pt x="7" y="3"/>
                    <a:pt x="6" y="4"/>
                    <a:pt x="4" y="4"/>
                  </a:cubicBezTo>
                  <a:cubicBezTo>
                    <a:pt x="3" y="5"/>
                    <a:pt x="2" y="6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cubicBezTo>
                    <a:pt x="3" y="13"/>
                    <a:pt x="4" y="14"/>
                    <a:pt x="6" y="14"/>
                  </a:cubicBezTo>
                  <a:cubicBezTo>
                    <a:pt x="8" y="15"/>
                    <a:pt x="10" y="16"/>
                    <a:pt x="13" y="16"/>
                  </a:cubicBezTo>
                  <a:cubicBezTo>
                    <a:pt x="16" y="16"/>
                    <a:pt x="19" y="16"/>
                    <a:pt x="21" y="16"/>
                  </a:cubicBezTo>
                  <a:cubicBezTo>
                    <a:pt x="24" y="16"/>
                    <a:pt x="27" y="16"/>
                    <a:pt x="29" y="15"/>
                  </a:cubicBezTo>
                  <a:cubicBezTo>
                    <a:pt x="31" y="15"/>
                    <a:pt x="33" y="14"/>
                    <a:pt x="34" y="13"/>
                  </a:cubicBezTo>
                  <a:cubicBezTo>
                    <a:pt x="36" y="12"/>
                    <a:pt x="37" y="11"/>
                    <a:pt x="38" y="10"/>
                  </a:cubicBezTo>
                  <a:cubicBezTo>
                    <a:pt x="38" y="8"/>
                    <a:pt x="37" y="6"/>
                    <a:pt x="36" y="5"/>
                  </a:cubicBezTo>
                  <a:lnTo>
                    <a:pt x="29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2" name="Freeform 92">
              <a:extLst>
                <a:ext uri="{FF2B5EF4-FFF2-40B4-BE49-F238E27FC236}">
                  <a16:creationId xmlns:a16="http://schemas.microsoft.com/office/drawing/2014/main" id="{FAC168AB-ABCA-449E-8745-A426B5D25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2838" y="5722938"/>
              <a:ext cx="365125" cy="711200"/>
            </a:xfrm>
            <a:custGeom>
              <a:avLst/>
              <a:gdLst/>
              <a:ahLst/>
              <a:cxnLst>
                <a:cxn ang="0">
                  <a:pos x="9" y="214"/>
                </a:cxn>
                <a:cxn ang="0">
                  <a:pos x="1" y="233"/>
                </a:cxn>
                <a:cxn ang="0">
                  <a:pos x="0" y="251"/>
                </a:cxn>
                <a:cxn ang="0">
                  <a:pos x="9" y="267"/>
                </a:cxn>
                <a:cxn ang="0">
                  <a:pos x="25" y="280"/>
                </a:cxn>
                <a:cxn ang="0">
                  <a:pos x="36" y="293"/>
                </a:cxn>
                <a:cxn ang="0">
                  <a:pos x="30" y="317"/>
                </a:cxn>
                <a:cxn ang="0">
                  <a:pos x="35" y="341"/>
                </a:cxn>
                <a:cxn ang="0">
                  <a:pos x="34" y="354"/>
                </a:cxn>
                <a:cxn ang="0">
                  <a:pos x="29" y="365"/>
                </a:cxn>
                <a:cxn ang="0">
                  <a:pos x="54" y="374"/>
                </a:cxn>
                <a:cxn ang="0">
                  <a:pos x="67" y="374"/>
                </a:cxn>
                <a:cxn ang="0">
                  <a:pos x="81" y="378"/>
                </a:cxn>
                <a:cxn ang="0">
                  <a:pos x="98" y="375"/>
                </a:cxn>
                <a:cxn ang="0">
                  <a:pos x="105" y="374"/>
                </a:cxn>
                <a:cxn ang="0">
                  <a:pos x="109" y="356"/>
                </a:cxn>
                <a:cxn ang="0">
                  <a:pos x="108" y="349"/>
                </a:cxn>
                <a:cxn ang="0">
                  <a:pos x="110" y="331"/>
                </a:cxn>
                <a:cxn ang="0">
                  <a:pos x="116" y="322"/>
                </a:cxn>
                <a:cxn ang="0">
                  <a:pos x="118" y="315"/>
                </a:cxn>
                <a:cxn ang="0">
                  <a:pos x="129" y="309"/>
                </a:cxn>
                <a:cxn ang="0">
                  <a:pos x="135" y="298"/>
                </a:cxn>
                <a:cxn ang="0">
                  <a:pos x="125" y="290"/>
                </a:cxn>
                <a:cxn ang="0">
                  <a:pos x="122" y="283"/>
                </a:cxn>
                <a:cxn ang="0">
                  <a:pos x="128" y="254"/>
                </a:cxn>
                <a:cxn ang="0">
                  <a:pos x="133" y="234"/>
                </a:cxn>
                <a:cxn ang="0">
                  <a:pos x="123" y="229"/>
                </a:cxn>
                <a:cxn ang="0">
                  <a:pos x="119" y="209"/>
                </a:cxn>
                <a:cxn ang="0">
                  <a:pos x="115" y="206"/>
                </a:cxn>
                <a:cxn ang="0">
                  <a:pos x="117" y="196"/>
                </a:cxn>
                <a:cxn ang="0">
                  <a:pos x="137" y="180"/>
                </a:cxn>
                <a:cxn ang="0">
                  <a:pos x="139" y="156"/>
                </a:cxn>
                <a:cxn ang="0">
                  <a:pos x="145" y="131"/>
                </a:cxn>
                <a:cxn ang="0">
                  <a:pos x="144" y="102"/>
                </a:cxn>
                <a:cxn ang="0">
                  <a:pos x="149" y="85"/>
                </a:cxn>
                <a:cxn ang="0">
                  <a:pos x="166" y="75"/>
                </a:cxn>
                <a:cxn ang="0">
                  <a:pos x="180" y="65"/>
                </a:cxn>
                <a:cxn ang="0">
                  <a:pos x="194" y="46"/>
                </a:cxn>
                <a:cxn ang="0">
                  <a:pos x="177" y="38"/>
                </a:cxn>
                <a:cxn ang="0">
                  <a:pos x="172" y="29"/>
                </a:cxn>
                <a:cxn ang="0">
                  <a:pos x="169" y="18"/>
                </a:cxn>
                <a:cxn ang="0">
                  <a:pos x="155" y="16"/>
                </a:cxn>
                <a:cxn ang="0">
                  <a:pos x="142" y="19"/>
                </a:cxn>
                <a:cxn ang="0">
                  <a:pos x="122" y="29"/>
                </a:cxn>
                <a:cxn ang="0">
                  <a:pos x="112" y="25"/>
                </a:cxn>
                <a:cxn ang="0">
                  <a:pos x="98" y="22"/>
                </a:cxn>
                <a:cxn ang="0">
                  <a:pos x="84" y="30"/>
                </a:cxn>
                <a:cxn ang="0">
                  <a:pos x="86" y="12"/>
                </a:cxn>
                <a:cxn ang="0">
                  <a:pos x="82" y="1"/>
                </a:cxn>
                <a:cxn ang="0">
                  <a:pos x="73" y="7"/>
                </a:cxn>
                <a:cxn ang="0">
                  <a:pos x="47" y="19"/>
                </a:cxn>
                <a:cxn ang="0">
                  <a:pos x="42" y="29"/>
                </a:cxn>
                <a:cxn ang="0">
                  <a:pos x="44" y="42"/>
                </a:cxn>
                <a:cxn ang="0">
                  <a:pos x="44" y="61"/>
                </a:cxn>
                <a:cxn ang="0">
                  <a:pos x="39" y="72"/>
                </a:cxn>
                <a:cxn ang="0">
                  <a:pos x="44" y="90"/>
                </a:cxn>
                <a:cxn ang="0">
                  <a:pos x="44" y="127"/>
                </a:cxn>
                <a:cxn ang="0">
                  <a:pos x="39" y="139"/>
                </a:cxn>
                <a:cxn ang="0">
                  <a:pos x="37" y="147"/>
                </a:cxn>
                <a:cxn ang="0">
                  <a:pos x="38" y="159"/>
                </a:cxn>
                <a:cxn ang="0">
                  <a:pos x="28" y="171"/>
                </a:cxn>
                <a:cxn ang="0">
                  <a:pos x="26" y="186"/>
                </a:cxn>
              </a:cxnLst>
              <a:rect l="0" t="0" r="r" b="b"/>
              <a:pathLst>
                <a:path w="195" h="380">
                  <a:moveTo>
                    <a:pt x="26" y="188"/>
                  </a:moveTo>
                  <a:cubicBezTo>
                    <a:pt x="25" y="192"/>
                    <a:pt x="23" y="197"/>
                    <a:pt x="20" y="200"/>
                  </a:cubicBezTo>
                  <a:cubicBezTo>
                    <a:pt x="17" y="205"/>
                    <a:pt x="13" y="210"/>
                    <a:pt x="9" y="214"/>
                  </a:cubicBezTo>
                  <a:cubicBezTo>
                    <a:pt x="7" y="216"/>
                    <a:pt x="6" y="218"/>
                    <a:pt x="5" y="220"/>
                  </a:cubicBezTo>
                  <a:cubicBezTo>
                    <a:pt x="4" y="222"/>
                    <a:pt x="5" y="224"/>
                    <a:pt x="4" y="226"/>
                  </a:cubicBezTo>
                  <a:cubicBezTo>
                    <a:pt x="4" y="228"/>
                    <a:pt x="2" y="231"/>
                    <a:pt x="1" y="233"/>
                  </a:cubicBezTo>
                  <a:cubicBezTo>
                    <a:pt x="1" y="237"/>
                    <a:pt x="0" y="241"/>
                    <a:pt x="0" y="245"/>
                  </a:cubicBezTo>
                  <a:cubicBezTo>
                    <a:pt x="0" y="246"/>
                    <a:pt x="0" y="247"/>
                    <a:pt x="0" y="249"/>
                  </a:cubicBezTo>
                  <a:cubicBezTo>
                    <a:pt x="0" y="249"/>
                    <a:pt x="0" y="250"/>
                    <a:pt x="0" y="251"/>
                  </a:cubicBezTo>
                  <a:cubicBezTo>
                    <a:pt x="0" y="252"/>
                    <a:pt x="0" y="253"/>
                    <a:pt x="1" y="254"/>
                  </a:cubicBezTo>
                  <a:cubicBezTo>
                    <a:pt x="3" y="255"/>
                    <a:pt x="7" y="253"/>
                    <a:pt x="9" y="256"/>
                  </a:cubicBezTo>
                  <a:cubicBezTo>
                    <a:pt x="10" y="259"/>
                    <a:pt x="8" y="264"/>
                    <a:pt x="9" y="267"/>
                  </a:cubicBezTo>
                  <a:cubicBezTo>
                    <a:pt x="11" y="272"/>
                    <a:pt x="17" y="271"/>
                    <a:pt x="16" y="277"/>
                  </a:cubicBezTo>
                  <a:cubicBezTo>
                    <a:pt x="16" y="280"/>
                    <a:pt x="15" y="278"/>
                    <a:pt x="14" y="281"/>
                  </a:cubicBezTo>
                  <a:cubicBezTo>
                    <a:pt x="12" y="285"/>
                    <a:pt x="22" y="282"/>
                    <a:pt x="25" y="280"/>
                  </a:cubicBezTo>
                  <a:cubicBezTo>
                    <a:pt x="26" y="279"/>
                    <a:pt x="30" y="277"/>
                    <a:pt x="32" y="279"/>
                  </a:cubicBezTo>
                  <a:cubicBezTo>
                    <a:pt x="33" y="279"/>
                    <a:pt x="37" y="284"/>
                    <a:pt x="37" y="285"/>
                  </a:cubicBezTo>
                  <a:cubicBezTo>
                    <a:pt x="38" y="287"/>
                    <a:pt x="36" y="290"/>
                    <a:pt x="36" y="293"/>
                  </a:cubicBezTo>
                  <a:cubicBezTo>
                    <a:pt x="35" y="296"/>
                    <a:pt x="35" y="300"/>
                    <a:pt x="35" y="303"/>
                  </a:cubicBezTo>
                  <a:cubicBezTo>
                    <a:pt x="35" y="306"/>
                    <a:pt x="35" y="307"/>
                    <a:pt x="34" y="310"/>
                  </a:cubicBezTo>
                  <a:cubicBezTo>
                    <a:pt x="33" y="312"/>
                    <a:pt x="30" y="315"/>
                    <a:pt x="30" y="317"/>
                  </a:cubicBezTo>
                  <a:cubicBezTo>
                    <a:pt x="30" y="321"/>
                    <a:pt x="36" y="322"/>
                    <a:pt x="38" y="325"/>
                  </a:cubicBezTo>
                  <a:cubicBezTo>
                    <a:pt x="39" y="327"/>
                    <a:pt x="40" y="330"/>
                    <a:pt x="39" y="332"/>
                  </a:cubicBezTo>
                  <a:cubicBezTo>
                    <a:pt x="38" y="335"/>
                    <a:pt x="36" y="338"/>
                    <a:pt x="35" y="341"/>
                  </a:cubicBezTo>
                  <a:cubicBezTo>
                    <a:pt x="34" y="343"/>
                    <a:pt x="34" y="345"/>
                    <a:pt x="34" y="347"/>
                  </a:cubicBezTo>
                  <a:cubicBezTo>
                    <a:pt x="34" y="348"/>
                    <a:pt x="34" y="348"/>
                    <a:pt x="34" y="349"/>
                  </a:cubicBezTo>
                  <a:cubicBezTo>
                    <a:pt x="34" y="351"/>
                    <a:pt x="34" y="353"/>
                    <a:pt x="34" y="354"/>
                  </a:cubicBezTo>
                  <a:cubicBezTo>
                    <a:pt x="34" y="355"/>
                    <a:pt x="33" y="356"/>
                    <a:pt x="33" y="357"/>
                  </a:cubicBezTo>
                  <a:cubicBezTo>
                    <a:pt x="33" y="358"/>
                    <a:pt x="32" y="360"/>
                    <a:pt x="31" y="361"/>
                  </a:cubicBezTo>
                  <a:cubicBezTo>
                    <a:pt x="30" y="362"/>
                    <a:pt x="30" y="364"/>
                    <a:pt x="29" y="365"/>
                  </a:cubicBezTo>
                  <a:cubicBezTo>
                    <a:pt x="28" y="370"/>
                    <a:pt x="29" y="375"/>
                    <a:pt x="26" y="379"/>
                  </a:cubicBezTo>
                  <a:cubicBezTo>
                    <a:pt x="31" y="380"/>
                    <a:pt x="37" y="375"/>
                    <a:pt x="41" y="374"/>
                  </a:cubicBezTo>
                  <a:cubicBezTo>
                    <a:pt x="45" y="373"/>
                    <a:pt x="50" y="373"/>
                    <a:pt x="54" y="374"/>
                  </a:cubicBezTo>
                  <a:cubicBezTo>
                    <a:pt x="56" y="374"/>
                    <a:pt x="57" y="374"/>
                    <a:pt x="59" y="374"/>
                  </a:cubicBezTo>
                  <a:cubicBezTo>
                    <a:pt x="60" y="374"/>
                    <a:pt x="62" y="374"/>
                    <a:pt x="63" y="374"/>
                  </a:cubicBezTo>
                  <a:cubicBezTo>
                    <a:pt x="65" y="374"/>
                    <a:pt x="66" y="374"/>
                    <a:pt x="67" y="374"/>
                  </a:cubicBezTo>
                  <a:cubicBezTo>
                    <a:pt x="69" y="375"/>
                    <a:pt x="70" y="376"/>
                    <a:pt x="72" y="376"/>
                  </a:cubicBezTo>
                  <a:cubicBezTo>
                    <a:pt x="74" y="377"/>
                    <a:pt x="76" y="378"/>
                    <a:pt x="78" y="379"/>
                  </a:cubicBezTo>
                  <a:cubicBezTo>
                    <a:pt x="80" y="379"/>
                    <a:pt x="80" y="379"/>
                    <a:pt x="81" y="378"/>
                  </a:cubicBezTo>
                  <a:cubicBezTo>
                    <a:pt x="84" y="378"/>
                    <a:pt x="84" y="377"/>
                    <a:pt x="85" y="377"/>
                  </a:cubicBezTo>
                  <a:cubicBezTo>
                    <a:pt x="89" y="375"/>
                    <a:pt x="92" y="375"/>
                    <a:pt x="95" y="375"/>
                  </a:cubicBezTo>
                  <a:cubicBezTo>
                    <a:pt x="96" y="375"/>
                    <a:pt x="97" y="375"/>
                    <a:pt x="98" y="375"/>
                  </a:cubicBezTo>
                  <a:cubicBezTo>
                    <a:pt x="98" y="375"/>
                    <a:pt x="99" y="375"/>
                    <a:pt x="99" y="375"/>
                  </a:cubicBezTo>
                  <a:cubicBezTo>
                    <a:pt x="101" y="375"/>
                    <a:pt x="103" y="374"/>
                    <a:pt x="105" y="374"/>
                  </a:cubicBezTo>
                  <a:cubicBezTo>
                    <a:pt x="105" y="374"/>
                    <a:pt x="105" y="374"/>
                    <a:pt x="105" y="374"/>
                  </a:cubicBezTo>
                  <a:cubicBezTo>
                    <a:pt x="106" y="374"/>
                    <a:pt x="107" y="373"/>
                    <a:pt x="108" y="373"/>
                  </a:cubicBezTo>
                  <a:cubicBezTo>
                    <a:pt x="108" y="371"/>
                    <a:pt x="108" y="369"/>
                    <a:pt x="108" y="367"/>
                  </a:cubicBezTo>
                  <a:cubicBezTo>
                    <a:pt x="109" y="363"/>
                    <a:pt x="109" y="360"/>
                    <a:pt x="109" y="356"/>
                  </a:cubicBezTo>
                  <a:cubicBezTo>
                    <a:pt x="109" y="355"/>
                    <a:pt x="109" y="353"/>
                    <a:pt x="109" y="351"/>
                  </a:cubicBezTo>
                  <a:cubicBezTo>
                    <a:pt x="109" y="351"/>
                    <a:pt x="109" y="351"/>
                    <a:pt x="108" y="351"/>
                  </a:cubicBezTo>
                  <a:cubicBezTo>
                    <a:pt x="108" y="350"/>
                    <a:pt x="108" y="350"/>
                    <a:pt x="108" y="349"/>
                  </a:cubicBezTo>
                  <a:cubicBezTo>
                    <a:pt x="107" y="348"/>
                    <a:pt x="107" y="346"/>
                    <a:pt x="107" y="345"/>
                  </a:cubicBezTo>
                  <a:cubicBezTo>
                    <a:pt x="107" y="344"/>
                    <a:pt x="106" y="343"/>
                    <a:pt x="106" y="341"/>
                  </a:cubicBezTo>
                  <a:cubicBezTo>
                    <a:pt x="106" y="338"/>
                    <a:pt x="108" y="334"/>
                    <a:pt x="110" y="331"/>
                  </a:cubicBezTo>
                  <a:cubicBezTo>
                    <a:pt x="110" y="331"/>
                    <a:pt x="111" y="330"/>
                    <a:pt x="111" y="329"/>
                  </a:cubicBezTo>
                  <a:cubicBezTo>
                    <a:pt x="112" y="328"/>
                    <a:pt x="113" y="326"/>
                    <a:pt x="114" y="325"/>
                  </a:cubicBezTo>
                  <a:cubicBezTo>
                    <a:pt x="115" y="324"/>
                    <a:pt x="116" y="323"/>
                    <a:pt x="116" y="322"/>
                  </a:cubicBezTo>
                  <a:cubicBezTo>
                    <a:pt x="117" y="321"/>
                    <a:pt x="117" y="321"/>
                    <a:pt x="117" y="321"/>
                  </a:cubicBezTo>
                  <a:cubicBezTo>
                    <a:pt x="117" y="320"/>
                    <a:pt x="118" y="319"/>
                    <a:pt x="118" y="318"/>
                  </a:cubicBezTo>
                  <a:cubicBezTo>
                    <a:pt x="119" y="317"/>
                    <a:pt x="118" y="316"/>
                    <a:pt x="118" y="315"/>
                  </a:cubicBezTo>
                  <a:cubicBezTo>
                    <a:pt x="118" y="311"/>
                    <a:pt x="121" y="313"/>
                    <a:pt x="124" y="312"/>
                  </a:cubicBezTo>
                  <a:cubicBezTo>
                    <a:pt x="125" y="312"/>
                    <a:pt x="127" y="312"/>
                    <a:pt x="128" y="311"/>
                  </a:cubicBezTo>
                  <a:cubicBezTo>
                    <a:pt x="128" y="311"/>
                    <a:pt x="129" y="310"/>
                    <a:pt x="129" y="309"/>
                  </a:cubicBezTo>
                  <a:cubicBezTo>
                    <a:pt x="130" y="309"/>
                    <a:pt x="130" y="309"/>
                    <a:pt x="131" y="309"/>
                  </a:cubicBezTo>
                  <a:cubicBezTo>
                    <a:pt x="134" y="308"/>
                    <a:pt x="136" y="307"/>
                    <a:pt x="136" y="304"/>
                  </a:cubicBezTo>
                  <a:cubicBezTo>
                    <a:pt x="136" y="302"/>
                    <a:pt x="137" y="299"/>
                    <a:pt x="135" y="298"/>
                  </a:cubicBezTo>
                  <a:cubicBezTo>
                    <a:pt x="134" y="299"/>
                    <a:pt x="132" y="300"/>
                    <a:pt x="130" y="299"/>
                  </a:cubicBezTo>
                  <a:cubicBezTo>
                    <a:pt x="128" y="298"/>
                    <a:pt x="129" y="297"/>
                    <a:pt x="128" y="295"/>
                  </a:cubicBezTo>
                  <a:cubicBezTo>
                    <a:pt x="128" y="293"/>
                    <a:pt x="126" y="291"/>
                    <a:pt x="125" y="290"/>
                  </a:cubicBezTo>
                  <a:cubicBezTo>
                    <a:pt x="125" y="289"/>
                    <a:pt x="124" y="288"/>
                    <a:pt x="124" y="287"/>
                  </a:cubicBezTo>
                  <a:cubicBezTo>
                    <a:pt x="123" y="286"/>
                    <a:pt x="123" y="285"/>
                    <a:pt x="123" y="284"/>
                  </a:cubicBezTo>
                  <a:cubicBezTo>
                    <a:pt x="123" y="284"/>
                    <a:pt x="122" y="283"/>
                    <a:pt x="122" y="283"/>
                  </a:cubicBezTo>
                  <a:cubicBezTo>
                    <a:pt x="120" y="279"/>
                    <a:pt x="118" y="275"/>
                    <a:pt x="118" y="271"/>
                  </a:cubicBezTo>
                  <a:cubicBezTo>
                    <a:pt x="119" y="267"/>
                    <a:pt x="122" y="264"/>
                    <a:pt x="123" y="261"/>
                  </a:cubicBezTo>
                  <a:cubicBezTo>
                    <a:pt x="124" y="257"/>
                    <a:pt x="125" y="256"/>
                    <a:pt x="128" y="254"/>
                  </a:cubicBezTo>
                  <a:cubicBezTo>
                    <a:pt x="130" y="253"/>
                    <a:pt x="132" y="253"/>
                    <a:pt x="134" y="252"/>
                  </a:cubicBezTo>
                  <a:cubicBezTo>
                    <a:pt x="138" y="248"/>
                    <a:pt x="136" y="241"/>
                    <a:pt x="134" y="237"/>
                  </a:cubicBezTo>
                  <a:cubicBezTo>
                    <a:pt x="134" y="236"/>
                    <a:pt x="134" y="235"/>
                    <a:pt x="133" y="234"/>
                  </a:cubicBezTo>
                  <a:cubicBezTo>
                    <a:pt x="133" y="234"/>
                    <a:pt x="132" y="233"/>
                    <a:pt x="131" y="233"/>
                  </a:cubicBezTo>
                  <a:cubicBezTo>
                    <a:pt x="130" y="232"/>
                    <a:pt x="129" y="232"/>
                    <a:pt x="127" y="231"/>
                  </a:cubicBezTo>
                  <a:cubicBezTo>
                    <a:pt x="126" y="231"/>
                    <a:pt x="124" y="231"/>
                    <a:pt x="123" y="229"/>
                  </a:cubicBezTo>
                  <a:cubicBezTo>
                    <a:pt x="123" y="227"/>
                    <a:pt x="124" y="226"/>
                    <a:pt x="123" y="224"/>
                  </a:cubicBezTo>
                  <a:cubicBezTo>
                    <a:pt x="122" y="223"/>
                    <a:pt x="120" y="222"/>
                    <a:pt x="119" y="223"/>
                  </a:cubicBezTo>
                  <a:cubicBezTo>
                    <a:pt x="119" y="219"/>
                    <a:pt x="120" y="213"/>
                    <a:pt x="119" y="209"/>
                  </a:cubicBezTo>
                  <a:cubicBezTo>
                    <a:pt x="119" y="209"/>
                    <a:pt x="118" y="208"/>
                    <a:pt x="118" y="207"/>
                  </a:cubicBezTo>
                  <a:cubicBezTo>
                    <a:pt x="118" y="207"/>
                    <a:pt x="117" y="207"/>
                    <a:pt x="117" y="207"/>
                  </a:cubicBezTo>
                  <a:cubicBezTo>
                    <a:pt x="116" y="208"/>
                    <a:pt x="115" y="207"/>
                    <a:pt x="115" y="206"/>
                  </a:cubicBezTo>
                  <a:cubicBezTo>
                    <a:pt x="114" y="206"/>
                    <a:pt x="113" y="203"/>
                    <a:pt x="112" y="202"/>
                  </a:cubicBezTo>
                  <a:cubicBezTo>
                    <a:pt x="111" y="201"/>
                    <a:pt x="109" y="199"/>
                    <a:pt x="110" y="197"/>
                  </a:cubicBezTo>
                  <a:cubicBezTo>
                    <a:pt x="110" y="195"/>
                    <a:pt x="115" y="196"/>
                    <a:pt x="117" y="196"/>
                  </a:cubicBezTo>
                  <a:cubicBezTo>
                    <a:pt x="122" y="196"/>
                    <a:pt x="132" y="197"/>
                    <a:pt x="133" y="191"/>
                  </a:cubicBezTo>
                  <a:cubicBezTo>
                    <a:pt x="133" y="189"/>
                    <a:pt x="132" y="186"/>
                    <a:pt x="133" y="184"/>
                  </a:cubicBezTo>
                  <a:cubicBezTo>
                    <a:pt x="133" y="183"/>
                    <a:pt x="136" y="180"/>
                    <a:pt x="137" y="180"/>
                  </a:cubicBezTo>
                  <a:cubicBezTo>
                    <a:pt x="139" y="177"/>
                    <a:pt x="141" y="174"/>
                    <a:pt x="141" y="171"/>
                  </a:cubicBezTo>
                  <a:cubicBezTo>
                    <a:pt x="140" y="166"/>
                    <a:pt x="135" y="164"/>
                    <a:pt x="134" y="159"/>
                  </a:cubicBezTo>
                  <a:cubicBezTo>
                    <a:pt x="136" y="159"/>
                    <a:pt x="137" y="157"/>
                    <a:pt x="139" y="156"/>
                  </a:cubicBezTo>
                  <a:cubicBezTo>
                    <a:pt x="141" y="155"/>
                    <a:pt x="143" y="154"/>
                    <a:pt x="144" y="152"/>
                  </a:cubicBezTo>
                  <a:cubicBezTo>
                    <a:pt x="145" y="149"/>
                    <a:pt x="144" y="143"/>
                    <a:pt x="144" y="140"/>
                  </a:cubicBezTo>
                  <a:cubicBezTo>
                    <a:pt x="144" y="137"/>
                    <a:pt x="145" y="134"/>
                    <a:pt x="145" y="131"/>
                  </a:cubicBezTo>
                  <a:cubicBezTo>
                    <a:pt x="146" y="125"/>
                    <a:pt x="144" y="119"/>
                    <a:pt x="144" y="113"/>
                  </a:cubicBezTo>
                  <a:cubicBezTo>
                    <a:pt x="144" y="110"/>
                    <a:pt x="144" y="107"/>
                    <a:pt x="144" y="105"/>
                  </a:cubicBezTo>
                  <a:cubicBezTo>
                    <a:pt x="144" y="104"/>
                    <a:pt x="144" y="103"/>
                    <a:pt x="144" y="102"/>
                  </a:cubicBezTo>
                  <a:cubicBezTo>
                    <a:pt x="143" y="102"/>
                    <a:pt x="141" y="101"/>
                    <a:pt x="141" y="101"/>
                  </a:cubicBezTo>
                  <a:cubicBezTo>
                    <a:pt x="139" y="98"/>
                    <a:pt x="141" y="97"/>
                    <a:pt x="144" y="96"/>
                  </a:cubicBezTo>
                  <a:cubicBezTo>
                    <a:pt x="144" y="92"/>
                    <a:pt x="147" y="88"/>
                    <a:pt x="149" y="85"/>
                  </a:cubicBezTo>
                  <a:cubicBezTo>
                    <a:pt x="151" y="82"/>
                    <a:pt x="152" y="83"/>
                    <a:pt x="155" y="82"/>
                  </a:cubicBezTo>
                  <a:cubicBezTo>
                    <a:pt x="158" y="82"/>
                    <a:pt x="161" y="81"/>
                    <a:pt x="163" y="79"/>
                  </a:cubicBezTo>
                  <a:cubicBezTo>
                    <a:pt x="164" y="78"/>
                    <a:pt x="165" y="76"/>
                    <a:pt x="166" y="75"/>
                  </a:cubicBezTo>
                  <a:cubicBezTo>
                    <a:pt x="168" y="74"/>
                    <a:pt x="169" y="72"/>
                    <a:pt x="170" y="72"/>
                  </a:cubicBezTo>
                  <a:cubicBezTo>
                    <a:pt x="172" y="70"/>
                    <a:pt x="174" y="69"/>
                    <a:pt x="176" y="67"/>
                  </a:cubicBezTo>
                  <a:cubicBezTo>
                    <a:pt x="177" y="66"/>
                    <a:pt x="178" y="66"/>
                    <a:pt x="180" y="65"/>
                  </a:cubicBezTo>
                  <a:cubicBezTo>
                    <a:pt x="182" y="64"/>
                    <a:pt x="183" y="64"/>
                    <a:pt x="184" y="62"/>
                  </a:cubicBezTo>
                  <a:cubicBezTo>
                    <a:pt x="186" y="60"/>
                    <a:pt x="186" y="58"/>
                    <a:pt x="188" y="56"/>
                  </a:cubicBezTo>
                  <a:cubicBezTo>
                    <a:pt x="191" y="53"/>
                    <a:pt x="194" y="50"/>
                    <a:pt x="194" y="46"/>
                  </a:cubicBezTo>
                  <a:cubicBezTo>
                    <a:pt x="195" y="44"/>
                    <a:pt x="194" y="44"/>
                    <a:pt x="192" y="43"/>
                  </a:cubicBezTo>
                  <a:cubicBezTo>
                    <a:pt x="189" y="42"/>
                    <a:pt x="186" y="40"/>
                    <a:pt x="183" y="39"/>
                  </a:cubicBezTo>
                  <a:cubicBezTo>
                    <a:pt x="181" y="38"/>
                    <a:pt x="179" y="38"/>
                    <a:pt x="177" y="38"/>
                  </a:cubicBezTo>
                  <a:cubicBezTo>
                    <a:pt x="176" y="38"/>
                    <a:pt x="177" y="39"/>
                    <a:pt x="175" y="38"/>
                  </a:cubicBezTo>
                  <a:cubicBezTo>
                    <a:pt x="174" y="38"/>
                    <a:pt x="173" y="35"/>
                    <a:pt x="172" y="34"/>
                  </a:cubicBezTo>
                  <a:cubicBezTo>
                    <a:pt x="171" y="32"/>
                    <a:pt x="171" y="30"/>
                    <a:pt x="172" y="29"/>
                  </a:cubicBezTo>
                  <a:cubicBezTo>
                    <a:pt x="173" y="27"/>
                    <a:pt x="176" y="25"/>
                    <a:pt x="175" y="23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4" y="17"/>
                    <a:pt x="172" y="18"/>
                    <a:pt x="169" y="18"/>
                  </a:cubicBezTo>
                  <a:cubicBezTo>
                    <a:pt x="167" y="18"/>
                    <a:pt x="163" y="19"/>
                    <a:pt x="161" y="17"/>
                  </a:cubicBezTo>
                  <a:cubicBezTo>
                    <a:pt x="160" y="15"/>
                    <a:pt x="162" y="14"/>
                    <a:pt x="160" y="14"/>
                  </a:cubicBezTo>
                  <a:cubicBezTo>
                    <a:pt x="159" y="14"/>
                    <a:pt x="157" y="16"/>
                    <a:pt x="155" y="16"/>
                  </a:cubicBezTo>
                  <a:cubicBezTo>
                    <a:pt x="153" y="16"/>
                    <a:pt x="145" y="15"/>
                    <a:pt x="145" y="17"/>
                  </a:cubicBezTo>
                  <a:cubicBezTo>
                    <a:pt x="145" y="17"/>
                    <a:pt x="144" y="16"/>
                    <a:pt x="143" y="16"/>
                  </a:cubicBezTo>
                  <a:cubicBezTo>
                    <a:pt x="142" y="17"/>
                    <a:pt x="143" y="18"/>
                    <a:pt x="142" y="19"/>
                  </a:cubicBezTo>
                  <a:cubicBezTo>
                    <a:pt x="141" y="20"/>
                    <a:pt x="140" y="21"/>
                    <a:pt x="139" y="22"/>
                  </a:cubicBezTo>
                  <a:cubicBezTo>
                    <a:pt x="137" y="24"/>
                    <a:pt x="137" y="25"/>
                    <a:pt x="134" y="26"/>
                  </a:cubicBezTo>
                  <a:cubicBezTo>
                    <a:pt x="130" y="28"/>
                    <a:pt x="122" y="23"/>
                    <a:pt x="122" y="29"/>
                  </a:cubicBezTo>
                  <a:cubicBezTo>
                    <a:pt x="119" y="30"/>
                    <a:pt x="117" y="28"/>
                    <a:pt x="115" y="27"/>
                  </a:cubicBezTo>
                  <a:cubicBezTo>
                    <a:pt x="114" y="27"/>
                    <a:pt x="114" y="29"/>
                    <a:pt x="112" y="28"/>
                  </a:cubicBezTo>
                  <a:cubicBezTo>
                    <a:pt x="112" y="27"/>
                    <a:pt x="112" y="25"/>
                    <a:pt x="112" y="25"/>
                  </a:cubicBezTo>
                  <a:cubicBezTo>
                    <a:pt x="110" y="24"/>
                    <a:pt x="107" y="23"/>
                    <a:pt x="105" y="24"/>
                  </a:cubicBezTo>
                  <a:cubicBezTo>
                    <a:pt x="104" y="25"/>
                    <a:pt x="103" y="27"/>
                    <a:pt x="101" y="26"/>
                  </a:cubicBezTo>
                  <a:cubicBezTo>
                    <a:pt x="99" y="25"/>
                    <a:pt x="99" y="23"/>
                    <a:pt x="98" y="22"/>
                  </a:cubicBezTo>
                  <a:cubicBezTo>
                    <a:pt x="94" y="18"/>
                    <a:pt x="94" y="24"/>
                    <a:pt x="93" y="26"/>
                  </a:cubicBezTo>
                  <a:cubicBezTo>
                    <a:pt x="91" y="28"/>
                    <a:pt x="90" y="27"/>
                    <a:pt x="88" y="28"/>
                  </a:cubicBezTo>
                  <a:cubicBezTo>
                    <a:pt x="87" y="28"/>
                    <a:pt x="85" y="30"/>
                    <a:pt x="84" y="30"/>
                  </a:cubicBezTo>
                  <a:cubicBezTo>
                    <a:pt x="82" y="30"/>
                    <a:pt x="81" y="22"/>
                    <a:pt x="81" y="21"/>
                  </a:cubicBezTo>
                  <a:cubicBezTo>
                    <a:pt x="82" y="19"/>
                    <a:pt x="84" y="19"/>
                    <a:pt x="85" y="17"/>
                  </a:cubicBezTo>
                  <a:cubicBezTo>
                    <a:pt x="86" y="16"/>
                    <a:pt x="86" y="14"/>
                    <a:pt x="86" y="12"/>
                  </a:cubicBezTo>
                  <a:cubicBezTo>
                    <a:pt x="85" y="11"/>
                    <a:pt x="83" y="12"/>
                    <a:pt x="82" y="11"/>
                  </a:cubicBezTo>
                  <a:cubicBezTo>
                    <a:pt x="81" y="10"/>
                    <a:pt x="81" y="7"/>
                    <a:pt x="81" y="6"/>
                  </a:cubicBezTo>
                  <a:cubicBezTo>
                    <a:pt x="82" y="4"/>
                    <a:pt x="84" y="2"/>
                    <a:pt x="82" y="1"/>
                  </a:cubicBezTo>
                  <a:cubicBezTo>
                    <a:pt x="80" y="0"/>
                    <a:pt x="79" y="2"/>
                    <a:pt x="78" y="3"/>
                  </a:cubicBezTo>
                  <a:cubicBezTo>
                    <a:pt x="78" y="4"/>
                    <a:pt x="77" y="6"/>
                    <a:pt x="77" y="6"/>
                  </a:cubicBezTo>
                  <a:cubicBezTo>
                    <a:pt x="76" y="7"/>
                    <a:pt x="74" y="7"/>
                    <a:pt x="73" y="7"/>
                  </a:cubicBezTo>
                  <a:cubicBezTo>
                    <a:pt x="69" y="8"/>
                    <a:pt x="66" y="10"/>
                    <a:pt x="63" y="11"/>
                  </a:cubicBezTo>
                  <a:cubicBezTo>
                    <a:pt x="60" y="13"/>
                    <a:pt x="56" y="15"/>
                    <a:pt x="53" y="16"/>
                  </a:cubicBezTo>
                  <a:cubicBezTo>
                    <a:pt x="51" y="17"/>
                    <a:pt x="48" y="18"/>
                    <a:pt x="47" y="19"/>
                  </a:cubicBezTo>
                  <a:cubicBezTo>
                    <a:pt x="46" y="20"/>
                    <a:pt x="46" y="23"/>
                    <a:pt x="45" y="24"/>
                  </a:cubicBezTo>
                  <a:cubicBezTo>
                    <a:pt x="45" y="24"/>
                    <a:pt x="43" y="26"/>
                    <a:pt x="42" y="26"/>
                  </a:cubicBezTo>
                  <a:cubicBezTo>
                    <a:pt x="42" y="27"/>
                    <a:pt x="42" y="28"/>
                    <a:pt x="42" y="29"/>
                  </a:cubicBezTo>
                  <a:cubicBezTo>
                    <a:pt x="42" y="30"/>
                    <a:pt x="42" y="31"/>
                    <a:pt x="41" y="31"/>
                  </a:cubicBezTo>
                  <a:cubicBezTo>
                    <a:pt x="41" y="33"/>
                    <a:pt x="41" y="35"/>
                    <a:pt x="41" y="36"/>
                  </a:cubicBezTo>
                  <a:cubicBezTo>
                    <a:pt x="42" y="39"/>
                    <a:pt x="43" y="40"/>
                    <a:pt x="44" y="42"/>
                  </a:cubicBezTo>
                  <a:cubicBezTo>
                    <a:pt x="46" y="45"/>
                    <a:pt x="46" y="51"/>
                    <a:pt x="45" y="54"/>
                  </a:cubicBezTo>
                  <a:cubicBezTo>
                    <a:pt x="44" y="55"/>
                    <a:pt x="43" y="56"/>
                    <a:pt x="43" y="57"/>
                  </a:cubicBezTo>
                  <a:cubicBezTo>
                    <a:pt x="42" y="59"/>
                    <a:pt x="44" y="60"/>
                    <a:pt x="44" y="61"/>
                  </a:cubicBezTo>
                  <a:cubicBezTo>
                    <a:pt x="45" y="62"/>
                    <a:pt x="46" y="65"/>
                    <a:pt x="46" y="66"/>
                  </a:cubicBezTo>
                  <a:cubicBezTo>
                    <a:pt x="46" y="69"/>
                    <a:pt x="45" y="68"/>
                    <a:pt x="43" y="69"/>
                  </a:cubicBezTo>
                  <a:cubicBezTo>
                    <a:pt x="42" y="70"/>
                    <a:pt x="39" y="71"/>
                    <a:pt x="39" y="72"/>
                  </a:cubicBezTo>
                  <a:cubicBezTo>
                    <a:pt x="38" y="73"/>
                    <a:pt x="38" y="75"/>
                    <a:pt x="38" y="76"/>
                  </a:cubicBezTo>
                  <a:cubicBezTo>
                    <a:pt x="38" y="81"/>
                    <a:pt x="40" y="83"/>
                    <a:pt x="42" y="87"/>
                  </a:cubicBezTo>
                  <a:cubicBezTo>
                    <a:pt x="43" y="88"/>
                    <a:pt x="44" y="88"/>
                    <a:pt x="44" y="90"/>
                  </a:cubicBezTo>
                  <a:cubicBezTo>
                    <a:pt x="44" y="95"/>
                    <a:pt x="46" y="99"/>
                    <a:pt x="47" y="103"/>
                  </a:cubicBezTo>
                  <a:cubicBezTo>
                    <a:pt x="47" y="108"/>
                    <a:pt x="47" y="113"/>
                    <a:pt x="47" y="118"/>
                  </a:cubicBezTo>
                  <a:cubicBezTo>
                    <a:pt x="47" y="121"/>
                    <a:pt x="46" y="124"/>
                    <a:pt x="44" y="127"/>
                  </a:cubicBezTo>
                  <a:cubicBezTo>
                    <a:pt x="43" y="129"/>
                    <a:pt x="42" y="132"/>
                    <a:pt x="41" y="134"/>
                  </a:cubicBezTo>
                  <a:cubicBezTo>
                    <a:pt x="41" y="134"/>
                    <a:pt x="40" y="135"/>
                    <a:pt x="40" y="136"/>
                  </a:cubicBezTo>
                  <a:cubicBezTo>
                    <a:pt x="40" y="137"/>
                    <a:pt x="39" y="138"/>
                    <a:pt x="39" y="139"/>
                  </a:cubicBezTo>
                  <a:cubicBezTo>
                    <a:pt x="38" y="140"/>
                    <a:pt x="38" y="140"/>
                    <a:pt x="38" y="141"/>
                  </a:cubicBezTo>
                  <a:cubicBezTo>
                    <a:pt x="38" y="142"/>
                    <a:pt x="37" y="143"/>
                    <a:pt x="37" y="145"/>
                  </a:cubicBezTo>
                  <a:cubicBezTo>
                    <a:pt x="37" y="145"/>
                    <a:pt x="37" y="146"/>
                    <a:pt x="37" y="147"/>
                  </a:cubicBezTo>
                  <a:cubicBezTo>
                    <a:pt x="37" y="149"/>
                    <a:pt x="37" y="151"/>
                    <a:pt x="38" y="153"/>
                  </a:cubicBezTo>
                  <a:cubicBezTo>
                    <a:pt x="38" y="154"/>
                    <a:pt x="39" y="156"/>
                    <a:pt x="38" y="157"/>
                  </a:cubicBezTo>
                  <a:cubicBezTo>
                    <a:pt x="38" y="158"/>
                    <a:pt x="38" y="158"/>
                    <a:pt x="38" y="159"/>
                  </a:cubicBezTo>
                  <a:cubicBezTo>
                    <a:pt x="38" y="159"/>
                    <a:pt x="37" y="160"/>
                    <a:pt x="37" y="161"/>
                  </a:cubicBezTo>
                  <a:cubicBezTo>
                    <a:pt x="36" y="162"/>
                    <a:pt x="34" y="163"/>
                    <a:pt x="33" y="164"/>
                  </a:cubicBezTo>
                  <a:cubicBezTo>
                    <a:pt x="32" y="166"/>
                    <a:pt x="30" y="168"/>
                    <a:pt x="28" y="171"/>
                  </a:cubicBezTo>
                  <a:cubicBezTo>
                    <a:pt x="26" y="174"/>
                    <a:pt x="26" y="177"/>
                    <a:pt x="26" y="181"/>
                  </a:cubicBezTo>
                  <a:cubicBezTo>
                    <a:pt x="26" y="182"/>
                    <a:pt x="26" y="183"/>
                    <a:pt x="26" y="184"/>
                  </a:cubicBezTo>
                  <a:cubicBezTo>
                    <a:pt x="26" y="185"/>
                    <a:pt x="26" y="186"/>
                    <a:pt x="26" y="186"/>
                  </a:cubicBezTo>
                  <a:cubicBezTo>
                    <a:pt x="26" y="187"/>
                    <a:pt x="26" y="188"/>
                    <a:pt x="26" y="188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3" name="Freeform 93">
              <a:extLst>
                <a:ext uri="{FF2B5EF4-FFF2-40B4-BE49-F238E27FC236}">
                  <a16:creationId xmlns:a16="http://schemas.microsoft.com/office/drawing/2014/main" id="{74ED82EB-7821-4992-AD95-36C8F80DC6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2838" y="5495925"/>
              <a:ext cx="1368425" cy="1063625"/>
            </a:xfrm>
            <a:custGeom>
              <a:avLst/>
              <a:gdLst/>
              <a:ahLst/>
              <a:cxnLst>
                <a:cxn ang="0">
                  <a:pos x="99" y="497"/>
                </a:cxn>
                <a:cxn ang="0">
                  <a:pos x="34" y="469"/>
                </a:cxn>
                <a:cxn ang="0">
                  <a:pos x="34" y="466"/>
                </a:cxn>
                <a:cxn ang="0">
                  <a:pos x="33" y="479"/>
                </a:cxn>
                <a:cxn ang="0">
                  <a:pos x="35" y="465"/>
                </a:cxn>
                <a:cxn ang="0">
                  <a:pos x="37" y="282"/>
                </a:cxn>
                <a:cxn ang="0">
                  <a:pos x="38" y="276"/>
                </a:cxn>
                <a:cxn ang="0">
                  <a:pos x="38" y="457"/>
                </a:cxn>
                <a:cxn ang="0">
                  <a:pos x="26" y="306"/>
                </a:cxn>
                <a:cxn ang="0">
                  <a:pos x="34" y="285"/>
                </a:cxn>
                <a:cxn ang="0">
                  <a:pos x="40" y="258"/>
                </a:cxn>
                <a:cxn ang="0">
                  <a:pos x="45" y="246"/>
                </a:cxn>
                <a:cxn ang="0">
                  <a:pos x="48" y="495"/>
                </a:cxn>
                <a:cxn ang="0">
                  <a:pos x="52" y="496"/>
                </a:cxn>
                <a:cxn ang="0">
                  <a:pos x="0" y="373"/>
                </a:cxn>
                <a:cxn ang="0">
                  <a:pos x="0" y="375"/>
                </a:cxn>
                <a:cxn ang="0">
                  <a:pos x="1" y="359"/>
                </a:cxn>
                <a:cxn ang="0">
                  <a:pos x="499" y="314"/>
                </a:cxn>
                <a:cxn ang="0">
                  <a:pos x="672" y="99"/>
                </a:cxn>
                <a:cxn ang="0">
                  <a:pos x="648" y="101"/>
                </a:cxn>
                <a:cxn ang="0">
                  <a:pos x="621" y="96"/>
                </a:cxn>
                <a:cxn ang="0">
                  <a:pos x="617" y="77"/>
                </a:cxn>
                <a:cxn ang="0">
                  <a:pos x="577" y="77"/>
                </a:cxn>
                <a:cxn ang="0">
                  <a:pos x="490" y="58"/>
                </a:cxn>
                <a:cxn ang="0">
                  <a:pos x="456" y="31"/>
                </a:cxn>
                <a:cxn ang="0">
                  <a:pos x="373" y="28"/>
                </a:cxn>
                <a:cxn ang="0">
                  <a:pos x="285" y="25"/>
                </a:cxn>
                <a:cxn ang="0">
                  <a:pos x="205" y="15"/>
                </a:cxn>
                <a:cxn ang="0">
                  <a:pos x="83" y="15"/>
                </a:cxn>
                <a:cxn ang="0">
                  <a:pos x="63" y="39"/>
                </a:cxn>
                <a:cxn ang="0">
                  <a:pos x="27" y="69"/>
                </a:cxn>
                <a:cxn ang="0">
                  <a:pos x="53" y="92"/>
                </a:cxn>
                <a:cxn ang="0">
                  <a:pos x="24" y="129"/>
                </a:cxn>
                <a:cxn ang="0">
                  <a:pos x="47" y="141"/>
                </a:cxn>
                <a:cxn ang="0">
                  <a:pos x="82" y="133"/>
                </a:cxn>
                <a:cxn ang="0">
                  <a:pos x="101" y="148"/>
                </a:cxn>
                <a:cxn ang="0">
                  <a:pos x="142" y="141"/>
                </a:cxn>
                <a:cxn ang="0">
                  <a:pos x="175" y="145"/>
                </a:cxn>
                <a:cxn ang="0">
                  <a:pos x="188" y="178"/>
                </a:cxn>
                <a:cxn ang="0">
                  <a:pos x="149" y="207"/>
                </a:cxn>
                <a:cxn ang="0">
                  <a:pos x="144" y="274"/>
                </a:cxn>
                <a:cxn ang="0">
                  <a:pos x="110" y="319"/>
                </a:cxn>
                <a:cxn ang="0">
                  <a:pos x="123" y="351"/>
                </a:cxn>
                <a:cxn ang="0">
                  <a:pos x="118" y="393"/>
                </a:cxn>
                <a:cxn ang="0">
                  <a:pos x="136" y="426"/>
                </a:cxn>
                <a:cxn ang="0">
                  <a:pos x="116" y="444"/>
                </a:cxn>
                <a:cxn ang="0">
                  <a:pos x="109" y="473"/>
                </a:cxn>
                <a:cxn ang="0">
                  <a:pos x="159" y="506"/>
                </a:cxn>
                <a:cxn ang="0">
                  <a:pos x="205" y="564"/>
                </a:cxn>
                <a:cxn ang="0">
                  <a:pos x="263" y="534"/>
                </a:cxn>
                <a:cxn ang="0">
                  <a:pos x="351" y="521"/>
                </a:cxn>
                <a:cxn ang="0">
                  <a:pos x="399" y="517"/>
                </a:cxn>
                <a:cxn ang="0">
                  <a:pos x="438" y="466"/>
                </a:cxn>
                <a:cxn ang="0">
                  <a:pos x="472" y="442"/>
                </a:cxn>
                <a:cxn ang="0">
                  <a:pos x="513" y="394"/>
                </a:cxn>
                <a:cxn ang="0">
                  <a:pos x="493" y="328"/>
                </a:cxn>
                <a:cxn ang="0">
                  <a:pos x="547" y="255"/>
                </a:cxn>
                <a:cxn ang="0">
                  <a:pos x="619" y="203"/>
                </a:cxn>
                <a:cxn ang="0">
                  <a:pos x="671" y="178"/>
                </a:cxn>
                <a:cxn ang="0">
                  <a:pos x="731" y="134"/>
                </a:cxn>
              </a:cxnLst>
              <a:rect l="0" t="0" r="r" b="b"/>
              <a:pathLst>
                <a:path w="732" h="569">
                  <a:moveTo>
                    <a:pt x="108" y="495"/>
                  </a:moveTo>
                  <a:cubicBezTo>
                    <a:pt x="107" y="495"/>
                    <a:pt x="106" y="496"/>
                    <a:pt x="105" y="496"/>
                  </a:cubicBezTo>
                  <a:cubicBezTo>
                    <a:pt x="106" y="496"/>
                    <a:pt x="107" y="495"/>
                    <a:pt x="108" y="495"/>
                  </a:cubicBezTo>
                  <a:moveTo>
                    <a:pt x="98" y="497"/>
                  </a:moveTo>
                  <a:cubicBezTo>
                    <a:pt x="97" y="497"/>
                    <a:pt x="96" y="497"/>
                    <a:pt x="95" y="497"/>
                  </a:cubicBezTo>
                  <a:cubicBezTo>
                    <a:pt x="99" y="497"/>
                    <a:pt x="102" y="497"/>
                    <a:pt x="105" y="496"/>
                  </a:cubicBezTo>
                  <a:cubicBezTo>
                    <a:pt x="105" y="496"/>
                    <a:pt x="105" y="496"/>
                    <a:pt x="105" y="496"/>
                  </a:cubicBezTo>
                  <a:cubicBezTo>
                    <a:pt x="103" y="496"/>
                    <a:pt x="101" y="497"/>
                    <a:pt x="99" y="497"/>
                  </a:cubicBezTo>
                  <a:cubicBezTo>
                    <a:pt x="99" y="497"/>
                    <a:pt x="98" y="497"/>
                    <a:pt x="98" y="497"/>
                  </a:cubicBezTo>
                  <a:moveTo>
                    <a:pt x="59" y="496"/>
                  </a:moveTo>
                  <a:cubicBezTo>
                    <a:pt x="57" y="496"/>
                    <a:pt x="56" y="496"/>
                    <a:pt x="54" y="496"/>
                  </a:cubicBezTo>
                  <a:cubicBezTo>
                    <a:pt x="56" y="496"/>
                    <a:pt x="57" y="496"/>
                    <a:pt x="59" y="496"/>
                  </a:cubicBezTo>
                  <a:cubicBezTo>
                    <a:pt x="60" y="496"/>
                    <a:pt x="60" y="496"/>
                    <a:pt x="61" y="496"/>
                  </a:cubicBezTo>
                  <a:cubicBezTo>
                    <a:pt x="60" y="496"/>
                    <a:pt x="60" y="496"/>
                    <a:pt x="59" y="496"/>
                  </a:cubicBezTo>
                  <a:moveTo>
                    <a:pt x="34" y="471"/>
                  </a:moveTo>
                  <a:cubicBezTo>
                    <a:pt x="34" y="470"/>
                    <a:pt x="34" y="470"/>
                    <a:pt x="34" y="469"/>
                  </a:cubicBezTo>
                  <a:cubicBezTo>
                    <a:pt x="34" y="470"/>
                    <a:pt x="34" y="470"/>
                    <a:pt x="34" y="471"/>
                  </a:cubicBezTo>
                  <a:moveTo>
                    <a:pt x="34" y="472"/>
                  </a:moveTo>
                  <a:cubicBezTo>
                    <a:pt x="34" y="472"/>
                    <a:pt x="34" y="471"/>
                    <a:pt x="34" y="471"/>
                  </a:cubicBezTo>
                  <a:cubicBezTo>
                    <a:pt x="34" y="471"/>
                    <a:pt x="34" y="472"/>
                    <a:pt x="34" y="472"/>
                  </a:cubicBezTo>
                  <a:moveTo>
                    <a:pt x="34" y="473"/>
                  </a:moveTo>
                  <a:cubicBezTo>
                    <a:pt x="34" y="473"/>
                    <a:pt x="34" y="474"/>
                    <a:pt x="34" y="474"/>
                  </a:cubicBezTo>
                  <a:cubicBezTo>
                    <a:pt x="34" y="474"/>
                    <a:pt x="34" y="473"/>
                    <a:pt x="34" y="473"/>
                  </a:cubicBezTo>
                  <a:moveTo>
                    <a:pt x="34" y="466"/>
                  </a:moveTo>
                  <a:cubicBezTo>
                    <a:pt x="34" y="467"/>
                    <a:pt x="34" y="467"/>
                    <a:pt x="34" y="467"/>
                  </a:cubicBezTo>
                  <a:cubicBezTo>
                    <a:pt x="34" y="467"/>
                    <a:pt x="34" y="467"/>
                    <a:pt x="34" y="466"/>
                  </a:cubicBezTo>
                  <a:moveTo>
                    <a:pt x="34" y="476"/>
                  </a:moveTo>
                  <a:cubicBezTo>
                    <a:pt x="34" y="476"/>
                    <a:pt x="34" y="475"/>
                    <a:pt x="34" y="475"/>
                  </a:cubicBezTo>
                  <a:cubicBezTo>
                    <a:pt x="34" y="475"/>
                    <a:pt x="34" y="476"/>
                    <a:pt x="34" y="476"/>
                  </a:cubicBezTo>
                  <a:moveTo>
                    <a:pt x="33" y="479"/>
                  </a:moveTo>
                  <a:cubicBezTo>
                    <a:pt x="33" y="478"/>
                    <a:pt x="34" y="477"/>
                    <a:pt x="34" y="476"/>
                  </a:cubicBezTo>
                  <a:cubicBezTo>
                    <a:pt x="34" y="477"/>
                    <a:pt x="33" y="478"/>
                    <a:pt x="33" y="479"/>
                  </a:cubicBezTo>
                  <a:moveTo>
                    <a:pt x="30" y="485"/>
                  </a:moveTo>
                  <a:cubicBezTo>
                    <a:pt x="31" y="484"/>
                    <a:pt x="31" y="484"/>
                    <a:pt x="31" y="483"/>
                  </a:cubicBezTo>
                  <a:cubicBezTo>
                    <a:pt x="31" y="484"/>
                    <a:pt x="31" y="484"/>
                    <a:pt x="30" y="485"/>
                  </a:cubicBezTo>
                  <a:moveTo>
                    <a:pt x="32" y="481"/>
                  </a:moveTo>
                  <a:cubicBezTo>
                    <a:pt x="32" y="481"/>
                    <a:pt x="32" y="481"/>
                    <a:pt x="32" y="481"/>
                  </a:cubicBezTo>
                  <a:cubicBezTo>
                    <a:pt x="32" y="481"/>
                    <a:pt x="32" y="481"/>
                    <a:pt x="32" y="481"/>
                  </a:cubicBezTo>
                  <a:moveTo>
                    <a:pt x="34" y="465"/>
                  </a:moveTo>
                  <a:cubicBezTo>
                    <a:pt x="34" y="465"/>
                    <a:pt x="35" y="465"/>
                    <a:pt x="35" y="465"/>
                  </a:cubicBezTo>
                  <a:cubicBezTo>
                    <a:pt x="35" y="465"/>
                    <a:pt x="34" y="465"/>
                    <a:pt x="34" y="465"/>
                  </a:cubicBezTo>
                  <a:moveTo>
                    <a:pt x="35" y="463"/>
                  </a:moveTo>
                  <a:cubicBezTo>
                    <a:pt x="35" y="462"/>
                    <a:pt x="36" y="461"/>
                    <a:pt x="36" y="461"/>
                  </a:cubicBezTo>
                  <a:cubicBezTo>
                    <a:pt x="36" y="461"/>
                    <a:pt x="35" y="462"/>
                    <a:pt x="35" y="463"/>
                  </a:cubicBezTo>
                  <a:moveTo>
                    <a:pt x="37" y="460"/>
                  </a:moveTo>
                  <a:cubicBezTo>
                    <a:pt x="37" y="459"/>
                    <a:pt x="37" y="459"/>
                    <a:pt x="37" y="458"/>
                  </a:cubicBezTo>
                  <a:cubicBezTo>
                    <a:pt x="37" y="459"/>
                    <a:pt x="37" y="459"/>
                    <a:pt x="37" y="460"/>
                  </a:cubicBezTo>
                  <a:moveTo>
                    <a:pt x="37" y="282"/>
                  </a:moveTo>
                  <a:cubicBezTo>
                    <a:pt x="38" y="282"/>
                    <a:pt x="38" y="282"/>
                    <a:pt x="38" y="282"/>
                  </a:cubicBezTo>
                  <a:cubicBezTo>
                    <a:pt x="38" y="282"/>
                    <a:pt x="38" y="282"/>
                    <a:pt x="37" y="282"/>
                  </a:cubicBezTo>
                  <a:moveTo>
                    <a:pt x="38" y="281"/>
                  </a:moveTo>
                  <a:cubicBezTo>
                    <a:pt x="38" y="281"/>
                    <a:pt x="38" y="281"/>
                    <a:pt x="38" y="281"/>
                  </a:cubicBezTo>
                  <a:cubicBezTo>
                    <a:pt x="38" y="281"/>
                    <a:pt x="38" y="281"/>
                    <a:pt x="38" y="281"/>
                  </a:cubicBezTo>
                  <a:moveTo>
                    <a:pt x="38" y="275"/>
                  </a:moveTo>
                  <a:cubicBezTo>
                    <a:pt x="38" y="274"/>
                    <a:pt x="38" y="274"/>
                    <a:pt x="37" y="273"/>
                  </a:cubicBezTo>
                  <a:cubicBezTo>
                    <a:pt x="38" y="274"/>
                    <a:pt x="38" y="275"/>
                    <a:pt x="38" y="276"/>
                  </a:cubicBezTo>
                  <a:cubicBezTo>
                    <a:pt x="38" y="276"/>
                    <a:pt x="38" y="275"/>
                    <a:pt x="38" y="275"/>
                  </a:cubicBezTo>
                  <a:moveTo>
                    <a:pt x="38" y="278"/>
                  </a:moveTo>
                  <a:cubicBezTo>
                    <a:pt x="39" y="278"/>
                    <a:pt x="39" y="279"/>
                    <a:pt x="38" y="279"/>
                  </a:cubicBezTo>
                  <a:cubicBezTo>
                    <a:pt x="39" y="279"/>
                    <a:pt x="39" y="278"/>
                    <a:pt x="38" y="278"/>
                  </a:cubicBezTo>
                  <a:moveTo>
                    <a:pt x="38" y="278"/>
                  </a:moveTo>
                  <a:cubicBezTo>
                    <a:pt x="38" y="277"/>
                    <a:pt x="38" y="277"/>
                    <a:pt x="38" y="277"/>
                  </a:cubicBezTo>
                  <a:cubicBezTo>
                    <a:pt x="38" y="277"/>
                    <a:pt x="38" y="277"/>
                    <a:pt x="38" y="278"/>
                  </a:cubicBezTo>
                  <a:moveTo>
                    <a:pt x="38" y="457"/>
                  </a:moveTo>
                  <a:cubicBezTo>
                    <a:pt x="38" y="456"/>
                    <a:pt x="38" y="456"/>
                    <a:pt x="38" y="456"/>
                  </a:cubicBezTo>
                  <a:cubicBezTo>
                    <a:pt x="38" y="456"/>
                    <a:pt x="38" y="456"/>
                    <a:pt x="38" y="457"/>
                  </a:cubicBezTo>
                  <a:moveTo>
                    <a:pt x="30" y="485"/>
                  </a:moveTo>
                  <a:cubicBezTo>
                    <a:pt x="30" y="486"/>
                    <a:pt x="29" y="486"/>
                    <a:pt x="29" y="487"/>
                  </a:cubicBezTo>
                  <a:cubicBezTo>
                    <a:pt x="29" y="486"/>
                    <a:pt x="30" y="486"/>
                    <a:pt x="30" y="485"/>
                  </a:cubicBezTo>
                  <a:moveTo>
                    <a:pt x="26" y="306"/>
                  </a:moveTo>
                  <a:cubicBezTo>
                    <a:pt x="26" y="307"/>
                    <a:pt x="26" y="308"/>
                    <a:pt x="26" y="308"/>
                  </a:cubicBezTo>
                  <a:cubicBezTo>
                    <a:pt x="26" y="308"/>
                    <a:pt x="26" y="307"/>
                    <a:pt x="26" y="306"/>
                  </a:cubicBezTo>
                  <a:moveTo>
                    <a:pt x="26" y="303"/>
                  </a:moveTo>
                  <a:cubicBezTo>
                    <a:pt x="26" y="304"/>
                    <a:pt x="26" y="305"/>
                    <a:pt x="26" y="306"/>
                  </a:cubicBezTo>
                  <a:cubicBezTo>
                    <a:pt x="26" y="305"/>
                    <a:pt x="26" y="304"/>
                    <a:pt x="26" y="303"/>
                  </a:cubicBezTo>
                  <a:moveTo>
                    <a:pt x="36" y="284"/>
                  </a:moveTo>
                  <a:cubicBezTo>
                    <a:pt x="36" y="284"/>
                    <a:pt x="36" y="284"/>
                    <a:pt x="35" y="284"/>
                  </a:cubicBezTo>
                  <a:cubicBezTo>
                    <a:pt x="36" y="284"/>
                    <a:pt x="36" y="284"/>
                    <a:pt x="36" y="284"/>
                  </a:cubicBezTo>
                  <a:moveTo>
                    <a:pt x="35" y="285"/>
                  </a:moveTo>
                  <a:cubicBezTo>
                    <a:pt x="35" y="285"/>
                    <a:pt x="34" y="285"/>
                    <a:pt x="34" y="285"/>
                  </a:cubicBezTo>
                  <a:cubicBezTo>
                    <a:pt x="34" y="285"/>
                    <a:pt x="35" y="285"/>
                    <a:pt x="35" y="285"/>
                  </a:cubicBezTo>
                  <a:moveTo>
                    <a:pt x="33" y="286"/>
                  </a:moveTo>
                  <a:cubicBezTo>
                    <a:pt x="33" y="286"/>
                    <a:pt x="34" y="286"/>
                    <a:pt x="34" y="286"/>
                  </a:cubicBezTo>
                  <a:cubicBezTo>
                    <a:pt x="34" y="286"/>
                    <a:pt x="33" y="286"/>
                    <a:pt x="33" y="286"/>
                  </a:cubicBezTo>
                  <a:moveTo>
                    <a:pt x="37" y="282"/>
                  </a:moveTo>
                  <a:cubicBezTo>
                    <a:pt x="37" y="282"/>
                    <a:pt x="37" y="283"/>
                    <a:pt x="37" y="283"/>
                  </a:cubicBezTo>
                  <a:cubicBezTo>
                    <a:pt x="37" y="283"/>
                    <a:pt x="37" y="282"/>
                    <a:pt x="37" y="282"/>
                  </a:cubicBezTo>
                  <a:moveTo>
                    <a:pt x="40" y="258"/>
                  </a:moveTo>
                  <a:cubicBezTo>
                    <a:pt x="40" y="259"/>
                    <a:pt x="39" y="260"/>
                    <a:pt x="39" y="261"/>
                  </a:cubicBezTo>
                  <a:cubicBezTo>
                    <a:pt x="39" y="260"/>
                    <a:pt x="40" y="259"/>
                    <a:pt x="40" y="258"/>
                  </a:cubicBezTo>
                  <a:moveTo>
                    <a:pt x="41" y="153"/>
                  </a:moveTo>
                  <a:cubicBezTo>
                    <a:pt x="42" y="153"/>
                    <a:pt x="42" y="152"/>
                    <a:pt x="42" y="151"/>
                  </a:cubicBezTo>
                  <a:cubicBezTo>
                    <a:pt x="42" y="151"/>
                    <a:pt x="42" y="151"/>
                    <a:pt x="42" y="151"/>
                  </a:cubicBezTo>
                  <a:cubicBezTo>
                    <a:pt x="42" y="152"/>
                    <a:pt x="42" y="153"/>
                    <a:pt x="41" y="153"/>
                  </a:cubicBezTo>
                  <a:moveTo>
                    <a:pt x="45" y="247"/>
                  </a:moveTo>
                  <a:cubicBezTo>
                    <a:pt x="45" y="247"/>
                    <a:pt x="45" y="247"/>
                    <a:pt x="45" y="246"/>
                  </a:cubicBezTo>
                  <a:cubicBezTo>
                    <a:pt x="45" y="247"/>
                    <a:pt x="45" y="247"/>
                    <a:pt x="45" y="247"/>
                  </a:cubicBezTo>
                  <a:moveTo>
                    <a:pt x="46" y="245"/>
                  </a:moveTo>
                  <a:cubicBezTo>
                    <a:pt x="46" y="245"/>
                    <a:pt x="46" y="244"/>
                    <a:pt x="46" y="244"/>
                  </a:cubicBezTo>
                  <a:cubicBezTo>
                    <a:pt x="46" y="244"/>
                    <a:pt x="46" y="245"/>
                    <a:pt x="46" y="245"/>
                  </a:cubicBezTo>
                  <a:moveTo>
                    <a:pt x="46" y="243"/>
                  </a:moveTo>
                  <a:cubicBezTo>
                    <a:pt x="46" y="243"/>
                    <a:pt x="46" y="242"/>
                    <a:pt x="46" y="242"/>
                  </a:cubicBezTo>
                  <a:cubicBezTo>
                    <a:pt x="46" y="242"/>
                    <a:pt x="46" y="243"/>
                    <a:pt x="46" y="243"/>
                  </a:cubicBezTo>
                  <a:moveTo>
                    <a:pt x="48" y="495"/>
                  </a:moveTo>
                  <a:cubicBezTo>
                    <a:pt x="47" y="495"/>
                    <a:pt x="46" y="495"/>
                    <a:pt x="45" y="495"/>
                  </a:cubicBezTo>
                  <a:cubicBezTo>
                    <a:pt x="46" y="495"/>
                    <a:pt x="47" y="495"/>
                    <a:pt x="48" y="495"/>
                  </a:cubicBezTo>
                  <a:moveTo>
                    <a:pt x="43" y="496"/>
                  </a:moveTo>
                  <a:cubicBezTo>
                    <a:pt x="42" y="496"/>
                    <a:pt x="41" y="496"/>
                    <a:pt x="41" y="496"/>
                  </a:cubicBezTo>
                  <a:cubicBezTo>
                    <a:pt x="41" y="496"/>
                    <a:pt x="42" y="496"/>
                    <a:pt x="43" y="496"/>
                  </a:cubicBezTo>
                  <a:moveTo>
                    <a:pt x="52" y="496"/>
                  </a:moveTo>
                  <a:cubicBezTo>
                    <a:pt x="51" y="496"/>
                    <a:pt x="51" y="496"/>
                    <a:pt x="50" y="495"/>
                  </a:cubicBezTo>
                  <a:cubicBezTo>
                    <a:pt x="51" y="496"/>
                    <a:pt x="51" y="496"/>
                    <a:pt x="52" y="496"/>
                  </a:cubicBezTo>
                  <a:moveTo>
                    <a:pt x="50" y="495"/>
                  </a:moveTo>
                  <a:cubicBezTo>
                    <a:pt x="49" y="495"/>
                    <a:pt x="48" y="495"/>
                    <a:pt x="48" y="495"/>
                  </a:cubicBezTo>
                  <a:cubicBezTo>
                    <a:pt x="48" y="495"/>
                    <a:pt x="49" y="495"/>
                    <a:pt x="50" y="495"/>
                  </a:cubicBezTo>
                  <a:moveTo>
                    <a:pt x="45" y="495"/>
                  </a:moveTo>
                  <a:cubicBezTo>
                    <a:pt x="44" y="495"/>
                    <a:pt x="44" y="495"/>
                    <a:pt x="43" y="495"/>
                  </a:cubicBezTo>
                  <a:cubicBezTo>
                    <a:pt x="44" y="495"/>
                    <a:pt x="44" y="495"/>
                    <a:pt x="45" y="495"/>
                  </a:cubicBezTo>
                  <a:moveTo>
                    <a:pt x="0" y="373"/>
                  </a:moveTo>
                  <a:cubicBezTo>
                    <a:pt x="0" y="373"/>
                    <a:pt x="0" y="373"/>
                    <a:pt x="0" y="373"/>
                  </a:cubicBezTo>
                  <a:cubicBezTo>
                    <a:pt x="0" y="373"/>
                    <a:pt x="0" y="373"/>
                    <a:pt x="0" y="373"/>
                  </a:cubicBezTo>
                  <a:moveTo>
                    <a:pt x="0" y="372"/>
                  </a:moveTo>
                  <a:cubicBezTo>
                    <a:pt x="0" y="372"/>
                    <a:pt x="0" y="372"/>
                    <a:pt x="0" y="373"/>
                  </a:cubicBezTo>
                  <a:cubicBezTo>
                    <a:pt x="0" y="372"/>
                    <a:pt x="0" y="372"/>
                    <a:pt x="0" y="372"/>
                  </a:cubicBezTo>
                  <a:moveTo>
                    <a:pt x="1" y="376"/>
                  </a:moveTo>
                  <a:cubicBezTo>
                    <a:pt x="1" y="375"/>
                    <a:pt x="0" y="375"/>
                    <a:pt x="0" y="375"/>
                  </a:cubicBezTo>
                  <a:cubicBezTo>
                    <a:pt x="0" y="375"/>
                    <a:pt x="1" y="375"/>
                    <a:pt x="1" y="376"/>
                  </a:cubicBezTo>
                  <a:moveTo>
                    <a:pt x="0" y="375"/>
                  </a:moveTo>
                  <a:cubicBezTo>
                    <a:pt x="0" y="375"/>
                    <a:pt x="0" y="375"/>
                    <a:pt x="0" y="374"/>
                  </a:cubicBezTo>
                  <a:cubicBezTo>
                    <a:pt x="0" y="375"/>
                    <a:pt x="0" y="375"/>
                    <a:pt x="0" y="375"/>
                  </a:cubicBezTo>
                  <a:moveTo>
                    <a:pt x="0" y="374"/>
                  </a:moveTo>
                  <a:cubicBezTo>
                    <a:pt x="0" y="374"/>
                    <a:pt x="0" y="374"/>
                    <a:pt x="0" y="374"/>
                  </a:cubicBezTo>
                  <a:cubicBezTo>
                    <a:pt x="0" y="374"/>
                    <a:pt x="0" y="374"/>
                    <a:pt x="0" y="374"/>
                  </a:cubicBezTo>
                  <a:moveTo>
                    <a:pt x="1" y="359"/>
                  </a:moveTo>
                  <a:cubicBezTo>
                    <a:pt x="1" y="359"/>
                    <a:pt x="1" y="360"/>
                    <a:pt x="1" y="360"/>
                  </a:cubicBezTo>
                  <a:cubicBezTo>
                    <a:pt x="1" y="360"/>
                    <a:pt x="1" y="359"/>
                    <a:pt x="1" y="359"/>
                  </a:cubicBezTo>
                  <a:moveTo>
                    <a:pt x="0" y="362"/>
                  </a:moveTo>
                  <a:cubicBezTo>
                    <a:pt x="0" y="363"/>
                    <a:pt x="0" y="363"/>
                    <a:pt x="0" y="363"/>
                  </a:cubicBezTo>
                  <a:cubicBezTo>
                    <a:pt x="0" y="363"/>
                    <a:pt x="0" y="363"/>
                    <a:pt x="0" y="362"/>
                  </a:cubicBezTo>
                  <a:moveTo>
                    <a:pt x="447" y="26"/>
                  </a:moveTo>
                  <a:cubicBezTo>
                    <a:pt x="447" y="26"/>
                    <a:pt x="448" y="26"/>
                    <a:pt x="448" y="26"/>
                  </a:cubicBezTo>
                  <a:cubicBezTo>
                    <a:pt x="448" y="26"/>
                    <a:pt x="448" y="26"/>
                    <a:pt x="448" y="26"/>
                  </a:cubicBezTo>
                  <a:cubicBezTo>
                    <a:pt x="451" y="24"/>
                    <a:pt x="447" y="26"/>
                    <a:pt x="447" y="26"/>
                  </a:cubicBezTo>
                  <a:moveTo>
                    <a:pt x="499" y="314"/>
                  </a:moveTo>
                  <a:cubicBezTo>
                    <a:pt x="499" y="313"/>
                    <a:pt x="500" y="313"/>
                    <a:pt x="500" y="313"/>
                  </a:cubicBezTo>
                  <a:cubicBezTo>
                    <a:pt x="500" y="313"/>
                    <a:pt x="499" y="313"/>
                    <a:pt x="499" y="314"/>
                  </a:cubicBezTo>
                  <a:moveTo>
                    <a:pt x="731" y="104"/>
                  </a:moveTo>
                  <a:cubicBezTo>
                    <a:pt x="732" y="100"/>
                    <a:pt x="727" y="98"/>
                    <a:pt x="724" y="97"/>
                  </a:cubicBezTo>
                  <a:cubicBezTo>
                    <a:pt x="719" y="96"/>
                    <a:pt x="714" y="96"/>
                    <a:pt x="709" y="96"/>
                  </a:cubicBezTo>
                  <a:cubicBezTo>
                    <a:pt x="705" y="96"/>
                    <a:pt x="703" y="97"/>
                    <a:pt x="699" y="98"/>
                  </a:cubicBezTo>
                  <a:cubicBezTo>
                    <a:pt x="695" y="100"/>
                    <a:pt x="694" y="103"/>
                    <a:pt x="689" y="102"/>
                  </a:cubicBezTo>
                  <a:cubicBezTo>
                    <a:pt x="684" y="101"/>
                    <a:pt x="677" y="98"/>
                    <a:pt x="672" y="99"/>
                  </a:cubicBezTo>
                  <a:cubicBezTo>
                    <a:pt x="671" y="99"/>
                    <a:pt x="670" y="100"/>
                    <a:pt x="669" y="100"/>
                  </a:cubicBezTo>
                  <a:cubicBezTo>
                    <a:pt x="669" y="101"/>
                    <a:pt x="669" y="101"/>
                    <a:pt x="668" y="102"/>
                  </a:cubicBezTo>
                  <a:cubicBezTo>
                    <a:pt x="668" y="102"/>
                    <a:pt x="667" y="102"/>
                    <a:pt x="667" y="102"/>
                  </a:cubicBezTo>
                  <a:cubicBezTo>
                    <a:pt x="665" y="103"/>
                    <a:pt x="665" y="104"/>
                    <a:pt x="663" y="104"/>
                  </a:cubicBezTo>
                  <a:cubicBezTo>
                    <a:pt x="661" y="105"/>
                    <a:pt x="661" y="104"/>
                    <a:pt x="659" y="103"/>
                  </a:cubicBezTo>
                  <a:cubicBezTo>
                    <a:pt x="659" y="103"/>
                    <a:pt x="659" y="103"/>
                    <a:pt x="659" y="103"/>
                  </a:cubicBezTo>
                  <a:cubicBezTo>
                    <a:pt x="658" y="104"/>
                    <a:pt x="656" y="104"/>
                    <a:pt x="655" y="103"/>
                  </a:cubicBezTo>
                  <a:cubicBezTo>
                    <a:pt x="652" y="103"/>
                    <a:pt x="650" y="102"/>
                    <a:pt x="648" y="101"/>
                  </a:cubicBezTo>
                  <a:cubicBezTo>
                    <a:pt x="647" y="100"/>
                    <a:pt x="646" y="99"/>
                    <a:pt x="645" y="99"/>
                  </a:cubicBezTo>
                  <a:cubicBezTo>
                    <a:pt x="644" y="99"/>
                    <a:pt x="643" y="98"/>
                    <a:pt x="641" y="98"/>
                  </a:cubicBezTo>
                  <a:cubicBezTo>
                    <a:pt x="640" y="98"/>
                    <a:pt x="639" y="98"/>
                    <a:pt x="638" y="98"/>
                  </a:cubicBezTo>
                  <a:cubicBezTo>
                    <a:pt x="637" y="98"/>
                    <a:pt x="636" y="98"/>
                    <a:pt x="636" y="98"/>
                  </a:cubicBezTo>
                  <a:cubicBezTo>
                    <a:pt x="635" y="99"/>
                    <a:pt x="635" y="99"/>
                    <a:pt x="634" y="99"/>
                  </a:cubicBezTo>
                  <a:cubicBezTo>
                    <a:pt x="633" y="100"/>
                    <a:pt x="632" y="100"/>
                    <a:pt x="631" y="99"/>
                  </a:cubicBezTo>
                  <a:cubicBezTo>
                    <a:pt x="629" y="99"/>
                    <a:pt x="627" y="99"/>
                    <a:pt x="625" y="99"/>
                  </a:cubicBezTo>
                  <a:cubicBezTo>
                    <a:pt x="623" y="98"/>
                    <a:pt x="622" y="97"/>
                    <a:pt x="621" y="96"/>
                  </a:cubicBezTo>
                  <a:cubicBezTo>
                    <a:pt x="619" y="94"/>
                    <a:pt x="617" y="93"/>
                    <a:pt x="617" y="91"/>
                  </a:cubicBezTo>
                  <a:cubicBezTo>
                    <a:pt x="616" y="90"/>
                    <a:pt x="616" y="88"/>
                    <a:pt x="617" y="87"/>
                  </a:cubicBezTo>
                  <a:cubicBezTo>
                    <a:pt x="618" y="85"/>
                    <a:pt x="621" y="85"/>
                    <a:pt x="623" y="84"/>
                  </a:cubicBezTo>
                  <a:cubicBezTo>
                    <a:pt x="623" y="83"/>
                    <a:pt x="623" y="83"/>
                    <a:pt x="623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3" y="80"/>
                    <a:pt x="620" y="78"/>
                    <a:pt x="617" y="77"/>
                  </a:cubicBezTo>
                  <a:cubicBezTo>
                    <a:pt x="615" y="76"/>
                    <a:pt x="614" y="75"/>
                    <a:pt x="611" y="74"/>
                  </a:cubicBezTo>
                  <a:cubicBezTo>
                    <a:pt x="609" y="73"/>
                    <a:pt x="607" y="73"/>
                    <a:pt x="605" y="73"/>
                  </a:cubicBezTo>
                  <a:cubicBezTo>
                    <a:pt x="600" y="72"/>
                    <a:pt x="596" y="69"/>
                    <a:pt x="592" y="68"/>
                  </a:cubicBezTo>
                  <a:cubicBezTo>
                    <a:pt x="589" y="68"/>
                    <a:pt x="587" y="66"/>
                    <a:pt x="584" y="65"/>
                  </a:cubicBezTo>
                  <a:cubicBezTo>
                    <a:pt x="584" y="67"/>
                    <a:pt x="584" y="69"/>
                    <a:pt x="583" y="70"/>
                  </a:cubicBezTo>
                  <a:cubicBezTo>
                    <a:pt x="583" y="71"/>
                    <a:pt x="582" y="71"/>
                    <a:pt x="582" y="73"/>
                  </a:cubicBezTo>
                  <a:cubicBezTo>
                    <a:pt x="581" y="74"/>
                    <a:pt x="582" y="75"/>
                    <a:pt x="581" y="76"/>
                  </a:cubicBezTo>
                  <a:cubicBezTo>
                    <a:pt x="580" y="78"/>
                    <a:pt x="579" y="77"/>
                    <a:pt x="577" y="77"/>
                  </a:cubicBezTo>
                  <a:cubicBezTo>
                    <a:pt x="569" y="78"/>
                    <a:pt x="560" y="77"/>
                    <a:pt x="552" y="77"/>
                  </a:cubicBezTo>
                  <a:cubicBezTo>
                    <a:pt x="549" y="77"/>
                    <a:pt x="547" y="78"/>
                    <a:pt x="545" y="78"/>
                  </a:cubicBezTo>
                  <a:cubicBezTo>
                    <a:pt x="543" y="78"/>
                    <a:pt x="541" y="77"/>
                    <a:pt x="540" y="76"/>
                  </a:cubicBezTo>
                  <a:cubicBezTo>
                    <a:pt x="538" y="75"/>
                    <a:pt x="536" y="74"/>
                    <a:pt x="534" y="73"/>
                  </a:cubicBezTo>
                  <a:cubicBezTo>
                    <a:pt x="534" y="72"/>
                    <a:pt x="532" y="70"/>
                    <a:pt x="531" y="70"/>
                  </a:cubicBezTo>
                  <a:cubicBezTo>
                    <a:pt x="529" y="69"/>
                    <a:pt x="525" y="71"/>
                    <a:pt x="522" y="70"/>
                  </a:cubicBezTo>
                  <a:cubicBezTo>
                    <a:pt x="517" y="70"/>
                    <a:pt x="512" y="68"/>
                    <a:pt x="506" y="67"/>
                  </a:cubicBezTo>
                  <a:cubicBezTo>
                    <a:pt x="504" y="58"/>
                    <a:pt x="497" y="61"/>
                    <a:pt x="490" y="58"/>
                  </a:cubicBezTo>
                  <a:cubicBezTo>
                    <a:pt x="488" y="57"/>
                    <a:pt x="486" y="56"/>
                    <a:pt x="484" y="54"/>
                  </a:cubicBezTo>
                  <a:cubicBezTo>
                    <a:pt x="481" y="52"/>
                    <a:pt x="475" y="50"/>
                    <a:pt x="475" y="46"/>
                  </a:cubicBezTo>
                  <a:cubicBezTo>
                    <a:pt x="472" y="45"/>
                    <a:pt x="471" y="48"/>
                    <a:pt x="469" y="49"/>
                  </a:cubicBezTo>
                  <a:cubicBezTo>
                    <a:pt x="467" y="51"/>
                    <a:pt x="465" y="50"/>
                    <a:pt x="464" y="46"/>
                  </a:cubicBezTo>
                  <a:cubicBezTo>
                    <a:pt x="463" y="42"/>
                    <a:pt x="469" y="39"/>
                    <a:pt x="466" y="35"/>
                  </a:cubicBezTo>
                  <a:cubicBezTo>
                    <a:pt x="465" y="33"/>
                    <a:pt x="463" y="34"/>
                    <a:pt x="462" y="33"/>
                  </a:cubicBezTo>
                  <a:cubicBezTo>
                    <a:pt x="461" y="33"/>
                    <a:pt x="460" y="33"/>
                    <a:pt x="459" y="33"/>
                  </a:cubicBezTo>
                  <a:cubicBezTo>
                    <a:pt x="458" y="32"/>
                    <a:pt x="457" y="32"/>
                    <a:pt x="456" y="31"/>
                  </a:cubicBezTo>
                  <a:cubicBezTo>
                    <a:pt x="456" y="31"/>
                    <a:pt x="455" y="30"/>
                    <a:pt x="453" y="30"/>
                  </a:cubicBezTo>
                  <a:cubicBezTo>
                    <a:pt x="453" y="30"/>
                    <a:pt x="452" y="29"/>
                    <a:pt x="451" y="28"/>
                  </a:cubicBezTo>
                  <a:cubicBezTo>
                    <a:pt x="450" y="27"/>
                    <a:pt x="449" y="27"/>
                    <a:pt x="448" y="26"/>
                  </a:cubicBezTo>
                  <a:cubicBezTo>
                    <a:pt x="444" y="29"/>
                    <a:pt x="439" y="31"/>
                    <a:pt x="434" y="31"/>
                  </a:cubicBezTo>
                  <a:cubicBezTo>
                    <a:pt x="429" y="31"/>
                    <a:pt x="424" y="32"/>
                    <a:pt x="419" y="31"/>
                  </a:cubicBezTo>
                  <a:cubicBezTo>
                    <a:pt x="413" y="31"/>
                    <a:pt x="406" y="29"/>
                    <a:pt x="400" y="28"/>
                  </a:cubicBezTo>
                  <a:cubicBezTo>
                    <a:pt x="393" y="28"/>
                    <a:pt x="386" y="27"/>
                    <a:pt x="379" y="27"/>
                  </a:cubicBezTo>
                  <a:cubicBezTo>
                    <a:pt x="377" y="27"/>
                    <a:pt x="375" y="27"/>
                    <a:pt x="373" y="28"/>
                  </a:cubicBezTo>
                  <a:cubicBezTo>
                    <a:pt x="372" y="29"/>
                    <a:pt x="372" y="31"/>
                    <a:pt x="371" y="31"/>
                  </a:cubicBezTo>
                  <a:cubicBezTo>
                    <a:pt x="369" y="32"/>
                    <a:pt x="367" y="29"/>
                    <a:pt x="365" y="28"/>
                  </a:cubicBezTo>
                  <a:cubicBezTo>
                    <a:pt x="363" y="27"/>
                    <a:pt x="362" y="27"/>
                    <a:pt x="360" y="26"/>
                  </a:cubicBezTo>
                  <a:cubicBezTo>
                    <a:pt x="355" y="24"/>
                    <a:pt x="350" y="24"/>
                    <a:pt x="346" y="24"/>
                  </a:cubicBezTo>
                  <a:cubicBezTo>
                    <a:pt x="340" y="23"/>
                    <a:pt x="334" y="24"/>
                    <a:pt x="328" y="24"/>
                  </a:cubicBezTo>
                  <a:cubicBezTo>
                    <a:pt x="319" y="24"/>
                    <a:pt x="311" y="23"/>
                    <a:pt x="303" y="26"/>
                  </a:cubicBezTo>
                  <a:cubicBezTo>
                    <a:pt x="299" y="28"/>
                    <a:pt x="296" y="27"/>
                    <a:pt x="292" y="27"/>
                  </a:cubicBezTo>
                  <a:cubicBezTo>
                    <a:pt x="288" y="27"/>
                    <a:pt x="288" y="27"/>
                    <a:pt x="285" y="25"/>
                  </a:cubicBezTo>
                  <a:cubicBezTo>
                    <a:pt x="279" y="23"/>
                    <a:pt x="272" y="23"/>
                    <a:pt x="266" y="22"/>
                  </a:cubicBezTo>
                  <a:cubicBezTo>
                    <a:pt x="263" y="22"/>
                    <a:pt x="259" y="21"/>
                    <a:pt x="256" y="21"/>
                  </a:cubicBezTo>
                  <a:cubicBezTo>
                    <a:pt x="252" y="20"/>
                    <a:pt x="249" y="20"/>
                    <a:pt x="246" y="20"/>
                  </a:cubicBezTo>
                  <a:cubicBezTo>
                    <a:pt x="244" y="19"/>
                    <a:pt x="242" y="18"/>
                    <a:pt x="240" y="18"/>
                  </a:cubicBezTo>
                  <a:cubicBezTo>
                    <a:pt x="236" y="16"/>
                    <a:pt x="231" y="17"/>
                    <a:pt x="227" y="16"/>
                  </a:cubicBezTo>
                  <a:cubicBezTo>
                    <a:pt x="226" y="11"/>
                    <a:pt x="220" y="12"/>
                    <a:pt x="216" y="12"/>
                  </a:cubicBezTo>
                  <a:cubicBezTo>
                    <a:pt x="214" y="13"/>
                    <a:pt x="212" y="14"/>
                    <a:pt x="209" y="15"/>
                  </a:cubicBezTo>
                  <a:cubicBezTo>
                    <a:pt x="208" y="15"/>
                    <a:pt x="207" y="15"/>
                    <a:pt x="205" y="15"/>
                  </a:cubicBezTo>
                  <a:cubicBezTo>
                    <a:pt x="204" y="16"/>
                    <a:pt x="203" y="16"/>
                    <a:pt x="201" y="16"/>
                  </a:cubicBezTo>
                  <a:cubicBezTo>
                    <a:pt x="194" y="18"/>
                    <a:pt x="185" y="17"/>
                    <a:pt x="178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3" y="17"/>
                    <a:pt x="148" y="18"/>
                    <a:pt x="144" y="15"/>
                  </a:cubicBezTo>
                  <a:cubicBezTo>
                    <a:pt x="139" y="13"/>
                    <a:pt x="135" y="10"/>
                    <a:pt x="130" y="8"/>
                  </a:cubicBezTo>
                  <a:cubicBezTo>
                    <a:pt x="125" y="5"/>
                    <a:pt x="121" y="4"/>
                    <a:pt x="116" y="3"/>
                  </a:cubicBezTo>
                  <a:cubicBezTo>
                    <a:pt x="109" y="2"/>
                    <a:pt x="101" y="0"/>
                    <a:pt x="95" y="2"/>
                  </a:cubicBezTo>
                  <a:cubicBezTo>
                    <a:pt x="88" y="4"/>
                    <a:pt x="87" y="10"/>
                    <a:pt x="83" y="15"/>
                  </a:cubicBezTo>
                  <a:cubicBezTo>
                    <a:pt x="82" y="17"/>
                    <a:pt x="80" y="17"/>
                    <a:pt x="80" y="19"/>
                  </a:cubicBezTo>
                  <a:cubicBezTo>
                    <a:pt x="80" y="20"/>
                    <a:pt x="81" y="22"/>
                    <a:pt x="81" y="23"/>
                  </a:cubicBezTo>
                  <a:cubicBezTo>
                    <a:pt x="82" y="25"/>
                    <a:pt x="83" y="31"/>
                    <a:pt x="81" y="33"/>
                  </a:cubicBezTo>
                  <a:cubicBezTo>
                    <a:pt x="80" y="33"/>
                    <a:pt x="77" y="33"/>
                    <a:pt x="76" y="33"/>
                  </a:cubicBezTo>
                  <a:cubicBezTo>
                    <a:pt x="73" y="33"/>
                    <a:pt x="73" y="33"/>
                    <a:pt x="72" y="35"/>
                  </a:cubicBezTo>
                  <a:cubicBezTo>
                    <a:pt x="71" y="36"/>
                    <a:pt x="70" y="37"/>
                    <a:pt x="68" y="38"/>
                  </a:cubicBezTo>
                  <a:cubicBezTo>
                    <a:pt x="67" y="38"/>
                    <a:pt x="66" y="38"/>
                    <a:pt x="65" y="38"/>
                  </a:cubicBezTo>
                  <a:cubicBezTo>
                    <a:pt x="64" y="38"/>
                    <a:pt x="64" y="39"/>
                    <a:pt x="63" y="39"/>
                  </a:cubicBezTo>
                  <a:cubicBezTo>
                    <a:pt x="59" y="41"/>
                    <a:pt x="54" y="39"/>
                    <a:pt x="49" y="39"/>
                  </a:cubicBezTo>
                  <a:cubicBezTo>
                    <a:pt x="47" y="39"/>
                    <a:pt x="45" y="39"/>
                    <a:pt x="43" y="40"/>
                  </a:cubicBezTo>
                  <a:cubicBezTo>
                    <a:pt x="41" y="40"/>
                    <a:pt x="39" y="42"/>
                    <a:pt x="37" y="43"/>
                  </a:cubicBezTo>
                  <a:cubicBezTo>
                    <a:pt x="33" y="45"/>
                    <a:pt x="30" y="48"/>
                    <a:pt x="27" y="51"/>
                  </a:cubicBezTo>
                  <a:cubicBezTo>
                    <a:pt x="26" y="52"/>
                    <a:pt x="24" y="54"/>
                    <a:pt x="24" y="55"/>
                  </a:cubicBezTo>
                  <a:cubicBezTo>
                    <a:pt x="23" y="56"/>
                    <a:pt x="23" y="58"/>
                    <a:pt x="23" y="60"/>
                  </a:cubicBezTo>
                  <a:cubicBezTo>
                    <a:pt x="23" y="62"/>
                    <a:pt x="23" y="64"/>
                    <a:pt x="23" y="66"/>
                  </a:cubicBezTo>
                  <a:cubicBezTo>
                    <a:pt x="24" y="69"/>
                    <a:pt x="24" y="68"/>
                    <a:pt x="27" y="69"/>
                  </a:cubicBezTo>
                  <a:cubicBezTo>
                    <a:pt x="29" y="70"/>
                    <a:pt x="29" y="70"/>
                    <a:pt x="29" y="73"/>
                  </a:cubicBezTo>
                  <a:cubicBezTo>
                    <a:pt x="29" y="74"/>
                    <a:pt x="29" y="75"/>
                    <a:pt x="30" y="77"/>
                  </a:cubicBezTo>
                  <a:cubicBezTo>
                    <a:pt x="30" y="78"/>
                    <a:pt x="31" y="82"/>
                    <a:pt x="32" y="82"/>
                  </a:cubicBezTo>
                  <a:cubicBezTo>
                    <a:pt x="34" y="84"/>
                    <a:pt x="34" y="81"/>
                    <a:pt x="35" y="80"/>
                  </a:cubicBezTo>
                  <a:cubicBezTo>
                    <a:pt x="40" y="86"/>
                    <a:pt x="32" y="89"/>
                    <a:pt x="34" y="96"/>
                  </a:cubicBezTo>
                  <a:cubicBezTo>
                    <a:pt x="35" y="101"/>
                    <a:pt x="42" y="98"/>
                    <a:pt x="45" y="96"/>
                  </a:cubicBezTo>
                  <a:cubicBezTo>
                    <a:pt x="46" y="94"/>
                    <a:pt x="46" y="90"/>
                    <a:pt x="48" y="89"/>
                  </a:cubicBezTo>
                  <a:cubicBezTo>
                    <a:pt x="49" y="89"/>
                    <a:pt x="52" y="90"/>
                    <a:pt x="53" y="92"/>
                  </a:cubicBezTo>
                  <a:cubicBezTo>
                    <a:pt x="53" y="93"/>
                    <a:pt x="52" y="93"/>
                    <a:pt x="51" y="95"/>
                  </a:cubicBezTo>
                  <a:cubicBezTo>
                    <a:pt x="51" y="96"/>
                    <a:pt x="51" y="99"/>
                    <a:pt x="51" y="101"/>
                  </a:cubicBezTo>
                  <a:cubicBezTo>
                    <a:pt x="51" y="105"/>
                    <a:pt x="49" y="108"/>
                    <a:pt x="48" y="112"/>
                  </a:cubicBezTo>
                  <a:cubicBezTo>
                    <a:pt x="48" y="114"/>
                    <a:pt x="48" y="114"/>
                    <a:pt x="47" y="116"/>
                  </a:cubicBezTo>
                  <a:cubicBezTo>
                    <a:pt x="47" y="117"/>
                    <a:pt x="45" y="118"/>
                    <a:pt x="44" y="119"/>
                  </a:cubicBezTo>
                  <a:cubicBezTo>
                    <a:pt x="43" y="121"/>
                    <a:pt x="45" y="124"/>
                    <a:pt x="44" y="126"/>
                  </a:cubicBezTo>
                  <a:cubicBezTo>
                    <a:pt x="40" y="127"/>
                    <a:pt x="36" y="127"/>
                    <a:pt x="32" y="127"/>
                  </a:cubicBezTo>
                  <a:cubicBezTo>
                    <a:pt x="30" y="127"/>
                    <a:pt x="26" y="128"/>
                    <a:pt x="24" y="129"/>
                  </a:cubicBezTo>
                  <a:cubicBezTo>
                    <a:pt x="23" y="129"/>
                    <a:pt x="23" y="129"/>
                    <a:pt x="22" y="130"/>
                  </a:cubicBezTo>
                  <a:cubicBezTo>
                    <a:pt x="22" y="132"/>
                    <a:pt x="25" y="135"/>
                    <a:pt x="26" y="136"/>
                  </a:cubicBezTo>
                  <a:cubicBezTo>
                    <a:pt x="27" y="138"/>
                    <a:pt x="28" y="139"/>
                    <a:pt x="31" y="139"/>
                  </a:cubicBezTo>
                  <a:cubicBezTo>
                    <a:pt x="34" y="140"/>
                    <a:pt x="36" y="140"/>
                    <a:pt x="38" y="141"/>
                  </a:cubicBezTo>
                  <a:cubicBezTo>
                    <a:pt x="41" y="142"/>
                    <a:pt x="42" y="142"/>
                    <a:pt x="42" y="145"/>
                  </a:cubicBezTo>
                  <a:cubicBezTo>
                    <a:pt x="42" y="146"/>
                    <a:pt x="42" y="147"/>
                    <a:pt x="42" y="148"/>
                  </a:cubicBezTo>
                  <a:cubicBezTo>
                    <a:pt x="43" y="148"/>
                    <a:pt x="45" y="146"/>
                    <a:pt x="45" y="146"/>
                  </a:cubicBezTo>
                  <a:cubicBezTo>
                    <a:pt x="46" y="145"/>
                    <a:pt x="46" y="142"/>
                    <a:pt x="47" y="141"/>
                  </a:cubicBezTo>
                  <a:cubicBezTo>
                    <a:pt x="48" y="140"/>
                    <a:pt x="51" y="139"/>
                    <a:pt x="53" y="138"/>
                  </a:cubicBezTo>
                  <a:cubicBezTo>
                    <a:pt x="56" y="137"/>
                    <a:pt x="60" y="135"/>
                    <a:pt x="63" y="133"/>
                  </a:cubicBezTo>
                  <a:cubicBezTo>
                    <a:pt x="66" y="132"/>
                    <a:pt x="69" y="130"/>
                    <a:pt x="73" y="129"/>
                  </a:cubicBezTo>
                  <a:cubicBezTo>
                    <a:pt x="74" y="129"/>
                    <a:pt x="76" y="129"/>
                    <a:pt x="77" y="128"/>
                  </a:cubicBezTo>
                  <a:cubicBezTo>
                    <a:pt x="77" y="128"/>
                    <a:pt x="78" y="126"/>
                    <a:pt x="78" y="125"/>
                  </a:cubicBezTo>
                  <a:cubicBezTo>
                    <a:pt x="79" y="124"/>
                    <a:pt x="80" y="122"/>
                    <a:pt x="82" y="123"/>
                  </a:cubicBezTo>
                  <a:cubicBezTo>
                    <a:pt x="84" y="124"/>
                    <a:pt x="82" y="126"/>
                    <a:pt x="81" y="128"/>
                  </a:cubicBezTo>
                  <a:cubicBezTo>
                    <a:pt x="81" y="129"/>
                    <a:pt x="81" y="132"/>
                    <a:pt x="82" y="133"/>
                  </a:cubicBezTo>
                  <a:cubicBezTo>
                    <a:pt x="83" y="134"/>
                    <a:pt x="85" y="133"/>
                    <a:pt x="86" y="134"/>
                  </a:cubicBezTo>
                  <a:cubicBezTo>
                    <a:pt x="86" y="136"/>
                    <a:pt x="86" y="138"/>
                    <a:pt x="85" y="139"/>
                  </a:cubicBezTo>
                  <a:cubicBezTo>
                    <a:pt x="84" y="141"/>
                    <a:pt x="82" y="141"/>
                    <a:pt x="81" y="143"/>
                  </a:cubicBezTo>
                  <a:cubicBezTo>
                    <a:pt x="81" y="144"/>
                    <a:pt x="82" y="152"/>
                    <a:pt x="84" y="152"/>
                  </a:cubicBezTo>
                  <a:cubicBezTo>
                    <a:pt x="85" y="152"/>
                    <a:pt x="87" y="150"/>
                    <a:pt x="88" y="150"/>
                  </a:cubicBezTo>
                  <a:cubicBezTo>
                    <a:pt x="90" y="149"/>
                    <a:pt x="91" y="150"/>
                    <a:pt x="93" y="148"/>
                  </a:cubicBezTo>
                  <a:cubicBezTo>
                    <a:pt x="94" y="146"/>
                    <a:pt x="94" y="140"/>
                    <a:pt x="98" y="144"/>
                  </a:cubicBezTo>
                  <a:cubicBezTo>
                    <a:pt x="99" y="145"/>
                    <a:pt x="99" y="147"/>
                    <a:pt x="101" y="148"/>
                  </a:cubicBezTo>
                  <a:cubicBezTo>
                    <a:pt x="103" y="149"/>
                    <a:pt x="104" y="147"/>
                    <a:pt x="105" y="146"/>
                  </a:cubicBezTo>
                  <a:cubicBezTo>
                    <a:pt x="107" y="145"/>
                    <a:pt x="110" y="146"/>
                    <a:pt x="112" y="147"/>
                  </a:cubicBezTo>
                  <a:cubicBezTo>
                    <a:pt x="112" y="147"/>
                    <a:pt x="112" y="149"/>
                    <a:pt x="112" y="150"/>
                  </a:cubicBezTo>
                  <a:cubicBezTo>
                    <a:pt x="114" y="151"/>
                    <a:pt x="114" y="149"/>
                    <a:pt x="115" y="149"/>
                  </a:cubicBezTo>
                  <a:cubicBezTo>
                    <a:pt x="117" y="150"/>
                    <a:pt x="119" y="152"/>
                    <a:pt x="122" y="151"/>
                  </a:cubicBezTo>
                  <a:cubicBezTo>
                    <a:pt x="122" y="145"/>
                    <a:pt x="130" y="150"/>
                    <a:pt x="134" y="148"/>
                  </a:cubicBezTo>
                  <a:cubicBezTo>
                    <a:pt x="137" y="147"/>
                    <a:pt x="137" y="146"/>
                    <a:pt x="139" y="144"/>
                  </a:cubicBezTo>
                  <a:cubicBezTo>
                    <a:pt x="140" y="143"/>
                    <a:pt x="141" y="142"/>
                    <a:pt x="142" y="141"/>
                  </a:cubicBezTo>
                  <a:cubicBezTo>
                    <a:pt x="143" y="140"/>
                    <a:pt x="142" y="139"/>
                    <a:pt x="143" y="138"/>
                  </a:cubicBezTo>
                  <a:cubicBezTo>
                    <a:pt x="144" y="138"/>
                    <a:pt x="144" y="139"/>
                    <a:pt x="145" y="139"/>
                  </a:cubicBezTo>
                  <a:cubicBezTo>
                    <a:pt x="145" y="137"/>
                    <a:pt x="153" y="138"/>
                    <a:pt x="155" y="138"/>
                  </a:cubicBezTo>
                  <a:cubicBezTo>
                    <a:pt x="157" y="138"/>
                    <a:pt x="159" y="136"/>
                    <a:pt x="160" y="136"/>
                  </a:cubicBezTo>
                  <a:cubicBezTo>
                    <a:pt x="162" y="136"/>
                    <a:pt x="160" y="137"/>
                    <a:pt x="161" y="139"/>
                  </a:cubicBezTo>
                  <a:cubicBezTo>
                    <a:pt x="163" y="141"/>
                    <a:pt x="167" y="140"/>
                    <a:pt x="169" y="140"/>
                  </a:cubicBezTo>
                  <a:cubicBezTo>
                    <a:pt x="172" y="140"/>
                    <a:pt x="174" y="139"/>
                    <a:pt x="177" y="139"/>
                  </a:cubicBezTo>
                  <a:cubicBezTo>
                    <a:pt x="175" y="145"/>
                    <a:pt x="175" y="145"/>
                    <a:pt x="175" y="145"/>
                  </a:cubicBezTo>
                  <a:cubicBezTo>
                    <a:pt x="176" y="147"/>
                    <a:pt x="173" y="149"/>
                    <a:pt x="172" y="151"/>
                  </a:cubicBezTo>
                  <a:cubicBezTo>
                    <a:pt x="171" y="152"/>
                    <a:pt x="171" y="154"/>
                    <a:pt x="172" y="156"/>
                  </a:cubicBezTo>
                  <a:cubicBezTo>
                    <a:pt x="173" y="157"/>
                    <a:pt x="174" y="160"/>
                    <a:pt x="175" y="160"/>
                  </a:cubicBezTo>
                  <a:cubicBezTo>
                    <a:pt x="177" y="161"/>
                    <a:pt x="176" y="160"/>
                    <a:pt x="177" y="160"/>
                  </a:cubicBezTo>
                  <a:cubicBezTo>
                    <a:pt x="179" y="160"/>
                    <a:pt x="181" y="160"/>
                    <a:pt x="183" y="161"/>
                  </a:cubicBezTo>
                  <a:cubicBezTo>
                    <a:pt x="186" y="162"/>
                    <a:pt x="189" y="164"/>
                    <a:pt x="192" y="165"/>
                  </a:cubicBezTo>
                  <a:cubicBezTo>
                    <a:pt x="194" y="166"/>
                    <a:pt x="195" y="166"/>
                    <a:pt x="194" y="168"/>
                  </a:cubicBezTo>
                  <a:cubicBezTo>
                    <a:pt x="194" y="172"/>
                    <a:pt x="191" y="175"/>
                    <a:pt x="188" y="178"/>
                  </a:cubicBezTo>
                  <a:cubicBezTo>
                    <a:pt x="186" y="180"/>
                    <a:pt x="186" y="182"/>
                    <a:pt x="184" y="184"/>
                  </a:cubicBezTo>
                  <a:cubicBezTo>
                    <a:pt x="183" y="186"/>
                    <a:pt x="182" y="186"/>
                    <a:pt x="180" y="187"/>
                  </a:cubicBezTo>
                  <a:cubicBezTo>
                    <a:pt x="178" y="188"/>
                    <a:pt x="177" y="188"/>
                    <a:pt x="176" y="189"/>
                  </a:cubicBezTo>
                  <a:cubicBezTo>
                    <a:pt x="174" y="191"/>
                    <a:pt x="172" y="192"/>
                    <a:pt x="170" y="194"/>
                  </a:cubicBezTo>
                  <a:cubicBezTo>
                    <a:pt x="169" y="194"/>
                    <a:pt x="168" y="196"/>
                    <a:pt x="166" y="197"/>
                  </a:cubicBezTo>
                  <a:cubicBezTo>
                    <a:pt x="165" y="198"/>
                    <a:pt x="164" y="200"/>
                    <a:pt x="163" y="201"/>
                  </a:cubicBezTo>
                  <a:cubicBezTo>
                    <a:pt x="161" y="203"/>
                    <a:pt x="158" y="204"/>
                    <a:pt x="155" y="204"/>
                  </a:cubicBezTo>
                  <a:cubicBezTo>
                    <a:pt x="152" y="205"/>
                    <a:pt x="151" y="204"/>
                    <a:pt x="149" y="207"/>
                  </a:cubicBezTo>
                  <a:cubicBezTo>
                    <a:pt x="147" y="210"/>
                    <a:pt x="144" y="214"/>
                    <a:pt x="144" y="218"/>
                  </a:cubicBezTo>
                  <a:cubicBezTo>
                    <a:pt x="141" y="219"/>
                    <a:pt x="139" y="220"/>
                    <a:pt x="141" y="223"/>
                  </a:cubicBezTo>
                  <a:cubicBezTo>
                    <a:pt x="141" y="223"/>
                    <a:pt x="143" y="224"/>
                    <a:pt x="144" y="224"/>
                  </a:cubicBezTo>
                  <a:cubicBezTo>
                    <a:pt x="144" y="225"/>
                    <a:pt x="144" y="226"/>
                    <a:pt x="144" y="227"/>
                  </a:cubicBezTo>
                  <a:cubicBezTo>
                    <a:pt x="144" y="229"/>
                    <a:pt x="144" y="232"/>
                    <a:pt x="144" y="235"/>
                  </a:cubicBezTo>
                  <a:cubicBezTo>
                    <a:pt x="144" y="241"/>
                    <a:pt x="146" y="247"/>
                    <a:pt x="145" y="253"/>
                  </a:cubicBezTo>
                  <a:cubicBezTo>
                    <a:pt x="145" y="256"/>
                    <a:pt x="144" y="259"/>
                    <a:pt x="144" y="262"/>
                  </a:cubicBezTo>
                  <a:cubicBezTo>
                    <a:pt x="144" y="265"/>
                    <a:pt x="145" y="271"/>
                    <a:pt x="144" y="274"/>
                  </a:cubicBezTo>
                  <a:cubicBezTo>
                    <a:pt x="143" y="276"/>
                    <a:pt x="141" y="277"/>
                    <a:pt x="139" y="278"/>
                  </a:cubicBezTo>
                  <a:cubicBezTo>
                    <a:pt x="137" y="279"/>
                    <a:pt x="136" y="281"/>
                    <a:pt x="134" y="281"/>
                  </a:cubicBezTo>
                  <a:cubicBezTo>
                    <a:pt x="135" y="286"/>
                    <a:pt x="140" y="288"/>
                    <a:pt x="141" y="293"/>
                  </a:cubicBezTo>
                  <a:cubicBezTo>
                    <a:pt x="141" y="296"/>
                    <a:pt x="139" y="299"/>
                    <a:pt x="137" y="302"/>
                  </a:cubicBezTo>
                  <a:cubicBezTo>
                    <a:pt x="136" y="302"/>
                    <a:pt x="133" y="305"/>
                    <a:pt x="133" y="306"/>
                  </a:cubicBezTo>
                  <a:cubicBezTo>
                    <a:pt x="132" y="308"/>
                    <a:pt x="133" y="311"/>
                    <a:pt x="133" y="313"/>
                  </a:cubicBezTo>
                  <a:cubicBezTo>
                    <a:pt x="132" y="319"/>
                    <a:pt x="122" y="318"/>
                    <a:pt x="117" y="318"/>
                  </a:cubicBezTo>
                  <a:cubicBezTo>
                    <a:pt x="115" y="318"/>
                    <a:pt x="110" y="317"/>
                    <a:pt x="110" y="319"/>
                  </a:cubicBezTo>
                  <a:cubicBezTo>
                    <a:pt x="109" y="321"/>
                    <a:pt x="111" y="323"/>
                    <a:pt x="112" y="324"/>
                  </a:cubicBezTo>
                  <a:cubicBezTo>
                    <a:pt x="113" y="325"/>
                    <a:pt x="114" y="328"/>
                    <a:pt x="115" y="328"/>
                  </a:cubicBezTo>
                  <a:cubicBezTo>
                    <a:pt x="115" y="329"/>
                    <a:pt x="116" y="330"/>
                    <a:pt x="117" y="329"/>
                  </a:cubicBezTo>
                  <a:cubicBezTo>
                    <a:pt x="117" y="329"/>
                    <a:pt x="118" y="329"/>
                    <a:pt x="118" y="329"/>
                  </a:cubicBezTo>
                  <a:cubicBezTo>
                    <a:pt x="118" y="330"/>
                    <a:pt x="119" y="331"/>
                    <a:pt x="119" y="331"/>
                  </a:cubicBezTo>
                  <a:cubicBezTo>
                    <a:pt x="120" y="335"/>
                    <a:pt x="119" y="341"/>
                    <a:pt x="119" y="345"/>
                  </a:cubicBezTo>
                  <a:cubicBezTo>
                    <a:pt x="120" y="344"/>
                    <a:pt x="122" y="345"/>
                    <a:pt x="123" y="346"/>
                  </a:cubicBezTo>
                  <a:cubicBezTo>
                    <a:pt x="124" y="348"/>
                    <a:pt x="123" y="349"/>
                    <a:pt x="123" y="351"/>
                  </a:cubicBezTo>
                  <a:cubicBezTo>
                    <a:pt x="124" y="353"/>
                    <a:pt x="126" y="353"/>
                    <a:pt x="127" y="353"/>
                  </a:cubicBezTo>
                  <a:cubicBezTo>
                    <a:pt x="129" y="354"/>
                    <a:pt x="130" y="354"/>
                    <a:pt x="131" y="355"/>
                  </a:cubicBezTo>
                  <a:cubicBezTo>
                    <a:pt x="132" y="355"/>
                    <a:pt x="133" y="356"/>
                    <a:pt x="133" y="356"/>
                  </a:cubicBezTo>
                  <a:cubicBezTo>
                    <a:pt x="134" y="357"/>
                    <a:pt x="134" y="358"/>
                    <a:pt x="134" y="359"/>
                  </a:cubicBezTo>
                  <a:cubicBezTo>
                    <a:pt x="136" y="363"/>
                    <a:pt x="138" y="370"/>
                    <a:pt x="134" y="374"/>
                  </a:cubicBezTo>
                  <a:cubicBezTo>
                    <a:pt x="132" y="375"/>
                    <a:pt x="130" y="375"/>
                    <a:pt x="128" y="376"/>
                  </a:cubicBezTo>
                  <a:cubicBezTo>
                    <a:pt x="125" y="378"/>
                    <a:pt x="124" y="379"/>
                    <a:pt x="123" y="383"/>
                  </a:cubicBezTo>
                  <a:cubicBezTo>
                    <a:pt x="122" y="386"/>
                    <a:pt x="119" y="389"/>
                    <a:pt x="118" y="393"/>
                  </a:cubicBezTo>
                  <a:cubicBezTo>
                    <a:pt x="118" y="397"/>
                    <a:pt x="120" y="401"/>
                    <a:pt x="122" y="405"/>
                  </a:cubicBezTo>
                  <a:cubicBezTo>
                    <a:pt x="122" y="405"/>
                    <a:pt x="123" y="406"/>
                    <a:pt x="123" y="406"/>
                  </a:cubicBezTo>
                  <a:cubicBezTo>
                    <a:pt x="123" y="407"/>
                    <a:pt x="123" y="408"/>
                    <a:pt x="124" y="409"/>
                  </a:cubicBezTo>
                  <a:cubicBezTo>
                    <a:pt x="124" y="410"/>
                    <a:pt x="125" y="411"/>
                    <a:pt x="125" y="412"/>
                  </a:cubicBezTo>
                  <a:cubicBezTo>
                    <a:pt x="126" y="413"/>
                    <a:pt x="128" y="415"/>
                    <a:pt x="128" y="417"/>
                  </a:cubicBezTo>
                  <a:cubicBezTo>
                    <a:pt x="129" y="419"/>
                    <a:pt x="128" y="420"/>
                    <a:pt x="130" y="421"/>
                  </a:cubicBezTo>
                  <a:cubicBezTo>
                    <a:pt x="132" y="422"/>
                    <a:pt x="134" y="421"/>
                    <a:pt x="135" y="420"/>
                  </a:cubicBezTo>
                  <a:cubicBezTo>
                    <a:pt x="137" y="421"/>
                    <a:pt x="136" y="424"/>
                    <a:pt x="136" y="426"/>
                  </a:cubicBezTo>
                  <a:cubicBezTo>
                    <a:pt x="136" y="429"/>
                    <a:pt x="134" y="430"/>
                    <a:pt x="131" y="431"/>
                  </a:cubicBezTo>
                  <a:cubicBezTo>
                    <a:pt x="130" y="431"/>
                    <a:pt x="130" y="431"/>
                    <a:pt x="129" y="431"/>
                  </a:cubicBezTo>
                  <a:cubicBezTo>
                    <a:pt x="129" y="432"/>
                    <a:pt x="128" y="433"/>
                    <a:pt x="128" y="433"/>
                  </a:cubicBezTo>
                  <a:cubicBezTo>
                    <a:pt x="127" y="434"/>
                    <a:pt x="125" y="434"/>
                    <a:pt x="124" y="434"/>
                  </a:cubicBezTo>
                  <a:cubicBezTo>
                    <a:pt x="121" y="435"/>
                    <a:pt x="118" y="433"/>
                    <a:pt x="118" y="437"/>
                  </a:cubicBezTo>
                  <a:cubicBezTo>
                    <a:pt x="118" y="438"/>
                    <a:pt x="119" y="439"/>
                    <a:pt x="118" y="440"/>
                  </a:cubicBezTo>
                  <a:cubicBezTo>
                    <a:pt x="118" y="441"/>
                    <a:pt x="117" y="442"/>
                    <a:pt x="117" y="443"/>
                  </a:cubicBezTo>
                  <a:cubicBezTo>
                    <a:pt x="117" y="443"/>
                    <a:pt x="117" y="443"/>
                    <a:pt x="116" y="444"/>
                  </a:cubicBezTo>
                  <a:cubicBezTo>
                    <a:pt x="116" y="445"/>
                    <a:pt x="115" y="446"/>
                    <a:pt x="114" y="447"/>
                  </a:cubicBezTo>
                  <a:cubicBezTo>
                    <a:pt x="113" y="448"/>
                    <a:pt x="112" y="450"/>
                    <a:pt x="111" y="451"/>
                  </a:cubicBezTo>
                  <a:cubicBezTo>
                    <a:pt x="111" y="452"/>
                    <a:pt x="110" y="453"/>
                    <a:pt x="110" y="453"/>
                  </a:cubicBezTo>
                  <a:cubicBezTo>
                    <a:pt x="108" y="456"/>
                    <a:pt x="106" y="460"/>
                    <a:pt x="106" y="463"/>
                  </a:cubicBezTo>
                  <a:cubicBezTo>
                    <a:pt x="106" y="465"/>
                    <a:pt x="107" y="466"/>
                    <a:pt x="107" y="467"/>
                  </a:cubicBezTo>
                  <a:cubicBezTo>
                    <a:pt x="107" y="468"/>
                    <a:pt x="107" y="470"/>
                    <a:pt x="108" y="471"/>
                  </a:cubicBezTo>
                  <a:cubicBezTo>
                    <a:pt x="108" y="472"/>
                    <a:pt x="108" y="472"/>
                    <a:pt x="108" y="473"/>
                  </a:cubicBezTo>
                  <a:cubicBezTo>
                    <a:pt x="109" y="473"/>
                    <a:pt x="109" y="473"/>
                    <a:pt x="109" y="473"/>
                  </a:cubicBezTo>
                  <a:cubicBezTo>
                    <a:pt x="109" y="475"/>
                    <a:pt x="109" y="477"/>
                    <a:pt x="109" y="478"/>
                  </a:cubicBezTo>
                  <a:cubicBezTo>
                    <a:pt x="109" y="482"/>
                    <a:pt x="109" y="485"/>
                    <a:pt x="108" y="489"/>
                  </a:cubicBezTo>
                  <a:cubicBezTo>
                    <a:pt x="108" y="491"/>
                    <a:pt x="108" y="493"/>
                    <a:pt x="108" y="495"/>
                  </a:cubicBezTo>
                  <a:cubicBezTo>
                    <a:pt x="109" y="495"/>
                    <a:pt x="111" y="494"/>
                    <a:pt x="113" y="493"/>
                  </a:cubicBezTo>
                  <a:cubicBezTo>
                    <a:pt x="118" y="490"/>
                    <a:pt x="124" y="492"/>
                    <a:pt x="130" y="492"/>
                  </a:cubicBezTo>
                  <a:cubicBezTo>
                    <a:pt x="137" y="491"/>
                    <a:pt x="145" y="493"/>
                    <a:pt x="150" y="497"/>
                  </a:cubicBezTo>
                  <a:cubicBezTo>
                    <a:pt x="153" y="499"/>
                    <a:pt x="154" y="501"/>
                    <a:pt x="157" y="503"/>
                  </a:cubicBezTo>
                  <a:cubicBezTo>
                    <a:pt x="158" y="504"/>
                    <a:pt x="159" y="504"/>
                    <a:pt x="159" y="506"/>
                  </a:cubicBezTo>
                  <a:cubicBezTo>
                    <a:pt x="161" y="510"/>
                    <a:pt x="162" y="512"/>
                    <a:pt x="163" y="516"/>
                  </a:cubicBezTo>
                  <a:cubicBezTo>
                    <a:pt x="164" y="519"/>
                    <a:pt x="165" y="523"/>
                    <a:pt x="165" y="526"/>
                  </a:cubicBezTo>
                  <a:cubicBezTo>
                    <a:pt x="165" y="530"/>
                    <a:pt x="165" y="531"/>
                    <a:pt x="169" y="533"/>
                  </a:cubicBezTo>
                  <a:cubicBezTo>
                    <a:pt x="173" y="535"/>
                    <a:pt x="175" y="534"/>
                    <a:pt x="176" y="538"/>
                  </a:cubicBezTo>
                  <a:cubicBezTo>
                    <a:pt x="177" y="541"/>
                    <a:pt x="176" y="540"/>
                    <a:pt x="178" y="542"/>
                  </a:cubicBezTo>
                  <a:cubicBezTo>
                    <a:pt x="179" y="544"/>
                    <a:pt x="181" y="546"/>
                    <a:pt x="182" y="548"/>
                  </a:cubicBezTo>
                  <a:cubicBezTo>
                    <a:pt x="184" y="552"/>
                    <a:pt x="186" y="555"/>
                    <a:pt x="190" y="557"/>
                  </a:cubicBezTo>
                  <a:cubicBezTo>
                    <a:pt x="196" y="560"/>
                    <a:pt x="202" y="559"/>
                    <a:pt x="205" y="564"/>
                  </a:cubicBezTo>
                  <a:cubicBezTo>
                    <a:pt x="208" y="567"/>
                    <a:pt x="208" y="568"/>
                    <a:pt x="212" y="568"/>
                  </a:cubicBezTo>
                  <a:cubicBezTo>
                    <a:pt x="216" y="568"/>
                    <a:pt x="219" y="569"/>
                    <a:pt x="221" y="566"/>
                  </a:cubicBezTo>
                  <a:cubicBezTo>
                    <a:pt x="222" y="564"/>
                    <a:pt x="222" y="563"/>
                    <a:pt x="224" y="562"/>
                  </a:cubicBezTo>
                  <a:cubicBezTo>
                    <a:pt x="225" y="561"/>
                    <a:pt x="226" y="560"/>
                    <a:pt x="227" y="559"/>
                  </a:cubicBezTo>
                  <a:cubicBezTo>
                    <a:pt x="229" y="557"/>
                    <a:pt x="230" y="554"/>
                    <a:pt x="232" y="552"/>
                  </a:cubicBezTo>
                  <a:cubicBezTo>
                    <a:pt x="236" y="548"/>
                    <a:pt x="242" y="546"/>
                    <a:pt x="247" y="543"/>
                  </a:cubicBezTo>
                  <a:cubicBezTo>
                    <a:pt x="249" y="542"/>
                    <a:pt x="250" y="541"/>
                    <a:pt x="252" y="540"/>
                  </a:cubicBezTo>
                  <a:cubicBezTo>
                    <a:pt x="256" y="538"/>
                    <a:pt x="260" y="536"/>
                    <a:pt x="263" y="534"/>
                  </a:cubicBezTo>
                  <a:cubicBezTo>
                    <a:pt x="265" y="532"/>
                    <a:pt x="266" y="531"/>
                    <a:pt x="268" y="530"/>
                  </a:cubicBezTo>
                  <a:cubicBezTo>
                    <a:pt x="272" y="529"/>
                    <a:pt x="275" y="527"/>
                    <a:pt x="279" y="526"/>
                  </a:cubicBezTo>
                  <a:cubicBezTo>
                    <a:pt x="282" y="525"/>
                    <a:pt x="285" y="525"/>
                    <a:pt x="288" y="524"/>
                  </a:cubicBezTo>
                  <a:cubicBezTo>
                    <a:pt x="290" y="523"/>
                    <a:pt x="292" y="522"/>
                    <a:pt x="295" y="522"/>
                  </a:cubicBezTo>
                  <a:cubicBezTo>
                    <a:pt x="298" y="521"/>
                    <a:pt x="302" y="522"/>
                    <a:pt x="305" y="522"/>
                  </a:cubicBezTo>
                  <a:cubicBezTo>
                    <a:pt x="313" y="522"/>
                    <a:pt x="322" y="523"/>
                    <a:pt x="330" y="522"/>
                  </a:cubicBezTo>
                  <a:cubicBezTo>
                    <a:pt x="333" y="521"/>
                    <a:pt x="336" y="521"/>
                    <a:pt x="339" y="521"/>
                  </a:cubicBezTo>
                  <a:cubicBezTo>
                    <a:pt x="341" y="521"/>
                    <a:pt x="348" y="522"/>
                    <a:pt x="351" y="521"/>
                  </a:cubicBezTo>
                  <a:cubicBezTo>
                    <a:pt x="352" y="523"/>
                    <a:pt x="356" y="522"/>
                    <a:pt x="359" y="522"/>
                  </a:cubicBezTo>
                  <a:cubicBezTo>
                    <a:pt x="362" y="522"/>
                    <a:pt x="363" y="523"/>
                    <a:pt x="366" y="524"/>
                  </a:cubicBezTo>
                  <a:cubicBezTo>
                    <a:pt x="367" y="524"/>
                    <a:pt x="368" y="524"/>
                    <a:pt x="369" y="524"/>
                  </a:cubicBezTo>
                  <a:cubicBezTo>
                    <a:pt x="369" y="524"/>
                    <a:pt x="369" y="525"/>
                    <a:pt x="370" y="526"/>
                  </a:cubicBezTo>
                  <a:cubicBezTo>
                    <a:pt x="372" y="526"/>
                    <a:pt x="373" y="525"/>
                    <a:pt x="374" y="523"/>
                  </a:cubicBezTo>
                  <a:cubicBezTo>
                    <a:pt x="376" y="520"/>
                    <a:pt x="373" y="518"/>
                    <a:pt x="378" y="517"/>
                  </a:cubicBezTo>
                  <a:cubicBezTo>
                    <a:pt x="381" y="516"/>
                    <a:pt x="385" y="516"/>
                    <a:pt x="389" y="517"/>
                  </a:cubicBezTo>
                  <a:cubicBezTo>
                    <a:pt x="392" y="517"/>
                    <a:pt x="396" y="518"/>
                    <a:pt x="399" y="517"/>
                  </a:cubicBezTo>
                  <a:cubicBezTo>
                    <a:pt x="401" y="517"/>
                    <a:pt x="405" y="517"/>
                    <a:pt x="406" y="516"/>
                  </a:cubicBezTo>
                  <a:cubicBezTo>
                    <a:pt x="409" y="513"/>
                    <a:pt x="410" y="508"/>
                    <a:pt x="411" y="505"/>
                  </a:cubicBezTo>
                  <a:cubicBezTo>
                    <a:pt x="413" y="499"/>
                    <a:pt x="415" y="494"/>
                    <a:pt x="416" y="488"/>
                  </a:cubicBezTo>
                  <a:cubicBezTo>
                    <a:pt x="416" y="484"/>
                    <a:pt x="418" y="481"/>
                    <a:pt x="421" y="479"/>
                  </a:cubicBezTo>
                  <a:cubicBezTo>
                    <a:pt x="423" y="477"/>
                    <a:pt x="424" y="477"/>
                    <a:pt x="426" y="477"/>
                  </a:cubicBezTo>
                  <a:cubicBezTo>
                    <a:pt x="428" y="477"/>
                    <a:pt x="432" y="477"/>
                    <a:pt x="433" y="476"/>
                  </a:cubicBezTo>
                  <a:cubicBezTo>
                    <a:pt x="434" y="476"/>
                    <a:pt x="437" y="473"/>
                    <a:pt x="437" y="473"/>
                  </a:cubicBezTo>
                  <a:cubicBezTo>
                    <a:pt x="438" y="471"/>
                    <a:pt x="436" y="467"/>
                    <a:pt x="438" y="466"/>
                  </a:cubicBezTo>
                  <a:cubicBezTo>
                    <a:pt x="440" y="463"/>
                    <a:pt x="447" y="463"/>
                    <a:pt x="451" y="463"/>
                  </a:cubicBezTo>
                  <a:cubicBezTo>
                    <a:pt x="453" y="462"/>
                    <a:pt x="455" y="462"/>
                    <a:pt x="458" y="462"/>
                  </a:cubicBezTo>
                  <a:cubicBezTo>
                    <a:pt x="461" y="462"/>
                    <a:pt x="464" y="461"/>
                    <a:pt x="467" y="460"/>
                  </a:cubicBezTo>
                  <a:cubicBezTo>
                    <a:pt x="470" y="458"/>
                    <a:pt x="474" y="457"/>
                    <a:pt x="476" y="455"/>
                  </a:cubicBezTo>
                  <a:cubicBezTo>
                    <a:pt x="479" y="453"/>
                    <a:pt x="477" y="453"/>
                    <a:pt x="475" y="452"/>
                  </a:cubicBezTo>
                  <a:cubicBezTo>
                    <a:pt x="474" y="451"/>
                    <a:pt x="472" y="449"/>
                    <a:pt x="472" y="448"/>
                  </a:cubicBezTo>
                  <a:cubicBezTo>
                    <a:pt x="471" y="446"/>
                    <a:pt x="471" y="446"/>
                    <a:pt x="471" y="445"/>
                  </a:cubicBezTo>
                  <a:cubicBezTo>
                    <a:pt x="471" y="444"/>
                    <a:pt x="471" y="443"/>
                    <a:pt x="472" y="442"/>
                  </a:cubicBezTo>
                  <a:cubicBezTo>
                    <a:pt x="472" y="439"/>
                    <a:pt x="472" y="439"/>
                    <a:pt x="475" y="437"/>
                  </a:cubicBezTo>
                  <a:cubicBezTo>
                    <a:pt x="477" y="435"/>
                    <a:pt x="478" y="432"/>
                    <a:pt x="480" y="429"/>
                  </a:cubicBezTo>
                  <a:cubicBezTo>
                    <a:pt x="481" y="427"/>
                    <a:pt x="483" y="426"/>
                    <a:pt x="484" y="424"/>
                  </a:cubicBezTo>
                  <a:cubicBezTo>
                    <a:pt x="486" y="421"/>
                    <a:pt x="487" y="420"/>
                    <a:pt x="487" y="417"/>
                  </a:cubicBezTo>
                  <a:cubicBezTo>
                    <a:pt x="487" y="414"/>
                    <a:pt x="486" y="412"/>
                    <a:pt x="489" y="409"/>
                  </a:cubicBezTo>
                  <a:cubicBezTo>
                    <a:pt x="493" y="407"/>
                    <a:pt x="497" y="404"/>
                    <a:pt x="502" y="403"/>
                  </a:cubicBezTo>
                  <a:cubicBezTo>
                    <a:pt x="506" y="402"/>
                    <a:pt x="511" y="404"/>
                    <a:pt x="515" y="403"/>
                  </a:cubicBezTo>
                  <a:cubicBezTo>
                    <a:pt x="516" y="400"/>
                    <a:pt x="513" y="397"/>
                    <a:pt x="513" y="394"/>
                  </a:cubicBezTo>
                  <a:cubicBezTo>
                    <a:pt x="513" y="389"/>
                    <a:pt x="518" y="390"/>
                    <a:pt x="521" y="387"/>
                  </a:cubicBezTo>
                  <a:cubicBezTo>
                    <a:pt x="525" y="385"/>
                    <a:pt x="524" y="381"/>
                    <a:pt x="522" y="378"/>
                  </a:cubicBezTo>
                  <a:cubicBezTo>
                    <a:pt x="519" y="373"/>
                    <a:pt x="511" y="373"/>
                    <a:pt x="507" y="369"/>
                  </a:cubicBezTo>
                  <a:cubicBezTo>
                    <a:pt x="506" y="368"/>
                    <a:pt x="506" y="367"/>
                    <a:pt x="505" y="366"/>
                  </a:cubicBezTo>
                  <a:cubicBezTo>
                    <a:pt x="503" y="364"/>
                    <a:pt x="500" y="363"/>
                    <a:pt x="499" y="360"/>
                  </a:cubicBezTo>
                  <a:cubicBezTo>
                    <a:pt x="496" y="356"/>
                    <a:pt x="496" y="351"/>
                    <a:pt x="496" y="346"/>
                  </a:cubicBezTo>
                  <a:cubicBezTo>
                    <a:pt x="497" y="344"/>
                    <a:pt x="496" y="342"/>
                    <a:pt x="496" y="341"/>
                  </a:cubicBezTo>
                  <a:cubicBezTo>
                    <a:pt x="494" y="337"/>
                    <a:pt x="494" y="333"/>
                    <a:pt x="493" y="328"/>
                  </a:cubicBezTo>
                  <a:cubicBezTo>
                    <a:pt x="493" y="326"/>
                    <a:pt x="494" y="323"/>
                    <a:pt x="494" y="321"/>
                  </a:cubicBezTo>
                  <a:cubicBezTo>
                    <a:pt x="495" y="318"/>
                    <a:pt x="498" y="311"/>
                    <a:pt x="500" y="309"/>
                  </a:cubicBezTo>
                  <a:cubicBezTo>
                    <a:pt x="500" y="311"/>
                    <a:pt x="501" y="312"/>
                    <a:pt x="500" y="313"/>
                  </a:cubicBezTo>
                  <a:cubicBezTo>
                    <a:pt x="504" y="310"/>
                    <a:pt x="507" y="306"/>
                    <a:pt x="509" y="301"/>
                  </a:cubicBezTo>
                  <a:cubicBezTo>
                    <a:pt x="510" y="298"/>
                    <a:pt x="512" y="293"/>
                    <a:pt x="514" y="290"/>
                  </a:cubicBezTo>
                  <a:cubicBezTo>
                    <a:pt x="518" y="285"/>
                    <a:pt x="524" y="279"/>
                    <a:pt x="529" y="275"/>
                  </a:cubicBezTo>
                  <a:cubicBezTo>
                    <a:pt x="533" y="272"/>
                    <a:pt x="535" y="269"/>
                    <a:pt x="538" y="265"/>
                  </a:cubicBezTo>
                  <a:cubicBezTo>
                    <a:pt x="541" y="262"/>
                    <a:pt x="545" y="259"/>
                    <a:pt x="547" y="255"/>
                  </a:cubicBezTo>
                  <a:cubicBezTo>
                    <a:pt x="551" y="251"/>
                    <a:pt x="555" y="246"/>
                    <a:pt x="557" y="241"/>
                  </a:cubicBezTo>
                  <a:cubicBezTo>
                    <a:pt x="557" y="240"/>
                    <a:pt x="558" y="240"/>
                    <a:pt x="558" y="238"/>
                  </a:cubicBezTo>
                  <a:cubicBezTo>
                    <a:pt x="558" y="236"/>
                    <a:pt x="556" y="237"/>
                    <a:pt x="555" y="235"/>
                  </a:cubicBezTo>
                  <a:cubicBezTo>
                    <a:pt x="555" y="232"/>
                    <a:pt x="561" y="230"/>
                    <a:pt x="563" y="228"/>
                  </a:cubicBezTo>
                  <a:cubicBezTo>
                    <a:pt x="568" y="226"/>
                    <a:pt x="573" y="223"/>
                    <a:pt x="578" y="221"/>
                  </a:cubicBezTo>
                  <a:cubicBezTo>
                    <a:pt x="583" y="218"/>
                    <a:pt x="588" y="215"/>
                    <a:pt x="593" y="213"/>
                  </a:cubicBezTo>
                  <a:cubicBezTo>
                    <a:pt x="598" y="211"/>
                    <a:pt x="602" y="209"/>
                    <a:pt x="606" y="206"/>
                  </a:cubicBezTo>
                  <a:cubicBezTo>
                    <a:pt x="610" y="204"/>
                    <a:pt x="615" y="204"/>
                    <a:pt x="619" y="203"/>
                  </a:cubicBezTo>
                  <a:cubicBezTo>
                    <a:pt x="623" y="202"/>
                    <a:pt x="627" y="200"/>
                    <a:pt x="631" y="200"/>
                  </a:cubicBezTo>
                  <a:cubicBezTo>
                    <a:pt x="635" y="199"/>
                    <a:pt x="638" y="196"/>
                    <a:pt x="639" y="192"/>
                  </a:cubicBezTo>
                  <a:cubicBezTo>
                    <a:pt x="639" y="191"/>
                    <a:pt x="639" y="187"/>
                    <a:pt x="637" y="187"/>
                  </a:cubicBezTo>
                  <a:cubicBezTo>
                    <a:pt x="640" y="187"/>
                    <a:pt x="643" y="187"/>
                    <a:pt x="646" y="187"/>
                  </a:cubicBezTo>
                  <a:cubicBezTo>
                    <a:pt x="647" y="187"/>
                    <a:pt x="649" y="187"/>
                    <a:pt x="650" y="187"/>
                  </a:cubicBezTo>
                  <a:cubicBezTo>
                    <a:pt x="652" y="187"/>
                    <a:pt x="652" y="186"/>
                    <a:pt x="654" y="186"/>
                  </a:cubicBezTo>
                  <a:cubicBezTo>
                    <a:pt x="657" y="185"/>
                    <a:pt x="661" y="184"/>
                    <a:pt x="664" y="183"/>
                  </a:cubicBezTo>
                  <a:cubicBezTo>
                    <a:pt x="666" y="181"/>
                    <a:pt x="670" y="180"/>
                    <a:pt x="671" y="178"/>
                  </a:cubicBezTo>
                  <a:cubicBezTo>
                    <a:pt x="673" y="175"/>
                    <a:pt x="670" y="172"/>
                    <a:pt x="674" y="171"/>
                  </a:cubicBezTo>
                  <a:cubicBezTo>
                    <a:pt x="677" y="170"/>
                    <a:pt x="681" y="172"/>
                    <a:pt x="684" y="172"/>
                  </a:cubicBezTo>
                  <a:cubicBezTo>
                    <a:pt x="688" y="172"/>
                    <a:pt x="692" y="170"/>
                    <a:pt x="696" y="169"/>
                  </a:cubicBezTo>
                  <a:cubicBezTo>
                    <a:pt x="698" y="169"/>
                    <a:pt x="701" y="169"/>
                    <a:pt x="703" y="169"/>
                  </a:cubicBezTo>
                  <a:cubicBezTo>
                    <a:pt x="704" y="166"/>
                    <a:pt x="703" y="164"/>
                    <a:pt x="703" y="161"/>
                  </a:cubicBezTo>
                  <a:cubicBezTo>
                    <a:pt x="703" y="156"/>
                    <a:pt x="710" y="154"/>
                    <a:pt x="715" y="152"/>
                  </a:cubicBezTo>
                  <a:cubicBezTo>
                    <a:pt x="720" y="149"/>
                    <a:pt x="728" y="146"/>
                    <a:pt x="731" y="142"/>
                  </a:cubicBezTo>
                  <a:cubicBezTo>
                    <a:pt x="732" y="139"/>
                    <a:pt x="731" y="136"/>
                    <a:pt x="731" y="134"/>
                  </a:cubicBezTo>
                  <a:cubicBezTo>
                    <a:pt x="730" y="132"/>
                    <a:pt x="730" y="129"/>
                    <a:pt x="729" y="126"/>
                  </a:cubicBezTo>
                  <a:cubicBezTo>
                    <a:pt x="729" y="125"/>
                    <a:pt x="728" y="123"/>
                    <a:pt x="728" y="122"/>
                  </a:cubicBezTo>
                  <a:cubicBezTo>
                    <a:pt x="727" y="120"/>
                    <a:pt x="726" y="120"/>
                    <a:pt x="725" y="119"/>
                  </a:cubicBezTo>
                  <a:cubicBezTo>
                    <a:pt x="722" y="116"/>
                    <a:pt x="727" y="100"/>
                    <a:pt x="731" y="10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4" name="Freeform 94">
              <a:extLst>
                <a:ext uri="{FF2B5EF4-FFF2-40B4-BE49-F238E27FC236}">
                  <a16:creationId xmlns:a16="http://schemas.microsoft.com/office/drawing/2014/main" id="{326DF5FD-19F0-4A58-BF65-4E24F9F6D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050" y="6048375"/>
              <a:ext cx="119063" cy="93663"/>
            </a:xfrm>
            <a:custGeom>
              <a:avLst/>
              <a:gdLst/>
              <a:ahLst/>
              <a:cxnLst>
                <a:cxn ang="0">
                  <a:pos x="45" y="13"/>
                </a:cxn>
                <a:cxn ang="0">
                  <a:pos x="41" y="6"/>
                </a:cxn>
                <a:cxn ang="0">
                  <a:pos x="40" y="5"/>
                </a:cxn>
                <a:cxn ang="0">
                  <a:pos x="43" y="2"/>
                </a:cxn>
                <a:cxn ang="0">
                  <a:pos x="43" y="1"/>
                </a:cxn>
                <a:cxn ang="0">
                  <a:pos x="32" y="5"/>
                </a:cxn>
                <a:cxn ang="0">
                  <a:pos x="27" y="8"/>
                </a:cxn>
                <a:cxn ang="0">
                  <a:pos x="22" y="10"/>
                </a:cxn>
                <a:cxn ang="0">
                  <a:pos x="17" y="14"/>
                </a:cxn>
                <a:cxn ang="0">
                  <a:pos x="8" y="19"/>
                </a:cxn>
                <a:cxn ang="0">
                  <a:pos x="4" y="22"/>
                </a:cxn>
                <a:cxn ang="0">
                  <a:pos x="1" y="25"/>
                </a:cxn>
                <a:cxn ang="0">
                  <a:pos x="0" y="27"/>
                </a:cxn>
                <a:cxn ang="0">
                  <a:pos x="1" y="30"/>
                </a:cxn>
                <a:cxn ang="0">
                  <a:pos x="5" y="32"/>
                </a:cxn>
                <a:cxn ang="0">
                  <a:pos x="9" y="33"/>
                </a:cxn>
                <a:cxn ang="0">
                  <a:pos x="12" y="29"/>
                </a:cxn>
                <a:cxn ang="0">
                  <a:pos x="13" y="27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20" y="34"/>
                </a:cxn>
                <a:cxn ang="0">
                  <a:pos x="21" y="35"/>
                </a:cxn>
                <a:cxn ang="0">
                  <a:pos x="21" y="38"/>
                </a:cxn>
                <a:cxn ang="0">
                  <a:pos x="23" y="40"/>
                </a:cxn>
                <a:cxn ang="0">
                  <a:pos x="24" y="41"/>
                </a:cxn>
                <a:cxn ang="0">
                  <a:pos x="24" y="41"/>
                </a:cxn>
                <a:cxn ang="0">
                  <a:pos x="27" y="44"/>
                </a:cxn>
                <a:cxn ang="0">
                  <a:pos x="31" y="43"/>
                </a:cxn>
                <a:cxn ang="0">
                  <a:pos x="34" y="44"/>
                </a:cxn>
                <a:cxn ang="0">
                  <a:pos x="35" y="45"/>
                </a:cxn>
                <a:cxn ang="0">
                  <a:pos x="37" y="47"/>
                </a:cxn>
                <a:cxn ang="0">
                  <a:pos x="38" y="49"/>
                </a:cxn>
                <a:cxn ang="0">
                  <a:pos x="39" y="50"/>
                </a:cxn>
                <a:cxn ang="0">
                  <a:pos x="40" y="50"/>
                </a:cxn>
                <a:cxn ang="0">
                  <a:pos x="41" y="47"/>
                </a:cxn>
                <a:cxn ang="0">
                  <a:pos x="45" y="44"/>
                </a:cxn>
                <a:cxn ang="0">
                  <a:pos x="48" y="44"/>
                </a:cxn>
                <a:cxn ang="0">
                  <a:pos x="51" y="42"/>
                </a:cxn>
                <a:cxn ang="0">
                  <a:pos x="51" y="37"/>
                </a:cxn>
                <a:cxn ang="0">
                  <a:pos x="52" y="34"/>
                </a:cxn>
                <a:cxn ang="0">
                  <a:pos x="54" y="30"/>
                </a:cxn>
                <a:cxn ang="0">
                  <a:pos x="58" y="28"/>
                </a:cxn>
                <a:cxn ang="0">
                  <a:pos x="60" y="24"/>
                </a:cxn>
                <a:cxn ang="0">
                  <a:pos x="62" y="18"/>
                </a:cxn>
                <a:cxn ang="0">
                  <a:pos x="53" y="14"/>
                </a:cxn>
                <a:cxn ang="0">
                  <a:pos x="52" y="15"/>
                </a:cxn>
                <a:cxn ang="0">
                  <a:pos x="50" y="16"/>
                </a:cxn>
                <a:cxn ang="0">
                  <a:pos x="49" y="17"/>
                </a:cxn>
                <a:cxn ang="0">
                  <a:pos x="47" y="15"/>
                </a:cxn>
                <a:cxn ang="0">
                  <a:pos x="46" y="13"/>
                </a:cxn>
                <a:cxn ang="0">
                  <a:pos x="45" y="13"/>
                </a:cxn>
              </a:cxnLst>
              <a:rect l="0" t="0" r="r" b="b"/>
              <a:pathLst>
                <a:path w="63" h="50">
                  <a:moveTo>
                    <a:pt x="45" y="13"/>
                  </a:moveTo>
                  <a:cubicBezTo>
                    <a:pt x="45" y="11"/>
                    <a:pt x="45" y="6"/>
                    <a:pt x="41" y="6"/>
                  </a:cubicBezTo>
                  <a:cubicBezTo>
                    <a:pt x="41" y="6"/>
                    <a:pt x="40" y="6"/>
                    <a:pt x="40" y="5"/>
                  </a:cubicBezTo>
                  <a:cubicBezTo>
                    <a:pt x="41" y="3"/>
                    <a:pt x="42" y="3"/>
                    <a:pt x="43" y="2"/>
                  </a:cubicBezTo>
                  <a:cubicBezTo>
                    <a:pt x="43" y="2"/>
                    <a:pt x="44" y="2"/>
                    <a:pt x="43" y="1"/>
                  </a:cubicBezTo>
                  <a:cubicBezTo>
                    <a:pt x="39" y="0"/>
                    <a:pt x="36" y="2"/>
                    <a:pt x="32" y="5"/>
                  </a:cubicBezTo>
                  <a:cubicBezTo>
                    <a:pt x="31" y="6"/>
                    <a:pt x="29" y="7"/>
                    <a:pt x="27" y="8"/>
                  </a:cubicBezTo>
                  <a:cubicBezTo>
                    <a:pt x="25" y="9"/>
                    <a:pt x="23" y="9"/>
                    <a:pt x="22" y="10"/>
                  </a:cubicBezTo>
                  <a:cubicBezTo>
                    <a:pt x="20" y="11"/>
                    <a:pt x="19" y="13"/>
                    <a:pt x="17" y="14"/>
                  </a:cubicBezTo>
                  <a:cubicBezTo>
                    <a:pt x="14" y="15"/>
                    <a:pt x="11" y="17"/>
                    <a:pt x="8" y="19"/>
                  </a:cubicBezTo>
                  <a:cubicBezTo>
                    <a:pt x="6" y="20"/>
                    <a:pt x="5" y="20"/>
                    <a:pt x="4" y="22"/>
                  </a:cubicBezTo>
                  <a:cubicBezTo>
                    <a:pt x="3" y="23"/>
                    <a:pt x="2" y="23"/>
                    <a:pt x="1" y="25"/>
                  </a:cubicBezTo>
                  <a:cubicBezTo>
                    <a:pt x="1" y="26"/>
                    <a:pt x="0" y="26"/>
                    <a:pt x="0" y="27"/>
                  </a:cubicBezTo>
                  <a:cubicBezTo>
                    <a:pt x="0" y="28"/>
                    <a:pt x="1" y="29"/>
                    <a:pt x="1" y="30"/>
                  </a:cubicBezTo>
                  <a:cubicBezTo>
                    <a:pt x="2" y="31"/>
                    <a:pt x="3" y="31"/>
                    <a:pt x="5" y="32"/>
                  </a:cubicBezTo>
                  <a:cubicBezTo>
                    <a:pt x="6" y="32"/>
                    <a:pt x="7" y="34"/>
                    <a:pt x="9" y="33"/>
                  </a:cubicBezTo>
                  <a:cubicBezTo>
                    <a:pt x="10" y="32"/>
                    <a:pt x="11" y="31"/>
                    <a:pt x="12" y="29"/>
                  </a:cubicBezTo>
                  <a:cubicBezTo>
                    <a:pt x="12" y="29"/>
                    <a:pt x="13" y="28"/>
                    <a:pt x="13" y="27"/>
                  </a:cubicBezTo>
                  <a:cubicBezTo>
                    <a:pt x="16" y="26"/>
                    <a:pt x="16" y="28"/>
                    <a:pt x="17" y="30"/>
                  </a:cubicBezTo>
                  <a:cubicBezTo>
                    <a:pt x="18" y="30"/>
                    <a:pt x="18" y="31"/>
                    <a:pt x="19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1" y="34"/>
                    <a:pt x="21" y="35"/>
                    <a:pt x="21" y="35"/>
                  </a:cubicBezTo>
                  <a:cubicBezTo>
                    <a:pt x="21" y="36"/>
                    <a:pt x="21" y="37"/>
                    <a:pt x="21" y="38"/>
                  </a:cubicBezTo>
                  <a:cubicBezTo>
                    <a:pt x="21" y="39"/>
                    <a:pt x="22" y="39"/>
                    <a:pt x="23" y="40"/>
                  </a:cubicBezTo>
                  <a:cubicBezTo>
                    <a:pt x="23" y="40"/>
                    <a:pt x="24" y="40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2"/>
                    <a:pt x="26" y="43"/>
                    <a:pt x="27" y="44"/>
                  </a:cubicBezTo>
                  <a:cubicBezTo>
                    <a:pt x="28" y="44"/>
                    <a:pt x="29" y="43"/>
                    <a:pt x="31" y="43"/>
                  </a:cubicBezTo>
                  <a:cubicBezTo>
                    <a:pt x="32" y="43"/>
                    <a:pt x="33" y="43"/>
                    <a:pt x="34" y="44"/>
                  </a:cubicBezTo>
                  <a:cubicBezTo>
                    <a:pt x="34" y="44"/>
                    <a:pt x="34" y="45"/>
                    <a:pt x="35" y="45"/>
                  </a:cubicBezTo>
                  <a:cubicBezTo>
                    <a:pt x="36" y="46"/>
                    <a:pt x="36" y="46"/>
                    <a:pt x="37" y="47"/>
                  </a:cubicBezTo>
                  <a:cubicBezTo>
                    <a:pt x="37" y="48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39" y="50"/>
                    <a:pt x="40" y="50"/>
                    <a:pt x="40" y="50"/>
                  </a:cubicBezTo>
                  <a:cubicBezTo>
                    <a:pt x="40" y="49"/>
                    <a:pt x="41" y="48"/>
                    <a:pt x="41" y="47"/>
                  </a:cubicBezTo>
                  <a:cubicBezTo>
                    <a:pt x="42" y="46"/>
                    <a:pt x="44" y="45"/>
                    <a:pt x="45" y="44"/>
                  </a:cubicBezTo>
                  <a:cubicBezTo>
                    <a:pt x="46" y="44"/>
                    <a:pt x="47" y="44"/>
                    <a:pt x="48" y="44"/>
                  </a:cubicBezTo>
                  <a:cubicBezTo>
                    <a:pt x="49" y="44"/>
                    <a:pt x="50" y="43"/>
                    <a:pt x="51" y="42"/>
                  </a:cubicBezTo>
                  <a:cubicBezTo>
                    <a:pt x="53" y="41"/>
                    <a:pt x="52" y="39"/>
                    <a:pt x="51" y="37"/>
                  </a:cubicBezTo>
                  <a:cubicBezTo>
                    <a:pt x="50" y="36"/>
                    <a:pt x="51" y="35"/>
                    <a:pt x="52" y="34"/>
                  </a:cubicBezTo>
                  <a:cubicBezTo>
                    <a:pt x="53" y="33"/>
                    <a:pt x="53" y="31"/>
                    <a:pt x="54" y="30"/>
                  </a:cubicBezTo>
                  <a:cubicBezTo>
                    <a:pt x="55" y="29"/>
                    <a:pt x="57" y="29"/>
                    <a:pt x="58" y="28"/>
                  </a:cubicBezTo>
                  <a:cubicBezTo>
                    <a:pt x="59" y="27"/>
                    <a:pt x="59" y="25"/>
                    <a:pt x="60" y="24"/>
                  </a:cubicBezTo>
                  <a:cubicBezTo>
                    <a:pt x="61" y="22"/>
                    <a:pt x="63" y="20"/>
                    <a:pt x="62" y="18"/>
                  </a:cubicBezTo>
                  <a:cubicBezTo>
                    <a:pt x="61" y="14"/>
                    <a:pt x="56" y="12"/>
                    <a:pt x="53" y="14"/>
                  </a:cubicBezTo>
                  <a:cubicBezTo>
                    <a:pt x="53" y="14"/>
                    <a:pt x="53" y="15"/>
                    <a:pt x="52" y="15"/>
                  </a:cubicBezTo>
                  <a:cubicBezTo>
                    <a:pt x="51" y="15"/>
                    <a:pt x="51" y="16"/>
                    <a:pt x="50" y="16"/>
                  </a:cubicBezTo>
                  <a:cubicBezTo>
                    <a:pt x="50" y="17"/>
                    <a:pt x="50" y="17"/>
                    <a:pt x="49" y="17"/>
                  </a:cubicBezTo>
                  <a:cubicBezTo>
                    <a:pt x="48" y="17"/>
                    <a:pt x="48" y="16"/>
                    <a:pt x="47" y="15"/>
                  </a:cubicBezTo>
                  <a:cubicBezTo>
                    <a:pt x="47" y="14"/>
                    <a:pt x="46" y="13"/>
                    <a:pt x="46" y="13"/>
                  </a:cubicBezTo>
                  <a:lnTo>
                    <a:pt x="45" y="1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5" name="Freeform 95">
              <a:extLst>
                <a:ext uri="{FF2B5EF4-FFF2-40B4-BE49-F238E27FC236}">
                  <a16:creationId xmlns:a16="http://schemas.microsoft.com/office/drawing/2014/main" id="{D7DA259D-1EBE-4755-B9B1-793D46D9E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1100" y="6029325"/>
              <a:ext cx="57150" cy="41275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1" y="13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9" y="12"/>
                </a:cxn>
                <a:cxn ang="0">
                  <a:pos x="12" y="14"/>
                </a:cxn>
                <a:cxn ang="0">
                  <a:pos x="24" y="20"/>
                </a:cxn>
                <a:cxn ang="0">
                  <a:pos x="27" y="21"/>
                </a:cxn>
                <a:cxn ang="0">
                  <a:pos x="28" y="21"/>
                </a:cxn>
                <a:cxn ang="0">
                  <a:pos x="29" y="16"/>
                </a:cxn>
                <a:cxn ang="0">
                  <a:pos x="27" y="12"/>
                </a:cxn>
                <a:cxn ang="0">
                  <a:pos x="25" y="9"/>
                </a:cxn>
                <a:cxn ang="0">
                  <a:pos x="24" y="5"/>
                </a:cxn>
                <a:cxn ang="0">
                  <a:pos x="21" y="3"/>
                </a:cxn>
                <a:cxn ang="0">
                  <a:pos x="16" y="0"/>
                </a:cxn>
                <a:cxn ang="0">
                  <a:pos x="4" y="3"/>
                </a:cxn>
              </a:cxnLst>
              <a:rect l="0" t="0" r="r" b="b"/>
              <a:pathLst>
                <a:path w="30" h="22">
                  <a:moveTo>
                    <a:pt x="4" y="3"/>
                  </a:moveTo>
                  <a:cubicBezTo>
                    <a:pt x="3" y="3"/>
                    <a:pt x="0" y="3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7"/>
                    <a:pt x="1" y="9"/>
                    <a:pt x="1" y="11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2" y="14"/>
                    <a:pt x="3" y="13"/>
                    <a:pt x="4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3"/>
                    <a:pt x="11" y="13"/>
                    <a:pt x="12" y="14"/>
                  </a:cubicBezTo>
                  <a:cubicBezTo>
                    <a:pt x="15" y="18"/>
                    <a:pt x="20" y="18"/>
                    <a:pt x="24" y="20"/>
                  </a:cubicBezTo>
                  <a:cubicBezTo>
                    <a:pt x="25" y="20"/>
                    <a:pt x="26" y="21"/>
                    <a:pt x="27" y="21"/>
                  </a:cubicBezTo>
                  <a:cubicBezTo>
                    <a:pt x="27" y="21"/>
                    <a:pt x="28" y="22"/>
                    <a:pt x="28" y="21"/>
                  </a:cubicBezTo>
                  <a:cubicBezTo>
                    <a:pt x="30" y="21"/>
                    <a:pt x="30" y="17"/>
                    <a:pt x="29" y="16"/>
                  </a:cubicBezTo>
                  <a:cubicBezTo>
                    <a:pt x="29" y="14"/>
                    <a:pt x="28" y="13"/>
                    <a:pt x="27" y="12"/>
                  </a:cubicBezTo>
                  <a:cubicBezTo>
                    <a:pt x="26" y="11"/>
                    <a:pt x="26" y="10"/>
                    <a:pt x="25" y="9"/>
                  </a:cubicBezTo>
                  <a:cubicBezTo>
                    <a:pt x="25" y="8"/>
                    <a:pt x="24" y="7"/>
                    <a:pt x="24" y="5"/>
                  </a:cubicBezTo>
                  <a:cubicBezTo>
                    <a:pt x="23" y="4"/>
                    <a:pt x="22" y="4"/>
                    <a:pt x="21" y="3"/>
                  </a:cubicBezTo>
                  <a:cubicBezTo>
                    <a:pt x="19" y="1"/>
                    <a:pt x="18" y="0"/>
                    <a:pt x="16" y="0"/>
                  </a:cubicBezTo>
                  <a:lnTo>
                    <a:pt x="4" y="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6" name="Freeform 96">
              <a:extLst>
                <a:ext uri="{FF2B5EF4-FFF2-40B4-BE49-F238E27FC236}">
                  <a16:creationId xmlns:a16="http://schemas.microsoft.com/office/drawing/2014/main" id="{F832A5E1-A5C6-40E8-8243-A311FA1D2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988" y="6162675"/>
              <a:ext cx="47625" cy="38100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4" y="1"/>
                </a:cxn>
                <a:cxn ang="0">
                  <a:pos x="18" y="1"/>
                </a:cxn>
                <a:cxn ang="0">
                  <a:pos x="16" y="2"/>
                </a:cxn>
                <a:cxn ang="0">
                  <a:pos x="13" y="4"/>
                </a:cxn>
                <a:cxn ang="0">
                  <a:pos x="8" y="7"/>
                </a:cxn>
                <a:cxn ang="0">
                  <a:pos x="4" y="10"/>
                </a:cxn>
                <a:cxn ang="0">
                  <a:pos x="1" y="17"/>
                </a:cxn>
                <a:cxn ang="0">
                  <a:pos x="12" y="18"/>
                </a:cxn>
                <a:cxn ang="0">
                  <a:pos x="21" y="13"/>
                </a:cxn>
                <a:cxn ang="0">
                  <a:pos x="24" y="8"/>
                </a:cxn>
                <a:cxn ang="0">
                  <a:pos x="23" y="5"/>
                </a:cxn>
                <a:cxn ang="0">
                  <a:pos x="22" y="2"/>
                </a:cxn>
                <a:cxn ang="0">
                  <a:pos x="25" y="2"/>
                </a:cxn>
              </a:cxnLst>
              <a:rect l="0" t="0" r="r" b="b"/>
              <a:pathLst>
                <a:path w="25" h="20">
                  <a:moveTo>
                    <a:pt x="25" y="2"/>
                  </a:moveTo>
                  <a:cubicBezTo>
                    <a:pt x="25" y="1"/>
                    <a:pt x="25" y="1"/>
                    <a:pt x="24" y="1"/>
                  </a:cubicBezTo>
                  <a:cubicBezTo>
                    <a:pt x="22" y="0"/>
                    <a:pt x="20" y="1"/>
                    <a:pt x="18" y="1"/>
                  </a:cubicBezTo>
                  <a:cubicBezTo>
                    <a:pt x="17" y="1"/>
                    <a:pt x="17" y="1"/>
                    <a:pt x="16" y="2"/>
                  </a:cubicBezTo>
                  <a:cubicBezTo>
                    <a:pt x="15" y="3"/>
                    <a:pt x="14" y="4"/>
                    <a:pt x="13" y="4"/>
                  </a:cubicBezTo>
                  <a:cubicBezTo>
                    <a:pt x="12" y="5"/>
                    <a:pt x="10" y="6"/>
                    <a:pt x="8" y="7"/>
                  </a:cubicBezTo>
                  <a:cubicBezTo>
                    <a:pt x="7" y="8"/>
                    <a:pt x="5" y="9"/>
                    <a:pt x="4" y="10"/>
                  </a:cubicBezTo>
                  <a:cubicBezTo>
                    <a:pt x="2" y="11"/>
                    <a:pt x="0" y="15"/>
                    <a:pt x="1" y="17"/>
                  </a:cubicBezTo>
                  <a:cubicBezTo>
                    <a:pt x="4" y="20"/>
                    <a:pt x="9" y="19"/>
                    <a:pt x="12" y="18"/>
                  </a:cubicBezTo>
                  <a:cubicBezTo>
                    <a:pt x="15" y="16"/>
                    <a:pt x="18" y="16"/>
                    <a:pt x="21" y="13"/>
                  </a:cubicBezTo>
                  <a:cubicBezTo>
                    <a:pt x="22" y="11"/>
                    <a:pt x="24" y="10"/>
                    <a:pt x="24" y="8"/>
                  </a:cubicBezTo>
                  <a:cubicBezTo>
                    <a:pt x="24" y="7"/>
                    <a:pt x="23" y="6"/>
                    <a:pt x="23" y="5"/>
                  </a:cubicBezTo>
                  <a:cubicBezTo>
                    <a:pt x="23" y="4"/>
                    <a:pt x="23" y="3"/>
                    <a:pt x="22" y="2"/>
                  </a:cubicBezTo>
                  <a:lnTo>
                    <a:pt x="25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7" name="Freeform 97">
              <a:extLst>
                <a:ext uri="{FF2B5EF4-FFF2-40B4-BE49-F238E27FC236}">
                  <a16:creationId xmlns:a16="http://schemas.microsoft.com/office/drawing/2014/main" id="{102BFD4E-6237-4DED-9E14-EC9EF2443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3973513"/>
              <a:ext cx="403225" cy="454025"/>
            </a:xfrm>
            <a:custGeom>
              <a:avLst/>
              <a:gdLst/>
              <a:ahLst/>
              <a:cxnLst>
                <a:cxn ang="0">
                  <a:pos x="180" y="6"/>
                </a:cxn>
                <a:cxn ang="0">
                  <a:pos x="144" y="10"/>
                </a:cxn>
                <a:cxn ang="0">
                  <a:pos x="119" y="23"/>
                </a:cxn>
                <a:cxn ang="0">
                  <a:pos x="116" y="34"/>
                </a:cxn>
                <a:cxn ang="0">
                  <a:pos x="109" y="42"/>
                </a:cxn>
                <a:cxn ang="0">
                  <a:pos x="121" y="55"/>
                </a:cxn>
                <a:cxn ang="0">
                  <a:pos x="126" y="74"/>
                </a:cxn>
                <a:cxn ang="0">
                  <a:pos x="117" y="83"/>
                </a:cxn>
                <a:cxn ang="0">
                  <a:pos x="109" y="93"/>
                </a:cxn>
                <a:cxn ang="0">
                  <a:pos x="114" y="112"/>
                </a:cxn>
                <a:cxn ang="0">
                  <a:pos x="98" y="105"/>
                </a:cxn>
                <a:cxn ang="0">
                  <a:pos x="96" y="89"/>
                </a:cxn>
                <a:cxn ang="0">
                  <a:pos x="97" y="78"/>
                </a:cxn>
                <a:cxn ang="0">
                  <a:pos x="113" y="75"/>
                </a:cxn>
                <a:cxn ang="0">
                  <a:pos x="102" y="58"/>
                </a:cxn>
                <a:cxn ang="0">
                  <a:pos x="100" y="46"/>
                </a:cxn>
                <a:cxn ang="0">
                  <a:pos x="82" y="47"/>
                </a:cxn>
                <a:cxn ang="0">
                  <a:pos x="69" y="71"/>
                </a:cxn>
                <a:cxn ang="0">
                  <a:pos x="70" y="90"/>
                </a:cxn>
                <a:cxn ang="0">
                  <a:pos x="65" y="96"/>
                </a:cxn>
                <a:cxn ang="0">
                  <a:pos x="54" y="122"/>
                </a:cxn>
                <a:cxn ang="0">
                  <a:pos x="39" y="133"/>
                </a:cxn>
                <a:cxn ang="0">
                  <a:pos x="34" y="147"/>
                </a:cxn>
                <a:cxn ang="0">
                  <a:pos x="22" y="158"/>
                </a:cxn>
                <a:cxn ang="0">
                  <a:pos x="29" y="164"/>
                </a:cxn>
                <a:cxn ang="0">
                  <a:pos x="40" y="176"/>
                </a:cxn>
                <a:cxn ang="0">
                  <a:pos x="25" y="167"/>
                </a:cxn>
                <a:cxn ang="0">
                  <a:pos x="6" y="179"/>
                </a:cxn>
                <a:cxn ang="0">
                  <a:pos x="35" y="182"/>
                </a:cxn>
                <a:cxn ang="0">
                  <a:pos x="44" y="190"/>
                </a:cxn>
                <a:cxn ang="0">
                  <a:pos x="11" y="186"/>
                </a:cxn>
                <a:cxn ang="0">
                  <a:pos x="6" y="197"/>
                </a:cxn>
                <a:cxn ang="0">
                  <a:pos x="38" y="203"/>
                </a:cxn>
                <a:cxn ang="0">
                  <a:pos x="49" y="193"/>
                </a:cxn>
                <a:cxn ang="0">
                  <a:pos x="61" y="183"/>
                </a:cxn>
                <a:cxn ang="0">
                  <a:pos x="92" y="184"/>
                </a:cxn>
                <a:cxn ang="0">
                  <a:pos x="97" y="192"/>
                </a:cxn>
                <a:cxn ang="0">
                  <a:pos x="113" y="199"/>
                </a:cxn>
                <a:cxn ang="0">
                  <a:pos x="132" y="204"/>
                </a:cxn>
                <a:cxn ang="0">
                  <a:pos x="132" y="216"/>
                </a:cxn>
                <a:cxn ang="0">
                  <a:pos x="126" y="239"/>
                </a:cxn>
                <a:cxn ang="0">
                  <a:pos x="149" y="239"/>
                </a:cxn>
                <a:cxn ang="0">
                  <a:pos x="151" y="226"/>
                </a:cxn>
                <a:cxn ang="0">
                  <a:pos x="146" y="219"/>
                </a:cxn>
                <a:cxn ang="0">
                  <a:pos x="152" y="205"/>
                </a:cxn>
                <a:cxn ang="0">
                  <a:pos x="158" y="188"/>
                </a:cxn>
                <a:cxn ang="0">
                  <a:pos x="155" y="168"/>
                </a:cxn>
                <a:cxn ang="0">
                  <a:pos x="148" y="146"/>
                </a:cxn>
                <a:cxn ang="0">
                  <a:pos x="171" y="145"/>
                </a:cxn>
                <a:cxn ang="0">
                  <a:pos x="188" y="133"/>
                </a:cxn>
                <a:cxn ang="0">
                  <a:pos x="197" y="117"/>
                </a:cxn>
                <a:cxn ang="0">
                  <a:pos x="204" y="97"/>
                </a:cxn>
                <a:cxn ang="0">
                  <a:pos x="182" y="80"/>
                </a:cxn>
                <a:cxn ang="0">
                  <a:pos x="195" y="72"/>
                </a:cxn>
                <a:cxn ang="0">
                  <a:pos x="209" y="57"/>
                </a:cxn>
                <a:cxn ang="0">
                  <a:pos x="215" y="31"/>
                </a:cxn>
                <a:cxn ang="0">
                  <a:pos x="207" y="10"/>
                </a:cxn>
              </a:cxnLst>
              <a:rect l="0" t="0" r="r" b="b"/>
              <a:pathLst>
                <a:path w="216" h="243">
                  <a:moveTo>
                    <a:pt x="206" y="9"/>
                  </a:moveTo>
                  <a:cubicBezTo>
                    <a:pt x="204" y="9"/>
                    <a:pt x="202" y="9"/>
                    <a:pt x="201" y="9"/>
                  </a:cubicBezTo>
                  <a:cubicBezTo>
                    <a:pt x="199" y="9"/>
                    <a:pt x="199" y="9"/>
                    <a:pt x="198" y="8"/>
                  </a:cubicBezTo>
                  <a:cubicBezTo>
                    <a:pt x="198" y="5"/>
                    <a:pt x="200" y="2"/>
                    <a:pt x="197" y="1"/>
                  </a:cubicBezTo>
                  <a:cubicBezTo>
                    <a:pt x="194" y="0"/>
                    <a:pt x="192" y="2"/>
                    <a:pt x="190" y="2"/>
                  </a:cubicBezTo>
                  <a:cubicBezTo>
                    <a:pt x="187" y="4"/>
                    <a:pt x="183" y="4"/>
                    <a:pt x="180" y="6"/>
                  </a:cubicBezTo>
                  <a:cubicBezTo>
                    <a:pt x="180" y="6"/>
                    <a:pt x="179" y="6"/>
                    <a:pt x="179" y="6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7" y="9"/>
                    <a:pt x="173" y="8"/>
                    <a:pt x="170" y="8"/>
                  </a:cubicBezTo>
                  <a:cubicBezTo>
                    <a:pt x="166" y="8"/>
                    <a:pt x="162" y="5"/>
                    <a:pt x="158" y="5"/>
                  </a:cubicBezTo>
                  <a:cubicBezTo>
                    <a:pt x="154" y="5"/>
                    <a:pt x="153" y="6"/>
                    <a:pt x="150" y="8"/>
                  </a:cubicBezTo>
                  <a:cubicBezTo>
                    <a:pt x="148" y="8"/>
                    <a:pt x="146" y="9"/>
                    <a:pt x="144" y="10"/>
                  </a:cubicBezTo>
                  <a:cubicBezTo>
                    <a:pt x="140" y="10"/>
                    <a:pt x="137" y="10"/>
                    <a:pt x="135" y="12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3" y="14"/>
                    <a:pt x="132" y="14"/>
                    <a:pt x="131" y="15"/>
                  </a:cubicBezTo>
                  <a:cubicBezTo>
                    <a:pt x="129" y="16"/>
                    <a:pt x="127" y="16"/>
                    <a:pt x="125" y="18"/>
                  </a:cubicBezTo>
                  <a:cubicBezTo>
                    <a:pt x="124" y="18"/>
                    <a:pt x="123" y="20"/>
                    <a:pt x="122" y="21"/>
                  </a:cubicBezTo>
                  <a:cubicBezTo>
                    <a:pt x="121" y="21"/>
                    <a:pt x="119" y="22"/>
                    <a:pt x="119" y="23"/>
                  </a:cubicBezTo>
                  <a:cubicBezTo>
                    <a:pt x="119" y="24"/>
                    <a:pt x="119" y="25"/>
                    <a:pt x="119" y="25"/>
                  </a:cubicBezTo>
                  <a:cubicBezTo>
                    <a:pt x="119" y="26"/>
                    <a:pt x="118" y="27"/>
                    <a:pt x="118" y="27"/>
                  </a:cubicBezTo>
                  <a:cubicBezTo>
                    <a:pt x="118" y="27"/>
                    <a:pt x="117" y="28"/>
                    <a:pt x="117" y="29"/>
                  </a:cubicBezTo>
                  <a:cubicBezTo>
                    <a:pt x="117" y="30"/>
                    <a:pt x="117" y="31"/>
                    <a:pt x="117" y="31"/>
                  </a:cubicBezTo>
                  <a:cubicBezTo>
                    <a:pt x="117" y="32"/>
                    <a:pt x="116" y="32"/>
                    <a:pt x="116" y="32"/>
                  </a:cubicBezTo>
                  <a:cubicBezTo>
                    <a:pt x="116" y="33"/>
                    <a:pt x="117" y="33"/>
                    <a:pt x="116" y="34"/>
                  </a:cubicBezTo>
                  <a:cubicBezTo>
                    <a:pt x="116" y="34"/>
                    <a:pt x="114" y="35"/>
                    <a:pt x="113" y="35"/>
                  </a:cubicBezTo>
                  <a:cubicBezTo>
                    <a:pt x="111" y="36"/>
                    <a:pt x="109" y="36"/>
                    <a:pt x="109" y="33"/>
                  </a:cubicBezTo>
                  <a:cubicBezTo>
                    <a:pt x="108" y="32"/>
                    <a:pt x="108" y="31"/>
                    <a:pt x="107" y="30"/>
                  </a:cubicBezTo>
                  <a:cubicBezTo>
                    <a:pt x="105" y="29"/>
                    <a:pt x="103" y="36"/>
                    <a:pt x="103" y="38"/>
                  </a:cubicBezTo>
                  <a:cubicBezTo>
                    <a:pt x="104" y="39"/>
                    <a:pt x="104" y="40"/>
                    <a:pt x="104" y="41"/>
                  </a:cubicBezTo>
                  <a:cubicBezTo>
                    <a:pt x="105" y="43"/>
                    <a:pt x="107" y="43"/>
                    <a:pt x="109" y="42"/>
                  </a:cubicBezTo>
                  <a:cubicBezTo>
                    <a:pt x="110" y="41"/>
                    <a:pt x="110" y="39"/>
                    <a:pt x="112" y="41"/>
                  </a:cubicBezTo>
                  <a:cubicBezTo>
                    <a:pt x="112" y="41"/>
                    <a:pt x="113" y="42"/>
                    <a:pt x="113" y="42"/>
                  </a:cubicBezTo>
                  <a:cubicBezTo>
                    <a:pt x="113" y="43"/>
                    <a:pt x="114" y="43"/>
                    <a:pt x="114" y="43"/>
                  </a:cubicBezTo>
                  <a:cubicBezTo>
                    <a:pt x="116" y="46"/>
                    <a:pt x="115" y="51"/>
                    <a:pt x="115" y="54"/>
                  </a:cubicBezTo>
                  <a:cubicBezTo>
                    <a:pt x="115" y="56"/>
                    <a:pt x="115" y="56"/>
                    <a:pt x="118" y="56"/>
                  </a:cubicBezTo>
                  <a:cubicBezTo>
                    <a:pt x="119" y="56"/>
                    <a:pt x="120" y="55"/>
                    <a:pt x="121" y="55"/>
                  </a:cubicBezTo>
                  <a:cubicBezTo>
                    <a:pt x="123" y="56"/>
                    <a:pt x="124" y="57"/>
                    <a:pt x="125" y="57"/>
                  </a:cubicBezTo>
                  <a:cubicBezTo>
                    <a:pt x="126" y="60"/>
                    <a:pt x="130" y="56"/>
                    <a:pt x="131" y="57"/>
                  </a:cubicBezTo>
                  <a:cubicBezTo>
                    <a:pt x="132" y="58"/>
                    <a:pt x="132" y="59"/>
                    <a:pt x="131" y="60"/>
                  </a:cubicBezTo>
                  <a:cubicBezTo>
                    <a:pt x="129" y="62"/>
                    <a:pt x="126" y="61"/>
                    <a:pt x="125" y="63"/>
                  </a:cubicBezTo>
                  <a:cubicBezTo>
                    <a:pt x="124" y="65"/>
                    <a:pt x="125" y="68"/>
                    <a:pt x="125" y="70"/>
                  </a:cubicBezTo>
                  <a:cubicBezTo>
                    <a:pt x="125" y="72"/>
                    <a:pt x="125" y="72"/>
                    <a:pt x="126" y="74"/>
                  </a:cubicBezTo>
                  <a:cubicBezTo>
                    <a:pt x="126" y="74"/>
                    <a:pt x="127" y="75"/>
                    <a:pt x="127" y="75"/>
                  </a:cubicBezTo>
                  <a:cubicBezTo>
                    <a:pt x="127" y="76"/>
                    <a:pt x="127" y="77"/>
                    <a:pt x="127" y="78"/>
                  </a:cubicBezTo>
                  <a:cubicBezTo>
                    <a:pt x="129" y="78"/>
                    <a:pt x="130" y="77"/>
                    <a:pt x="129" y="80"/>
                  </a:cubicBezTo>
                  <a:cubicBezTo>
                    <a:pt x="129" y="81"/>
                    <a:pt x="129" y="81"/>
                    <a:pt x="127" y="81"/>
                  </a:cubicBezTo>
                  <a:cubicBezTo>
                    <a:pt x="124" y="82"/>
                    <a:pt x="122" y="81"/>
                    <a:pt x="119" y="82"/>
                  </a:cubicBezTo>
                  <a:cubicBezTo>
                    <a:pt x="118" y="82"/>
                    <a:pt x="118" y="83"/>
                    <a:pt x="117" y="83"/>
                  </a:cubicBezTo>
                  <a:cubicBezTo>
                    <a:pt x="116" y="83"/>
                    <a:pt x="116" y="83"/>
                    <a:pt x="115" y="83"/>
                  </a:cubicBezTo>
                  <a:cubicBezTo>
                    <a:pt x="113" y="83"/>
                    <a:pt x="113" y="83"/>
                    <a:pt x="112" y="84"/>
                  </a:cubicBezTo>
                  <a:cubicBezTo>
                    <a:pt x="110" y="85"/>
                    <a:pt x="110" y="85"/>
                    <a:pt x="110" y="87"/>
                  </a:cubicBezTo>
                  <a:cubicBezTo>
                    <a:pt x="110" y="87"/>
                    <a:pt x="109" y="88"/>
                    <a:pt x="109" y="88"/>
                  </a:cubicBezTo>
                  <a:cubicBezTo>
                    <a:pt x="109" y="89"/>
                    <a:pt x="109" y="90"/>
                    <a:pt x="109" y="91"/>
                  </a:cubicBezTo>
                  <a:cubicBezTo>
                    <a:pt x="109" y="92"/>
                    <a:pt x="109" y="92"/>
                    <a:pt x="109" y="93"/>
                  </a:cubicBezTo>
                  <a:cubicBezTo>
                    <a:pt x="110" y="94"/>
                    <a:pt x="110" y="94"/>
                    <a:pt x="110" y="95"/>
                  </a:cubicBezTo>
                  <a:cubicBezTo>
                    <a:pt x="110" y="96"/>
                    <a:pt x="109" y="97"/>
                    <a:pt x="108" y="98"/>
                  </a:cubicBezTo>
                  <a:cubicBezTo>
                    <a:pt x="107" y="101"/>
                    <a:pt x="109" y="101"/>
                    <a:pt x="110" y="104"/>
                  </a:cubicBezTo>
                  <a:cubicBezTo>
                    <a:pt x="110" y="105"/>
                    <a:pt x="110" y="106"/>
                    <a:pt x="111" y="107"/>
                  </a:cubicBezTo>
                  <a:cubicBezTo>
                    <a:pt x="111" y="108"/>
                    <a:pt x="112" y="109"/>
                    <a:pt x="113" y="109"/>
                  </a:cubicBezTo>
                  <a:cubicBezTo>
                    <a:pt x="114" y="110"/>
                    <a:pt x="115" y="111"/>
                    <a:pt x="114" y="112"/>
                  </a:cubicBezTo>
                  <a:cubicBezTo>
                    <a:pt x="114" y="112"/>
                    <a:pt x="114" y="112"/>
                    <a:pt x="113" y="112"/>
                  </a:cubicBezTo>
                  <a:cubicBezTo>
                    <a:pt x="113" y="112"/>
                    <a:pt x="112" y="111"/>
                    <a:pt x="112" y="111"/>
                  </a:cubicBezTo>
                  <a:cubicBezTo>
                    <a:pt x="111" y="110"/>
                    <a:pt x="110" y="109"/>
                    <a:pt x="109" y="108"/>
                  </a:cubicBezTo>
                  <a:cubicBezTo>
                    <a:pt x="108" y="107"/>
                    <a:pt x="108" y="107"/>
                    <a:pt x="107" y="106"/>
                  </a:cubicBezTo>
                  <a:cubicBezTo>
                    <a:pt x="105" y="105"/>
                    <a:pt x="104" y="106"/>
                    <a:pt x="103" y="106"/>
                  </a:cubicBezTo>
                  <a:cubicBezTo>
                    <a:pt x="101" y="106"/>
                    <a:pt x="99" y="105"/>
                    <a:pt x="98" y="105"/>
                  </a:cubicBezTo>
                  <a:cubicBezTo>
                    <a:pt x="96" y="104"/>
                    <a:pt x="95" y="104"/>
                    <a:pt x="94" y="104"/>
                  </a:cubicBezTo>
                  <a:cubicBezTo>
                    <a:pt x="92" y="103"/>
                    <a:pt x="91" y="100"/>
                    <a:pt x="93" y="99"/>
                  </a:cubicBezTo>
                  <a:cubicBezTo>
                    <a:pt x="94" y="98"/>
                    <a:pt x="100" y="100"/>
                    <a:pt x="99" y="97"/>
                  </a:cubicBezTo>
                  <a:cubicBezTo>
                    <a:pt x="98" y="95"/>
                    <a:pt x="97" y="96"/>
                    <a:pt x="97" y="95"/>
                  </a:cubicBezTo>
                  <a:cubicBezTo>
                    <a:pt x="97" y="94"/>
                    <a:pt x="97" y="92"/>
                    <a:pt x="97" y="91"/>
                  </a:cubicBezTo>
                  <a:cubicBezTo>
                    <a:pt x="97" y="90"/>
                    <a:pt x="96" y="90"/>
                    <a:pt x="96" y="89"/>
                  </a:cubicBezTo>
                  <a:cubicBezTo>
                    <a:pt x="96" y="89"/>
                    <a:pt x="97" y="88"/>
                    <a:pt x="97" y="88"/>
                  </a:cubicBezTo>
                  <a:cubicBezTo>
                    <a:pt x="97" y="88"/>
                    <a:pt x="97" y="87"/>
                    <a:pt x="97" y="86"/>
                  </a:cubicBezTo>
                  <a:cubicBezTo>
                    <a:pt x="96" y="84"/>
                    <a:pt x="95" y="83"/>
                    <a:pt x="94" y="82"/>
                  </a:cubicBezTo>
                  <a:cubicBezTo>
                    <a:pt x="94" y="81"/>
                    <a:pt x="94" y="81"/>
                    <a:pt x="94" y="80"/>
                  </a:cubicBezTo>
                  <a:cubicBezTo>
                    <a:pt x="93" y="80"/>
                    <a:pt x="93" y="80"/>
                    <a:pt x="93" y="79"/>
                  </a:cubicBezTo>
                  <a:cubicBezTo>
                    <a:pt x="93" y="77"/>
                    <a:pt x="95" y="78"/>
                    <a:pt x="97" y="78"/>
                  </a:cubicBezTo>
                  <a:cubicBezTo>
                    <a:pt x="98" y="78"/>
                    <a:pt x="98" y="78"/>
                    <a:pt x="100" y="78"/>
                  </a:cubicBezTo>
                  <a:cubicBezTo>
                    <a:pt x="101" y="78"/>
                    <a:pt x="102" y="77"/>
                    <a:pt x="102" y="77"/>
                  </a:cubicBezTo>
                  <a:cubicBezTo>
                    <a:pt x="103" y="77"/>
                    <a:pt x="104" y="77"/>
                    <a:pt x="105" y="77"/>
                  </a:cubicBezTo>
                  <a:cubicBezTo>
                    <a:pt x="107" y="76"/>
                    <a:pt x="106" y="76"/>
                    <a:pt x="107" y="75"/>
                  </a:cubicBezTo>
                  <a:cubicBezTo>
                    <a:pt x="108" y="72"/>
                    <a:pt x="109" y="75"/>
                    <a:pt x="111" y="75"/>
                  </a:cubicBezTo>
                  <a:cubicBezTo>
                    <a:pt x="111" y="75"/>
                    <a:pt x="112" y="75"/>
                    <a:pt x="113" y="75"/>
                  </a:cubicBezTo>
                  <a:cubicBezTo>
                    <a:pt x="113" y="74"/>
                    <a:pt x="113" y="72"/>
                    <a:pt x="112" y="72"/>
                  </a:cubicBezTo>
                  <a:cubicBezTo>
                    <a:pt x="112" y="71"/>
                    <a:pt x="111" y="71"/>
                    <a:pt x="110" y="71"/>
                  </a:cubicBezTo>
                  <a:cubicBezTo>
                    <a:pt x="110" y="70"/>
                    <a:pt x="108" y="69"/>
                    <a:pt x="108" y="68"/>
                  </a:cubicBezTo>
                  <a:cubicBezTo>
                    <a:pt x="107" y="68"/>
                    <a:pt x="108" y="67"/>
                    <a:pt x="108" y="66"/>
                  </a:cubicBezTo>
                  <a:cubicBezTo>
                    <a:pt x="108" y="64"/>
                    <a:pt x="107" y="64"/>
                    <a:pt x="105" y="63"/>
                  </a:cubicBezTo>
                  <a:cubicBezTo>
                    <a:pt x="103" y="62"/>
                    <a:pt x="103" y="60"/>
                    <a:pt x="102" y="58"/>
                  </a:cubicBezTo>
                  <a:cubicBezTo>
                    <a:pt x="101" y="57"/>
                    <a:pt x="99" y="56"/>
                    <a:pt x="98" y="55"/>
                  </a:cubicBezTo>
                  <a:cubicBezTo>
                    <a:pt x="97" y="54"/>
                    <a:pt x="97" y="55"/>
                    <a:pt x="97" y="53"/>
                  </a:cubicBezTo>
                  <a:cubicBezTo>
                    <a:pt x="97" y="52"/>
                    <a:pt x="98" y="51"/>
                    <a:pt x="99" y="50"/>
                  </a:cubicBezTo>
                  <a:cubicBezTo>
                    <a:pt x="100" y="49"/>
                    <a:pt x="101" y="48"/>
                    <a:pt x="102" y="47"/>
                  </a:cubicBezTo>
                  <a:cubicBezTo>
                    <a:pt x="104" y="47"/>
                    <a:pt x="105" y="46"/>
                    <a:pt x="106" y="45"/>
                  </a:cubicBezTo>
                  <a:cubicBezTo>
                    <a:pt x="104" y="45"/>
                    <a:pt x="102" y="45"/>
                    <a:pt x="100" y="46"/>
                  </a:cubicBezTo>
                  <a:cubicBezTo>
                    <a:pt x="99" y="47"/>
                    <a:pt x="98" y="48"/>
                    <a:pt x="97" y="49"/>
                  </a:cubicBezTo>
                  <a:cubicBezTo>
                    <a:pt x="95" y="51"/>
                    <a:pt x="93" y="53"/>
                    <a:pt x="92" y="53"/>
                  </a:cubicBezTo>
                  <a:cubicBezTo>
                    <a:pt x="90" y="53"/>
                    <a:pt x="86" y="53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4" y="50"/>
                    <a:pt x="84" y="49"/>
                  </a:cubicBezTo>
                  <a:cubicBezTo>
                    <a:pt x="84" y="48"/>
                    <a:pt x="83" y="47"/>
                    <a:pt x="82" y="47"/>
                  </a:cubicBezTo>
                  <a:cubicBezTo>
                    <a:pt x="78" y="47"/>
                    <a:pt x="77" y="50"/>
                    <a:pt x="77" y="53"/>
                  </a:cubicBezTo>
                  <a:cubicBezTo>
                    <a:pt x="77" y="56"/>
                    <a:pt x="77" y="57"/>
                    <a:pt x="75" y="60"/>
                  </a:cubicBezTo>
                  <a:cubicBezTo>
                    <a:pt x="75" y="60"/>
                    <a:pt x="74" y="62"/>
                    <a:pt x="73" y="62"/>
                  </a:cubicBezTo>
                  <a:cubicBezTo>
                    <a:pt x="72" y="63"/>
                    <a:pt x="69" y="61"/>
                    <a:pt x="67" y="60"/>
                  </a:cubicBezTo>
                  <a:cubicBezTo>
                    <a:pt x="67" y="61"/>
                    <a:pt x="67" y="62"/>
                    <a:pt x="67" y="63"/>
                  </a:cubicBezTo>
                  <a:cubicBezTo>
                    <a:pt x="66" y="66"/>
                    <a:pt x="68" y="68"/>
                    <a:pt x="69" y="71"/>
                  </a:cubicBezTo>
                  <a:cubicBezTo>
                    <a:pt x="69" y="72"/>
                    <a:pt x="68" y="73"/>
                    <a:pt x="69" y="74"/>
                  </a:cubicBezTo>
                  <a:cubicBezTo>
                    <a:pt x="69" y="75"/>
                    <a:pt x="72" y="75"/>
                    <a:pt x="73" y="77"/>
                  </a:cubicBezTo>
                  <a:cubicBezTo>
                    <a:pt x="73" y="79"/>
                    <a:pt x="72" y="80"/>
                    <a:pt x="72" y="81"/>
                  </a:cubicBezTo>
                  <a:cubicBezTo>
                    <a:pt x="72" y="83"/>
                    <a:pt x="72" y="84"/>
                    <a:pt x="72" y="85"/>
                  </a:cubicBezTo>
                  <a:cubicBezTo>
                    <a:pt x="72" y="86"/>
                    <a:pt x="71" y="87"/>
                    <a:pt x="71" y="88"/>
                  </a:cubicBezTo>
                  <a:cubicBezTo>
                    <a:pt x="71" y="89"/>
                    <a:pt x="70" y="90"/>
                    <a:pt x="70" y="90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92"/>
                    <a:pt x="69" y="93"/>
                    <a:pt x="69" y="93"/>
                  </a:cubicBezTo>
                  <a:cubicBezTo>
                    <a:pt x="69" y="94"/>
                    <a:pt x="68" y="93"/>
                    <a:pt x="68" y="94"/>
                  </a:cubicBezTo>
                  <a:cubicBezTo>
                    <a:pt x="67" y="94"/>
                    <a:pt x="66" y="95"/>
                    <a:pt x="66" y="95"/>
                  </a:cubicBezTo>
                  <a:cubicBezTo>
                    <a:pt x="65" y="95"/>
                    <a:pt x="65" y="95"/>
                    <a:pt x="65" y="96"/>
                  </a:cubicBezTo>
                  <a:cubicBezTo>
                    <a:pt x="64" y="97"/>
                    <a:pt x="65" y="97"/>
                    <a:pt x="65" y="98"/>
                  </a:cubicBezTo>
                  <a:cubicBezTo>
                    <a:pt x="65" y="98"/>
                    <a:pt x="64" y="99"/>
                    <a:pt x="64" y="99"/>
                  </a:cubicBezTo>
                  <a:cubicBezTo>
                    <a:pt x="63" y="100"/>
                    <a:pt x="63" y="102"/>
                    <a:pt x="63" y="103"/>
                  </a:cubicBezTo>
                  <a:cubicBezTo>
                    <a:pt x="63" y="104"/>
                    <a:pt x="63" y="106"/>
                    <a:pt x="62" y="107"/>
                  </a:cubicBezTo>
                  <a:cubicBezTo>
                    <a:pt x="62" y="109"/>
                    <a:pt x="60" y="110"/>
                    <a:pt x="60" y="111"/>
                  </a:cubicBezTo>
                  <a:cubicBezTo>
                    <a:pt x="58" y="114"/>
                    <a:pt x="55" y="117"/>
                    <a:pt x="54" y="122"/>
                  </a:cubicBezTo>
                  <a:cubicBezTo>
                    <a:pt x="53" y="121"/>
                    <a:pt x="51" y="123"/>
                    <a:pt x="50" y="124"/>
                  </a:cubicBezTo>
                  <a:cubicBezTo>
                    <a:pt x="49" y="125"/>
                    <a:pt x="49" y="126"/>
                    <a:pt x="49" y="127"/>
                  </a:cubicBezTo>
                  <a:cubicBezTo>
                    <a:pt x="49" y="127"/>
                    <a:pt x="49" y="128"/>
                    <a:pt x="48" y="128"/>
                  </a:cubicBezTo>
                  <a:cubicBezTo>
                    <a:pt x="48" y="126"/>
                    <a:pt x="43" y="126"/>
                    <a:pt x="42" y="127"/>
                  </a:cubicBezTo>
                  <a:cubicBezTo>
                    <a:pt x="41" y="128"/>
                    <a:pt x="41" y="128"/>
                    <a:pt x="41" y="129"/>
                  </a:cubicBezTo>
                  <a:cubicBezTo>
                    <a:pt x="40" y="130"/>
                    <a:pt x="40" y="131"/>
                    <a:pt x="39" y="133"/>
                  </a:cubicBezTo>
                  <a:cubicBezTo>
                    <a:pt x="39" y="134"/>
                    <a:pt x="38" y="134"/>
                    <a:pt x="38" y="135"/>
                  </a:cubicBezTo>
                  <a:cubicBezTo>
                    <a:pt x="38" y="136"/>
                    <a:pt x="38" y="137"/>
                    <a:pt x="38" y="138"/>
                  </a:cubicBezTo>
                  <a:cubicBezTo>
                    <a:pt x="38" y="140"/>
                    <a:pt x="39" y="140"/>
                    <a:pt x="39" y="141"/>
                  </a:cubicBezTo>
                  <a:cubicBezTo>
                    <a:pt x="40" y="143"/>
                    <a:pt x="39" y="144"/>
                    <a:pt x="40" y="145"/>
                  </a:cubicBezTo>
                  <a:cubicBezTo>
                    <a:pt x="39" y="145"/>
                    <a:pt x="39" y="145"/>
                    <a:pt x="38" y="146"/>
                  </a:cubicBezTo>
                  <a:cubicBezTo>
                    <a:pt x="36" y="146"/>
                    <a:pt x="36" y="146"/>
                    <a:pt x="34" y="147"/>
                  </a:cubicBezTo>
                  <a:cubicBezTo>
                    <a:pt x="34" y="147"/>
                    <a:pt x="33" y="147"/>
                    <a:pt x="32" y="147"/>
                  </a:cubicBezTo>
                  <a:cubicBezTo>
                    <a:pt x="32" y="148"/>
                    <a:pt x="32" y="148"/>
                    <a:pt x="32" y="149"/>
                  </a:cubicBezTo>
                  <a:cubicBezTo>
                    <a:pt x="30" y="150"/>
                    <a:pt x="30" y="149"/>
                    <a:pt x="29" y="151"/>
                  </a:cubicBezTo>
                  <a:cubicBezTo>
                    <a:pt x="29" y="152"/>
                    <a:pt x="29" y="154"/>
                    <a:pt x="29" y="156"/>
                  </a:cubicBezTo>
                  <a:cubicBezTo>
                    <a:pt x="29" y="158"/>
                    <a:pt x="28" y="157"/>
                    <a:pt x="26" y="157"/>
                  </a:cubicBezTo>
                  <a:cubicBezTo>
                    <a:pt x="25" y="157"/>
                    <a:pt x="23" y="158"/>
                    <a:pt x="22" y="158"/>
                  </a:cubicBezTo>
                  <a:cubicBezTo>
                    <a:pt x="20" y="159"/>
                    <a:pt x="15" y="162"/>
                    <a:pt x="16" y="164"/>
                  </a:cubicBezTo>
                  <a:cubicBezTo>
                    <a:pt x="17" y="165"/>
                    <a:pt x="19" y="165"/>
                    <a:pt x="20" y="164"/>
                  </a:cubicBezTo>
                  <a:cubicBezTo>
                    <a:pt x="20" y="164"/>
                    <a:pt x="21" y="163"/>
                    <a:pt x="21" y="163"/>
                  </a:cubicBezTo>
                  <a:cubicBezTo>
                    <a:pt x="22" y="162"/>
                    <a:pt x="24" y="162"/>
                    <a:pt x="24" y="162"/>
                  </a:cubicBezTo>
                  <a:cubicBezTo>
                    <a:pt x="26" y="161"/>
                    <a:pt x="26" y="161"/>
                    <a:pt x="28" y="162"/>
                  </a:cubicBezTo>
                  <a:cubicBezTo>
                    <a:pt x="28" y="162"/>
                    <a:pt x="29" y="163"/>
                    <a:pt x="29" y="164"/>
                  </a:cubicBezTo>
                  <a:cubicBezTo>
                    <a:pt x="30" y="164"/>
                    <a:pt x="32" y="164"/>
                    <a:pt x="33" y="164"/>
                  </a:cubicBezTo>
                  <a:cubicBezTo>
                    <a:pt x="34" y="164"/>
                    <a:pt x="40" y="161"/>
                    <a:pt x="40" y="163"/>
                  </a:cubicBezTo>
                  <a:cubicBezTo>
                    <a:pt x="41" y="164"/>
                    <a:pt x="37" y="167"/>
                    <a:pt x="36" y="167"/>
                  </a:cubicBezTo>
                  <a:cubicBezTo>
                    <a:pt x="35" y="168"/>
                    <a:pt x="35" y="169"/>
                    <a:pt x="35" y="170"/>
                  </a:cubicBezTo>
                  <a:cubicBezTo>
                    <a:pt x="37" y="170"/>
                    <a:pt x="39" y="171"/>
                    <a:pt x="40" y="172"/>
                  </a:cubicBezTo>
                  <a:cubicBezTo>
                    <a:pt x="40" y="173"/>
                    <a:pt x="40" y="175"/>
                    <a:pt x="40" y="176"/>
                  </a:cubicBezTo>
                  <a:cubicBezTo>
                    <a:pt x="41" y="177"/>
                    <a:pt x="44" y="177"/>
                    <a:pt x="44" y="178"/>
                  </a:cubicBezTo>
                  <a:cubicBezTo>
                    <a:pt x="45" y="179"/>
                    <a:pt x="44" y="180"/>
                    <a:pt x="44" y="181"/>
                  </a:cubicBezTo>
                  <a:cubicBezTo>
                    <a:pt x="39" y="181"/>
                    <a:pt x="36" y="176"/>
                    <a:pt x="34" y="172"/>
                  </a:cubicBezTo>
                  <a:cubicBezTo>
                    <a:pt x="33" y="171"/>
                    <a:pt x="31" y="170"/>
                    <a:pt x="30" y="169"/>
                  </a:cubicBezTo>
                  <a:cubicBezTo>
                    <a:pt x="29" y="169"/>
                    <a:pt x="28" y="169"/>
                    <a:pt x="28" y="168"/>
                  </a:cubicBezTo>
                  <a:cubicBezTo>
                    <a:pt x="27" y="167"/>
                    <a:pt x="27" y="167"/>
                    <a:pt x="25" y="167"/>
                  </a:cubicBezTo>
                  <a:cubicBezTo>
                    <a:pt x="23" y="167"/>
                    <a:pt x="23" y="168"/>
                    <a:pt x="22" y="169"/>
                  </a:cubicBezTo>
                  <a:cubicBezTo>
                    <a:pt x="20" y="170"/>
                    <a:pt x="17" y="169"/>
                    <a:pt x="15" y="169"/>
                  </a:cubicBezTo>
                  <a:cubicBezTo>
                    <a:pt x="13" y="169"/>
                    <a:pt x="13" y="169"/>
                    <a:pt x="12" y="169"/>
                  </a:cubicBezTo>
                  <a:cubicBezTo>
                    <a:pt x="12" y="170"/>
                    <a:pt x="11" y="170"/>
                    <a:pt x="11" y="171"/>
                  </a:cubicBezTo>
                  <a:cubicBezTo>
                    <a:pt x="10" y="171"/>
                    <a:pt x="10" y="171"/>
                    <a:pt x="9" y="172"/>
                  </a:cubicBezTo>
                  <a:cubicBezTo>
                    <a:pt x="8" y="173"/>
                    <a:pt x="5" y="177"/>
                    <a:pt x="6" y="179"/>
                  </a:cubicBezTo>
                  <a:cubicBezTo>
                    <a:pt x="8" y="179"/>
                    <a:pt x="12" y="178"/>
                    <a:pt x="13" y="180"/>
                  </a:cubicBezTo>
                  <a:cubicBezTo>
                    <a:pt x="14" y="180"/>
                    <a:pt x="14" y="181"/>
                    <a:pt x="14" y="182"/>
                  </a:cubicBezTo>
                  <a:cubicBezTo>
                    <a:pt x="15" y="183"/>
                    <a:pt x="16" y="183"/>
                    <a:pt x="18" y="184"/>
                  </a:cubicBezTo>
                  <a:cubicBezTo>
                    <a:pt x="22" y="184"/>
                    <a:pt x="23" y="187"/>
                    <a:pt x="27" y="185"/>
                  </a:cubicBezTo>
                  <a:cubicBezTo>
                    <a:pt x="29" y="184"/>
                    <a:pt x="31" y="183"/>
                    <a:pt x="33" y="182"/>
                  </a:cubicBezTo>
                  <a:cubicBezTo>
                    <a:pt x="34" y="182"/>
                    <a:pt x="34" y="182"/>
                    <a:pt x="35" y="182"/>
                  </a:cubicBezTo>
                  <a:cubicBezTo>
                    <a:pt x="36" y="182"/>
                    <a:pt x="37" y="181"/>
                    <a:pt x="37" y="181"/>
                  </a:cubicBezTo>
                  <a:cubicBezTo>
                    <a:pt x="38" y="181"/>
                    <a:pt x="39" y="182"/>
                    <a:pt x="40" y="183"/>
                  </a:cubicBezTo>
                  <a:cubicBezTo>
                    <a:pt x="40" y="185"/>
                    <a:pt x="39" y="186"/>
                    <a:pt x="41" y="186"/>
                  </a:cubicBezTo>
                  <a:cubicBezTo>
                    <a:pt x="42" y="187"/>
                    <a:pt x="46" y="184"/>
                    <a:pt x="47" y="186"/>
                  </a:cubicBezTo>
                  <a:cubicBezTo>
                    <a:pt x="48" y="186"/>
                    <a:pt x="48" y="190"/>
                    <a:pt x="48" y="190"/>
                  </a:cubicBezTo>
                  <a:cubicBezTo>
                    <a:pt x="47" y="191"/>
                    <a:pt x="45" y="190"/>
                    <a:pt x="44" y="190"/>
                  </a:cubicBezTo>
                  <a:cubicBezTo>
                    <a:pt x="41" y="189"/>
                    <a:pt x="39" y="189"/>
                    <a:pt x="36" y="188"/>
                  </a:cubicBezTo>
                  <a:cubicBezTo>
                    <a:pt x="35" y="188"/>
                    <a:pt x="34" y="187"/>
                    <a:pt x="33" y="188"/>
                  </a:cubicBezTo>
                  <a:cubicBezTo>
                    <a:pt x="32" y="188"/>
                    <a:pt x="31" y="188"/>
                    <a:pt x="30" y="188"/>
                  </a:cubicBezTo>
                  <a:cubicBezTo>
                    <a:pt x="27" y="189"/>
                    <a:pt x="24" y="188"/>
                    <a:pt x="21" y="188"/>
                  </a:cubicBezTo>
                  <a:cubicBezTo>
                    <a:pt x="18" y="188"/>
                    <a:pt x="16" y="188"/>
                    <a:pt x="13" y="187"/>
                  </a:cubicBezTo>
                  <a:cubicBezTo>
                    <a:pt x="12" y="187"/>
                    <a:pt x="11" y="186"/>
                    <a:pt x="11" y="186"/>
                  </a:cubicBezTo>
                  <a:cubicBezTo>
                    <a:pt x="9" y="185"/>
                    <a:pt x="8" y="183"/>
                    <a:pt x="6" y="183"/>
                  </a:cubicBezTo>
                  <a:cubicBezTo>
                    <a:pt x="3" y="182"/>
                    <a:pt x="1" y="184"/>
                    <a:pt x="1" y="187"/>
                  </a:cubicBezTo>
                  <a:cubicBezTo>
                    <a:pt x="1" y="188"/>
                    <a:pt x="1" y="189"/>
                    <a:pt x="0" y="190"/>
                  </a:cubicBezTo>
                  <a:cubicBezTo>
                    <a:pt x="0" y="192"/>
                    <a:pt x="1" y="192"/>
                    <a:pt x="1" y="193"/>
                  </a:cubicBezTo>
                  <a:cubicBezTo>
                    <a:pt x="2" y="194"/>
                    <a:pt x="2" y="195"/>
                    <a:pt x="3" y="196"/>
                  </a:cubicBezTo>
                  <a:cubicBezTo>
                    <a:pt x="4" y="197"/>
                    <a:pt x="5" y="197"/>
                    <a:pt x="6" y="197"/>
                  </a:cubicBezTo>
                  <a:cubicBezTo>
                    <a:pt x="7" y="198"/>
                    <a:pt x="9" y="199"/>
                    <a:pt x="11" y="198"/>
                  </a:cubicBezTo>
                  <a:cubicBezTo>
                    <a:pt x="12" y="197"/>
                    <a:pt x="12" y="196"/>
                    <a:pt x="12" y="196"/>
                  </a:cubicBezTo>
                  <a:cubicBezTo>
                    <a:pt x="13" y="195"/>
                    <a:pt x="17" y="194"/>
                    <a:pt x="18" y="194"/>
                  </a:cubicBezTo>
                  <a:cubicBezTo>
                    <a:pt x="21" y="194"/>
                    <a:pt x="22" y="196"/>
                    <a:pt x="23" y="198"/>
                  </a:cubicBezTo>
                  <a:cubicBezTo>
                    <a:pt x="25" y="200"/>
                    <a:pt x="30" y="201"/>
                    <a:pt x="33" y="202"/>
                  </a:cubicBezTo>
                  <a:cubicBezTo>
                    <a:pt x="35" y="203"/>
                    <a:pt x="36" y="204"/>
                    <a:pt x="38" y="203"/>
                  </a:cubicBezTo>
                  <a:cubicBezTo>
                    <a:pt x="39" y="203"/>
                    <a:pt x="40" y="202"/>
                    <a:pt x="41" y="201"/>
                  </a:cubicBezTo>
                  <a:cubicBezTo>
                    <a:pt x="41" y="200"/>
                    <a:pt x="42" y="199"/>
                    <a:pt x="42" y="199"/>
                  </a:cubicBezTo>
                  <a:cubicBezTo>
                    <a:pt x="42" y="198"/>
                    <a:pt x="43" y="197"/>
                    <a:pt x="44" y="196"/>
                  </a:cubicBezTo>
                  <a:cubicBezTo>
                    <a:pt x="44" y="195"/>
                    <a:pt x="44" y="195"/>
                    <a:pt x="46" y="194"/>
                  </a:cubicBezTo>
                  <a:cubicBezTo>
                    <a:pt x="47" y="194"/>
                    <a:pt x="48" y="194"/>
                    <a:pt x="49" y="193"/>
                  </a:cubicBezTo>
                  <a:cubicBezTo>
                    <a:pt x="49" y="193"/>
                    <a:pt x="49" y="193"/>
                    <a:pt x="49" y="193"/>
                  </a:cubicBezTo>
                  <a:cubicBezTo>
                    <a:pt x="49" y="192"/>
                    <a:pt x="49" y="192"/>
                    <a:pt x="50" y="192"/>
                  </a:cubicBezTo>
                  <a:cubicBezTo>
                    <a:pt x="51" y="191"/>
                    <a:pt x="51" y="191"/>
                    <a:pt x="51" y="190"/>
                  </a:cubicBezTo>
                  <a:cubicBezTo>
                    <a:pt x="52" y="189"/>
                    <a:pt x="53" y="188"/>
                    <a:pt x="54" y="188"/>
                  </a:cubicBezTo>
                  <a:cubicBezTo>
                    <a:pt x="55" y="187"/>
                    <a:pt x="55" y="187"/>
                    <a:pt x="56" y="187"/>
                  </a:cubicBezTo>
                  <a:cubicBezTo>
                    <a:pt x="57" y="186"/>
                    <a:pt x="58" y="186"/>
                    <a:pt x="59" y="185"/>
                  </a:cubicBezTo>
                  <a:cubicBezTo>
                    <a:pt x="60" y="185"/>
                    <a:pt x="60" y="184"/>
                    <a:pt x="61" y="183"/>
                  </a:cubicBezTo>
                  <a:cubicBezTo>
                    <a:pt x="62" y="183"/>
                    <a:pt x="63" y="183"/>
                    <a:pt x="64" y="183"/>
                  </a:cubicBezTo>
                  <a:cubicBezTo>
                    <a:pt x="65" y="183"/>
                    <a:pt x="66" y="182"/>
                    <a:pt x="67" y="182"/>
                  </a:cubicBezTo>
                  <a:cubicBezTo>
                    <a:pt x="70" y="182"/>
                    <a:pt x="73" y="182"/>
                    <a:pt x="76" y="182"/>
                  </a:cubicBezTo>
                  <a:cubicBezTo>
                    <a:pt x="79" y="182"/>
                    <a:pt x="80" y="184"/>
                    <a:pt x="82" y="184"/>
                  </a:cubicBezTo>
                  <a:cubicBezTo>
                    <a:pt x="84" y="185"/>
                    <a:pt x="86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3" y="184"/>
                    <a:pt x="94" y="183"/>
                    <a:pt x="96" y="182"/>
                  </a:cubicBezTo>
                  <a:cubicBezTo>
                    <a:pt x="96" y="182"/>
                    <a:pt x="97" y="182"/>
                    <a:pt x="98" y="182"/>
                  </a:cubicBezTo>
                  <a:cubicBezTo>
                    <a:pt x="99" y="182"/>
                    <a:pt x="100" y="182"/>
                    <a:pt x="100" y="182"/>
                  </a:cubicBezTo>
                  <a:cubicBezTo>
                    <a:pt x="103" y="182"/>
                    <a:pt x="104" y="185"/>
                    <a:pt x="103" y="187"/>
                  </a:cubicBezTo>
                  <a:cubicBezTo>
                    <a:pt x="103" y="188"/>
                    <a:pt x="100" y="190"/>
                    <a:pt x="98" y="191"/>
                  </a:cubicBezTo>
                  <a:cubicBezTo>
                    <a:pt x="98" y="191"/>
                    <a:pt x="97" y="191"/>
                    <a:pt x="97" y="192"/>
                  </a:cubicBezTo>
                  <a:cubicBezTo>
                    <a:pt x="97" y="193"/>
                    <a:pt x="98" y="193"/>
                    <a:pt x="99" y="193"/>
                  </a:cubicBezTo>
                  <a:cubicBezTo>
                    <a:pt x="101" y="194"/>
                    <a:pt x="102" y="194"/>
                    <a:pt x="104" y="195"/>
                  </a:cubicBezTo>
                  <a:cubicBezTo>
                    <a:pt x="106" y="196"/>
                    <a:pt x="106" y="196"/>
                    <a:pt x="107" y="197"/>
                  </a:cubicBezTo>
                  <a:cubicBezTo>
                    <a:pt x="107" y="197"/>
                    <a:pt x="108" y="198"/>
                    <a:pt x="108" y="198"/>
                  </a:cubicBezTo>
                  <a:cubicBezTo>
                    <a:pt x="109" y="198"/>
                    <a:pt x="109" y="199"/>
                    <a:pt x="109" y="199"/>
                  </a:cubicBezTo>
                  <a:cubicBezTo>
                    <a:pt x="111" y="200"/>
                    <a:pt x="112" y="200"/>
                    <a:pt x="113" y="199"/>
                  </a:cubicBezTo>
                  <a:cubicBezTo>
                    <a:pt x="116" y="198"/>
                    <a:pt x="118" y="197"/>
                    <a:pt x="121" y="197"/>
                  </a:cubicBezTo>
                  <a:cubicBezTo>
                    <a:pt x="123" y="197"/>
                    <a:pt x="123" y="197"/>
                    <a:pt x="124" y="199"/>
                  </a:cubicBezTo>
                  <a:cubicBezTo>
                    <a:pt x="124" y="199"/>
                    <a:pt x="125" y="200"/>
                    <a:pt x="125" y="200"/>
                  </a:cubicBezTo>
                  <a:cubicBezTo>
                    <a:pt x="126" y="201"/>
                    <a:pt x="126" y="201"/>
                    <a:pt x="127" y="202"/>
                  </a:cubicBezTo>
                  <a:cubicBezTo>
                    <a:pt x="127" y="202"/>
                    <a:pt x="128" y="203"/>
                    <a:pt x="129" y="203"/>
                  </a:cubicBezTo>
                  <a:cubicBezTo>
                    <a:pt x="130" y="204"/>
                    <a:pt x="131" y="204"/>
                    <a:pt x="132" y="204"/>
                  </a:cubicBezTo>
                  <a:cubicBezTo>
                    <a:pt x="133" y="205"/>
                    <a:pt x="135" y="205"/>
                    <a:pt x="136" y="205"/>
                  </a:cubicBezTo>
                  <a:cubicBezTo>
                    <a:pt x="136" y="206"/>
                    <a:pt x="137" y="207"/>
                    <a:pt x="137" y="208"/>
                  </a:cubicBezTo>
                  <a:cubicBezTo>
                    <a:pt x="136" y="209"/>
                    <a:pt x="136" y="209"/>
                    <a:pt x="135" y="210"/>
                  </a:cubicBezTo>
                  <a:cubicBezTo>
                    <a:pt x="135" y="211"/>
                    <a:pt x="134" y="212"/>
                    <a:pt x="134" y="213"/>
                  </a:cubicBezTo>
                  <a:cubicBezTo>
                    <a:pt x="133" y="214"/>
                    <a:pt x="133" y="214"/>
                    <a:pt x="132" y="214"/>
                  </a:cubicBezTo>
                  <a:cubicBezTo>
                    <a:pt x="132" y="215"/>
                    <a:pt x="132" y="215"/>
                    <a:pt x="132" y="216"/>
                  </a:cubicBezTo>
                  <a:cubicBezTo>
                    <a:pt x="131" y="218"/>
                    <a:pt x="130" y="219"/>
                    <a:pt x="129" y="221"/>
                  </a:cubicBezTo>
                  <a:cubicBezTo>
                    <a:pt x="129" y="222"/>
                    <a:pt x="129" y="223"/>
                    <a:pt x="128" y="224"/>
                  </a:cubicBezTo>
                  <a:cubicBezTo>
                    <a:pt x="128" y="226"/>
                    <a:pt x="128" y="227"/>
                    <a:pt x="127" y="228"/>
                  </a:cubicBezTo>
                  <a:cubicBezTo>
                    <a:pt x="126" y="229"/>
                    <a:pt x="126" y="229"/>
                    <a:pt x="126" y="231"/>
                  </a:cubicBezTo>
                  <a:cubicBezTo>
                    <a:pt x="126" y="231"/>
                    <a:pt x="126" y="232"/>
                    <a:pt x="126" y="233"/>
                  </a:cubicBezTo>
                  <a:cubicBezTo>
                    <a:pt x="126" y="234"/>
                    <a:pt x="125" y="238"/>
                    <a:pt x="126" y="239"/>
                  </a:cubicBezTo>
                  <a:cubicBezTo>
                    <a:pt x="127" y="241"/>
                    <a:pt x="131" y="240"/>
                    <a:pt x="133" y="240"/>
                  </a:cubicBezTo>
                  <a:cubicBezTo>
                    <a:pt x="134" y="240"/>
                    <a:pt x="135" y="241"/>
                    <a:pt x="137" y="241"/>
                  </a:cubicBezTo>
                  <a:cubicBezTo>
                    <a:pt x="139" y="243"/>
                    <a:pt x="142" y="243"/>
                    <a:pt x="145" y="243"/>
                  </a:cubicBezTo>
                  <a:cubicBezTo>
                    <a:pt x="145" y="243"/>
                    <a:pt x="145" y="243"/>
                    <a:pt x="145" y="243"/>
                  </a:cubicBezTo>
                  <a:cubicBezTo>
                    <a:pt x="146" y="242"/>
                    <a:pt x="146" y="241"/>
                    <a:pt x="146" y="241"/>
                  </a:cubicBezTo>
                  <a:cubicBezTo>
                    <a:pt x="147" y="240"/>
                    <a:pt x="148" y="240"/>
                    <a:pt x="149" y="239"/>
                  </a:cubicBezTo>
                  <a:cubicBezTo>
                    <a:pt x="149" y="239"/>
                    <a:pt x="148" y="239"/>
                    <a:pt x="148" y="238"/>
                  </a:cubicBezTo>
                  <a:cubicBezTo>
                    <a:pt x="148" y="238"/>
                    <a:pt x="148" y="237"/>
                    <a:pt x="149" y="236"/>
                  </a:cubicBezTo>
                  <a:cubicBezTo>
                    <a:pt x="149" y="235"/>
                    <a:pt x="149" y="235"/>
                    <a:pt x="149" y="233"/>
                  </a:cubicBezTo>
                  <a:cubicBezTo>
                    <a:pt x="149" y="233"/>
                    <a:pt x="149" y="233"/>
                    <a:pt x="149" y="232"/>
                  </a:cubicBezTo>
                  <a:cubicBezTo>
                    <a:pt x="149" y="232"/>
                    <a:pt x="149" y="231"/>
                    <a:pt x="149" y="230"/>
                  </a:cubicBezTo>
                  <a:cubicBezTo>
                    <a:pt x="150" y="229"/>
                    <a:pt x="150" y="227"/>
                    <a:pt x="151" y="226"/>
                  </a:cubicBezTo>
                  <a:cubicBezTo>
                    <a:pt x="151" y="224"/>
                    <a:pt x="151" y="222"/>
                    <a:pt x="151" y="221"/>
                  </a:cubicBezTo>
                  <a:cubicBezTo>
                    <a:pt x="151" y="220"/>
                    <a:pt x="150" y="219"/>
                    <a:pt x="150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8" y="219"/>
                    <a:pt x="147" y="219"/>
                  </a:cubicBezTo>
                  <a:cubicBezTo>
                    <a:pt x="146" y="219"/>
                    <a:pt x="146" y="219"/>
                    <a:pt x="146" y="219"/>
                  </a:cubicBezTo>
                  <a:cubicBezTo>
                    <a:pt x="145" y="217"/>
                    <a:pt x="146" y="215"/>
                    <a:pt x="146" y="213"/>
                  </a:cubicBezTo>
                  <a:cubicBezTo>
                    <a:pt x="147" y="212"/>
                    <a:pt x="146" y="212"/>
                    <a:pt x="148" y="212"/>
                  </a:cubicBezTo>
                  <a:cubicBezTo>
                    <a:pt x="149" y="211"/>
                    <a:pt x="149" y="211"/>
                    <a:pt x="150" y="210"/>
                  </a:cubicBezTo>
                  <a:cubicBezTo>
                    <a:pt x="150" y="209"/>
                    <a:pt x="152" y="209"/>
                    <a:pt x="153" y="208"/>
                  </a:cubicBezTo>
                  <a:cubicBezTo>
                    <a:pt x="152" y="207"/>
                    <a:pt x="152" y="207"/>
                    <a:pt x="152" y="206"/>
                  </a:cubicBezTo>
                  <a:cubicBezTo>
                    <a:pt x="152" y="206"/>
                    <a:pt x="152" y="205"/>
                    <a:pt x="152" y="205"/>
                  </a:cubicBezTo>
                  <a:cubicBezTo>
                    <a:pt x="152" y="204"/>
                    <a:pt x="152" y="204"/>
                    <a:pt x="151" y="204"/>
                  </a:cubicBezTo>
                  <a:cubicBezTo>
                    <a:pt x="151" y="203"/>
                    <a:pt x="152" y="203"/>
                    <a:pt x="153" y="202"/>
                  </a:cubicBezTo>
                  <a:cubicBezTo>
                    <a:pt x="154" y="199"/>
                    <a:pt x="152" y="196"/>
                    <a:pt x="154" y="194"/>
                  </a:cubicBezTo>
                  <a:cubicBezTo>
                    <a:pt x="154" y="193"/>
                    <a:pt x="155" y="193"/>
                    <a:pt x="155" y="192"/>
                  </a:cubicBezTo>
                  <a:cubicBezTo>
                    <a:pt x="156" y="191"/>
                    <a:pt x="157" y="191"/>
                    <a:pt x="157" y="190"/>
                  </a:cubicBezTo>
                  <a:cubicBezTo>
                    <a:pt x="158" y="189"/>
                    <a:pt x="158" y="190"/>
                    <a:pt x="158" y="188"/>
                  </a:cubicBezTo>
                  <a:cubicBezTo>
                    <a:pt x="158" y="187"/>
                    <a:pt x="158" y="185"/>
                    <a:pt x="158" y="184"/>
                  </a:cubicBezTo>
                  <a:cubicBezTo>
                    <a:pt x="157" y="182"/>
                    <a:pt x="157" y="179"/>
                    <a:pt x="157" y="177"/>
                  </a:cubicBezTo>
                  <a:cubicBezTo>
                    <a:pt x="156" y="176"/>
                    <a:pt x="156" y="176"/>
                    <a:pt x="156" y="175"/>
                  </a:cubicBezTo>
                  <a:cubicBezTo>
                    <a:pt x="156" y="174"/>
                    <a:pt x="156" y="173"/>
                    <a:pt x="156" y="172"/>
                  </a:cubicBezTo>
                  <a:cubicBezTo>
                    <a:pt x="156" y="171"/>
                    <a:pt x="155" y="170"/>
                    <a:pt x="155" y="169"/>
                  </a:cubicBezTo>
                  <a:cubicBezTo>
                    <a:pt x="155" y="169"/>
                    <a:pt x="155" y="169"/>
                    <a:pt x="155" y="168"/>
                  </a:cubicBezTo>
                  <a:cubicBezTo>
                    <a:pt x="154" y="167"/>
                    <a:pt x="152" y="167"/>
                    <a:pt x="151" y="165"/>
                  </a:cubicBezTo>
                  <a:cubicBezTo>
                    <a:pt x="150" y="164"/>
                    <a:pt x="151" y="162"/>
                    <a:pt x="150" y="160"/>
                  </a:cubicBezTo>
                  <a:cubicBezTo>
                    <a:pt x="150" y="158"/>
                    <a:pt x="147" y="157"/>
                    <a:pt x="146" y="156"/>
                  </a:cubicBezTo>
                  <a:cubicBezTo>
                    <a:pt x="145" y="155"/>
                    <a:pt x="145" y="155"/>
                    <a:pt x="145" y="153"/>
                  </a:cubicBezTo>
                  <a:cubicBezTo>
                    <a:pt x="145" y="153"/>
                    <a:pt x="145" y="152"/>
                    <a:pt x="145" y="151"/>
                  </a:cubicBezTo>
                  <a:cubicBezTo>
                    <a:pt x="145" y="149"/>
                    <a:pt x="146" y="146"/>
                    <a:pt x="148" y="146"/>
                  </a:cubicBezTo>
                  <a:cubicBezTo>
                    <a:pt x="150" y="146"/>
                    <a:pt x="151" y="146"/>
                    <a:pt x="153" y="146"/>
                  </a:cubicBezTo>
                  <a:cubicBezTo>
                    <a:pt x="153" y="146"/>
                    <a:pt x="153" y="145"/>
                    <a:pt x="153" y="144"/>
                  </a:cubicBezTo>
                  <a:cubicBezTo>
                    <a:pt x="153" y="141"/>
                    <a:pt x="156" y="141"/>
                    <a:pt x="158" y="141"/>
                  </a:cubicBezTo>
                  <a:cubicBezTo>
                    <a:pt x="160" y="142"/>
                    <a:pt x="162" y="143"/>
                    <a:pt x="164" y="144"/>
                  </a:cubicBezTo>
                  <a:cubicBezTo>
                    <a:pt x="165" y="145"/>
                    <a:pt x="166" y="145"/>
                    <a:pt x="167" y="145"/>
                  </a:cubicBezTo>
                  <a:cubicBezTo>
                    <a:pt x="168" y="145"/>
                    <a:pt x="170" y="145"/>
                    <a:pt x="171" y="145"/>
                  </a:cubicBezTo>
                  <a:cubicBezTo>
                    <a:pt x="172" y="145"/>
                    <a:pt x="173" y="144"/>
                    <a:pt x="174" y="144"/>
                  </a:cubicBezTo>
                  <a:cubicBezTo>
                    <a:pt x="176" y="144"/>
                    <a:pt x="175" y="144"/>
                    <a:pt x="176" y="143"/>
                  </a:cubicBezTo>
                  <a:cubicBezTo>
                    <a:pt x="177" y="142"/>
                    <a:pt x="179" y="142"/>
                    <a:pt x="180" y="142"/>
                  </a:cubicBezTo>
                  <a:cubicBezTo>
                    <a:pt x="182" y="141"/>
                    <a:pt x="185" y="139"/>
                    <a:pt x="187" y="138"/>
                  </a:cubicBezTo>
                  <a:cubicBezTo>
                    <a:pt x="188" y="138"/>
                    <a:pt x="189" y="137"/>
                    <a:pt x="189" y="136"/>
                  </a:cubicBezTo>
                  <a:cubicBezTo>
                    <a:pt x="190" y="134"/>
                    <a:pt x="189" y="134"/>
                    <a:pt x="188" y="133"/>
                  </a:cubicBezTo>
                  <a:cubicBezTo>
                    <a:pt x="188" y="132"/>
                    <a:pt x="188" y="130"/>
                    <a:pt x="188" y="129"/>
                  </a:cubicBezTo>
                  <a:cubicBezTo>
                    <a:pt x="188" y="128"/>
                    <a:pt x="188" y="127"/>
                    <a:pt x="188" y="126"/>
                  </a:cubicBezTo>
                  <a:cubicBezTo>
                    <a:pt x="188" y="126"/>
                    <a:pt x="188" y="125"/>
                    <a:pt x="189" y="124"/>
                  </a:cubicBezTo>
                  <a:cubicBezTo>
                    <a:pt x="189" y="124"/>
                    <a:pt x="189" y="124"/>
                    <a:pt x="190" y="124"/>
                  </a:cubicBezTo>
                  <a:cubicBezTo>
                    <a:pt x="190" y="123"/>
                    <a:pt x="191" y="123"/>
                    <a:pt x="191" y="122"/>
                  </a:cubicBezTo>
                  <a:cubicBezTo>
                    <a:pt x="193" y="120"/>
                    <a:pt x="195" y="119"/>
                    <a:pt x="197" y="117"/>
                  </a:cubicBezTo>
                  <a:cubicBezTo>
                    <a:pt x="198" y="116"/>
                    <a:pt x="198" y="115"/>
                    <a:pt x="199" y="114"/>
                  </a:cubicBezTo>
                  <a:cubicBezTo>
                    <a:pt x="201" y="114"/>
                    <a:pt x="202" y="113"/>
                    <a:pt x="203" y="112"/>
                  </a:cubicBezTo>
                  <a:cubicBezTo>
                    <a:pt x="205" y="110"/>
                    <a:pt x="203" y="107"/>
                    <a:pt x="204" y="105"/>
                  </a:cubicBezTo>
                  <a:cubicBezTo>
                    <a:pt x="204" y="104"/>
                    <a:pt x="205" y="104"/>
                    <a:pt x="205" y="103"/>
                  </a:cubicBezTo>
                  <a:cubicBezTo>
                    <a:pt x="206" y="102"/>
                    <a:pt x="206" y="100"/>
                    <a:pt x="206" y="99"/>
                  </a:cubicBezTo>
                  <a:cubicBezTo>
                    <a:pt x="205" y="98"/>
                    <a:pt x="205" y="98"/>
                    <a:pt x="204" y="97"/>
                  </a:cubicBezTo>
                  <a:cubicBezTo>
                    <a:pt x="204" y="97"/>
                    <a:pt x="204" y="96"/>
                    <a:pt x="204" y="96"/>
                  </a:cubicBezTo>
                  <a:cubicBezTo>
                    <a:pt x="204" y="96"/>
                    <a:pt x="204" y="95"/>
                    <a:pt x="203" y="95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199" y="93"/>
                    <a:pt x="182" y="94"/>
                    <a:pt x="185" y="85"/>
                  </a:cubicBezTo>
                  <a:cubicBezTo>
                    <a:pt x="186" y="83"/>
                    <a:pt x="185" y="83"/>
                    <a:pt x="183" y="81"/>
                  </a:cubicBezTo>
                  <a:cubicBezTo>
                    <a:pt x="183" y="81"/>
                    <a:pt x="182" y="80"/>
                    <a:pt x="182" y="80"/>
                  </a:cubicBezTo>
                  <a:cubicBezTo>
                    <a:pt x="181" y="80"/>
                    <a:pt x="180" y="78"/>
                    <a:pt x="180" y="78"/>
                  </a:cubicBezTo>
                  <a:cubicBezTo>
                    <a:pt x="179" y="77"/>
                    <a:pt x="179" y="76"/>
                    <a:pt x="180" y="76"/>
                  </a:cubicBezTo>
                  <a:cubicBezTo>
                    <a:pt x="181" y="76"/>
                    <a:pt x="182" y="74"/>
                    <a:pt x="183" y="74"/>
                  </a:cubicBezTo>
                  <a:cubicBezTo>
                    <a:pt x="184" y="74"/>
                    <a:pt x="186" y="74"/>
                    <a:pt x="187" y="74"/>
                  </a:cubicBezTo>
                  <a:cubicBezTo>
                    <a:pt x="189" y="74"/>
                    <a:pt x="191" y="74"/>
                    <a:pt x="193" y="74"/>
                  </a:cubicBezTo>
                  <a:cubicBezTo>
                    <a:pt x="194" y="73"/>
                    <a:pt x="194" y="73"/>
                    <a:pt x="195" y="72"/>
                  </a:cubicBezTo>
                  <a:cubicBezTo>
                    <a:pt x="195" y="71"/>
                    <a:pt x="195" y="71"/>
                    <a:pt x="197" y="71"/>
                  </a:cubicBezTo>
                  <a:cubicBezTo>
                    <a:pt x="198" y="71"/>
                    <a:pt x="200" y="72"/>
                    <a:pt x="201" y="71"/>
                  </a:cubicBezTo>
                  <a:cubicBezTo>
                    <a:pt x="202" y="71"/>
                    <a:pt x="203" y="69"/>
                    <a:pt x="204" y="68"/>
                  </a:cubicBezTo>
                  <a:cubicBezTo>
                    <a:pt x="205" y="67"/>
                    <a:pt x="208" y="67"/>
                    <a:pt x="209" y="65"/>
                  </a:cubicBezTo>
                  <a:cubicBezTo>
                    <a:pt x="209" y="64"/>
                    <a:pt x="208" y="64"/>
                    <a:pt x="208" y="63"/>
                  </a:cubicBezTo>
                  <a:cubicBezTo>
                    <a:pt x="206" y="60"/>
                    <a:pt x="207" y="59"/>
                    <a:pt x="209" y="57"/>
                  </a:cubicBezTo>
                  <a:cubicBezTo>
                    <a:pt x="209" y="56"/>
                    <a:pt x="210" y="56"/>
                    <a:pt x="210" y="55"/>
                  </a:cubicBezTo>
                  <a:cubicBezTo>
                    <a:pt x="212" y="54"/>
                    <a:pt x="212" y="53"/>
                    <a:pt x="213" y="51"/>
                  </a:cubicBezTo>
                  <a:cubicBezTo>
                    <a:pt x="214" y="49"/>
                    <a:pt x="214" y="47"/>
                    <a:pt x="214" y="44"/>
                  </a:cubicBezTo>
                  <a:cubicBezTo>
                    <a:pt x="214" y="42"/>
                    <a:pt x="213" y="39"/>
                    <a:pt x="214" y="37"/>
                  </a:cubicBezTo>
                  <a:cubicBezTo>
                    <a:pt x="214" y="36"/>
                    <a:pt x="214" y="36"/>
                    <a:pt x="214" y="35"/>
                  </a:cubicBezTo>
                  <a:cubicBezTo>
                    <a:pt x="215" y="33"/>
                    <a:pt x="215" y="32"/>
                    <a:pt x="215" y="31"/>
                  </a:cubicBezTo>
                  <a:cubicBezTo>
                    <a:pt x="215" y="28"/>
                    <a:pt x="215" y="25"/>
                    <a:pt x="215" y="22"/>
                  </a:cubicBezTo>
                  <a:cubicBezTo>
                    <a:pt x="215" y="20"/>
                    <a:pt x="216" y="18"/>
                    <a:pt x="216" y="16"/>
                  </a:cubicBezTo>
                  <a:cubicBezTo>
                    <a:pt x="213" y="14"/>
                    <a:pt x="213" y="14"/>
                    <a:pt x="213" y="14"/>
                  </a:cubicBezTo>
                  <a:cubicBezTo>
                    <a:pt x="212" y="14"/>
                    <a:pt x="212" y="14"/>
                    <a:pt x="211" y="14"/>
                  </a:cubicBezTo>
                  <a:cubicBezTo>
                    <a:pt x="210" y="14"/>
                    <a:pt x="209" y="14"/>
                    <a:pt x="209" y="14"/>
                  </a:cubicBezTo>
                  <a:cubicBezTo>
                    <a:pt x="208" y="13"/>
                    <a:pt x="208" y="11"/>
                    <a:pt x="207" y="10"/>
                  </a:cubicBezTo>
                  <a:lnTo>
                    <a:pt x="206" y="9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8" name="Freeform 98">
              <a:extLst>
                <a:ext uri="{FF2B5EF4-FFF2-40B4-BE49-F238E27FC236}">
                  <a16:creationId xmlns:a16="http://schemas.microsoft.com/office/drawing/2014/main" id="{34FCDFE1-4941-4D52-BA2B-52606BF10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5" y="4025900"/>
              <a:ext cx="22225" cy="30163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6"/>
                </a:cxn>
                <a:cxn ang="0">
                  <a:pos x="12" y="6"/>
                </a:cxn>
                <a:cxn ang="0">
                  <a:pos x="10" y="1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4" y="5"/>
                </a:cxn>
              </a:cxnLst>
              <a:rect l="0" t="0" r="r" b="b"/>
              <a:pathLst>
                <a:path w="12" h="16">
                  <a:moveTo>
                    <a:pt x="4" y="5"/>
                  </a:moveTo>
                  <a:cubicBezTo>
                    <a:pt x="3" y="6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2" y="15"/>
                    <a:pt x="4" y="16"/>
                    <a:pt x="5" y="16"/>
                  </a:cubicBezTo>
                  <a:cubicBezTo>
                    <a:pt x="9" y="16"/>
                    <a:pt x="12" y="10"/>
                    <a:pt x="12" y="6"/>
                  </a:cubicBezTo>
                  <a:cubicBezTo>
                    <a:pt x="12" y="4"/>
                    <a:pt x="11" y="2"/>
                    <a:pt x="10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5" y="4"/>
                    <a:pt x="4" y="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29" name="Freeform 99">
              <a:extLst>
                <a:ext uri="{FF2B5EF4-FFF2-40B4-BE49-F238E27FC236}">
                  <a16:creationId xmlns:a16="http://schemas.microsoft.com/office/drawing/2014/main" id="{89E61366-2483-4E5F-AA23-A07CD4CAD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338" y="4002088"/>
              <a:ext cx="14288" cy="127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4" y="6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8" y="1"/>
                </a:cxn>
                <a:cxn ang="0">
                  <a:pos x="7" y="0"/>
                </a:cxn>
              </a:cxnLst>
              <a:rect l="0" t="0" r="r" b="b"/>
              <a:pathLst>
                <a:path w="8" h="7">
                  <a:moveTo>
                    <a:pt x="7" y="0"/>
                  </a:moveTo>
                  <a:cubicBezTo>
                    <a:pt x="6" y="1"/>
                    <a:pt x="4" y="1"/>
                    <a:pt x="3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1" y="5"/>
                    <a:pt x="0" y="7"/>
                    <a:pt x="2" y="7"/>
                  </a:cubicBezTo>
                  <a:cubicBezTo>
                    <a:pt x="2" y="7"/>
                    <a:pt x="3" y="6"/>
                    <a:pt x="4" y="6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6" y="4"/>
                    <a:pt x="7" y="4"/>
                    <a:pt x="7" y="3"/>
                  </a:cubicBezTo>
                  <a:cubicBezTo>
                    <a:pt x="7" y="3"/>
                    <a:pt x="7" y="3"/>
                    <a:pt x="8" y="2"/>
                  </a:cubicBezTo>
                  <a:cubicBezTo>
                    <a:pt x="8" y="2"/>
                    <a:pt x="8" y="2"/>
                    <a:pt x="8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0" name="Freeform 100">
              <a:extLst>
                <a:ext uri="{FF2B5EF4-FFF2-40B4-BE49-F238E27FC236}">
                  <a16:creationId xmlns:a16="http://schemas.microsoft.com/office/drawing/2014/main" id="{FA09AD8A-AF4C-4E2F-9C0B-C74AA6619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150" y="3984625"/>
              <a:ext cx="26988" cy="14288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9" y="1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1" y="6"/>
                </a:cxn>
                <a:cxn ang="0">
                  <a:pos x="6" y="6"/>
                </a:cxn>
                <a:cxn ang="0">
                  <a:pos x="12" y="3"/>
                </a:cxn>
                <a:cxn ang="0">
                  <a:pos x="13" y="1"/>
                </a:cxn>
                <a:cxn ang="0">
                  <a:pos x="11" y="1"/>
                </a:cxn>
                <a:cxn ang="0">
                  <a:pos x="10" y="1"/>
                </a:cxn>
              </a:cxnLst>
              <a:rect l="0" t="0" r="r" b="b"/>
              <a:pathLst>
                <a:path w="14" h="7">
                  <a:moveTo>
                    <a:pt x="10" y="1"/>
                  </a:moveTo>
                  <a:cubicBezTo>
                    <a:pt x="10" y="1"/>
                    <a:pt x="9" y="1"/>
                    <a:pt x="9" y="1"/>
                  </a:cubicBezTo>
                  <a:cubicBezTo>
                    <a:pt x="8" y="2"/>
                    <a:pt x="6" y="2"/>
                    <a:pt x="5" y="2"/>
                  </a:cubicBezTo>
                  <a:cubicBezTo>
                    <a:pt x="4" y="3"/>
                    <a:pt x="3" y="3"/>
                    <a:pt x="2" y="4"/>
                  </a:cubicBezTo>
                  <a:cubicBezTo>
                    <a:pt x="1" y="5"/>
                    <a:pt x="0" y="6"/>
                    <a:pt x="1" y="6"/>
                  </a:cubicBezTo>
                  <a:cubicBezTo>
                    <a:pt x="3" y="7"/>
                    <a:pt x="4" y="7"/>
                    <a:pt x="6" y="6"/>
                  </a:cubicBezTo>
                  <a:cubicBezTo>
                    <a:pt x="8" y="6"/>
                    <a:pt x="10" y="5"/>
                    <a:pt x="12" y="3"/>
                  </a:cubicBezTo>
                  <a:cubicBezTo>
                    <a:pt x="12" y="3"/>
                    <a:pt x="14" y="2"/>
                    <a:pt x="13" y="1"/>
                  </a:cubicBezTo>
                  <a:cubicBezTo>
                    <a:pt x="13" y="0"/>
                    <a:pt x="12" y="1"/>
                    <a:pt x="11" y="1"/>
                  </a:cubicBezTo>
                  <a:lnTo>
                    <a:pt x="10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1" name="Freeform 101">
              <a:extLst>
                <a:ext uri="{FF2B5EF4-FFF2-40B4-BE49-F238E27FC236}">
                  <a16:creationId xmlns:a16="http://schemas.microsoft.com/office/drawing/2014/main" id="{58F5E201-803C-4B17-99DD-70C12B8A1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6538" y="3973513"/>
              <a:ext cx="28575" cy="7938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4" y="4"/>
                </a:cxn>
                <a:cxn ang="0">
                  <a:pos x="11" y="3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5" y="1"/>
                </a:cxn>
                <a:cxn ang="0">
                  <a:pos x="9" y="1"/>
                </a:cxn>
              </a:cxnLst>
              <a:rect l="0" t="0" r="r" b="b"/>
              <a:pathLst>
                <a:path w="15" h="4">
                  <a:moveTo>
                    <a:pt x="9" y="1"/>
                  </a:moveTo>
                  <a:cubicBezTo>
                    <a:pt x="6" y="1"/>
                    <a:pt x="3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7" y="4"/>
                    <a:pt x="9" y="4"/>
                    <a:pt x="11" y="3"/>
                  </a:cubicBezTo>
                  <a:cubicBezTo>
                    <a:pt x="12" y="3"/>
                    <a:pt x="15" y="2"/>
                    <a:pt x="14" y="1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1"/>
                    <a:pt x="6" y="1"/>
                    <a:pt x="5" y="1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2" name="Freeform 102">
              <a:extLst>
                <a:ext uri="{FF2B5EF4-FFF2-40B4-BE49-F238E27FC236}">
                  <a16:creationId xmlns:a16="http://schemas.microsoft.com/office/drawing/2014/main" id="{60AAFC8B-D259-4943-BD97-D30C4E218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750" y="3968750"/>
              <a:ext cx="20638" cy="4763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9" y="0"/>
                </a:cxn>
                <a:cxn ang="0">
                  <a:pos x="5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9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9" y="1"/>
                </a:cxn>
              </a:cxnLst>
              <a:rect l="0" t="0" r="r" b="b"/>
              <a:pathLst>
                <a:path w="11" h="3">
                  <a:moveTo>
                    <a:pt x="9" y="1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2"/>
                    <a:pt x="4" y="3"/>
                    <a:pt x="5" y="3"/>
                  </a:cubicBezTo>
                  <a:cubicBezTo>
                    <a:pt x="6" y="3"/>
                    <a:pt x="7" y="3"/>
                    <a:pt x="9" y="3"/>
                  </a:cubicBezTo>
                  <a:cubicBezTo>
                    <a:pt x="9" y="3"/>
                    <a:pt x="10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3" name="Freeform 103">
              <a:extLst>
                <a:ext uri="{FF2B5EF4-FFF2-40B4-BE49-F238E27FC236}">
                  <a16:creationId xmlns:a16="http://schemas.microsoft.com/office/drawing/2014/main" id="{46B4F0F9-0AA7-4D9D-A076-4B3C39484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5" y="2338388"/>
              <a:ext cx="114300" cy="109538"/>
            </a:xfrm>
            <a:custGeom>
              <a:avLst/>
              <a:gdLst/>
              <a:ahLst/>
              <a:cxnLst>
                <a:cxn ang="0">
                  <a:pos x="50" y="10"/>
                </a:cxn>
                <a:cxn ang="0">
                  <a:pos x="48" y="3"/>
                </a:cxn>
                <a:cxn ang="0">
                  <a:pos x="43" y="2"/>
                </a:cxn>
                <a:cxn ang="0">
                  <a:pos x="42" y="6"/>
                </a:cxn>
                <a:cxn ang="0">
                  <a:pos x="39" y="13"/>
                </a:cxn>
                <a:cxn ang="0">
                  <a:pos x="38" y="17"/>
                </a:cxn>
                <a:cxn ang="0">
                  <a:pos x="35" y="14"/>
                </a:cxn>
                <a:cxn ang="0">
                  <a:pos x="31" y="8"/>
                </a:cxn>
                <a:cxn ang="0">
                  <a:pos x="32" y="19"/>
                </a:cxn>
                <a:cxn ang="0">
                  <a:pos x="24" y="14"/>
                </a:cxn>
                <a:cxn ang="0">
                  <a:pos x="20" y="18"/>
                </a:cxn>
                <a:cxn ang="0">
                  <a:pos x="13" y="18"/>
                </a:cxn>
                <a:cxn ang="0">
                  <a:pos x="10" y="24"/>
                </a:cxn>
                <a:cxn ang="0">
                  <a:pos x="6" y="19"/>
                </a:cxn>
                <a:cxn ang="0">
                  <a:pos x="7" y="31"/>
                </a:cxn>
                <a:cxn ang="0">
                  <a:pos x="4" y="33"/>
                </a:cxn>
                <a:cxn ang="0">
                  <a:pos x="0" y="38"/>
                </a:cxn>
                <a:cxn ang="0">
                  <a:pos x="2" y="43"/>
                </a:cxn>
                <a:cxn ang="0">
                  <a:pos x="4" y="47"/>
                </a:cxn>
                <a:cxn ang="0">
                  <a:pos x="7" y="47"/>
                </a:cxn>
                <a:cxn ang="0">
                  <a:pos x="12" y="50"/>
                </a:cxn>
                <a:cxn ang="0">
                  <a:pos x="21" y="50"/>
                </a:cxn>
                <a:cxn ang="0">
                  <a:pos x="23" y="52"/>
                </a:cxn>
                <a:cxn ang="0">
                  <a:pos x="31" y="54"/>
                </a:cxn>
                <a:cxn ang="0">
                  <a:pos x="33" y="58"/>
                </a:cxn>
                <a:cxn ang="0">
                  <a:pos x="42" y="54"/>
                </a:cxn>
                <a:cxn ang="0">
                  <a:pos x="34" y="50"/>
                </a:cxn>
                <a:cxn ang="0">
                  <a:pos x="40" y="45"/>
                </a:cxn>
                <a:cxn ang="0">
                  <a:pos x="39" y="37"/>
                </a:cxn>
                <a:cxn ang="0">
                  <a:pos x="40" y="34"/>
                </a:cxn>
                <a:cxn ang="0">
                  <a:pos x="44" y="34"/>
                </a:cxn>
                <a:cxn ang="0">
                  <a:pos x="45" y="33"/>
                </a:cxn>
                <a:cxn ang="0">
                  <a:pos x="49" y="33"/>
                </a:cxn>
                <a:cxn ang="0">
                  <a:pos x="61" y="30"/>
                </a:cxn>
                <a:cxn ang="0">
                  <a:pos x="55" y="18"/>
                </a:cxn>
                <a:cxn ang="0">
                  <a:pos x="57" y="11"/>
                </a:cxn>
                <a:cxn ang="0">
                  <a:pos x="52" y="10"/>
                </a:cxn>
                <a:cxn ang="0">
                  <a:pos x="52" y="9"/>
                </a:cxn>
                <a:cxn ang="0">
                  <a:pos x="50" y="10"/>
                </a:cxn>
              </a:cxnLst>
              <a:rect l="0" t="0" r="r" b="b"/>
              <a:pathLst>
                <a:path w="61" h="59">
                  <a:moveTo>
                    <a:pt x="50" y="10"/>
                  </a:moveTo>
                  <a:cubicBezTo>
                    <a:pt x="50" y="7"/>
                    <a:pt x="50" y="5"/>
                    <a:pt x="48" y="3"/>
                  </a:cubicBezTo>
                  <a:cubicBezTo>
                    <a:pt x="47" y="2"/>
                    <a:pt x="45" y="0"/>
                    <a:pt x="43" y="2"/>
                  </a:cubicBezTo>
                  <a:cubicBezTo>
                    <a:pt x="43" y="2"/>
                    <a:pt x="43" y="5"/>
                    <a:pt x="42" y="6"/>
                  </a:cubicBezTo>
                  <a:cubicBezTo>
                    <a:pt x="41" y="8"/>
                    <a:pt x="39" y="10"/>
                    <a:pt x="39" y="13"/>
                  </a:cubicBezTo>
                  <a:cubicBezTo>
                    <a:pt x="37" y="13"/>
                    <a:pt x="36" y="16"/>
                    <a:pt x="38" y="17"/>
                  </a:cubicBezTo>
                  <a:cubicBezTo>
                    <a:pt x="41" y="15"/>
                    <a:pt x="35" y="9"/>
                    <a:pt x="35" y="14"/>
                  </a:cubicBezTo>
                  <a:cubicBezTo>
                    <a:pt x="35" y="11"/>
                    <a:pt x="33" y="9"/>
                    <a:pt x="31" y="8"/>
                  </a:cubicBezTo>
                  <a:cubicBezTo>
                    <a:pt x="29" y="11"/>
                    <a:pt x="33" y="16"/>
                    <a:pt x="32" y="19"/>
                  </a:cubicBezTo>
                  <a:cubicBezTo>
                    <a:pt x="29" y="19"/>
                    <a:pt x="27" y="14"/>
                    <a:pt x="24" y="14"/>
                  </a:cubicBezTo>
                  <a:cubicBezTo>
                    <a:pt x="21" y="14"/>
                    <a:pt x="20" y="15"/>
                    <a:pt x="20" y="18"/>
                  </a:cubicBezTo>
                  <a:cubicBezTo>
                    <a:pt x="18" y="19"/>
                    <a:pt x="15" y="18"/>
                    <a:pt x="13" y="18"/>
                  </a:cubicBezTo>
                  <a:cubicBezTo>
                    <a:pt x="13" y="19"/>
                    <a:pt x="12" y="24"/>
                    <a:pt x="10" y="24"/>
                  </a:cubicBezTo>
                  <a:cubicBezTo>
                    <a:pt x="9" y="22"/>
                    <a:pt x="8" y="19"/>
                    <a:pt x="6" y="19"/>
                  </a:cubicBezTo>
                  <a:cubicBezTo>
                    <a:pt x="5" y="23"/>
                    <a:pt x="8" y="27"/>
                    <a:pt x="7" y="31"/>
                  </a:cubicBezTo>
                  <a:cubicBezTo>
                    <a:pt x="5" y="31"/>
                    <a:pt x="5" y="32"/>
                    <a:pt x="4" y="33"/>
                  </a:cubicBezTo>
                  <a:cubicBezTo>
                    <a:pt x="2" y="35"/>
                    <a:pt x="0" y="36"/>
                    <a:pt x="0" y="38"/>
                  </a:cubicBezTo>
                  <a:cubicBezTo>
                    <a:pt x="0" y="41"/>
                    <a:pt x="1" y="41"/>
                    <a:pt x="2" y="43"/>
                  </a:cubicBezTo>
                  <a:cubicBezTo>
                    <a:pt x="3" y="44"/>
                    <a:pt x="3" y="46"/>
                    <a:pt x="4" y="47"/>
                  </a:cubicBezTo>
                  <a:cubicBezTo>
                    <a:pt x="5" y="48"/>
                    <a:pt x="6" y="47"/>
                    <a:pt x="7" y="47"/>
                  </a:cubicBezTo>
                  <a:cubicBezTo>
                    <a:pt x="10" y="48"/>
                    <a:pt x="8" y="50"/>
                    <a:pt x="12" y="50"/>
                  </a:cubicBezTo>
                  <a:cubicBezTo>
                    <a:pt x="14" y="50"/>
                    <a:pt x="19" y="49"/>
                    <a:pt x="21" y="50"/>
                  </a:cubicBezTo>
                  <a:cubicBezTo>
                    <a:pt x="22" y="50"/>
                    <a:pt x="22" y="52"/>
                    <a:pt x="23" y="52"/>
                  </a:cubicBezTo>
                  <a:cubicBezTo>
                    <a:pt x="25" y="53"/>
                    <a:pt x="29" y="52"/>
                    <a:pt x="31" y="54"/>
                  </a:cubicBezTo>
                  <a:cubicBezTo>
                    <a:pt x="32" y="54"/>
                    <a:pt x="33" y="56"/>
                    <a:pt x="33" y="58"/>
                  </a:cubicBezTo>
                  <a:cubicBezTo>
                    <a:pt x="36" y="59"/>
                    <a:pt x="40" y="56"/>
                    <a:pt x="42" y="54"/>
                  </a:cubicBezTo>
                  <a:cubicBezTo>
                    <a:pt x="39" y="54"/>
                    <a:pt x="36" y="51"/>
                    <a:pt x="34" y="50"/>
                  </a:cubicBezTo>
                  <a:cubicBezTo>
                    <a:pt x="36" y="49"/>
                    <a:pt x="39" y="48"/>
                    <a:pt x="40" y="45"/>
                  </a:cubicBezTo>
                  <a:cubicBezTo>
                    <a:pt x="47" y="45"/>
                    <a:pt x="39" y="40"/>
                    <a:pt x="39" y="37"/>
                  </a:cubicBezTo>
                  <a:cubicBezTo>
                    <a:pt x="39" y="36"/>
                    <a:pt x="40" y="34"/>
                    <a:pt x="40" y="34"/>
                  </a:cubicBezTo>
                  <a:cubicBezTo>
                    <a:pt x="42" y="33"/>
                    <a:pt x="42" y="34"/>
                    <a:pt x="44" y="34"/>
                  </a:cubicBezTo>
                  <a:cubicBezTo>
                    <a:pt x="45" y="34"/>
                    <a:pt x="45" y="33"/>
                    <a:pt x="45" y="33"/>
                  </a:cubicBezTo>
                  <a:cubicBezTo>
                    <a:pt x="46" y="32"/>
                    <a:pt x="47" y="33"/>
                    <a:pt x="49" y="33"/>
                  </a:cubicBezTo>
                  <a:cubicBezTo>
                    <a:pt x="52" y="33"/>
                    <a:pt x="61" y="35"/>
                    <a:pt x="61" y="30"/>
                  </a:cubicBezTo>
                  <a:cubicBezTo>
                    <a:pt x="60" y="25"/>
                    <a:pt x="55" y="23"/>
                    <a:pt x="55" y="18"/>
                  </a:cubicBezTo>
                  <a:cubicBezTo>
                    <a:pt x="55" y="15"/>
                    <a:pt x="57" y="13"/>
                    <a:pt x="57" y="11"/>
                  </a:cubicBezTo>
                  <a:cubicBezTo>
                    <a:pt x="55" y="10"/>
                    <a:pt x="54" y="11"/>
                    <a:pt x="52" y="10"/>
                  </a:cubicBezTo>
                  <a:cubicBezTo>
                    <a:pt x="52" y="10"/>
                    <a:pt x="52" y="9"/>
                    <a:pt x="52" y="9"/>
                  </a:cubicBezTo>
                  <a:lnTo>
                    <a:pt x="50" y="1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4" name="Freeform 104">
              <a:extLst>
                <a:ext uri="{FF2B5EF4-FFF2-40B4-BE49-F238E27FC236}">
                  <a16:creationId xmlns:a16="http://schemas.microsoft.com/office/drawing/2014/main" id="{C7299764-EF71-497F-B699-D8B10BDDD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9388" y="2454275"/>
              <a:ext cx="31750" cy="31750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6" y="2"/>
                </a:cxn>
                <a:cxn ang="0">
                  <a:pos x="1" y="5"/>
                </a:cxn>
                <a:cxn ang="0">
                  <a:pos x="4" y="10"/>
                </a:cxn>
                <a:cxn ang="0">
                  <a:pos x="6" y="13"/>
                </a:cxn>
                <a:cxn ang="0">
                  <a:pos x="16" y="17"/>
                </a:cxn>
                <a:cxn ang="0">
                  <a:pos x="16" y="10"/>
                </a:cxn>
                <a:cxn ang="0">
                  <a:pos x="13" y="6"/>
                </a:cxn>
              </a:cxnLst>
              <a:rect l="0" t="0" r="r" b="b"/>
              <a:pathLst>
                <a:path w="17" h="17">
                  <a:moveTo>
                    <a:pt x="13" y="6"/>
                  </a:moveTo>
                  <a:cubicBezTo>
                    <a:pt x="10" y="6"/>
                    <a:pt x="8" y="3"/>
                    <a:pt x="6" y="2"/>
                  </a:cubicBezTo>
                  <a:cubicBezTo>
                    <a:pt x="3" y="0"/>
                    <a:pt x="0" y="0"/>
                    <a:pt x="1" y="5"/>
                  </a:cubicBezTo>
                  <a:cubicBezTo>
                    <a:pt x="1" y="8"/>
                    <a:pt x="2" y="7"/>
                    <a:pt x="4" y="10"/>
                  </a:cubicBezTo>
                  <a:cubicBezTo>
                    <a:pt x="5" y="11"/>
                    <a:pt x="5" y="12"/>
                    <a:pt x="6" y="13"/>
                  </a:cubicBezTo>
                  <a:cubicBezTo>
                    <a:pt x="7" y="15"/>
                    <a:pt x="14" y="17"/>
                    <a:pt x="16" y="17"/>
                  </a:cubicBezTo>
                  <a:cubicBezTo>
                    <a:pt x="16" y="15"/>
                    <a:pt x="17" y="12"/>
                    <a:pt x="16" y="10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5" name="Freeform 105">
              <a:extLst>
                <a:ext uri="{FF2B5EF4-FFF2-40B4-BE49-F238E27FC236}">
                  <a16:creationId xmlns:a16="http://schemas.microsoft.com/office/drawing/2014/main" id="{75A4D2DE-8FC0-4038-A0C2-EE01916D3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8575" cy="50800"/>
            </a:xfrm>
            <a:custGeom>
              <a:avLst/>
              <a:gdLst/>
              <a:ahLst/>
              <a:cxnLst>
                <a:cxn ang="0">
                  <a:pos x="11" y="4"/>
                </a:cxn>
                <a:cxn ang="0">
                  <a:pos x="2" y="2"/>
                </a:cxn>
                <a:cxn ang="0">
                  <a:pos x="2" y="9"/>
                </a:cxn>
                <a:cxn ang="0">
                  <a:pos x="9" y="16"/>
                </a:cxn>
                <a:cxn ang="0">
                  <a:pos x="7" y="21"/>
                </a:cxn>
                <a:cxn ang="0">
                  <a:pos x="9" y="26"/>
                </a:cxn>
                <a:cxn ang="0">
                  <a:pos x="12" y="27"/>
                </a:cxn>
                <a:cxn ang="0">
                  <a:pos x="12" y="16"/>
                </a:cxn>
                <a:cxn ang="0">
                  <a:pos x="13" y="10"/>
                </a:cxn>
                <a:cxn ang="0">
                  <a:pos x="11" y="4"/>
                </a:cxn>
              </a:cxnLst>
              <a:rect l="0" t="0" r="r" b="b"/>
              <a:pathLst>
                <a:path w="15" h="27">
                  <a:moveTo>
                    <a:pt x="11" y="4"/>
                  </a:moveTo>
                  <a:cubicBezTo>
                    <a:pt x="9" y="3"/>
                    <a:pt x="3" y="0"/>
                    <a:pt x="2" y="2"/>
                  </a:cubicBezTo>
                  <a:cubicBezTo>
                    <a:pt x="0" y="3"/>
                    <a:pt x="1" y="7"/>
                    <a:pt x="2" y="9"/>
                  </a:cubicBezTo>
                  <a:cubicBezTo>
                    <a:pt x="3" y="12"/>
                    <a:pt x="8" y="13"/>
                    <a:pt x="9" y="16"/>
                  </a:cubicBezTo>
                  <a:cubicBezTo>
                    <a:pt x="9" y="18"/>
                    <a:pt x="8" y="19"/>
                    <a:pt x="7" y="21"/>
                  </a:cubicBezTo>
                  <a:cubicBezTo>
                    <a:pt x="7" y="22"/>
                    <a:pt x="7" y="25"/>
                    <a:pt x="9" y="26"/>
                  </a:cubicBezTo>
                  <a:cubicBezTo>
                    <a:pt x="9" y="26"/>
                    <a:pt x="12" y="27"/>
                    <a:pt x="12" y="27"/>
                  </a:cubicBezTo>
                  <a:cubicBezTo>
                    <a:pt x="15" y="26"/>
                    <a:pt x="13" y="18"/>
                    <a:pt x="12" y="16"/>
                  </a:cubicBezTo>
                  <a:cubicBezTo>
                    <a:pt x="12" y="15"/>
                    <a:pt x="12" y="12"/>
                    <a:pt x="13" y="10"/>
                  </a:cubicBezTo>
                  <a:lnTo>
                    <a:pt x="11" y="4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6" name="Freeform 106">
              <a:extLst>
                <a:ext uri="{FF2B5EF4-FFF2-40B4-BE49-F238E27FC236}">
                  <a16:creationId xmlns:a16="http://schemas.microsoft.com/office/drawing/2014/main" id="{02AAA3D5-0897-4CFB-AF0D-ABBDB90829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4188" y="3221038"/>
              <a:ext cx="300038" cy="554038"/>
            </a:xfrm>
            <a:custGeom>
              <a:avLst/>
              <a:gdLst/>
              <a:ahLst/>
              <a:cxnLst>
                <a:cxn ang="0">
                  <a:pos x="92" y="72"/>
                </a:cxn>
                <a:cxn ang="0">
                  <a:pos x="75" y="76"/>
                </a:cxn>
                <a:cxn ang="0">
                  <a:pos x="65" y="79"/>
                </a:cxn>
                <a:cxn ang="0">
                  <a:pos x="62" y="97"/>
                </a:cxn>
                <a:cxn ang="0">
                  <a:pos x="69" y="109"/>
                </a:cxn>
                <a:cxn ang="0">
                  <a:pos x="60" y="103"/>
                </a:cxn>
                <a:cxn ang="0">
                  <a:pos x="45" y="81"/>
                </a:cxn>
                <a:cxn ang="0">
                  <a:pos x="58" y="74"/>
                </a:cxn>
                <a:cxn ang="0">
                  <a:pos x="80" y="70"/>
                </a:cxn>
                <a:cxn ang="0">
                  <a:pos x="99" y="67"/>
                </a:cxn>
                <a:cxn ang="0">
                  <a:pos x="152" y="264"/>
                </a:cxn>
                <a:cxn ang="0">
                  <a:pos x="145" y="261"/>
                </a:cxn>
                <a:cxn ang="0">
                  <a:pos x="151" y="239"/>
                </a:cxn>
                <a:cxn ang="0">
                  <a:pos x="142" y="225"/>
                </a:cxn>
                <a:cxn ang="0">
                  <a:pos x="148" y="222"/>
                </a:cxn>
                <a:cxn ang="0">
                  <a:pos x="128" y="207"/>
                </a:cxn>
                <a:cxn ang="0">
                  <a:pos x="96" y="204"/>
                </a:cxn>
                <a:cxn ang="0">
                  <a:pos x="100" y="187"/>
                </a:cxn>
                <a:cxn ang="0">
                  <a:pos x="118" y="185"/>
                </a:cxn>
                <a:cxn ang="0">
                  <a:pos x="120" y="164"/>
                </a:cxn>
                <a:cxn ang="0">
                  <a:pos x="136" y="155"/>
                </a:cxn>
                <a:cxn ang="0">
                  <a:pos x="149" y="152"/>
                </a:cxn>
                <a:cxn ang="0">
                  <a:pos x="158" y="131"/>
                </a:cxn>
                <a:cxn ang="0">
                  <a:pos x="125" y="109"/>
                </a:cxn>
                <a:cxn ang="0">
                  <a:pos x="122" y="92"/>
                </a:cxn>
                <a:cxn ang="0">
                  <a:pos x="129" y="66"/>
                </a:cxn>
                <a:cxn ang="0">
                  <a:pos x="139" y="50"/>
                </a:cxn>
                <a:cxn ang="0">
                  <a:pos x="136" y="26"/>
                </a:cxn>
                <a:cxn ang="0">
                  <a:pos x="140" y="2"/>
                </a:cxn>
                <a:cxn ang="0">
                  <a:pos x="108" y="16"/>
                </a:cxn>
                <a:cxn ang="0">
                  <a:pos x="87" y="45"/>
                </a:cxn>
                <a:cxn ang="0">
                  <a:pos x="55" y="58"/>
                </a:cxn>
                <a:cxn ang="0">
                  <a:pos x="24" y="72"/>
                </a:cxn>
                <a:cxn ang="0">
                  <a:pos x="19" y="105"/>
                </a:cxn>
                <a:cxn ang="0">
                  <a:pos x="31" y="104"/>
                </a:cxn>
                <a:cxn ang="0">
                  <a:pos x="39" y="106"/>
                </a:cxn>
                <a:cxn ang="0">
                  <a:pos x="38" y="124"/>
                </a:cxn>
                <a:cxn ang="0">
                  <a:pos x="21" y="118"/>
                </a:cxn>
                <a:cxn ang="0">
                  <a:pos x="5" y="120"/>
                </a:cxn>
                <a:cxn ang="0">
                  <a:pos x="6" y="160"/>
                </a:cxn>
                <a:cxn ang="0">
                  <a:pos x="15" y="167"/>
                </a:cxn>
                <a:cxn ang="0">
                  <a:pos x="12" y="177"/>
                </a:cxn>
                <a:cxn ang="0">
                  <a:pos x="5" y="207"/>
                </a:cxn>
                <a:cxn ang="0">
                  <a:pos x="13" y="227"/>
                </a:cxn>
                <a:cxn ang="0">
                  <a:pos x="22" y="223"/>
                </a:cxn>
                <a:cxn ang="0">
                  <a:pos x="28" y="224"/>
                </a:cxn>
                <a:cxn ang="0">
                  <a:pos x="34" y="240"/>
                </a:cxn>
                <a:cxn ang="0">
                  <a:pos x="32" y="261"/>
                </a:cxn>
                <a:cxn ang="0">
                  <a:pos x="49" y="272"/>
                </a:cxn>
                <a:cxn ang="0">
                  <a:pos x="63" y="274"/>
                </a:cxn>
                <a:cxn ang="0">
                  <a:pos x="72" y="279"/>
                </a:cxn>
                <a:cxn ang="0">
                  <a:pos x="86" y="277"/>
                </a:cxn>
                <a:cxn ang="0">
                  <a:pos x="105" y="281"/>
                </a:cxn>
                <a:cxn ang="0">
                  <a:pos x="102" y="259"/>
                </a:cxn>
                <a:cxn ang="0">
                  <a:pos x="88" y="264"/>
                </a:cxn>
                <a:cxn ang="0">
                  <a:pos x="90" y="246"/>
                </a:cxn>
                <a:cxn ang="0">
                  <a:pos x="104" y="244"/>
                </a:cxn>
                <a:cxn ang="0">
                  <a:pos x="120" y="257"/>
                </a:cxn>
                <a:cxn ang="0">
                  <a:pos x="138" y="275"/>
                </a:cxn>
                <a:cxn ang="0">
                  <a:pos x="149" y="288"/>
                </a:cxn>
                <a:cxn ang="0">
                  <a:pos x="155" y="271"/>
                </a:cxn>
              </a:cxnLst>
              <a:rect l="0" t="0" r="r" b="b"/>
              <a:pathLst>
                <a:path w="161" h="297">
                  <a:moveTo>
                    <a:pt x="35" y="281"/>
                  </a:moveTo>
                  <a:cubicBezTo>
                    <a:pt x="35" y="281"/>
                    <a:pt x="35" y="281"/>
                    <a:pt x="36" y="281"/>
                  </a:cubicBezTo>
                  <a:cubicBezTo>
                    <a:pt x="36" y="281"/>
                    <a:pt x="36" y="281"/>
                    <a:pt x="36" y="280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80"/>
                    <a:pt x="35" y="281"/>
                    <a:pt x="35" y="281"/>
                  </a:cubicBezTo>
                  <a:moveTo>
                    <a:pt x="92" y="72"/>
                  </a:moveTo>
                  <a:cubicBezTo>
                    <a:pt x="90" y="72"/>
                    <a:pt x="90" y="72"/>
                    <a:pt x="89" y="74"/>
                  </a:cubicBezTo>
                  <a:cubicBezTo>
                    <a:pt x="88" y="75"/>
                    <a:pt x="88" y="76"/>
                    <a:pt x="87" y="77"/>
                  </a:cubicBezTo>
                  <a:cubicBezTo>
                    <a:pt x="86" y="77"/>
                    <a:pt x="85" y="77"/>
                    <a:pt x="85" y="77"/>
                  </a:cubicBezTo>
                  <a:cubicBezTo>
                    <a:pt x="84" y="77"/>
                    <a:pt x="84" y="78"/>
                    <a:pt x="83" y="78"/>
                  </a:cubicBezTo>
                  <a:cubicBezTo>
                    <a:pt x="81" y="78"/>
                    <a:pt x="80" y="78"/>
                    <a:pt x="79" y="77"/>
                  </a:cubicBezTo>
                  <a:cubicBezTo>
                    <a:pt x="77" y="76"/>
                    <a:pt x="77" y="76"/>
                    <a:pt x="75" y="76"/>
                  </a:cubicBezTo>
                  <a:cubicBezTo>
                    <a:pt x="73" y="76"/>
                    <a:pt x="72" y="78"/>
                    <a:pt x="71" y="78"/>
                  </a:cubicBezTo>
                  <a:cubicBezTo>
                    <a:pt x="69" y="78"/>
                    <a:pt x="69" y="78"/>
                    <a:pt x="68" y="79"/>
                  </a:cubicBezTo>
                  <a:cubicBezTo>
                    <a:pt x="67" y="79"/>
                    <a:pt x="67" y="79"/>
                    <a:pt x="66" y="79"/>
                  </a:cubicBezTo>
                  <a:cubicBezTo>
                    <a:pt x="66" y="80"/>
                    <a:pt x="67" y="81"/>
                    <a:pt x="65" y="80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6" y="77"/>
                    <a:pt x="66" y="78"/>
                    <a:pt x="65" y="79"/>
                  </a:cubicBezTo>
                  <a:cubicBezTo>
                    <a:pt x="64" y="80"/>
                    <a:pt x="62" y="81"/>
                    <a:pt x="61" y="82"/>
                  </a:cubicBezTo>
                  <a:cubicBezTo>
                    <a:pt x="61" y="83"/>
                    <a:pt x="61" y="84"/>
                    <a:pt x="61" y="84"/>
                  </a:cubicBezTo>
                  <a:cubicBezTo>
                    <a:pt x="61" y="85"/>
                    <a:pt x="60" y="85"/>
                    <a:pt x="60" y="85"/>
                  </a:cubicBezTo>
                  <a:cubicBezTo>
                    <a:pt x="60" y="88"/>
                    <a:pt x="64" y="88"/>
                    <a:pt x="63" y="91"/>
                  </a:cubicBezTo>
                  <a:cubicBezTo>
                    <a:pt x="62" y="92"/>
                    <a:pt x="62" y="93"/>
                    <a:pt x="62" y="94"/>
                  </a:cubicBezTo>
                  <a:cubicBezTo>
                    <a:pt x="61" y="95"/>
                    <a:pt x="62" y="96"/>
                    <a:pt x="62" y="97"/>
                  </a:cubicBezTo>
                  <a:cubicBezTo>
                    <a:pt x="62" y="98"/>
                    <a:pt x="62" y="99"/>
                    <a:pt x="62" y="100"/>
                  </a:cubicBezTo>
                  <a:cubicBezTo>
                    <a:pt x="62" y="101"/>
                    <a:pt x="63" y="101"/>
                    <a:pt x="63" y="102"/>
                  </a:cubicBezTo>
                  <a:cubicBezTo>
                    <a:pt x="63" y="102"/>
                    <a:pt x="63" y="103"/>
                    <a:pt x="63" y="104"/>
                  </a:cubicBezTo>
                  <a:cubicBezTo>
                    <a:pt x="64" y="104"/>
                    <a:pt x="65" y="104"/>
                    <a:pt x="66" y="104"/>
                  </a:cubicBezTo>
                  <a:cubicBezTo>
                    <a:pt x="67" y="104"/>
                    <a:pt x="67" y="104"/>
                    <a:pt x="68" y="104"/>
                  </a:cubicBezTo>
                  <a:cubicBezTo>
                    <a:pt x="69" y="105"/>
                    <a:pt x="70" y="108"/>
                    <a:pt x="69" y="109"/>
                  </a:cubicBezTo>
                  <a:cubicBezTo>
                    <a:pt x="69" y="110"/>
                    <a:pt x="66" y="111"/>
                    <a:pt x="65" y="111"/>
                  </a:cubicBezTo>
                  <a:cubicBezTo>
                    <a:pt x="62" y="111"/>
                    <a:pt x="60" y="110"/>
                    <a:pt x="57" y="110"/>
                  </a:cubicBezTo>
                  <a:cubicBezTo>
                    <a:pt x="54" y="109"/>
                    <a:pt x="55" y="112"/>
                    <a:pt x="54" y="115"/>
                  </a:cubicBezTo>
                  <a:cubicBezTo>
                    <a:pt x="53" y="113"/>
                    <a:pt x="54" y="110"/>
                    <a:pt x="55" y="108"/>
                  </a:cubicBezTo>
                  <a:cubicBezTo>
                    <a:pt x="55" y="107"/>
                    <a:pt x="58" y="107"/>
                    <a:pt x="58" y="107"/>
                  </a:cubicBezTo>
                  <a:cubicBezTo>
                    <a:pt x="58" y="106"/>
                    <a:pt x="60" y="103"/>
                    <a:pt x="60" y="103"/>
                  </a:cubicBezTo>
                  <a:cubicBezTo>
                    <a:pt x="60" y="99"/>
                    <a:pt x="56" y="98"/>
                    <a:pt x="56" y="94"/>
                  </a:cubicBezTo>
                  <a:cubicBezTo>
                    <a:pt x="55" y="92"/>
                    <a:pt x="51" y="91"/>
                    <a:pt x="51" y="88"/>
                  </a:cubicBezTo>
                  <a:cubicBezTo>
                    <a:pt x="50" y="88"/>
                    <a:pt x="49" y="89"/>
                    <a:pt x="48" y="90"/>
                  </a:cubicBezTo>
                  <a:cubicBezTo>
                    <a:pt x="47" y="92"/>
                    <a:pt x="47" y="92"/>
                    <a:pt x="46" y="91"/>
                  </a:cubicBezTo>
                  <a:cubicBezTo>
                    <a:pt x="43" y="90"/>
                    <a:pt x="41" y="85"/>
                    <a:pt x="45" y="84"/>
                  </a:cubicBezTo>
                  <a:cubicBezTo>
                    <a:pt x="45" y="83"/>
                    <a:pt x="45" y="82"/>
                    <a:pt x="45" y="81"/>
                  </a:cubicBezTo>
                  <a:cubicBezTo>
                    <a:pt x="44" y="81"/>
                    <a:pt x="44" y="82"/>
                    <a:pt x="43" y="82"/>
                  </a:cubicBezTo>
                  <a:cubicBezTo>
                    <a:pt x="42" y="83"/>
                    <a:pt x="41" y="84"/>
                    <a:pt x="40" y="84"/>
                  </a:cubicBezTo>
                  <a:cubicBezTo>
                    <a:pt x="36" y="85"/>
                    <a:pt x="37" y="81"/>
                    <a:pt x="36" y="79"/>
                  </a:cubicBezTo>
                  <a:cubicBezTo>
                    <a:pt x="39" y="77"/>
                    <a:pt x="43" y="79"/>
                    <a:pt x="46" y="78"/>
                  </a:cubicBezTo>
                  <a:cubicBezTo>
                    <a:pt x="49" y="78"/>
                    <a:pt x="50" y="76"/>
                    <a:pt x="52" y="75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59" y="74"/>
                    <a:pt x="61" y="74"/>
                    <a:pt x="62" y="73"/>
                  </a:cubicBezTo>
                  <a:cubicBezTo>
                    <a:pt x="63" y="73"/>
                    <a:pt x="64" y="74"/>
                    <a:pt x="64" y="76"/>
                  </a:cubicBezTo>
                  <a:cubicBezTo>
                    <a:pt x="66" y="76"/>
                    <a:pt x="67" y="75"/>
                    <a:pt x="68" y="74"/>
                  </a:cubicBezTo>
                  <a:cubicBezTo>
                    <a:pt x="69" y="74"/>
                    <a:pt x="70" y="73"/>
                    <a:pt x="71" y="73"/>
                  </a:cubicBezTo>
                  <a:cubicBezTo>
                    <a:pt x="73" y="73"/>
                    <a:pt x="74" y="73"/>
                    <a:pt x="75" y="72"/>
                  </a:cubicBezTo>
                  <a:cubicBezTo>
                    <a:pt x="77" y="71"/>
                    <a:pt x="78" y="70"/>
                    <a:pt x="80" y="70"/>
                  </a:cubicBezTo>
                  <a:cubicBezTo>
                    <a:pt x="81" y="70"/>
                    <a:pt x="82" y="71"/>
                    <a:pt x="83" y="70"/>
                  </a:cubicBezTo>
                  <a:cubicBezTo>
                    <a:pt x="83" y="69"/>
                    <a:pt x="83" y="67"/>
                    <a:pt x="83" y="67"/>
                  </a:cubicBezTo>
                  <a:cubicBezTo>
                    <a:pt x="84" y="64"/>
                    <a:pt x="85" y="63"/>
                    <a:pt x="88" y="63"/>
                  </a:cubicBezTo>
                  <a:cubicBezTo>
                    <a:pt x="88" y="65"/>
                    <a:pt x="88" y="66"/>
                    <a:pt x="89" y="66"/>
                  </a:cubicBezTo>
                  <a:cubicBezTo>
                    <a:pt x="90" y="67"/>
                    <a:pt x="93" y="66"/>
                    <a:pt x="94" y="66"/>
                  </a:cubicBezTo>
                  <a:cubicBezTo>
                    <a:pt x="97" y="65"/>
                    <a:pt x="98" y="64"/>
                    <a:pt x="99" y="67"/>
                  </a:cubicBezTo>
                  <a:cubicBezTo>
                    <a:pt x="99" y="68"/>
                    <a:pt x="100" y="70"/>
                    <a:pt x="99" y="71"/>
                  </a:cubicBezTo>
                  <a:cubicBezTo>
                    <a:pt x="99" y="72"/>
                    <a:pt x="94" y="72"/>
                    <a:pt x="92" y="72"/>
                  </a:cubicBezTo>
                  <a:moveTo>
                    <a:pt x="160" y="255"/>
                  </a:moveTo>
                  <a:cubicBezTo>
                    <a:pt x="160" y="254"/>
                    <a:pt x="161" y="254"/>
                    <a:pt x="160" y="253"/>
                  </a:cubicBezTo>
                  <a:cubicBezTo>
                    <a:pt x="159" y="251"/>
                    <a:pt x="156" y="254"/>
                    <a:pt x="155" y="255"/>
                  </a:cubicBezTo>
                  <a:cubicBezTo>
                    <a:pt x="153" y="258"/>
                    <a:pt x="153" y="261"/>
                    <a:pt x="152" y="264"/>
                  </a:cubicBezTo>
                  <a:cubicBezTo>
                    <a:pt x="151" y="266"/>
                    <a:pt x="150" y="268"/>
                    <a:pt x="148" y="269"/>
                  </a:cubicBezTo>
                  <a:cubicBezTo>
                    <a:pt x="147" y="270"/>
                    <a:pt x="146" y="271"/>
                    <a:pt x="145" y="271"/>
                  </a:cubicBezTo>
                  <a:cubicBezTo>
                    <a:pt x="144" y="271"/>
                    <a:pt x="145" y="270"/>
                    <a:pt x="144" y="270"/>
                  </a:cubicBezTo>
                  <a:cubicBezTo>
                    <a:pt x="144" y="269"/>
                    <a:pt x="143" y="270"/>
                    <a:pt x="143" y="270"/>
                  </a:cubicBezTo>
                  <a:cubicBezTo>
                    <a:pt x="141" y="269"/>
                    <a:pt x="142" y="265"/>
                    <a:pt x="142" y="263"/>
                  </a:cubicBezTo>
                  <a:cubicBezTo>
                    <a:pt x="143" y="262"/>
                    <a:pt x="144" y="262"/>
                    <a:pt x="145" y="261"/>
                  </a:cubicBezTo>
                  <a:cubicBezTo>
                    <a:pt x="146" y="260"/>
                    <a:pt x="146" y="259"/>
                    <a:pt x="146" y="259"/>
                  </a:cubicBezTo>
                  <a:cubicBezTo>
                    <a:pt x="148" y="257"/>
                    <a:pt x="149" y="256"/>
                    <a:pt x="150" y="254"/>
                  </a:cubicBezTo>
                  <a:cubicBezTo>
                    <a:pt x="150" y="253"/>
                    <a:pt x="151" y="251"/>
                    <a:pt x="152" y="249"/>
                  </a:cubicBezTo>
                  <a:cubicBezTo>
                    <a:pt x="152" y="248"/>
                    <a:pt x="152" y="248"/>
                    <a:pt x="152" y="247"/>
                  </a:cubicBezTo>
                  <a:cubicBezTo>
                    <a:pt x="152" y="245"/>
                    <a:pt x="153" y="242"/>
                    <a:pt x="152" y="241"/>
                  </a:cubicBezTo>
                  <a:cubicBezTo>
                    <a:pt x="152" y="240"/>
                    <a:pt x="151" y="240"/>
                    <a:pt x="151" y="239"/>
                  </a:cubicBezTo>
                  <a:cubicBezTo>
                    <a:pt x="151" y="239"/>
                    <a:pt x="150" y="238"/>
                    <a:pt x="150" y="238"/>
                  </a:cubicBezTo>
                  <a:cubicBezTo>
                    <a:pt x="150" y="237"/>
                    <a:pt x="150" y="236"/>
                    <a:pt x="150" y="235"/>
                  </a:cubicBezTo>
                  <a:cubicBezTo>
                    <a:pt x="150" y="234"/>
                    <a:pt x="150" y="234"/>
                    <a:pt x="150" y="233"/>
                  </a:cubicBezTo>
                  <a:cubicBezTo>
                    <a:pt x="149" y="232"/>
                    <a:pt x="149" y="231"/>
                    <a:pt x="148" y="230"/>
                  </a:cubicBezTo>
                  <a:cubicBezTo>
                    <a:pt x="147" y="229"/>
                    <a:pt x="145" y="228"/>
                    <a:pt x="144" y="227"/>
                  </a:cubicBezTo>
                  <a:cubicBezTo>
                    <a:pt x="144" y="226"/>
                    <a:pt x="144" y="226"/>
                    <a:pt x="142" y="225"/>
                  </a:cubicBezTo>
                  <a:cubicBezTo>
                    <a:pt x="141" y="225"/>
                    <a:pt x="139" y="225"/>
                    <a:pt x="137" y="224"/>
                  </a:cubicBezTo>
                  <a:cubicBezTo>
                    <a:pt x="136" y="224"/>
                    <a:pt x="136" y="223"/>
                    <a:pt x="135" y="223"/>
                  </a:cubicBezTo>
                  <a:cubicBezTo>
                    <a:pt x="136" y="222"/>
                    <a:pt x="136" y="221"/>
                    <a:pt x="138" y="220"/>
                  </a:cubicBezTo>
                  <a:cubicBezTo>
                    <a:pt x="140" y="219"/>
                    <a:pt x="139" y="220"/>
                    <a:pt x="140" y="221"/>
                  </a:cubicBezTo>
                  <a:cubicBezTo>
                    <a:pt x="142" y="224"/>
                    <a:pt x="145" y="225"/>
                    <a:pt x="148" y="225"/>
                  </a:cubicBezTo>
                  <a:cubicBezTo>
                    <a:pt x="148" y="224"/>
                    <a:pt x="149" y="223"/>
                    <a:pt x="148" y="222"/>
                  </a:cubicBezTo>
                  <a:cubicBezTo>
                    <a:pt x="148" y="220"/>
                    <a:pt x="147" y="220"/>
                    <a:pt x="147" y="218"/>
                  </a:cubicBezTo>
                  <a:cubicBezTo>
                    <a:pt x="146" y="218"/>
                    <a:pt x="147" y="216"/>
                    <a:pt x="147" y="215"/>
                  </a:cubicBezTo>
                  <a:cubicBezTo>
                    <a:pt x="146" y="214"/>
                    <a:pt x="146" y="212"/>
                    <a:pt x="145" y="211"/>
                  </a:cubicBezTo>
                  <a:cubicBezTo>
                    <a:pt x="145" y="208"/>
                    <a:pt x="144" y="207"/>
                    <a:pt x="141" y="207"/>
                  </a:cubicBezTo>
                  <a:cubicBezTo>
                    <a:pt x="139" y="207"/>
                    <a:pt x="137" y="208"/>
                    <a:pt x="136" y="208"/>
                  </a:cubicBezTo>
                  <a:cubicBezTo>
                    <a:pt x="133" y="208"/>
                    <a:pt x="130" y="208"/>
                    <a:pt x="128" y="207"/>
                  </a:cubicBezTo>
                  <a:cubicBezTo>
                    <a:pt x="127" y="206"/>
                    <a:pt x="125" y="205"/>
                    <a:pt x="124" y="205"/>
                  </a:cubicBezTo>
                  <a:cubicBezTo>
                    <a:pt x="122" y="205"/>
                    <a:pt x="119" y="205"/>
                    <a:pt x="117" y="205"/>
                  </a:cubicBezTo>
                  <a:cubicBezTo>
                    <a:pt x="114" y="205"/>
                    <a:pt x="111" y="207"/>
                    <a:pt x="108" y="207"/>
                  </a:cubicBezTo>
                  <a:cubicBezTo>
                    <a:pt x="106" y="207"/>
                    <a:pt x="103" y="207"/>
                    <a:pt x="101" y="207"/>
                  </a:cubicBezTo>
                  <a:cubicBezTo>
                    <a:pt x="99" y="206"/>
                    <a:pt x="95" y="207"/>
                    <a:pt x="94" y="206"/>
                  </a:cubicBezTo>
                  <a:cubicBezTo>
                    <a:pt x="95" y="206"/>
                    <a:pt x="95" y="204"/>
                    <a:pt x="96" y="204"/>
                  </a:cubicBezTo>
                  <a:cubicBezTo>
                    <a:pt x="96" y="204"/>
                    <a:pt x="98" y="204"/>
                    <a:pt x="98" y="204"/>
                  </a:cubicBezTo>
                  <a:cubicBezTo>
                    <a:pt x="100" y="203"/>
                    <a:pt x="101" y="201"/>
                    <a:pt x="102" y="200"/>
                  </a:cubicBezTo>
                  <a:cubicBezTo>
                    <a:pt x="104" y="199"/>
                    <a:pt x="107" y="200"/>
                    <a:pt x="108" y="198"/>
                  </a:cubicBezTo>
                  <a:cubicBezTo>
                    <a:pt x="108" y="197"/>
                    <a:pt x="108" y="195"/>
                    <a:pt x="108" y="193"/>
                  </a:cubicBezTo>
                  <a:cubicBezTo>
                    <a:pt x="108" y="192"/>
                    <a:pt x="108" y="191"/>
                    <a:pt x="107" y="191"/>
                  </a:cubicBezTo>
                  <a:cubicBezTo>
                    <a:pt x="105" y="189"/>
                    <a:pt x="101" y="191"/>
                    <a:pt x="100" y="187"/>
                  </a:cubicBezTo>
                  <a:cubicBezTo>
                    <a:pt x="99" y="183"/>
                    <a:pt x="102" y="185"/>
                    <a:pt x="105" y="185"/>
                  </a:cubicBezTo>
                  <a:cubicBezTo>
                    <a:pt x="106" y="185"/>
                    <a:pt x="107" y="185"/>
                    <a:pt x="108" y="185"/>
                  </a:cubicBezTo>
                  <a:cubicBezTo>
                    <a:pt x="109" y="185"/>
                    <a:pt x="110" y="184"/>
                    <a:pt x="111" y="184"/>
                  </a:cubicBezTo>
                  <a:cubicBezTo>
                    <a:pt x="112" y="184"/>
                    <a:pt x="112" y="184"/>
                    <a:pt x="114" y="186"/>
                  </a:cubicBezTo>
                  <a:cubicBezTo>
                    <a:pt x="114" y="186"/>
                    <a:pt x="115" y="189"/>
                    <a:pt x="117" y="189"/>
                  </a:cubicBezTo>
                  <a:cubicBezTo>
                    <a:pt x="117" y="187"/>
                    <a:pt x="116" y="186"/>
                    <a:pt x="118" y="185"/>
                  </a:cubicBezTo>
                  <a:cubicBezTo>
                    <a:pt x="119" y="184"/>
                    <a:pt x="119" y="185"/>
                    <a:pt x="120" y="184"/>
                  </a:cubicBezTo>
                  <a:cubicBezTo>
                    <a:pt x="120" y="184"/>
                    <a:pt x="120" y="182"/>
                    <a:pt x="120" y="182"/>
                  </a:cubicBezTo>
                  <a:cubicBezTo>
                    <a:pt x="121" y="178"/>
                    <a:pt x="122" y="175"/>
                    <a:pt x="121" y="172"/>
                  </a:cubicBezTo>
                  <a:cubicBezTo>
                    <a:pt x="121" y="171"/>
                    <a:pt x="121" y="169"/>
                    <a:pt x="121" y="168"/>
                  </a:cubicBezTo>
                  <a:cubicBezTo>
                    <a:pt x="121" y="168"/>
                    <a:pt x="121" y="167"/>
                    <a:pt x="120" y="167"/>
                  </a:cubicBezTo>
                  <a:cubicBezTo>
                    <a:pt x="120" y="166"/>
                    <a:pt x="120" y="165"/>
                    <a:pt x="120" y="164"/>
                  </a:cubicBezTo>
                  <a:cubicBezTo>
                    <a:pt x="120" y="162"/>
                    <a:pt x="119" y="162"/>
                    <a:pt x="119" y="160"/>
                  </a:cubicBezTo>
                  <a:cubicBezTo>
                    <a:pt x="119" y="159"/>
                    <a:pt x="119" y="158"/>
                    <a:pt x="120" y="157"/>
                  </a:cubicBezTo>
                  <a:cubicBezTo>
                    <a:pt x="121" y="154"/>
                    <a:pt x="121" y="152"/>
                    <a:pt x="124" y="151"/>
                  </a:cubicBezTo>
                  <a:cubicBezTo>
                    <a:pt x="127" y="151"/>
                    <a:pt x="129" y="152"/>
                    <a:pt x="130" y="154"/>
                  </a:cubicBezTo>
                  <a:cubicBezTo>
                    <a:pt x="131" y="156"/>
                    <a:pt x="130" y="156"/>
                    <a:pt x="132" y="156"/>
                  </a:cubicBezTo>
                  <a:cubicBezTo>
                    <a:pt x="134" y="156"/>
                    <a:pt x="135" y="156"/>
                    <a:pt x="136" y="155"/>
                  </a:cubicBezTo>
                  <a:cubicBezTo>
                    <a:pt x="138" y="153"/>
                    <a:pt x="138" y="151"/>
                    <a:pt x="141" y="151"/>
                  </a:cubicBezTo>
                  <a:cubicBezTo>
                    <a:pt x="141" y="153"/>
                    <a:pt x="139" y="156"/>
                    <a:pt x="140" y="158"/>
                  </a:cubicBezTo>
                  <a:cubicBezTo>
                    <a:pt x="141" y="159"/>
                    <a:pt x="143" y="158"/>
                    <a:pt x="145" y="158"/>
                  </a:cubicBezTo>
                  <a:cubicBezTo>
                    <a:pt x="146" y="158"/>
                    <a:pt x="147" y="159"/>
                    <a:pt x="147" y="157"/>
                  </a:cubicBezTo>
                  <a:cubicBezTo>
                    <a:pt x="147" y="157"/>
                    <a:pt x="147" y="156"/>
                    <a:pt x="148" y="155"/>
                  </a:cubicBezTo>
                  <a:cubicBezTo>
                    <a:pt x="148" y="154"/>
                    <a:pt x="148" y="153"/>
                    <a:pt x="149" y="152"/>
                  </a:cubicBezTo>
                  <a:cubicBezTo>
                    <a:pt x="149" y="151"/>
                    <a:pt x="151" y="151"/>
                    <a:pt x="151" y="150"/>
                  </a:cubicBezTo>
                  <a:cubicBezTo>
                    <a:pt x="152" y="149"/>
                    <a:pt x="152" y="147"/>
                    <a:pt x="152" y="146"/>
                  </a:cubicBezTo>
                  <a:cubicBezTo>
                    <a:pt x="152" y="146"/>
                    <a:pt x="152" y="145"/>
                    <a:pt x="152" y="144"/>
                  </a:cubicBezTo>
                  <a:cubicBezTo>
                    <a:pt x="152" y="143"/>
                    <a:pt x="153" y="142"/>
                    <a:pt x="154" y="141"/>
                  </a:cubicBezTo>
                  <a:cubicBezTo>
                    <a:pt x="155" y="139"/>
                    <a:pt x="155" y="137"/>
                    <a:pt x="157" y="135"/>
                  </a:cubicBezTo>
                  <a:cubicBezTo>
                    <a:pt x="157" y="133"/>
                    <a:pt x="158" y="132"/>
                    <a:pt x="158" y="131"/>
                  </a:cubicBezTo>
                  <a:cubicBezTo>
                    <a:pt x="158" y="128"/>
                    <a:pt x="158" y="126"/>
                    <a:pt x="156" y="124"/>
                  </a:cubicBezTo>
                  <a:cubicBezTo>
                    <a:pt x="154" y="122"/>
                    <a:pt x="150" y="123"/>
                    <a:pt x="147" y="123"/>
                  </a:cubicBezTo>
                  <a:cubicBezTo>
                    <a:pt x="143" y="124"/>
                    <a:pt x="139" y="125"/>
                    <a:pt x="135" y="124"/>
                  </a:cubicBezTo>
                  <a:cubicBezTo>
                    <a:pt x="133" y="123"/>
                    <a:pt x="131" y="121"/>
                    <a:pt x="129" y="119"/>
                  </a:cubicBezTo>
                  <a:cubicBezTo>
                    <a:pt x="127" y="118"/>
                    <a:pt x="127" y="118"/>
                    <a:pt x="126" y="117"/>
                  </a:cubicBezTo>
                  <a:cubicBezTo>
                    <a:pt x="126" y="114"/>
                    <a:pt x="125" y="111"/>
                    <a:pt x="125" y="109"/>
                  </a:cubicBezTo>
                  <a:cubicBezTo>
                    <a:pt x="125" y="107"/>
                    <a:pt x="125" y="106"/>
                    <a:pt x="125" y="104"/>
                  </a:cubicBezTo>
                  <a:cubicBezTo>
                    <a:pt x="124" y="103"/>
                    <a:pt x="124" y="101"/>
                    <a:pt x="123" y="100"/>
                  </a:cubicBezTo>
                  <a:cubicBezTo>
                    <a:pt x="123" y="99"/>
                    <a:pt x="123" y="98"/>
                    <a:pt x="123" y="97"/>
                  </a:cubicBezTo>
                  <a:cubicBezTo>
                    <a:pt x="123" y="96"/>
                    <a:pt x="123" y="95"/>
                    <a:pt x="123" y="94"/>
                  </a:cubicBezTo>
                  <a:cubicBezTo>
                    <a:pt x="123" y="94"/>
                    <a:pt x="122" y="94"/>
                    <a:pt x="122" y="93"/>
                  </a:cubicBezTo>
                  <a:cubicBezTo>
                    <a:pt x="122" y="93"/>
                    <a:pt x="122" y="92"/>
                    <a:pt x="122" y="92"/>
                  </a:cubicBezTo>
                  <a:cubicBezTo>
                    <a:pt x="122" y="90"/>
                    <a:pt x="122" y="87"/>
                    <a:pt x="122" y="85"/>
                  </a:cubicBezTo>
                  <a:cubicBezTo>
                    <a:pt x="122" y="83"/>
                    <a:pt x="122" y="82"/>
                    <a:pt x="122" y="80"/>
                  </a:cubicBezTo>
                  <a:cubicBezTo>
                    <a:pt x="122" y="79"/>
                    <a:pt x="121" y="78"/>
                    <a:pt x="122" y="77"/>
                  </a:cubicBezTo>
                  <a:cubicBezTo>
                    <a:pt x="123" y="76"/>
                    <a:pt x="124" y="76"/>
                    <a:pt x="125" y="75"/>
                  </a:cubicBezTo>
                  <a:cubicBezTo>
                    <a:pt x="126" y="74"/>
                    <a:pt x="128" y="72"/>
                    <a:pt x="128" y="71"/>
                  </a:cubicBezTo>
                  <a:cubicBezTo>
                    <a:pt x="129" y="70"/>
                    <a:pt x="129" y="67"/>
                    <a:pt x="129" y="66"/>
                  </a:cubicBezTo>
                  <a:cubicBezTo>
                    <a:pt x="129" y="63"/>
                    <a:pt x="129" y="63"/>
                    <a:pt x="130" y="62"/>
                  </a:cubicBezTo>
                  <a:cubicBezTo>
                    <a:pt x="130" y="61"/>
                    <a:pt x="130" y="60"/>
                    <a:pt x="131" y="59"/>
                  </a:cubicBezTo>
                  <a:cubicBezTo>
                    <a:pt x="132" y="58"/>
                    <a:pt x="133" y="58"/>
                    <a:pt x="134" y="57"/>
                  </a:cubicBezTo>
                  <a:cubicBezTo>
                    <a:pt x="135" y="56"/>
                    <a:pt x="135" y="55"/>
                    <a:pt x="136" y="55"/>
                  </a:cubicBezTo>
                  <a:cubicBezTo>
                    <a:pt x="136" y="54"/>
                    <a:pt x="138" y="54"/>
                    <a:pt x="138" y="53"/>
                  </a:cubicBezTo>
                  <a:cubicBezTo>
                    <a:pt x="139" y="52"/>
                    <a:pt x="139" y="51"/>
                    <a:pt x="139" y="50"/>
                  </a:cubicBezTo>
                  <a:cubicBezTo>
                    <a:pt x="139" y="48"/>
                    <a:pt x="138" y="47"/>
                    <a:pt x="138" y="45"/>
                  </a:cubicBezTo>
                  <a:cubicBezTo>
                    <a:pt x="138" y="43"/>
                    <a:pt x="138" y="42"/>
                    <a:pt x="138" y="40"/>
                  </a:cubicBezTo>
                  <a:cubicBezTo>
                    <a:pt x="138" y="38"/>
                    <a:pt x="138" y="35"/>
                    <a:pt x="138" y="33"/>
                  </a:cubicBezTo>
                  <a:cubicBezTo>
                    <a:pt x="138" y="32"/>
                    <a:pt x="137" y="30"/>
                    <a:pt x="137" y="29"/>
                  </a:cubicBezTo>
                  <a:cubicBezTo>
                    <a:pt x="137" y="28"/>
                    <a:pt x="136" y="28"/>
                    <a:pt x="136" y="28"/>
                  </a:cubicBezTo>
                  <a:cubicBezTo>
                    <a:pt x="136" y="27"/>
                    <a:pt x="136" y="26"/>
                    <a:pt x="136" y="26"/>
                  </a:cubicBezTo>
                  <a:cubicBezTo>
                    <a:pt x="136" y="24"/>
                    <a:pt x="134" y="22"/>
                    <a:pt x="133" y="21"/>
                  </a:cubicBezTo>
                  <a:cubicBezTo>
                    <a:pt x="131" y="20"/>
                    <a:pt x="131" y="19"/>
                    <a:pt x="130" y="16"/>
                  </a:cubicBezTo>
                  <a:cubicBezTo>
                    <a:pt x="130" y="15"/>
                    <a:pt x="130" y="13"/>
                    <a:pt x="130" y="11"/>
                  </a:cubicBezTo>
                  <a:cubicBezTo>
                    <a:pt x="131" y="9"/>
                    <a:pt x="133" y="8"/>
                    <a:pt x="134" y="6"/>
                  </a:cubicBezTo>
                  <a:cubicBezTo>
                    <a:pt x="136" y="5"/>
                    <a:pt x="141" y="3"/>
                    <a:pt x="142" y="0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139" y="2"/>
                    <a:pt x="138" y="2"/>
                    <a:pt x="137" y="2"/>
                  </a:cubicBezTo>
                  <a:cubicBezTo>
                    <a:pt x="135" y="3"/>
                    <a:pt x="135" y="3"/>
                    <a:pt x="134" y="5"/>
                  </a:cubicBezTo>
                  <a:cubicBezTo>
                    <a:pt x="133" y="5"/>
                    <a:pt x="131" y="6"/>
                    <a:pt x="130" y="7"/>
                  </a:cubicBezTo>
                  <a:cubicBezTo>
                    <a:pt x="128" y="7"/>
                    <a:pt x="127" y="9"/>
                    <a:pt x="125" y="10"/>
                  </a:cubicBezTo>
                  <a:cubicBezTo>
                    <a:pt x="123" y="10"/>
                    <a:pt x="122" y="11"/>
                    <a:pt x="120" y="11"/>
                  </a:cubicBezTo>
                  <a:cubicBezTo>
                    <a:pt x="116" y="12"/>
                    <a:pt x="112" y="16"/>
                    <a:pt x="108" y="16"/>
                  </a:cubicBezTo>
                  <a:cubicBezTo>
                    <a:pt x="105" y="16"/>
                    <a:pt x="102" y="16"/>
                    <a:pt x="99" y="16"/>
                  </a:cubicBezTo>
                  <a:cubicBezTo>
                    <a:pt x="99" y="17"/>
                    <a:pt x="99" y="18"/>
                    <a:pt x="98" y="20"/>
                  </a:cubicBezTo>
                  <a:cubicBezTo>
                    <a:pt x="98" y="22"/>
                    <a:pt x="96" y="23"/>
                    <a:pt x="95" y="25"/>
                  </a:cubicBezTo>
                  <a:cubicBezTo>
                    <a:pt x="93" y="28"/>
                    <a:pt x="91" y="30"/>
                    <a:pt x="90" y="33"/>
                  </a:cubicBezTo>
                  <a:cubicBezTo>
                    <a:pt x="90" y="35"/>
                    <a:pt x="89" y="37"/>
                    <a:pt x="89" y="39"/>
                  </a:cubicBezTo>
                  <a:cubicBezTo>
                    <a:pt x="89" y="42"/>
                    <a:pt x="89" y="44"/>
                    <a:pt x="87" y="45"/>
                  </a:cubicBezTo>
                  <a:cubicBezTo>
                    <a:pt x="85" y="47"/>
                    <a:pt x="84" y="48"/>
                    <a:pt x="83" y="49"/>
                  </a:cubicBezTo>
                  <a:cubicBezTo>
                    <a:pt x="81" y="50"/>
                    <a:pt x="80" y="51"/>
                    <a:pt x="79" y="52"/>
                  </a:cubicBezTo>
                  <a:cubicBezTo>
                    <a:pt x="77" y="54"/>
                    <a:pt x="76" y="54"/>
                    <a:pt x="73" y="55"/>
                  </a:cubicBezTo>
                  <a:cubicBezTo>
                    <a:pt x="70" y="55"/>
                    <a:pt x="68" y="56"/>
                    <a:pt x="66" y="58"/>
                  </a:cubicBezTo>
                  <a:cubicBezTo>
                    <a:pt x="65" y="58"/>
                    <a:pt x="65" y="58"/>
                    <a:pt x="64" y="58"/>
                  </a:cubicBezTo>
                  <a:cubicBezTo>
                    <a:pt x="61" y="58"/>
                    <a:pt x="58" y="58"/>
                    <a:pt x="55" y="58"/>
                  </a:cubicBezTo>
                  <a:cubicBezTo>
                    <a:pt x="52" y="58"/>
                    <a:pt x="50" y="59"/>
                    <a:pt x="47" y="60"/>
                  </a:cubicBezTo>
                  <a:cubicBezTo>
                    <a:pt x="46" y="60"/>
                    <a:pt x="44" y="60"/>
                    <a:pt x="43" y="61"/>
                  </a:cubicBezTo>
                  <a:cubicBezTo>
                    <a:pt x="42" y="61"/>
                    <a:pt x="41" y="62"/>
                    <a:pt x="41" y="63"/>
                  </a:cubicBezTo>
                  <a:cubicBezTo>
                    <a:pt x="39" y="65"/>
                    <a:pt x="36" y="66"/>
                    <a:pt x="33" y="66"/>
                  </a:cubicBezTo>
                  <a:cubicBezTo>
                    <a:pt x="32" y="66"/>
                    <a:pt x="31" y="66"/>
                    <a:pt x="30" y="66"/>
                  </a:cubicBezTo>
                  <a:cubicBezTo>
                    <a:pt x="27" y="68"/>
                    <a:pt x="24" y="72"/>
                    <a:pt x="24" y="72"/>
                  </a:cubicBezTo>
                  <a:cubicBezTo>
                    <a:pt x="24" y="73"/>
                    <a:pt x="20" y="77"/>
                    <a:pt x="20" y="78"/>
                  </a:cubicBezTo>
                  <a:cubicBezTo>
                    <a:pt x="18" y="80"/>
                    <a:pt x="17" y="80"/>
                    <a:pt x="14" y="85"/>
                  </a:cubicBezTo>
                  <a:cubicBezTo>
                    <a:pt x="12" y="86"/>
                    <a:pt x="12" y="88"/>
                    <a:pt x="12" y="90"/>
                  </a:cubicBezTo>
                  <a:cubicBezTo>
                    <a:pt x="12" y="93"/>
                    <a:pt x="12" y="96"/>
                    <a:pt x="14" y="98"/>
                  </a:cubicBezTo>
                  <a:cubicBezTo>
                    <a:pt x="15" y="99"/>
                    <a:pt x="16" y="100"/>
                    <a:pt x="17" y="101"/>
                  </a:cubicBezTo>
                  <a:cubicBezTo>
                    <a:pt x="18" y="101"/>
                    <a:pt x="19" y="105"/>
                    <a:pt x="19" y="105"/>
                  </a:cubicBezTo>
                  <a:cubicBezTo>
                    <a:pt x="21" y="107"/>
                    <a:pt x="24" y="107"/>
                    <a:pt x="25" y="109"/>
                  </a:cubicBezTo>
                  <a:cubicBezTo>
                    <a:pt x="26" y="110"/>
                    <a:pt x="26" y="114"/>
                    <a:pt x="28" y="115"/>
                  </a:cubicBezTo>
                  <a:cubicBezTo>
                    <a:pt x="31" y="116"/>
                    <a:pt x="31" y="113"/>
                    <a:pt x="31" y="112"/>
                  </a:cubicBezTo>
                  <a:cubicBezTo>
                    <a:pt x="31" y="111"/>
                    <a:pt x="31" y="110"/>
                    <a:pt x="31" y="109"/>
                  </a:cubicBezTo>
                  <a:cubicBezTo>
                    <a:pt x="31" y="108"/>
                    <a:pt x="32" y="108"/>
                    <a:pt x="32" y="107"/>
                  </a:cubicBezTo>
                  <a:cubicBezTo>
                    <a:pt x="32" y="106"/>
                    <a:pt x="32" y="105"/>
                    <a:pt x="31" y="104"/>
                  </a:cubicBezTo>
                  <a:cubicBezTo>
                    <a:pt x="31" y="103"/>
                    <a:pt x="29" y="103"/>
                    <a:pt x="29" y="103"/>
                  </a:cubicBezTo>
                  <a:cubicBezTo>
                    <a:pt x="28" y="100"/>
                    <a:pt x="29" y="98"/>
                    <a:pt x="31" y="98"/>
                  </a:cubicBezTo>
                  <a:cubicBezTo>
                    <a:pt x="33" y="98"/>
                    <a:pt x="33" y="98"/>
                    <a:pt x="34" y="99"/>
                  </a:cubicBezTo>
                  <a:cubicBezTo>
                    <a:pt x="34" y="100"/>
                    <a:pt x="34" y="100"/>
                    <a:pt x="34" y="101"/>
                  </a:cubicBezTo>
                  <a:cubicBezTo>
                    <a:pt x="34" y="102"/>
                    <a:pt x="35" y="103"/>
                    <a:pt x="36" y="103"/>
                  </a:cubicBezTo>
                  <a:cubicBezTo>
                    <a:pt x="36" y="104"/>
                    <a:pt x="37" y="106"/>
                    <a:pt x="39" y="106"/>
                  </a:cubicBezTo>
                  <a:cubicBezTo>
                    <a:pt x="40" y="106"/>
                    <a:pt x="41" y="105"/>
                    <a:pt x="43" y="106"/>
                  </a:cubicBezTo>
                  <a:cubicBezTo>
                    <a:pt x="42" y="107"/>
                    <a:pt x="40" y="108"/>
                    <a:pt x="39" y="109"/>
                  </a:cubicBezTo>
                  <a:cubicBezTo>
                    <a:pt x="38" y="110"/>
                    <a:pt x="38" y="111"/>
                    <a:pt x="38" y="113"/>
                  </a:cubicBezTo>
                  <a:cubicBezTo>
                    <a:pt x="39" y="114"/>
                    <a:pt x="39" y="115"/>
                    <a:pt x="40" y="116"/>
                  </a:cubicBezTo>
                  <a:cubicBezTo>
                    <a:pt x="41" y="117"/>
                    <a:pt x="42" y="116"/>
                    <a:pt x="43" y="116"/>
                  </a:cubicBezTo>
                  <a:cubicBezTo>
                    <a:pt x="46" y="117"/>
                    <a:pt x="41" y="125"/>
                    <a:pt x="38" y="124"/>
                  </a:cubicBezTo>
                  <a:cubicBezTo>
                    <a:pt x="37" y="124"/>
                    <a:pt x="36" y="124"/>
                    <a:pt x="35" y="123"/>
                  </a:cubicBezTo>
                  <a:cubicBezTo>
                    <a:pt x="34" y="123"/>
                    <a:pt x="32" y="124"/>
                    <a:pt x="31" y="123"/>
                  </a:cubicBezTo>
                  <a:cubicBezTo>
                    <a:pt x="30" y="123"/>
                    <a:pt x="31" y="123"/>
                    <a:pt x="30" y="122"/>
                  </a:cubicBezTo>
                  <a:cubicBezTo>
                    <a:pt x="30" y="122"/>
                    <a:pt x="30" y="121"/>
                    <a:pt x="30" y="121"/>
                  </a:cubicBezTo>
                  <a:cubicBezTo>
                    <a:pt x="29" y="121"/>
                    <a:pt x="27" y="121"/>
                    <a:pt x="27" y="121"/>
                  </a:cubicBezTo>
                  <a:cubicBezTo>
                    <a:pt x="25" y="121"/>
                    <a:pt x="22" y="120"/>
                    <a:pt x="21" y="118"/>
                  </a:cubicBezTo>
                  <a:cubicBezTo>
                    <a:pt x="19" y="117"/>
                    <a:pt x="20" y="116"/>
                    <a:pt x="18" y="116"/>
                  </a:cubicBezTo>
                  <a:cubicBezTo>
                    <a:pt x="16" y="116"/>
                    <a:pt x="14" y="118"/>
                    <a:pt x="11" y="117"/>
                  </a:cubicBezTo>
                  <a:cubicBezTo>
                    <a:pt x="9" y="117"/>
                    <a:pt x="12" y="116"/>
                    <a:pt x="12" y="114"/>
                  </a:cubicBezTo>
                  <a:cubicBezTo>
                    <a:pt x="11" y="113"/>
                    <a:pt x="8" y="111"/>
                    <a:pt x="7" y="112"/>
                  </a:cubicBezTo>
                  <a:cubicBezTo>
                    <a:pt x="6" y="112"/>
                    <a:pt x="5" y="116"/>
                    <a:pt x="5" y="118"/>
                  </a:cubicBezTo>
                  <a:cubicBezTo>
                    <a:pt x="5" y="118"/>
                    <a:pt x="5" y="119"/>
                    <a:pt x="5" y="120"/>
                  </a:cubicBezTo>
                  <a:cubicBezTo>
                    <a:pt x="5" y="121"/>
                    <a:pt x="4" y="121"/>
                    <a:pt x="4" y="122"/>
                  </a:cubicBezTo>
                  <a:cubicBezTo>
                    <a:pt x="4" y="123"/>
                    <a:pt x="4" y="125"/>
                    <a:pt x="4" y="126"/>
                  </a:cubicBezTo>
                  <a:cubicBezTo>
                    <a:pt x="4" y="128"/>
                    <a:pt x="4" y="129"/>
                    <a:pt x="4" y="131"/>
                  </a:cubicBezTo>
                  <a:cubicBezTo>
                    <a:pt x="4" y="135"/>
                    <a:pt x="4" y="139"/>
                    <a:pt x="5" y="143"/>
                  </a:cubicBezTo>
                  <a:cubicBezTo>
                    <a:pt x="6" y="146"/>
                    <a:pt x="5" y="150"/>
                    <a:pt x="5" y="153"/>
                  </a:cubicBezTo>
                  <a:cubicBezTo>
                    <a:pt x="6" y="155"/>
                    <a:pt x="6" y="158"/>
                    <a:pt x="6" y="160"/>
                  </a:cubicBezTo>
                  <a:cubicBezTo>
                    <a:pt x="6" y="164"/>
                    <a:pt x="6" y="167"/>
                    <a:pt x="6" y="171"/>
                  </a:cubicBezTo>
                  <a:cubicBezTo>
                    <a:pt x="7" y="170"/>
                    <a:pt x="8" y="170"/>
                    <a:pt x="9" y="170"/>
                  </a:cubicBezTo>
                  <a:cubicBezTo>
                    <a:pt x="10" y="169"/>
                    <a:pt x="10" y="169"/>
                    <a:pt x="9" y="167"/>
                  </a:cubicBezTo>
                  <a:cubicBezTo>
                    <a:pt x="9" y="165"/>
                    <a:pt x="9" y="163"/>
                    <a:pt x="11" y="163"/>
                  </a:cubicBezTo>
                  <a:cubicBezTo>
                    <a:pt x="13" y="162"/>
                    <a:pt x="15" y="164"/>
                    <a:pt x="14" y="165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5" y="169"/>
                    <a:pt x="13" y="169"/>
                    <a:pt x="13" y="171"/>
                  </a:cubicBezTo>
                  <a:cubicBezTo>
                    <a:pt x="13" y="173"/>
                    <a:pt x="13" y="174"/>
                    <a:pt x="14" y="175"/>
                  </a:cubicBezTo>
                  <a:cubicBezTo>
                    <a:pt x="17" y="177"/>
                    <a:pt x="23" y="180"/>
                    <a:pt x="19" y="183"/>
                  </a:cubicBezTo>
                  <a:cubicBezTo>
                    <a:pt x="17" y="184"/>
                    <a:pt x="14" y="186"/>
                    <a:pt x="13" y="184"/>
                  </a:cubicBezTo>
                  <a:cubicBezTo>
                    <a:pt x="13" y="183"/>
                    <a:pt x="13" y="181"/>
                    <a:pt x="13" y="180"/>
                  </a:cubicBezTo>
                  <a:cubicBezTo>
                    <a:pt x="13" y="179"/>
                    <a:pt x="13" y="177"/>
                    <a:pt x="12" y="177"/>
                  </a:cubicBezTo>
                  <a:cubicBezTo>
                    <a:pt x="11" y="176"/>
                    <a:pt x="7" y="178"/>
                    <a:pt x="7" y="178"/>
                  </a:cubicBezTo>
                  <a:cubicBezTo>
                    <a:pt x="7" y="178"/>
                    <a:pt x="6" y="178"/>
                    <a:pt x="6" y="178"/>
                  </a:cubicBezTo>
                  <a:cubicBezTo>
                    <a:pt x="7" y="181"/>
                    <a:pt x="7" y="185"/>
                    <a:pt x="8" y="188"/>
                  </a:cubicBezTo>
                  <a:cubicBezTo>
                    <a:pt x="8" y="190"/>
                    <a:pt x="8" y="192"/>
                    <a:pt x="8" y="195"/>
                  </a:cubicBezTo>
                  <a:cubicBezTo>
                    <a:pt x="8" y="196"/>
                    <a:pt x="8" y="198"/>
                    <a:pt x="8" y="199"/>
                  </a:cubicBezTo>
                  <a:cubicBezTo>
                    <a:pt x="8" y="202"/>
                    <a:pt x="7" y="205"/>
                    <a:pt x="5" y="207"/>
                  </a:cubicBezTo>
                  <a:cubicBezTo>
                    <a:pt x="5" y="208"/>
                    <a:pt x="4" y="209"/>
                    <a:pt x="3" y="209"/>
                  </a:cubicBezTo>
                  <a:cubicBezTo>
                    <a:pt x="2" y="211"/>
                    <a:pt x="2" y="212"/>
                    <a:pt x="0" y="213"/>
                  </a:cubicBezTo>
                  <a:cubicBezTo>
                    <a:pt x="1" y="214"/>
                    <a:pt x="2" y="214"/>
                    <a:pt x="3" y="215"/>
                  </a:cubicBezTo>
                  <a:cubicBezTo>
                    <a:pt x="5" y="216"/>
                    <a:pt x="6" y="218"/>
                    <a:pt x="8" y="220"/>
                  </a:cubicBezTo>
                  <a:cubicBezTo>
                    <a:pt x="9" y="222"/>
                    <a:pt x="11" y="223"/>
                    <a:pt x="12" y="224"/>
                  </a:cubicBezTo>
                  <a:cubicBezTo>
                    <a:pt x="12" y="225"/>
                    <a:pt x="12" y="226"/>
                    <a:pt x="13" y="227"/>
                  </a:cubicBezTo>
                  <a:cubicBezTo>
                    <a:pt x="15" y="230"/>
                    <a:pt x="17" y="231"/>
                    <a:pt x="20" y="233"/>
                  </a:cubicBezTo>
                  <a:cubicBezTo>
                    <a:pt x="21" y="234"/>
                    <a:pt x="22" y="235"/>
                    <a:pt x="23" y="235"/>
                  </a:cubicBezTo>
                  <a:cubicBezTo>
                    <a:pt x="26" y="234"/>
                    <a:pt x="26" y="231"/>
                    <a:pt x="26" y="229"/>
                  </a:cubicBezTo>
                  <a:cubicBezTo>
                    <a:pt x="25" y="228"/>
                    <a:pt x="25" y="228"/>
                    <a:pt x="24" y="227"/>
                  </a:cubicBezTo>
                  <a:cubicBezTo>
                    <a:pt x="24" y="226"/>
                    <a:pt x="24" y="226"/>
                    <a:pt x="24" y="226"/>
                  </a:cubicBezTo>
                  <a:cubicBezTo>
                    <a:pt x="23" y="225"/>
                    <a:pt x="23" y="224"/>
                    <a:pt x="22" y="223"/>
                  </a:cubicBezTo>
                  <a:cubicBezTo>
                    <a:pt x="21" y="222"/>
                    <a:pt x="19" y="221"/>
                    <a:pt x="18" y="220"/>
                  </a:cubicBezTo>
                  <a:cubicBezTo>
                    <a:pt x="17" y="218"/>
                    <a:pt x="14" y="218"/>
                    <a:pt x="16" y="215"/>
                  </a:cubicBezTo>
                  <a:cubicBezTo>
                    <a:pt x="17" y="212"/>
                    <a:pt x="19" y="214"/>
                    <a:pt x="21" y="215"/>
                  </a:cubicBezTo>
                  <a:cubicBezTo>
                    <a:pt x="22" y="216"/>
                    <a:pt x="23" y="220"/>
                    <a:pt x="24" y="220"/>
                  </a:cubicBezTo>
                  <a:cubicBezTo>
                    <a:pt x="24" y="221"/>
                    <a:pt x="26" y="221"/>
                    <a:pt x="26" y="222"/>
                  </a:cubicBezTo>
                  <a:cubicBezTo>
                    <a:pt x="27" y="223"/>
                    <a:pt x="27" y="223"/>
                    <a:pt x="28" y="224"/>
                  </a:cubicBezTo>
                  <a:cubicBezTo>
                    <a:pt x="29" y="225"/>
                    <a:pt x="31" y="226"/>
                    <a:pt x="32" y="227"/>
                  </a:cubicBezTo>
                  <a:cubicBezTo>
                    <a:pt x="32" y="227"/>
                    <a:pt x="34" y="228"/>
                    <a:pt x="34" y="228"/>
                  </a:cubicBezTo>
                  <a:cubicBezTo>
                    <a:pt x="34" y="228"/>
                    <a:pt x="34" y="228"/>
                    <a:pt x="34" y="229"/>
                  </a:cubicBezTo>
                  <a:cubicBezTo>
                    <a:pt x="35" y="231"/>
                    <a:pt x="36" y="232"/>
                    <a:pt x="35" y="234"/>
                  </a:cubicBezTo>
                  <a:cubicBezTo>
                    <a:pt x="35" y="236"/>
                    <a:pt x="34" y="235"/>
                    <a:pt x="34" y="237"/>
                  </a:cubicBezTo>
                  <a:cubicBezTo>
                    <a:pt x="33" y="238"/>
                    <a:pt x="34" y="239"/>
                    <a:pt x="34" y="240"/>
                  </a:cubicBezTo>
                  <a:cubicBezTo>
                    <a:pt x="34" y="241"/>
                    <a:pt x="33" y="244"/>
                    <a:pt x="34" y="245"/>
                  </a:cubicBezTo>
                  <a:cubicBezTo>
                    <a:pt x="34" y="246"/>
                    <a:pt x="35" y="246"/>
                    <a:pt x="35" y="247"/>
                  </a:cubicBezTo>
                  <a:cubicBezTo>
                    <a:pt x="37" y="250"/>
                    <a:pt x="35" y="252"/>
                    <a:pt x="34" y="254"/>
                  </a:cubicBezTo>
                  <a:cubicBezTo>
                    <a:pt x="34" y="255"/>
                    <a:pt x="34" y="255"/>
                    <a:pt x="33" y="256"/>
                  </a:cubicBezTo>
                  <a:cubicBezTo>
                    <a:pt x="33" y="257"/>
                    <a:pt x="32" y="257"/>
                    <a:pt x="32" y="258"/>
                  </a:cubicBezTo>
                  <a:cubicBezTo>
                    <a:pt x="32" y="259"/>
                    <a:pt x="32" y="260"/>
                    <a:pt x="32" y="261"/>
                  </a:cubicBezTo>
                  <a:cubicBezTo>
                    <a:pt x="32" y="263"/>
                    <a:pt x="32" y="266"/>
                    <a:pt x="32" y="268"/>
                  </a:cubicBezTo>
                  <a:cubicBezTo>
                    <a:pt x="32" y="269"/>
                    <a:pt x="32" y="270"/>
                    <a:pt x="32" y="272"/>
                  </a:cubicBezTo>
                  <a:cubicBezTo>
                    <a:pt x="32" y="271"/>
                    <a:pt x="32" y="271"/>
                    <a:pt x="32" y="271"/>
                  </a:cubicBezTo>
                  <a:cubicBezTo>
                    <a:pt x="35" y="271"/>
                    <a:pt x="37" y="272"/>
                    <a:pt x="40" y="272"/>
                  </a:cubicBezTo>
                  <a:cubicBezTo>
                    <a:pt x="41" y="272"/>
                    <a:pt x="43" y="272"/>
                    <a:pt x="45" y="272"/>
                  </a:cubicBezTo>
                  <a:cubicBezTo>
                    <a:pt x="46" y="272"/>
                    <a:pt x="48" y="272"/>
                    <a:pt x="49" y="272"/>
                  </a:cubicBezTo>
                  <a:cubicBezTo>
                    <a:pt x="50" y="273"/>
                    <a:pt x="51" y="274"/>
                    <a:pt x="52" y="274"/>
                  </a:cubicBezTo>
                  <a:cubicBezTo>
                    <a:pt x="53" y="274"/>
                    <a:pt x="55" y="274"/>
                    <a:pt x="56" y="274"/>
                  </a:cubicBezTo>
                  <a:cubicBezTo>
                    <a:pt x="56" y="274"/>
                    <a:pt x="57" y="274"/>
                    <a:pt x="58" y="274"/>
                  </a:cubicBezTo>
                  <a:cubicBezTo>
                    <a:pt x="58" y="273"/>
                    <a:pt x="58" y="273"/>
                    <a:pt x="59" y="272"/>
                  </a:cubicBezTo>
                  <a:cubicBezTo>
                    <a:pt x="59" y="272"/>
                    <a:pt x="61" y="272"/>
                    <a:pt x="62" y="272"/>
                  </a:cubicBezTo>
                  <a:cubicBezTo>
                    <a:pt x="62" y="273"/>
                    <a:pt x="62" y="274"/>
                    <a:pt x="63" y="274"/>
                  </a:cubicBezTo>
                  <a:cubicBezTo>
                    <a:pt x="62" y="275"/>
                    <a:pt x="63" y="275"/>
                    <a:pt x="63" y="275"/>
                  </a:cubicBezTo>
                  <a:cubicBezTo>
                    <a:pt x="63" y="276"/>
                    <a:pt x="63" y="276"/>
                    <a:pt x="63" y="276"/>
                  </a:cubicBezTo>
                  <a:cubicBezTo>
                    <a:pt x="64" y="277"/>
                    <a:pt x="64" y="278"/>
                    <a:pt x="64" y="280"/>
                  </a:cubicBezTo>
                  <a:cubicBezTo>
                    <a:pt x="64" y="282"/>
                    <a:pt x="65" y="282"/>
                    <a:pt x="67" y="282"/>
                  </a:cubicBezTo>
                  <a:cubicBezTo>
                    <a:pt x="68" y="282"/>
                    <a:pt x="69" y="282"/>
                    <a:pt x="70" y="282"/>
                  </a:cubicBezTo>
                  <a:cubicBezTo>
                    <a:pt x="71" y="281"/>
                    <a:pt x="71" y="280"/>
                    <a:pt x="72" y="279"/>
                  </a:cubicBezTo>
                  <a:cubicBezTo>
                    <a:pt x="74" y="279"/>
                    <a:pt x="74" y="279"/>
                    <a:pt x="75" y="278"/>
                  </a:cubicBezTo>
                  <a:cubicBezTo>
                    <a:pt x="76" y="277"/>
                    <a:pt x="76" y="276"/>
                    <a:pt x="77" y="276"/>
                  </a:cubicBezTo>
                  <a:cubicBezTo>
                    <a:pt x="78" y="275"/>
                    <a:pt x="79" y="276"/>
                    <a:pt x="79" y="276"/>
                  </a:cubicBezTo>
                  <a:cubicBezTo>
                    <a:pt x="80" y="276"/>
                    <a:pt x="81" y="276"/>
                    <a:pt x="81" y="276"/>
                  </a:cubicBezTo>
                  <a:cubicBezTo>
                    <a:pt x="82" y="276"/>
                    <a:pt x="82" y="276"/>
                    <a:pt x="83" y="276"/>
                  </a:cubicBezTo>
                  <a:cubicBezTo>
                    <a:pt x="84" y="276"/>
                    <a:pt x="85" y="277"/>
                    <a:pt x="86" y="277"/>
                  </a:cubicBezTo>
                  <a:cubicBezTo>
                    <a:pt x="87" y="279"/>
                    <a:pt x="87" y="280"/>
                    <a:pt x="89" y="280"/>
                  </a:cubicBezTo>
                  <a:cubicBezTo>
                    <a:pt x="91" y="280"/>
                    <a:pt x="92" y="280"/>
                    <a:pt x="94" y="281"/>
                  </a:cubicBezTo>
                  <a:cubicBezTo>
                    <a:pt x="95" y="282"/>
                    <a:pt x="95" y="282"/>
                    <a:pt x="96" y="283"/>
                  </a:cubicBezTo>
                  <a:cubicBezTo>
                    <a:pt x="97" y="283"/>
                    <a:pt x="98" y="284"/>
                    <a:pt x="99" y="284"/>
                  </a:cubicBezTo>
                  <a:cubicBezTo>
                    <a:pt x="100" y="284"/>
                    <a:pt x="100" y="283"/>
                    <a:pt x="101" y="282"/>
                  </a:cubicBezTo>
                  <a:cubicBezTo>
                    <a:pt x="102" y="282"/>
                    <a:pt x="104" y="280"/>
                    <a:pt x="105" y="281"/>
                  </a:cubicBezTo>
                  <a:cubicBezTo>
                    <a:pt x="106" y="281"/>
                    <a:pt x="106" y="282"/>
                    <a:pt x="106" y="282"/>
                  </a:cubicBezTo>
                  <a:cubicBezTo>
                    <a:pt x="107" y="282"/>
                    <a:pt x="107" y="281"/>
                    <a:pt x="108" y="280"/>
                  </a:cubicBezTo>
                  <a:cubicBezTo>
                    <a:pt x="109" y="279"/>
                    <a:pt x="111" y="277"/>
                    <a:pt x="112" y="275"/>
                  </a:cubicBezTo>
                  <a:cubicBezTo>
                    <a:pt x="113" y="272"/>
                    <a:pt x="114" y="267"/>
                    <a:pt x="111" y="264"/>
                  </a:cubicBezTo>
                  <a:cubicBezTo>
                    <a:pt x="108" y="262"/>
                    <a:pt x="105" y="264"/>
                    <a:pt x="103" y="261"/>
                  </a:cubicBezTo>
                  <a:cubicBezTo>
                    <a:pt x="103" y="260"/>
                    <a:pt x="103" y="259"/>
                    <a:pt x="102" y="259"/>
                  </a:cubicBezTo>
                  <a:cubicBezTo>
                    <a:pt x="102" y="258"/>
                    <a:pt x="101" y="258"/>
                    <a:pt x="100" y="258"/>
                  </a:cubicBezTo>
                  <a:cubicBezTo>
                    <a:pt x="99" y="257"/>
                    <a:pt x="99" y="257"/>
                    <a:pt x="98" y="256"/>
                  </a:cubicBezTo>
                  <a:cubicBezTo>
                    <a:pt x="96" y="255"/>
                    <a:pt x="91" y="254"/>
                    <a:pt x="89" y="256"/>
                  </a:cubicBezTo>
                  <a:cubicBezTo>
                    <a:pt x="86" y="258"/>
                    <a:pt x="95" y="263"/>
                    <a:pt x="94" y="267"/>
                  </a:cubicBezTo>
                  <a:cubicBezTo>
                    <a:pt x="92" y="267"/>
                    <a:pt x="93" y="266"/>
                    <a:pt x="92" y="266"/>
                  </a:cubicBezTo>
                  <a:cubicBezTo>
                    <a:pt x="91" y="265"/>
                    <a:pt x="89" y="265"/>
                    <a:pt x="88" y="264"/>
                  </a:cubicBezTo>
                  <a:cubicBezTo>
                    <a:pt x="87" y="263"/>
                    <a:pt x="86" y="262"/>
                    <a:pt x="84" y="261"/>
                  </a:cubicBezTo>
                  <a:cubicBezTo>
                    <a:pt x="82" y="260"/>
                    <a:pt x="81" y="261"/>
                    <a:pt x="81" y="258"/>
                  </a:cubicBezTo>
                  <a:cubicBezTo>
                    <a:pt x="81" y="256"/>
                    <a:pt x="81" y="254"/>
                    <a:pt x="82" y="253"/>
                  </a:cubicBezTo>
                  <a:cubicBezTo>
                    <a:pt x="83" y="252"/>
                    <a:pt x="84" y="251"/>
                    <a:pt x="84" y="250"/>
                  </a:cubicBezTo>
                  <a:cubicBezTo>
                    <a:pt x="85" y="250"/>
                    <a:pt x="88" y="250"/>
                    <a:pt x="89" y="250"/>
                  </a:cubicBezTo>
                  <a:cubicBezTo>
                    <a:pt x="92" y="249"/>
                    <a:pt x="89" y="248"/>
                    <a:pt x="90" y="246"/>
                  </a:cubicBezTo>
                  <a:cubicBezTo>
                    <a:pt x="91" y="244"/>
                    <a:pt x="94" y="244"/>
                    <a:pt x="92" y="242"/>
                  </a:cubicBezTo>
                  <a:cubicBezTo>
                    <a:pt x="92" y="241"/>
                    <a:pt x="91" y="242"/>
                    <a:pt x="90" y="241"/>
                  </a:cubicBezTo>
                  <a:cubicBezTo>
                    <a:pt x="90" y="240"/>
                    <a:pt x="90" y="239"/>
                    <a:pt x="90" y="239"/>
                  </a:cubicBezTo>
                  <a:cubicBezTo>
                    <a:pt x="91" y="233"/>
                    <a:pt x="99" y="237"/>
                    <a:pt x="101" y="239"/>
                  </a:cubicBezTo>
                  <a:cubicBezTo>
                    <a:pt x="102" y="239"/>
                    <a:pt x="103" y="240"/>
                    <a:pt x="103" y="241"/>
                  </a:cubicBezTo>
                  <a:cubicBezTo>
                    <a:pt x="104" y="242"/>
                    <a:pt x="104" y="243"/>
                    <a:pt x="104" y="244"/>
                  </a:cubicBezTo>
                  <a:cubicBezTo>
                    <a:pt x="104" y="245"/>
                    <a:pt x="104" y="244"/>
                    <a:pt x="105" y="245"/>
                  </a:cubicBezTo>
                  <a:cubicBezTo>
                    <a:pt x="107" y="247"/>
                    <a:pt x="109" y="248"/>
                    <a:pt x="111" y="250"/>
                  </a:cubicBezTo>
                  <a:cubicBezTo>
                    <a:pt x="112" y="252"/>
                    <a:pt x="111" y="253"/>
                    <a:pt x="111" y="255"/>
                  </a:cubicBezTo>
                  <a:cubicBezTo>
                    <a:pt x="111" y="257"/>
                    <a:pt x="112" y="257"/>
                    <a:pt x="114" y="257"/>
                  </a:cubicBezTo>
                  <a:cubicBezTo>
                    <a:pt x="115" y="257"/>
                    <a:pt x="117" y="256"/>
                    <a:pt x="117" y="255"/>
                  </a:cubicBezTo>
                  <a:cubicBezTo>
                    <a:pt x="118" y="255"/>
                    <a:pt x="120" y="255"/>
                    <a:pt x="120" y="257"/>
                  </a:cubicBezTo>
                  <a:cubicBezTo>
                    <a:pt x="121" y="258"/>
                    <a:pt x="120" y="259"/>
                    <a:pt x="121" y="259"/>
                  </a:cubicBezTo>
                  <a:cubicBezTo>
                    <a:pt x="122" y="260"/>
                    <a:pt x="125" y="260"/>
                    <a:pt x="126" y="261"/>
                  </a:cubicBezTo>
                  <a:cubicBezTo>
                    <a:pt x="127" y="261"/>
                    <a:pt x="129" y="262"/>
                    <a:pt x="130" y="263"/>
                  </a:cubicBezTo>
                  <a:cubicBezTo>
                    <a:pt x="131" y="263"/>
                    <a:pt x="132" y="264"/>
                    <a:pt x="133" y="264"/>
                  </a:cubicBezTo>
                  <a:cubicBezTo>
                    <a:pt x="136" y="266"/>
                    <a:pt x="137" y="268"/>
                    <a:pt x="137" y="272"/>
                  </a:cubicBezTo>
                  <a:cubicBezTo>
                    <a:pt x="137" y="273"/>
                    <a:pt x="137" y="274"/>
                    <a:pt x="138" y="275"/>
                  </a:cubicBezTo>
                  <a:cubicBezTo>
                    <a:pt x="139" y="276"/>
                    <a:pt x="140" y="277"/>
                    <a:pt x="141" y="278"/>
                  </a:cubicBezTo>
                  <a:cubicBezTo>
                    <a:pt x="142" y="279"/>
                    <a:pt x="142" y="278"/>
                    <a:pt x="143" y="280"/>
                  </a:cubicBezTo>
                  <a:cubicBezTo>
                    <a:pt x="143" y="281"/>
                    <a:pt x="143" y="283"/>
                    <a:pt x="143" y="284"/>
                  </a:cubicBezTo>
                  <a:cubicBezTo>
                    <a:pt x="143" y="286"/>
                    <a:pt x="143" y="297"/>
                    <a:pt x="146" y="296"/>
                  </a:cubicBezTo>
                  <a:cubicBezTo>
                    <a:pt x="147" y="296"/>
                    <a:pt x="147" y="294"/>
                    <a:pt x="148" y="293"/>
                  </a:cubicBezTo>
                  <a:cubicBezTo>
                    <a:pt x="148" y="292"/>
                    <a:pt x="149" y="290"/>
                    <a:pt x="149" y="288"/>
                  </a:cubicBezTo>
                  <a:cubicBezTo>
                    <a:pt x="150" y="286"/>
                    <a:pt x="150" y="284"/>
                    <a:pt x="151" y="282"/>
                  </a:cubicBezTo>
                  <a:cubicBezTo>
                    <a:pt x="152" y="281"/>
                    <a:pt x="152" y="280"/>
                    <a:pt x="152" y="279"/>
                  </a:cubicBezTo>
                  <a:cubicBezTo>
                    <a:pt x="153" y="279"/>
                    <a:pt x="154" y="278"/>
                    <a:pt x="154" y="278"/>
                  </a:cubicBezTo>
                  <a:cubicBezTo>
                    <a:pt x="154" y="277"/>
                    <a:pt x="154" y="276"/>
                    <a:pt x="154" y="275"/>
                  </a:cubicBezTo>
                  <a:cubicBezTo>
                    <a:pt x="154" y="274"/>
                    <a:pt x="155" y="275"/>
                    <a:pt x="155" y="274"/>
                  </a:cubicBezTo>
                  <a:cubicBezTo>
                    <a:pt x="155" y="273"/>
                    <a:pt x="155" y="272"/>
                    <a:pt x="155" y="271"/>
                  </a:cubicBezTo>
                  <a:cubicBezTo>
                    <a:pt x="155" y="268"/>
                    <a:pt x="156" y="265"/>
                    <a:pt x="157" y="261"/>
                  </a:cubicBezTo>
                  <a:cubicBezTo>
                    <a:pt x="157" y="259"/>
                    <a:pt x="159" y="257"/>
                    <a:pt x="160" y="255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7" name="Freeform 107">
              <a:extLst>
                <a:ext uri="{FF2B5EF4-FFF2-40B4-BE49-F238E27FC236}">
                  <a16:creationId xmlns:a16="http://schemas.microsoft.com/office/drawing/2014/main" id="{F05FFB45-9D56-44C5-8116-439793116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3495675"/>
              <a:ext cx="180975" cy="300038"/>
            </a:xfrm>
            <a:custGeom>
              <a:avLst/>
              <a:gdLst/>
              <a:ahLst/>
              <a:cxnLst>
                <a:cxn ang="0">
                  <a:pos x="44" y="49"/>
                </a:cxn>
                <a:cxn ang="0">
                  <a:pos x="52" y="51"/>
                </a:cxn>
                <a:cxn ang="0">
                  <a:pos x="63" y="54"/>
                </a:cxn>
                <a:cxn ang="0">
                  <a:pos x="57" y="52"/>
                </a:cxn>
                <a:cxn ang="0">
                  <a:pos x="53" y="43"/>
                </a:cxn>
                <a:cxn ang="0">
                  <a:pos x="54" y="32"/>
                </a:cxn>
                <a:cxn ang="0">
                  <a:pos x="60" y="34"/>
                </a:cxn>
                <a:cxn ang="0">
                  <a:pos x="51" y="33"/>
                </a:cxn>
                <a:cxn ang="0">
                  <a:pos x="59" y="19"/>
                </a:cxn>
                <a:cxn ang="0">
                  <a:pos x="68" y="14"/>
                </a:cxn>
                <a:cxn ang="0">
                  <a:pos x="73" y="3"/>
                </a:cxn>
                <a:cxn ang="0">
                  <a:pos x="80" y="11"/>
                </a:cxn>
                <a:cxn ang="0">
                  <a:pos x="89" y="19"/>
                </a:cxn>
                <a:cxn ang="0">
                  <a:pos x="86" y="29"/>
                </a:cxn>
                <a:cxn ang="0">
                  <a:pos x="93" y="34"/>
                </a:cxn>
                <a:cxn ang="0">
                  <a:pos x="96" y="43"/>
                </a:cxn>
                <a:cxn ang="0">
                  <a:pos x="93" y="48"/>
                </a:cxn>
                <a:cxn ang="0">
                  <a:pos x="95" y="59"/>
                </a:cxn>
                <a:cxn ang="0">
                  <a:pos x="94" y="65"/>
                </a:cxn>
                <a:cxn ang="0">
                  <a:pos x="78" y="67"/>
                </a:cxn>
                <a:cxn ang="0">
                  <a:pos x="75" y="79"/>
                </a:cxn>
                <a:cxn ang="0">
                  <a:pos x="82" y="91"/>
                </a:cxn>
                <a:cxn ang="0">
                  <a:pos x="71" y="99"/>
                </a:cxn>
                <a:cxn ang="0">
                  <a:pos x="60" y="108"/>
                </a:cxn>
                <a:cxn ang="0">
                  <a:pos x="66" y="125"/>
                </a:cxn>
                <a:cxn ang="0">
                  <a:pos x="75" y="117"/>
                </a:cxn>
                <a:cxn ang="0">
                  <a:pos x="81" y="124"/>
                </a:cxn>
                <a:cxn ang="0">
                  <a:pos x="72" y="130"/>
                </a:cxn>
                <a:cxn ang="0">
                  <a:pos x="67" y="131"/>
                </a:cxn>
                <a:cxn ang="0">
                  <a:pos x="62" y="141"/>
                </a:cxn>
                <a:cxn ang="0">
                  <a:pos x="50" y="153"/>
                </a:cxn>
                <a:cxn ang="0">
                  <a:pos x="50" y="158"/>
                </a:cxn>
                <a:cxn ang="0">
                  <a:pos x="42" y="154"/>
                </a:cxn>
                <a:cxn ang="0">
                  <a:pos x="34" y="155"/>
                </a:cxn>
                <a:cxn ang="0">
                  <a:pos x="25" y="151"/>
                </a:cxn>
                <a:cxn ang="0">
                  <a:pos x="7" y="139"/>
                </a:cxn>
                <a:cxn ang="0">
                  <a:pos x="10" y="135"/>
                </a:cxn>
                <a:cxn ang="0">
                  <a:pos x="9" y="129"/>
                </a:cxn>
                <a:cxn ang="0">
                  <a:pos x="16" y="126"/>
                </a:cxn>
                <a:cxn ang="0">
                  <a:pos x="23" y="128"/>
                </a:cxn>
                <a:cxn ang="0">
                  <a:pos x="33" y="133"/>
                </a:cxn>
                <a:cxn ang="0">
                  <a:pos x="42" y="132"/>
                </a:cxn>
                <a:cxn ang="0">
                  <a:pos x="49" y="127"/>
                </a:cxn>
                <a:cxn ang="0">
                  <a:pos x="56" y="124"/>
                </a:cxn>
                <a:cxn ang="0">
                  <a:pos x="51" y="119"/>
                </a:cxn>
                <a:cxn ang="0">
                  <a:pos x="41" y="104"/>
                </a:cxn>
                <a:cxn ang="0">
                  <a:pos x="29" y="102"/>
                </a:cxn>
                <a:cxn ang="0">
                  <a:pos x="18" y="98"/>
                </a:cxn>
                <a:cxn ang="0">
                  <a:pos x="13" y="84"/>
                </a:cxn>
                <a:cxn ang="0">
                  <a:pos x="10" y="68"/>
                </a:cxn>
                <a:cxn ang="0">
                  <a:pos x="3" y="56"/>
                </a:cxn>
                <a:cxn ang="0">
                  <a:pos x="4" y="50"/>
                </a:cxn>
                <a:cxn ang="0">
                  <a:pos x="18" y="50"/>
                </a:cxn>
                <a:cxn ang="0">
                  <a:pos x="34" y="37"/>
                </a:cxn>
                <a:cxn ang="0">
                  <a:pos x="21" y="30"/>
                </a:cxn>
                <a:cxn ang="0">
                  <a:pos x="34" y="31"/>
                </a:cxn>
                <a:cxn ang="0">
                  <a:pos x="49" y="35"/>
                </a:cxn>
                <a:cxn ang="0">
                  <a:pos x="45" y="42"/>
                </a:cxn>
              </a:cxnLst>
              <a:rect l="0" t="0" r="r" b="b"/>
              <a:pathLst>
                <a:path w="97" h="161">
                  <a:moveTo>
                    <a:pt x="45" y="42"/>
                  </a:moveTo>
                  <a:cubicBezTo>
                    <a:pt x="45" y="43"/>
                    <a:pt x="41" y="46"/>
                    <a:pt x="42" y="48"/>
                  </a:cubicBezTo>
                  <a:cubicBezTo>
                    <a:pt x="42" y="49"/>
                    <a:pt x="43" y="49"/>
                    <a:pt x="44" y="49"/>
                  </a:cubicBezTo>
                  <a:cubicBezTo>
                    <a:pt x="46" y="49"/>
                    <a:pt x="46" y="49"/>
                    <a:pt x="48" y="50"/>
                  </a:cubicBezTo>
                  <a:cubicBezTo>
                    <a:pt x="49" y="52"/>
                    <a:pt x="48" y="54"/>
                    <a:pt x="50" y="56"/>
                  </a:cubicBezTo>
                  <a:cubicBezTo>
                    <a:pt x="53" y="59"/>
                    <a:pt x="52" y="53"/>
                    <a:pt x="52" y="51"/>
                  </a:cubicBezTo>
                  <a:cubicBezTo>
                    <a:pt x="55" y="52"/>
                    <a:pt x="58" y="54"/>
                    <a:pt x="60" y="54"/>
                  </a:cubicBezTo>
                  <a:cubicBezTo>
                    <a:pt x="61" y="54"/>
                    <a:pt x="61" y="54"/>
                    <a:pt x="62" y="54"/>
                  </a:cubicBezTo>
                  <a:cubicBezTo>
                    <a:pt x="62" y="54"/>
                    <a:pt x="62" y="54"/>
                    <a:pt x="63" y="54"/>
                  </a:cubicBezTo>
                  <a:cubicBezTo>
                    <a:pt x="64" y="53"/>
                    <a:pt x="60" y="50"/>
                    <a:pt x="59" y="51"/>
                  </a:cubicBezTo>
                  <a:cubicBezTo>
                    <a:pt x="59" y="51"/>
                    <a:pt x="59" y="52"/>
                    <a:pt x="59" y="52"/>
                  </a:cubicBezTo>
                  <a:cubicBezTo>
                    <a:pt x="58" y="52"/>
                    <a:pt x="58" y="52"/>
                    <a:pt x="57" y="52"/>
                  </a:cubicBezTo>
                  <a:cubicBezTo>
                    <a:pt x="57" y="52"/>
                    <a:pt x="54" y="50"/>
                    <a:pt x="54" y="50"/>
                  </a:cubicBezTo>
                  <a:cubicBezTo>
                    <a:pt x="53" y="49"/>
                    <a:pt x="53" y="48"/>
                    <a:pt x="53" y="48"/>
                  </a:cubicBezTo>
                  <a:cubicBezTo>
                    <a:pt x="52" y="47"/>
                    <a:pt x="52" y="44"/>
                    <a:pt x="53" y="43"/>
                  </a:cubicBezTo>
                  <a:cubicBezTo>
                    <a:pt x="53" y="42"/>
                    <a:pt x="55" y="42"/>
                    <a:pt x="55" y="41"/>
                  </a:cubicBezTo>
                  <a:cubicBezTo>
                    <a:pt x="57" y="39"/>
                    <a:pt x="54" y="38"/>
                    <a:pt x="54" y="36"/>
                  </a:cubicBezTo>
                  <a:cubicBezTo>
                    <a:pt x="53" y="35"/>
                    <a:pt x="54" y="34"/>
                    <a:pt x="54" y="32"/>
                  </a:cubicBezTo>
                  <a:cubicBezTo>
                    <a:pt x="54" y="31"/>
                    <a:pt x="53" y="29"/>
                    <a:pt x="55" y="30"/>
                  </a:cubicBezTo>
                  <a:cubicBezTo>
                    <a:pt x="57" y="30"/>
                    <a:pt x="56" y="34"/>
                    <a:pt x="58" y="35"/>
                  </a:cubicBezTo>
                  <a:cubicBezTo>
                    <a:pt x="58" y="36"/>
                    <a:pt x="60" y="36"/>
                    <a:pt x="60" y="34"/>
                  </a:cubicBezTo>
                  <a:cubicBezTo>
                    <a:pt x="61" y="33"/>
                    <a:pt x="59" y="32"/>
                    <a:pt x="58" y="31"/>
                  </a:cubicBezTo>
                  <a:cubicBezTo>
                    <a:pt x="57" y="31"/>
                    <a:pt x="55" y="31"/>
                    <a:pt x="54" y="31"/>
                  </a:cubicBezTo>
                  <a:cubicBezTo>
                    <a:pt x="52" y="31"/>
                    <a:pt x="52" y="32"/>
                    <a:pt x="51" y="33"/>
                  </a:cubicBezTo>
                  <a:cubicBezTo>
                    <a:pt x="50" y="32"/>
                    <a:pt x="49" y="27"/>
                    <a:pt x="50" y="26"/>
                  </a:cubicBezTo>
                  <a:cubicBezTo>
                    <a:pt x="51" y="25"/>
                    <a:pt x="54" y="26"/>
                    <a:pt x="55" y="25"/>
                  </a:cubicBezTo>
                  <a:cubicBezTo>
                    <a:pt x="57" y="23"/>
                    <a:pt x="58" y="20"/>
                    <a:pt x="59" y="19"/>
                  </a:cubicBezTo>
                  <a:cubicBezTo>
                    <a:pt x="60" y="17"/>
                    <a:pt x="62" y="15"/>
                    <a:pt x="63" y="14"/>
                  </a:cubicBezTo>
                  <a:cubicBezTo>
                    <a:pt x="64" y="14"/>
                    <a:pt x="65" y="13"/>
                    <a:pt x="67" y="12"/>
                  </a:cubicBezTo>
                  <a:cubicBezTo>
                    <a:pt x="67" y="13"/>
                    <a:pt x="67" y="13"/>
                    <a:pt x="68" y="14"/>
                  </a:cubicBezTo>
                  <a:cubicBezTo>
                    <a:pt x="67" y="11"/>
                    <a:pt x="65" y="9"/>
                    <a:pt x="66" y="7"/>
                  </a:cubicBezTo>
                  <a:cubicBezTo>
                    <a:pt x="66" y="4"/>
                    <a:pt x="67" y="0"/>
                    <a:pt x="70" y="0"/>
                  </a:cubicBezTo>
                  <a:cubicBezTo>
                    <a:pt x="72" y="0"/>
                    <a:pt x="72" y="1"/>
                    <a:pt x="73" y="3"/>
                  </a:cubicBezTo>
                  <a:cubicBezTo>
                    <a:pt x="74" y="4"/>
                    <a:pt x="74" y="7"/>
                    <a:pt x="76" y="8"/>
                  </a:cubicBezTo>
                  <a:cubicBezTo>
                    <a:pt x="77" y="8"/>
                    <a:pt x="78" y="7"/>
                    <a:pt x="79" y="8"/>
                  </a:cubicBezTo>
                  <a:cubicBezTo>
                    <a:pt x="79" y="8"/>
                    <a:pt x="79" y="10"/>
                    <a:pt x="80" y="11"/>
                  </a:cubicBezTo>
                  <a:cubicBezTo>
                    <a:pt x="80" y="12"/>
                    <a:pt x="81" y="13"/>
                    <a:pt x="82" y="14"/>
                  </a:cubicBezTo>
                  <a:cubicBezTo>
                    <a:pt x="83" y="14"/>
                    <a:pt x="83" y="12"/>
                    <a:pt x="84" y="11"/>
                  </a:cubicBezTo>
                  <a:cubicBezTo>
                    <a:pt x="86" y="14"/>
                    <a:pt x="89" y="16"/>
                    <a:pt x="89" y="19"/>
                  </a:cubicBezTo>
                  <a:cubicBezTo>
                    <a:pt x="90" y="20"/>
                    <a:pt x="91" y="20"/>
                    <a:pt x="92" y="22"/>
                  </a:cubicBezTo>
                  <a:cubicBezTo>
                    <a:pt x="92" y="23"/>
                    <a:pt x="90" y="23"/>
                    <a:pt x="89" y="24"/>
                  </a:cubicBezTo>
                  <a:cubicBezTo>
                    <a:pt x="87" y="26"/>
                    <a:pt x="85" y="27"/>
                    <a:pt x="86" y="29"/>
                  </a:cubicBezTo>
                  <a:cubicBezTo>
                    <a:pt x="87" y="30"/>
                    <a:pt x="87" y="31"/>
                    <a:pt x="87" y="33"/>
                  </a:cubicBezTo>
                  <a:cubicBezTo>
                    <a:pt x="87" y="33"/>
                    <a:pt x="87" y="36"/>
                    <a:pt x="87" y="36"/>
                  </a:cubicBezTo>
                  <a:cubicBezTo>
                    <a:pt x="89" y="38"/>
                    <a:pt x="91" y="34"/>
                    <a:pt x="93" y="34"/>
                  </a:cubicBezTo>
                  <a:cubicBezTo>
                    <a:pt x="94" y="34"/>
                    <a:pt x="95" y="37"/>
                    <a:pt x="96" y="38"/>
                  </a:cubicBezTo>
                  <a:cubicBezTo>
                    <a:pt x="96" y="39"/>
                    <a:pt x="97" y="40"/>
                    <a:pt x="97" y="41"/>
                  </a:cubicBezTo>
                  <a:cubicBezTo>
                    <a:pt x="97" y="42"/>
                    <a:pt x="96" y="42"/>
                    <a:pt x="96" y="43"/>
                  </a:cubicBezTo>
                  <a:cubicBezTo>
                    <a:pt x="96" y="43"/>
                    <a:pt x="96" y="43"/>
                    <a:pt x="95" y="44"/>
                  </a:cubicBezTo>
                  <a:cubicBezTo>
                    <a:pt x="95" y="45"/>
                    <a:pt x="96" y="45"/>
                    <a:pt x="95" y="46"/>
                  </a:cubicBezTo>
                  <a:cubicBezTo>
                    <a:pt x="95" y="47"/>
                    <a:pt x="95" y="47"/>
                    <a:pt x="93" y="48"/>
                  </a:cubicBezTo>
                  <a:cubicBezTo>
                    <a:pt x="88" y="49"/>
                    <a:pt x="93" y="52"/>
                    <a:pt x="95" y="54"/>
                  </a:cubicBezTo>
                  <a:cubicBezTo>
                    <a:pt x="95" y="55"/>
                    <a:pt x="95" y="56"/>
                    <a:pt x="95" y="57"/>
                  </a:cubicBezTo>
                  <a:cubicBezTo>
                    <a:pt x="95" y="58"/>
                    <a:pt x="95" y="58"/>
                    <a:pt x="95" y="59"/>
                  </a:cubicBezTo>
                  <a:cubicBezTo>
                    <a:pt x="96" y="60"/>
                    <a:pt x="96" y="60"/>
                    <a:pt x="96" y="60"/>
                  </a:cubicBezTo>
                  <a:cubicBezTo>
                    <a:pt x="97" y="62"/>
                    <a:pt x="97" y="60"/>
                    <a:pt x="97" y="62"/>
                  </a:cubicBezTo>
                  <a:cubicBezTo>
                    <a:pt x="96" y="63"/>
                    <a:pt x="94" y="64"/>
                    <a:pt x="94" y="65"/>
                  </a:cubicBezTo>
                  <a:cubicBezTo>
                    <a:pt x="92" y="65"/>
                    <a:pt x="90" y="67"/>
                    <a:pt x="88" y="67"/>
                  </a:cubicBezTo>
                  <a:cubicBezTo>
                    <a:pt x="86" y="66"/>
                    <a:pt x="88" y="65"/>
                    <a:pt x="86" y="65"/>
                  </a:cubicBezTo>
                  <a:cubicBezTo>
                    <a:pt x="84" y="64"/>
                    <a:pt x="80" y="66"/>
                    <a:pt x="78" y="67"/>
                  </a:cubicBezTo>
                  <a:cubicBezTo>
                    <a:pt x="76" y="68"/>
                    <a:pt x="73" y="69"/>
                    <a:pt x="71" y="70"/>
                  </a:cubicBezTo>
                  <a:cubicBezTo>
                    <a:pt x="68" y="71"/>
                    <a:pt x="67" y="72"/>
                    <a:pt x="68" y="75"/>
                  </a:cubicBezTo>
                  <a:cubicBezTo>
                    <a:pt x="69" y="78"/>
                    <a:pt x="72" y="78"/>
                    <a:pt x="75" y="79"/>
                  </a:cubicBezTo>
                  <a:cubicBezTo>
                    <a:pt x="77" y="80"/>
                    <a:pt x="80" y="81"/>
                    <a:pt x="81" y="83"/>
                  </a:cubicBezTo>
                  <a:cubicBezTo>
                    <a:pt x="81" y="84"/>
                    <a:pt x="82" y="85"/>
                    <a:pt x="82" y="86"/>
                  </a:cubicBezTo>
                  <a:cubicBezTo>
                    <a:pt x="83" y="88"/>
                    <a:pt x="82" y="90"/>
                    <a:pt x="82" y="91"/>
                  </a:cubicBezTo>
                  <a:cubicBezTo>
                    <a:pt x="82" y="93"/>
                    <a:pt x="82" y="95"/>
                    <a:pt x="80" y="97"/>
                  </a:cubicBezTo>
                  <a:cubicBezTo>
                    <a:pt x="79" y="98"/>
                    <a:pt x="77" y="99"/>
                    <a:pt x="75" y="99"/>
                  </a:cubicBezTo>
                  <a:cubicBezTo>
                    <a:pt x="74" y="99"/>
                    <a:pt x="72" y="98"/>
                    <a:pt x="71" y="99"/>
                  </a:cubicBezTo>
                  <a:cubicBezTo>
                    <a:pt x="69" y="100"/>
                    <a:pt x="70" y="102"/>
                    <a:pt x="69" y="103"/>
                  </a:cubicBezTo>
                  <a:cubicBezTo>
                    <a:pt x="68" y="104"/>
                    <a:pt x="67" y="105"/>
                    <a:pt x="65" y="105"/>
                  </a:cubicBezTo>
                  <a:cubicBezTo>
                    <a:pt x="63" y="106"/>
                    <a:pt x="60" y="104"/>
                    <a:pt x="60" y="108"/>
                  </a:cubicBezTo>
                  <a:cubicBezTo>
                    <a:pt x="63" y="108"/>
                    <a:pt x="68" y="108"/>
                    <a:pt x="66" y="112"/>
                  </a:cubicBezTo>
                  <a:cubicBezTo>
                    <a:pt x="66" y="115"/>
                    <a:pt x="64" y="116"/>
                    <a:pt x="65" y="119"/>
                  </a:cubicBezTo>
                  <a:cubicBezTo>
                    <a:pt x="67" y="117"/>
                    <a:pt x="66" y="124"/>
                    <a:pt x="66" y="125"/>
                  </a:cubicBezTo>
                  <a:cubicBezTo>
                    <a:pt x="69" y="122"/>
                    <a:pt x="70" y="121"/>
                    <a:pt x="73" y="121"/>
                  </a:cubicBezTo>
                  <a:cubicBezTo>
                    <a:pt x="75" y="121"/>
                    <a:pt x="75" y="122"/>
                    <a:pt x="75" y="120"/>
                  </a:cubicBezTo>
                  <a:cubicBezTo>
                    <a:pt x="76" y="119"/>
                    <a:pt x="75" y="118"/>
                    <a:pt x="75" y="117"/>
                  </a:cubicBezTo>
                  <a:cubicBezTo>
                    <a:pt x="79" y="116"/>
                    <a:pt x="85" y="118"/>
                    <a:pt x="87" y="121"/>
                  </a:cubicBezTo>
                  <a:cubicBezTo>
                    <a:pt x="87" y="123"/>
                    <a:pt x="88" y="123"/>
                    <a:pt x="86" y="124"/>
                  </a:cubicBezTo>
                  <a:cubicBezTo>
                    <a:pt x="85" y="124"/>
                    <a:pt x="83" y="124"/>
                    <a:pt x="81" y="124"/>
                  </a:cubicBezTo>
                  <a:cubicBezTo>
                    <a:pt x="79" y="124"/>
                    <a:pt x="78" y="124"/>
                    <a:pt x="77" y="126"/>
                  </a:cubicBezTo>
                  <a:cubicBezTo>
                    <a:pt x="77" y="126"/>
                    <a:pt x="77" y="128"/>
                    <a:pt x="76" y="128"/>
                  </a:cubicBezTo>
                  <a:cubicBezTo>
                    <a:pt x="74" y="129"/>
                    <a:pt x="73" y="128"/>
                    <a:pt x="72" y="130"/>
                  </a:cubicBezTo>
                  <a:cubicBezTo>
                    <a:pt x="71" y="131"/>
                    <a:pt x="71" y="132"/>
                    <a:pt x="71" y="133"/>
                  </a:cubicBezTo>
                  <a:cubicBezTo>
                    <a:pt x="70" y="133"/>
                    <a:pt x="67" y="134"/>
                    <a:pt x="67" y="133"/>
                  </a:cubicBezTo>
                  <a:cubicBezTo>
                    <a:pt x="66" y="133"/>
                    <a:pt x="67" y="132"/>
                    <a:pt x="67" y="131"/>
                  </a:cubicBezTo>
                  <a:cubicBezTo>
                    <a:pt x="64" y="130"/>
                    <a:pt x="63" y="131"/>
                    <a:pt x="64" y="133"/>
                  </a:cubicBezTo>
                  <a:cubicBezTo>
                    <a:pt x="65" y="135"/>
                    <a:pt x="66" y="138"/>
                    <a:pt x="65" y="139"/>
                  </a:cubicBezTo>
                  <a:cubicBezTo>
                    <a:pt x="64" y="141"/>
                    <a:pt x="63" y="141"/>
                    <a:pt x="62" y="141"/>
                  </a:cubicBezTo>
                  <a:cubicBezTo>
                    <a:pt x="61" y="142"/>
                    <a:pt x="60" y="142"/>
                    <a:pt x="59" y="143"/>
                  </a:cubicBezTo>
                  <a:cubicBezTo>
                    <a:pt x="58" y="144"/>
                    <a:pt x="57" y="145"/>
                    <a:pt x="56" y="146"/>
                  </a:cubicBezTo>
                  <a:cubicBezTo>
                    <a:pt x="54" y="149"/>
                    <a:pt x="53" y="151"/>
                    <a:pt x="50" y="153"/>
                  </a:cubicBezTo>
                  <a:cubicBezTo>
                    <a:pt x="49" y="154"/>
                    <a:pt x="49" y="154"/>
                    <a:pt x="49" y="155"/>
                  </a:cubicBezTo>
                  <a:cubicBezTo>
                    <a:pt x="48" y="157"/>
                    <a:pt x="49" y="159"/>
                    <a:pt x="49" y="161"/>
                  </a:cubicBezTo>
                  <a:cubicBezTo>
                    <a:pt x="49" y="160"/>
                    <a:pt x="50" y="159"/>
                    <a:pt x="50" y="158"/>
                  </a:cubicBezTo>
                  <a:cubicBezTo>
                    <a:pt x="51" y="157"/>
                    <a:pt x="50" y="156"/>
                    <a:pt x="49" y="155"/>
                  </a:cubicBezTo>
                  <a:cubicBezTo>
                    <a:pt x="47" y="154"/>
                    <a:pt x="47" y="154"/>
                    <a:pt x="45" y="154"/>
                  </a:cubicBezTo>
                  <a:cubicBezTo>
                    <a:pt x="44" y="154"/>
                    <a:pt x="43" y="153"/>
                    <a:pt x="42" y="154"/>
                  </a:cubicBezTo>
                  <a:cubicBezTo>
                    <a:pt x="41" y="154"/>
                    <a:pt x="40" y="154"/>
                    <a:pt x="39" y="154"/>
                  </a:cubicBezTo>
                  <a:cubicBezTo>
                    <a:pt x="38" y="154"/>
                    <a:pt x="37" y="154"/>
                    <a:pt x="36" y="154"/>
                  </a:cubicBezTo>
                  <a:cubicBezTo>
                    <a:pt x="35" y="154"/>
                    <a:pt x="35" y="154"/>
                    <a:pt x="34" y="155"/>
                  </a:cubicBezTo>
                  <a:cubicBezTo>
                    <a:pt x="33" y="155"/>
                    <a:pt x="29" y="156"/>
                    <a:pt x="28" y="155"/>
                  </a:cubicBezTo>
                  <a:cubicBezTo>
                    <a:pt x="27" y="154"/>
                    <a:pt x="28" y="153"/>
                    <a:pt x="27" y="153"/>
                  </a:cubicBezTo>
                  <a:cubicBezTo>
                    <a:pt x="27" y="152"/>
                    <a:pt x="26" y="151"/>
                    <a:pt x="25" y="151"/>
                  </a:cubicBezTo>
                  <a:cubicBezTo>
                    <a:pt x="21" y="149"/>
                    <a:pt x="18" y="147"/>
                    <a:pt x="14" y="147"/>
                  </a:cubicBezTo>
                  <a:cubicBezTo>
                    <a:pt x="11" y="147"/>
                    <a:pt x="11" y="146"/>
                    <a:pt x="10" y="144"/>
                  </a:cubicBezTo>
                  <a:cubicBezTo>
                    <a:pt x="8" y="143"/>
                    <a:pt x="5" y="142"/>
                    <a:pt x="7" y="139"/>
                  </a:cubicBezTo>
                  <a:cubicBezTo>
                    <a:pt x="7" y="139"/>
                    <a:pt x="7" y="138"/>
                    <a:pt x="8" y="137"/>
                  </a:cubicBezTo>
                  <a:cubicBezTo>
                    <a:pt x="8" y="137"/>
                    <a:pt x="9" y="137"/>
                    <a:pt x="10" y="137"/>
                  </a:cubicBezTo>
                  <a:cubicBezTo>
                    <a:pt x="10" y="136"/>
                    <a:pt x="11" y="136"/>
                    <a:pt x="10" y="135"/>
                  </a:cubicBezTo>
                  <a:cubicBezTo>
                    <a:pt x="10" y="135"/>
                    <a:pt x="10" y="134"/>
                    <a:pt x="9" y="134"/>
                  </a:cubicBezTo>
                  <a:cubicBezTo>
                    <a:pt x="9" y="134"/>
                    <a:pt x="9" y="134"/>
                    <a:pt x="9" y="133"/>
                  </a:cubicBezTo>
                  <a:cubicBezTo>
                    <a:pt x="8" y="132"/>
                    <a:pt x="8" y="130"/>
                    <a:pt x="9" y="129"/>
                  </a:cubicBezTo>
                  <a:cubicBezTo>
                    <a:pt x="9" y="127"/>
                    <a:pt x="10" y="126"/>
                    <a:pt x="12" y="125"/>
                  </a:cubicBezTo>
                  <a:cubicBezTo>
                    <a:pt x="13" y="125"/>
                    <a:pt x="14" y="124"/>
                    <a:pt x="15" y="125"/>
                  </a:cubicBezTo>
                  <a:cubicBezTo>
                    <a:pt x="16" y="125"/>
                    <a:pt x="16" y="125"/>
                    <a:pt x="16" y="126"/>
                  </a:cubicBezTo>
                  <a:cubicBezTo>
                    <a:pt x="17" y="126"/>
                    <a:pt x="18" y="127"/>
                    <a:pt x="19" y="128"/>
                  </a:cubicBezTo>
                  <a:cubicBezTo>
                    <a:pt x="20" y="128"/>
                    <a:pt x="21" y="128"/>
                    <a:pt x="22" y="128"/>
                  </a:cubicBezTo>
                  <a:cubicBezTo>
                    <a:pt x="22" y="128"/>
                    <a:pt x="22" y="128"/>
                    <a:pt x="23" y="128"/>
                  </a:cubicBezTo>
                  <a:cubicBezTo>
                    <a:pt x="23" y="128"/>
                    <a:pt x="24" y="130"/>
                    <a:pt x="24" y="130"/>
                  </a:cubicBezTo>
                  <a:cubicBezTo>
                    <a:pt x="26" y="132"/>
                    <a:pt x="28" y="133"/>
                    <a:pt x="30" y="132"/>
                  </a:cubicBezTo>
                  <a:cubicBezTo>
                    <a:pt x="32" y="132"/>
                    <a:pt x="32" y="132"/>
                    <a:pt x="33" y="133"/>
                  </a:cubicBezTo>
                  <a:cubicBezTo>
                    <a:pt x="34" y="135"/>
                    <a:pt x="35" y="137"/>
                    <a:pt x="37" y="135"/>
                  </a:cubicBezTo>
                  <a:cubicBezTo>
                    <a:pt x="38" y="134"/>
                    <a:pt x="38" y="133"/>
                    <a:pt x="40" y="132"/>
                  </a:cubicBezTo>
                  <a:cubicBezTo>
                    <a:pt x="40" y="132"/>
                    <a:pt x="41" y="132"/>
                    <a:pt x="42" y="132"/>
                  </a:cubicBezTo>
                  <a:cubicBezTo>
                    <a:pt x="42" y="130"/>
                    <a:pt x="41" y="128"/>
                    <a:pt x="42" y="127"/>
                  </a:cubicBezTo>
                  <a:cubicBezTo>
                    <a:pt x="43" y="126"/>
                    <a:pt x="46" y="124"/>
                    <a:pt x="47" y="125"/>
                  </a:cubicBezTo>
                  <a:cubicBezTo>
                    <a:pt x="48" y="125"/>
                    <a:pt x="48" y="126"/>
                    <a:pt x="49" y="127"/>
                  </a:cubicBezTo>
                  <a:cubicBezTo>
                    <a:pt x="49" y="125"/>
                    <a:pt x="48" y="120"/>
                    <a:pt x="49" y="119"/>
                  </a:cubicBezTo>
                  <a:cubicBezTo>
                    <a:pt x="50" y="119"/>
                    <a:pt x="52" y="121"/>
                    <a:pt x="52" y="121"/>
                  </a:cubicBezTo>
                  <a:cubicBezTo>
                    <a:pt x="54" y="123"/>
                    <a:pt x="54" y="123"/>
                    <a:pt x="56" y="124"/>
                  </a:cubicBezTo>
                  <a:cubicBezTo>
                    <a:pt x="57" y="124"/>
                    <a:pt x="57" y="125"/>
                    <a:pt x="58" y="125"/>
                  </a:cubicBezTo>
                  <a:cubicBezTo>
                    <a:pt x="58" y="124"/>
                    <a:pt x="58" y="123"/>
                    <a:pt x="58" y="123"/>
                  </a:cubicBezTo>
                  <a:cubicBezTo>
                    <a:pt x="57" y="121"/>
                    <a:pt x="52" y="119"/>
                    <a:pt x="51" y="119"/>
                  </a:cubicBezTo>
                  <a:cubicBezTo>
                    <a:pt x="50" y="117"/>
                    <a:pt x="48" y="115"/>
                    <a:pt x="46" y="113"/>
                  </a:cubicBezTo>
                  <a:cubicBezTo>
                    <a:pt x="44" y="112"/>
                    <a:pt x="44" y="111"/>
                    <a:pt x="44" y="109"/>
                  </a:cubicBezTo>
                  <a:cubicBezTo>
                    <a:pt x="44" y="106"/>
                    <a:pt x="44" y="106"/>
                    <a:pt x="41" y="104"/>
                  </a:cubicBezTo>
                  <a:cubicBezTo>
                    <a:pt x="39" y="104"/>
                    <a:pt x="38" y="104"/>
                    <a:pt x="36" y="103"/>
                  </a:cubicBezTo>
                  <a:cubicBezTo>
                    <a:pt x="35" y="103"/>
                    <a:pt x="35" y="103"/>
                    <a:pt x="34" y="102"/>
                  </a:cubicBezTo>
                  <a:cubicBezTo>
                    <a:pt x="33" y="102"/>
                    <a:pt x="31" y="102"/>
                    <a:pt x="29" y="102"/>
                  </a:cubicBezTo>
                  <a:cubicBezTo>
                    <a:pt x="28" y="102"/>
                    <a:pt x="27" y="103"/>
                    <a:pt x="26" y="103"/>
                  </a:cubicBezTo>
                  <a:cubicBezTo>
                    <a:pt x="25" y="103"/>
                    <a:pt x="23" y="101"/>
                    <a:pt x="22" y="100"/>
                  </a:cubicBezTo>
                  <a:cubicBezTo>
                    <a:pt x="21" y="100"/>
                    <a:pt x="18" y="98"/>
                    <a:pt x="18" y="98"/>
                  </a:cubicBezTo>
                  <a:cubicBezTo>
                    <a:pt x="18" y="97"/>
                    <a:pt x="18" y="96"/>
                    <a:pt x="18" y="96"/>
                  </a:cubicBezTo>
                  <a:cubicBezTo>
                    <a:pt x="18" y="93"/>
                    <a:pt x="17" y="77"/>
                    <a:pt x="13" y="78"/>
                  </a:cubicBezTo>
                  <a:cubicBezTo>
                    <a:pt x="12" y="80"/>
                    <a:pt x="13" y="82"/>
                    <a:pt x="13" y="84"/>
                  </a:cubicBezTo>
                  <a:cubicBezTo>
                    <a:pt x="13" y="82"/>
                    <a:pt x="12" y="77"/>
                    <a:pt x="14" y="76"/>
                  </a:cubicBezTo>
                  <a:cubicBezTo>
                    <a:pt x="14" y="75"/>
                    <a:pt x="16" y="75"/>
                    <a:pt x="15" y="73"/>
                  </a:cubicBezTo>
                  <a:cubicBezTo>
                    <a:pt x="14" y="71"/>
                    <a:pt x="11" y="71"/>
                    <a:pt x="10" y="68"/>
                  </a:cubicBezTo>
                  <a:cubicBezTo>
                    <a:pt x="9" y="67"/>
                    <a:pt x="10" y="65"/>
                    <a:pt x="10" y="64"/>
                  </a:cubicBezTo>
                  <a:cubicBezTo>
                    <a:pt x="10" y="63"/>
                    <a:pt x="10" y="62"/>
                    <a:pt x="10" y="61"/>
                  </a:cubicBezTo>
                  <a:cubicBezTo>
                    <a:pt x="9" y="58"/>
                    <a:pt x="5" y="58"/>
                    <a:pt x="3" y="56"/>
                  </a:cubicBezTo>
                  <a:cubicBezTo>
                    <a:pt x="2" y="55"/>
                    <a:pt x="2" y="55"/>
                    <a:pt x="2" y="53"/>
                  </a:cubicBezTo>
                  <a:cubicBezTo>
                    <a:pt x="1" y="52"/>
                    <a:pt x="0" y="51"/>
                    <a:pt x="1" y="50"/>
                  </a:cubicBezTo>
                  <a:cubicBezTo>
                    <a:pt x="2" y="49"/>
                    <a:pt x="3" y="49"/>
                    <a:pt x="4" y="50"/>
                  </a:cubicBezTo>
                  <a:cubicBezTo>
                    <a:pt x="5" y="51"/>
                    <a:pt x="6" y="53"/>
                    <a:pt x="7" y="54"/>
                  </a:cubicBezTo>
                  <a:cubicBezTo>
                    <a:pt x="9" y="55"/>
                    <a:pt x="10" y="50"/>
                    <a:pt x="11" y="49"/>
                  </a:cubicBezTo>
                  <a:cubicBezTo>
                    <a:pt x="13" y="46"/>
                    <a:pt x="16" y="51"/>
                    <a:pt x="18" y="50"/>
                  </a:cubicBezTo>
                  <a:cubicBezTo>
                    <a:pt x="21" y="50"/>
                    <a:pt x="23" y="45"/>
                    <a:pt x="25" y="43"/>
                  </a:cubicBezTo>
                  <a:cubicBezTo>
                    <a:pt x="27" y="42"/>
                    <a:pt x="28" y="41"/>
                    <a:pt x="30" y="41"/>
                  </a:cubicBezTo>
                  <a:cubicBezTo>
                    <a:pt x="31" y="40"/>
                    <a:pt x="35" y="40"/>
                    <a:pt x="34" y="37"/>
                  </a:cubicBezTo>
                  <a:cubicBezTo>
                    <a:pt x="34" y="36"/>
                    <a:pt x="33" y="36"/>
                    <a:pt x="32" y="35"/>
                  </a:cubicBezTo>
                  <a:cubicBezTo>
                    <a:pt x="31" y="35"/>
                    <a:pt x="30" y="34"/>
                    <a:pt x="28" y="33"/>
                  </a:cubicBezTo>
                  <a:cubicBezTo>
                    <a:pt x="26" y="31"/>
                    <a:pt x="24" y="31"/>
                    <a:pt x="21" y="30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3" y="27"/>
                    <a:pt x="25" y="29"/>
                    <a:pt x="28" y="30"/>
                  </a:cubicBezTo>
                  <a:cubicBezTo>
                    <a:pt x="30" y="31"/>
                    <a:pt x="32" y="31"/>
                    <a:pt x="34" y="31"/>
                  </a:cubicBezTo>
                  <a:cubicBezTo>
                    <a:pt x="35" y="30"/>
                    <a:pt x="36" y="30"/>
                    <a:pt x="36" y="29"/>
                  </a:cubicBezTo>
                  <a:cubicBezTo>
                    <a:pt x="40" y="28"/>
                    <a:pt x="45" y="28"/>
                    <a:pt x="48" y="28"/>
                  </a:cubicBezTo>
                  <a:cubicBezTo>
                    <a:pt x="49" y="30"/>
                    <a:pt x="50" y="34"/>
                    <a:pt x="49" y="35"/>
                  </a:cubicBezTo>
                  <a:cubicBezTo>
                    <a:pt x="49" y="36"/>
                    <a:pt x="46" y="36"/>
                    <a:pt x="46" y="37"/>
                  </a:cubicBezTo>
                  <a:cubicBezTo>
                    <a:pt x="45" y="39"/>
                    <a:pt x="46" y="41"/>
                    <a:pt x="46" y="43"/>
                  </a:cubicBezTo>
                  <a:lnTo>
                    <a:pt x="45" y="4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8" name="Freeform 108">
              <a:extLst>
                <a:ext uri="{FF2B5EF4-FFF2-40B4-BE49-F238E27FC236}">
                  <a16:creationId xmlns:a16="http://schemas.microsoft.com/office/drawing/2014/main" id="{3E1BF1B9-7600-4524-884B-BA67FDD25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0938" y="3663950"/>
              <a:ext cx="55563" cy="58738"/>
            </a:xfrm>
            <a:custGeom>
              <a:avLst/>
              <a:gdLst/>
              <a:ahLst/>
              <a:cxnLst>
                <a:cxn ang="0">
                  <a:pos x="26" y="15"/>
                </a:cxn>
                <a:cxn ang="0">
                  <a:pos x="20" y="8"/>
                </a:cxn>
                <a:cxn ang="0">
                  <a:pos x="9" y="0"/>
                </a:cxn>
                <a:cxn ang="0">
                  <a:pos x="2" y="5"/>
                </a:cxn>
                <a:cxn ang="0">
                  <a:pos x="3" y="18"/>
                </a:cxn>
                <a:cxn ang="0">
                  <a:pos x="10" y="29"/>
                </a:cxn>
                <a:cxn ang="0">
                  <a:pos x="19" y="31"/>
                </a:cxn>
                <a:cxn ang="0">
                  <a:pos x="28" y="28"/>
                </a:cxn>
                <a:cxn ang="0">
                  <a:pos x="28" y="16"/>
                </a:cxn>
              </a:cxnLst>
              <a:rect l="0" t="0" r="r" b="b"/>
              <a:pathLst>
                <a:path w="30" h="32">
                  <a:moveTo>
                    <a:pt x="26" y="15"/>
                  </a:moveTo>
                  <a:cubicBezTo>
                    <a:pt x="25" y="12"/>
                    <a:pt x="22" y="10"/>
                    <a:pt x="20" y="8"/>
                  </a:cubicBezTo>
                  <a:cubicBezTo>
                    <a:pt x="17" y="5"/>
                    <a:pt x="13" y="0"/>
                    <a:pt x="9" y="0"/>
                  </a:cubicBezTo>
                  <a:cubicBezTo>
                    <a:pt x="7" y="0"/>
                    <a:pt x="3" y="3"/>
                    <a:pt x="2" y="5"/>
                  </a:cubicBezTo>
                  <a:cubicBezTo>
                    <a:pt x="0" y="8"/>
                    <a:pt x="2" y="15"/>
                    <a:pt x="3" y="18"/>
                  </a:cubicBezTo>
                  <a:cubicBezTo>
                    <a:pt x="5" y="22"/>
                    <a:pt x="7" y="26"/>
                    <a:pt x="10" y="29"/>
                  </a:cubicBezTo>
                  <a:cubicBezTo>
                    <a:pt x="12" y="32"/>
                    <a:pt x="15" y="32"/>
                    <a:pt x="19" y="31"/>
                  </a:cubicBezTo>
                  <a:cubicBezTo>
                    <a:pt x="22" y="31"/>
                    <a:pt x="27" y="31"/>
                    <a:pt x="28" y="28"/>
                  </a:cubicBezTo>
                  <a:cubicBezTo>
                    <a:pt x="30" y="26"/>
                    <a:pt x="30" y="18"/>
                    <a:pt x="28" y="16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39" name="Freeform 109">
              <a:extLst>
                <a:ext uri="{FF2B5EF4-FFF2-40B4-BE49-F238E27FC236}">
                  <a16:creationId xmlns:a16="http://schemas.microsoft.com/office/drawing/2014/main" id="{F73FBC9C-CE66-4DE2-87F6-4968BE14C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5113" y="3727450"/>
              <a:ext cx="927100" cy="1235075"/>
            </a:xfrm>
            <a:custGeom>
              <a:avLst/>
              <a:gdLst/>
              <a:ahLst/>
              <a:cxnLst>
                <a:cxn ang="0">
                  <a:pos x="480" y="297"/>
                </a:cxn>
                <a:cxn ang="0">
                  <a:pos x="483" y="257"/>
                </a:cxn>
                <a:cxn ang="0">
                  <a:pos x="476" y="216"/>
                </a:cxn>
                <a:cxn ang="0">
                  <a:pos x="458" y="173"/>
                </a:cxn>
                <a:cxn ang="0">
                  <a:pos x="446" y="106"/>
                </a:cxn>
                <a:cxn ang="0">
                  <a:pos x="445" y="78"/>
                </a:cxn>
                <a:cxn ang="0">
                  <a:pos x="401" y="61"/>
                </a:cxn>
                <a:cxn ang="0">
                  <a:pos x="426" y="54"/>
                </a:cxn>
                <a:cxn ang="0">
                  <a:pos x="419" y="31"/>
                </a:cxn>
                <a:cxn ang="0">
                  <a:pos x="405" y="38"/>
                </a:cxn>
                <a:cxn ang="0">
                  <a:pos x="398" y="38"/>
                </a:cxn>
                <a:cxn ang="0">
                  <a:pos x="390" y="49"/>
                </a:cxn>
                <a:cxn ang="0">
                  <a:pos x="352" y="57"/>
                </a:cxn>
                <a:cxn ang="0">
                  <a:pos x="321" y="60"/>
                </a:cxn>
                <a:cxn ang="0">
                  <a:pos x="304" y="84"/>
                </a:cxn>
                <a:cxn ang="0">
                  <a:pos x="286" y="66"/>
                </a:cxn>
                <a:cxn ang="0">
                  <a:pos x="282" y="34"/>
                </a:cxn>
                <a:cxn ang="0">
                  <a:pos x="256" y="48"/>
                </a:cxn>
                <a:cxn ang="0">
                  <a:pos x="223" y="42"/>
                </a:cxn>
                <a:cxn ang="0">
                  <a:pos x="222" y="10"/>
                </a:cxn>
                <a:cxn ang="0">
                  <a:pos x="187" y="11"/>
                </a:cxn>
                <a:cxn ang="0">
                  <a:pos x="157" y="1"/>
                </a:cxn>
                <a:cxn ang="0">
                  <a:pos x="163" y="30"/>
                </a:cxn>
                <a:cxn ang="0">
                  <a:pos x="173" y="41"/>
                </a:cxn>
                <a:cxn ang="0">
                  <a:pos x="155" y="59"/>
                </a:cxn>
                <a:cxn ang="0">
                  <a:pos x="158" y="74"/>
                </a:cxn>
                <a:cxn ang="0">
                  <a:pos x="169" y="96"/>
                </a:cxn>
                <a:cxn ang="0">
                  <a:pos x="169" y="101"/>
                </a:cxn>
                <a:cxn ang="0">
                  <a:pos x="138" y="113"/>
                </a:cxn>
                <a:cxn ang="0">
                  <a:pos x="123" y="134"/>
                </a:cxn>
                <a:cxn ang="0">
                  <a:pos x="96" y="112"/>
                </a:cxn>
                <a:cxn ang="0">
                  <a:pos x="66" y="146"/>
                </a:cxn>
                <a:cxn ang="0">
                  <a:pos x="56" y="203"/>
                </a:cxn>
                <a:cxn ang="0">
                  <a:pos x="59" y="228"/>
                </a:cxn>
                <a:cxn ang="0">
                  <a:pos x="43" y="265"/>
                </a:cxn>
                <a:cxn ang="0">
                  <a:pos x="0" y="283"/>
                </a:cxn>
                <a:cxn ang="0">
                  <a:pos x="10" y="324"/>
                </a:cxn>
                <a:cxn ang="0">
                  <a:pos x="4" y="351"/>
                </a:cxn>
                <a:cxn ang="0">
                  <a:pos x="1" y="377"/>
                </a:cxn>
                <a:cxn ang="0">
                  <a:pos x="13" y="414"/>
                </a:cxn>
                <a:cxn ang="0">
                  <a:pos x="28" y="457"/>
                </a:cxn>
                <a:cxn ang="0">
                  <a:pos x="79" y="505"/>
                </a:cxn>
                <a:cxn ang="0">
                  <a:pos x="95" y="563"/>
                </a:cxn>
                <a:cxn ang="0">
                  <a:pos x="110" y="637"/>
                </a:cxn>
                <a:cxn ang="0">
                  <a:pos x="147" y="627"/>
                </a:cxn>
                <a:cxn ang="0">
                  <a:pos x="189" y="640"/>
                </a:cxn>
                <a:cxn ang="0">
                  <a:pos x="233" y="655"/>
                </a:cxn>
                <a:cxn ang="0">
                  <a:pos x="289" y="643"/>
                </a:cxn>
                <a:cxn ang="0">
                  <a:pos x="341" y="629"/>
                </a:cxn>
                <a:cxn ang="0">
                  <a:pos x="375" y="634"/>
                </a:cxn>
                <a:cxn ang="0">
                  <a:pos x="364" y="603"/>
                </a:cxn>
                <a:cxn ang="0">
                  <a:pos x="398" y="571"/>
                </a:cxn>
                <a:cxn ang="0">
                  <a:pos x="418" y="552"/>
                </a:cxn>
                <a:cxn ang="0">
                  <a:pos x="398" y="517"/>
                </a:cxn>
                <a:cxn ang="0">
                  <a:pos x="365" y="488"/>
                </a:cxn>
                <a:cxn ang="0">
                  <a:pos x="354" y="445"/>
                </a:cxn>
                <a:cxn ang="0">
                  <a:pos x="339" y="413"/>
                </a:cxn>
                <a:cxn ang="0">
                  <a:pos x="361" y="401"/>
                </a:cxn>
                <a:cxn ang="0">
                  <a:pos x="392" y="392"/>
                </a:cxn>
                <a:cxn ang="0">
                  <a:pos x="412" y="380"/>
                </a:cxn>
                <a:cxn ang="0">
                  <a:pos x="446" y="363"/>
                </a:cxn>
                <a:cxn ang="0">
                  <a:pos x="472" y="359"/>
                </a:cxn>
                <a:cxn ang="0">
                  <a:pos x="496" y="326"/>
                </a:cxn>
              </a:cxnLst>
              <a:rect l="0" t="0" r="r" b="b"/>
              <a:pathLst>
                <a:path w="496" h="661">
                  <a:moveTo>
                    <a:pt x="496" y="323"/>
                  </a:moveTo>
                  <a:cubicBezTo>
                    <a:pt x="495" y="322"/>
                    <a:pt x="495" y="321"/>
                    <a:pt x="494" y="320"/>
                  </a:cubicBezTo>
                  <a:cubicBezTo>
                    <a:pt x="494" y="319"/>
                    <a:pt x="493" y="318"/>
                    <a:pt x="492" y="317"/>
                  </a:cubicBezTo>
                  <a:cubicBezTo>
                    <a:pt x="492" y="317"/>
                    <a:pt x="491" y="317"/>
                    <a:pt x="491" y="316"/>
                  </a:cubicBezTo>
                  <a:cubicBezTo>
                    <a:pt x="491" y="316"/>
                    <a:pt x="491" y="315"/>
                    <a:pt x="490" y="314"/>
                  </a:cubicBezTo>
                  <a:cubicBezTo>
                    <a:pt x="490" y="312"/>
                    <a:pt x="490" y="311"/>
                    <a:pt x="489" y="309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6"/>
                    <a:pt x="484" y="306"/>
                    <a:pt x="483" y="305"/>
                  </a:cubicBezTo>
                  <a:cubicBezTo>
                    <a:pt x="482" y="304"/>
                    <a:pt x="481" y="303"/>
                    <a:pt x="479" y="302"/>
                  </a:cubicBezTo>
                  <a:cubicBezTo>
                    <a:pt x="478" y="301"/>
                    <a:pt x="478" y="301"/>
                    <a:pt x="478" y="301"/>
                  </a:cubicBezTo>
                  <a:cubicBezTo>
                    <a:pt x="477" y="300"/>
                    <a:pt x="476" y="299"/>
                    <a:pt x="477" y="298"/>
                  </a:cubicBezTo>
                  <a:cubicBezTo>
                    <a:pt x="478" y="298"/>
                    <a:pt x="479" y="298"/>
                    <a:pt x="479" y="297"/>
                  </a:cubicBezTo>
                  <a:cubicBezTo>
                    <a:pt x="479" y="297"/>
                    <a:pt x="480" y="297"/>
                    <a:pt x="480" y="297"/>
                  </a:cubicBezTo>
                  <a:cubicBezTo>
                    <a:pt x="480" y="296"/>
                    <a:pt x="481" y="296"/>
                    <a:pt x="481" y="295"/>
                  </a:cubicBezTo>
                  <a:cubicBezTo>
                    <a:pt x="481" y="293"/>
                    <a:pt x="480" y="291"/>
                    <a:pt x="480" y="289"/>
                  </a:cubicBezTo>
                  <a:cubicBezTo>
                    <a:pt x="480" y="290"/>
                    <a:pt x="479" y="288"/>
                    <a:pt x="479" y="288"/>
                  </a:cubicBezTo>
                  <a:cubicBezTo>
                    <a:pt x="479" y="288"/>
                    <a:pt x="478" y="288"/>
                    <a:pt x="478" y="287"/>
                  </a:cubicBezTo>
                  <a:cubicBezTo>
                    <a:pt x="478" y="287"/>
                    <a:pt x="478" y="286"/>
                    <a:pt x="478" y="286"/>
                  </a:cubicBezTo>
                  <a:cubicBezTo>
                    <a:pt x="477" y="284"/>
                    <a:pt x="475" y="282"/>
                    <a:pt x="474" y="280"/>
                  </a:cubicBezTo>
                  <a:cubicBezTo>
                    <a:pt x="475" y="279"/>
                    <a:pt x="476" y="278"/>
                    <a:pt x="477" y="278"/>
                  </a:cubicBezTo>
                  <a:cubicBezTo>
                    <a:pt x="476" y="278"/>
                    <a:pt x="475" y="279"/>
                    <a:pt x="474" y="278"/>
                  </a:cubicBezTo>
                  <a:cubicBezTo>
                    <a:pt x="474" y="277"/>
                    <a:pt x="474" y="274"/>
                    <a:pt x="474" y="273"/>
                  </a:cubicBezTo>
                  <a:cubicBezTo>
                    <a:pt x="474" y="270"/>
                    <a:pt x="473" y="269"/>
                    <a:pt x="477" y="268"/>
                  </a:cubicBezTo>
                  <a:cubicBezTo>
                    <a:pt x="479" y="268"/>
                    <a:pt x="481" y="268"/>
                    <a:pt x="482" y="266"/>
                  </a:cubicBezTo>
                  <a:cubicBezTo>
                    <a:pt x="482" y="265"/>
                    <a:pt x="482" y="265"/>
                    <a:pt x="482" y="265"/>
                  </a:cubicBezTo>
                  <a:cubicBezTo>
                    <a:pt x="482" y="262"/>
                    <a:pt x="482" y="260"/>
                    <a:pt x="483" y="257"/>
                  </a:cubicBezTo>
                  <a:cubicBezTo>
                    <a:pt x="483" y="254"/>
                    <a:pt x="485" y="251"/>
                    <a:pt x="482" y="249"/>
                  </a:cubicBezTo>
                  <a:cubicBezTo>
                    <a:pt x="482" y="248"/>
                    <a:pt x="479" y="247"/>
                    <a:pt x="479" y="246"/>
                  </a:cubicBezTo>
                  <a:cubicBezTo>
                    <a:pt x="478" y="245"/>
                    <a:pt x="479" y="245"/>
                    <a:pt x="479" y="244"/>
                  </a:cubicBezTo>
                  <a:cubicBezTo>
                    <a:pt x="479" y="243"/>
                    <a:pt x="478" y="242"/>
                    <a:pt x="478" y="240"/>
                  </a:cubicBezTo>
                  <a:cubicBezTo>
                    <a:pt x="478" y="240"/>
                    <a:pt x="478" y="238"/>
                    <a:pt x="478" y="238"/>
                  </a:cubicBezTo>
                  <a:cubicBezTo>
                    <a:pt x="477" y="237"/>
                    <a:pt x="476" y="237"/>
                    <a:pt x="476" y="237"/>
                  </a:cubicBezTo>
                  <a:cubicBezTo>
                    <a:pt x="476" y="237"/>
                    <a:pt x="476" y="236"/>
                    <a:pt x="475" y="236"/>
                  </a:cubicBezTo>
                  <a:cubicBezTo>
                    <a:pt x="475" y="236"/>
                    <a:pt x="475" y="236"/>
                    <a:pt x="474" y="235"/>
                  </a:cubicBezTo>
                  <a:cubicBezTo>
                    <a:pt x="474" y="234"/>
                    <a:pt x="473" y="231"/>
                    <a:pt x="473" y="230"/>
                  </a:cubicBezTo>
                  <a:cubicBezTo>
                    <a:pt x="473" y="228"/>
                    <a:pt x="473" y="227"/>
                    <a:pt x="473" y="225"/>
                  </a:cubicBezTo>
                  <a:cubicBezTo>
                    <a:pt x="472" y="223"/>
                    <a:pt x="472" y="224"/>
                    <a:pt x="473" y="223"/>
                  </a:cubicBezTo>
                  <a:cubicBezTo>
                    <a:pt x="474" y="221"/>
                    <a:pt x="475" y="221"/>
                    <a:pt x="475" y="219"/>
                  </a:cubicBezTo>
                  <a:cubicBezTo>
                    <a:pt x="476" y="218"/>
                    <a:pt x="476" y="217"/>
                    <a:pt x="476" y="216"/>
                  </a:cubicBezTo>
                  <a:cubicBezTo>
                    <a:pt x="476" y="215"/>
                    <a:pt x="477" y="213"/>
                    <a:pt x="477" y="212"/>
                  </a:cubicBezTo>
                  <a:cubicBezTo>
                    <a:pt x="476" y="209"/>
                    <a:pt x="472" y="209"/>
                    <a:pt x="470" y="206"/>
                  </a:cubicBezTo>
                  <a:cubicBezTo>
                    <a:pt x="470" y="206"/>
                    <a:pt x="470" y="205"/>
                    <a:pt x="470" y="205"/>
                  </a:cubicBezTo>
                  <a:cubicBezTo>
                    <a:pt x="469" y="203"/>
                    <a:pt x="469" y="201"/>
                    <a:pt x="467" y="200"/>
                  </a:cubicBezTo>
                  <a:cubicBezTo>
                    <a:pt x="466" y="198"/>
                    <a:pt x="465" y="198"/>
                    <a:pt x="464" y="197"/>
                  </a:cubicBezTo>
                  <a:cubicBezTo>
                    <a:pt x="463" y="196"/>
                    <a:pt x="462" y="196"/>
                    <a:pt x="461" y="195"/>
                  </a:cubicBezTo>
                  <a:cubicBezTo>
                    <a:pt x="459" y="194"/>
                    <a:pt x="458" y="193"/>
                    <a:pt x="457" y="191"/>
                  </a:cubicBezTo>
                  <a:cubicBezTo>
                    <a:pt x="456" y="190"/>
                    <a:pt x="455" y="189"/>
                    <a:pt x="453" y="188"/>
                  </a:cubicBezTo>
                  <a:cubicBezTo>
                    <a:pt x="453" y="187"/>
                    <a:pt x="451" y="187"/>
                    <a:pt x="451" y="185"/>
                  </a:cubicBezTo>
                  <a:cubicBezTo>
                    <a:pt x="451" y="185"/>
                    <a:pt x="452" y="184"/>
                    <a:pt x="452" y="184"/>
                  </a:cubicBezTo>
                  <a:cubicBezTo>
                    <a:pt x="452" y="184"/>
                    <a:pt x="452" y="183"/>
                    <a:pt x="452" y="183"/>
                  </a:cubicBezTo>
                  <a:cubicBezTo>
                    <a:pt x="453" y="181"/>
                    <a:pt x="454" y="179"/>
                    <a:pt x="455" y="177"/>
                  </a:cubicBezTo>
                  <a:cubicBezTo>
                    <a:pt x="456" y="176"/>
                    <a:pt x="457" y="175"/>
                    <a:pt x="458" y="173"/>
                  </a:cubicBezTo>
                  <a:cubicBezTo>
                    <a:pt x="458" y="172"/>
                    <a:pt x="459" y="171"/>
                    <a:pt x="459" y="170"/>
                  </a:cubicBezTo>
                  <a:cubicBezTo>
                    <a:pt x="460" y="169"/>
                    <a:pt x="461" y="169"/>
                    <a:pt x="461" y="169"/>
                  </a:cubicBezTo>
                  <a:cubicBezTo>
                    <a:pt x="462" y="168"/>
                    <a:pt x="463" y="165"/>
                    <a:pt x="464" y="164"/>
                  </a:cubicBezTo>
                  <a:cubicBezTo>
                    <a:pt x="466" y="162"/>
                    <a:pt x="467" y="161"/>
                    <a:pt x="468" y="158"/>
                  </a:cubicBezTo>
                  <a:cubicBezTo>
                    <a:pt x="469" y="156"/>
                    <a:pt x="469" y="154"/>
                    <a:pt x="469" y="151"/>
                  </a:cubicBezTo>
                  <a:cubicBezTo>
                    <a:pt x="469" y="149"/>
                    <a:pt x="470" y="145"/>
                    <a:pt x="469" y="143"/>
                  </a:cubicBezTo>
                  <a:cubicBezTo>
                    <a:pt x="468" y="140"/>
                    <a:pt x="466" y="137"/>
                    <a:pt x="465" y="135"/>
                  </a:cubicBezTo>
                  <a:cubicBezTo>
                    <a:pt x="463" y="130"/>
                    <a:pt x="462" y="126"/>
                    <a:pt x="460" y="121"/>
                  </a:cubicBezTo>
                  <a:cubicBezTo>
                    <a:pt x="460" y="119"/>
                    <a:pt x="459" y="116"/>
                    <a:pt x="459" y="114"/>
                  </a:cubicBezTo>
                  <a:cubicBezTo>
                    <a:pt x="458" y="112"/>
                    <a:pt x="459" y="109"/>
                    <a:pt x="459" y="107"/>
                  </a:cubicBezTo>
                  <a:cubicBezTo>
                    <a:pt x="459" y="106"/>
                    <a:pt x="458" y="101"/>
                    <a:pt x="457" y="102"/>
                  </a:cubicBezTo>
                  <a:cubicBezTo>
                    <a:pt x="456" y="103"/>
                    <a:pt x="454" y="106"/>
                    <a:pt x="452" y="106"/>
                  </a:cubicBezTo>
                  <a:cubicBezTo>
                    <a:pt x="450" y="107"/>
                    <a:pt x="447" y="106"/>
                    <a:pt x="446" y="106"/>
                  </a:cubicBezTo>
                  <a:cubicBezTo>
                    <a:pt x="445" y="105"/>
                    <a:pt x="444" y="104"/>
                    <a:pt x="443" y="103"/>
                  </a:cubicBezTo>
                  <a:cubicBezTo>
                    <a:pt x="441" y="102"/>
                    <a:pt x="438" y="101"/>
                    <a:pt x="437" y="100"/>
                  </a:cubicBezTo>
                  <a:cubicBezTo>
                    <a:pt x="437" y="100"/>
                    <a:pt x="437" y="99"/>
                    <a:pt x="437" y="98"/>
                  </a:cubicBezTo>
                  <a:cubicBezTo>
                    <a:pt x="437" y="98"/>
                    <a:pt x="436" y="97"/>
                    <a:pt x="436" y="96"/>
                  </a:cubicBezTo>
                  <a:cubicBezTo>
                    <a:pt x="439" y="94"/>
                    <a:pt x="442" y="95"/>
                    <a:pt x="445" y="95"/>
                  </a:cubicBezTo>
                  <a:cubicBezTo>
                    <a:pt x="447" y="95"/>
                    <a:pt x="448" y="94"/>
                    <a:pt x="450" y="94"/>
                  </a:cubicBezTo>
                  <a:cubicBezTo>
                    <a:pt x="451" y="93"/>
                    <a:pt x="452" y="93"/>
                    <a:pt x="453" y="93"/>
                  </a:cubicBezTo>
                  <a:cubicBezTo>
                    <a:pt x="454" y="93"/>
                    <a:pt x="455" y="93"/>
                    <a:pt x="456" y="93"/>
                  </a:cubicBezTo>
                  <a:cubicBezTo>
                    <a:pt x="456" y="92"/>
                    <a:pt x="455" y="92"/>
                    <a:pt x="455" y="91"/>
                  </a:cubicBezTo>
                  <a:cubicBezTo>
                    <a:pt x="454" y="90"/>
                    <a:pt x="454" y="90"/>
                    <a:pt x="454" y="89"/>
                  </a:cubicBezTo>
                  <a:cubicBezTo>
                    <a:pt x="453" y="88"/>
                    <a:pt x="452" y="87"/>
                    <a:pt x="451" y="86"/>
                  </a:cubicBezTo>
                  <a:cubicBezTo>
                    <a:pt x="450" y="84"/>
                    <a:pt x="449" y="83"/>
                    <a:pt x="448" y="81"/>
                  </a:cubicBezTo>
                  <a:cubicBezTo>
                    <a:pt x="447" y="80"/>
                    <a:pt x="446" y="80"/>
                    <a:pt x="445" y="78"/>
                  </a:cubicBezTo>
                  <a:cubicBezTo>
                    <a:pt x="443" y="76"/>
                    <a:pt x="440" y="74"/>
                    <a:pt x="438" y="72"/>
                  </a:cubicBezTo>
                  <a:cubicBezTo>
                    <a:pt x="437" y="72"/>
                    <a:pt x="436" y="71"/>
                    <a:pt x="434" y="71"/>
                  </a:cubicBezTo>
                  <a:cubicBezTo>
                    <a:pt x="434" y="69"/>
                    <a:pt x="426" y="67"/>
                    <a:pt x="426" y="70"/>
                  </a:cubicBezTo>
                  <a:cubicBezTo>
                    <a:pt x="427" y="72"/>
                    <a:pt x="431" y="73"/>
                    <a:pt x="431" y="75"/>
                  </a:cubicBezTo>
                  <a:cubicBezTo>
                    <a:pt x="431" y="77"/>
                    <a:pt x="428" y="75"/>
                    <a:pt x="427" y="74"/>
                  </a:cubicBezTo>
                  <a:cubicBezTo>
                    <a:pt x="425" y="73"/>
                    <a:pt x="424" y="73"/>
                    <a:pt x="422" y="73"/>
                  </a:cubicBezTo>
                  <a:cubicBezTo>
                    <a:pt x="421" y="72"/>
                    <a:pt x="421" y="72"/>
                    <a:pt x="420" y="72"/>
                  </a:cubicBezTo>
                  <a:cubicBezTo>
                    <a:pt x="418" y="71"/>
                    <a:pt x="418" y="72"/>
                    <a:pt x="416" y="72"/>
                  </a:cubicBezTo>
                  <a:cubicBezTo>
                    <a:pt x="415" y="72"/>
                    <a:pt x="413" y="72"/>
                    <a:pt x="412" y="71"/>
                  </a:cubicBezTo>
                  <a:cubicBezTo>
                    <a:pt x="410" y="70"/>
                    <a:pt x="410" y="69"/>
                    <a:pt x="409" y="67"/>
                  </a:cubicBezTo>
                  <a:cubicBezTo>
                    <a:pt x="408" y="66"/>
                    <a:pt x="405" y="65"/>
                    <a:pt x="404" y="63"/>
                  </a:cubicBezTo>
                  <a:cubicBezTo>
                    <a:pt x="403" y="63"/>
                    <a:pt x="403" y="61"/>
                    <a:pt x="402" y="61"/>
                  </a:cubicBezTo>
                  <a:cubicBezTo>
                    <a:pt x="402" y="61"/>
                    <a:pt x="401" y="61"/>
                    <a:pt x="401" y="61"/>
                  </a:cubicBezTo>
                  <a:cubicBezTo>
                    <a:pt x="399" y="61"/>
                    <a:pt x="398" y="60"/>
                    <a:pt x="397" y="60"/>
                  </a:cubicBezTo>
                  <a:cubicBezTo>
                    <a:pt x="396" y="59"/>
                    <a:pt x="396" y="59"/>
                    <a:pt x="395" y="59"/>
                  </a:cubicBezTo>
                  <a:cubicBezTo>
                    <a:pt x="394" y="58"/>
                    <a:pt x="394" y="58"/>
                    <a:pt x="396" y="56"/>
                  </a:cubicBezTo>
                  <a:cubicBezTo>
                    <a:pt x="397" y="55"/>
                    <a:pt x="397" y="55"/>
                    <a:pt x="399" y="55"/>
                  </a:cubicBezTo>
                  <a:cubicBezTo>
                    <a:pt x="399" y="58"/>
                    <a:pt x="403" y="57"/>
                    <a:pt x="405" y="57"/>
                  </a:cubicBezTo>
                  <a:cubicBezTo>
                    <a:pt x="406" y="59"/>
                    <a:pt x="405" y="61"/>
                    <a:pt x="407" y="62"/>
                  </a:cubicBezTo>
                  <a:cubicBezTo>
                    <a:pt x="409" y="63"/>
                    <a:pt x="410" y="61"/>
                    <a:pt x="410" y="59"/>
                  </a:cubicBezTo>
                  <a:cubicBezTo>
                    <a:pt x="410" y="59"/>
                    <a:pt x="410" y="58"/>
                    <a:pt x="410" y="57"/>
                  </a:cubicBezTo>
                  <a:cubicBezTo>
                    <a:pt x="410" y="56"/>
                    <a:pt x="410" y="56"/>
                    <a:pt x="410" y="55"/>
                  </a:cubicBezTo>
                  <a:cubicBezTo>
                    <a:pt x="410" y="53"/>
                    <a:pt x="409" y="51"/>
                    <a:pt x="411" y="50"/>
                  </a:cubicBezTo>
                  <a:cubicBezTo>
                    <a:pt x="413" y="50"/>
                    <a:pt x="413" y="52"/>
                    <a:pt x="415" y="52"/>
                  </a:cubicBezTo>
                  <a:cubicBezTo>
                    <a:pt x="416" y="52"/>
                    <a:pt x="416" y="50"/>
                    <a:pt x="418" y="50"/>
                  </a:cubicBezTo>
                  <a:cubicBezTo>
                    <a:pt x="421" y="50"/>
                    <a:pt x="423" y="53"/>
                    <a:pt x="426" y="54"/>
                  </a:cubicBezTo>
                  <a:cubicBezTo>
                    <a:pt x="429" y="55"/>
                    <a:pt x="429" y="53"/>
                    <a:pt x="429" y="50"/>
                  </a:cubicBezTo>
                  <a:cubicBezTo>
                    <a:pt x="428" y="50"/>
                    <a:pt x="427" y="50"/>
                    <a:pt x="425" y="49"/>
                  </a:cubicBezTo>
                  <a:cubicBezTo>
                    <a:pt x="424" y="49"/>
                    <a:pt x="424" y="48"/>
                    <a:pt x="424" y="47"/>
                  </a:cubicBezTo>
                  <a:cubicBezTo>
                    <a:pt x="422" y="46"/>
                    <a:pt x="420" y="46"/>
                    <a:pt x="419" y="46"/>
                  </a:cubicBezTo>
                  <a:cubicBezTo>
                    <a:pt x="418" y="45"/>
                    <a:pt x="417" y="45"/>
                    <a:pt x="416" y="44"/>
                  </a:cubicBezTo>
                  <a:cubicBezTo>
                    <a:pt x="415" y="44"/>
                    <a:pt x="413" y="43"/>
                    <a:pt x="414" y="42"/>
                  </a:cubicBezTo>
                  <a:cubicBezTo>
                    <a:pt x="415" y="41"/>
                    <a:pt x="418" y="40"/>
                    <a:pt x="419" y="40"/>
                  </a:cubicBezTo>
                  <a:cubicBezTo>
                    <a:pt x="419" y="39"/>
                    <a:pt x="419" y="39"/>
                    <a:pt x="420" y="39"/>
                  </a:cubicBezTo>
                  <a:cubicBezTo>
                    <a:pt x="420" y="38"/>
                    <a:pt x="420" y="38"/>
                    <a:pt x="420" y="37"/>
                  </a:cubicBezTo>
                  <a:cubicBezTo>
                    <a:pt x="420" y="36"/>
                    <a:pt x="421" y="36"/>
                    <a:pt x="422" y="36"/>
                  </a:cubicBezTo>
                  <a:cubicBezTo>
                    <a:pt x="424" y="35"/>
                    <a:pt x="425" y="36"/>
                    <a:pt x="425" y="34"/>
                  </a:cubicBezTo>
                  <a:cubicBezTo>
                    <a:pt x="425" y="33"/>
                    <a:pt x="425" y="32"/>
                    <a:pt x="424" y="31"/>
                  </a:cubicBezTo>
                  <a:cubicBezTo>
                    <a:pt x="422" y="31"/>
                    <a:pt x="421" y="31"/>
                    <a:pt x="419" y="31"/>
                  </a:cubicBezTo>
                  <a:cubicBezTo>
                    <a:pt x="418" y="32"/>
                    <a:pt x="417" y="32"/>
                    <a:pt x="416" y="32"/>
                  </a:cubicBezTo>
                  <a:cubicBezTo>
                    <a:pt x="415" y="32"/>
                    <a:pt x="415" y="31"/>
                    <a:pt x="414" y="31"/>
                  </a:cubicBezTo>
                  <a:cubicBezTo>
                    <a:pt x="414" y="31"/>
                    <a:pt x="414" y="31"/>
                    <a:pt x="413" y="31"/>
                  </a:cubicBezTo>
                  <a:cubicBezTo>
                    <a:pt x="413" y="31"/>
                    <a:pt x="413" y="30"/>
                    <a:pt x="413" y="30"/>
                  </a:cubicBezTo>
                  <a:cubicBezTo>
                    <a:pt x="412" y="30"/>
                    <a:pt x="411" y="30"/>
                    <a:pt x="410" y="30"/>
                  </a:cubicBezTo>
                  <a:cubicBezTo>
                    <a:pt x="410" y="31"/>
                    <a:pt x="410" y="32"/>
                    <a:pt x="410" y="33"/>
                  </a:cubicBezTo>
                  <a:cubicBezTo>
                    <a:pt x="412" y="33"/>
                    <a:pt x="413" y="34"/>
                    <a:pt x="414" y="35"/>
                  </a:cubicBezTo>
                  <a:cubicBezTo>
                    <a:pt x="416" y="35"/>
                    <a:pt x="419" y="35"/>
                    <a:pt x="419" y="36"/>
                  </a:cubicBezTo>
                  <a:cubicBezTo>
                    <a:pt x="418" y="37"/>
                    <a:pt x="417" y="38"/>
                    <a:pt x="416" y="38"/>
                  </a:cubicBezTo>
                  <a:cubicBezTo>
                    <a:pt x="416" y="38"/>
                    <a:pt x="415" y="38"/>
                    <a:pt x="414" y="38"/>
                  </a:cubicBezTo>
                  <a:cubicBezTo>
                    <a:pt x="413" y="38"/>
                    <a:pt x="411" y="40"/>
                    <a:pt x="410" y="39"/>
                  </a:cubicBezTo>
                  <a:cubicBezTo>
                    <a:pt x="409" y="39"/>
                    <a:pt x="409" y="37"/>
                    <a:pt x="408" y="37"/>
                  </a:cubicBezTo>
                  <a:cubicBezTo>
                    <a:pt x="406" y="36"/>
                    <a:pt x="406" y="37"/>
                    <a:pt x="405" y="38"/>
                  </a:cubicBezTo>
                  <a:cubicBezTo>
                    <a:pt x="404" y="36"/>
                    <a:pt x="402" y="33"/>
                    <a:pt x="404" y="31"/>
                  </a:cubicBezTo>
                  <a:cubicBezTo>
                    <a:pt x="404" y="31"/>
                    <a:pt x="404" y="30"/>
                    <a:pt x="405" y="30"/>
                  </a:cubicBezTo>
                  <a:cubicBezTo>
                    <a:pt x="405" y="30"/>
                    <a:pt x="406" y="30"/>
                    <a:pt x="406" y="30"/>
                  </a:cubicBezTo>
                  <a:cubicBezTo>
                    <a:pt x="407" y="30"/>
                    <a:pt x="408" y="29"/>
                    <a:pt x="408" y="29"/>
                  </a:cubicBezTo>
                  <a:cubicBezTo>
                    <a:pt x="409" y="28"/>
                    <a:pt x="408" y="28"/>
                    <a:pt x="407" y="27"/>
                  </a:cubicBezTo>
                  <a:cubicBezTo>
                    <a:pt x="407" y="27"/>
                    <a:pt x="408" y="27"/>
                    <a:pt x="408" y="26"/>
                  </a:cubicBezTo>
                  <a:cubicBezTo>
                    <a:pt x="408" y="25"/>
                    <a:pt x="409" y="24"/>
                    <a:pt x="408" y="23"/>
                  </a:cubicBezTo>
                  <a:cubicBezTo>
                    <a:pt x="406" y="22"/>
                    <a:pt x="403" y="23"/>
                    <a:pt x="402" y="24"/>
                  </a:cubicBezTo>
                  <a:cubicBezTo>
                    <a:pt x="401" y="26"/>
                    <a:pt x="401" y="27"/>
                    <a:pt x="401" y="28"/>
                  </a:cubicBezTo>
                  <a:cubicBezTo>
                    <a:pt x="401" y="29"/>
                    <a:pt x="401" y="29"/>
                    <a:pt x="401" y="30"/>
                  </a:cubicBezTo>
                  <a:cubicBezTo>
                    <a:pt x="401" y="30"/>
                    <a:pt x="401" y="30"/>
                    <a:pt x="400" y="30"/>
                  </a:cubicBezTo>
                  <a:cubicBezTo>
                    <a:pt x="400" y="30"/>
                    <a:pt x="400" y="31"/>
                    <a:pt x="399" y="31"/>
                  </a:cubicBezTo>
                  <a:cubicBezTo>
                    <a:pt x="398" y="33"/>
                    <a:pt x="397" y="36"/>
                    <a:pt x="398" y="38"/>
                  </a:cubicBezTo>
                  <a:cubicBezTo>
                    <a:pt x="400" y="37"/>
                    <a:pt x="401" y="38"/>
                    <a:pt x="403" y="38"/>
                  </a:cubicBezTo>
                  <a:cubicBezTo>
                    <a:pt x="403" y="39"/>
                    <a:pt x="403" y="40"/>
                    <a:pt x="403" y="40"/>
                  </a:cubicBezTo>
                  <a:cubicBezTo>
                    <a:pt x="404" y="41"/>
                    <a:pt x="404" y="41"/>
                    <a:pt x="403" y="42"/>
                  </a:cubicBezTo>
                  <a:cubicBezTo>
                    <a:pt x="402" y="42"/>
                    <a:pt x="401" y="41"/>
                    <a:pt x="401" y="43"/>
                  </a:cubicBezTo>
                  <a:cubicBezTo>
                    <a:pt x="401" y="43"/>
                    <a:pt x="401" y="45"/>
                    <a:pt x="401" y="45"/>
                  </a:cubicBezTo>
                  <a:cubicBezTo>
                    <a:pt x="401" y="46"/>
                    <a:pt x="402" y="46"/>
                    <a:pt x="402" y="46"/>
                  </a:cubicBezTo>
                  <a:cubicBezTo>
                    <a:pt x="403" y="47"/>
                    <a:pt x="404" y="47"/>
                    <a:pt x="404" y="48"/>
                  </a:cubicBezTo>
                  <a:cubicBezTo>
                    <a:pt x="405" y="49"/>
                    <a:pt x="405" y="48"/>
                    <a:pt x="405" y="49"/>
                  </a:cubicBezTo>
                  <a:cubicBezTo>
                    <a:pt x="405" y="51"/>
                    <a:pt x="401" y="51"/>
                    <a:pt x="401" y="49"/>
                  </a:cubicBezTo>
                  <a:cubicBezTo>
                    <a:pt x="399" y="49"/>
                    <a:pt x="399" y="50"/>
                    <a:pt x="398" y="51"/>
                  </a:cubicBezTo>
                  <a:cubicBezTo>
                    <a:pt x="398" y="51"/>
                    <a:pt x="397" y="54"/>
                    <a:pt x="397" y="54"/>
                  </a:cubicBezTo>
                  <a:cubicBezTo>
                    <a:pt x="395" y="55"/>
                    <a:pt x="391" y="54"/>
                    <a:pt x="390" y="53"/>
                  </a:cubicBezTo>
                  <a:cubicBezTo>
                    <a:pt x="389" y="52"/>
                    <a:pt x="390" y="50"/>
                    <a:pt x="390" y="49"/>
                  </a:cubicBezTo>
                  <a:cubicBezTo>
                    <a:pt x="389" y="48"/>
                    <a:pt x="389" y="46"/>
                    <a:pt x="388" y="45"/>
                  </a:cubicBezTo>
                  <a:cubicBezTo>
                    <a:pt x="387" y="44"/>
                    <a:pt x="387" y="44"/>
                    <a:pt x="386" y="45"/>
                  </a:cubicBezTo>
                  <a:cubicBezTo>
                    <a:pt x="385" y="45"/>
                    <a:pt x="385" y="46"/>
                    <a:pt x="384" y="47"/>
                  </a:cubicBezTo>
                  <a:cubicBezTo>
                    <a:pt x="382" y="50"/>
                    <a:pt x="377" y="49"/>
                    <a:pt x="373" y="49"/>
                  </a:cubicBezTo>
                  <a:cubicBezTo>
                    <a:pt x="372" y="49"/>
                    <a:pt x="372" y="49"/>
                    <a:pt x="371" y="48"/>
                  </a:cubicBezTo>
                  <a:cubicBezTo>
                    <a:pt x="371" y="48"/>
                    <a:pt x="371" y="48"/>
                    <a:pt x="370" y="48"/>
                  </a:cubicBezTo>
                  <a:cubicBezTo>
                    <a:pt x="369" y="47"/>
                    <a:pt x="370" y="48"/>
                    <a:pt x="369" y="48"/>
                  </a:cubicBezTo>
                  <a:cubicBezTo>
                    <a:pt x="368" y="48"/>
                    <a:pt x="366" y="49"/>
                    <a:pt x="366" y="49"/>
                  </a:cubicBezTo>
                  <a:cubicBezTo>
                    <a:pt x="365" y="49"/>
                    <a:pt x="364" y="49"/>
                    <a:pt x="363" y="49"/>
                  </a:cubicBezTo>
                  <a:cubicBezTo>
                    <a:pt x="362" y="50"/>
                    <a:pt x="363" y="50"/>
                    <a:pt x="362" y="50"/>
                  </a:cubicBezTo>
                  <a:cubicBezTo>
                    <a:pt x="360" y="51"/>
                    <a:pt x="360" y="51"/>
                    <a:pt x="360" y="53"/>
                  </a:cubicBezTo>
                  <a:cubicBezTo>
                    <a:pt x="359" y="54"/>
                    <a:pt x="360" y="57"/>
                    <a:pt x="358" y="56"/>
                  </a:cubicBezTo>
                  <a:cubicBezTo>
                    <a:pt x="358" y="58"/>
                    <a:pt x="353" y="57"/>
                    <a:pt x="352" y="57"/>
                  </a:cubicBezTo>
                  <a:cubicBezTo>
                    <a:pt x="350" y="58"/>
                    <a:pt x="350" y="59"/>
                    <a:pt x="348" y="59"/>
                  </a:cubicBezTo>
                  <a:cubicBezTo>
                    <a:pt x="347" y="59"/>
                    <a:pt x="346" y="59"/>
                    <a:pt x="345" y="58"/>
                  </a:cubicBezTo>
                  <a:cubicBezTo>
                    <a:pt x="344" y="58"/>
                    <a:pt x="344" y="57"/>
                    <a:pt x="343" y="57"/>
                  </a:cubicBezTo>
                  <a:cubicBezTo>
                    <a:pt x="342" y="59"/>
                    <a:pt x="341" y="61"/>
                    <a:pt x="340" y="60"/>
                  </a:cubicBezTo>
                  <a:cubicBezTo>
                    <a:pt x="339" y="60"/>
                    <a:pt x="338" y="58"/>
                    <a:pt x="337" y="59"/>
                  </a:cubicBezTo>
                  <a:cubicBezTo>
                    <a:pt x="337" y="59"/>
                    <a:pt x="336" y="60"/>
                    <a:pt x="335" y="60"/>
                  </a:cubicBezTo>
                  <a:cubicBezTo>
                    <a:pt x="335" y="61"/>
                    <a:pt x="335" y="61"/>
                    <a:pt x="334" y="62"/>
                  </a:cubicBezTo>
                  <a:cubicBezTo>
                    <a:pt x="332" y="63"/>
                    <a:pt x="331" y="65"/>
                    <a:pt x="329" y="64"/>
                  </a:cubicBezTo>
                  <a:cubicBezTo>
                    <a:pt x="328" y="64"/>
                    <a:pt x="328" y="64"/>
                    <a:pt x="328" y="63"/>
                  </a:cubicBezTo>
                  <a:cubicBezTo>
                    <a:pt x="328" y="62"/>
                    <a:pt x="327" y="62"/>
                    <a:pt x="327" y="61"/>
                  </a:cubicBezTo>
                  <a:cubicBezTo>
                    <a:pt x="325" y="61"/>
                    <a:pt x="325" y="60"/>
                    <a:pt x="323" y="60"/>
                  </a:cubicBezTo>
                  <a:cubicBezTo>
                    <a:pt x="323" y="60"/>
                    <a:pt x="322" y="60"/>
                    <a:pt x="322" y="60"/>
                  </a:cubicBezTo>
                  <a:cubicBezTo>
                    <a:pt x="322" y="60"/>
                    <a:pt x="321" y="60"/>
                    <a:pt x="321" y="60"/>
                  </a:cubicBezTo>
                  <a:cubicBezTo>
                    <a:pt x="320" y="61"/>
                    <a:pt x="319" y="61"/>
                    <a:pt x="318" y="62"/>
                  </a:cubicBezTo>
                  <a:cubicBezTo>
                    <a:pt x="317" y="63"/>
                    <a:pt x="316" y="65"/>
                    <a:pt x="317" y="67"/>
                  </a:cubicBezTo>
                  <a:cubicBezTo>
                    <a:pt x="317" y="68"/>
                    <a:pt x="319" y="69"/>
                    <a:pt x="318" y="70"/>
                  </a:cubicBezTo>
                  <a:cubicBezTo>
                    <a:pt x="318" y="70"/>
                    <a:pt x="317" y="71"/>
                    <a:pt x="316" y="71"/>
                  </a:cubicBezTo>
                  <a:cubicBezTo>
                    <a:pt x="316" y="72"/>
                    <a:pt x="315" y="73"/>
                    <a:pt x="315" y="73"/>
                  </a:cubicBezTo>
                  <a:cubicBezTo>
                    <a:pt x="314" y="74"/>
                    <a:pt x="314" y="74"/>
                    <a:pt x="312" y="74"/>
                  </a:cubicBezTo>
                  <a:cubicBezTo>
                    <a:pt x="310" y="75"/>
                    <a:pt x="309" y="76"/>
                    <a:pt x="308" y="77"/>
                  </a:cubicBezTo>
                  <a:cubicBezTo>
                    <a:pt x="308" y="78"/>
                    <a:pt x="307" y="78"/>
                    <a:pt x="308" y="79"/>
                  </a:cubicBezTo>
                  <a:cubicBezTo>
                    <a:pt x="308" y="80"/>
                    <a:pt x="311" y="80"/>
                    <a:pt x="311" y="80"/>
                  </a:cubicBezTo>
                  <a:cubicBezTo>
                    <a:pt x="311" y="81"/>
                    <a:pt x="311" y="82"/>
                    <a:pt x="310" y="83"/>
                  </a:cubicBezTo>
                  <a:cubicBezTo>
                    <a:pt x="309" y="83"/>
                    <a:pt x="308" y="83"/>
                    <a:pt x="307" y="83"/>
                  </a:cubicBezTo>
                  <a:cubicBezTo>
                    <a:pt x="306" y="83"/>
                    <a:pt x="305" y="82"/>
                    <a:pt x="304" y="83"/>
                  </a:cubicBezTo>
                  <a:cubicBezTo>
                    <a:pt x="304" y="83"/>
                    <a:pt x="304" y="84"/>
                    <a:pt x="304" y="84"/>
                  </a:cubicBezTo>
                  <a:cubicBezTo>
                    <a:pt x="303" y="84"/>
                    <a:pt x="303" y="84"/>
                    <a:pt x="303" y="84"/>
                  </a:cubicBezTo>
                  <a:cubicBezTo>
                    <a:pt x="302" y="84"/>
                    <a:pt x="302" y="84"/>
                    <a:pt x="301" y="85"/>
                  </a:cubicBezTo>
                  <a:cubicBezTo>
                    <a:pt x="301" y="85"/>
                    <a:pt x="300" y="86"/>
                    <a:pt x="299" y="87"/>
                  </a:cubicBezTo>
                  <a:cubicBezTo>
                    <a:pt x="298" y="87"/>
                    <a:pt x="296" y="87"/>
                    <a:pt x="295" y="85"/>
                  </a:cubicBezTo>
                  <a:cubicBezTo>
                    <a:pt x="292" y="83"/>
                    <a:pt x="289" y="80"/>
                    <a:pt x="285" y="80"/>
                  </a:cubicBezTo>
                  <a:cubicBezTo>
                    <a:pt x="283" y="79"/>
                    <a:pt x="283" y="80"/>
                    <a:pt x="281" y="80"/>
                  </a:cubicBezTo>
                  <a:cubicBezTo>
                    <a:pt x="278" y="81"/>
                    <a:pt x="275" y="78"/>
                    <a:pt x="272" y="78"/>
                  </a:cubicBezTo>
                  <a:cubicBezTo>
                    <a:pt x="272" y="77"/>
                    <a:pt x="273" y="76"/>
                    <a:pt x="273" y="76"/>
                  </a:cubicBezTo>
                  <a:cubicBezTo>
                    <a:pt x="274" y="75"/>
                    <a:pt x="275" y="75"/>
                    <a:pt x="275" y="75"/>
                  </a:cubicBezTo>
                  <a:cubicBezTo>
                    <a:pt x="275" y="75"/>
                    <a:pt x="276" y="73"/>
                    <a:pt x="276" y="73"/>
                  </a:cubicBezTo>
                  <a:cubicBezTo>
                    <a:pt x="278" y="71"/>
                    <a:pt x="280" y="70"/>
                    <a:pt x="281" y="69"/>
                  </a:cubicBezTo>
                  <a:cubicBezTo>
                    <a:pt x="282" y="68"/>
                    <a:pt x="282" y="68"/>
                    <a:pt x="283" y="67"/>
                  </a:cubicBezTo>
                  <a:cubicBezTo>
                    <a:pt x="284" y="66"/>
                    <a:pt x="285" y="67"/>
                    <a:pt x="286" y="66"/>
                  </a:cubicBezTo>
                  <a:cubicBezTo>
                    <a:pt x="288" y="65"/>
                    <a:pt x="286" y="63"/>
                    <a:pt x="285" y="61"/>
                  </a:cubicBezTo>
                  <a:cubicBezTo>
                    <a:pt x="284" y="61"/>
                    <a:pt x="284" y="61"/>
                    <a:pt x="284" y="59"/>
                  </a:cubicBezTo>
                  <a:cubicBezTo>
                    <a:pt x="284" y="59"/>
                    <a:pt x="284" y="57"/>
                    <a:pt x="284" y="57"/>
                  </a:cubicBezTo>
                  <a:cubicBezTo>
                    <a:pt x="285" y="54"/>
                    <a:pt x="284" y="50"/>
                    <a:pt x="285" y="48"/>
                  </a:cubicBezTo>
                  <a:cubicBezTo>
                    <a:pt x="286" y="47"/>
                    <a:pt x="289" y="48"/>
                    <a:pt x="290" y="48"/>
                  </a:cubicBezTo>
                  <a:cubicBezTo>
                    <a:pt x="292" y="48"/>
                    <a:pt x="294" y="48"/>
                    <a:pt x="295" y="48"/>
                  </a:cubicBezTo>
                  <a:cubicBezTo>
                    <a:pt x="298" y="47"/>
                    <a:pt x="298" y="46"/>
                    <a:pt x="297" y="43"/>
                  </a:cubicBezTo>
                  <a:cubicBezTo>
                    <a:pt x="296" y="43"/>
                    <a:pt x="296" y="42"/>
                    <a:pt x="295" y="42"/>
                  </a:cubicBezTo>
                  <a:cubicBezTo>
                    <a:pt x="295" y="40"/>
                    <a:pt x="294" y="40"/>
                    <a:pt x="293" y="38"/>
                  </a:cubicBezTo>
                  <a:cubicBezTo>
                    <a:pt x="293" y="37"/>
                    <a:pt x="292" y="35"/>
                    <a:pt x="291" y="35"/>
                  </a:cubicBezTo>
                  <a:cubicBezTo>
                    <a:pt x="291" y="34"/>
                    <a:pt x="289" y="35"/>
                    <a:pt x="288" y="34"/>
                  </a:cubicBezTo>
                  <a:cubicBezTo>
                    <a:pt x="288" y="34"/>
                    <a:pt x="287" y="34"/>
                    <a:pt x="286" y="34"/>
                  </a:cubicBezTo>
                  <a:cubicBezTo>
                    <a:pt x="285" y="34"/>
                    <a:pt x="283" y="34"/>
                    <a:pt x="282" y="34"/>
                  </a:cubicBezTo>
                  <a:cubicBezTo>
                    <a:pt x="281" y="35"/>
                    <a:pt x="280" y="35"/>
                    <a:pt x="280" y="36"/>
                  </a:cubicBezTo>
                  <a:cubicBezTo>
                    <a:pt x="279" y="38"/>
                    <a:pt x="278" y="39"/>
                    <a:pt x="278" y="41"/>
                  </a:cubicBezTo>
                  <a:cubicBezTo>
                    <a:pt x="278" y="42"/>
                    <a:pt x="279" y="43"/>
                    <a:pt x="280" y="43"/>
                  </a:cubicBezTo>
                  <a:cubicBezTo>
                    <a:pt x="281" y="44"/>
                    <a:pt x="284" y="46"/>
                    <a:pt x="285" y="46"/>
                  </a:cubicBezTo>
                  <a:cubicBezTo>
                    <a:pt x="285" y="48"/>
                    <a:pt x="285" y="46"/>
                    <a:pt x="284" y="48"/>
                  </a:cubicBezTo>
                  <a:cubicBezTo>
                    <a:pt x="284" y="48"/>
                    <a:pt x="284" y="50"/>
                    <a:pt x="283" y="50"/>
                  </a:cubicBezTo>
                  <a:cubicBezTo>
                    <a:pt x="283" y="52"/>
                    <a:pt x="280" y="50"/>
                    <a:pt x="279" y="50"/>
                  </a:cubicBezTo>
                  <a:cubicBezTo>
                    <a:pt x="277" y="50"/>
                    <a:pt x="275" y="50"/>
                    <a:pt x="273" y="51"/>
                  </a:cubicBezTo>
                  <a:cubicBezTo>
                    <a:pt x="272" y="52"/>
                    <a:pt x="271" y="52"/>
                    <a:pt x="270" y="53"/>
                  </a:cubicBezTo>
                  <a:cubicBezTo>
                    <a:pt x="268" y="54"/>
                    <a:pt x="268" y="55"/>
                    <a:pt x="266" y="55"/>
                  </a:cubicBezTo>
                  <a:cubicBezTo>
                    <a:pt x="264" y="55"/>
                    <a:pt x="262" y="55"/>
                    <a:pt x="262" y="53"/>
                  </a:cubicBezTo>
                  <a:cubicBezTo>
                    <a:pt x="262" y="51"/>
                    <a:pt x="262" y="49"/>
                    <a:pt x="260" y="48"/>
                  </a:cubicBezTo>
                  <a:cubicBezTo>
                    <a:pt x="259" y="48"/>
                    <a:pt x="257" y="48"/>
                    <a:pt x="256" y="48"/>
                  </a:cubicBezTo>
                  <a:cubicBezTo>
                    <a:pt x="254" y="48"/>
                    <a:pt x="253" y="49"/>
                    <a:pt x="252" y="48"/>
                  </a:cubicBezTo>
                  <a:cubicBezTo>
                    <a:pt x="251" y="47"/>
                    <a:pt x="251" y="46"/>
                    <a:pt x="249" y="46"/>
                  </a:cubicBezTo>
                  <a:cubicBezTo>
                    <a:pt x="248" y="46"/>
                    <a:pt x="247" y="46"/>
                    <a:pt x="245" y="46"/>
                  </a:cubicBezTo>
                  <a:cubicBezTo>
                    <a:pt x="245" y="46"/>
                    <a:pt x="244" y="46"/>
                    <a:pt x="244" y="45"/>
                  </a:cubicBezTo>
                  <a:cubicBezTo>
                    <a:pt x="243" y="45"/>
                    <a:pt x="242" y="45"/>
                    <a:pt x="242" y="46"/>
                  </a:cubicBezTo>
                  <a:cubicBezTo>
                    <a:pt x="241" y="46"/>
                    <a:pt x="242" y="47"/>
                    <a:pt x="241" y="47"/>
                  </a:cubicBezTo>
                  <a:cubicBezTo>
                    <a:pt x="240" y="48"/>
                    <a:pt x="240" y="48"/>
                    <a:pt x="239" y="48"/>
                  </a:cubicBezTo>
                  <a:cubicBezTo>
                    <a:pt x="238" y="49"/>
                    <a:pt x="236" y="50"/>
                    <a:pt x="235" y="48"/>
                  </a:cubicBezTo>
                  <a:cubicBezTo>
                    <a:pt x="235" y="48"/>
                    <a:pt x="236" y="46"/>
                    <a:pt x="236" y="46"/>
                  </a:cubicBezTo>
                  <a:cubicBezTo>
                    <a:pt x="236" y="44"/>
                    <a:pt x="236" y="42"/>
                    <a:pt x="234" y="41"/>
                  </a:cubicBezTo>
                  <a:cubicBezTo>
                    <a:pt x="232" y="41"/>
                    <a:pt x="232" y="42"/>
                    <a:pt x="230" y="42"/>
                  </a:cubicBezTo>
                  <a:cubicBezTo>
                    <a:pt x="229" y="42"/>
                    <a:pt x="229" y="42"/>
                    <a:pt x="228" y="42"/>
                  </a:cubicBezTo>
                  <a:cubicBezTo>
                    <a:pt x="226" y="42"/>
                    <a:pt x="224" y="41"/>
                    <a:pt x="223" y="42"/>
                  </a:cubicBezTo>
                  <a:cubicBezTo>
                    <a:pt x="222" y="42"/>
                    <a:pt x="222" y="43"/>
                    <a:pt x="220" y="43"/>
                  </a:cubicBezTo>
                  <a:cubicBezTo>
                    <a:pt x="219" y="44"/>
                    <a:pt x="218" y="44"/>
                    <a:pt x="217" y="43"/>
                  </a:cubicBezTo>
                  <a:cubicBezTo>
                    <a:pt x="218" y="42"/>
                    <a:pt x="218" y="40"/>
                    <a:pt x="220" y="38"/>
                  </a:cubicBezTo>
                  <a:cubicBezTo>
                    <a:pt x="221" y="38"/>
                    <a:pt x="222" y="37"/>
                    <a:pt x="223" y="37"/>
                  </a:cubicBezTo>
                  <a:cubicBezTo>
                    <a:pt x="223" y="37"/>
                    <a:pt x="225" y="36"/>
                    <a:pt x="225" y="36"/>
                  </a:cubicBezTo>
                  <a:cubicBezTo>
                    <a:pt x="225" y="36"/>
                    <a:pt x="225" y="34"/>
                    <a:pt x="225" y="34"/>
                  </a:cubicBezTo>
                  <a:cubicBezTo>
                    <a:pt x="225" y="32"/>
                    <a:pt x="225" y="31"/>
                    <a:pt x="225" y="30"/>
                  </a:cubicBezTo>
                  <a:cubicBezTo>
                    <a:pt x="225" y="29"/>
                    <a:pt x="226" y="27"/>
                    <a:pt x="226" y="26"/>
                  </a:cubicBezTo>
                  <a:cubicBezTo>
                    <a:pt x="225" y="25"/>
                    <a:pt x="224" y="25"/>
                    <a:pt x="224" y="24"/>
                  </a:cubicBezTo>
                  <a:cubicBezTo>
                    <a:pt x="224" y="23"/>
                    <a:pt x="224" y="23"/>
                    <a:pt x="225" y="22"/>
                  </a:cubicBezTo>
                  <a:cubicBezTo>
                    <a:pt x="225" y="21"/>
                    <a:pt x="224" y="20"/>
                    <a:pt x="222" y="20"/>
                  </a:cubicBezTo>
                  <a:cubicBezTo>
                    <a:pt x="222" y="18"/>
                    <a:pt x="224" y="16"/>
                    <a:pt x="224" y="14"/>
                  </a:cubicBezTo>
                  <a:cubicBezTo>
                    <a:pt x="224" y="13"/>
                    <a:pt x="223" y="10"/>
                    <a:pt x="222" y="10"/>
                  </a:cubicBezTo>
                  <a:cubicBezTo>
                    <a:pt x="221" y="9"/>
                    <a:pt x="219" y="11"/>
                    <a:pt x="218" y="11"/>
                  </a:cubicBezTo>
                  <a:cubicBezTo>
                    <a:pt x="217" y="12"/>
                    <a:pt x="217" y="13"/>
                    <a:pt x="216" y="13"/>
                  </a:cubicBezTo>
                  <a:cubicBezTo>
                    <a:pt x="215" y="13"/>
                    <a:pt x="214" y="12"/>
                    <a:pt x="213" y="12"/>
                  </a:cubicBezTo>
                  <a:cubicBezTo>
                    <a:pt x="212" y="11"/>
                    <a:pt x="212" y="11"/>
                    <a:pt x="211" y="10"/>
                  </a:cubicBezTo>
                  <a:cubicBezTo>
                    <a:pt x="209" y="9"/>
                    <a:pt x="208" y="9"/>
                    <a:pt x="206" y="9"/>
                  </a:cubicBezTo>
                  <a:cubicBezTo>
                    <a:pt x="204" y="9"/>
                    <a:pt x="204" y="8"/>
                    <a:pt x="203" y="6"/>
                  </a:cubicBezTo>
                  <a:cubicBezTo>
                    <a:pt x="202" y="6"/>
                    <a:pt x="201" y="5"/>
                    <a:pt x="200" y="5"/>
                  </a:cubicBezTo>
                  <a:cubicBezTo>
                    <a:pt x="199" y="5"/>
                    <a:pt x="199" y="5"/>
                    <a:pt x="198" y="5"/>
                  </a:cubicBezTo>
                  <a:cubicBezTo>
                    <a:pt x="198" y="5"/>
                    <a:pt x="197" y="5"/>
                    <a:pt x="196" y="5"/>
                  </a:cubicBezTo>
                  <a:cubicBezTo>
                    <a:pt x="196" y="5"/>
                    <a:pt x="195" y="4"/>
                    <a:pt x="194" y="5"/>
                  </a:cubicBezTo>
                  <a:cubicBezTo>
                    <a:pt x="193" y="5"/>
                    <a:pt x="193" y="6"/>
                    <a:pt x="192" y="7"/>
                  </a:cubicBezTo>
                  <a:cubicBezTo>
                    <a:pt x="191" y="8"/>
                    <a:pt x="191" y="8"/>
                    <a:pt x="189" y="8"/>
                  </a:cubicBezTo>
                  <a:cubicBezTo>
                    <a:pt x="188" y="9"/>
                    <a:pt x="188" y="10"/>
                    <a:pt x="187" y="11"/>
                  </a:cubicBezTo>
                  <a:cubicBezTo>
                    <a:pt x="186" y="11"/>
                    <a:pt x="185" y="11"/>
                    <a:pt x="184" y="11"/>
                  </a:cubicBezTo>
                  <a:cubicBezTo>
                    <a:pt x="182" y="11"/>
                    <a:pt x="181" y="11"/>
                    <a:pt x="181" y="9"/>
                  </a:cubicBezTo>
                  <a:cubicBezTo>
                    <a:pt x="181" y="7"/>
                    <a:pt x="181" y="6"/>
                    <a:pt x="180" y="5"/>
                  </a:cubicBezTo>
                  <a:cubicBezTo>
                    <a:pt x="180" y="5"/>
                    <a:pt x="180" y="5"/>
                    <a:pt x="180" y="4"/>
                  </a:cubicBezTo>
                  <a:cubicBezTo>
                    <a:pt x="180" y="4"/>
                    <a:pt x="179" y="4"/>
                    <a:pt x="180" y="3"/>
                  </a:cubicBezTo>
                  <a:cubicBezTo>
                    <a:pt x="179" y="3"/>
                    <a:pt x="179" y="2"/>
                    <a:pt x="179" y="1"/>
                  </a:cubicBezTo>
                  <a:cubicBezTo>
                    <a:pt x="178" y="1"/>
                    <a:pt x="176" y="1"/>
                    <a:pt x="176" y="1"/>
                  </a:cubicBezTo>
                  <a:cubicBezTo>
                    <a:pt x="175" y="2"/>
                    <a:pt x="175" y="2"/>
                    <a:pt x="175" y="3"/>
                  </a:cubicBezTo>
                  <a:cubicBezTo>
                    <a:pt x="174" y="3"/>
                    <a:pt x="173" y="3"/>
                    <a:pt x="173" y="3"/>
                  </a:cubicBezTo>
                  <a:cubicBezTo>
                    <a:pt x="172" y="3"/>
                    <a:pt x="170" y="3"/>
                    <a:pt x="169" y="3"/>
                  </a:cubicBezTo>
                  <a:cubicBezTo>
                    <a:pt x="168" y="3"/>
                    <a:pt x="167" y="2"/>
                    <a:pt x="166" y="1"/>
                  </a:cubicBezTo>
                  <a:cubicBezTo>
                    <a:pt x="165" y="1"/>
                    <a:pt x="163" y="1"/>
                    <a:pt x="162" y="1"/>
                  </a:cubicBezTo>
                  <a:cubicBezTo>
                    <a:pt x="160" y="1"/>
                    <a:pt x="158" y="1"/>
                    <a:pt x="157" y="1"/>
                  </a:cubicBezTo>
                  <a:cubicBezTo>
                    <a:pt x="154" y="1"/>
                    <a:pt x="152" y="0"/>
                    <a:pt x="149" y="0"/>
                  </a:cubicBezTo>
                  <a:cubicBezTo>
                    <a:pt x="149" y="2"/>
                    <a:pt x="148" y="4"/>
                    <a:pt x="148" y="7"/>
                  </a:cubicBezTo>
                  <a:cubicBezTo>
                    <a:pt x="148" y="8"/>
                    <a:pt x="149" y="9"/>
                    <a:pt x="149" y="10"/>
                  </a:cubicBezTo>
                  <a:cubicBezTo>
                    <a:pt x="150" y="11"/>
                    <a:pt x="151" y="9"/>
                    <a:pt x="153" y="9"/>
                  </a:cubicBezTo>
                  <a:cubicBezTo>
                    <a:pt x="153" y="11"/>
                    <a:pt x="152" y="12"/>
                    <a:pt x="152" y="13"/>
                  </a:cubicBezTo>
                  <a:cubicBezTo>
                    <a:pt x="152" y="14"/>
                    <a:pt x="153" y="14"/>
                    <a:pt x="153" y="14"/>
                  </a:cubicBezTo>
                  <a:cubicBezTo>
                    <a:pt x="153" y="14"/>
                    <a:pt x="153" y="16"/>
                    <a:pt x="154" y="17"/>
                  </a:cubicBezTo>
                  <a:cubicBezTo>
                    <a:pt x="154" y="17"/>
                    <a:pt x="153" y="18"/>
                    <a:pt x="154" y="18"/>
                  </a:cubicBezTo>
                  <a:cubicBezTo>
                    <a:pt x="154" y="19"/>
                    <a:pt x="156" y="20"/>
                    <a:pt x="156" y="21"/>
                  </a:cubicBezTo>
                  <a:cubicBezTo>
                    <a:pt x="157" y="22"/>
                    <a:pt x="158" y="25"/>
                    <a:pt x="160" y="25"/>
                  </a:cubicBezTo>
                  <a:cubicBezTo>
                    <a:pt x="160" y="25"/>
                    <a:pt x="161" y="25"/>
                    <a:pt x="161" y="24"/>
                  </a:cubicBezTo>
                  <a:cubicBezTo>
                    <a:pt x="161" y="25"/>
                    <a:pt x="161" y="26"/>
                    <a:pt x="161" y="27"/>
                  </a:cubicBezTo>
                  <a:cubicBezTo>
                    <a:pt x="163" y="27"/>
                    <a:pt x="163" y="29"/>
                    <a:pt x="163" y="30"/>
                  </a:cubicBezTo>
                  <a:cubicBezTo>
                    <a:pt x="163" y="30"/>
                    <a:pt x="163" y="31"/>
                    <a:pt x="163" y="32"/>
                  </a:cubicBezTo>
                  <a:cubicBezTo>
                    <a:pt x="164" y="32"/>
                    <a:pt x="165" y="32"/>
                    <a:pt x="165" y="32"/>
                  </a:cubicBezTo>
                  <a:cubicBezTo>
                    <a:pt x="165" y="32"/>
                    <a:pt x="166" y="34"/>
                    <a:pt x="166" y="34"/>
                  </a:cubicBezTo>
                  <a:cubicBezTo>
                    <a:pt x="166" y="34"/>
                    <a:pt x="166" y="35"/>
                    <a:pt x="166" y="36"/>
                  </a:cubicBezTo>
                  <a:cubicBezTo>
                    <a:pt x="165" y="37"/>
                    <a:pt x="163" y="36"/>
                    <a:pt x="162" y="38"/>
                  </a:cubicBezTo>
                  <a:cubicBezTo>
                    <a:pt x="162" y="38"/>
                    <a:pt x="162" y="39"/>
                    <a:pt x="161" y="39"/>
                  </a:cubicBezTo>
                  <a:cubicBezTo>
                    <a:pt x="161" y="40"/>
                    <a:pt x="160" y="40"/>
                    <a:pt x="160" y="40"/>
                  </a:cubicBezTo>
                  <a:cubicBezTo>
                    <a:pt x="159" y="42"/>
                    <a:pt x="159" y="42"/>
                    <a:pt x="161" y="42"/>
                  </a:cubicBezTo>
                  <a:cubicBezTo>
                    <a:pt x="162" y="42"/>
                    <a:pt x="162" y="43"/>
                    <a:pt x="163" y="42"/>
                  </a:cubicBezTo>
                  <a:cubicBezTo>
                    <a:pt x="164" y="42"/>
                    <a:pt x="165" y="42"/>
                    <a:pt x="166" y="41"/>
                  </a:cubicBezTo>
                  <a:cubicBezTo>
                    <a:pt x="167" y="41"/>
                    <a:pt x="167" y="41"/>
                    <a:pt x="168" y="41"/>
                  </a:cubicBezTo>
                  <a:cubicBezTo>
                    <a:pt x="169" y="40"/>
                    <a:pt x="171" y="40"/>
                    <a:pt x="172" y="41"/>
                  </a:cubicBezTo>
                  <a:cubicBezTo>
                    <a:pt x="173" y="41"/>
                    <a:pt x="173" y="40"/>
                    <a:pt x="173" y="41"/>
                  </a:cubicBezTo>
                  <a:cubicBezTo>
                    <a:pt x="174" y="43"/>
                    <a:pt x="172" y="44"/>
                    <a:pt x="171" y="45"/>
                  </a:cubicBezTo>
                  <a:cubicBezTo>
                    <a:pt x="168" y="48"/>
                    <a:pt x="165" y="48"/>
                    <a:pt x="161" y="48"/>
                  </a:cubicBezTo>
                  <a:cubicBezTo>
                    <a:pt x="159" y="48"/>
                    <a:pt x="157" y="48"/>
                    <a:pt x="155" y="48"/>
                  </a:cubicBezTo>
                  <a:cubicBezTo>
                    <a:pt x="153" y="48"/>
                    <a:pt x="153" y="49"/>
                    <a:pt x="152" y="50"/>
                  </a:cubicBezTo>
                  <a:cubicBezTo>
                    <a:pt x="151" y="51"/>
                    <a:pt x="152" y="51"/>
                    <a:pt x="153" y="53"/>
                  </a:cubicBezTo>
                  <a:cubicBezTo>
                    <a:pt x="152" y="53"/>
                    <a:pt x="152" y="53"/>
                    <a:pt x="151" y="53"/>
                  </a:cubicBezTo>
                  <a:cubicBezTo>
                    <a:pt x="150" y="53"/>
                    <a:pt x="150" y="54"/>
                    <a:pt x="149" y="54"/>
                  </a:cubicBezTo>
                  <a:cubicBezTo>
                    <a:pt x="149" y="54"/>
                    <a:pt x="149" y="54"/>
                    <a:pt x="148" y="55"/>
                  </a:cubicBezTo>
                  <a:cubicBezTo>
                    <a:pt x="148" y="55"/>
                    <a:pt x="148" y="56"/>
                    <a:pt x="148" y="57"/>
                  </a:cubicBezTo>
                  <a:cubicBezTo>
                    <a:pt x="149" y="58"/>
                    <a:pt x="149" y="60"/>
                    <a:pt x="150" y="61"/>
                  </a:cubicBezTo>
                  <a:cubicBezTo>
                    <a:pt x="150" y="61"/>
                    <a:pt x="150" y="61"/>
                    <a:pt x="151" y="61"/>
                  </a:cubicBezTo>
                  <a:cubicBezTo>
                    <a:pt x="152" y="61"/>
                    <a:pt x="152" y="60"/>
                    <a:pt x="154" y="60"/>
                  </a:cubicBezTo>
                  <a:cubicBezTo>
                    <a:pt x="154" y="59"/>
                    <a:pt x="155" y="60"/>
                    <a:pt x="155" y="59"/>
                  </a:cubicBezTo>
                  <a:cubicBezTo>
                    <a:pt x="156" y="59"/>
                    <a:pt x="156" y="57"/>
                    <a:pt x="157" y="57"/>
                  </a:cubicBezTo>
                  <a:cubicBezTo>
                    <a:pt x="158" y="57"/>
                    <a:pt x="158" y="59"/>
                    <a:pt x="160" y="59"/>
                  </a:cubicBezTo>
                  <a:cubicBezTo>
                    <a:pt x="161" y="59"/>
                    <a:pt x="162" y="58"/>
                    <a:pt x="163" y="58"/>
                  </a:cubicBezTo>
                  <a:cubicBezTo>
                    <a:pt x="165" y="58"/>
                    <a:pt x="166" y="59"/>
                    <a:pt x="167" y="60"/>
                  </a:cubicBezTo>
                  <a:cubicBezTo>
                    <a:pt x="168" y="62"/>
                    <a:pt x="161" y="61"/>
                    <a:pt x="160" y="61"/>
                  </a:cubicBezTo>
                  <a:cubicBezTo>
                    <a:pt x="159" y="61"/>
                    <a:pt x="158" y="60"/>
                    <a:pt x="158" y="61"/>
                  </a:cubicBezTo>
                  <a:cubicBezTo>
                    <a:pt x="157" y="61"/>
                    <a:pt x="157" y="61"/>
                    <a:pt x="157" y="62"/>
                  </a:cubicBezTo>
                  <a:cubicBezTo>
                    <a:pt x="156" y="63"/>
                    <a:pt x="156" y="64"/>
                    <a:pt x="156" y="65"/>
                  </a:cubicBezTo>
                  <a:cubicBezTo>
                    <a:pt x="155" y="66"/>
                    <a:pt x="154" y="66"/>
                    <a:pt x="154" y="67"/>
                  </a:cubicBezTo>
                  <a:cubicBezTo>
                    <a:pt x="154" y="68"/>
                    <a:pt x="153" y="69"/>
                    <a:pt x="154" y="70"/>
                  </a:cubicBezTo>
                  <a:cubicBezTo>
                    <a:pt x="154" y="70"/>
                    <a:pt x="154" y="70"/>
                    <a:pt x="155" y="70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72"/>
                    <a:pt x="156" y="73"/>
                    <a:pt x="158" y="74"/>
                  </a:cubicBezTo>
                  <a:cubicBezTo>
                    <a:pt x="158" y="74"/>
                    <a:pt x="161" y="74"/>
                    <a:pt x="161" y="74"/>
                  </a:cubicBezTo>
                  <a:cubicBezTo>
                    <a:pt x="163" y="73"/>
                    <a:pt x="165" y="72"/>
                    <a:pt x="167" y="73"/>
                  </a:cubicBezTo>
                  <a:cubicBezTo>
                    <a:pt x="167" y="74"/>
                    <a:pt x="167" y="74"/>
                    <a:pt x="167" y="75"/>
                  </a:cubicBezTo>
                  <a:cubicBezTo>
                    <a:pt x="167" y="75"/>
                    <a:pt x="168" y="76"/>
                    <a:pt x="168" y="75"/>
                  </a:cubicBezTo>
                  <a:cubicBezTo>
                    <a:pt x="168" y="76"/>
                    <a:pt x="168" y="78"/>
                    <a:pt x="168" y="78"/>
                  </a:cubicBezTo>
                  <a:cubicBezTo>
                    <a:pt x="168" y="79"/>
                    <a:pt x="167" y="80"/>
                    <a:pt x="167" y="81"/>
                  </a:cubicBezTo>
                  <a:cubicBezTo>
                    <a:pt x="166" y="82"/>
                    <a:pt x="165" y="82"/>
                    <a:pt x="164" y="82"/>
                  </a:cubicBezTo>
                  <a:cubicBezTo>
                    <a:pt x="162" y="83"/>
                    <a:pt x="162" y="82"/>
                    <a:pt x="161" y="84"/>
                  </a:cubicBezTo>
                  <a:cubicBezTo>
                    <a:pt x="161" y="84"/>
                    <a:pt x="162" y="85"/>
                    <a:pt x="162" y="86"/>
                  </a:cubicBezTo>
                  <a:cubicBezTo>
                    <a:pt x="163" y="89"/>
                    <a:pt x="162" y="92"/>
                    <a:pt x="165" y="94"/>
                  </a:cubicBezTo>
                  <a:cubicBezTo>
                    <a:pt x="165" y="94"/>
                    <a:pt x="165" y="94"/>
                    <a:pt x="166" y="94"/>
                  </a:cubicBezTo>
                  <a:cubicBezTo>
                    <a:pt x="166" y="95"/>
                    <a:pt x="166" y="95"/>
                    <a:pt x="166" y="95"/>
                  </a:cubicBezTo>
                  <a:cubicBezTo>
                    <a:pt x="167" y="96"/>
                    <a:pt x="168" y="96"/>
                    <a:pt x="169" y="96"/>
                  </a:cubicBezTo>
                  <a:cubicBezTo>
                    <a:pt x="170" y="96"/>
                    <a:pt x="171" y="96"/>
                    <a:pt x="173" y="96"/>
                  </a:cubicBezTo>
                  <a:cubicBezTo>
                    <a:pt x="175" y="96"/>
                    <a:pt x="177" y="96"/>
                    <a:pt x="179" y="97"/>
                  </a:cubicBezTo>
                  <a:cubicBezTo>
                    <a:pt x="181" y="97"/>
                    <a:pt x="182" y="97"/>
                    <a:pt x="184" y="98"/>
                  </a:cubicBezTo>
                  <a:cubicBezTo>
                    <a:pt x="185" y="99"/>
                    <a:pt x="186" y="99"/>
                    <a:pt x="187" y="100"/>
                  </a:cubicBezTo>
                  <a:cubicBezTo>
                    <a:pt x="188" y="101"/>
                    <a:pt x="190" y="101"/>
                    <a:pt x="191" y="102"/>
                  </a:cubicBezTo>
                  <a:cubicBezTo>
                    <a:pt x="192" y="104"/>
                    <a:pt x="192" y="106"/>
                    <a:pt x="192" y="108"/>
                  </a:cubicBezTo>
                  <a:cubicBezTo>
                    <a:pt x="191" y="107"/>
                    <a:pt x="189" y="106"/>
                    <a:pt x="188" y="104"/>
                  </a:cubicBezTo>
                  <a:cubicBezTo>
                    <a:pt x="188" y="104"/>
                    <a:pt x="188" y="103"/>
                    <a:pt x="188" y="103"/>
                  </a:cubicBezTo>
                  <a:cubicBezTo>
                    <a:pt x="187" y="102"/>
                    <a:pt x="186" y="102"/>
                    <a:pt x="186" y="101"/>
                  </a:cubicBezTo>
                  <a:cubicBezTo>
                    <a:pt x="185" y="101"/>
                    <a:pt x="184" y="100"/>
                    <a:pt x="183" y="99"/>
                  </a:cubicBezTo>
                  <a:cubicBezTo>
                    <a:pt x="182" y="98"/>
                    <a:pt x="180" y="99"/>
                    <a:pt x="179" y="99"/>
                  </a:cubicBezTo>
                  <a:cubicBezTo>
                    <a:pt x="176" y="99"/>
                    <a:pt x="173" y="98"/>
                    <a:pt x="171" y="99"/>
                  </a:cubicBezTo>
                  <a:cubicBezTo>
                    <a:pt x="170" y="99"/>
                    <a:pt x="169" y="100"/>
                    <a:pt x="169" y="101"/>
                  </a:cubicBezTo>
                  <a:cubicBezTo>
                    <a:pt x="168" y="101"/>
                    <a:pt x="167" y="101"/>
                    <a:pt x="167" y="101"/>
                  </a:cubicBezTo>
                  <a:cubicBezTo>
                    <a:pt x="165" y="101"/>
                    <a:pt x="164" y="101"/>
                    <a:pt x="162" y="101"/>
                  </a:cubicBezTo>
                  <a:cubicBezTo>
                    <a:pt x="161" y="100"/>
                    <a:pt x="160" y="100"/>
                    <a:pt x="158" y="100"/>
                  </a:cubicBezTo>
                  <a:cubicBezTo>
                    <a:pt x="158" y="100"/>
                    <a:pt x="157" y="100"/>
                    <a:pt x="157" y="100"/>
                  </a:cubicBezTo>
                  <a:cubicBezTo>
                    <a:pt x="156" y="99"/>
                    <a:pt x="156" y="97"/>
                    <a:pt x="155" y="96"/>
                  </a:cubicBezTo>
                  <a:cubicBezTo>
                    <a:pt x="155" y="96"/>
                    <a:pt x="152" y="96"/>
                    <a:pt x="151" y="96"/>
                  </a:cubicBezTo>
                  <a:cubicBezTo>
                    <a:pt x="150" y="96"/>
                    <a:pt x="150" y="96"/>
                    <a:pt x="149" y="97"/>
                  </a:cubicBezTo>
                  <a:cubicBezTo>
                    <a:pt x="149" y="97"/>
                    <a:pt x="149" y="98"/>
                    <a:pt x="149" y="98"/>
                  </a:cubicBezTo>
                  <a:cubicBezTo>
                    <a:pt x="148" y="98"/>
                    <a:pt x="148" y="98"/>
                    <a:pt x="147" y="98"/>
                  </a:cubicBezTo>
                  <a:cubicBezTo>
                    <a:pt x="146" y="99"/>
                    <a:pt x="147" y="100"/>
                    <a:pt x="146" y="101"/>
                  </a:cubicBezTo>
                  <a:cubicBezTo>
                    <a:pt x="145" y="103"/>
                    <a:pt x="142" y="105"/>
                    <a:pt x="141" y="106"/>
                  </a:cubicBezTo>
                  <a:cubicBezTo>
                    <a:pt x="140" y="106"/>
                    <a:pt x="137" y="107"/>
                    <a:pt x="137" y="108"/>
                  </a:cubicBezTo>
                  <a:cubicBezTo>
                    <a:pt x="137" y="109"/>
                    <a:pt x="138" y="112"/>
                    <a:pt x="138" y="113"/>
                  </a:cubicBezTo>
                  <a:cubicBezTo>
                    <a:pt x="138" y="114"/>
                    <a:pt x="141" y="118"/>
                    <a:pt x="142" y="119"/>
                  </a:cubicBezTo>
                  <a:cubicBezTo>
                    <a:pt x="142" y="120"/>
                    <a:pt x="147" y="123"/>
                    <a:pt x="146" y="124"/>
                  </a:cubicBezTo>
                  <a:cubicBezTo>
                    <a:pt x="145" y="123"/>
                    <a:pt x="140" y="121"/>
                    <a:pt x="140" y="121"/>
                  </a:cubicBezTo>
                  <a:cubicBezTo>
                    <a:pt x="138" y="121"/>
                    <a:pt x="137" y="120"/>
                    <a:pt x="136" y="120"/>
                  </a:cubicBezTo>
                  <a:cubicBezTo>
                    <a:pt x="135" y="120"/>
                    <a:pt x="134" y="121"/>
                    <a:pt x="133" y="120"/>
                  </a:cubicBezTo>
                  <a:cubicBezTo>
                    <a:pt x="133" y="120"/>
                    <a:pt x="133" y="120"/>
                    <a:pt x="133" y="120"/>
                  </a:cubicBezTo>
                  <a:cubicBezTo>
                    <a:pt x="131" y="120"/>
                    <a:pt x="128" y="116"/>
                    <a:pt x="127" y="120"/>
                  </a:cubicBezTo>
                  <a:cubicBezTo>
                    <a:pt x="127" y="122"/>
                    <a:pt x="127" y="121"/>
                    <a:pt x="127" y="123"/>
                  </a:cubicBezTo>
                  <a:cubicBezTo>
                    <a:pt x="130" y="123"/>
                    <a:pt x="130" y="126"/>
                    <a:pt x="130" y="129"/>
                  </a:cubicBezTo>
                  <a:cubicBezTo>
                    <a:pt x="131" y="131"/>
                    <a:pt x="131" y="132"/>
                    <a:pt x="130" y="134"/>
                  </a:cubicBezTo>
                  <a:cubicBezTo>
                    <a:pt x="129" y="134"/>
                    <a:pt x="128" y="136"/>
                    <a:pt x="128" y="136"/>
                  </a:cubicBezTo>
                  <a:cubicBezTo>
                    <a:pt x="127" y="136"/>
                    <a:pt x="126" y="135"/>
                    <a:pt x="125" y="135"/>
                  </a:cubicBezTo>
                  <a:cubicBezTo>
                    <a:pt x="124" y="135"/>
                    <a:pt x="123" y="135"/>
                    <a:pt x="123" y="134"/>
                  </a:cubicBezTo>
                  <a:cubicBezTo>
                    <a:pt x="122" y="134"/>
                    <a:pt x="119" y="130"/>
                    <a:pt x="119" y="129"/>
                  </a:cubicBezTo>
                  <a:cubicBezTo>
                    <a:pt x="120" y="127"/>
                    <a:pt x="121" y="126"/>
                    <a:pt x="122" y="124"/>
                  </a:cubicBezTo>
                  <a:cubicBezTo>
                    <a:pt x="122" y="124"/>
                    <a:pt x="124" y="124"/>
                    <a:pt x="124" y="123"/>
                  </a:cubicBezTo>
                  <a:cubicBezTo>
                    <a:pt x="125" y="122"/>
                    <a:pt x="126" y="118"/>
                    <a:pt x="126" y="117"/>
                  </a:cubicBezTo>
                  <a:cubicBezTo>
                    <a:pt x="126" y="114"/>
                    <a:pt x="127" y="113"/>
                    <a:pt x="123" y="112"/>
                  </a:cubicBezTo>
                  <a:cubicBezTo>
                    <a:pt x="122" y="111"/>
                    <a:pt x="120" y="111"/>
                    <a:pt x="119" y="111"/>
                  </a:cubicBezTo>
                  <a:cubicBezTo>
                    <a:pt x="118" y="110"/>
                    <a:pt x="117" y="109"/>
                    <a:pt x="116" y="109"/>
                  </a:cubicBezTo>
                  <a:cubicBezTo>
                    <a:pt x="114" y="109"/>
                    <a:pt x="112" y="109"/>
                    <a:pt x="111" y="109"/>
                  </a:cubicBezTo>
                  <a:cubicBezTo>
                    <a:pt x="109" y="110"/>
                    <a:pt x="107" y="111"/>
                    <a:pt x="105" y="113"/>
                  </a:cubicBezTo>
                  <a:cubicBezTo>
                    <a:pt x="105" y="114"/>
                    <a:pt x="105" y="114"/>
                    <a:pt x="104" y="114"/>
                  </a:cubicBezTo>
                  <a:cubicBezTo>
                    <a:pt x="103" y="114"/>
                    <a:pt x="101" y="113"/>
                    <a:pt x="100" y="113"/>
                  </a:cubicBezTo>
                  <a:cubicBezTo>
                    <a:pt x="99" y="112"/>
                    <a:pt x="99" y="112"/>
                    <a:pt x="98" y="112"/>
                  </a:cubicBezTo>
                  <a:cubicBezTo>
                    <a:pt x="97" y="112"/>
                    <a:pt x="97" y="112"/>
                    <a:pt x="96" y="112"/>
                  </a:cubicBezTo>
                  <a:cubicBezTo>
                    <a:pt x="95" y="113"/>
                    <a:pt x="95" y="113"/>
                    <a:pt x="94" y="114"/>
                  </a:cubicBezTo>
                  <a:cubicBezTo>
                    <a:pt x="93" y="114"/>
                    <a:pt x="91" y="114"/>
                    <a:pt x="90" y="114"/>
                  </a:cubicBezTo>
                  <a:cubicBezTo>
                    <a:pt x="88" y="114"/>
                    <a:pt x="87" y="114"/>
                    <a:pt x="86" y="115"/>
                  </a:cubicBezTo>
                  <a:cubicBezTo>
                    <a:pt x="84" y="115"/>
                    <a:pt x="81" y="115"/>
                    <a:pt x="79" y="115"/>
                  </a:cubicBezTo>
                  <a:cubicBezTo>
                    <a:pt x="76" y="115"/>
                    <a:pt x="73" y="115"/>
                    <a:pt x="71" y="117"/>
                  </a:cubicBezTo>
                  <a:cubicBezTo>
                    <a:pt x="70" y="118"/>
                    <a:pt x="69" y="119"/>
                    <a:pt x="68" y="120"/>
                  </a:cubicBezTo>
                  <a:cubicBezTo>
                    <a:pt x="68" y="122"/>
                    <a:pt x="66" y="122"/>
                    <a:pt x="67" y="124"/>
                  </a:cubicBezTo>
                  <a:cubicBezTo>
                    <a:pt x="66" y="124"/>
                    <a:pt x="66" y="128"/>
                    <a:pt x="65" y="129"/>
                  </a:cubicBezTo>
                  <a:cubicBezTo>
                    <a:pt x="65" y="129"/>
                    <a:pt x="65" y="130"/>
                    <a:pt x="64" y="131"/>
                  </a:cubicBezTo>
                  <a:cubicBezTo>
                    <a:pt x="63" y="131"/>
                    <a:pt x="62" y="131"/>
                    <a:pt x="61" y="132"/>
                  </a:cubicBezTo>
                  <a:cubicBezTo>
                    <a:pt x="59" y="133"/>
                    <a:pt x="61" y="138"/>
                    <a:pt x="62" y="140"/>
                  </a:cubicBezTo>
                  <a:cubicBezTo>
                    <a:pt x="62" y="142"/>
                    <a:pt x="63" y="145"/>
                    <a:pt x="64" y="146"/>
                  </a:cubicBezTo>
                  <a:cubicBezTo>
                    <a:pt x="64" y="146"/>
                    <a:pt x="65" y="146"/>
                    <a:pt x="66" y="146"/>
                  </a:cubicBezTo>
                  <a:cubicBezTo>
                    <a:pt x="68" y="146"/>
                    <a:pt x="70" y="145"/>
                    <a:pt x="71" y="147"/>
                  </a:cubicBezTo>
                  <a:cubicBezTo>
                    <a:pt x="71" y="149"/>
                    <a:pt x="70" y="152"/>
                    <a:pt x="70" y="154"/>
                  </a:cubicBezTo>
                  <a:cubicBezTo>
                    <a:pt x="70" y="157"/>
                    <a:pt x="70" y="160"/>
                    <a:pt x="70" y="163"/>
                  </a:cubicBezTo>
                  <a:cubicBezTo>
                    <a:pt x="70" y="164"/>
                    <a:pt x="70" y="165"/>
                    <a:pt x="69" y="167"/>
                  </a:cubicBezTo>
                  <a:cubicBezTo>
                    <a:pt x="69" y="168"/>
                    <a:pt x="69" y="168"/>
                    <a:pt x="69" y="169"/>
                  </a:cubicBezTo>
                  <a:cubicBezTo>
                    <a:pt x="68" y="171"/>
                    <a:pt x="69" y="174"/>
                    <a:pt x="69" y="176"/>
                  </a:cubicBezTo>
                  <a:cubicBezTo>
                    <a:pt x="69" y="179"/>
                    <a:pt x="69" y="181"/>
                    <a:pt x="68" y="183"/>
                  </a:cubicBezTo>
                  <a:cubicBezTo>
                    <a:pt x="67" y="185"/>
                    <a:pt x="67" y="186"/>
                    <a:pt x="65" y="187"/>
                  </a:cubicBezTo>
                  <a:cubicBezTo>
                    <a:pt x="65" y="188"/>
                    <a:pt x="64" y="188"/>
                    <a:pt x="64" y="189"/>
                  </a:cubicBezTo>
                  <a:cubicBezTo>
                    <a:pt x="62" y="191"/>
                    <a:pt x="61" y="192"/>
                    <a:pt x="63" y="195"/>
                  </a:cubicBezTo>
                  <a:cubicBezTo>
                    <a:pt x="63" y="196"/>
                    <a:pt x="64" y="196"/>
                    <a:pt x="64" y="197"/>
                  </a:cubicBezTo>
                  <a:cubicBezTo>
                    <a:pt x="63" y="199"/>
                    <a:pt x="60" y="199"/>
                    <a:pt x="59" y="200"/>
                  </a:cubicBezTo>
                  <a:cubicBezTo>
                    <a:pt x="58" y="201"/>
                    <a:pt x="57" y="203"/>
                    <a:pt x="56" y="203"/>
                  </a:cubicBezTo>
                  <a:cubicBezTo>
                    <a:pt x="55" y="204"/>
                    <a:pt x="53" y="203"/>
                    <a:pt x="52" y="203"/>
                  </a:cubicBezTo>
                  <a:cubicBezTo>
                    <a:pt x="50" y="203"/>
                    <a:pt x="50" y="203"/>
                    <a:pt x="50" y="204"/>
                  </a:cubicBezTo>
                  <a:cubicBezTo>
                    <a:pt x="49" y="205"/>
                    <a:pt x="49" y="205"/>
                    <a:pt x="48" y="206"/>
                  </a:cubicBezTo>
                  <a:cubicBezTo>
                    <a:pt x="46" y="206"/>
                    <a:pt x="44" y="206"/>
                    <a:pt x="42" y="206"/>
                  </a:cubicBezTo>
                  <a:cubicBezTo>
                    <a:pt x="41" y="206"/>
                    <a:pt x="39" y="206"/>
                    <a:pt x="38" y="206"/>
                  </a:cubicBezTo>
                  <a:cubicBezTo>
                    <a:pt x="37" y="206"/>
                    <a:pt x="36" y="208"/>
                    <a:pt x="35" y="208"/>
                  </a:cubicBezTo>
                  <a:cubicBezTo>
                    <a:pt x="34" y="208"/>
                    <a:pt x="34" y="209"/>
                    <a:pt x="35" y="210"/>
                  </a:cubicBezTo>
                  <a:cubicBezTo>
                    <a:pt x="35" y="210"/>
                    <a:pt x="36" y="212"/>
                    <a:pt x="37" y="212"/>
                  </a:cubicBezTo>
                  <a:cubicBezTo>
                    <a:pt x="37" y="212"/>
                    <a:pt x="38" y="213"/>
                    <a:pt x="38" y="213"/>
                  </a:cubicBezTo>
                  <a:cubicBezTo>
                    <a:pt x="40" y="215"/>
                    <a:pt x="41" y="215"/>
                    <a:pt x="40" y="217"/>
                  </a:cubicBezTo>
                  <a:cubicBezTo>
                    <a:pt x="37" y="226"/>
                    <a:pt x="54" y="225"/>
                    <a:pt x="58" y="227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59" y="227"/>
                    <a:pt x="59" y="228"/>
                    <a:pt x="59" y="228"/>
                  </a:cubicBezTo>
                  <a:cubicBezTo>
                    <a:pt x="59" y="228"/>
                    <a:pt x="59" y="229"/>
                    <a:pt x="59" y="229"/>
                  </a:cubicBezTo>
                  <a:cubicBezTo>
                    <a:pt x="60" y="230"/>
                    <a:pt x="60" y="230"/>
                    <a:pt x="61" y="231"/>
                  </a:cubicBezTo>
                  <a:cubicBezTo>
                    <a:pt x="61" y="232"/>
                    <a:pt x="61" y="234"/>
                    <a:pt x="60" y="235"/>
                  </a:cubicBezTo>
                  <a:cubicBezTo>
                    <a:pt x="60" y="236"/>
                    <a:pt x="59" y="236"/>
                    <a:pt x="59" y="237"/>
                  </a:cubicBezTo>
                  <a:cubicBezTo>
                    <a:pt x="58" y="239"/>
                    <a:pt x="60" y="242"/>
                    <a:pt x="58" y="244"/>
                  </a:cubicBezTo>
                  <a:cubicBezTo>
                    <a:pt x="57" y="245"/>
                    <a:pt x="56" y="246"/>
                    <a:pt x="54" y="246"/>
                  </a:cubicBezTo>
                  <a:cubicBezTo>
                    <a:pt x="53" y="247"/>
                    <a:pt x="53" y="248"/>
                    <a:pt x="52" y="249"/>
                  </a:cubicBezTo>
                  <a:cubicBezTo>
                    <a:pt x="50" y="251"/>
                    <a:pt x="48" y="252"/>
                    <a:pt x="46" y="254"/>
                  </a:cubicBezTo>
                  <a:cubicBezTo>
                    <a:pt x="46" y="255"/>
                    <a:pt x="45" y="255"/>
                    <a:pt x="45" y="256"/>
                  </a:cubicBezTo>
                  <a:cubicBezTo>
                    <a:pt x="44" y="256"/>
                    <a:pt x="44" y="256"/>
                    <a:pt x="44" y="256"/>
                  </a:cubicBezTo>
                  <a:cubicBezTo>
                    <a:pt x="43" y="257"/>
                    <a:pt x="43" y="258"/>
                    <a:pt x="43" y="258"/>
                  </a:cubicBezTo>
                  <a:cubicBezTo>
                    <a:pt x="43" y="259"/>
                    <a:pt x="43" y="260"/>
                    <a:pt x="43" y="261"/>
                  </a:cubicBezTo>
                  <a:cubicBezTo>
                    <a:pt x="43" y="262"/>
                    <a:pt x="43" y="264"/>
                    <a:pt x="43" y="265"/>
                  </a:cubicBezTo>
                  <a:cubicBezTo>
                    <a:pt x="44" y="266"/>
                    <a:pt x="45" y="266"/>
                    <a:pt x="44" y="268"/>
                  </a:cubicBezTo>
                  <a:cubicBezTo>
                    <a:pt x="44" y="269"/>
                    <a:pt x="43" y="270"/>
                    <a:pt x="42" y="270"/>
                  </a:cubicBezTo>
                  <a:cubicBezTo>
                    <a:pt x="40" y="271"/>
                    <a:pt x="37" y="273"/>
                    <a:pt x="35" y="274"/>
                  </a:cubicBezTo>
                  <a:cubicBezTo>
                    <a:pt x="34" y="274"/>
                    <a:pt x="32" y="274"/>
                    <a:pt x="31" y="275"/>
                  </a:cubicBezTo>
                  <a:cubicBezTo>
                    <a:pt x="30" y="276"/>
                    <a:pt x="31" y="276"/>
                    <a:pt x="29" y="276"/>
                  </a:cubicBezTo>
                  <a:cubicBezTo>
                    <a:pt x="28" y="276"/>
                    <a:pt x="27" y="277"/>
                    <a:pt x="26" y="277"/>
                  </a:cubicBezTo>
                  <a:cubicBezTo>
                    <a:pt x="25" y="277"/>
                    <a:pt x="23" y="277"/>
                    <a:pt x="22" y="277"/>
                  </a:cubicBezTo>
                  <a:cubicBezTo>
                    <a:pt x="21" y="277"/>
                    <a:pt x="20" y="277"/>
                    <a:pt x="19" y="276"/>
                  </a:cubicBezTo>
                  <a:cubicBezTo>
                    <a:pt x="17" y="275"/>
                    <a:pt x="15" y="274"/>
                    <a:pt x="13" y="273"/>
                  </a:cubicBezTo>
                  <a:cubicBezTo>
                    <a:pt x="11" y="273"/>
                    <a:pt x="8" y="273"/>
                    <a:pt x="8" y="276"/>
                  </a:cubicBezTo>
                  <a:cubicBezTo>
                    <a:pt x="8" y="277"/>
                    <a:pt x="8" y="278"/>
                    <a:pt x="8" y="278"/>
                  </a:cubicBezTo>
                  <a:cubicBezTo>
                    <a:pt x="6" y="278"/>
                    <a:pt x="5" y="278"/>
                    <a:pt x="3" y="278"/>
                  </a:cubicBezTo>
                  <a:cubicBezTo>
                    <a:pt x="1" y="278"/>
                    <a:pt x="0" y="281"/>
                    <a:pt x="0" y="283"/>
                  </a:cubicBezTo>
                  <a:cubicBezTo>
                    <a:pt x="0" y="284"/>
                    <a:pt x="0" y="285"/>
                    <a:pt x="0" y="285"/>
                  </a:cubicBezTo>
                  <a:cubicBezTo>
                    <a:pt x="0" y="287"/>
                    <a:pt x="0" y="287"/>
                    <a:pt x="1" y="288"/>
                  </a:cubicBezTo>
                  <a:cubicBezTo>
                    <a:pt x="2" y="289"/>
                    <a:pt x="5" y="290"/>
                    <a:pt x="5" y="292"/>
                  </a:cubicBezTo>
                  <a:cubicBezTo>
                    <a:pt x="6" y="294"/>
                    <a:pt x="5" y="296"/>
                    <a:pt x="6" y="297"/>
                  </a:cubicBezTo>
                  <a:cubicBezTo>
                    <a:pt x="7" y="299"/>
                    <a:pt x="9" y="299"/>
                    <a:pt x="10" y="300"/>
                  </a:cubicBezTo>
                  <a:cubicBezTo>
                    <a:pt x="10" y="301"/>
                    <a:pt x="10" y="301"/>
                    <a:pt x="10" y="301"/>
                  </a:cubicBezTo>
                  <a:cubicBezTo>
                    <a:pt x="10" y="302"/>
                    <a:pt x="11" y="303"/>
                    <a:pt x="11" y="304"/>
                  </a:cubicBezTo>
                  <a:cubicBezTo>
                    <a:pt x="11" y="305"/>
                    <a:pt x="11" y="306"/>
                    <a:pt x="11" y="307"/>
                  </a:cubicBezTo>
                  <a:cubicBezTo>
                    <a:pt x="11" y="308"/>
                    <a:pt x="11" y="308"/>
                    <a:pt x="12" y="309"/>
                  </a:cubicBezTo>
                  <a:cubicBezTo>
                    <a:pt x="12" y="311"/>
                    <a:pt x="12" y="314"/>
                    <a:pt x="13" y="316"/>
                  </a:cubicBezTo>
                  <a:cubicBezTo>
                    <a:pt x="13" y="317"/>
                    <a:pt x="13" y="319"/>
                    <a:pt x="13" y="320"/>
                  </a:cubicBezTo>
                  <a:cubicBezTo>
                    <a:pt x="13" y="322"/>
                    <a:pt x="13" y="321"/>
                    <a:pt x="12" y="322"/>
                  </a:cubicBezTo>
                  <a:cubicBezTo>
                    <a:pt x="12" y="323"/>
                    <a:pt x="11" y="323"/>
                    <a:pt x="10" y="324"/>
                  </a:cubicBezTo>
                  <a:cubicBezTo>
                    <a:pt x="10" y="325"/>
                    <a:pt x="9" y="325"/>
                    <a:pt x="9" y="326"/>
                  </a:cubicBezTo>
                  <a:cubicBezTo>
                    <a:pt x="7" y="328"/>
                    <a:pt x="9" y="331"/>
                    <a:pt x="8" y="334"/>
                  </a:cubicBezTo>
                  <a:cubicBezTo>
                    <a:pt x="7" y="335"/>
                    <a:pt x="6" y="335"/>
                    <a:pt x="6" y="336"/>
                  </a:cubicBezTo>
                  <a:cubicBezTo>
                    <a:pt x="7" y="336"/>
                    <a:pt x="7" y="336"/>
                    <a:pt x="7" y="337"/>
                  </a:cubicBezTo>
                  <a:cubicBezTo>
                    <a:pt x="7" y="337"/>
                    <a:pt x="7" y="338"/>
                    <a:pt x="7" y="338"/>
                  </a:cubicBezTo>
                  <a:cubicBezTo>
                    <a:pt x="7" y="339"/>
                    <a:pt x="7" y="339"/>
                    <a:pt x="8" y="340"/>
                  </a:cubicBezTo>
                  <a:cubicBezTo>
                    <a:pt x="7" y="341"/>
                    <a:pt x="5" y="341"/>
                    <a:pt x="5" y="342"/>
                  </a:cubicBezTo>
                  <a:cubicBezTo>
                    <a:pt x="4" y="343"/>
                    <a:pt x="4" y="343"/>
                    <a:pt x="3" y="344"/>
                  </a:cubicBezTo>
                  <a:cubicBezTo>
                    <a:pt x="1" y="344"/>
                    <a:pt x="2" y="344"/>
                    <a:pt x="1" y="345"/>
                  </a:cubicBezTo>
                  <a:cubicBezTo>
                    <a:pt x="1" y="347"/>
                    <a:pt x="0" y="349"/>
                    <a:pt x="1" y="351"/>
                  </a:cubicBezTo>
                  <a:cubicBezTo>
                    <a:pt x="1" y="351"/>
                    <a:pt x="1" y="351"/>
                    <a:pt x="2" y="351"/>
                  </a:cubicBezTo>
                  <a:cubicBezTo>
                    <a:pt x="3" y="351"/>
                    <a:pt x="4" y="351"/>
                    <a:pt x="4" y="351"/>
                  </a:cubicBezTo>
                  <a:cubicBezTo>
                    <a:pt x="4" y="351"/>
                    <a:pt x="4" y="351"/>
                    <a:pt x="4" y="351"/>
                  </a:cubicBezTo>
                  <a:cubicBezTo>
                    <a:pt x="4" y="351"/>
                    <a:pt x="4" y="351"/>
                    <a:pt x="5" y="351"/>
                  </a:cubicBezTo>
                  <a:cubicBezTo>
                    <a:pt x="5" y="351"/>
                    <a:pt x="6" y="352"/>
                    <a:pt x="6" y="353"/>
                  </a:cubicBezTo>
                  <a:cubicBezTo>
                    <a:pt x="6" y="354"/>
                    <a:pt x="6" y="356"/>
                    <a:pt x="6" y="358"/>
                  </a:cubicBezTo>
                  <a:cubicBezTo>
                    <a:pt x="5" y="359"/>
                    <a:pt x="5" y="361"/>
                    <a:pt x="4" y="362"/>
                  </a:cubicBezTo>
                  <a:cubicBezTo>
                    <a:pt x="4" y="363"/>
                    <a:pt x="4" y="364"/>
                    <a:pt x="4" y="364"/>
                  </a:cubicBezTo>
                  <a:cubicBezTo>
                    <a:pt x="4" y="365"/>
                    <a:pt x="4" y="365"/>
                    <a:pt x="4" y="365"/>
                  </a:cubicBezTo>
                  <a:cubicBezTo>
                    <a:pt x="4" y="367"/>
                    <a:pt x="4" y="367"/>
                    <a:pt x="4" y="368"/>
                  </a:cubicBezTo>
                  <a:cubicBezTo>
                    <a:pt x="3" y="369"/>
                    <a:pt x="3" y="370"/>
                    <a:pt x="3" y="370"/>
                  </a:cubicBezTo>
                  <a:cubicBezTo>
                    <a:pt x="3" y="371"/>
                    <a:pt x="4" y="371"/>
                    <a:pt x="4" y="371"/>
                  </a:cubicBezTo>
                  <a:cubicBezTo>
                    <a:pt x="3" y="372"/>
                    <a:pt x="2" y="372"/>
                    <a:pt x="1" y="373"/>
                  </a:cubicBezTo>
                  <a:cubicBezTo>
                    <a:pt x="1" y="373"/>
                    <a:pt x="1" y="374"/>
                    <a:pt x="0" y="375"/>
                  </a:cubicBezTo>
                  <a:cubicBezTo>
                    <a:pt x="0" y="375"/>
                    <a:pt x="0" y="375"/>
                    <a:pt x="0" y="376"/>
                  </a:cubicBezTo>
                  <a:cubicBezTo>
                    <a:pt x="0" y="376"/>
                    <a:pt x="1" y="377"/>
                    <a:pt x="1" y="377"/>
                  </a:cubicBezTo>
                  <a:cubicBezTo>
                    <a:pt x="2" y="377"/>
                    <a:pt x="3" y="378"/>
                    <a:pt x="3" y="379"/>
                  </a:cubicBezTo>
                  <a:cubicBezTo>
                    <a:pt x="3" y="379"/>
                    <a:pt x="3" y="380"/>
                    <a:pt x="3" y="380"/>
                  </a:cubicBezTo>
                  <a:cubicBezTo>
                    <a:pt x="3" y="381"/>
                    <a:pt x="3" y="382"/>
                    <a:pt x="3" y="383"/>
                  </a:cubicBezTo>
                  <a:cubicBezTo>
                    <a:pt x="2" y="385"/>
                    <a:pt x="2" y="388"/>
                    <a:pt x="3" y="390"/>
                  </a:cubicBezTo>
                  <a:cubicBezTo>
                    <a:pt x="5" y="391"/>
                    <a:pt x="6" y="392"/>
                    <a:pt x="8" y="393"/>
                  </a:cubicBezTo>
                  <a:cubicBezTo>
                    <a:pt x="9" y="393"/>
                    <a:pt x="9" y="393"/>
                    <a:pt x="10" y="394"/>
                  </a:cubicBezTo>
                  <a:cubicBezTo>
                    <a:pt x="11" y="395"/>
                    <a:pt x="12" y="395"/>
                    <a:pt x="14" y="396"/>
                  </a:cubicBezTo>
                  <a:cubicBezTo>
                    <a:pt x="14" y="396"/>
                    <a:pt x="15" y="397"/>
                    <a:pt x="15" y="397"/>
                  </a:cubicBezTo>
                  <a:cubicBezTo>
                    <a:pt x="17" y="397"/>
                    <a:pt x="18" y="397"/>
                    <a:pt x="19" y="399"/>
                  </a:cubicBezTo>
                  <a:cubicBezTo>
                    <a:pt x="20" y="401"/>
                    <a:pt x="19" y="403"/>
                    <a:pt x="19" y="405"/>
                  </a:cubicBezTo>
                  <a:cubicBezTo>
                    <a:pt x="18" y="406"/>
                    <a:pt x="18" y="407"/>
                    <a:pt x="17" y="409"/>
                  </a:cubicBezTo>
                  <a:cubicBezTo>
                    <a:pt x="16" y="411"/>
                    <a:pt x="14" y="412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2" y="416"/>
                    <a:pt x="10" y="417"/>
                    <a:pt x="10" y="419"/>
                  </a:cubicBezTo>
                  <a:cubicBezTo>
                    <a:pt x="10" y="420"/>
                    <a:pt x="10" y="420"/>
                    <a:pt x="10" y="420"/>
                  </a:cubicBezTo>
                  <a:cubicBezTo>
                    <a:pt x="10" y="422"/>
                    <a:pt x="9" y="423"/>
                    <a:pt x="8" y="424"/>
                  </a:cubicBezTo>
                  <a:cubicBezTo>
                    <a:pt x="7" y="426"/>
                    <a:pt x="7" y="428"/>
                    <a:pt x="7" y="430"/>
                  </a:cubicBezTo>
                  <a:cubicBezTo>
                    <a:pt x="7" y="432"/>
                    <a:pt x="8" y="433"/>
                    <a:pt x="8" y="435"/>
                  </a:cubicBezTo>
                  <a:cubicBezTo>
                    <a:pt x="9" y="436"/>
                    <a:pt x="8" y="438"/>
                    <a:pt x="9" y="439"/>
                  </a:cubicBezTo>
                  <a:cubicBezTo>
                    <a:pt x="10" y="441"/>
                    <a:pt x="11" y="442"/>
                    <a:pt x="12" y="444"/>
                  </a:cubicBezTo>
                  <a:cubicBezTo>
                    <a:pt x="12" y="445"/>
                    <a:pt x="12" y="447"/>
                    <a:pt x="14" y="448"/>
                  </a:cubicBezTo>
                  <a:cubicBezTo>
                    <a:pt x="15" y="448"/>
                    <a:pt x="16" y="448"/>
                    <a:pt x="17" y="449"/>
                  </a:cubicBezTo>
                  <a:cubicBezTo>
                    <a:pt x="17" y="450"/>
                    <a:pt x="18" y="451"/>
                    <a:pt x="19" y="452"/>
                  </a:cubicBezTo>
                  <a:cubicBezTo>
                    <a:pt x="20" y="454"/>
                    <a:pt x="22" y="455"/>
                    <a:pt x="23" y="456"/>
                  </a:cubicBezTo>
                  <a:cubicBezTo>
                    <a:pt x="25" y="457"/>
                    <a:pt x="26" y="457"/>
                    <a:pt x="28" y="457"/>
                  </a:cubicBezTo>
                  <a:cubicBezTo>
                    <a:pt x="29" y="457"/>
                    <a:pt x="31" y="457"/>
                    <a:pt x="31" y="459"/>
                  </a:cubicBezTo>
                  <a:cubicBezTo>
                    <a:pt x="29" y="459"/>
                    <a:pt x="26" y="461"/>
                    <a:pt x="24" y="462"/>
                  </a:cubicBezTo>
                  <a:cubicBezTo>
                    <a:pt x="23" y="463"/>
                    <a:pt x="22" y="464"/>
                    <a:pt x="22" y="466"/>
                  </a:cubicBezTo>
                  <a:cubicBezTo>
                    <a:pt x="21" y="467"/>
                    <a:pt x="20" y="468"/>
                    <a:pt x="19" y="470"/>
                  </a:cubicBezTo>
                  <a:cubicBezTo>
                    <a:pt x="17" y="473"/>
                    <a:pt x="16" y="477"/>
                    <a:pt x="15" y="482"/>
                  </a:cubicBezTo>
                  <a:cubicBezTo>
                    <a:pt x="15" y="482"/>
                    <a:pt x="15" y="482"/>
                    <a:pt x="15" y="482"/>
                  </a:cubicBezTo>
                  <a:cubicBezTo>
                    <a:pt x="21" y="485"/>
                    <a:pt x="26" y="487"/>
                    <a:pt x="30" y="493"/>
                  </a:cubicBezTo>
                  <a:cubicBezTo>
                    <a:pt x="31" y="494"/>
                    <a:pt x="33" y="495"/>
                    <a:pt x="33" y="496"/>
                  </a:cubicBezTo>
                  <a:cubicBezTo>
                    <a:pt x="34" y="498"/>
                    <a:pt x="34" y="498"/>
                    <a:pt x="34" y="500"/>
                  </a:cubicBezTo>
                  <a:cubicBezTo>
                    <a:pt x="36" y="503"/>
                    <a:pt x="36" y="505"/>
                    <a:pt x="40" y="506"/>
                  </a:cubicBezTo>
                  <a:cubicBezTo>
                    <a:pt x="44" y="506"/>
                    <a:pt x="46" y="503"/>
                    <a:pt x="50" y="502"/>
                  </a:cubicBezTo>
                  <a:cubicBezTo>
                    <a:pt x="53" y="501"/>
                    <a:pt x="56" y="501"/>
                    <a:pt x="60" y="501"/>
                  </a:cubicBezTo>
                  <a:cubicBezTo>
                    <a:pt x="67" y="501"/>
                    <a:pt x="73" y="501"/>
                    <a:pt x="79" y="505"/>
                  </a:cubicBezTo>
                  <a:cubicBezTo>
                    <a:pt x="81" y="507"/>
                    <a:pt x="81" y="510"/>
                    <a:pt x="84" y="513"/>
                  </a:cubicBezTo>
                  <a:cubicBezTo>
                    <a:pt x="84" y="513"/>
                    <a:pt x="85" y="513"/>
                    <a:pt x="86" y="514"/>
                  </a:cubicBezTo>
                  <a:cubicBezTo>
                    <a:pt x="87" y="514"/>
                    <a:pt x="86" y="515"/>
                    <a:pt x="87" y="515"/>
                  </a:cubicBezTo>
                  <a:cubicBezTo>
                    <a:pt x="90" y="516"/>
                    <a:pt x="96" y="515"/>
                    <a:pt x="99" y="515"/>
                  </a:cubicBezTo>
                  <a:cubicBezTo>
                    <a:pt x="102" y="515"/>
                    <a:pt x="105" y="515"/>
                    <a:pt x="108" y="516"/>
                  </a:cubicBezTo>
                  <a:cubicBezTo>
                    <a:pt x="107" y="516"/>
                    <a:pt x="111" y="518"/>
                    <a:pt x="110" y="518"/>
                  </a:cubicBezTo>
                  <a:cubicBezTo>
                    <a:pt x="111" y="519"/>
                    <a:pt x="112" y="520"/>
                    <a:pt x="113" y="520"/>
                  </a:cubicBezTo>
                  <a:cubicBezTo>
                    <a:pt x="115" y="521"/>
                    <a:pt x="117" y="520"/>
                    <a:pt x="119" y="523"/>
                  </a:cubicBezTo>
                  <a:cubicBezTo>
                    <a:pt x="120" y="525"/>
                    <a:pt x="120" y="528"/>
                    <a:pt x="119" y="530"/>
                  </a:cubicBezTo>
                  <a:cubicBezTo>
                    <a:pt x="118" y="535"/>
                    <a:pt x="115" y="539"/>
                    <a:pt x="111" y="542"/>
                  </a:cubicBezTo>
                  <a:cubicBezTo>
                    <a:pt x="106" y="546"/>
                    <a:pt x="104" y="549"/>
                    <a:pt x="102" y="555"/>
                  </a:cubicBezTo>
                  <a:cubicBezTo>
                    <a:pt x="101" y="557"/>
                    <a:pt x="101" y="558"/>
                    <a:pt x="98" y="560"/>
                  </a:cubicBezTo>
                  <a:cubicBezTo>
                    <a:pt x="97" y="561"/>
                    <a:pt x="96" y="561"/>
                    <a:pt x="95" y="563"/>
                  </a:cubicBezTo>
                  <a:cubicBezTo>
                    <a:pt x="92" y="567"/>
                    <a:pt x="93" y="572"/>
                    <a:pt x="92" y="577"/>
                  </a:cubicBezTo>
                  <a:cubicBezTo>
                    <a:pt x="90" y="583"/>
                    <a:pt x="92" y="588"/>
                    <a:pt x="87" y="593"/>
                  </a:cubicBezTo>
                  <a:cubicBezTo>
                    <a:pt x="83" y="598"/>
                    <a:pt x="84" y="603"/>
                    <a:pt x="84" y="609"/>
                  </a:cubicBezTo>
                  <a:cubicBezTo>
                    <a:pt x="84" y="617"/>
                    <a:pt x="84" y="624"/>
                    <a:pt x="84" y="632"/>
                  </a:cubicBezTo>
                  <a:cubicBezTo>
                    <a:pt x="84" y="634"/>
                    <a:pt x="85" y="636"/>
                    <a:pt x="86" y="637"/>
                  </a:cubicBezTo>
                  <a:cubicBezTo>
                    <a:pt x="86" y="637"/>
                    <a:pt x="86" y="637"/>
                    <a:pt x="86" y="637"/>
                  </a:cubicBezTo>
                  <a:cubicBezTo>
                    <a:pt x="87" y="638"/>
                    <a:pt x="87" y="638"/>
                    <a:pt x="87" y="639"/>
                  </a:cubicBezTo>
                  <a:cubicBezTo>
                    <a:pt x="88" y="639"/>
                    <a:pt x="88" y="639"/>
                    <a:pt x="88" y="639"/>
                  </a:cubicBezTo>
                  <a:cubicBezTo>
                    <a:pt x="89" y="640"/>
                    <a:pt x="90" y="640"/>
                    <a:pt x="91" y="640"/>
                  </a:cubicBezTo>
                  <a:cubicBezTo>
                    <a:pt x="94" y="641"/>
                    <a:pt x="96" y="641"/>
                    <a:pt x="98" y="640"/>
                  </a:cubicBezTo>
                  <a:cubicBezTo>
                    <a:pt x="99" y="639"/>
                    <a:pt x="101" y="639"/>
                    <a:pt x="102" y="639"/>
                  </a:cubicBezTo>
                  <a:cubicBezTo>
                    <a:pt x="103" y="639"/>
                    <a:pt x="104" y="640"/>
                    <a:pt x="104" y="640"/>
                  </a:cubicBezTo>
                  <a:cubicBezTo>
                    <a:pt x="107" y="640"/>
                    <a:pt x="108" y="638"/>
                    <a:pt x="110" y="637"/>
                  </a:cubicBezTo>
                  <a:cubicBezTo>
                    <a:pt x="111" y="637"/>
                    <a:pt x="112" y="637"/>
                    <a:pt x="112" y="635"/>
                  </a:cubicBezTo>
                  <a:cubicBezTo>
                    <a:pt x="112" y="634"/>
                    <a:pt x="112" y="634"/>
                    <a:pt x="112" y="633"/>
                  </a:cubicBezTo>
                  <a:cubicBezTo>
                    <a:pt x="113" y="632"/>
                    <a:pt x="114" y="630"/>
                    <a:pt x="115" y="630"/>
                  </a:cubicBezTo>
                  <a:cubicBezTo>
                    <a:pt x="117" y="631"/>
                    <a:pt x="116" y="633"/>
                    <a:pt x="117" y="634"/>
                  </a:cubicBezTo>
                  <a:cubicBezTo>
                    <a:pt x="118" y="635"/>
                    <a:pt x="118" y="636"/>
                    <a:pt x="120" y="636"/>
                  </a:cubicBezTo>
                  <a:cubicBezTo>
                    <a:pt x="123" y="636"/>
                    <a:pt x="123" y="633"/>
                    <a:pt x="123" y="630"/>
                  </a:cubicBezTo>
                  <a:cubicBezTo>
                    <a:pt x="123" y="628"/>
                    <a:pt x="125" y="625"/>
                    <a:pt x="127" y="623"/>
                  </a:cubicBezTo>
                  <a:cubicBezTo>
                    <a:pt x="128" y="622"/>
                    <a:pt x="131" y="622"/>
                    <a:pt x="133" y="622"/>
                  </a:cubicBezTo>
                  <a:cubicBezTo>
                    <a:pt x="134" y="622"/>
                    <a:pt x="135" y="622"/>
                    <a:pt x="135" y="622"/>
                  </a:cubicBezTo>
                  <a:cubicBezTo>
                    <a:pt x="136" y="622"/>
                    <a:pt x="137" y="623"/>
                    <a:pt x="137" y="623"/>
                  </a:cubicBezTo>
                  <a:cubicBezTo>
                    <a:pt x="138" y="623"/>
                    <a:pt x="139" y="623"/>
                    <a:pt x="139" y="623"/>
                  </a:cubicBezTo>
                  <a:cubicBezTo>
                    <a:pt x="140" y="623"/>
                    <a:pt x="141" y="623"/>
                    <a:pt x="141" y="624"/>
                  </a:cubicBezTo>
                  <a:cubicBezTo>
                    <a:pt x="143" y="625"/>
                    <a:pt x="146" y="626"/>
                    <a:pt x="147" y="627"/>
                  </a:cubicBezTo>
                  <a:cubicBezTo>
                    <a:pt x="148" y="627"/>
                    <a:pt x="148" y="628"/>
                    <a:pt x="149" y="629"/>
                  </a:cubicBezTo>
                  <a:cubicBezTo>
                    <a:pt x="151" y="630"/>
                    <a:pt x="153" y="631"/>
                    <a:pt x="155" y="631"/>
                  </a:cubicBezTo>
                  <a:cubicBezTo>
                    <a:pt x="157" y="631"/>
                    <a:pt x="158" y="630"/>
                    <a:pt x="160" y="630"/>
                  </a:cubicBezTo>
                  <a:cubicBezTo>
                    <a:pt x="161" y="629"/>
                    <a:pt x="162" y="629"/>
                    <a:pt x="163" y="629"/>
                  </a:cubicBezTo>
                  <a:cubicBezTo>
                    <a:pt x="165" y="629"/>
                    <a:pt x="164" y="629"/>
                    <a:pt x="165" y="630"/>
                  </a:cubicBezTo>
                  <a:cubicBezTo>
                    <a:pt x="166" y="631"/>
                    <a:pt x="167" y="632"/>
                    <a:pt x="168" y="632"/>
                  </a:cubicBezTo>
                  <a:cubicBezTo>
                    <a:pt x="169" y="633"/>
                    <a:pt x="171" y="634"/>
                    <a:pt x="172" y="634"/>
                  </a:cubicBezTo>
                  <a:cubicBezTo>
                    <a:pt x="172" y="635"/>
                    <a:pt x="172" y="635"/>
                    <a:pt x="173" y="635"/>
                  </a:cubicBezTo>
                  <a:cubicBezTo>
                    <a:pt x="174" y="637"/>
                    <a:pt x="175" y="637"/>
                    <a:pt x="176" y="637"/>
                  </a:cubicBezTo>
                  <a:cubicBezTo>
                    <a:pt x="178" y="638"/>
                    <a:pt x="180" y="638"/>
                    <a:pt x="182" y="639"/>
                  </a:cubicBezTo>
                  <a:cubicBezTo>
                    <a:pt x="183" y="639"/>
                    <a:pt x="183" y="639"/>
                    <a:pt x="184" y="639"/>
                  </a:cubicBezTo>
                  <a:cubicBezTo>
                    <a:pt x="185" y="639"/>
                    <a:pt x="187" y="639"/>
                    <a:pt x="188" y="639"/>
                  </a:cubicBezTo>
                  <a:cubicBezTo>
                    <a:pt x="189" y="639"/>
                    <a:pt x="189" y="640"/>
                    <a:pt x="189" y="640"/>
                  </a:cubicBezTo>
                  <a:cubicBezTo>
                    <a:pt x="189" y="640"/>
                    <a:pt x="190" y="640"/>
                    <a:pt x="191" y="640"/>
                  </a:cubicBezTo>
                  <a:cubicBezTo>
                    <a:pt x="194" y="640"/>
                    <a:pt x="197" y="640"/>
                    <a:pt x="200" y="640"/>
                  </a:cubicBezTo>
                  <a:cubicBezTo>
                    <a:pt x="201" y="640"/>
                    <a:pt x="203" y="639"/>
                    <a:pt x="204" y="640"/>
                  </a:cubicBezTo>
                  <a:cubicBezTo>
                    <a:pt x="206" y="642"/>
                    <a:pt x="206" y="644"/>
                    <a:pt x="207" y="646"/>
                  </a:cubicBezTo>
                  <a:cubicBezTo>
                    <a:pt x="208" y="647"/>
                    <a:pt x="208" y="647"/>
                    <a:pt x="210" y="648"/>
                  </a:cubicBezTo>
                  <a:cubicBezTo>
                    <a:pt x="211" y="648"/>
                    <a:pt x="213" y="647"/>
                    <a:pt x="214" y="648"/>
                  </a:cubicBezTo>
                  <a:cubicBezTo>
                    <a:pt x="214" y="649"/>
                    <a:pt x="214" y="649"/>
                    <a:pt x="215" y="649"/>
                  </a:cubicBezTo>
                  <a:cubicBezTo>
                    <a:pt x="215" y="650"/>
                    <a:pt x="215" y="651"/>
                    <a:pt x="215" y="652"/>
                  </a:cubicBezTo>
                  <a:cubicBezTo>
                    <a:pt x="215" y="653"/>
                    <a:pt x="215" y="652"/>
                    <a:pt x="216" y="653"/>
                  </a:cubicBezTo>
                  <a:cubicBezTo>
                    <a:pt x="217" y="655"/>
                    <a:pt x="220" y="656"/>
                    <a:pt x="222" y="657"/>
                  </a:cubicBezTo>
                  <a:cubicBezTo>
                    <a:pt x="225" y="659"/>
                    <a:pt x="226" y="661"/>
                    <a:pt x="230" y="659"/>
                  </a:cubicBezTo>
                  <a:cubicBezTo>
                    <a:pt x="231" y="659"/>
                    <a:pt x="232" y="657"/>
                    <a:pt x="232" y="656"/>
                  </a:cubicBezTo>
                  <a:cubicBezTo>
                    <a:pt x="233" y="656"/>
                    <a:pt x="233" y="655"/>
                    <a:pt x="233" y="655"/>
                  </a:cubicBezTo>
                  <a:cubicBezTo>
                    <a:pt x="234" y="651"/>
                    <a:pt x="230" y="649"/>
                    <a:pt x="229" y="646"/>
                  </a:cubicBezTo>
                  <a:cubicBezTo>
                    <a:pt x="229" y="643"/>
                    <a:pt x="229" y="642"/>
                    <a:pt x="232" y="641"/>
                  </a:cubicBezTo>
                  <a:cubicBezTo>
                    <a:pt x="236" y="640"/>
                    <a:pt x="240" y="642"/>
                    <a:pt x="244" y="641"/>
                  </a:cubicBezTo>
                  <a:cubicBezTo>
                    <a:pt x="247" y="641"/>
                    <a:pt x="250" y="640"/>
                    <a:pt x="252" y="643"/>
                  </a:cubicBezTo>
                  <a:cubicBezTo>
                    <a:pt x="253" y="644"/>
                    <a:pt x="253" y="646"/>
                    <a:pt x="255" y="646"/>
                  </a:cubicBezTo>
                  <a:cubicBezTo>
                    <a:pt x="255" y="646"/>
                    <a:pt x="255" y="646"/>
                    <a:pt x="255" y="646"/>
                  </a:cubicBezTo>
                  <a:cubicBezTo>
                    <a:pt x="257" y="646"/>
                    <a:pt x="263" y="648"/>
                    <a:pt x="263" y="650"/>
                  </a:cubicBezTo>
                  <a:cubicBezTo>
                    <a:pt x="264" y="651"/>
                    <a:pt x="268" y="651"/>
                    <a:pt x="267" y="651"/>
                  </a:cubicBezTo>
                  <a:cubicBezTo>
                    <a:pt x="270" y="651"/>
                    <a:pt x="273" y="651"/>
                    <a:pt x="275" y="651"/>
                  </a:cubicBezTo>
                  <a:cubicBezTo>
                    <a:pt x="277" y="650"/>
                    <a:pt x="278" y="649"/>
                    <a:pt x="279" y="649"/>
                  </a:cubicBezTo>
                  <a:cubicBezTo>
                    <a:pt x="281" y="648"/>
                    <a:pt x="282" y="650"/>
                    <a:pt x="284" y="650"/>
                  </a:cubicBezTo>
                  <a:cubicBezTo>
                    <a:pt x="285" y="649"/>
                    <a:pt x="286" y="647"/>
                    <a:pt x="287" y="646"/>
                  </a:cubicBezTo>
                  <a:cubicBezTo>
                    <a:pt x="288" y="645"/>
                    <a:pt x="288" y="644"/>
                    <a:pt x="289" y="643"/>
                  </a:cubicBezTo>
                  <a:cubicBezTo>
                    <a:pt x="291" y="641"/>
                    <a:pt x="295" y="642"/>
                    <a:pt x="298" y="642"/>
                  </a:cubicBezTo>
                  <a:cubicBezTo>
                    <a:pt x="299" y="642"/>
                    <a:pt x="301" y="643"/>
                    <a:pt x="302" y="641"/>
                  </a:cubicBezTo>
                  <a:cubicBezTo>
                    <a:pt x="302" y="640"/>
                    <a:pt x="301" y="639"/>
                    <a:pt x="302" y="637"/>
                  </a:cubicBezTo>
                  <a:cubicBezTo>
                    <a:pt x="302" y="636"/>
                    <a:pt x="303" y="636"/>
                    <a:pt x="305" y="636"/>
                  </a:cubicBezTo>
                  <a:cubicBezTo>
                    <a:pt x="308" y="636"/>
                    <a:pt x="312" y="636"/>
                    <a:pt x="316" y="637"/>
                  </a:cubicBezTo>
                  <a:cubicBezTo>
                    <a:pt x="318" y="637"/>
                    <a:pt x="320" y="637"/>
                    <a:pt x="323" y="637"/>
                  </a:cubicBezTo>
                  <a:cubicBezTo>
                    <a:pt x="324" y="637"/>
                    <a:pt x="324" y="637"/>
                    <a:pt x="325" y="637"/>
                  </a:cubicBezTo>
                  <a:cubicBezTo>
                    <a:pt x="325" y="636"/>
                    <a:pt x="326" y="636"/>
                    <a:pt x="327" y="636"/>
                  </a:cubicBezTo>
                  <a:cubicBezTo>
                    <a:pt x="328" y="636"/>
                    <a:pt x="328" y="636"/>
                    <a:pt x="329" y="636"/>
                  </a:cubicBezTo>
                  <a:cubicBezTo>
                    <a:pt x="332" y="634"/>
                    <a:pt x="326" y="632"/>
                    <a:pt x="327" y="629"/>
                  </a:cubicBezTo>
                  <a:cubicBezTo>
                    <a:pt x="327" y="628"/>
                    <a:pt x="329" y="628"/>
                    <a:pt x="330" y="628"/>
                  </a:cubicBezTo>
                  <a:cubicBezTo>
                    <a:pt x="332" y="628"/>
                    <a:pt x="334" y="628"/>
                    <a:pt x="336" y="628"/>
                  </a:cubicBezTo>
                  <a:cubicBezTo>
                    <a:pt x="337" y="628"/>
                    <a:pt x="340" y="629"/>
                    <a:pt x="341" y="629"/>
                  </a:cubicBezTo>
                  <a:cubicBezTo>
                    <a:pt x="342" y="630"/>
                    <a:pt x="342" y="631"/>
                    <a:pt x="343" y="632"/>
                  </a:cubicBezTo>
                  <a:cubicBezTo>
                    <a:pt x="344" y="633"/>
                    <a:pt x="347" y="632"/>
                    <a:pt x="348" y="632"/>
                  </a:cubicBezTo>
                  <a:cubicBezTo>
                    <a:pt x="351" y="632"/>
                    <a:pt x="353" y="630"/>
                    <a:pt x="355" y="630"/>
                  </a:cubicBezTo>
                  <a:cubicBezTo>
                    <a:pt x="357" y="631"/>
                    <a:pt x="356" y="631"/>
                    <a:pt x="357" y="631"/>
                  </a:cubicBezTo>
                  <a:cubicBezTo>
                    <a:pt x="358" y="632"/>
                    <a:pt x="359" y="634"/>
                    <a:pt x="360" y="635"/>
                  </a:cubicBezTo>
                  <a:cubicBezTo>
                    <a:pt x="361" y="636"/>
                    <a:pt x="362" y="638"/>
                    <a:pt x="362" y="639"/>
                  </a:cubicBezTo>
                  <a:cubicBezTo>
                    <a:pt x="362" y="639"/>
                    <a:pt x="362" y="640"/>
                    <a:pt x="362" y="640"/>
                  </a:cubicBezTo>
                  <a:cubicBezTo>
                    <a:pt x="363" y="642"/>
                    <a:pt x="365" y="641"/>
                    <a:pt x="366" y="641"/>
                  </a:cubicBezTo>
                  <a:cubicBezTo>
                    <a:pt x="367" y="641"/>
                    <a:pt x="367" y="642"/>
                    <a:pt x="368" y="642"/>
                  </a:cubicBezTo>
                  <a:cubicBezTo>
                    <a:pt x="369" y="642"/>
                    <a:pt x="371" y="642"/>
                    <a:pt x="372" y="642"/>
                  </a:cubicBezTo>
                  <a:cubicBezTo>
                    <a:pt x="373" y="641"/>
                    <a:pt x="373" y="641"/>
                    <a:pt x="374" y="640"/>
                  </a:cubicBezTo>
                  <a:cubicBezTo>
                    <a:pt x="375" y="639"/>
                    <a:pt x="375" y="638"/>
                    <a:pt x="375" y="637"/>
                  </a:cubicBezTo>
                  <a:cubicBezTo>
                    <a:pt x="375" y="636"/>
                    <a:pt x="375" y="635"/>
                    <a:pt x="375" y="634"/>
                  </a:cubicBezTo>
                  <a:cubicBezTo>
                    <a:pt x="376" y="633"/>
                    <a:pt x="378" y="630"/>
                    <a:pt x="375" y="629"/>
                  </a:cubicBezTo>
                  <a:cubicBezTo>
                    <a:pt x="373" y="628"/>
                    <a:pt x="371" y="628"/>
                    <a:pt x="369" y="626"/>
                  </a:cubicBezTo>
                  <a:cubicBezTo>
                    <a:pt x="368" y="625"/>
                    <a:pt x="368" y="625"/>
                    <a:pt x="368" y="624"/>
                  </a:cubicBezTo>
                  <a:cubicBezTo>
                    <a:pt x="368" y="623"/>
                    <a:pt x="367" y="623"/>
                    <a:pt x="367" y="623"/>
                  </a:cubicBezTo>
                  <a:cubicBezTo>
                    <a:pt x="367" y="622"/>
                    <a:pt x="368" y="621"/>
                    <a:pt x="368" y="620"/>
                  </a:cubicBezTo>
                  <a:cubicBezTo>
                    <a:pt x="368" y="619"/>
                    <a:pt x="369" y="619"/>
                    <a:pt x="370" y="618"/>
                  </a:cubicBezTo>
                  <a:cubicBezTo>
                    <a:pt x="371" y="618"/>
                    <a:pt x="371" y="617"/>
                    <a:pt x="372" y="616"/>
                  </a:cubicBezTo>
                  <a:cubicBezTo>
                    <a:pt x="372" y="614"/>
                    <a:pt x="373" y="612"/>
                    <a:pt x="372" y="611"/>
                  </a:cubicBezTo>
                  <a:cubicBezTo>
                    <a:pt x="371" y="610"/>
                    <a:pt x="370" y="609"/>
                    <a:pt x="369" y="608"/>
                  </a:cubicBezTo>
                  <a:cubicBezTo>
                    <a:pt x="369" y="608"/>
                    <a:pt x="368" y="607"/>
                    <a:pt x="368" y="607"/>
                  </a:cubicBezTo>
                  <a:cubicBezTo>
                    <a:pt x="367" y="606"/>
                    <a:pt x="366" y="606"/>
                    <a:pt x="366" y="606"/>
                  </a:cubicBezTo>
                  <a:cubicBezTo>
                    <a:pt x="366" y="606"/>
                    <a:pt x="366" y="605"/>
                    <a:pt x="365" y="604"/>
                  </a:cubicBezTo>
                  <a:cubicBezTo>
                    <a:pt x="365" y="604"/>
                    <a:pt x="365" y="604"/>
                    <a:pt x="364" y="603"/>
                  </a:cubicBezTo>
                  <a:cubicBezTo>
                    <a:pt x="364" y="603"/>
                    <a:pt x="363" y="602"/>
                    <a:pt x="363" y="601"/>
                  </a:cubicBezTo>
                  <a:cubicBezTo>
                    <a:pt x="363" y="598"/>
                    <a:pt x="363" y="595"/>
                    <a:pt x="363" y="593"/>
                  </a:cubicBezTo>
                  <a:cubicBezTo>
                    <a:pt x="362" y="592"/>
                    <a:pt x="362" y="592"/>
                    <a:pt x="362" y="592"/>
                  </a:cubicBezTo>
                  <a:cubicBezTo>
                    <a:pt x="362" y="591"/>
                    <a:pt x="362" y="590"/>
                    <a:pt x="362" y="589"/>
                  </a:cubicBezTo>
                  <a:cubicBezTo>
                    <a:pt x="362" y="588"/>
                    <a:pt x="361" y="587"/>
                    <a:pt x="362" y="586"/>
                  </a:cubicBezTo>
                  <a:cubicBezTo>
                    <a:pt x="363" y="586"/>
                    <a:pt x="364" y="586"/>
                    <a:pt x="365" y="585"/>
                  </a:cubicBezTo>
                  <a:cubicBezTo>
                    <a:pt x="365" y="585"/>
                    <a:pt x="366" y="584"/>
                    <a:pt x="367" y="583"/>
                  </a:cubicBezTo>
                  <a:cubicBezTo>
                    <a:pt x="368" y="582"/>
                    <a:pt x="370" y="581"/>
                    <a:pt x="372" y="581"/>
                  </a:cubicBezTo>
                  <a:cubicBezTo>
                    <a:pt x="374" y="581"/>
                    <a:pt x="376" y="580"/>
                    <a:pt x="378" y="579"/>
                  </a:cubicBezTo>
                  <a:cubicBezTo>
                    <a:pt x="380" y="578"/>
                    <a:pt x="382" y="577"/>
                    <a:pt x="384" y="577"/>
                  </a:cubicBezTo>
                  <a:cubicBezTo>
                    <a:pt x="388" y="577"/>
                    <a:pt x="392" y="577"/>
                    <a:pt x="395" y="575"/>
                  </a:cubicBezTo>
                  <a:cubicBezTo>
                    <a:pt x="396" y="574"/>
                    <a:pt x="397" y="574"/>
                    <a:pt x="397" y="573"/>
                  </a:cubicBezTo>
                  <a:cubicBezTo>
                    <a:pt x="398" y="572"/>
                    <a:pt x="398" y="572"/>
                    <a:pt x="398" y="571"/>
                  </a:cubicBezTo>
                  <a:cubicBezTo>
                    <a:pt x="398" y="571"/>
                    <a:pt x="398" y="570"/>
                    <a:pt x="398" y="570"/>
                  </a:cubicBezTo>
                  <a:cubicBezTo>
                    <a:pt x="398" y="569"/>
                    <a:pt x="398" y="568"/>
                    <a:pt x="399" y="568"/>
                  </a:cubicBezTo>
                  <a:cubicBezTo>
                    <a:pt x="399" y="567"/>
                    <a:pt x="399" y="566"/>
                    <a:pt x="399" y="565"/>
                  </a:cubicBezTo>
                  <a:cubicBezTo>
                    <a:pt x="399" y="566"/>
                    <a:pt x="399" y="566"/>
                    <a:pt x="399" y="566"/>
                  </a:cubicBezTo>
                  <a:cubicBezTo>
                    <a:pt x="399" y="565"/>
                    <a:pt x="399" y="564"/>
                    <a:pt x="400" y="564"/>
                  </a:cubicBezTo>
                  <a:cubicBezTo>
                    <a:pt x="400" y="563"/>
                    <a:pt x="399" y="562"/>
                    <a:pt x="400" y="561"/>
                  </a:cubicBezTo>
                  <a:cubicBezTo>
                    <a:pt x="400" y="560"/>
                    <a:pt x="400" y="559"/>
                    <a:pt x="401" y="559"/>
                  </a:cubicBezTo>
                  <a:cubicBezTo>
                    <a:pt x="401" y="558"/>
                    <a:pt x="402" y="556"/>
                    <a:pt x="402" y="556"/>
                  </a:cubicBezTo>
                  <a:cubicBezTo>
                    <a:pt x="403" y="556"/>
                    <a:pt x="404" y="556"/>
                    <a:pt x="405" y="556"/>
                  </a:cubicBezTo>
                  <a:cubicBezTo>
                    <a:pt x="406" y="556"/>
                    <a:pt x="406" y="557"/>
                    <a:pt x="407" y="558"/>
                  </a:cubicBezTo>
                  <a:cubicBezTo>
                    <a:pt x="408" y="559"/>
                    <a:pt x="414" y="560"/>
                    <a:pt x="415" y="559"/>
                  </a:cubicBezTo>
                  <a:cubicBezTo>
                    <a:pt x="416" y="558"/>
                    <a:pt x="417" y="556"/>
                    <a:pt x="417" y="555"/>
                  </a:cubicBezTo>
                  <a:cubicBezTo>
                    <a:pt x="418" y="554"/>
                    <a:pt x="418" y="553"/>
                    <a:pt x="418" y="552"/>
                  </a:cubicBezTo>
                  <a:cubicBezTo>
                    <a:pt x="418" y="551"/>
                    <a:pt x="419" y="550"/>
                    <a:pt x="419" y="548"/>
                  </a:cubicBezTo>
                  <a:cubicBezTo>
                    <a:pt x="419" y="547"/>
                    <a:pt x="419" y="545"/>
                    <a:pt x="419" y="544"/>
                  </a:cubicBezTo>
                  <a:cubicBezTo>
                    <a:pt x="419" y="543"/>
                    <a:pt x="420" y="543"/>
                    <a:pt x="420" y="542"/>
                  </a:cubicBezTo>
                  <a:cubicBezTo>
                    <a:pt x="420" y="541"/>
                    <a:pt x="420" y="540"/>
                    <a:pt x="420" y="540"/>
                  </a:cubicBezTo>
                  <a:cubicBezTo>
                    <a:pt x="420" y="539"/>
                    <a:pt x="421" y="539"/>
                    <a:pt x="421" y="539"/>
                  </a:cubicBezTo>
                  <a:cubicBezTo>
                    <a:pt x="421" y="539"/>
                    <a:pt x="420" y="538"/>
                    <a:pt x="420" y="537"/>
                  </a:cubicBezTo>
                  <a:cubicBezTo>
                    <a:pt x="420" y="536"/>
                    <a:pt x="420" y="534"/>
                    <a:pt x="419" y="533"/>
                  </a:cubicBezTo>
                  <a:cubicBezTo>
                    <a:pt x="418" y="532"/>
                    <a:pt x="417" y="532"/>
                    <a:pt x="417" y="531"/>
                  </a:cubicBezTo>
                  <a:cubicBezTo>
                    <a:pt x="416" y="531"/>
                    <a:pt x="415" y="530"/>
                    <a:pt x="414" y="529"/>
                  </a:cubicBezTo>
                  <a:cubicBezTo>
                    <a:pt x="413" y="528"/>
                    <a:pt x="412" y="527"/>
                    <a:pt x="411" y="527"/>
                  </a:cubicBezTo>
                  <a:cubicBezTo>
                    <a:pt x="410" y="526"/>
                    <a:pt x="410" y="525"/>
                    <a:pt x="410" y="524"/>
                  </a:cubicBezTo>
                  <a:cubicBezTo>
                    <a:pt x="408" y="519"/>
                    <a:pt x="402" y="526"/>
                    <a:pt x="400" y="520"/>
                  </a:cubicBezTo>
                  <a:cubicBezTo>
                    <a:pt x="400" y="519"/>
                    <a:pt x="399" y="518"/>
                    <a:pt x="398" y="517"/>
                  </a:cubicBezTo>
                  <a:cubicBezTo>
                    <a:pt x="398" y="516"/>
                    <a:pt x="397" y="515"/>
                    <a:pt x="397" y="514"/>
                  </a:cubicBezTo>
                  <a:cubicBezTo>
                    <a:pt x="396" y="514"/>
                    <a:pt x="395" y="513"/>
                    <a:pt x="394" y="513"/>
                  </a:cubicBezTo>
                  <a:cubicBezTo>
                    <a:pt x="394" y="512"/>
                    <a:pt x="394" y="512"/>
                    <a:pt x="394" y="512"/>
                  </a:cubicBezTo>
                  <a:cubicBezTo>
                    <a:pt x="393" y="511"/>
                    <a:pt x="391" y="510"/>
                    <a:pt x="390" y="510"/>
                  </a:cubicBezTo>
                  <a:cubicBezTo>
                    <a:pt x="389" y="509"/>
                    <a:pt x="386" y="509"/>
                    <a:pt x="385" y="508"/>
                  </a:cubicBezTo>
                  <a:cubicBezTo>
                    <a:pt x="385" y="507"/>
                    <a:pt x="385" y="507"/>
                    <a:pt x="385" y="507"/>
                  </a:cubicBezTo>
                  <a:cubicBezTo>
                    <a:pt x="385" y="504"/>
                    <a:pt x="384" y="502"/>
                    <a:pt x="382" y="499"/>
                  </a:cubicBezTo>
                  <a:cubicBezTo>
                    <a:pt x="381" y="498"/>
                    <a:pt x="380" y="496"/>
                    <a:pt x="379" y="495"/>
                  </a:cubicBezTo>
                  <a:cubicBezTo>
                    <a:pt x="378" y="494"/>
                    <a:pt x="376" y="493"/>
                    <a:pt x="375" y="491"/>
                  </a:cubicBezTo>
                  <a:cubicBezTo>
                    <a:pt x="374" y="491"/>
                    <a:pt x="374" y="491"/>
                    <a:pt x="373" y="490"/>
                  </a:cubicBezTo>
                  <a:cubicBezTo>
                    <a:pt x="373" y="490"/>
                    <a:pt x="371" y="491"/>
                    <a:pt x="371" y="491"/>
                  </a:cubicBezTo>
                  <a:cubicBezTo>
                    <a:pt x="369" y="491"/>
                    <a:pt x="369" y="490"/>
                    <a:pt x="368" y="490"/>
                  </a:cubicBezTo>
                  <a:cubicBezTo>
                    <a:pt x="367" y="489"/>
                    <a:pt x="365" y="489"/>
                    <a:pt x="365" y="488"/>
                  </a:cubicBezTo>
                  <a:cubicBezTo>
                    <a:pt x="364" y="488"/>
                    <a:pt x="364" y="488"/>
                    <a:pt x="364" y="487"/>
                  </a:cubicBezTo>
                  <a:cubicBezTo>
                    <a:pt x="363" y="485"/>
                    <a:pt x="362" y="484"/>
                    <a:pt x="361" y="483"/>
                  </a:cubicBezTo>
                  <a:cubicBezTo>
                    <a:pt x="360" y="482"/>
                    <a:pt x="360" y="482"/>
                    <a:pt x="360" y="480"/>
                  </a:cubicBezTo>
                  <a:cubicBezTo>
                    <a:pt x="359" y="479"/>
                    <a:pt x="359" y="476"/>
                    <a:pt x="359" y="475"/>
                  </a:cubicBezTo>
                  <a:cubicBezTo>
                    <a:pt x="358" y="474"/>
                    <a:pt x="358" y="474"/>
                    <a:pt x="358" y="473"/>
                  </a:cubicBezTo>
                  <a:cubicBezTo>
                    <a:pt x="357" y="471"/>
                    <a:pt x="356" y="469"/>
                    <a:pt x="355" y="467"/>
                  </a:cubicBezTo>
                  <a:cubicBezTo>
                    <a:pt x="355" y="466"/>
                    <a:pt x="354" y="464"/>
                    <a:pt x="353" y="463"/>
                  </a:cubicBezTo>
                  <a:cubicBezTo>
                    <a:pt x="352" y="462"/>
                    <a:pt x="351" y="461"/>
                    <a:pt x="349" y="460"/>
                  </a:cubicBezTo>
                  <a:cubicBezTo>
                    <a:pt x="348" y="459"/>
                    <a:pt x="348" y="457"/>
                    <a:pt x="349" y="456"/>
                  </a:cubicBezTo>
                  <a:cubicBezTo>
                    <a:pt x="349" y="455"/>
                    <a:pt x="350" y="454"/>
                    <a:pt x="351" y="453"/>
                  </a:cubicBezTo>
                  <a:cubicBezTo>
                    <a:pt x="351" y="452"/>
                    <a:pt x="352" y="451"/>
                    <a:pt x="352" y="451"/>
                  </a:cubicBezTo>
                  <a:cubicBezTo>
                    <a:pt x="353" y="450"/>
                    <a:pt x="354" y="449"/>
                    <a:pt x="354" y="448"/>
                  </a:cubicBezTo>
                  <a:cubicBezTo>
                    <a:pt x="354" y="447"/>
                    <a:pt x="354" y="446"/>
                    <a:pt x="354" y="445"/>
                  </a:cubicBezTo>
                  <a:cubicBezTo>
                    <a:pt x="354" y="444"/>
                    <a:pt x="355" y="443"/>
                    <a:pt x="355" y="442"/>
                  </a:cubicBezTo>
                  <a:cubicBezTo>
                    <a:pt x="354" y="440"/>
                    <a:pt x="352" y="440"/>
                    <a:pt x="351" y="439"/>
                  </a:cubicBezTo>
                  <a:cubicBezTo>
                    <a:pt x="349" y="439"/>
                    <a:pt x="349" y="438"/>
                    <a:pt x="348" y="437"/>
                  </a:cubicBezTo>
                  <a:cubicBezTo>
                    <a:pt x="347" y="436"/>
                    <a:pt x="345" y="436"/>
                    <a:pt x="345" y="435"/>
                  </a:cubicBezTo>
                  <a:cubicBezTo>
                    <a:pt x="343" y="434"/>
                    <a:pt x="344" y="432"/>
                    <a:pt x="342" y="431"/>
                  </a:cubicBezTo>
                  <a:cubicBezTo>
                    <a:pt x="340" y="430"/>
                    <a:pt x="339" y="431"/>
                    <a:pt x="339" y="429"/>
                  </a:cubicBezTo>
                  <a:cubicBezTo>
                    <a:pt x="338" y="427"/>
                    <a:pt x="338" y="426"/>
                    <a:pt x="338" y="424"/>
                  </a:cubicBezTo>
                  <a:cubicBezTo>
                    <a:pt x="338" y="423"/>
                    <a:pt x="338" y="421"/>
                    <a:pt x="337" y="419"/>
                  </a:cubicBezTo>
                  <a:cubicBezTo>
                    <a:pt x="337" y="416"/>
                    <a:pt x="331" y="416"/>
                    <a:pt x="332" y="412"/>
                  </a:cubicBezTo>
                  <a:cubicBezTo>
                    <a:pt x="333" y="412"/>
                    <a:pt x="333" y="412"/>
                    <a:pt x="333" y="411"/>
                  </a:cubicBezTo>
                  <a:cubicBezTo>
                    <a:pt x="333" y="411"/>
                    <a:pt x="333" y="411"/>
                    <a:pt x="333" y="410"/>
                  </a:cubicBezTo>
                  <a:cubicBezTo>
                    <a:pt x="334" y="409"/>
                    <a:pt x="334" y="409"/>
                    <a:pt x="336" y="408"/>
                  </a:cubicBezTo>
                  <a:cubicBezTo>
                    <a:pt x="338" y="407"/>
                    <a:pt x="339" y="411"/>
                    <a:pt x="339" y="413"/>
                  </a:cubicBezTo>
                  <a:cubicBezTo>
                    <a:pt x="339" y="414"/>
                    <a:pt x="339" y="415"/>
                    <a:pt x="340" y="416"/>
                  </a:cubicBezTo>
                  <a:cubicBezTo>
                    <a:pt x="340" y="417"/>
                    <a:pt x="341" y="417"/>
                    <a:pt x="342" y="418"/>
                  </a:cubicBezTo>
                  <a:cubicBezTo>
                    <a:pt x="342" y="418"/>
                    <a:pt x="342" y="419"/>
                    <a:pt x="342" y="419"/>
                  </a:cubicBezTo>
                  <a:cubicBezTo>
                    <a:pt x="342" y="420"/>
                    <a:pt x="342" y="419"/>
                    <a:pt x="343" y="420"/>
                  </a:cubicBezTo>
                  <a:cubicBezTo>
                    <a:pt x="343" y="421"/>
                    <a:pt x="343" y="421"/>
                    <a:pt x="343" y="422"/>
                  </a:cubicBezTo>
                  <a:cubicBezTo>
                    <a:pt x="344" y="421"/>
                    <a:pt x="344" y="420"/>
                    <a:pt x="344" y="419"/>
                  </a:cubicBezTo>
                  <a:cubicBezTo>
                    <a:pt x="345" y="417"/>
                    <a:pt x="346" y="417"/>
                    <a:pt x="346" y="416"/>
                  </a:cubicBezTo>
                  <a:cubicBezTo>
                    <a:pt x="346" y="415"/>
                    <a:pt x="346" y="414"/>
                    <a:pt x="346" y="413"/>
                  </a:cubicBezTo>
                  <a:cubicBezTo>
                    <a:pt x="346" y="413"/>
                    <a:pt x="347" y="412"/>
                    <a:pt x="348" y="411"/>
                  </a:cubicBezTo>
                  <a:cubicBezTo>
                    <a:pt x="349" y="409"/>
                    <a:pt x="351" y="408"/>
                    <a:pt x="353" y="407"/>
                  </a:cubicBezTo>
                  <a:cubicBezTo>
                    <a:pt x="354" y="406"/>
                    <a:pt x="355" y="404"/>
                    <a:pt x="357" y="404"/>
                  </a:cubicBezTo>
                  <a:cubicBezTo>
                    <a:pt x="357" y="403"/>
                    <a:pt x="358" y="403"/>
                    <a:pt x="359" y="402"/>
                  </a:cubicBezTo>
                  <a:cubicBezTo>
                    <a:pt x="360" y="402"/>
                    <a:pt x="360" y="400"/>
                    <a:pt x="361" y="401"/>
                  </a:cubicBezTo>
                  <a:cubicBezTo>
                    <a:pt x="362" y="401"/>
                    <a:pt x="362" y="402"/>
                    <a:pt x="363" y="402"/>
                  </a:cubicBezTo>
                  <a:cubicBezTo>
                    <a:pt x="364" y="403"/>
                    <a:pt x="364" y="402"/>
                    <a:pt x="365" y="402"/>
                  </a:cubicBezTo>
                  <a:cubicBezTo>
                    <a:pt x="367" y="402"/>
                    <a:pt x="368" y="402"/>
                    <a:pt x="369" y="400"/>
                  </a:cubicBezTo>
                  <a:cubicBezTo>
                    <a:pt x="370" y="400"/>
                    <a:pt x="370" y="398"/>
                    <a:pt x="370" y="398"/>
                  </a:cubicBezTo>
                  <a:cubicBezTo>
                    <a:pt x="371" y="398"/>
                    <a:pt x="373" y="398"/>
                    <a:pt x="373" y="398"/>
                  </a:cubicBezTo>
                  <a:cubicBezTo>
                    <a:pt x="374" y="398"/>
                    <a:pt x="374" y="399"/>
                    <a:pt x="375" y="399"/>
                  </a:cubicBezTo>
                  <a:cubicBezTo>
                    <a:pt x="376" y="399"/>
                    <a:pt x="377" y="398"/>
                    <a:pt x="379" y="399"/>
                  </a:cubicBezTo>
                  <a:cubicBezTo>
                    <a:pt x="379" y="399"/>
                    <a:pt x="380" y="400"/>
                    <a:pt x="380" y="400"/>
                  </a:cubicBezTo>
                  <a:cubicBezTo>
                    <a:pt x="381" y="401"/>
                    <a:pt x="381" y="400"/>
                    <a:pt x="382" y="399"/>
                  </a:cubicBezTo>
                  <a:cubicBezTo>
                    <a:pt x="382" y="398"/>
                    <a:pt x="383" y="398"/>
                    <a:pt x="384" y="397"/>
                  </a:cubicBezTo>
                  <a:cubicBezTo>
                    <a:pt x="385" y="396"/>
                    <a:pt x="386" y="395"/>
                    <a:pt x="386" y="394"/>
                  </a:cubicBezTo>
                  <a:cubicBezTo>
                    <a:pt x="388" y="392"/>
                    <a:pt x="388" y="392"/>
                    <a:pt x="391" y="392"/>
                  </a:cubicBezTo>
                  <a:cubicBezTo>
                    <a:pt x="391" y="392"/>
                    <a:pt x="392" y="392"/>
                    <a:pt x="392" y="392"/>
                  </a:cubicBezTo>
                  <a:cubicBezTo>
                    <a:pt x="392" y="392"/>
                    <a:pt x="392" y="391"/>
                    <a:pt x="392" y="391"/>
                  </a:cubicBezTo>
                  <a:cubicBezTo>
                    <a:pt x="393" y="391"/>
                    <a:pt x="394" y="390"/>
                    <a:pt x="394" y="390"/>
                  </a:cubicBezTo>
                  <a:cubicBezTo>
                    <a:pt x="394" y="389"/>
                    <a:pt x="395" y="389"/>
                    <a:pt x="395" y="388"/>
                  </a:cubicBezTo>
                  <a:cubicBezTo>
                    <a:pt x="395" y="387"/>
                    <a:pt x="395" y="386"/>
                    <a:pt x="396" y="386"/>
                  </a:cubicBezTo>
                  <a:cubicBezTo>
                    <a:pt x="397" y="384"/>
                    <a:pt x="399" y="387"/>
                    <a:pt x="401" y="387"/>
                  </a:cubicBezTo>
                  <a:cubicBezTo>
                    <a:pt x="401" y="386"/>
                    <a:pt x="401" y="385"/>
                    <a:pt x="402" y="384"/>
                  </a:cubicBezTo>
                  <a:cubicBezTo>
                    <a:pt x="402" y="383"/>
                    <a:pt x="402" y="383"/>
                    <a:pt x="402" y="383"/>
                  </a:cubicBezTo>
                  <a:cubicBezTo>
                    <a:pt x="402" y="382"/>
                    <a:pt x="402" y="381"/>
                    <a:pt x="402" y="381"/>
                  </a:cubicBezTo>
                  <a:cubicBezTo>
                    <a:pt x="403" y="379"/>
                    <a:pt x="405" y="380"/>
                    <a:pt x="405" y="381"/>
                  </a:cubicBezTo>
                  <a:cubicBezTo>
                    <a:pt x="406" y="381"/>
                    <a:pt x="406" y="383"/>
                    <a:pt x="406" y="384"/>
                  </a:cubicBezTo>
                  <a:cubicBezTo>
                    <a:pt x="407" y="384"/>
                    <a:pt x="409" y="384"/>
                    <a:pt x="409" y="384"/>
                  </a:cubicBezTo>
                  <a:cubicBezTo>
                    <a:pt x="410" y="384"/>
                    <a:pt x="411" y="384"/>
                    <a:pt x="412" y="383"/>
                  </a:cubicBezTo>
                  <a:cubicBezTo>
                    <a:pt x="413" y="383"/>
                    <a:pt x="412" y="381"/>
                    <a:pt x="412" y="380"/>
                  </a:cubicBezTo>
                  <a:cubicBezTo>
                    <a:pt x="412" y="379"/>
                    <a:pt x="412" y="377"/>
                    <a:pt x="413" y="376"/>
                  </a:cubicBezTo>
                  <a:cubicBezTo>
                    <a:pt x="413" y="375"/>
                    <a:pt x="414" y="375"/>
                    <a:pt x="414" y="375"/>
                  </a:cubicBezTo>
                  <a:cubicBezTo>
                    <a:pt x="415" y="374"/>
                    <a:pt x="416" y="373"/>
                    <a:pt x="417" y="373"/>
                  </a:cubicBezTo>
                  <a:cubicBezTo>
                    <a:pt x="418" y="373"/>
                    <a:pt x="418" y="373"/>
                    <a:pt x="419" y="373"/>
                  </a:cubicBezTo>
                  <a:cubicBezTo>
                    <a:pt x="421" y="373"/>
                    <a:pt x="422" y="372"/>
                    <a:pt x="424" y="372"/>
                  </a:cubicBezTo>
                  <a:cubicBezTo>
                    <a:pt x="425" y="372"/>
                    <a:pt x="427" y="371"/>
                    <a:pt x="428" y="371"/>
                  </a:cubicBezTo>
                  <a:cubicBezTo>
                    <a:pt x="429" y="371"/>
                    <a:pt x="430" y="371"/>
                    <a:pt x="431" y="371"/>
                  </a:cubicBezTo>
                  <a:cubicBezTo>
                    <a:pt x="432" y="371"/>
                    <a:pt x="432" y="370"/>
                    <a:pt x="433" y="369"/>
                  </a:cubicBezTo>
                  <a:cubicBezTo>
                    <a:pt x="434" y="369"/>
                    <a:pt x="435" y="368"/>
                    <a:pt x="436" y="367"/>
                  </a:cubicBezTo>
                  <a:cubicBezTo>
                    <a:pt x="436" y="367"/>
                    <a:pt x="436" y="366"/>
                    <a:pt x="436" y="366"/>
                  </a:cubicBezTo>
                  <a:cubicBezTo>
                    <a:pt x="436" y="365"/>
                    <a:pt x="439" y="364"/>
                    <a:pt x="440" y="364"/>
                  </a:cubicBezTo>
                  <a:cubicBezTo>
                    <a:pt x="441" y="364"/>
                    <a:pt x="442" y="365"/>
                    <a:pt x="443" y="364"/>
                  </a:cubicBezTo>
                  <a:cubicBezTo>
                    <a:pt x="444" y="364"/>
                    <a:pt x="445" y="362"/>
                    <a:pt x="446" y="363"/>
                  </a:cubicBezTo>
                  <a:cubicBezTo>
                    <a:pt x="447" y="364"/>
                    <a:pt x="447" y="363"/>
                    <a:pt x="448" y="363"/>
                  </a:cubicBezTo>
                  <a:cubicBezTo>
                    <a:pt x="449" y="362"/>
                    <a:pt x="451" y="361"/>
                    <a:pt x="452" y="360"/>
                  </a:cubicBezTo>
                  <a:cubicBezTo>
                    <a:pt x="454" y="360"/>
                    <a:pt x="456" y="359"/>
                    <a:pt x="458" y="358"/>
                  </a:cubicBezTo>
                  <a:cubicBezTo>
                    <a:pt x="459" y="357"/>
                    <a:pt x="460" y="357"/>
                    <a:pt x="460" y="356"/>
                  </a:cubicBezTo>
                  <a:cubicBezTo>
                    <a:pt x="461" y="355"/>
                    <a:pt x="457" y="353"/>
                    <a:pt x="457" y="352"/>
                  </a:cubicBezTo>
                  <a:cubicBezTo>
                    <a:pt x="455" y="351"/>
                    <a:pt x="453" y="350"/>
                    <a:pt x="452" y="349"/>
                  </a:cubicBezTo>
                  <a:cubicBezTo>
                    <a:pt x="454" y="349"/>
                    <a:pt x="457" y="348"/>
                    <a:pt x="459" y="347"/>
                  </a:cubicBezTo>
                  <a:cubicBezTo>
                    <a:pt x="460" y="346"/>
                    <a:pt x="461" y="344"/>
                    <a:pt x="462" y="344"/>
                  </a:cubicBezTo>
                  <a:cubicBezTo>
                    <a:pt x="464" y="343"/>
                    <a:pt x="464" y="343"/>
                    <a:pt x="465" y="344"/>
                  </a:cubicBezTo>
                  <a:cubicBezTo>
                    <a:pt x="466" y="345"/>
                    <a:pt x="467" y="346"/>
                    <a:pt x="468" y="347"/>
                  </a:cubicBezTo>
                  <a:cubicBezTo>
                    <a:pt x="470" y="347"/>
                    <a:pt x="473" y="351"/>
                    <a:pt x="473" y="353"/>
                  </a:cubicBezTo>
                  <a:cubicBezTo>
                    <a:pt x="472" y="354"/>
                    <a:pt x="472" y="355"/>
                    <a:pt x="471" y="356"/>
                  </a:cubicBezTo>
                  <a:cubicBezTo>
                    <a:pt x="470" y="358"/>
                    <a:pt x="470" y="358"/>
                    <a:pt x="472" y="359"/>
                  </a:cubicBezTo>
                  <a:cubicBezTo>
                    <a:pt x="473" y="359"/>
                    <a:pt x="475" y="360"/>
                    <a:pt x="476" y="361"/>
                  </a:cubicBezTo>
                  <a:cubicBezTo>
                    <a:pt x="476" y="361"/>
                    <a:pt x="476" y="361"/>
                    <a:pt x="476" y="362"/>
                  </a:cubicBezTo>
                  <a:cubicBezTo>
                    <a:pt x="476" y="363"/>
                    <a:pt x="476" y="364"/>
                    <a:pt x="477" y="365"/>
                  </a:cubicBezTo>
                  <a:cubicBezTo>
                    <a:pt x="477" y="365"/>
                    <a:pt x="480" y="365"/>
                    <a:pt x="481" y="365"/>
                  </a:cubicBezTo>
                  <a:cubicBezTo>
                    <a:pt x="482" y="365"/>
                    <a:pt x="483" y="364"/>
                    <a:pt x="484" y="363"/>
                  </a:cubicBezTo>
                  <a:cubicBezTo>
                    <a:pt x="485" y="362"/>
                    <a:pt x="487" y="359"/>
                    <a:pt x="489" y="361"/>
                  </a:cubicBezTo>
                  <a:cubicBezTo>
                    <a:pt x="488" y="360"/>
                    <a:pt x="488" y="357"/>
                    <a:pt x="488" y="356"/>
                  </a:cubicBezTo>
                  <a:cubicBezTo>
                    <a:pt x="489" y="355"/>
                    <a:pt x="492" y="354"/>
                    <a:pt x="491" y="352"/>
                  </a:cubicBezTo>
                  <a:cubicBezTo>
                    <a:pt x="491" y="351"/>
                    <a:pt x="490" y="351"/>
                    <a:pt x="490" y="349"/>
                  </a:cubicBezTo>
                  <a:cubicBezTo>
                    <a:pt x="490" y="346"/>
                    <a:pt x="492" y="345"/>
                    <a:pt x="492" y="343"/>
                  </a:cubicBezTo>
                  <a:cubicBezTo>
                    <a:pt x="493" y="341"/>
                    <a:pt x="492" y="339"/>
                    <a:pt x="493" y="337"/>
                  </a:cubicBezTo>
                  <a:cubicBezTo>
                    <a:pt x="493" y="335"/>
                    <a:pt x="493" y="334"/>
                    <a:pt x="494" y="332"/>
                  </a:cubicBezTo>
                  <a:cubicBezTo>
                    <a:pt x="495" y="330"/>
                    <a:pt x="495" y="328"/>
                    <a:pt x="496" y="326"/>
                  </a:cubicBezTo>
                  <a:cubicBezTo>
                    <a:pt x="496" y="324"/>
                    <a:pt x="496" y="325"/>
                    <a:pt x="496" y="32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0" name="Freeform 110">
              <a:extLst>
                <a:ext uri="{FF2B5EF4-FFF2-40B4-BE49-F238E27FC236}">
                  <a16:creationId xmlns:a16="http://schemas.microsoft.com/office/drawing/2014/main" id="{4F457B18-BCC7-4B2E-B9D6-05D3BE8E1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4825" y="3700463"/>
              <a:ext cx="23813" cy="61913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9" y="1"/>
                </a:cxn>
                <a:cxn ang="0">
                  <a:pos x="7" y="3"/>
                </a:cxn>
                <a:cxn ang="0">
                  <a:pos x="6" y="6"/>
                </a:cxn>
                <a:cxn ang="0">
                  <a:pos x="5" y="10"/>
                </a:cxn>
                <a:cxn ang="0">
                  <a:pos x="4" y="13"/>
                </a:cxn>
                <a:cxn ang="0">
                  <a:pos x="3" y="15"/>
                </a:cxn>
                <a:cxn ang="0">
                  <a:pos x="3" y="18"/>
                </a:cxn>
                <a:cxn ang="0">
                  <a:pos x="1" y="23"/>
                </a:cxn>
                <a:cxn ang="0">
                  <a:pos x="1" y="27"/>
                </a:cxn>
                <a:cxn ang="0">
                  <a:pos x="1" y="32"/>
                </a:cxn>
                <a:cxn ang="0">
                  <a:pos x="2" y="32"/>
                </a:cxn>
                <a:cxn ang="0">
                  <a:pos x="4" y="31"/>
                </a:cxn>
                <a:cxn ang="0">
                  <a:pos x="4" y="25"/>
                </a:cxn>
                <a:cxn ang="0">
                  <a:pos x="4" y="23"/>
                </a:cxn>
                <a:cxn ang="0">
                  <a:pos x="5" y="20"/>
                </a:cxn>
                <a:cxn ang="0">
                  <a:pos x="6" y="18"/>
                </a:cxn>
                <a:cxn ang="0">
                  <a:pos x="8" y="20"/>
                </a:cxn>
                <a:cxn ang="0">
                  <a:pos x="8" y="21"/>
                </a:cxn>
                <a:cxn ang="0">
                  <a:pos x="10" y="21"/>
                </a:cxn>
                <a:cxn ang="0">
                  <a:pos x="12" y="21"/>
                </a:cxn>
                <a:cxn ang="0">
                  <a:pos x="12" y="18"/>
                </a:cxn>
                <a:cxn ang="0">
                  <a:pos x="9" y="16"/>
                </a:cxn>
                <a:cxn ang="0">
                  <a:pos x="9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8" y="9"/>
                </a:cxn>
                <a:cxn ang="0">
                  <a:pos x="11" y="5"/>
                </a:cxn>
                <a:cxn ang="0">
                  <a:pos x="11" y="4"/>
                </a:cxn>
                <a:cxn ang="0">
                  <a:pos x="11" y="3"/>
                </a:cxn>
              </a:cxnLst>
              <a:rect l="0" t="0" r="r" b="b"/>
              <a:pathLst>
                <a:path w="13" h="33">
                  <a:moveTo>
                    <a:pt x="12" y="2"/>
                  </a:moveTo>
                  <a:cubicBezTo>
                    <a:pt x="12" y="1"/>
                    <a:pt x="10" y="0"/>
                    <a:pt x="9" y="1"/>
                  </a:cubicBezTo>
                  <a:cubicBezTo>
                    <a:pt x="8" y="2"/>
                    <a:pt x="8" y="2"/>
                    <a:pt x="7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7"/>
                    <a:pt x="5" y="8"/>
                    <a:pt x="5" y="10"/>
                  </a:cubicBezTo>
                  <a:cubicBezTo>
                    <a:pt x="4" y="11"/>
                    <a:pt x="4" y="12"/>
                    <a:pt x="4" y="13"/>
                  </a:cubicBezTo>
                  <a:cubicBezTo>
                    <a:pt x="4" y="14"/>
                    <a:pt x="3" y="15"/>
                    <a:pt x="3" y="15"/>
                  </a:cubicBezTo>
                  <a:cubicBezTo>
                    <a:pt x="3" y="16"/>
                    <a:pt x="3" y="17"/>
                    <a:pt x="3" y="18"/>
                  </a:cubicBezTo>
                  <a:cubicBezTo>
                    <a:pt x="2" y="19"/>
                    <a:pt x="2" y="21"/>
                    <a:pt x="1" y="23"/>
                  </a:cubicBezTo>
                  <a:cubicBezTo>
                    <a:pt x="1" y="24"/>
                    <a:pt x="1" y="26"/>
                    <a:pt x="1" y="27"/>
                  </a:cubicBezTo>
                  <a:cubicBezTo>
                    <a:pt x="1" y="29"/>
                    <a:pt x="0" y="31"/>
                    <a:pt x="1" y="32"/>
                  </a:cubicBezTo>
                  <a:cubicBezTo>
                    <a:pt x="1" y="33"/>
                    <a:pt x="2" y="32"/>
                    <a:pt x="2" y="32"/>
                  </a:cubicBezTo>
                  <a:cubicBezTo>
                    <a:pt x="3" y="32"/>
                    <a:pt x="3" y="32"/>
                    <a:pt x="4" y="31"/>
                  </a:cubicBezTo>
                  <a:cubicBezTo>
                    <a:pt x="4" y="29"/>
                    <a:pt x="3" y="27"/>
                    <a:pt x="4" y="25"/>
                  </a:cubicBezTo>
                  <a:cubicBezTo>
                    <a:pt x="4" y="24"/>
                    <a:pt x="4" y="24"/>
                    <a:pt x="4" y="23"/>
                  </a:cubicBezTo>
                  <a:cubicBezTo>
                    <a:pt x="5" y="22"/>
                    <a:pt x="5" y="21"/>
                    <a:pt x="5" y="20"/>
                  </a:cubicBezTo>
                  <a:cubicBezTo>
                    <a:pt x="5" y="19"/>
                    <a:pt x="5" y="18"/>
                    <a:pt x="6" y="18"/>
                  </a:cubicBezTo>
                  <a:cubicBezTo>
                    <a:pt x="7" y="19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1" y="21"/>
                    <a:pt x="11" y="21"/>
                    <a:pt x="12" y="21"/>
                  </a:cubicBezTo>
                  <a:cubicBezTo>
                    <a:pt x="12" y="20"/>
                    <a:pt x="13" y="19"/>
                    <a:pt x="12" y="18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8" y="15"/>
                    <a:pt x="9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8" y="8"/>
                    <a:pt x="10" y="6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1" name="Freeform 111">
              <a:extLst>
                <a:ext uri="{FF2B5EF4-FFF2-40B4-BE49-F238E27FC236}">
                  <a16:creationId xmlns:a16="http://schemas.microsoft.com/office/drawing/2014/main" id="{977C2C57-3664-4594-A916-B1D01EEDE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2288" y="3754438"/>
              <a:ext cx="17463" cy="17463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4" y="8"/>
                </a:cxn>
                <a:cxn ang="0">
                  <a:pos x="9" y="8"/>
                </a:cxn>
                <a:cxn ang="0">
                  <a:pos x="9" y="4"/>
                </a:cxn>
                <a:cxn ang="0">
                  <a:pos x="8" y="2"/>
                </a:cxn>
                <a:cxn ang="0">
                  <a:pos x="7" y="1"/>
                </a:cxn>
              </a:cxnLst>
              <a:rect l="0" t="0" r="r" b="b"/>
              <a:pathLst>
                <a:path w="9" h="9">
                  <a:moveTo>
                    <a:pt x="6" y="1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6"/>
                    <a:pt x="3" y="7"/>
                    <a:pt x="4" y="8"/>
                  </a:cubicBezTo>
                  <a:cubicBezTo>
                    <a:pt x="5" y="8"/>
                    <a:pt x="8" y="9"/>
                    <a:pt x="9" y="8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8" y="1"/>
                    <a:pt x="8" y="1"/>
                    <a:pt x="7" y="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2" name="Freeform 112">
              <a:extLst>
                <a:ext uri="{FF2B5EF4-FFF2-40B4-BE49-F238E27FC236}">
                  <a16:creationId xmlns:a16="http://schemas.microsoft.com/office/drawing/2014/main" id="{611F88A1-A59A-4C45-803A-5D46F644D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763" y="3773488"/>
              <a:ext cx="7938" cy="79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3" name="Freeform 113">
              <a:extLst>
                <a:ext uri="{FF2B5EF4-FFF2-40B4-BE49-F238E27FC236}">
                  <a16:creationId xmlns:a16="http://schemas.microsoft.com/office/drawing/2014/main" id="{F9DDBF2B-1E0D-497A-87E2-4BA265952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925" y="3792538"/>
              <a:ext cx="7938" cy="9525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1" y="5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2" y="1"/>
                </a:cxn>
              </a:cxnLst>
              <a:rect l="0" t="0" r="r" b="b"/>
              <a:pathLst>
                <a:path w="4" h="5">
                  <a:moveTo>
                    <a:pt x="3" y="1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5"/>
                    <a:pt x="2" y="5"/>
                    <a:pt x="3" y="4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4" name="Freeform 114">
              <a:extLst>
                <a:ext uri="{FF2B5EF4-FFF2-40B4-BE49-F238E27FC236}">
                  <a16:creationId xmlns:a16="http://schemas.microsoft.com/office/drawing/2014/main" id="{D558798F-8262-4545-9E6A-C256E3C0C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3949700"/>
              <a:ext cx="17463" cy="952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1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8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5">
                  <a:moveTo>
                    <a:pt x="7" y="0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4" y="5"/>
                    <a:pt x="7" y="4"/>
                    <a:pt x="8" y="2"/>
                  </a:cubicBezTo>
                  <a:cubicBezTo>
                    <a:pt x="9" y="1"/>
                    <a:pt x="7" y="0"/>
                    <a:pt x="5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5" name="Freeform 115">
              <a:extLst>
                <a:ext uri="{FF2B5EF4-FFF2-40B4-BE49-F238E27FC236}">
                  <a16:creationId xmlns:a16="http://schemas.microsoft.com/office/drawing/2014/main" id="{A6E0EC15-7014-4818-BC1B-0E65AEC18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5125" y="3938588"/>
              <a:ext cx="26988" cy="4763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6" y="1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7" y="3"/>
                </a:cxn>
                <a:cxn ang="0">
                  <a:pos x="13" y="2"/>
                </a:cxn>
                <a:cxn ang="0">
                  <a:pos x="14" y="1"/>
                </a:cxn>
                <a:cxn ang="0">
                  <a:pos x="12" y="0"/>
                </a:cxn>
              </a:cxnLst>
              <a:rect l="0" t="0" r="r" b="b"/>
              <a:pathLst>
                <a:path w="14" h="3">
                  <a:moveTo>
                    <a:pt x="12" y="0"/>
                  </a:moveTo>
                  <a:cubicBezTo>
                    <a:pt x="10" y="1"/>
                    <a:pt x="8" y="1"/>
                    <a:pt x="6" y="1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5" y="3"/>
                    <a:pt x="6" y="3"/>
                    <a:pt x="7" y="3"/>
                  </a:cubicBezTo>
                  <a:cubicBezTo>
                    <a:pt x="9" y="2"/>
                    <a:pt x="11" y="2"/>
                    <a:pt x="13" y="2"/>
                  </a:cubicBezTo>
                  <a:cubicBezTo>
                    <a:pt x="13" y="1"/>
                    <a:pt x="14" y="1"/>
                    <a:pt x="14" y="1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6" name="Freeform 116">
              <a:extLst>
                <a:ext uri="{FF2B5EF4-FFF2-40B4-BE49-F238E27FC236}">
                  <a16:creationId xmlns:a16="http://schemas.microsoft.com/office/drawing/2014/main" id="{912E9517-CE12-407C-B91E-02290761C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513" y="3927475"/>
              <a:ext cx="17463" cy="31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1"/>
                </a:cxn>
                <a:cxn ang="0">
                  <a:pos x="9" y="1"/>
                </a:cxn>
                <a:cxn ang="0">
                  <a:pos x="7" y="0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8" y="1"/>
                    <a:pt x="9" y="1"/>
                    <a:pt x="9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7" name="Freeform 117">
              <a:extLst>
                <a:ext uri="{FF2B5EF4-FFF2-40B4-BE49-F238E27FC236}">
                  <a16:creationId xmlns:a16="http://schemas.microsoft.com/office/drawing/2014/main" id="{E8CCF7F5-FA08-40D6-8432-F45E18D83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875" y="3932238"/>
              <a:ext cx="17463" cy="158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7" y="0"/>
                </a:cxn>
              </a:cxnLst>
              <a:rect l="0" t="0" r="r" b="b"/>
              <a:pathLst>
                <a:path w="9" h="1">
                  <a:moveTo>
                    <a:pt x="7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6" y="1"/>
                    <a:pt x="7" y="0"/>
                  </a:cubicBezTo>
                  <a:cubicBezTo>
                    <a:pt x="7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8" name="Freeform 118">
              <a:extLst>
                <a:ext uri="{FF2B5EF4-FFF2-40B4-BE49-F238E27FC236}">
                  <a16:creationId xmlns:a16="http://schemas.microsoft.com/office/drawing/2014/main" id="{CB8BD80B-3E76-4712-AD48-4B2EAE87E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913" y="3919538"/>
              <a:ext cx="23813" cy="7938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7" y="0"/>
                </a:cxn>
                <a:cxn ang="0">
                  <a:pos x="1" y="2"/>
                </a:cxn>
                <a:cxn ang="0">
                  <a:pos x="2" y="4"/>
                </a:cxn>
                <a:cxn ang="0">
                  <a:pos x="5" y="4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0" y="0"/>
                </a:cxn>
              </a:cxnLst>
              <a:rect l="0" t="0" r="r" b="b"/>
              <a:pathLst>
                <a:path w="13" h="4">
                  <a:moveTo>
                    <a:pt x="10" y="0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3" y="1"/>
                    <a:pt x="1" y="2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7" y="4"/>
                    <a:pt x="8" y="3"/>
                    <a:pt x="10" y="2"/>
                  </a:cubicBezTo>
                  <a:cubicBezTo>
                    <a:pt x="11" y="2"/>
                    <a:pt x="13" y="2"/>
                    <a:pt x="13" y="0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49" name="Freeform 119">
              <a:extLst>
                <a:ext uri="{FF2B5EF4-FFF2-40B4-BE49-F238E27FC236}">
                  <a16:creationId xmlns:a16="http://schemas.microsoft.com/office/drawing/2014/main" id="{53EC95FF-8A2C-451C-89D0-5F8A94BBC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75" y="3919538"/>
              <a:ext cx="19050" cy="31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5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8" y="1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1" h="2">
                  <a:moveTo>
                    <a:pt x="8" y="0"/>
                  </a:move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1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3" y="2"/>
                    <a:pt x="3" y="2"/>
                  </a:cubicBezTo>
                  <a:cubicBezTo>
                    <a:pt x="5" y="2"/>
                    <a:pt x="7" y="2"/>
                    <a:pt x="8" y="1"/>
                  </a:cubicBezTo>
                  <a:cubicBezTo>
                    <a:pt x="9" y="1"/>
                    <a:pt x="11" y="1"/>
                    <a:pt x="10" y="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0" name="Line 120">
              <a:extLst>
                <a:ext uri="{FF2B5EF4-FFF2-40B4-BE49-F238E27FC236}">
                  <a16:creationId xmlns:a16="http://schemas.microsoft.com/office/drawing/2014/main" id="{1CB6FEF7-182B-46D2-8811-3B614F39C4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1" name="Line 121">
              <a:extLst>
                <a:ext uri="{FF2B5EF4-FFF2-40B4-BE49-F238E27FC236}">
                  <a16:creationId xmlns:a16="http://schemas.microsoft.com/office/drawing/2014/main" id="{6B8EB892-B073-41A0-A3A1-96ABF55EC2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2" name="Line 122">
              <a:extLst>
                <a:ext uri="{FF2B5EF4-FFF2-40B4-BE49-F238E27FC236}">
                  <a16:creationId xmlns:a16="http://schemas.microsoft.com/office/drawing/2014/main" id="{2356E977-E128-46C3-8608-21507BA6AA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3" name="Line 123">
              <a:extLst>
                <a:ext uri="{FF2B5EF4-FFF2-40B4-BE49-F238E27FC236}">
                  <a16:creationId xmlns:a16="http://schemas.microsoft.com/office/drawing/2014/main" id="{FD1BB706-89EF-45F4-803A-DC2739F6D4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4" name="Freeform 124">
              <a:extLst>
                <a:ext uri="{FF2B5EF4-FFF2-40B4-BE49-F238E27FC236}">
                  <a16:creationId xmlns:a16="http://schemas.microsoft.com/office/drawing/2014/main" id="{BDE620C6-F9B5-4243-9DDE-F2ED25E2D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7100" y="3800475"/>
              <a:ext cx="57150" cy="25400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6" y="2"/>
                </a:cxn>
                <a:cxn ang="0">
                  <a:pos x="9" y="1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0" y="13"/>
                </a:cxn>
                <a:cxn ang="0">
                  <a:pos x="1" y="14"/>
                </a:cxn>
                <a:cxn ang="0">
                  <a:pos x="3" y="13"/>
                </a:cxn>
                <a:cxn ang="0">
                  <a:pos x="3" y="12"/>
                </a:cxn>
                <a:cxn ang="0">
                  <a:pos x="5" y="11"/>
                </a:cxn>
                <a:cxn ang="0">
                  <a:pos x="7" y="9"/>
                </a:cxn>
                <a:cxn ang="0">
                  <a:pos x="9" y="8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4" y="8"/>
                </a:cxn>
                <a:cxn ang="0">
                  <a:pos x="21" y="8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24" y="4"/>
                </a:cxn>
                <a:cxn ang="0">
                  <a:pos x="21" y="4"/>
                </a:cxn>
              </a:cxnLst>
              <a:rect l="0" t="0" r="r" b="b"/>
              <a:pathLst>
                <a:path w="31" h="14">
                  <a:moveTo>
                    <a:pt x="21" y="3"/>
                  </a:moveTo>
                  <a:cubicBezTo>
                    <a:pt x="20" y="3"/>
                    <a:pt x="18" y="2"/>
                    <a:pt x="16" y="2"/>
                  </a:cubicBezTo>
                  <a:cubicBezTo>
                    <a:pt x="14" y="1"/>
                    <a:pt x="11" y="0"/>
                    <a:pt x="9" y="1"/>
                  </a:cubicBezTo>
                  <a:cubicBezTo>
                    <a:pt x="7" y="2"/>
                    <a:pt x="5" y="4"/>
                    <a:pt x="4" y="5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8"/>
                    <a:pt x="1" y="9"/>
                    <a:pt x="1" y="9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2" y="14"/>
                    <a:pt x="2" y="14"/>
                    <a:pt x="3" y="13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4" y="12"/>
                    <a:pt x="4" y="11"/>
                    <a:pt x="5" y="11"/>
                  </a:cubicBezTo>
                  <a:cubicBezTo>
                    <a:pt x="6" y="11"/>
                    <a:pt x="6" y="10"/>
                    <a:pt x="7" y="9"/>
                  </a:cubicBezTo>
                  <a:cubicBezTo>
                    <a:pt x="8" y="9"/>
                    <a:pt x="9" y="9"/>
                    <a:pt x="9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4" y="8"/>
                    <a:pt x="13" y="8"/>
                    <a:pt x="14" y="8"/>
                  </a:cubicBezTo>
                  <a:cubicBezTo>
                    <a:pt x="17" y="9"/>
                    <a:pt x="19" y="8"/>
                    <a:pt x="21" y="8"/>
                  </a:cubicBezTo>
                  <a:cubicBezTo>
                    <a:pt x="23" y="8"/>
                    <a:pt x="31" y="9"/>
                    <a:pt x="31" y="6"/>
                  </a:cubicBezTo>
                  <a:cubicBezTo>
                    <a:pt x="30" y="4"/>
                    <a:pt x="29" y="4"/>
                    <a:pt x="27" y="4"/>
                  </a:cubicBezTo>
                  <a:cubicBezTo>
                    <a:pt x="26" y="4"/>
                    <a:pt x="25" y="4"/>
                    <a:pt x="24" y="4"/>
                  </a:cubicBezTo>
                  <a:cubicBezTo>
                    <a:pt x="23" y="4"/>
                    <a:pt x="22" y="4"/>
                    <a:pt x="21" y="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5" name="Freeform 125">
              <a:extLst>
                <a:ext uri="{FF2B5EF4-FFF2-40B4-BE49-F238E27FC236}">
                  <a16:creationId xmlns:a16="http://schemas.microsoft.com/office/drawing/2014/main" id="{DD726D83-7ABC-465A-AC94-7C9784AA99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663" y="6724650"/>
              <a:ext cx="238125" cy="133350"/>
            </a:xfrm>
            <a:custGeom>
              <a:avLst/>
              <a:gdLst/>
              <a:ahLst/>
              <a:cxnLst>
                <a:cxn ang="0">
                  <a:pos x="123" y="0"/>
                </a:cxn>
                <a:cxn ang="0">
                  <a:pos x="115" y="3"/>
                </a:cxn>
                <a:cxn ang="0">
                  <a:pos x="106" y="6"/>
                </a:cxn>
                <a:cxn ang="0">
                  <a:pos x="94" y="11"/>
                </a:cxn>
                <a:cxn ang="0">
                  <a:pos x="85" y="16"/>
                </a:cxn>
                <a:cxn ang="0">
                  <a:pos x="81" y="18"/>
                </a:cxn>
                <a:cxn ang="0">
                  <a:pos x="74" y="20"/>
                </a:cxn>
                <a:cxn ang="0">
                  <a:pos x="68" y="21"/>
                </a:cxn>
                <a:cxn ang="0">
                  <a:pos x="64" y="22"/>
                </a:cxn>
                <a:cxn ang="0">
                  <a:pos x="58" y="21"/>
                </a:cxn>
                <a:cxn ang="0">
                  <a:pos x="53" y="21"/>
                </a:cxn>
                <a:cxn ang="0">
                  <a:pos x="38" y="20"/>
                </a:cxn>
                <a:cxn ang="0">
                  <a:pos x="35" y="34"/>
                </a:cxn>
                <a:cxn ang="0">
                  <a:pos x="33" y="34"/>
                </a:cxn>
                <a:cxn ang="0">
                  <a:pos x="28" y="36"/>
                </a:cxn>
                <a:cxn ang="0">
                  <a:pos x="21" y="36"/>
                </a:cxn>
                <a:cxn ang="0">
                  <a:pos x="15" y="36"/>
                </a:cxn>
                <a:cxn ang="0">
                  <a:pos x="9" y="39"/>
                </a:cxn>
                <a:cxn ang="0">
                  <a:pos x="2" y="40"/>
                </a:cxn>
                <a:cxn ang="0">
                  <a:pos x="2" y="45"/>
                </a:cxn>
                <a:cxn ang="0">
                  <a:pos x="1" y="53"/>
                </a:cxn>
                <a:cxn ang="0">
                  <a:pos x="8" y="60"/>
                </a:cxn>
                <a:cxn ang="0">
                  <a:pos x="11" y="62"/>
                </a:cxn>
                <a:cxn ang="0">
                  <a:pos x="12" y="64"/>
                </a:cxn>
                <a:cxn ang="0">
                  <a:pos x="20" y="71"/>
                </a:cxn>
                <a:cxn ang="0">
                  <a:pos x="22" y="70"/>
                </a:cxn>
                <a:cxn ang="0">
                  <a:pos x="29" y="67"/>
                </a:cxn>
                <a:cxn ang="0">
                  <a:pos x="37" y="68"/>
                </a:cxn>
                <a:cxn ang="0">
                  <a:pos x="52" y="67"/>
                </a:cxn>
                <a:cxn ang="0">
                  <a:pos x="58" y="66"/>
                </a:cxn>
                <a:cxn ang="0">
                  <a:pos x="66" y="66"/>
                </a:cxn>
                <a:cxn ang="0">
                  <a:pos x="69" y="58"/>
                </a:cxn>
                <a:cxn ang="0">
                  <a:pos x="76" y="52"/>
                </a:cxn>
                <a:cxn ang="0">
                  <a:pos x="91" y="52"/>
                </a:cxn>
                <a:cxn ang="0">
                  <a:pos x="97" y="51"/>
                </a:cxn>
                <a:cxn ang="0">
                  <a:pos x="99" y="50"/>
                </a:cxn>
                <a:cxn ang="0">
                  <a:pos x="101" y="48"/>
                </a:cxn>
                <a:cxn ang="0">
                  <a:pos x="94" y="39"/>
                </a:cxn>
                <a:cxn ang="0">
                  <a:pos x="93" y="38"/>
                </a:cxn>
                <a:cxn ang="0">
                  <a:pos x="93" y="37"/>
                </a:cxn>
                <a:cxn ang="0">
                  <a:pos x="93" y="34"/>
                </a:cxn>
                <a:cxn ang="0">
                  <a:pos x="94" y="29"/>
                </a:cxn>
                <a:cxn ang="0">
                  <a:pos x="97" y="27"/>
                </a:cxn>
                <a:cxn ang="0">
                  <a:pos x="100" y="25"/>
                </a:cxn>
                <a:cxn ang="0">
                  <a:pos x="104" y="24"/>
                </a:cxn>
                <a:cxn ang="0">
                  <a:pos x="111" y="19"/>
                </a:cxn>
                <a:cxn ang="0">
                  <a:pos x="120" y="10"/>
                </a:cxn>
                <a:cxn ang="0">
                  <a:pos x="125" y="4"/>
                </a:cxn>
                <a:cxn ang="0">
                  <a:pos x="126" y="2"/>
                </a:cxn>
                <a:cxn ang="0">
                  <a:pos x="128" y="0"/>
                </a:cxn>
                <a:cxn ang="0">
                  <a:pos x="123" y="0"/>
                </a:cxn>
              </a:cxnLst>
              <a:rect l="0" t="0" r="r" b="b"/>
              <a:pathLst>
                <a:path w="128" h="71">
                  <a:moveTo>
                    <a:pt x="123" y="0"/>
                  </a:moveTo>
                  <a:cubicBezTo>
                    <a:pt x="120" y="0"/>
                    <a:pt x="117" y="2"/>
                    <a:pt x="115" y="3"/>
                  </a:cubicBezTo>
                  <a:cubicBezTo>
                    <a:pt x="112" y="4"/>
                    <a:pt x="109" y="5"/>
                    <a:pt x="106" y="6"/>
                  </a:cubicBezTo>
                  <a:cubicBezTo>
                    <a:pt x="103" y="9"/>
                    <a:pt x="98" y="10"/>
                    <a:pt x="94" y="11"/>
                  </a:cubicBezTo>
                  <a:cubicBezTo>
                    <a:pt x="91" y="12"/>
                    <a:pt x="88" y="14"/>
                    <a:pt x="85" y="16"/>
                  </a:cubicBezTo>
                  <a:cubicBezTo>
                    <a:pt x="83" y="16"/>
                    <a:pt x="82" y="17"/>
                    <a:pt x="81" y="18"/>
                  </a:cubicBezTo>
                  <a:cubicBezTo>
                    <a:pt x="79" y="19"/>
                    <a:pt x="76" y="19"/>
                    <a:pt x="74" y="20"/>
                  </a:cubicBezTo>
                  <a:cubicBezTo>
                    <a:pt x="72" y="21"/>
                    <a:pt x="70" y="21"/>
                    <a:pt x="68" y="21"/>
                  </a:cubicBezTo>
                  <a:cubicBezTo>
                    <a:pt x="66" y="21"/>
                    <a:pt x="65" y="22"/>
                    <a:pt x="64" y="22"/>
                  </a:cubicBezTo>
                  <a:cubicBezTo>
                    <a:pt x="62" y="22"/>
                    <a:pt x="60" y="21"/>
                    <a:pt x="58" y="21"/>
                  </a:cubicBezTo>
                  <a:cubicBezTo>
                    <a:pt x="56" y="21"/>
                    <a:pt x="55" y="21"/>
                    <a:pt x="53" y="21"/>
                  </a:cubicBezTo>
                  <a:cubicBezTo>
                    <a:pt x="48" y="21"/>
                    <a:pt x="43" y="19"/>
                    <a:pt x="38" y="20"/>
                  </a:cubicBezTo>
                  <a:cubicBezTo>
                    <a:pt x="37" y="24"/>
                    <a:pt x="41" y="33"/>
                    <a:pt x="35" y="34"/>
                  </a:cubicBezTo>
                  <a:cubicBezTo>
                    <a:pt x="34" y="35"/>
                    <a:pt x="33" y="35"/>
                    <a:pt x="33" y="34"/>
                  </a:cubicBezTo>
                  <a:cubicBezTo>
                    <a:pt x="31" y="35"/>
                    <a:pt x="30" y="35"/>
                    <a:pt x="28" y="36"/>
                  </a:cubicBezTo>
                  <a:cubicBezTo>
                    <a:pt x="26" y="36"/>
                    <a:pt x="23" y="37"/>
                    <a:pt x="21" y="36"/>
                  </a:cubicBezTo>
                  <a:cubicBezTo>
                    <a:pt x="19" y="35"/>
                    <a:pt x="17" y="33"/>
                    <a:pt x="15" y="36"/>
                  </a:cubicBezTo>
                  <a:cubicBezTo>
                    <a:pt x="14" y="39"/>
                    <a:pt x="12" y="40"/>
                    <a:pt x="9" y="39"/>
                  </a:cubicBezTo>
                  <a:cubicBezTo>
                    <a:pt x="6" y="39"/>
                    <a:pt x="3" y="36"/>
                    <a:pt x="2" y="40"/>
                  </a:cubicBezTo>
                  <a:cubicBezTo>
                    <a:pt x="2" y="42"/>
                    <a:pt x="3" y="43"/>
                    <a:pt x="2" y="45"/>
                  </a:cubicBezTo>
                  <a:cubicBezTo>
                    <a:pt x="2" y="48"/>
                    <a:pt x="0" y="50"/>
                    <a:pt x="1" y="53"/>
                  </a:cubicBezTo>
                  <a:cubicBezTo>
                    <a:pt x="2" y="57"/>
                    <a:pt x="5" y="58"/>
                    <a:pt x="8" y="60"/>
                  </a:cubicBezTo>
                  <a:cubicBezTo>
                    <a:pt x="9" y="61"/>
                    <a:pt x="10" y="61"/>
                    <a:pt x="11" y="62"/>
                  </a:cubicBezTo>
                  <a:cubicBezTo>
                    <a:pt x="12" y="63"/>
                    <a:pt x="11" y="61"/>
                    <a:pt x="12" y="64"/>
                  </a:cubicBezTo>
                  <a:cubicBezTo>
                    <a:pt x="14" y="66"/>
                    <a:pt x="16" y="71"/>
                    <a:pt x="20" y="71"/>
                  </a:cubicBezTo>
                  <a:cubicBezTo>
                    <a:pt x="20" y="70"/>
                    <a:pt x="21" y="70"/>
                    <a:pt x="22" y="70"/>
                  </a:cubicBezTo>
                  <a:cubicBezTo>
                    <a:pt x="24" y="69"/>
                    <a:pt x="27" y="68"/>
                    <a:pt x="29" y="67"/>
                  </a:cubicBezTo>
                  <a:cubicBezTo>
                    <a:pt x="32" y="67"/>
                    <a:pt x="34" y="67"/>
                    <a:pt x="37" y="68"/>
                  </a:cubicBezTo>
                  <a:cubicBezTo>
                    <a:pt x="42" y="70"/>
                    <a:pt x="47" y="69"/>
                    <a:pt x="52" y="67"/>
                  </a:cubicBezTo>
                  <a:cubicBezTo>
                    <a:pt x="54" y="66"/>
                    <a:pt x="56" y="66"/>
                    <a:pt x="58" y="66"/>
                  </a:cubicBezTo>
                  <a:cubicBezTo>
                    <a:pt x="60" y="66"/>
                    <a:pt x="64" y="67"/>
                    <a:pt x="66" y="66"/>
                  </a:cubicBezTo>
                  <a:cubicBezTo>
                    <a:pt x="69" y="65"/>
                    <a:pt x="68" y="60"/>
                    <a:pt x="69" y="58"/>
                  </a:cubicBezTo>
                  <a:cubicBezTo>
                    <a:pt x="70" y="55"/>
                    <a:pt x="72" y="52"/>
                    <a:pt x="76" y="52"/>
                  </a:cubicBezTo>
                  <a:cubicBezTo>
                    <a:pt x="81" y="51"/>
                    <a:pt x="86" y="53"/>
                    <a:pt x="91" y="52"/>
                  </a:cubicBezTo>
                  <a:cubicBezTo>
                    <a:pt x="94" y="52"/>
                    <a:pt x="95" y="51"/>
                    <a:pt x="97" y="51"/>
                  </a:cubicBezTo>
                  <a:cubicBezTo>
                    <a:pt x="97" y="50"/>
                    <a:pt x="98" y="50"/>
                    <a:pt x="99" y="50"/>
                  </a:cubicBezTo>
                  <a:cubicBezTo>
                    <a:pt x="100" y="50"/>
                    <a:pt x="101" y="49"/>
                    <a:pt x="101" y="48"/>
                  </a:cubicBezTo>
                  <a:cubicBezTo>
                    <a:pt x="99" y="45"/>
                    <a:pt x="96" y="43"/>
                    <a:pt x="94" y="39"/>
                  </a:cubicBezTo>
                  <a:cubicBezTo>
                    <a:pt x="94" y="39"/>
                    <a:pt x="94" y="39"/>
                    <a:pt x="93" y="38"/>
                  </a:cubicBezTo>
                  <a:cubicBezTo>
                    <a:pt x="93" y="38"/>
                    <a:pt x="93" y="37"/>
                    <a:pt x="93" y="37"/>
                  </a:cubicBezTo>
                  <a:cubicBezTo>
                    <a:pt x="93" y="36"/>
                    <a:pt x="93" y="35"/>
                    <a:pt x="93" y="34"/>
                  </a:cubicBezTo>
                  <a:cubicBezTo>
                    <a:pt x="93" y="32"/>
                    <a:pt x="93" y="30"/>
                    <a:pt x="94" y="29"/>
                  </a:cubicBezTo>
                  <a:cubicBezTo>
                    <a:pt x="94" y="28"/>
                    <a:pt x="96" y="27"/>
                    <a:pt x="97" y="27"/>
                  </a:cubicBezTo>
                  <a:cubicBezTo>
                    <a:pt x="98" y="25"/>
                    <a:pt x="98" y="25"/>
                    <a:pt x="100" y="25"/>
                  </a:cubicBezTo>
                  <a:cubicBezTo>
                    <a:pt x="101" y="24"/>
                    <a:pt x="103" y="24"/>
                    <a:pt x="104" y="24"/>
                  </a:cubicBezTo>
                  <a:cubicBezTo>
                    <a:pt x="107" y="23"/>
                    <a:pt x="109" y="22"/>
                    <a:pt x="111" y="19"/>
                  </a:cubicBezTo>
                  <a:cubicBezTo>
                    <a:pt x="114" y="16"/>
                    <a:pt x="116" y="13"/>
                    <a:pt x="120" y="10"/>
                  </a:cubicBezTo>
                  <a:cubicBezTo>
                    <a:pt x="122" y="8"/>
                    <a:pt x="123" y="7"/>
                    <a:pt x="125" y="4"/>
                  </a:cubicBezTo>
                  <a:cubicBezTo>
                    <a:pt x="125" y="4"/>
                    <a:pt x="126" y="3"/>
                    <a:pt x="126" y="2"/>
                  </a:cubicBezTo>
                  <a:cubicBezTo>
                    <a:pt x="127" y="2"/>
                    <a:pt x="128" y="0"/>
                    <a:pt x="128" y="0"/>
                  </a:cubicBezTo>
                  <a:lnTo>
                    <a:pt x="12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6" name="Freeform 126">
              <a:extLst>
                <a:ext uri="{FF2B5EF4-FFF2-40B4-BE49-F238E27FC236}">
                  <a16:creationId xmlns:a16="http://schemas.microsoft.com/office/drawing/2014/main" id="{795ACD52-365C-4A0A-BD2E-B45637E8D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8963" y="109538"/>
              <a:ext cx="185738" cy="114300"/>
            </a:xfrm>
            <a:custGeom>
              <a:avLst/>
              <a:gdLst/>
              <a:ahLst/>
              <a:cxnLst>
                <a:cxn ang="0">
                  <a:pos x="30" y="33"/>
                </a:cxn>
                <a:cxn ang="0">
                  <a:pos x="25" y="40"/>
                </a:cxn>
                <a:cxn ang="0">
                  <a:pos x="8" y="58"/>
                </a:cxn>
                <a:cxn ang="0">
                  <a:pos x="21" y="56"/>
                </a:cxn>
                <a:cxn ang="0">
                  <a:pos x="48" y="48"/>
                </a:cxn>
                <a:cxn ang="0">
                  <a:pos x="53" y="49"/>
                </a:cxn>
                <a:cxn ang="0">
                  <a:pos x="62" y="46"/>
                </a:cxn>
                <a:cxn ang="0">
                  <a:pos x="66" y="38"/>
                </a:cxn>
                <a:cxn ang="0">
                  <a:pos x="78" y="26"/>
                </a:cxn>
                <a:cxn ang="0">
                  <a:pos x="95" y="2"/>
                </a:cxn>
                <a:cxn ang="0">
                  <a:pos x="83" y="1"/>
                </a:cxn>
                <a:cxn ang="0">
                  <a:pos x="80" y="8"/>
                </a:cxn>
                <a:cxn ang="0">
                  <a:pos x="72" y="5"/>
                </a:cxn>
                <a:cxn ang="0">
                  <a:pos x="65" y="19"/>
                </a:cxn>
                <a:cxn ang="0">
                  <a:pos x="50" y="11"/>
                </a:cxn>
                <a:cxn ang="0">
                  <a:pos x="49" y="24"/>
                </a:cxn>
                <a:cxn ang="0">
                  <a:pos x="42" y="27"/>
                </a:cxn>
                <a:cxn ang="0">
                  <a:pos x="39" y="19"/>
                </a:cxn>
                <a:cxn ang="0">
                  <a:pos x="30" y="30"/>
                </a:cxn>
                <a:cxn ang="0">
                  <a:pos x="13" y="29"/>
                </a:cxn>
                <a:cxn ang="0">
                  <a:pos x="6" y="26"/>
                </a:cxn>
                <a:cxn ang="0">
                  <a:pos x="13" y="33"/>
                </a:cxn>
                <a:cxn ang="0">
                  <a:pos x="30" y="33"/>
                </a:cxn>
              </a:cxnLst>
              <a:rect l="0" t="0" r="r" b="b"/>
              <a:pathLst>
                <a:path w="99" h="61">
                  <a:moveTo>
                    <a:pt x="30" y="33"/>
                  </a:moveTo>
                  <a:cubicBezTo>
                    <a:pt x="27" y="35"/>
                    <a:pt x="26" y="37"/>
                    <a:pt x="25" y="40"/>
                  </a:cubicBezTo>
                  <a:cubicBezTo>
                    <a:pt x="20" y="47"/>
                    <a:pt x="14" y="52"/>
                    <a:pt x="8" y="58"/>
                  </a:cubicBezTo>
                  <a:cubicBezTo>
                    <a:pt x="12" y="61"/>
                    <a:pt x="17" y="58"/>
                    <a:pt x="21" y="56"/>
                  </a:cubicBezTo>
                  <a:cubicBezTo>
                    <a:pt x="30" y="52"/>
                    <a:pt x="37" y="45"/>
                    <a:pt x="48" y="48"/>
                  </a:cubicBezTo>
                  <a:cubicBezTo>
                    <a:pt x="50" y="49"/>
                    <a:pt x="51" y="50"/>
                    <a:pt x="53" y="49"/>
                  </a:cubicBezTo>
                  <a:cubicBezTo>
                    <a:pt x="55" y="49"/>
                    <a:pt x="61" y="40"/>
                    <a:pt x="62" y="46"/>
                  </a:cubicBezTo>
                  <a:cubicBezTo>
                    <a:pt x="64" y="44"/>
                    <a:pt x="64" y="41"/>
                    <a:pt x="66" y="38"/>
                  </a:cubicBezTo>
                  <a:cubicBezTo>
                    <a:pt x="70" y="34"/>
                    <a:pt x="74" y="30"/>
                    <a:pt x="78" y="26"/>
                  </a:cubicBezTo>
                  <a:cubicBezTo>
                    <a:pt x="82" y="21"/>
                    <a:pt x="99" y="10"/>
                    <a:pt x="95" y="2"/>
                  </a:cubicBezTo>
                  <a:cubicBezTo>
                    <a:pt x="91" y="0"/>
                    <a:pt x="87" y="0"/>
                    <a:pt x="83" y="1"/>
                  </a:cubicBezTo>
                  <a:cubicBezTo>
                    <a:pt x="79" y="4"/>
                    <a:pt x="80" y="5"/>
                    <a:pt x="80" y="8"/>
                  </a:cubicBezTo>
                  <a:cubicBezTo>
                    <a:pt x="76" y="10"/>
                    <a:pt x="75" y="4"/>
                    <a:pt x="72" y="5"/>
                  </a:cubicBezTo>
                  <a:cubicBezTo>
                    <a:pt x="70" y="12"/>
                    <a:pt x="74" y="17"/>
                    <a:pt x="65" y="19"/>
                  </a:cubicBezTo>
                  <a:cubicBezTo>
                    <a:pt x="57" y="20"/>
                    <a:pt x="58" y="10"/>
                    <a:pt x="50" y="11"/>
                  </a:cubicBezTo>
                  <a:cubicBezTo>
                    <a:pt x="49" y="16"/>
                    <a:pt x="54" y="20"/>
                    <a:pt x="49" y="24"/>
                  </a:cubicBezTo>
                  <a:cubicBezTo>
                    <a:pt x="48" y="26"/>
                    <a:pt x="45" y="27"/>
                    <a:pt x="42" y="27"/>
                  </a:cubicBezTo>
                  <a:cubicBezTo>
                    <a:pt x="36" y="25"/>
                    <a:pt x="42" y="22"/>
                    <a:pt x="39" y="19"/>
                  </a:cubicBezTo>
                  <a:cubicBezTo>
                    <a:pt x="33" y="12"/>
                    <a:pt x="30" y="26"/>
                    <a:pt x="30" y="30"/>
                  </a:cubicBezTo>
                  <a:cubicBezTo>
                    <a:pt x="25" y="30"/>
                    <a:pt x="18" y="31"/>
                    <a:pt x="13" y="29"/>
                  </a:cubicBezTo>
                  <a:cubicBezTo>
                    <a:pt x="10" y="29"/>
                    <a:pt x="9" y="26"/>
                    <a:pt x="6" y="26"/>
                  </a:cubicBezTo>
                  <a:cubicBezTo>
                    <a:pt x="0" y="32"/>
                    <a:pt x="9" y="34"/>
                    <a:pt x="13" y="33"/>
                  </a:cubicBezTo>
                  <a:lnTo>
                    <a:pt x="30" y="33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7" name="Freeform 127">
              <a:extLst>
                <a:ext uri="{FF2B5EF4-FFF2-40B4-BE49-F238E27FC236}">
                  <a16:creationId xmlns:a16="http://schemas.microsoft.com/office/drawing/2014/main" id="{FBB027B9-1A61-44CD-8DEE-24694C107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350" y="230188"/>
              <a:ext cx="65088" cy="50800"/>
            </a:xfrm>
            <a:custGeom>
              <a:avLst/>
              <a:gdLst/>
              <a:ahLst/>
              <a:cxnLst>
                <a:cxn ang="0">
                  <a:pos x="31" y="9"/>
                </a:cxn>
                <a:cxn ang="0">
                  <a:pos x="30" y="8"/>
                </a:cxn>
                <a:cxn ang="0">
                  <a:pos x="15" y="6"/>
                </a:cxn>
                <a:cxn ang="0">
                  <a:pos x="1" y="16"/>
                </a:cxn>
                <a:cxn ang="0">
                  <a:pos x="19" y="23"/>
                </a:cxn>
                <a:cxn ang="0">
                  <a:pos x="22" y="27"/>
                </a:cxn>
                <a:cxn ang="0">
                  <a:pos x="31" y="25"/>
                </a:cxn>
                <a:cxn ang="0">
                  <a:pos x="24" y="8"/>
                </a:cxn>
                <a:cxn ang="0">
                  <a:pos x="31" y="9"/>
                </a:cxn>
              </a:cxnLst>
              <a:rect l="0" t="0" r="r" b="b"/>
              <a:pathLst>
                <a:path w="35" h="27">
                  <a:moveTo>
                    <a:pt x="31" y="9"/>
                  </a:moveTo>
                  <a:cubicBezTo>
                    <a:pt x="31" y="9"/>
                    <a:pt x="30" y="9"/>
                    <a:pt x="30" y="8"/>
                  </a:cubicBezTo>
                  <a:cubicBezTo>
                    <a:pt x="30" y="1"/>
                    <a:pt x="13" y="0"/>
                    <a:pt x="15" y="6"/>
                  </a:cubicBezTo>
                  <a:cubicBezTo>
                    <a:pt x="11" y="8"/>
                    <a:pt x="1" y="11"/>
                    <a:pt x="1" y="16"/>
                  </a:cubicBezTo>
                  <a:cubicBezTo>
                    <a:pt x="0" y="26"/>
                    <a:pt x="14" y="20"/>
                    <a:pt x="19" y="23"/>
                  </a:cubicBezTo>
                  <a:cubicBezTo>
                    <a:pt x="20" y="23"/>
                    <a:pt x="21" y="26"/>
                    <a:pt x="22" y="27"/>
                  </a:cubicBezTo>
                  <a:cubicBezTo>
                    <a:pt x="23" y="27"/>
                    <a:pt x="30" y="26"/>
                    <a:pt x="31" y="25"/>
                  </a:cubicBezTo>
                  <a:cubicBezTo>
                    <a:pt x="35" y="20"/>
                    <a:pt x="27" y="11"/>
                    <a:pt x="24" y="8"/>
                  </a:cubicBezTo>
                  <a:lnTo>
                    <a:pt x="31" y="9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8" name="Freeform 128">
              <a:extLst>
                <a:ext uri="{FF2B5EF4-FFF2-40B4-BE49-F238E27FC236}">
                  <a16:creationId xmlns:a16="http://schemas.microsoft.com/office/drawing/2014/main" id="{EFDA109C-D106-496E-896F-EE5FA95F9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4850" y="171450"/>
              <a:ext cx="84138" cy="93663"/>
            </a:xfrm>
            <a:custGeom>
              <a:avLst/>
              <a:gdLst/>
              <a:ahLst/>
              <a:cxnLst>
                <a:cxn ang="0">
                  <a:pos x="5" y="18"/>
                </a:cxn>
                <a:cxn ang="0">
                  <a:pos x="3" y="19"/>
                </a:cxn>
                <a:cxn ang="0">
                  <a:pos x="0" y="27"/>
                </a:cxn>
                <a:cxn ang="0">
                  <a:pos x="6" y="32"/>
                </a:cxn>
                <a:cxn ang="0">
                  <a:pos x="5" y="44"/>
                </a:cxn>
                <a:cxn ang="0">
                  <a:pos x="11" y="48"/>
                </a:cxn>
                <a:cxn ang="0">
                  <a:pos x="13" y="50"/>
                </a:cxn>
                <a:cxn ang="0">
                  <a:pos x="16" y="48"/>
                </a:cxn>
                <a:cxn ang="0">
                  <a:pos x="27" y="39"/>
                </a:cxn>
                <a:cxn ang="0">
                  <a:pos x="44" y="31"/>
                </a:cxn>
                <a:cxn ang="0">
                  <a:pos x="42" y="22"/>
                </a:cxn>
                <a:cxn ang="0">
                  <a:pos x="42" y="13"/>
                </a:cxn>
                <a:cxn ang="0">
                  <a:pos x="39" y="5"/>
                </a:cxn>
                <a:cxn ang="0">
                  <a:pos x="34" y="4"/>
                </a:cxn>
                <a:cxn ang="0">
                  <a:pos x="32" y="4"/>
                </a:cxn>
                <a:cxn ang="0">
                  <a:pos x="29" y="1"/>
                </a:cxn>
                <a:cxn ang="0">
                  <a:pos x="20" y="18"/>
                </a:cxn>
                <a:cxn ang="0">
                  <a:pos x="5" y="17"/>
                </a:cxn>
                <a:cxn ang="0">
                  <a:pos x="5" y="18"/>
                </a:cxn>
              </a:cxnLst>
              <a:rect l="0" t="0" r="r" b="b"/>
              <a:pathLst>
                <a:path w="45" h="50">
                  <a:moveTo>
                    <a:pt x="5" y="18"/>
                  </a:moveTo>
                  <a:cubicBezTo>
                    <a:pt x="4" y="18"/>
                    <a:pt x="4" y="18"/>
                    <a:pt x="3" y="19"/>
                  </a:cubicBezTo>
                  <a:cubicBezTo>
                    <a:pt x="3" y="21"/>
                    <a:pt x="0" y="25"/>
                    <a:pt x="0" y="27"/>
                  </a:cubicBezTo>
                  <a:cubicBezTo>
                    <a:pt x="1" y="30"/>
                    <a:pt x="5" y="31"/>
                    <a:pt x="6" y="32"/>
                  </a:cubicBezTo>
                  <a:cubicBezTo>
                    <a:pt x="10" y="37"/>
                    <a:pt x="3" y="38"/>
                    <a:pt x="5" y="44"/>
                  </a:cubicBezTo>
                  <a:cubicBezTo>
                    <a:pt x="6" y="48"/>
                    <a:pt x="8" y="47"/>
                    <a:pt x="11" y="48"/>
                  </a:cubicBezTo>
                  <a:cubicBezTo>
                    <a:pt x="12" y="49"/>
                    <a:pt x="12" y="50"/>
                    <a:pt x="13" y="50"/>
                  </a:cubicBezTo>
                  <a:cubicBezTo>
                    <a:pt x="16" y="50"/>
                    <a:pt x="15" y="50"/>
                    <a:pt x="16" y="48"/>
                  </a:cubicBezTo>
                  <a:cubicBezTo>
                    <a:pt x="20" y="43"/>
                    <a:pt x="19" y="39"/>
                    <a:pt x="27" y="39"/>
                  </a:cubicBezTo>
                  <a:cubicBezTo>
                    <a:pt x="35" y="39"/>
                    <a:pt x="45" y="43"/>
                    <a:pt x="44" y="31"/>
                  </a:cubicBezTo>
                  <a:cubicBezTo>
                    <a:pt x="44" y="27"/>
                    <a:pt x="43" y="25"/>
                    <a:pt x="42" y="22"/>
                  </a:cubicBezTo>
                  <a:cubicBezTo>
                    <a:pt x="42" y="19"/>
                    <a:pt x="42" y="16"/>
                    <a:pt x="42" y="13"/>
                  </a:cubicBezTo>
                  <a:cubicBezTo>
                    <a:pt x="42" y="9"/>
                    <a:pt x="42" y="7"/>
                    <a:pt x="39" y="5"/>
                  </a:cubicBezTo>
                  <a:cubicBezTo>
                    <a:pt x="37" y="4"/>
                    <a:pt x="35" y="4"/>
                    <a:pt x="34" y="4"/>
                  </a:cubicBezTo>
                  <a:cubicBezTo>
                    <a:pt x="33" y="4"/>
                    <a:pt x="32" y="4"/>
                    <a:pt x="32" y="4"/>
                  </a:cubicBezTo>
                  <a:cubicBezTo>
                    <a:pt x="31" y="3"/>
                    <a:pt x="30" y="2"/>
                    <a:pt x="29" y="1"/>
                  </a:cubicBezTo>
                  <a:cubicBezTo>
                    <a:pt x="22" y="0"/>
                    <a:pt x="19" y="12"/>
                    <a:pt x="20" y="18"/>
                  </a:cubicBezTo>
                  <a:cubicBezTo>
                    <a:pt x="15" y="19"/>
                    <a:pt x="10" y="17"/>
                    <a:pt x="5" y="17"/>
                  </a:cubicBezTo>
                  <a:lnTo>
                    <a:pt x="5" y="18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59" name="Freeform 129">
              <a:extLst>
                <a:ext uri="{FF2B5EF4-FFF2-40B4-BE49-F238E27FC236}">
                  <a16:creationId xmlns:a16="http://schemas.microsoft.com/office/drawing/2014/main" id="{C1138CEB-39B3-485D-A055-F221009A1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763" y="123825"/>
              <a:ext cx="36513" cy="6191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11"/>
                </a:cxn>
                <a:cxn ang="0">
                  <a:pos x="7" y="19"/>
                </a:cxn>
                <a:cxn ang="0">
                  <a:pos x="6" y="27"/>
                </a:cxn>
                <a:cxn ang="0">
                  <a:pos x="9" y="30"/>
                </a:cxn>
                <a:cxn ang="0">
                  <a:pos x="13" y="33"/>
                </a:cxn>
                <a:cxn ang="0">
                  <a:pos x="16" y="29"/>
                </a:cxn>
                <a:cxn ang="0">
                  <a:pos x="18" y="20"/>
                </a:cxn>
                <a:cxn ang="0">
                  <a:pos x="13" y="3"/>
                </a:cxn>
                <a:cxn ang="0">
                  <a:pos x="9" y="0"/>
                </a:cxn>
              </a:cxnLst>
              <a:rect l="0" t="0" r="r" b="b"/>
              <a:pathLst>
                <a:path w="20" h="33">
                  <a:moveTo>
                    <a:pt x="9" y="0"/>
                  </a:moveTo>
                  <a:cubicBezTo>
                    <a:pt x="5" y="2"/>
                    <a:pt x="0" y="5"/>
                    <a:pt x="2" y="11"/>
                  </a:cubicBezTo>
                  <a:cubicBezTo>
                    <a:pt x="2" y="14"/>
                    <a:pt x="6" y="15"/>
                    <a:pt x="7" y="19"/>
                  </a:cubicBezTo>
                  <a:cubicBezTo>
                    <a:pt x="7" y="21"/>
                    <a:pt x="6" y="24"/>
                    <a:pt x="6" y="27"/>
                  </a:cubicBezTo>
                  <a:cubicBezTo>
                    <a:pt x="6" y="28"/>
                    <a:pt x="7" y="29"/>
                    <a:pt x="9" y="30"/>
                  </a:cubicBezTo>
                  <a:cubicBezTo>
                    <a:pt x="9" y="29"/>
                    <a:pt x="14" y="33"/>
                    <a:pt x="13" y="33"/>
                  </a:cubicBezTo>
                  <a:cubicBezTo>
                    <a:pt x="17" y="33"/>
                    <a:pt x="16" y="32"/>
                    <a:pt x="16" y="29"/>
                  </a:cubicBezTo>
                  <a:cubicBezTo>
                    <a:pt x="16" y="25"/>
                    <a:pt x="17" y="23"/>
                    <a:pt x="18" y="20"/>
                  </a:cubicBezTo>
                  <a:cubicBezTo>
                    <a:pt x="20" y="12"/>
                    <a:pt x="15" y="9"/>
                    <a:pt x="13" y="3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0" name="Freeform 130">
              <a:extLst>
                <a:ext uri="{FF2B5EF4-FFF2-40B4-BE49-F238E27FC236}">
                  <a16:creationId xmlns:a16="http://schemas.microsoft.com/office/drawing/2014/main" id="{7F76287D-5623-4D64-BB49-7790F3E95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263" y="269875"/>
              <a:ext cx="73025" cy="85725"/>
            </a:xfrm>
            <a:custGeom>
              <a:avLst/>
              <a:gdLst/>
              <a:ahLst/>
              <a:cxnLst>
                <a:cxn ang="0">
                  <a:pos x="35" y="15"/>
                </a:cxn>
                <a:cxn ang="0">
                  <a:pos x="25" y="3"/>
                </a:cxn>
                <a:cxn ang="0">
                  <a:pos x="8" y="12"/>
                </a:cxn>
                <a:cxn ang="0">
                  <a:pos x="3" y="26"/>
                </a:cxn>
                <a:cxn ang="0">
                  <a:pos x="1" y="35"/>
                </a:cxn>
                <a:cxn ang="0">
                  <a:pos x="15" y="35"/>
                </a:cxn>
                <a:cxn ang="0">
                  <a:pos x="23" y="45"/>
                </a:cxn>
                <a:cxn ang="0">
                  <a:pos x="37" y="25"/>
                </a:cxn>
                <a:cxn ang="0">
                  <a:pos x="35" y="8"/>
                </a:cxn>
                <a:cxn ang="0">
                  <a:pos x="35" y="15"/>
                </a:cxn>
              </a:cxnLst>
              <a:rect l="0" t="0" r="r" b="b"/>
              <a:pathLst>
                <a:path w="39" h="46">
                  <a:moveTo>
                    <a:pt x="35" y="15"/>
                  </a:moveTo>
                  <a:cubicBezTo>
                    <a:pt x="33" y="11"/>
                    <a:pt x="30" y="5"/>
                    <a:pt x="25" y="3"/>
                  </a:cubicBezTo>
                  <a:cubicBezTo>
                    <a:pt x="18" y="0"/>
                    <a:pt x="12" y="8"/>
                    <a:pt x="8" y="12"/>
                  </a:cubicBezTo>
                  <a:cubicBezTo>
                    <a:pt x="4" y="17"/>
                    <a:pt x="4" y="20"/>
                    <a:pt x="3" y="26"/>
                  </a:cubicBezTo>
                  <a:cubicBezTo>
                    <a:pt x="2" y="29"/>
                    <a:pt x="0" y="31"/>
                    <a:pt x="1" y="35"/>
                  </a:cubicBezTo>
                  <a:cubicBezTo>
                    <a:pt x="5" y="35"/>
                    <a:pt x="12" y="33"/>
                    <a:pt x="15" y="35"/>
                  </a:cubicBezTo>
                  <a:cubicBezTo>
                    <a:pt x="20" y="38"/>
                    <a:pt x="16" y="45"/>
                    <a:pt x="23" y="45"/>
                  </a:cubicBezTo>
                  <a:cubicBezTo>
                    <a:pt x="32" y="46"/>
                    <a:pt x="36" y="32"/>
                    <a:pt x="37" y="25"/>
                  </a:cubicBezTo>
                  <a:cubicBezTo>
                    <a:pt x="37" y="19"/>
                    <a:pt x="39" y="13"/>
                    <a:pt x="35" y="8"/>
                  </a:cubicBezTo>
                  <a:lnTo>
                    <a:pt x="35" y="1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1" name="Freeform 131">
              <a:extLst>
                <a:ext uri="{FF2B5EF4-FFF2-40B4-BE49-F238E27FC236}">
                  <a16:creationId xmlns:a16="http://schemas.microsoft.com/office/drawing/2014/main" id="{86E589FB-9C7B-4A05-89C4-7826C9164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513" y="263525"/>
              <a:ext cx="92075" cy="8572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" y="10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9" y="36"/>
                </a:cxn>
                <a:cxn ang="0">
                  <a:pos x="20" y="38"/>
                </a:cxn>
                <a:cxn ang="0">
                  <a:pos x="39" y="41"/>
                </a:cxn>
                <a:cxn ang="0">
                  <a:pos x="44" y="46"/>
                </a:cxn>
                <a:cxn ang="0">
                  <a:pos x="48" y="40"/>
                </a:cxn>
                <a:cxn ang="0">
                  <a:pos x="34" y="17"/>
                </a:cxn>
                <a:cxn ang="0">
                  <a:pos x="30" y="16"/>
                </a:cxn>
                <a:cxn ang="0">
                  <a:pos x="24" y="11"/>
                </a:cxn>
                <a:cxn ang="0">
                  <a:pos x="12" y="2"/>
                </a:cxn>
                <a:cxn ang="0">
                  <a:pos x="9" y="0"/>
                </a:cxn>
              </a:cxnLst>
              <a:rect l="0" t="0" r="r" b="b"/>
              <a:pathLst>
                <a:path w="49" h="46">
                  <a:moveTo>
                    <a:pt x="9" y="0"/>
                  </a:moveTo>
                  <a:cubicBezTo>
                    <a:pt x="3" y="0"/>
                    <a:pt x="0" y="3"/>
                    <a:pt x="1" y="10"/>
                  </a:cubicBezTo>
                  <a:cubicBezTo>
                    <a:pt x="1" y="12"/>
                    <a:pt x="3" y="17"/>
                    <a:pt x="4" y="18"/>
                  </a:cubicBezTo>
                  <a:cubicBezTo>
                    <a:pt x="6" y="20"/>
                    <a:pt x="7" y="20"/>
                    <a:pt x="8" y="22"/>
                  </a:cubicBezTo>
                  <a:cubicBezTo>
                    <a:pt x="10" y="27"/>
                    <a:pt x="8" y="31"/>
                    <a:pt x="9" y="36"/>
                  </a:cubicBezTo>
                  <a:cubicBezTo>
                    <a:pt x="11" y="40"/>
                    <a:pt x="16" y="38"/>
                    <a:pt x="20" y="38"/>
                  </a:cubicBezTo>
                  <a:cubicBezTo>
                    <a:pt x="25" y="38"/>
                    <a:pt x="35" y="38"/>
                    <a:pt x="39" y="41"/>
                  </a:cubicBezTo>
                  <a:cubicBezTo>
                    <a:pt x="41" y="43"/>
                    <a:pt x="40" y="46"/>
                    <a:pt x="44" y="46"/>
                  </a:cubicBezTo>
                  <a:cubicBezTo>
                    <a:pt x="48" y="46"/>
                    <a:pt x="48" y="43"/>
                    <a:pt x="48" y="40"/>
                  </a:cubicBezTo>
                  <a:cubicBezTo>
                    <a:pt x="49" y="30"/>
                    <a:pt x="44" y="20"/>
                    <a:pt x="34" y="17"/>
                  </a:cubicBezTo>
                  <a:cubicBezTo>
                    <a:pt x="32" y="17"/>
                    <a:pt x="32" y="17"/>
                    <a:pt x="30" y="16"/>
                  </a:cubicBezTo>
                  <a:cubicBezTo>
                    <a:pt x="28" y="15"/>
                    <a:pt x="26" y="12"/>
                    <a:pt x="24" y="11"/>
                  </a:cubicBezTo>
                  <a:cubicBezTo>
                    <a:pt x="21" y="8"/>
                    <a:pt x="12" y="6"/>
                    <a:pt x="12" y="2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2" name="Freeform 132">
              <a:extLst>
                <a:ext uri="{FF2B5EF4-FFF2-40B4-BE49-F238E27FC236}">
                  <a16:creationId xmlns:a16="http://schemas.microsoft.com/office/drawing/2014/main" id="{5DBEA34C-4E98-4FC3-8793-F4641D423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075" y="357188"/>
              <a:ext cx="38100" cy="22225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" y="9"/>
                </a:cxn>
                <a:cxn ang="0">
                  <a:pos x="18" y="11"/>
                </a:cxn>
                <a:cxn ang="0">
                  <a:pos x="18" y="0"/>
                </a:cxn>
                <a:cxn ang="0">
                  <a:pos x="14" y="0"/>
                </a:cxn>
              </a:cxnLst>
              <a:rect l="0" t="0" r="r" b="b"/>
              <a:pathLst>
                <a:path w="20" h="12">
                  <a:moveTo>
                    <a:pt x="14" y="0"/>
                  </a:moveTo>
                  <a:cubicBezTo>
                    <a:pt x="9" y="0"/>
                    <a:pt x="0" y="1"/>
                    <a:pt x="6" y="9"/>
                  </a:cubicBezTo>
                  <a:cubicBezTo>
                    <a:pt x="8" y="11"/>
                    <a:pt x="15" y="12"/>
                    <a:pt x="18" y="11"/>
                  </a:cubicBezTo>
                  <a:cubicBezTo>
                    <a:pt x="20" y="9"/>
                    <a:pt x="20" y="3"/>
                    <a:pt x="18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3" name="Freeform 133">
              <a:extLst>
                <a:ext uri="{FF2B5EF4-FFF2-40B4-BE49-F238E27FC236}">
                  <a16:creationId xmlns:a16="http://schemas.microsoft.com/office/drawing/2014/main" id="{A9F36DA1-ED61-4755-A297-97C4B546F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8775" y="271463"/>
              <a:ext cx="60325" cy="77788"/>
            </a:xfrm>
            <a:custGeom>
              <a:avLst/>
              <a:gdLst/>
              <a:ahLst/>
              <a:cxnLst>
                <a:cxn ang="0">
                  <a:pos x="32" y="22"/>
                </a:cxn>
                <a:cxn ang="0">
                  <a:pos x="29" y="9"/>
                </a:cxn>
                <a:cxn ang="0">
                  <a:pos x="15" y="11"/>
                </a:cxn>
                <a:cxn ang="0">
                  <a:pos x="13" y="7"/>
                </a:cxn>
                <a:cxn ang="0">
                  <a:pos x="8" y="3"/>
                </a:cxn>
                <a:cxn ang="0">
                  <a:pos x="2" y="4"/>
                </a:cxn>
                <a:cxn ang="0">
                  <a:pos x="2" y="17"/>
                </a:cxn>
                <a:cxn ang="0">
                  <a:pos x="6" y="23"/>
                </a:cxn>
                <a:cxn ang="0">
                  <a:pos x="12" y="25"/>
                </a:cxn>
                <a:cxn ang="0">
                  <a:pos x="9" y="41"/>
                </a:cxn>
                <a:cxn ang="0">
                  <a:pos x="22" y="33"/>
                </a:cxn>
                <a:cxn ang="0">
                  <a:pos x="26" y="22"/>
                </a:cxn>
                <a:cxn ang="0">
                  <a:pos x="32" y="22"/>
                </a:cxn>
              </a:cxnLst>
              <a:rect l="0" t="0" r="r" b="b"/>
              <a:pathLst>
                <a:path w="32" h="42">
                  <a:moveTo>
                    <a:pt x="32" y="22"/>
                  </a:moveTo>
                  <a:cubicBezTo>
                    <a:pt x="28" y="22"/>
                    <a:pt x="32" y="11"/>
                    <a:pt x="29" y="9"/>
                  </a:cubicBezTo>
                  <a:cubicBezTo>
                    <a:pt x="27" y="7"/>
                    <a:pt x="17" y="14"/>
                    <a:pt x="15" y="11"/>
                  </a:cubicBezTo>
                  <a:cubicBezTo>
                    <a:pt x="14" y="10"/>
                    <a:pt x="14" y="8"/>
                    <a:pt x="13" y="7"/>
                  </a:cubicBezTo>
                  <a:cubicBezTo>
                    <a:pt x="11" y="5"/>
                    <a:pt x="10" y="4"/>
                    <a:pt x="8" y="3"/>
                  </a:cubicBezTo>
                  <a:cubicBezTo>
                    <a:pt x="4" y="1"/>
                    <a:pt x="3" y="0"/>
                    <a:pt x="2" y="4"/>
                  </a:cubicBezTo>
                  <a:cubicBezTo>
                    <a:pt x="0" y="7"/>
                    <a:pt x="1" y="14"/>
                    <a:pt x="2" y="17"/>
                  </a:cubicBezTo>
                  <a:cubicBezTo>
                    <a:pt x="3" y="19"/>
                    <a:pt x="4" y="21"/>
                    <a:pt x="6" y="23"/>
                  </a:cubicBezTo>
                  <a:cubicBezTo>
                    <a:pt x="8" y="23"/>
                    <a:pt x="10" y="24"/>
                    <a:pt x="12" y="25"/>
                  </a:cubicBezTo>
                  <a:cubicBezTo>
                    <a:pt x="15" y="31"/>
                    <a:pt x="7" y="35"/>
                    <a:pt x="9" y="41"/>
                  </a:cubicBezTo>
                  <a:cubicBezTo>
                    <a:pt x="12" y="42"/>
                    <a:pt x="21" y="36"/>
                    <a:pt x="22" y="33"/>
                  </a:cubicBezTo>
                  <a:cubicBezTo>
                    <a:pt x="28" y="25"/>
                    <a:pt x="29" y="30"/>
                    <a:pt x="26" y="22"/>
                  </a:cubicBezTo>
                  <a:lnTo>
                    <a:pt x="32" y="2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4" name="Freeform 134">
              <a:extLst>
                <a:ext uri="{FF2B5EF4-FFF2-40B4-BE49-F238E27FC236}">
                  <a16:creationId xmlns:a16="http://schemas.microsoft.com/office/drawing/2014/main" id="{99F9EF63-FFD3-4E91-801C-19DB4BD38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7363" y="1987550"/>
              <a:ext cx="100013" cy="57150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8" y="7"/>
                </a:cxn>
                <a:cxn ang="0">
                  <a:pos x="14" y="11"/>
                </a:cxn>
                <a:cxn ang="0">
                  <a:pos x="11" y="13"/>
                </a:cxn>
                <a:cxn ang="0">
                  <a:pos x="6" y="15"/>
                </a:cxn>
                <a:cxn ang="0">
                  <a:pos x="3" y="29"/>
                </a:cxn>
                <a:cxn ang="0">
                  <a:pos x="11" y="29"/>
                </a:cxn>
                <a:cxn ang="0">
                  <a:pos x="19" y="25"/>
                </a:cxn>
                <a:cxn ang="0">
                  <a:pos x="26" y="25"/>
                </a:cxn>
                <a:cxn ang="0">
                  <a:pos x="31" y="26"/>
                </a:cxn>
                <a:cxn ang="0">
                  <a:pos x="39" y="23"/>
                </a:cxn>
                <a:cxn ang="0">
                  <a:pos x="44" y="20"/>
                </a:cxn>
                <a:cxn ang="0">
                  <a:pos x="50" y="19"/>
                </a:cxn>
                <a:cxn ang="0">
                  <a:pos x="53" y="15"/>
                </a:cxn>
                <a:cxn ang="0">
                  <a:pos x="54" y="13"/>
                </a:cxn>
                <a:cxn ang="0">
                  <a:pos x="46" y="10"/>
                </a:cxn>
                <a:cxn ang="0">
                  <a:pos x="41" y="9"/>
                </a:cxn>
                <a:cxn ang="0">
                  <a:pos x="40" y="4"/>
                </a:cxn>
                <a:cxn ang="0">
                  <a:pos x="39" y="1"/>
                </a:cxn>
                <a:cxn ang="0">
                  <a:pos x="32" y="2"/>
                </a:cxn>
                <a:cxn ang="0">
                  <a:pos x="33" y="0"/>
                </a:cxn>
              </a:cxnLst>
              <a:rect l="0" t="0" r="r" b="b"/>
              <a:pathLst>
                <a:path w="54" h="31">
                  <a:moveTo>
                    <a:pt x="33" y="0"/>
                  </a:moveTo>
                  <a:cubicBezTo>
                    <a:pt x="28" y="0"/>
                    <a:pt x="21" y="4"/>
                    <a:pt x="18" y="7"/>
                  </a:cubicBezTo>
                  <a:cubicBezTo>
                    <a:pt x="16" y="9"/>
                    <a:pt x="16" y="10"/>
                    <a:pt x="14" y="11"/>
                  </a:cubicBezTo>
                  <a:cubicBezTo>
                    <a:pt x="13" y="12"/>
                    <a:pt x="12" y="12"/>
                    <a:pt x="11" y="13"/>
                  </a:cubicBezTo>
                  <a:cubicBezTo>
                    <a:pt x="9" y="14"/>
                    <a:pt x="8" y="15"/>
                    <a:pt x="6" y="15"/>
                  </a:cubicBezTo>
                  <a:cubicBezTo>
                    <a:pt x="3" y="18"/>
                    <a:pt x="0" y="25"/>
                    <a:pt x="3" y="29"/>
                  </a:cubicBezTo>
                  <a:cubicBezTo>
                    <a:pt x="5" y="31"/>
                    <a:pt x="8" y="30"/>
                    <a:pt x="11" y="29"/>
                  </a:cubicBezTo>
                  <a:cubicBezTo>
                    <a:pt x="14" y="27"/>
                    <a:pt x="15" y="25"/>
                    <a:pt x="19" y="25"/>
                  </a:cubicBezTo>
                  <a:cubicBezTo>
                    <a:pt x="21" y="24"/>
                    <a:pt x="24" y="24"/>
                    <a:pt x="26" y="25"/>
                  </a:cubicBezTo>
                  <a:cubicBezTo>
                    <a:pt x="28" y="25"/>
                    <a:pt x="29" y="26"/>
                    <a:pt x="31" y="26"/>
                  </a:cubicBezTo>
                  <a:cubicBezTo>
                    <a:pt x="34" y="26"/>
                    <a:pt x="37" y="25"/>
                    <a:pt x="39" y="23"/>
                  </a:cubicBezTo>
                  <a:cubicBezTo>
                    <a:pt x="41" y="22"/>
                    <a:pt x="42" y="21"/>
                    <a:pt x="44" y="20"/>
                  </a:cubicBezTo>
                  <a:cubicBezTo>
                    <a:pt x="46" y="20"/>
                    <a:pt x="48" y="20"/>
                    <a:pt x="50" y="19"/>
                  </a:cubicBezTo>
                  <a:cubicBezTo>
                    <a:pt x="52" y="18"/>
                    <a:pt x="52" y="17"/>
                    <a:pt x="53" y="15"/>
                  </a:cubicBezTo>
                  <a:cubicBezTo>
                    <a:pt x="54" y="14"/>
                    <a:pt x="54" y="14"/>
                    <a:pt x="54" y="13"/>
                  </a:cubicBezTo>
                  <a:cubicBezTo>
                    <a:pt x="51" y="11"/>
                    <a:pt x="49" y="10"/>
                    <a:pt x="46" y="10"/>
                  </a:cubicBezTo>
                  <a:cubicBezTo>
                    <a:pt x="44" y="9"/>
                    <a:pt x="43" y="9"/>
                    <a:pt x="41" y="9"/>
                  </a:cubicBezTo>
                  <a:cubicBezTo>
                    <a:pt x="41" y="8"/>
                    <a:pt x="40" y="6"/>
                    <a:pt x="40" y="4"/>
                  </a:cubicBezTo>
                  <a:cubicBezTo>
                    <a:pt x="40" y="3"/>
                    <a:pt x="40" y="2"/>
                    <a:pt x="39" y="1"/>
                  </a:cubicBezTo>
                  <a:cubicBezTo>
                    <a:pt x="38" y="1"/>
                    <a:pt x="34" y="2"/>
                    <a:pt x="32" y="2"/>
                  </a:cubicBezTo>
                  <a:lnTo>
                    <a:pt x="33" y="0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5" name="Freeform 135">
              <a:extLst>
                <a:ext uri="{FF2B5EF4-FFF2-40B4-BE49-F238E27FC236}">
                  <a16:creationId xmlns:a16="http://schemas.microsoft.com/office/drawing/2014/main" id="{7A12DEF2-E0A0-40C1-8A74-D18E0DBA4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888" y="1946275"/>
              <a:ext cx="58738" cy="33338"/>
            </a:xfrm>
            <a:custGeom>
              <a:avLst/>
              <a:gdLst/>
              <a:ahLst/>
              <a:cxnLst>
                <a:cxn ang="0">
                  <a:pos x="23" y="2"/>
                </a:cxn>
                <a:cxn ang="0">
                  <a:pos x="9" y="7"/>
                </a:cxn>
                <a:cxn ang="0">
                  <a:pos x="3" y="12"/>
                </a:cxn>
                <a:cxn ang="0">
                  <a:pos x="1" y="16"/>
                </a:cxn>
                <a:cxn ang="0">
                  <a:pos x="9" y="17"/>
                </a:cxn>
                <a:cxn ang="0">
                  <a:pos x="24" y="15"/>
                </a:cxn>
                <a:cxn ang="0">
                  <a:pos x="28" y="13"/>
                </a:cxn>
                <a:cxn ang="0">
                  <a:pos x="26" y="0"/>
                </a:cxn>
                <a:cxn ang="0">
                  <a:pos x="23" y="2"/>
                </a:cxn>
              </a:cxnLst>
              <a:rect l="0" t="0" r="r" b="b"/>
              <a:pathLst>
                <a:path w="32" h="18">
                  <a:moveTo>
                    <a:pt x="23" y="2"/>
                  </a:moveTo>
                  <a:cubicBezTo>
                    <a:pt x="19" y="2"/>
                    <a:pt x="13" y="5"/>
                    <a:pt x="9" y="7"/>
                  </a:cubicBezTo>
                  <a:cubicBezTo>
                    <a:pt x="5" y="8"/>
                    <a:pt x="5" y="10"/>
                    <a:pt x="3" y="12"/>
                  </a:cubicBezTo>
                  <a:cubicBezTo>
                    <a:pt x="2" y="13"/>
                    <a:pt x="0" y="14"/>
                    <a:pt x="1" y="16"/>
                  </a:cubicBezTo>
                  <a:cubicBezTo>
                    <a:pt x="2" y="18"/>
                    <a:pt x="6" y="17"/>
                    <a:pt x="9" y="17"/>
                  </a:cubicBezTo>
                  <a:cubicBezTo>
                    <a:pt x="14" y="17"/>
                    <a:pt x="19" y="17"/>
                    <a:pt x="24" y="15"/>
                  </a:cubicBezTo>
                  <a:cubicBezTo>
                    <a:pt x="25" y="14"/>
                    <a:pt x="27" y="14"/>
                    <a:pt x="28" y="13"/>
                  </a:cubicBezTo>
                  <a:cubicBezTo>
                    <a:pt x="32" y="9"/>
                    <a:pt x="29" y="3"/>
                    <a:pt x="26" y="0"/>
                  </a:cubicBezTo>
                  <a:lnTo>
                    <a:pt x="23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6" name="Freeform 136">
              <a:extLst>
                <a:ext uri="{FF2B5EF4-FFF2-40B4-BE49-F238E27FC236}">
                  <a16:creationId xmlns:a16="http://schemas.microsoft.com/office/drawing/2014/main" id="{350AB7C6-314A-4E5B-BEF8-41151EA18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6088" y="2024063"/>
              <a:ext cx="41275" cy="39688"/>
            </a:xfrm>
            <a:custGeom>
              <a:avLst/>
              <a:gdLst/>
              <a:ahLst/>
              <a:cxnLst>
                <a:cxn ang="0">
                  <a:pos x="16" y="5"/>
                </a:cxn>
                <a:cxn ang="0">
                  <a:pos x="7" y="4"/>
                </a:cxn>
                <a:cxn ang="0">
                  <a:pos x="0" y="12"/>
                </a:cxn>
                <a:cxn ang="0">
                  <a:pos x="7" y="19"/>
                </a:cxn>
                <a:cxn ang="0">
                  <a:pos x="10" y="20"/>
                </a:cxn>
                <a:cxn ang="0">
                  <a:pos x="17" y="18"/>
                </a:cxn>
                <a:cxn ang="0">
                  <a:pos x="21" y="13"/>
                </a:cxn>
                <a:cxn ang="0">
                  <a:pos x="14" y="0"/>
                </a:cxn>
                <a:cxn ang="0">
                  <a:pos x="16" y="5"/>
                </a:cxn>
              </a:cxnLst>
              <a:rect l="0" t="0" r="r" b="b"/>
              <a:pathLst>
                <a:path w="22" h="21">
                  <a:moveTo>
                    <a:pt x="16" y="5"/>
                  </a:moveTo>
                  <a:cubicBezTo>
                    <a:pt x="13" y="3"/>
                    <a:pt x="10" y="2"/>
                    <a:pt x="7" y="4"/>
                  </a:cubicBezTo>
                  <a:cubicBezTo>
                    <a:pt x="4" y="5"/>
                    <a:pt x="1" y="9"/>
                    <a:pt x="0" y="12"/>
                  </a:cubicBezTo>
                  <a:cubicBezTo>
                    <a:pt x="0" y="15"/>
                    <a:pt x="4" y="18"/>
                    <a:pt x="7" y="19"/>
                  </a:cubicBezTo>
                  <a:cubicBezTo>
                    <a:pt x="8" y="19"/>
                    <a:pt x="9" y="20"/>
                    <a:pt x="10" y="20"/>
                  </a:cubicBezTo>
                  <a:cubicBezTo>
                    <a:pt x="13" y="21"/>
                    <a:pt x="15" y="19"/>
                    <a:pt x="17" y="18"/>
                  </a:cubicBezTo>
                  <a:cubicBezTo>
                    <a:pt x="19" y="16"/>
                    <a:pt x="21" y="16"/>
                    <a:pt x="21" y="13"/>
                  </a:cubicBezTo>
                  <a:cubicBezTo>
                    <a:pt x="22" y="8"/>
                    <a:pt x="19" y="3"/>
                    <a:pt x="14" y="0"/>
                  </a:cubicBezTo>
                  <a:lnTo>
                    <a:pt x="16" y="5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7" name="Freeform 137">
              <a:extLst>
                <a:ext uri="{FF2B5EF4-FFF2-40B4-BE49-F238E27FC236}">
                  <a16:creationId xmlns:a16="http://schemas.microsoft.com/office/drawing/2014/main" id="{F8658CC5-04FF-4114-B5B1-8E13A040E2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1138" y="285750"/>
              <a:ext cx="187325" cy="206375"/>
            </a:xfrm>
            <a:custGeom>
              <a:avLst/>
              <a:gdLst/>
              <a:ahLst/>
              <a:cxnLst>
                <a:cxn ang="0">
                  <a:pos x="39" y="61"/>
                </a:cxn>
                <a:cxn ang="0">
                  <a:pos x="38" y="59"/>
                </a:cxn>
                <a:cxn ang="0">
                  <a:pos x="29" y="68"/>
                </a:cxn>
                <a:cxn ang="0">
                  <a:pos x="15" y="70"/>
                </a:cxn>
                <a:cxn ang="0">
                  <a:pos x="18" y="80"/>
                </a:cxn>
                <a:cxn ang="0">
                  <a:pos x="3" y="82"/>
                </a:cxn>
                <a:cxn ang="0">
                  <a:pos x="0" y="93"/>
                </a:cxn>
                <a:cxn ang="0">
                  <a:pos x="5" y="102"/>
                </a:cxn>
                <a:cxn ang="0">
                  <a:pos x="22" y="104"/>
                </a:cxn>
                <a:cxn ang="0">
                  <a:pos x="26" y="109"/>
                </a:cxn>
                <a:cxn ang="0">
                  <a:pos x="27" y="105"/>
                </a:cxn>
                <a:cxn ang="0">
                  <a:pos x="31" y="96"/>
                </a:cxn>
                <a:cxn ang="0">
                  <a:pos x="40" y="92"/>
                </a:cxn>
                <a:cxn ang="0">
                  <a:pos x="39" y="61"/>
                </a:cxn>
                <a:cxn ang="0">
                  <a:pos x="96" y="40"/>
                </a:cxn>
                <a:cxn ang="0">
                  <a:pos x="87" y="36"/>
                </a:cxn>
                <a:cxn ang="0">
                  <a:pos x="82" y="35"/>
                </a:cxn>
                <a:cxn ang="0">
                  <a:pos x="78" y="32"/>
                </a:cxn>
                <a:cxn ang="0">
                  <a:pos x="72" y="30"/>
                </a:cxn>
                <a:cxn ang="0">
                  <a:pos x="69" y="30"/>
                </a:cxn>
                <a:cxn ang="0">
                  <a:pos x="67" y="29"/>
                </a:cxn>
                <a:cxn ang="0">
                  <a:pos x="68" y="29"/>
                </a:cxn>
                <a:cxn ang="0">
                  <a:pos x="67" y="29"/>
                </a:cxn>
                <a:cxn ang="0">
                  <a:pos x="64" y="25"/>
                </a:cxn>
                <a:cxn ang="0">
                  <a:pos x="56" y="15"/>
                </a:cxn>
                <a:cxn ang="0">
                  <a:pos x="57" y="2"/>
                </a:cxn>
                <a:cxn ang="0">
                  <a:pos x="49" y="1"/>
                </a:cxn>
                <a:cxn ang="0">
                  <a:pos x="45" y="7"/>
                </a:cxn>
                <a:cxn ang="0">
                  <a:pos x="46" y="11"/>
                </a:cxn>
                <a:cxn ang="0">
                  <a:pos x="46" y="18"/>
                </a:cxn>
                <a:cxn ang="0">
                  <a:pos x="41" y="23"/>
                </a:cxn>
                <a:cxn ang="0">
                  <a:pos x="37" y="24"/>
                </a:cxn>
                <a:cxn ang="0">
                  <a:pos x="38" y="37"/>
                </a:cxn>
                <a:cxn ang="0">
                  <a:pos x="38" y="59"/>
                </a:cxn>
                <a:cxn ang="0">
                  <a:pos x="39" y="58"/>
                </a:cxn>
                <a:cxn ang="0">
                  <a:pos x="43" y="62"/>
                </a:cxn>
                <a:cxn ang="0">
                  <a:pos x="47" y="65"/>
                </a:cxn>
                <a:cxn ang="0">
                  <a:pos x="50" y="67"/>
                </a:cxn>
                <a:cxn ang="0">
                  <a:pos x="53" y="71"/>
                </a:cxn>
                <a:cxn ang="0">
                  <a:pos x="56" y="71"/>
                </a:cxn>
                <a:cxn ang="0">
                  <a:pos x="58" y="71"/>
                </a:cxn>
                <a:cxn ang="0">
                  <a:pos x="59" y="72"/>
                </a:cxn>
                <a:cxn ang="0">
                  <a:pos x="73" y="68"/>
                </a:cxn>
                <a:cxn ang="0">
                  <a:pos x="81" y="57"/>
                </a:cxn>
                <a:cxn ang="0">
                  <a:pos x="82" y="51"/>
                </a:cxn>
                <a:cxn ang="0">
                  <a:pos x="94" y="46"/>
                </a:cxn>
                <a:cxn ang="0">
                  <a:pos x="99" y="43"/>
                </a:cxn>
                <a:cxn ang="0">
                  <a:pos x="96" y="40"/>
                </a:cxn>
              </a:cxnLst>
              <a:rect l="0" t="0" r="r" b="b"/>
              <a:pathLst>
                <a:path w="100" h="110">
                  <a:moveTo>
                    <a:pt x="39" y="61"/>
                  </a:moveTo>
                  <a:cubicBezTo>
                    <a:pt x="39" y="61"/>
                    <a:pt x="38" y="60"/>
                    <a:pt x="38" y="5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2"/>
                    <a:pt x="17" y="67"/>
                    <a:pt x="15" y="70"/>
                  </a:cubicBezTo>
                  <a:cubicBezTo>
                    <a:pt x="13" y="73"/>
                    <a:pt x="16" y="78"/>
                    <a:pt x="18" y="80"/>
                  </a:cubicBezTo>
                  <a:cubicBezTo>
                    <a:pt x="14" y="84"/>
                    <a:pt x="8" y="79"/>
                    <a:pt x="3" y="82"/>
                  </a:cubicBezTo>
                  <a:cubicBezTo>
                    <a:pt x="0" y="83"/>
                    <a:pt x="0" y="89"/>
                    <a:pt x="0" y="93"/>
                  </a:cubicBezTo>
                  <a:cubicBezTo>
                    <a:pt x="0" y="98"/>
                    <a:pt x="0" y="100"/>
                    <a:pt x="5" y="102"/>
                  </a:cubicBezTo>
                  <a:cubicBezTo>
                    <a:pt x="11" y="104"/>
                    <a:pt x="18" y="102"/>
                    <a:pt x="22" y="104"/>
                  </a:cubicBezTo>
                  <a:cubicBezTo>
                    <a:pt x="22" y="106"/>
                    <a:pt x="23" y="110"/>
                    <a:pt x="26" y="109"/>
                  </a:cubicBezTo>
                  <a:cubicBezTo>
                    <a:pt x="26" y="109"/>
                    <a:pt x="26" y="105"/>
                    <a:pt x="27" y="105"/>
                  </a:cubicBezTo>
                  <a:cubicBezTo>
                    <a:pt x="27" y="102"/>
                    <a:pt x="29" y="99"/>
                    <a:pt x="31" y="96"/>
                  </a:cubicBezTo>
                  <a:cubicBezTo>
                    <a:pt x="34" y="93"/>
                    <a:pt x="35" y="93"/>
                    <a:pt x="40" y="92"/>
                  </a:cubicBezTo>
                  <a:cubicBezTo>
                    <a:pt x="41" y="81"/>
                    <a:pt x="44" y="72"/>
                    <a:pt x="39" y="61"/>
                  </a:cubicBezTo>
                  <a:moveTo>
                    <a:pt x="96" y="40"/>
                  </a:moveTo>
                  <a:cubicBezTo>
                    <a:pt x="93" y="38"/>
                    <a:pt x="90" y="37"/>
                    <a:pt x="87" y="36"/>
                  </a:cubicBezTo>
                  <a:cubicBezTo>
                    <a:pt x="85" y="36"/>
                    <a:pt x="83" y="36"/>
                    <a:pt x="82" y="35"/>
                  </a:cubicBezTo>
                  <a:cubicBezTo>
                    <a:pt x="81" y="35"/>
                    <a:pt x="79" y="33"/>
                    <a:pt x="78" y="32"/>
                  </a:cubicBezTo>
                  <a:cubicBezTo>
                    <a:pt x="76" y="31"/>
                    <a:pt x="75" y="30"/>
                    <a:pt x="72" y="30"/>
                  </a:cubicBezTo>
                  <a:cubicBezTo>
                    <a:pt x="71" y="30"/>
                    <a:pt x="70" y="31"/>
                    <a:pt x="69" y="30"/>
                  </a:cubicBezTo>
                  <a:cubicBezTo>
                    <a:pt x="68" y="30"/>
                    <a:pt x="68" y="30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6" y="28"/>
                    <a:pt x="65" y="26"/>
                    <a:pt x="64" y="25"/>
                  </a:cubicBezTo>
                  <a:cubicBezTo>
                    <a:pt x="61" y="22"/>
                    <a:pt x="58" y="19"/>
                    <a:pt x="56" y="15"/>
                  </a:cubicBezTo>
                  <a:cubicBezTo>
                    <a:pt x="54" y="11"/>
                    <a:pt x="57" y="6"/>
                    <a:pt x="57" y="2"/>
                  </a:cubicBezTo>
                  <a:cubicBezTo>
                    <a:pt x="56" y="0"/>
                    <a:pt x="51" y="0"/>
                    <a:pt x="49" y="1"/>
                  </a:cubicBezTo>
                  <a:cubicBezTo>
                    <a:pt x="46" y="2"/>
                    <a:pt x="45" y="4"/>
                    <a:pt x="45" y="7"/>
                  </a:cubicBezTo>
                  <a:cubicBezTo>
                    <a:pt x="45" y="8"/>
                    <a:pt x="45" y="10"/>
                    <a:pt x="46" y="11"/>
                  </a:cubicBezTo>
                  <a:cubicBezTo>
                    <a:pt x="46" y="14"/>
                    <a:pt x="48" y="15"/>
                    <a:pt x="46" y="18"/>
                  </a:cubicBezTo>
                  <a:cubicBezTo>
                    <a:pt x="46" y="19"/>
                    <a:pt x="43" y="22"/>
                    <a:pt x="41" y="23"/>
                  </a:cubicBezTo>
                  <a:cubicBezTo>
                    <a:pt x="40" y="24"/>
                    <a:pt x="39" y="23"/>
                    <a:pt x="37" y="24"/>
                  </a:cubicBezTo>
                  <a:cubicBezTo>
                    <a:pt x="35" y="27"/>
                    <a:pt x="36" y="34"/>
                    <a:pt x="38" y="37"/>
                  </a:cubicBezTo>
                  <a:cubicBezTo>
                    <a:pt x="29" y="41"/>
                    <a:pt x="34" y="52"/>
                    <a:pt x="38" y="59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0" y="59"/>
                    <a:pt x="41" y="60"/>
                    <a:pt x="43" y="62"/>
                  </a:cubicBezTo>
                  <a:cubicBezTo>
                    <a:pt x="44" y="63"/>
                    <a:pt x="45" y="64"/>
                    <a:pt x="47" y="65"/>
                  </a:cubicBezTo>
                  <a:cubicBezTo>
                    <a:pt x="48" y="65"/>
                    <a:pt x="49" y="65"/>
                    <a:pt x="50" y="67"/>
                  </a:cubicBezTo>
                  <a:cubicBezTo>
                    <a:pt x="51" y="68"/>
                    <a:pt x="53" y="70"/>
                    <a:pt x="53" y="71"/>
                  </a:cubicBezTo>
                  <a:cubicBezTo>
                    <a:pt x="54" y="71"/>
                    <a:pt x="55" y="71"/>
                    <a:pt x="56" y="71"/>
                  </a:cubicBezTo>
                  <a:cubicBezTo>
                    <a:pt x="57" y="71"/>
                    <a:pt x="57" y="71"/>
                    <a:pt x="58" y="71"/>
                  </a:cubicBezTo>
                  <a:cubicBezTo>
                    <a:pt x="59" y="71"/>
                    <a:pt x="59" y="72"/>
                    <a:pt x="59" y="72"/>
                  </a:cubicBezTo>
                  <a:cubicBezTo>
                    <a:pt x="65" y="74"/>
                    <a:pt x="68" y="72"/>
                    <a:pt x="73" y="68"/>
                  </a:cubicBezTo>
                  <a:cubicBezTo>
                    <a:pt x="76" y="65"/>
                    <a:pt x="79" y="61"/>
                    <a:pt x="81" y="57"/>
                  </a:cubicBezTo>
                  <a:cubicBezTo>
                    <a:pt x="83" y="55"/>
                    <a:pt x="82" y="54"/>
                    <a:pt x="82" y="51"/>
                  </a:cubicBezTo>
                  <a:cubicBezTo>
                    <a:pt x="86" y="49"/>
                    <a:pt x="90" y="48"/>
                    <a:pt x="94" y="46"/>
                  </a:cubicBezTo>
                  <a:cubicBezTo>
                    <a:pt x="95" y="45"/>
                    <a:pt x="98" y="44"/>
                    <a:pt x="99" y="43"/>
                  </a:cubicBezTo>
                  <a:cubicBezTo>
                    <a:pt x="100" y="41"/>
                    <a:pt x="97" y="40"/>
                    <a:pt x="96" y="40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8" name="Freeform 138">
              <a:extLst>
                <a:ext uri="{FF2B5EF4-FFF2-40B4-BE49-F238E27FC236}">
                  <a16:creationId xmlns:a16="http://schemas.microsoft.com/office/drawing/2014/main" id="{5997DE75-123F-4A3A-B74F-2DB5A52863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1763" y="-1588"/>
              <a:ext cx="2671763" cy="3179763"/>
            </a:xfrm>
            <a:custGeom>
              <a:avLst/>
              <a:gdLst/>
              <a:ahLst/>
              <a:cxnLst>
                <a:cxn ang="0">
                  <a:pos x="1352" y="75"/>
                </a:cxn>
                <a:cxn ang="0">
                  <a:pos x="1254" y="97"/>
                </a:cxn>
                <a:cxn ang="0">
                  <a:pos x="1215" y="46"/>
                </a:cxn>
                <a:cxn ang="0">
                  <a:pos x="1183" y="71"/>
                </a:cxn>
                <a:cxn ang="0">
                  <a:pos x="1101" y="166"/>
                </a:cxn>
                <a:cxn ang="0">
                  <a:pos x="1114" y="16"/>
                </a:cxn>
                <a:cxn ang="0">
                  <a:pos x="1066" y="82"/>
                </a:cxn>
                <a:cxn ang="0">
                  <a:pos x="988" y="172"/>
                </a:cxn>
                <a:cxn ang="0">
                  <a:pos x="855" y="247"/>
                </a:cxn>
                <a:cxn ang="0">
                  <a:pos x="779" y="240"/>
                </a:cxn>
                <a:cxn ang="0">
                  <a:pos x="723" y="294"/>
                </a:cxn>
                <a:cxn ang="0">
                  <a:pos x="676" y="334"/>
                </a:cxn>
                <a:cxn ang="0">
                  <a:pos x="682" y="368"/>
                </a:cxn>
                <a:cxn ang="0">
                  <a:pos x="594" y="355"/>
                </a:cxn>
                <a:cxn ang="0">
                  <a:pos x="571" y="378"/>
                </a:cxn>
                <a:cxn ang="0">
                  <a:pos x="539" y="409"/>
                </a:cxn>
                <a:cxn ang="0">
                  <a:pos x="476" y="472"/>
                </a:cxn>
                <a:cxn ang="0">
                  <a:pos x="535" y="461"/>
                </a:cxn>
                <a:cxn ang="0">
                  <a:pos x="652" y="435"/>
                </a:cxn>
                <a:cxn ang="0">
                  <a:pos x="591" y="478"/>
                </a:cxn>
                <a:cxn ang="0">
                  <a:pos x="568" y="557"/>
                </a:cxn>
                <a:cxn ang="0">
                  <a:pos x="499" y="629"/>
                </a:cxn>
                <a:cxn ang="0">
                  <a:pos x="447" y="712"/>
                </a:cxn>
                <a:cxn ang="0">
                  <a:pos x="429" y="788"/>
                </a:cxn>
                <a:cxn ang="0">
                  <a:pos x="368" y="906"/>
                </a:cxn>
                <a:cxn ang="0">
                  <a:pos x="355" y="948"/>
                </a:cxn>
                <a:cxn ang="0">
                  <a:pos x="285" y="1042"/>
                </a:cxn>
                <a:cxn ang="0">
                  <a:pos x="326" y="1063"/>
                </a:cxn>
                <a:cxn ang="0">
                  <a:pos x="324" y="1087"/>
                </a:cxn>
                <a:cxn ang="0">
                  <a:pos x="247" y="1099"/>
                </a:cxn>
                <a:cxn ang="0">
                  <a:pos x="193" y="1128"/>
                </a:cxn>
                <a:cxn ang="0">
                  <a:pos x="170" y="1142"/>
                </a:cxn>
                <a:cxn ang="0">
                  <a:pos x="177" y="1172"/>
                </a:cxn>
                <a:cxn ang="0">
                  <a:pos x="77" y="1210"/>
                </a:cxn>
                <a:cxn ang="0">
                  <a:pos x="98" y="1233"/>
                </a:cxn>
                <a:cxn ang="0">
                  <a:pos x="62" y="1256"/>
                </a:cxn>
                <a:cxn ang="0">
                  <a:pos x="66" y="1277"/>
                </a:cxn>
                <a:cxn ang="0">
                  <a:pos x="29" y="1343"/>
                </a:cxn>
                <a:cxn ang="0">
                  <a:pos x="40" y="1371"/>
                </a:cxn>
                <a:cxn ang="0">
                  <a:pos x="21" y="1424"/>
                </a:cxn>
                <a:cxn ang="0">
                  <a:pos x="37" y="1490"/>
                </a:cxn>
                <a:cxn ang="0">
                  <a:pos x="47" y="1580"/>
                </a:cxn>
                <a:cxn ang="0">
                  <a:pos x="69" y="1646"/>
                </a:cxn>
                <a:cxn ang="0">
                  <a:pos x="207" y="1675"/>
                </a:cxn>
                <a:cxn ang="0">
                  <a:pos x="315" y="1549"/>
                </a:cxn>
                <a:cxn ang="0">
                  <a:pos x="357" y="1589"/>
                </a:cxn>
                <a:cxn ang="0">
                  <a:pos x="433" y="1431"/>
                </a:cxn>
                <a:cxn ang="0">
                  <a:pos x="410" y="1221"/>
                </a:cxn>
                <a:cxn ang="0">
                  <a:pos x="444" y="1021"/>
                </a:cxn>
                <a:cxn ang="0">
                  <a:pos x="529" y="825"/>
                </a:cxn>
                <a:cxn ang="0">
                  <a:pos x="624" y="594"/>
                </a:cxn>
                <a:cxn ang="0">
                  <a:pos x="735" y="459"/>
                </a:cxn>
                <a:cxn ang="0">
                  <a:pos x="869" y="334"/>
                </a:cxn>
                <a:cxn ang="0">
                  <a:pos x="982" y="393"/>
                </a:cxn>
                <a:cxn ang="0">
                  <a:pos x="1100" y="388"/>
                </a:cxn>
                <a:cxn ang="0">
                  <a:pos x="1145" y="252"/>
                </a:cxn>
                <a:cxn ang="0">
                  <a:pos x="1261" y="192"/>
                </a:cxn>
                <a:cxn ang="0">
                  <a:pos x="1316" y="340"/>
                </a:cxn>
                <a:cxn ang="0">
                  <a:pos x="1375" y="252"/>
                </a:cxn>
                <a:cxn ang="0">
                  <a:pos x="1383" y="212"/>
                </a:cxn>
                <a:cxn ang="0">
                  <a:pos x="1340" y="204"/>
                </a:cxn>
              </a:cxnLst>
              <a:rect l="0" t="0" r="r" b="b"/>
              <a:pathLst>
                <a:path w="1429" h="1701">
                  <a:moveTo>
                    <a:pt x="1115" y="33"/>
                  </a:moveTo>
                  <a:cubicBezTo>
                    <a:pt x="1116" y="33"/>
                    <a:pt x="1117" y="33"/>
                    <a:pt x="1118" y="33"/>
                  </a:cubicBezTo>
                  <a:cubicBezTo>
                    <a:pt x="1117" y="32"/>
                    <a:pt x="1116" y="32"/>
                    <a:pt x="1115" y="33"/>
                  </a:cubicBezTo>
                  <a:moveTo>
                    <a:pt x="272" y="1065"/>
                  </a:moveTo>
                  <a:cubicBezTo>
                    <a:pt x="272" y="1065"/>
                    <a:pt x="272" y="1065"/>
                    <a:pt x="272" y="1065"/>
                  </a:cubicBezTo>
                  <a:cubicBezTo>
                    <a:pt x="271" y="1066"/>
                    <a:pt x="270" y="1066"/>
                    <a:pt x="270" y="1067"/>
                  </a:cubicBezTo>
                  <a:cubicBezTo>
                    <a:pt x="271" y="1067"/>
                    <a:pt x="272" y="1066"/>
                    <a:pt x="272" y="1065"/>
                  </a:cubicBezTo>
                  <a:moveTo>
                    <a:pt x="422" y="1463"/>
                  </a:moveTo>
                  <a:cubicBezTo>
                    <a:pt x="423" y="1463"/>
                    <a:pt x="424" y="1463"/>
                    <a:pt x="425" y="1463"/>
                  </a:cubicBezTo>
                  <a:cubicBezTo>
                    <a:pt x="424" y="1461"/>
                    <a:pt x="423" y="1462"/>
                    <a:pt x="422" y="1463"/>
                  </a:cubicBezTo>
                  <a:moveTo>
                    <a:pt x="1418" y="124"/>
                  </a:moveTo>
                  <a:cubicBezTo>
                    <a:pt x="1416" y="126"/>
                    <a:pt x="1415" y="124"/>
                    <a:pt x="1414" y="123"/>
                  </a:cubicBezTo>
                  <a:cubicBezTo>
                    <a:pt x="1411" y="121"/>
                    <a:pt x="1408" y="119"/>
                    <a:pt x="1405" y="118"/>
                  </a:cubicBezTo>
                  <a:cubicBezTo>
                    <a:pt x="1403" y="117"/>
                    <a:pt x="1401" y="115"/>
                    <a:pt x="1400" y="113"/>
                  </a:cubicBezTo>
                  <a:cubicBezTo>
                    <a:pt x="1399" y="111"/>
                    <a:pt x="1401" y="108"/>
                    <a:pt x="1398" y="106"/>
                  </a:cubicBezTo>
                  <a:cubicBezTo>
                    <a:pt x="1391" y="110"/>
                    <a:pt x="1379" y="109"/>
                    <a:pt x="1370" y="108"/>
                  </a:cubicBezTo>
                  <a:cubicBezTo>
                    <a:pt x="1370" y="104"/>
                    <a:pt x="1378" y="103"/>
                    <a:pt x="1380" y="101"/>
                  </a:cubicBezTo>
                  <a:cubicBezTo>
                    <a:pt x="1385" y="97"/>
                    <a:pt x="1382" y="94"/>
                    <a:pt x="1378" y="90"/>
                  </a:cubicBezTo>
                  <a:cubicBezTo>
                    <a:pt x="1376" y="87"/>
                    <a:pt x="1375" y="80"/>
                    <a:pt x="1371" y="79"/>
                  </a:cubicBezTo>
                  <a:cubicBezTo>
                    <a:pt x="1368" y="77"/>
                    <a:pt x="1366" y="80"/>
                    <a:pt x="1365" y="82"/>
                  </a:cubicBezTo>
                  <a:cubicBezTo>
                    <a:pt x="1361" y="85"/>
                    <a:pt x="1357" y="89"/>
                    <a:pt x="1353" y="91"/>
                  </a:cubicBezTo>
                  <a:cubicBezTo>
                    <a:pt x="1355" y="86"/>
                    <a:pt x="1358" y="77"/>
                    <a:pt x="1352" y="75"/>
                  </a:cubicBezTo>
                  <a:cubicBezTo>
                    <a:pt x="1348" y="74"/>
                    <a:pt x="1343" y="75"/>
                    <a:pt x="1341" y="77"/>
                  </a:cubicBezTo>
                  <a:cubicBezTo>
                    <a:pt x="1338" y="79"/>
                    <a:pt x="1337" y="83"/>
                    <a:pt x="1335" y="85"/>
                  </a:cubicBezTo>
                  <a:cubicBezTo>
                    <a:pt x="1332" y="87"/>
                    <a:pt x="1335" y="87"/>
                    <a:pt x="1332" y="85"/>
                  </a:cubicBezTo>
                  <a:cubicBezTo>
                    <a:pt x="1329" y="84"/>
                    <a:pt x="1328" y="80"/>
                    <a:pt x="1328" y="77"/>
                  </a:cubicBezTo>
                  <a:cubicBezTo>
                    <a:pt x="1328" y="74"/>
                    <a:pt x="1329" y="75"/>
                    <a:pt x="1330" y="72"/>
                  </a:cubicBezTo>
                  <a:cubicBezTo>
                    <a:pt x="1331" y="69"/>
                    <a:pt x="1331" y="65"/>
                    <a:pt x="1330" y="62"/>
                  </a:cubicBezTo>
                  <a:cubicBezTo>
                    <a:pt x="1328" y="58"/>
                    <a:pt x="1324" y="57"/>
                    <a:pt x="1320" y="56"/>
                  </a:cubicBezTo>
                  <a:cubicBezTo>
                    <a:pt x="1317" y="54"/>
                    <a:pt x="1312" y="49"/>
                    <a:pt x="1308" y="51"/>
                  </a:cubicBezTo>
                  <a:cubicBezTo>
                    <a:pt x="1308" y="53"/>
                    <a:pt x="1305" y="55"/>
                    <a:pt x="1304" y="56"/>
                  </a:cubicBezTo>
                  <a:cubicBezTo>
                    <a:pt x="1301" y="59"/>
                    <a:pt x="1299" y="62"/>
                    <a:pt x="1296" y="65"/>
                  </a:cubicBezTo>
                  <a:cubicBezTo>
                    <a:pt x="1291" y="70"/>
                    <a:pt x="1289" y="75"/>
                    <a:pt x="1289" y="82"/>
                  </a:cubicBezTo>
                  <a:cubicBezTo>
                    <a:pt x="1289" y="88"/>
                    <a:pt x="1289" y="94"/>
                    <a:pt x="1289" y="99"/>
                  </a:cubicBezTo>
                  <a:cubicBezTo>
                    <a:pt x="1289" y="106"/>
                    <a:pt x="1286" y="111"/>
                    <a:pt x="1285" y="118"/>
                  </a:cubicBezTo>
                  <a:cubicBezTo>
                    <a:pt x="1281" y="111"/>
                    <a:pt x="1276" y="115"/>
                    <a:pt x="1270" y="118"/>
                  </a:cubicBezTo>
                  <a:cubicBezTo>
                    <a:pt x="1268" y="119"/>
                    <a:pt x="1265" y="120"/>
                    <a:pt x="1263" y="121"/>
                  </a:cubicBezTo>
                  <a:cubicBezTo>
                    <a:pt x="1260" y="122"/>
                    <a:pt x="1247" y="123"/>
                    <a:pt x="1245" y="120"/>
                  </a:cubicBezTo>
                  <a:cubicBezTo>
                    <a:pt x="1248" y="117"/>
                    <a:pt x="1252" y="118"/>
                    <a:pt x="1255" y="115"/>
                  </a:cubicBezTo>
                  <a:cubicBezTo>
                    <a:pt x="1257" y="114"/>
                    <a:pt x="1257" y="112"/>
                    <a:pt x="1259" y="110"/>
                  </a:cubicBezTo>
                  <a:cubicBezTo>
                    <a:pt x="1261" y="107"/>
                    <a:pt x="1265" y="105"/>
                    <a:pt x="1268" y="103"/>
                  </a:cubicBezTo>
                  <a:cubicBezTo>
                    <a:pt x="1274" y="99"/>
                    <a:pt x="1279" y="95"/>
                    <a:pt x="1283" y="89"/>
                  </a:cubicBezTo>
                  <a:cubicBezTo>
                    <a:pt x="1278" y="93"/>
                    <a:pt x="1272" y="93"/>
                    <a:pt x="1267" y="94"/>
                  </a:cubicBezTo>
                  <a:cubicBezTo>
                    <a:pt x="1262" y="95"/>
                    <a:pt x="1259" y="96"/>
                    <a:pt x="1254" y="97"/>
                  </a:cubicBezTo>
                  <a:cubicBezTo>
                    <a:pt x="1247" y="97"/>
                    <a:pt x="1239" y="98"/>
                    <a:pt x="1232" y="97"/>
                  </a:cubicBezTo>
                  <a:cubicBezTo>
                    <a:pt x="1236" y="94"/>
                    <a:pt x="1239" y="90"/>
                    <a:pt x="1243" y="88"/>
                  </a:cubicBezTo>
                  <a:cubicBezTo>
                    <a:pt x="1248" y="85"/>
                    <a:pt x="1254" y="81"/>
                    <a:pt x="1257" y="76"/>
                  </a:cubicBezTo>
                  <a:cubicBezTo>
                    <a:pt x="1260" y="71"/>
                    <a:pt x="1259" y="69"/>
                    <a:pt x="1255" y="67"/>
                  </a:cubicBezTo>
                  <a:cubicBezTo>
                    <a:pt x="1253" y="66"/>
                    <a:pt x="1247" y="66"/>
                    <a:pt x="1249" y="62"/>
                  </a:cubicBezTo>
                  <a:cubicBezTo>
                    <a:pt x="1249" y="61"/>
                    <a:pt x="1252" y="60"/>
                    <a:pt x="1253" y="60"/>
                  </a:cubicBezTo>
                  <a:cubicBezTo>
                    <a:pt x="1258" y="60"/>
                    <a:pt x="1261" y="60"/>
                    <a:pt x="1265" y="62"/>
                  </a:cubicBezTo>
                  <a:cubicBezTo>
                    <a:pt x="1269" y="63"/>
                    <a:pt x="1277" y="63"/>
                    <a:pt x="1279" y="58"/>
                  </a:cubicBezTo>
                  <a:cubicBezTo>
                    <a:pt x="1279" y="57"/>
                    <a:pt x="1278" y="55"/>
                    <a:pt x="1279" y="54"/>
                  </a:cubicBezTo>
                  <a:cubicBezTo>
                    <a:pt x="1279" y="52"/>
                    <a:pt x="1282" y="50"/>
                    <a:pt x="1283" y="48"/>
                  </a:cubicBezTo>
                  <a:cubicBezTo>
                    <a:pt x="1287" y="44"/>
                    <a:pt x="1292" y="41"/>
                    <a:pt x="1290" y="36"/>
                  </a:cubicBezTo>
                  <a:cubicBezTo>
                    <a:pt x="1287" y="30"/>
                    <a:pt x="1276" y="33"/>
                    <a:pt x="1270" y="33"/>
                  </a:cubicBezTo>
                  <a:cubicBezTo>
                    <a:pt x="1270" y="29"/>
                    <a:pt x="1272" y="21"/>
                    <a:pt x="1268" y="18"/>
                  </a:cubicBezTo>
                  <a:cubicBezTo>
                    <a:pt x="1263" y="14"/>
                    <a:pt x="1254" y="21"/>
                    <a:pt x="1250" y="20"/>
                  </a:cubicBezTo>
                  <a:cubicBezTo>
                    <a:pt x="1249" y="16"/>
                    <a:pt x="1251" y="4"/>
                    <a:pt x="1244" y="6"/>
                  </a:cubicBezTo>
                  <a:cubicBezTo>
                    <a:pt x="1240" y="8"/>
                    <a:pt x="1239" y="16"/>
                    <a:pt x="1238" y="20"/>
                  </a:cubicBezTo>
                  <a:cubicBezTo>
                    <a:pt x="1237" y="22"/>
                    <a:pt x="1234" y="32"/>
                    <a:pt x="1231" y="33"/>
                  </a:cubicBezTo>
                  <a:cubicBezTo>
                    <a:pt x="1227" y="34"/>
                    <a:pt x="1225" y="25"/>
                    <a:pt x="1221" y="25"/>
                  </a:cubicBezTo>
                  <a:cubicBezTo>
                    <a:pt x="1215" y="24"/>
                    <a:pt x="1217" y="32"/>
                    <a:pt x="1217" y="36"/>
                  </a:cubicBezTo>
                  <a:cubicBezTo>
                    <a:pt x="1217" y="36"/>
                    <a:pt x="1217" y="36"/>
                    <a:pt x="1217" y="36"/>
                  </a:cubicBezTo>
                  <a:cubicBezTo>
                    <a:pt x="1216" y="38"/>
                    <a:pt x="1211" y="39"/>
                    <a:pt x="1210" y="42"/>
                  </a:cubicBezTo>
                  <a:cubicBezTo>
                    <a:pt x="1209" y="47"/>
                    <a:pt x="1213" y="43"/>
                    <a:pt x="1215" y="46"/>
                  </a:cubicBezTo>
                  <a:cubicBezTo>
                    <a:pt x="1216" y="47"/>
                    <a:pt x="1216" y="49"/>
                    <a:pt x="1217" y="50"/>
                  </a:cubicBezTo>
                  <a:cubicBezTo>
                    <a:pt x="1218" y="51"/>
                    <a:pt x="1222" y="53"/>
                    <a:pt x="1224" y="53"/>
                  </a:cubicBezTo>
                  <a:cubicBezTo>
                    <a:pt x="1219" y="52"/>
                    <a:pt x="1219" y="56"/>
                    <a:pt x="1219" y="60"/>
                  </a:cubicBezTo>
                  <a:cubicBezTo>
                    <a:pt x="1219" y="65"/>
                    <a:pt x="1219" y="67"/>
                    <a:pt x="1216" y="71"/>
                  </a:cubicBezTo>
                  <a:cubicBezTo>
                    <a:pt x="1211" y="77"/>
                    <a:pt x="1205" y="81"/>
                    <a:pt x="1204" y="90"/>
                  </a:cubicBezTo>
                  <a:cubicBezTo>
                    <a:pt x="1203" y="94"/>
                    <a:pt x="1204" y="99"/>
                    <a:pt x="1202" y="104"/>
                  </a:cubicBezTo>
                  <a:cubicBezTo>
                    <a:pt x="1201" y="107"/>
                    <a:pt x="1198" y="108"/>
                    <a:pt x="1197" y="111"/>
                  </a:cubicBezTo>
                  <a:cubicBezTo>
                    <a:pt x="1197" y="114"/>
                    <a:pt x="1198" y="117"/>
                    <a:pt x="1198" y="119"/>
                  </a:cubicBezTo>
                  <a:cubicBezTo>
                    <a:pt x="1197" y="121"/>
                    <a:pt x="1194" y="123"/>
                    <a:pt x="1193" y="124"/>
                  </a:cubicBezTo>
                  <a:cubicBezTo>
                    <a:pt x="1189" y="127"/>
                    <a:pt x="1189" y="128"/>
                    <a:pt x="1187" y="132"/>
                  </a:cubicBezTo>
                  <a:cubicBezTo>
                    <a:pt x="1185" y="135"/>
                    <a:pt x="1183" y="135"/>
                    <a:pt x="1183" y="139"/>
                  </a:cubicBezTo>
                  <a:cubicBezTo>
                    <a:pt x="1183" y="140"/>
                    <a:pt x="1183" y="141"/>
                    <a:pt x="1183" y="142"/>
                  </a:cubicBezTo>
                  <a:cubicBezTo>
                    <a:pt x="1181" y="142"/>
                    <a:pt x="1178" y="142"/>
                    <a:pt x="1176" y="142"/>
                  </a:cubicBezTo>
                  <a:cubicBezTo>
                    <a:pt x="1176" y="142"/>
                    <a:pt x="1176" y="142"/>
                    <a:pt x="1176" y="142"/>
                  </a:cubicBezTo>
                  <a:cubicBezTo>
                    <a:pt x="1177" y="138"/>
                    <a:pt x="1180" y="134"/>
                    <a:pt x="1182" y="129"/>
                  </a:cubicBezTo>
                  <a:cubicBezTo>
                    <a:pt x="1183" y="127"/>
                    <a:pt x="1182" y="125"/>
                    <a:pt x="1183" y="122"/>
                  </a:cubicBezTo>
                  <a:cubicBezTo>
                    <a:pt x="1184" y="119"/>
                    <a:pt x="1185" y="117"/>
                    <a:pt x="1185" y="113"/>
                  </a:cubicBezTo>
                  <a:cubicBezTo>
                    <a:pt x="1185" y="109"/>
                    <a:pt x="1185" y="105"/>
                    <a:pt x="1185" y="101"/>
                  </a:cubicBezTo>
                  <a:cubicBezTo>
                    <a:pt x="1186" y="97"/>
                    <a:pt x="1188" y="92"/>
                    <a:pt x="1187" y="88"/>
                  </a:cubicBezTo>
                  <a:cubicBezTo>
                    <a:pt x="1187" y="87"/>
                    <a:pt x="1186" y="83"/>
                    <a:pt x="1185" y="83"/>
                  </a:cubicBezTo>
                  <a:cubicBezTo>
                    <a:pt x="1182" y="81"/>
                    <a:pt x="1178" y="82"/>
                    <a:pt x="1179" y="77"/>
                  </a:cubicBezTo>
                  <a:cubicBezTo>
                    <a:pt x="1179" y="74"/>
                    <a:pt x="1181" y="73"/>
                    <a:pt x="1183" y="71"/>
                  </a:cubicBezTo>
                  <a:cubicBezTo>
                    <a:pt x="1187" y="69"/>
                    <a:pt x="1189" y="68"/>
                    <a:pt x="1189" y="63"/>
                  </a:cubicBezTo>
                  <a:cubicBezTo>
                    <a:pt x="1189" y="60"/>
                    <a:pt x="1189" y="58"/>
                    <a:pt x="1189" y="55"/>
                  </a:cubicBezTo>
                  <a:cubicBezTo>
                    <a:pt x="1189" y="47"/>
                    <a:pt x="1198" y="40"/>
                    <a:pt x="1193" y="32"/>
                  </a:cubicBezTo>
                  <a:cubicBezTo>
                    <a:pt x="1191" y="32"/>
                    <a:pt x="1185" y="32"/>
                    <a:pt x="1183" y="32"/>
                  </a:cubicBezTo>
                  <a:cubicBezTo>
                    <a:pt x="1182" y="33"/>
                    <a:pt x="1181" y="35"/>
                    <a:pt x="1180" y="37"/>
                  </a:cubicBezTo>
                  <a:cubicBezTo>
                    <a:pt x="1176" y="41"/>
                    <a:pt x="1171" y="45"/>
                    <a:pt x="1167" y="49"/>
                  </a:cubicBezTo>
                  <a:cubicBezTo>
                    <a:pt x="1161" y="53"/>
                    <a:pt x="1156" y="54"/>
                    <a:pt x="1156" y="61"/>
                  </a:cubicBezTo>
                  <a:cubicBezTo>
                    <a:pt x="1156" y="66"/>
                    <a:pt x="1156" y="70"/>
                    <a:pt x="1156" y="75"/>
                  </a:cubicBezTo>
                  <a:cubicBezTo>
                    <a:pt x="1156" y="80"/>
                    <a:pt x="1154" y="83"/>
                    <a:pt x="1151" y="87"/>
                  </a:cubicBezTo>
                  <a:cubicBezTo>
                    <a:pt x="1147" y="93"/>
                    <a:pt x="1141" y="99"/>
                    <a:pt x="1139" y="106"/>
                  </a:cubicBezTo>
                  <a:cubicBezTo>
                    <a:pt x="1138" y="113"/>
                    <a:pt x="1141" y="122"/>
                    <a:pt x="1134" y="128"/>
                  </a:cubicBezTo>
                  <a:cubicBezTo>
                    <a:pt x="1130" y="132"/>
                    <a:pt x="1121" y="131"/>
                    <a:pt x="1118" y="134"/>
                  </a:cubicBezTo>
                  <a:cubicBezTo>
                    <a:pt x="1117" y="135"/>
                    <a:pt x="1116" y="138"/>
                    <a:pt x="1116" y="139"/>
                  </a:cubicBezTo>
                  <a:cubicBezTo>
                    <a:pt x="1117" y="141"/>
                    <a:pt x="1119" y="141"/>
                    <a:pt x="1120" y="142"/>
                  </a:cubicBezTo>
                  <a:cubicBezTo>
                    <a:pt x="1123" y="145"/>
                    <a:pt x="1122" y="147"/>
                    <a:pt x="1119" y="148"/>
                  </a:cubicBezTo>
                  <a:cubicBezTo>
                    <a:pt x="1117" y="149"/>
                    <a:pt x="1116" y="147"/>
                    <a:pt x="1114" y="149"/>
                  </a:cubicBezTo>
                  <a:cubicBezTo>
                    <a:pt x="1115" y="148"/>
                    <a:pt x="1112" y="155"/>
                    <a:pt x="1113" y="153"/>
                  </a:cubicBezTo>
                  <a:cubicBezTo>
                    <a:pt x="1111" y="156"/>
                    <a:pt x="1109" y="160"/>
                    <a:pt x="1108" y="164"/>
                  </a:cubicBezTo>
                  <a:cubicBezTo>
                    <a:pt x="1107" y="168"/>
                    <a:pt x="1108" y="171"/>
                    <a:pt x="1108" y="175"/>
                  </a:cubicBezTo>
                  <a:cubicBezTo>
                    <a:pt x="1108" y="175"/>
                    <a:pt x="1107" y="175"/>
                    <a:pt x="1107" y="176"/>
                  </a:cubicBezTo>
                  <a:cubicBezTo>
                    <a:pt x="1106" y="177"/>
                    <a:pt x="1105" y="178"/>
                    <a:pt x="1103" y="175"/>
                  </a:cubicBezTo>
                  <a:cubicBezTo>
                    <a:pt x="1101" y="173"/>
                    <a:pt x="1102" y="169"/>
                    <a:pt x="1101" y="166"/>
                  </a:cubicBezTo>
                  <a:cubicBezTo>
                    <a:pt x="1101" y="165"/>
                    <a:pt x="1100" y="165"/>
                    <a:pt x="1100" y="164"/>
                  </a:cubicBezTo>
                  <a:cubicBezTo>
                    <a:pt x="1100" y="159"/>
                    <a:pt x="1101" y="159"/>
                    <a:pt x="1095" y="158"/>
                  </a:cubicBezTo>
                  <a:cubicBezTo>
                    <a:pt x="1094" y="158"/>
                    <a:pt x="1093" y="158"/>
                    <a:pt x="1093" y="158"/>
                  </a:cubicBezTo>
                  <a:cubicBezTo>
                    <a:pt x="1094" y="154"/>
                    <a:pt x="1096" y="154"/>
                    <a:pt x="1101" y="152"/>
                  </a:cubicBezTo>
                  <a:cubicBezTo>
                    <a:pt x="1110" y="148"/>
                    <a:pt x="1104" y="137"/>
                    <a:pt x="1106" y="129"/>
                  </a:cubicBezTo>
                  <a:cubicBezTo>
                    <a:pt x="1107" y="124"/>
                    <a:pt x="1112" y="119"/>
                    <a:pt x="1112" y="114"/>
                  </a:cubicBezTo>
                  <a:cubicBezTo>
                    <a:pt x="1111" y="111"/>
                    <a:pt x="1110" y="110"/>
                    <a:pt x="1110" y="108"/>
                  </a:cubicBezTo>
                  <a:cubicBezTo>
                    <a:pt x="1111" y="105"/>
                    <a:pt x="1114" y="101"/>
                    <a:pt x="1117" y="99"/>
                  </a:cubicBezTo>
                  <a:cubicBezTo>
                    <a:pt x="1119" y="96"/>
                    <a:pt x="1120" y="95"/>
                    <a:pt x="1122" y="92"/>
                  </a:cubicBezTo>
                  <a:cubicBezTo>
                    <a:pt x="1124" y="89"/>
                    <a:pt x="1126" y="85"/>
                    <a:pt x="1128" y="83"/>
                  </a:cubicBezTo>
                  <a:cubicBezTo>
                    <a:pt x="1130" y="80"/>
                    <a:pt x="1133" y="80"/>
                    <a:pt x="1134" y="77"/>
                  </a:cubicBezTo>
                  <a:cubicBezTo>
                    <a:pt x="1135" y="74"/>
                    <a:pt x="1132" y="70"/>
                    <a:pt x="1133" y="67"/>
                  </a:cubicBezTo>
                  <a:cubicBezTo>
                    <a:pt x="1133" y="62"/>
                    <a:pt x="1137" y="61"/>
                    <a:pt x="1141" y="58"/>
                  </a:cubicBezTo>
                  <a:cubicBezTo>
                    <a:pt x="1145" y="56"/>
                    <a:pt x="1149" y="47"/>
                    <a:pt x="1142" y="49"/>
                  </a:cubicBezTo>
                  <a:cubicBezTo>
                    <a:pt x="1141" y="45"/>
                    <a:pt x="1141" y="39"/>
                    <a:pt x="1143" y="36"/>
                  </a:cubicBezTo>
                  <a:cubicBezTo>
                    <a:pt x="1146" y="31"/>
                    <a:pt x="1155" y="35"/>
                    <a:pt x="1158" y="29"/>
                  </a:cubicBezTo>
                  <a:cubicBezTo>
                    <a:pt x="1156" y="26"/>
                    <a:pt x="1148" y="26"/>
                    <a:pt x="1145" y="24"/>
                  </a:cubicBezTo>
                  <a:cubicBezTo>
                    <a:pt x="1141" y="23"/>
                    <a:pt x="1139" y="21"/>
                    <a:pt x="1140" y="18"/>
                  </a:cubicBezTo>
                  <a:cubicBezTo>
                    <a:pt x="1141" y="16"/>
                    <a:pt x="1142" y="15"/>
                    <a:pt x="1144" y="15"/>
                  </a:cubicBezTo>
                  <a:cubicBezTo>
                    <a:pt x="1147" y="11"/>
                    <a:pt x="1141" y="0"/>
                    <a:pt x="1136" y="1"/>
                  </a:cubicBezTo>
                  <a:cubicBezTo>
                    <a:pt x="1135" y="5"/>
                    <a:pt x="1133" y="12"/>
                    <a:pt x="1130" y="15"/>
                  </a:cubicBezTo>
                  <a:cubicBezTo>
                    <a:pt x="1127" y="18"/>
                    <a:pt x="1118" y="15"/>
                    <a:pt x="1114" y="16"/>
                  </a:cubicBezTo>
                  <a:cubicBezTo>
                    <a:pt x="1112" y="17"/>
                    <a:pt x="1109" y="19"/>
                    <a:pt x="1111" y="22"/>
                  </a:cubicBezTo>
                  <a:cubicBezTo>
                    <a:pt x="1113" y="25"/>
                    <a:pt x="1115" y="24"/>
                    <a:pt x="1117" y="24"/>
                  </a:cubicBezTo>
                  <a:cubicBezTo>
                    <a:pt x="1121" y="25"/>
                    <a:pt x="1123" y="28"/>
                    <a:pt x="1124" y="32"/>
                  </a:cubicBezTo>
                  <a:cubicBezTo>
                    <a:pt x="1123" y="33"/>
                    <a:pt x="1120" y="33"/>
                    <a:pt x="1118" y="33"/>
                  </a:cubicBezTo>
                  <a:cubicBezTo>
                    <a:pt x="1121" y="34"/>
                    <a:pt x="1122" y="41"/>
                    <a:pt x="1124" y="44"/>
                  </a:cubicBezTo>
                  <a:cubicBezTo>
                    <a:pt x="1127" y="51"/>
                    <a:pt x="1125" y="57"/>
                    <a:pt x="1117" y="58"/>
                  </a:cubicBezTo>
                  <a:cubicBezTo>
                    <a:pt x="1114" y="58"/>
                    <a:pt x="1112" y="58"/>
                    <a:pt x="1111" y="56"/>
                  </a:cubicBezTo>
                  <a:cubicBezTo>
                    <a:pt x="1109" y="54"/>
                    <a:pt x="1108" y="51"/>
                    <a:pt x="1109" y="49"/>
                  </a:cubicBezTo>
                  <a:cubicBezTo>
                    <a:pt x="1106" y="47"/>
                    <a:pt x="1103" y="48"/>
                    <a:pt x="1100" y="48"/>
                  </a:cubicBezTo>
                  <a:cubicBezTo>
                    <a:pt x="1100" y="44"/>
                    <a:pt x="1099" y="38"/>
                    <a:pt x="1096" y="35"/>
                  </a:cubicBezTo>
                  <a:cubicBezTo>
                    <a:pt x="1092" y="37"/>
                    <a:pt x="1092" y="41"/>
                    <a:pt x="1087" y="39"/>
                  </a:cubicBezTo>
                  <a:cubicBezTo>
                    <a:pt x="1082" y="36"/>
                    <a:pt x="1083" y="29"/>
                    <a:pt x="1079" y="26"/>
                  </a:cubicBezTo>
                  <a:cubicBezTo>
                    <a:pt x="1069" y="16"/>
                    <a:pt x="1074" y="39"/>
                    <a:pt x="1075" y="43"/>
                  </a:cubicBezTo>
                  <a:cubicBezTo>
                    <a:pt x="1075" y="47"/>
                    <a:pt x="1077" y="48"/>
                    <a:pt x="1078" y="52"/>
                  </a:cubicBezTo>
                  <a:cubicBezTo>
                    <a:pt x="1078" y="57"/>
                    <a:pt x="1077" y="63"/>
                    <a:pt x="1070" y="60"/>
                  </a:cubicBezTo>
                  <a:cubicBezTo>
                    <a:pt x="1066" y="58"/>
                    <a:pt x="1063" y="50"/>
                    <a:pt x="1058" y="53"/>
                  </a:cubicBezTo>
                  <a:cubicBezTo>
                    <a:pt x="1053" y="56"/>
                    <a:pt x="1056" y="61"/>
                    <a:pt x="1059" y="64"/>
                  </a:cubicBezTo>
                  <a:cubicBezTo>
                    <a:pt x="1062" y="68"/>
                    <a:pt x="1068" y="68"/>
                    <a:pt x="1072" y="71"/>
                  </a:cubicBezTo>
                  <a:cubicBezTo>
                    <a:pt x="1075" y="74"/>
                    <a:pt x="1075" y="77"/>
                    <a:pt x="1076" y="80"/>
                  </a:cubicBezTo>
                  <a:cubicBezTo>
                    <a:pt x="1078" y="82"/>
                    <a:pt x="1081" y="89"/>
                    <a:pt x="1076" y="91"/>
                  </a:cubicBezTo>
                  <a:cubicBezTo>
                    <a:pt x="1072" y="92"/>
                    <a:pt x="1074" y="89"/>
                    <a:pt x="1072" y="87"/>
                  </a:cubicBezTo>
                  <a:cubicBezTo>
                    <a:pt x="1070" y="85"/>
                    <a:pt x="1067" y="86"/>
                    <a:pt x="1066" y="82"/>
                  </a:cubicBezTo>
                  <a:cubicBezTo>
                    <a:pt x="1063" y="83"/>
                    <a:pt x="1062" y="87"/>
                    <a:pt x="1060" y="90"/>
                  </a:cubicBezTo>
                  <a:cubicBezTo>
                    <a:pt x="1057" y="93"/>
                    <a:pt x="1050" y="96"/>
                    <a:pt x="1051" y="102"/>
                  </a:cubicBezTo>
                  <a:cubicBezTo>
                    <a:pt x="1051" y="106"/>
                    <a:pt x="1052" y="107"/>
                    <a:pt x="1055" y="109"/>
                  </a:cubicBezTo>
                  <a:cubicBezTo>
                    <a:pt x="1058" y="111"/>
                    <a:pt x="1058" y="108"/>
                    <a:pt x="1059" y="112"/>
                  </a:cubicBezTo>
                  <a:cubicBezTo>
                    <a:pt x="1060" y="115"/>
                    <a:pt x="1060" y="117"/>
                    <a:pt x="1059" y="119"/>
                  </a:cubicBezTo>
                  <a:cubicBezTo>
                    <a:pt x="1057" y="118"/>
                    <a:pt x="1053" y="117"/>
                    <a:pt x="1051" y="115"/>
                  </a:cubicBezTo>
                  <a:cubicBezTo>
                    <a:pt x="1047" y="113"/>
                    <a:pt x="1048" y="110"/>
                    <a:pt x="1042" y="110"/>
                  </a:cubicBezTo>
                  <a:cubicBezTo>
                    <a:pt x="1036" y="110"/>
                    <a:pt x="1034" y="117"/>
                    <a:pt x="1031" y="122"/>
                  </a:cubicBezTo>
                  <a:cubicBezTo>
                    <a:pt x="1028" y="125"/>
                    <a:pt x="1025" y="129"/>
                    <a:pt x="1022" y="132"/>
                  </a:cubicBezTo>
                  <a:cubicBezTo>
                    <a:pt x="1020" y="134"/>
                    <a:pt x="1015" y="136"/>
                    <a:pt x="1015" y="139"/>
                  </a:cubicBezTo>
                  <a:cubicBezTo>
                    <a:pt x="1016" y="139"/>
                    <a:pt x="1016" y="140"/>
                    <a:pt x="1016" y="141"/>
                  </a:cubicBezTo>
                  <a:cubicBezTo>
                    <a:pt x="1017" y="143"/>
                    <a:pt x="1017" y="144"/>
                    <a:pt x="1016" y="147"/>
                  </a:cubicBezTo>
                  <a:cubicBezTo>
                    <a:pt x="1013" y="158"/>
                    <a:pt x="1006" y="153"/>
                    <a:pt x="998" y="156"/>
                  </a:cubicBezTo>
                  <a:cubicBezTo>
                    <a:pt x="997" y="158"/>
                    <a:pt x="1011" y="165"/>
                    <a:pt x="1013" y="169"/>
                  </a:cubicBezTo>
                  <a:cubicBezTo>
                    <a:pt x="1008" y="171"/>
                    <a:pt x="1000" y="171"/>
                    <a:pt x="1002" y="178"/>
                  </a:cubicBezTo>
                  <a:cubicBezTo>
                    <a:pt x="1003" y="182"/>
                    <a:pt x="1006" y="188"/>
                    <a:pt x="1008" y="190"/>
                  </a:cubicBezTo>
                  <a:cubicBezTo>
                    <a:pt x="1010" y="193"/>
                    <a:pt x="1011" y="193"/>
                    <a:pt x="1012" y="194"/>
                  </a:cubicBezTo>
                  <a:cubicBezTo>
                    <a:pt x="1012" y="194"/>
                    <a:pt x="1011" y="194"/>
                    <a:pt x="1010" y="194"/>
                  </a:cubicBezTo>
                  <a:cubicBezTo>
                    <a:pt x="1006" y="193"/>
                    <a:pt x="1001" y="192"/>
                    <a:pt x="996" y="192"/>
                  </a:cubicBezTo>
                  <a:cubicBezTo>
                    <a:pt x="993" y="191"/>
                    <a:pt x="991" y="191"/>
                    <a:pt x="989" y="188"/>
                  </a:cubicBezTo>
                  <a:cubicBezTo>
                    <a:pt x="987" y="185"/>
                    <a:pt x="986" y="180"/>
                    <a:pt x="987" y="176"/>
                  </a:cubicBezTo>
                  <a:cubicBezTo>
                    <a:pt x="987" y="175"/>
                    <a:pt x="988" y="173"/>
                    <a:pt x="988" y="172"/>
                  </a:cubicBezTo>
                  <a:cubicBezTo>
                    <a:pt x="983" y="170"/>
                    <a:pt x="978" y="178"/>
                    <a:pt x="974" y="174"/>
                  </a:cubicBezTo>
                  <a:cubicBezTo>
                    <a:pt x="968" y="166"/>
                    <a:pt x="984" y="161"/>
                    <a:pt x="982" y="156"/>
                  </a:cubicBezTo>
                  <a:cubicBezTo>
                    <a:pt x="977" y="154"/>
                    <a:pt x="971" y="155"/>
                    <a:pt x="966" y="155"/>
                  </a:cubicBezTo>
                  <a:cubicBezTo>
                    <a:pt x="964" y="154"/>
                    <a:pt x="959" y="152"/>
                    <a:pt x="957" y="154"/>
                  </a:cubicBezTo>
                  <a:cubicBezTo>
                    <a:pt x="955" y="156"/>
                    <a:pt x="958" y="160"/>
                    <a:pt x="956" y="162"/>
                  </a:cubicBezTo>
                  <a:cubicBezTo>
                    <a:pt x="955" y="164"/>
                    <a:pt x="951" y="163"/>
                    <a:pt x="949" y="162"/>
                  </a:cubicBezTo>
                  <a:cubicBezTo>
                    <a:pt x="945" y="161"/>
                    <a:pt x="941" y="158"/>
                    <a:pt x="941" y="154"/>
                  </a:cubicBezTo>
                  <a:cubicBezTo>
                    <a:pt x="942" y="151"/>
                    <a:pt x="945" y="149"/>
                    <a:pt x="943" y="146"/>
                  </a:cubicBezTo>
                  <a:cubicBezTo>
                    <a:pt x="942" y="145"/>
                    <a:pt x="934" y="145"/>
                    <a:pt x="933" y="145"/>
                  </a:cubicBezTo>
                  <a:cubicBezTo>
                    <a:pt x="930" y="146"/>
                    <a:pt x="930" y="147"/>
                    <a:pt x="929" y="150"/>
                  </a:cubicBezTo>
                  <a:cubicBezTo>
                    <a:pt x="929" y="153"/>
                    <a:pt x="929" y="158"/>
                    <a:pt x="929" y="162"/>
                  </a:cubicBezTo>
                  <a:cubicBezTo>
                    <a:pt x="929" y="176"/>
                    <a:pt x="925" y="188"/>
                    <a:pt x="918" y="200"/>
                  </a:cubicBezTo>
                  <a:cubicBezTo>
                    <a:pt x="918" y="201"/>
                    <a:pt x="917" y="201"/>
                    <a:pt x="917" y="202"/>
                  </a:cubicBezTo>
                  <a:cubicBezTo>
                    <a:pt x="915" y="201"/>
                    <a:pt x="913" y="199"/>
                    <a:pt x="912" y="198"/>
                  </a:cubicBezTo>
                  <a:cubicBezTo>
                    <a:pt x="908" y="193"/>
                    <a:pt x="908" y="188"/>
                    <a:pt x="900" y="187"/>
                  </a:cubicBezTo>
                  <a:cubicBezTo>
                    <a:pt x="892" y="187"/>
                    <a:pt x="895" y="199"/>
                    <a:pt x="891" y="204"/>
                  </a:cubicBezTo>
                  <a:cubicBezTo>
                    <a:pt x="889" y="208"/>
                    <a:pt x="885" y="207"/>
                    <a:pt x="881" y="209"/>
                  </a:cubicBezTo>
                  <a:cubicBezTo>
                    <a:pt x="878" y="211"/>
                    <a:pt x="877" y="211"/>
                    <a:pt x="872" y="212"/>
                  </a:cubicBezTo>
                  <a:cubicBezTo>
                    <a:pt x="867" y="213"/>
                    <a:pt x="867" y="216"/>
                    <a:pt x="866" y="220"/>
                  </a:cubicBezTo>
                  <a:cubicBezTo>
                    <a:pt x="865" y="225"/>
                    <a:pt x="860" y="222"/>
                    <a:pt x="857" y="225"/>
                  </a:cubicBezTo>
                  <a:cubicBezTo>
                    <a:pt x="856" y="226"/>
                    <a:pt x="855" y="235"/>
                    <a:pt x="854" y="237"/>
                  </a:cubicBezTo>
                  <a:cubicBezTo>
                    <a:pt x="854" y="240"/>
                    <a:pt x="854" y="244"/>
                    <a:pt x="855" y="247"/>
                  </a:cubicBezTo>
                  <a:cubicBezTo>
                    <a:pt x="856" y="252"/>
                    <a:pt x="860" y="255"/>
                    <a:pt x="858" y="260"/>
                  </a:cubicBezTo>
                  <a:cubicBezTo>
                    <a:pt x="853" y="262"/>
                    <a:pt x="853" y="255"/>
                    <a:pt x="851" y="253"/>
                  </a:cubicBezTo>
                  <a:cubicBezTo>
                    <a:pt x="847" y="256"/>
                    <a:pt x="846" y="261"/>
                    <a:pt x="844" y="265"/>
                  </a:cubicBezTo>
                  <a:cubicBezTo>
                    <a:pt x="843" y="268"/>
                    <a:pt x="841" y="270"/>
                    <a:pt x="839" y="273"/>
                  </a:cubicBezTo>
                  <a:cubicBezTo>
                    <a:pt x="839" y="268"/>
                    <a:pt x="839" y="263"/>
                    <a:pt x="839" y="257"/>
                  </a:cubicBezTo>
                  <a:cubicBezTo>
                    <a:pt x="840" y="252"/>
                    <a:pt x="844" y="251"/>
                    <a:pt x="844" y="246"/>
                  </a:cubicBezTo>
                  <a:cubicBezTo>
                    <a:pt x="845" y="241"/>
                    <a:pt x="840" y="240"/>
                    <a:pt x="839" y="236"/>
                  </a:cubicBezTo>
                  <a:cubicBezTo>
                    <a:pt x="837" y="232"/>
                    <a:pt x="837" y="227"/>
                    <a:pt x="838" y="223"/>
                  </a:cubicBezTo>
                  <a:cubicBezTo>
                    <a:pt x="839" y="219"/>
                    <a:pt x="842" y="214"/>
                    <a:pt x="842" y="210"/>
                  </a:cubicBezTo>
                  <a:cubicBezTo>
                    <a:pt x="842" y="205"/>
                    <a:pt x="837" y="205"/>
                    <a:pt x="833" y="205"/>
                  </a:cubicBezTo>
                  <a:cubicBezTo>
                    <a:pt x="830" y="205"/>
                    <a:pt x="827" y="204"/>
                    <a:pt x="825" y="206"/>
                  </a:cubicBezTo>
                  <a:cubicBezTo>
                    <a:pt x="823" y="208"/>
                    <a:pt x="825" y="211"/>
                    <a:pt x="824" y="214"/>
                  </a:cubicBezTo>
                  <a:cubicBezTo>
                    <a:pt x="822" y="223"/>
                    <a:pt x="815" y="231"/>
                    <a:pt x="815" y="241"/>
                  </a:cubicBezTo>
                  <a:cubicBezTo>
                    <a:pt x="815" y="245"/>
                    <a:pt x="815" y="249"/>
                    <a:pt x="814" y="253"/>
                  </a:cubicBezTo>
                  <a:cubicBezTo>
                    <a:pt x="813" y="256"/>
                    <a:pt x="811" y="260"/>
                    <a:pt x="811" y="263"/>
                  </a:cubicBezTo>
                  <a:cubicBezTo>
                    <a:pt x="806" y="259"/>
                    <a:pt x="804" y="249"/>
                    <a:pt x="807" y="243"/>
                  </a:cubicBezTo>
                  <a:cubicBezTo>
                    <a:pt x="808" y="240"/>
                    <a:pt x="809" y="240"/>
                    <a:pt x="809" y="237"/>
                  </a:cubicBezTo>
                  <a:cubicBezTo>
                    <a:pt x="809" y="235"/>
                    <a:pt x="811" y="231"/>
                    <a:pt x="810" y="229"/>
                  </a:cubicBezTo>
                  <a:cubicBezTo>
                    <a:pt x="809" y="223"/>
                    <a:pt x="798" y="231"/>
                    <a:pt x="794" y="233"/>
                  </a:cubicBezTo>
                  <a:cubicBezTo>
                    <a:pt x="791" y="234"/>
                    <a:pt x="790" y="235"/>
                    <a:pt x="787" y="235"/>
                  </a:cubicBezTo>
                  <a:cubicBezTo>
                    <a:pt x="783" y="235"/>
                    <a:pt x="781" y="234"/>
                    <a:pt x="779" y="236"/>
                  </a:cubicBezTo>
                  <a:cubicBezTo>
                    <a:pt x="779" y="237"/>
                    <a:pt x="779" y="239"/>
                    <a:pt x="779" y="240"/>
                  </a:cubicBezTo>
                  <a:cubicBezTo>
                    <a:pt x="778" y="241"/>
                    <a:pt x="776" y="241"/>
                    <a:pt x="774" y="242"/>
                  </a:cubicBezTo>
                  <a:cubicBezTo>
                    <a:pt x="772" y="243"/>
                    <a:pt x="771" y="243"/>
                    <a:pt x="770" y="245"/>
                  </a:cubicBezTo>
                  <a:cubicBezTo>
                    <a:pt x="767" y="250"/>
                    <a:pt x="767" y="257"/>
                    <a:pt x="770" y="262"/>
                  </a:cubicBezTo>
                  <a:cubicBezTo>
                    <a:pt x="773" y="267"/>
                    <a:pt x="773" y="269"/>
                    <a:pt x="773" y="274"/>
                  </a:cubicBezTo>
                  <a:cubicBezTo>
                    <a:pt x="774" y="281"/>
                    <a:pt x="774" y="286"/>
                    <a:pt x="781" y="287"/>
                  </a:cubicBezTo>
                  <a:cubicBezTo>
                    <a:pt x="783" y="287"/>
                    <a:pt x="787" y="286"/>
                    <a:pt x="788" y="287"/>
                  </a:cubicBezTo>
                  <a:cubicBezTo>
                    <a:pt x="791" y="288"/>
                    <a:pt x="793" y="294"/>
                    <a:pt x="795" y="297"/>
                  </a:cubicBezTo>
                  <a:cubicBezTo>
                    <a:pt x="798" y="301"/>
                    <a:pt x="800" y="304"/>
                    <a:pt x="795" y="306"/>
                  </a:cubicBezTo>
                  <a:cubicBezTo>
                    <a:pt x="793" y="307"/>
                    <a:pt x="790" y="309"/>
                    <a:pt x="789" y="307"/>
                  </a:cubicBezTo>
                  <a:cubicBezTo>
                    <a:pt x="787" y="306"/>
                    <a:pt x="786" y="298"/>
                    <a:pt x="784" y="296"/>
                  </a:cubicBezTo>
                  <a:cubicBezTo>
                    <a:pt x="783" y="292"/>
                    <a:pt x="783" y="291"/>
                    <a:pt x="779" y="290"/>
                  </a:cubicBezTo>
                  <a:cubicBezTo>
                    <a:pt x="777" y="290"/>
                    <a:pt x="776" y="291"/>
                    <a:pt x="774" y="290"/>
                  </a:cubicBezTo>
                  <a:cubicBezTo>
                    <a:pt x="773" y="289"/>
                    <a:pt x="771" y="286"/>
                    <a:pt x="770" y="285"/>
                  </a:cubicBezTo>
                  <a:cubicBezTo>
                    <a:pt x="767" y="283"/>
                    <a:pt x="765" y="280"/>
                    <a:pt x="763" y="276"/>
                  </a:cubicBezTo>
                  <a:cubicBezTo>
                    <a:pt x="763" y="274"/>
                    <a:pt x="764" y="272"/>
                    <a:pt x="763" y="270"/>
                  </a:cubicBezTo>
                  <a:cubicBezTo>
                    <a:pt x="762" y="265"/>
                    <a:pt x="752" y="262"/>
                    <a:pt x="749" y="267"/>
                  </a:cubicBezTo>
                  <a:cubicBezTo>
                    <a:pt x="745" y="273"/>
                    <a:pt x="752" y="279"/>
                    <a:pt x="754" y="283"/>
                  </a:cubicBezTo>
                  <a:cubicBezTo>
                    <a:pt x="755" y="287"/>
                    <a:pt x="756" y="291"/>
                    <a:pt x="755" y="295"/>
                  </a:cubicBezTo>
                  <a:cubicBezTo>
                    <a:pt x="745" y="298"/>
                    <a:pt x="745" y="286"/>
                    <a:pt x="740" y="281"/>
                  </a:cubicBezTo>
                  <a:cubicBezTo>
                    <a:pt x="733" y="273"/>
                    <a:pt x="732" y="283"/>
                    <a:pt x="732" y="289"/>
                  </a:cubicBezTo>
                  <a:cubicBezTo>
                    <a:pt x="730" y="289"/>
                    <a:pt x="727" y="288"/>
                    <a:pt x="725" y="289"/>
                  </a:cubicBezTo>
                  <a:cubicBezTo>
                    <a:pt x="724" y="290"/>
                    <a:pt x="723" y="293"/>
                    <a:pt x="723" y="294"/>
                  </a:cubicBezTo>
                  <a:cubicBezTo>
                    <a:pt x="721" y="294"/>
                    <a:pt x="720" y="285"/>
                    <a:pt x="719" y="282"/>
                  </a:cubicBezTo>
                  <a:cubicBezTo>
                    <a:pt x="718" y="280"/>
                    <a:pt x="715" y="272"/>
                    <a:pt x="713" y="277"/>
                  </a:cubicBezTo>
                  <a:cubicBezTo>
                    <a:pt x="713" y="271"/>
                    <a:pt x="709" y="266"/>
                    <a:pt x="703" y="264"/>
                  </a:cubicBezTo>
                  <a:cubicBezTo>
                    <a:pt x="697" y="261"/>
                    <a:pt x="699" y="266"/>
                    <a:pt x="697" y="269"/>
                  </a:cubicBezTo>
                  <a:cubicBezTo>
                    <a:pt x="695" y="269"/>
                    <a:pt x="692" y="267"/>
                    <a:pt x="690" y="267"/>
                  </a:cubicBezTo>
                  <a:cubicBezTo>
                    <a:pt x="687" y="268"/>
                    <a:pt x="688" y="271"/>
                    <a:pt x="687" y="272"/>
                  </a:cubicBezTo>
                  <a:cubicBezTo>
                    <a:pt x="684" y="276"/>
                    <a:pt x="680" y="274"/>
                    <a:pt x="679" y="280"/>
                  </a:cubicBezTo>
                  <a:cubicBezTo>
                    <a:pt x="681" y="280"/>
                    <a:pt x="684" y="279"/>
                    <a:pt x="687" y="280"/>
                  </a:cubicBezTo>
                  <a:cubicBezTo>
                    <a:pt x="686" y="281"/>
                    <a:pt x="687" y="282"/>
                    <a:pt x="687" y="283"/>
                  </a:cubicBezTo>
                  <a:cubicBezTo>
                    <a:pt x="689" y="283"/>
                    <a:pt x="690" y="283"/>
                    <a:pt x="690" y="284"/>
                  </a:cubicBezTo>
                  <a:cubicBezTo>
                    <a:pt x="686" y="287"/>
                    <a:pt x="674" y="284"/>
                    <a:pt x="671" y="289"/>
                  </a:cubicBezTo>
                  <a:cubicBezTo>
                    <a:pt x="670" y="290"/>
                    <a:pt x="671" y="294"/>
                    <a:pt x="671" y="296"/>
                  </a:cubicBezTo>
                  <a:cubicBezTo>
                    <a:pt x="671" y="299"/>
                    <a:pt x="673" y="302"/>
                    <a:pt x="672" y="304"/>
                  </a:cubicBezTo>
                  <a:cubicBezTo>
                    <a:pt x="672" y="306"/>
                    <a:pt x="672" y="305"/>
                    <a:pt x="671" y="306"/>
                  </a:cubicBezTo>
                  <a:cubicBezTo>
                    <a:pt x="670" y="306"/>
                    <a:pt x="669" y="307"/>
                    <a:pt x="668" y="307"/>
                  </a:cubicBezTo>
                  <a:cubicBezTo>
                    <a:pt x="667" y="308"/>
                    <a:pt x="667" y="308"/>
                    <a:pt x="667" y="309"/>
                  </a:cubicBezTo>
                  <a:cubicBezTo>
                    <a:pt x="664" y="312"/>
                    <a:pt x="665" y="311"/>
                    <a:pt x="664" y="315"/>
                  </a:cubicBezTo>
                  <a:cubicBezTo>
                    <a:pt x="664" y="319"/>
                    <a:pt x="662" y="325"/>
                    <a:pt x="660" y="327"/>
                  </a:cubicBezTo>
                  <a:cubicBezTo>
                    <a:pt x="658" y="329"/>
                    <a:pt x="653" y="333"/>
                    <a:pt x="658" y="336"/>
                  </a:cubicBezTo>
                  <a:cubicBezTo>
                    <a:pt x="659" y="337"/>
                    <a:pt x="661" y="336"/>
                    <a:pt x="663" y="337"/>
                  </a:cubicBezTo>
                  <a:cubicBezTo>
                    <a:pt x="665" y="338"/>
                    <a:pt x="666" y="341"/>
                    <a:pt x="668" y="343"/>
                  </a:cubicBezTo>
                  <a:cubicBezTo>
                    <a:pt x="672" y="342"/>
                    <a:pt x="674" y="337"/>
                    <a:pt x="676" y="334"/>
                  </a:cubicBezTo>
                  <a:cubicBezTo>
                    <a:pt x="678" y="331"/>
                    <a:pt x="681" y="329"/>
                    <a:pt x="684" y="327"/>
                  </a:cubicBezTo>
                  <a:cubicBezTo>
                    <a:pt x="686" y="327"/>
                    <a:pt x="687" y="325"/>
                    <a:pt x="689" y="326"/>
                  </a:cubicBezTo>
                  <a:cubicBezTo>
                    <a:pt x="690" y="326"/>
                    <a:pt x="690" y="328"/>
                    <a:pt x="691" y="328"/>
                  </a:cubicBezTo>
                  <a:cubicBezTo>
                    <a:pt x="693" y="328"/>
                    <a:pt x="694" y="329"/>
                    <a:pt x="694" y="326"/>
                  </a:cubicBezTo>
                  <a:cubicBezTo>
                    <a:pt x="697" y="325"/>
                    <a:pt x="699" y="326"/>
                    <a:pt x="701" y="325"/>
                  </a:cubicBezTo>
                  <a:cubicBezTo>
                    <a:pt x="702" y="325"/>
                    <a:pt x="703" y="324"/>
                    <a:pt x="704" y="324"/>
                  </a:cubicBezTo>
                  <a:cubicBezTo>
                    <a:pt x="705" y="323"/>
                    <a:pt x="707" y="324"/>
                    <a:pt x="708" y="323"/>
                  </a:cubicBezTo>
                  <a:cubicBezTo>
                    <a:pt x="712" y="322"/>
                    <a:pt x="723" y="306"/>
                    <a:pt x="726" y="318"/>
                  </a:cubicBezTo>
                  <a:cubicBezTo>
                    <a:pt x="728" y="325"/>
                    <a:pt x="714" y="323"/>
                    <a:pt x="709" y="325"/>
                  </a:cubicBezTo>
                  <a:cubicBezTo>
                    <a:pt x="706" y="326"/>
                    <a:pt x="703" y="328"/>
                    <a:pt x="702" y="331"/>
                  </a:cubicBezTo>
                  <a:cubicBezTo>
                    <a:pt x="701" y="334"/>
                    <a:pt x="702" y="336"/>
                    <a:pt x="701" y="339"/>
                  </a:cubicBezTo>
                  <a:cubicBezTo>
                    <a:pt x="698" y="343"/>
                    <a:pt x="692" y="342"/>
                    <a:pt x="692" y="348"/>
                  </a:cubicBezTo>
                  <a:cubicBezTo>
                    <a:pt x="692" y="351"/>
                    <a:pt x="694" y="352"/>
                    <a:pt x="692" y="355"/>
                  </a:cubicBezTo>
                  <a:cubicBezTo>
                    <a:pt x="691" y="355"/>
                    <a:pt x="688" y="355"/>
                    <a:pt x="687" y="356"/>
                  </a:cubicBezTo>
                  <a:cubicBezTo>
                    <a:pt x="685" y="357"/>
                    <a:pt x="687" y="359"/>
                    <a:pt x="684" y="360"/>
                  </a:cubicBezTo>
                  <a:cubicBezTo>
                    <a:pt x="682" y="361"/>
                    <a:pt x="677" y="359"/>
                    <a:pt x="675" y="361"/>
                  </a:cubicBezTo>
                  <a:cubicBezTo>
                    <a:pt x="674" y="361"/>
                    <a:pt x="671" y="365"/>
                    <a:pt x="671" y="366"/>
                  </a:cubicBezTo>
                  <a:cubicBezTo>
                    <a:pt x="669" y="368"/>
                    <a:pt x="669" y="370"/>
                    <a:pt x="667" y="372"/>
                  </a:cubicBezTo>
                  <a:cubicBezTo>
                    <a:pt x="665" y="376"/>
                    <a:pt x="663" y="376"/>
                    <a:pt x="660" y="378"/>
                  </a:cubicBezTo>
                  <a:cubicBezTo>
                    <a:pt x="666" y="383"/>
                    <a:pt x="668" y="375"/>
                    <a:pt x="671" y="372"/>
                  </a:cubicBezTo>
                  <a:cubicBezTo>
                    <a:pt x="673" y="370"/>
                    <a:pt x="677" y="371"/>
                    <a:pt x="680" y="370"/>
                  </a:cubicBezTo>
                  <a:cubicBezTo>
                    <a:pt x="680" y="369"/>
                    <a:pt x="681" y="368"/>
                    <a:pt x="682" y="368"/>
                  </a:cubicBezTo>
                  <a:cubicBezTo>
                    <a:pt x="683" y="368"/>
                    <a:pt x="685" y="368"/>
                    <a:pt x="687" y="368"/>
                  </a:cubicBezTo>
                  <a:cubicBezTo>
                    <a:pt x="690" y="367"/>
                    <a:pt x="691" y="365"/>
                    <a:pt x="694" y="364"/>
                  </a:cubicBezTo>
                  <a:cubicBezTo>
                    <a:pt x="696" y="363"/>
                    <a:pt x="700" y="362"/>
                    <a:pt x="702" y="366"/>
                  </a:cubicBezTo>
                  <a:cubicBezTo>
                    <a:pt x="703" y="372"/>
                    <a:pt x="690" y="375"/>
                    <a:pt x="686" y="377"/>
                  </a:cubicBezTo>
                  <a:cubicBezTo>
                    <a:pt x="680" y="380"/>
                    <a:pt x="683" y="382"/>
                    <a:pt x="682" y="387"/>
                  </a:cubicBezTo>
                  <a:cubicBezTo>
                    <a:pt x="681" y="388"/>
                    <a:pt x="678" y="392"/>
                    <a:pt x="676" y="393"/>
                  </a:cubicBezTo>
                  <a:cubicBezTo>
                    <a:pt x="672" y="396"/>
                    <a:pt x="665" y="396"/>
                    <a:pt x="660" y="396"/>
                  </a:cubicBezTo>
                  <a:cubicBezTo>
                    <a:pt x="659" y="396"/>
                    <a:pt x="654" y="395"/>
                    <a:pt x="652" y="397"/>
                  </a:cubicBezTo>
                  <a:cubicBezTo>
                    <a:pt x="651" y="398"/>
                    <a:pt x="652" y="400"/>
                    <a:pt x="651" y="402"/>
                  </a:cubicBezTo>
                  <a:cubicBezTo>
                    <a:pt x="650" y="406"/>
                    <a:pt x="645" y="410"/>
                    <a:pt x="641" y="408"/>
                  </a:cubicBezTo>
                  <a:cubicBezTo>
                    <a:pt x="634" y="404"/>
                    <a:pt x="639" y="389"/>
                    <a:pt x="639" y="383"/>
                  </a:cubicBezTo>
                  <a:cubicBezTo>
                    <a:pt x="639" y="379"/>
                    <a:pt x="639" y="376"/>
                    <a:pt x="636" y="373"/>
                  </a:cubicBezTo>
                  <a:cubicBezTo>
                    <a:pt x="634" y="371"/>
                    <a:pt x="629" y="366"/>
                    <a:pt x="625" y="368"/>
                  </a:cubicBezTo>
                  <a:cubicBezTo>
                    <a:pt x="624" y="369"/>
                    <a:pt x="623" y="373"/>
                    <a:pt x="622" y="374"/>
                  </a:cubicBezTo>
                  <a:cubicBezTo>
                    <a:pt x="621" y="377"/>
                    <a:pt x="618" y="380"/>
                    <a:pt x="617" y="383"/>
                  </a:cubicBezTo>
                  <a:cubicBezTo>
                    <a:pt x="616" y="385"/>
                    <a:pt x="617" y="390"/>
                    <a:pt x="613" y="390"/>
                  </a:cubicBezTo>
                  <a:cubicBezTo>
                    <a:pt x="612" y="388"/>
                    <a:pt x="611" y="384"/>
                    <a:pt x="611" y="382"/>
                  </a:cubicBezTo>
                  <a:cubicBezTo>
                    <a:pt x="611" y="380"/>
                    <a:pt x="612" y="377"/>
                    <a:pt x="611" y="376"/>
                  </a:cubicBezTo>
                  <a:cubicBezTo>
                    <a:pt x="610" y="374"/>
                    <a:pt x="608" y="375"/>
                    <a:pt x="608" y="374"/>
                  </a:cubicBezTo>
                  <a:cubicBezTo>
                    <a:pt x="606" y="373"/>
                    <a:pt x="606" y="372"/>
                    <a:pt x="606" y="369"/>
                  </a:cubicBezTo>
                  <a:cubicBezTo>
                    <a:pt x="606" y="365"/>
                    <a:pt x="607" y="359"/>
                    <a:pt x="603" y="356"/>
                  </a:cubicBezTo>
                  <a:cubicBezTo>
                    <a:pt x="600" y="354"/>
                    <a:pt x="597" y="356"/>
                    <a:pt x="594" y="355"/>
                  </a:cubicBezTo>
                  <a:cubicBezTo>
                    <a:pt x="594" y="352"/>
                    <a:pt x="597" y="348"/>
                    <a:pt x="598" y="346"/>
                  </a:cubicBezTo>
                  <a:cubicBezTo>
                    <a:pt x="599" y="345"/>
                    <a:pt x="601" y="343"/>
                    <a:pt x="601" y="342"/>
                  </a:cubicBezTo>
                  <a:cubicBezTo>
                    <a:pt x="602" y="341"/>
                    <a:pt x="601" y="340"/>
                    <a:pt x="602" y="339"/>
                  </a:cubicBezTo>
                  <a:cubicBezTo>
                    <a:pt x="603" y="337"/>
                    <a:pt x="607" y="336"/>
                    <a:pt x="608" y="335"/>
                  </a:cubicBezTo>
                  <a:cubicBezTo>
                    <a:pt x="610" y="333"/>
                    <a:pt x="611" y="331"/>
                    <a:pt x="612" y="328"/>
                  </a:cubicBezTo>
                  <a:cubicBezTo>
                    <a:pt x="614" y="326"/>
                    <a:pt x="615" y="325"/>
                    <a:pt x="616" y="322"/>
                  </a:cubicBezTo>
                  <a:cubicBezTo>
                    <a:pt x="619" y="318"/>
                    <a:pt x="618" y="316"/>
                    <a:pt x="618" y="311"/>
                  </a:cubicBezTo>
                  <a:cubicBezTo>
                    <a:pt x="619" y="308"/>
                    <a:pt x="622" y="303"/>
                    <a:pt x="620" y="300"/>
                  </a:cubicBezTo>
                  <a:cubicBezTo>
                    <a:pt x="618" y="298"/>
                    <a:pt x="612" y="299"/>
                    <a:pt x="610" y="300"/>
                  </a:cubicBezTo>
                  <a:cubicBezTo>
                    <a:pt x="608" y="301"/>
                    <a:pt x="607" y="304"/>
                    <a:pt x="605" y="305"/>
                  </a:cubicBezTo>
                  <a:cubicBezTo>
                    <a:pt x="604" y="307"/>
                    <a:pt x="604" y="306"/>
                    <a:pt x="603" y="309"/>
                  </a:cubicBezTo>
                  <a:cubicBezTo>
                    <a:pt x="603" y="310"/>
                    <a:pt x="604" y="312"/>
                    <a:pt x="604" y="313"/>
                  </a:cubicBezTo>
                  <a:cubicBezTo>
                    <a:pt x="603" y="316"/>
                    <a:pt x="599" y="317"/>
                    <a:pt x="597" y="318"/>
                  </a:cubicBezTo>
                  <a:cubicBezTo>
                    <a:pt x="595" y="321"/>
                    <a:pt x="592" y="323"/>
                    <a:pt x="590" y="326"/>
                  </a:cubicBezTo>
                  <a:cubicBezTo>
                    <a:pt x="584" y="334"/>
                    <a:pt x="581" y="343"/>
                    <a:pt x="581" y="353"/>
                  </a:cubicBezTo>
                  <a:cubicBezTo>
                    <a:pt x="582" y="355"/>
                    <a:pt x="581" y="358"/>
                    <a:pt x="581" y="361"/>
                  </a:cubicBezTo>
                  <a:cubicBezTo>
                    <a:pt x="582" y="364"/>
                    <a:pt x="580" y="369"/>
                    <a:pt x="581" y="372"/>
                  </a:cubicBezTo>
                  <a:cubicBezTo>
                    <a:pt x="590" y="372"/>
                    <a:pt x="579" y="377"/>
                    <a:pt x="578" y="381"/>
                  </a:cubicBezTo>
                  <a:cubicBezTo>
                    <a:pt x="576" y="384"/>
                    <a:pt x="582" y="394"/>
                    <a:pt x="575" y="395"/>
                  </a:cubicBezTo>
                  <a:cubicBezTo>
                    <a:pt x="572" y="392"/>
                    <a:pt x="574" y="389"/>
                    <a:pt x="573" y="387"/>
                  </a:cubicBezTo>
                  <a:cubicBezTo>
                    <a:pt x="573" y="387"/>
                    <a:pt x="571" y="384"/>
                    <a:pt x="572" y="385"/>
                  </a:cubicBezTo>
                  <a:cubicBezTo>
                    <a:pt x="571" y="383"/>
                    <a:pt x="571" y="381"/>
                    <a:pt x="571" y="378"/>
                  </a:cubicBezTo>
                  <a:cubicBezTo>
                    <a:pt x="571" y="376"/>
                    <a:pt x="571" y="373"/>
                    <a:pt x="571" y="371"/>
                  </a:cubicBezTo>
                  <a:cubicBezTo>
                    <a:pt x="571" y="368"/>
                    <a:pt x="570" y="366"/>
                    <a:pt x="570" y="363"/>
                  </a:cubicBezTo>
                  <a:cubicBezTo>
                    <a:pt x="569" y="363"/>
                    <a:pt x="568" y="363"/>
                    <a:pt x="567" y="364"/>
                  </a:cubicBezTo>
                  <a:cubicBezTo>
                    <a:pt x="566" y="361"/>
                    <a:pt x="566" y="358"/>
                    <a:pt x="564" y="355"/>
                  </a:cubicBezTo>
                  <a:cubicBezTo>
                    <a:pt x="563" y="354"/>
                    <a:pt x="562" y="349"/>
                    <a:pt x="561" y="348"/>
                  </a:cubicBezTo>
                  <a:cubicBezTo>
                    <a:pt x="555" y="343"/>
                    <a:pt x="554" y="359"/>
                    <a:pt x="554" y="362"/>
                  </a:cubicBezTo>
                  <a:cubicBezTo>
                    <a:pt x="554" y="365"/>
                    <a:pt x="554" y="366"/>
                    <a:pt x="555" y="368"/>
                  </a:cubicBezTo>
                  <a:cubicBezTo>
                    <a:pt x="555" y="370"/>
                    <a:pt x="556" y="370"/>
                    <a:pt x="556" y="372"/>
                  </a:cubicBezTo>
                  <a:cubicBezTo>
                    <a:pt x="553" y="372"/>
                    <a:pt x="551" y="372"/>
                    <a:pt x="549" y="372"/>
                  </a:cubicBezTo>
                  <a:cubicBezTo>
                    <a:pt x="548" y="374"/>
                    <a:pt x="549" y="377"/>
                    <a:pt x="548" y="379"/>
                  </a:cubicBezTo>
                  <a:cubicBezTo>
                    <a:pt x="546" y="377"/>
                    <a:pt x="544" y="372"/>
                    <a:pt x="541" y="372"/>
                  </a:cubicBezTo>
                  <a:cubicBezTo>
                    <a:pt x="537" y="372"/>
                    <a:pt x="535" y="377"/>
                    <a:pt x="534" y="379"/>
                  </a:cubicBezTo>
                  <a:cubicBezTo>
                    <a:pt x="532" y="382"/>
                    <a:pt x="531" y="384"/>
                    <a:pt x="529" y="387"/>
                  </a:cubicBezTo>
                  <a:cubicBezTo>
                    <a:pt x="528" y="389"/>
                    <a:pt x="527" y="390"/>
                    <a:pt x="525" y="393"/>
                  </a:cubicBezTo>
                  <a:cubicBezTo>
                    <a:pt x="525" y="395"/>
                    <a:pt x="522" y="398"/>
                    <a:pt x="522" y="400"/>
                  </a:cubicBezTo>
                  <a:cubicBezTo>
                    <a:pt x="521" y="403"/>
                    <a:pt x="522" y="407"/>
                    <a:pt x="525" y="408"/>
                  </a:cubicBezTo>
                  <a:cubicBezTo>
                    <a:pt x="529" y="409"/>
                    <a:pt x="532" y="403"/>
                    <a:pt x="534" y="400"/>
                  </a:cubicBezTo>
                  <a:cubicBezTo>
                    <a:pt x="537" y="396"/>
                    <a:pt x="537" y="397"/>
                    <a:pt x="542" y="397"/>
                  </a:cubicBezTo>
                  <a:cubicBezTo>
                    <a:pt x="545" y="397"/>
                    <a:pt x="547" y="395"/>
                    <a:pt x="549" y="396"/>
                  </a:cubicBezTo>
                  <a:cubicBezTo>
                    <a:pt x="550" y="398"/>
                    <a:pt x="548" y="399"/>
                    <a:pt x="548" y="401"/>
                  </a:cubicBezTo>
                  <a:cubicBezTo>
                    <a:pt x="547" y="404"/>
                    <a:pt x="548" y="406"/>
                    <a:pt x="546" y="408"/>
                  </a:cubicBezTo>
                  <a:cubicBezTo>
                    <a:pt x="544" y="409"/>
                    <a:pt x="542" y="408"/>
                    <a:pt x="539" y="409"/>
                  </a:cubicBezTo>
                  <a:cubicBezTo>
                    <a:pt x="536" y="410"/>
                    <a:pt x="535" y="414"/>
                    <a:pt x="536" y="417"/>
                  </a:cubicBezTo>
                  <a:cubicBezTo>
                    <a:pt x="538" y="426"/>
                    <a:pt x="549" y="428"/>
                    <a:pt x="556" y="425"/>
                  </a:cubicBezTo>
                  <a:cubicBezTo>
                    <a:pt x="559" y="424"/>
                    <a:pt x="560" y="423"/>
                    <a:pt x="559" y="420"/>
                  </a:cubicBezTo>
                  <a:cubicBezTo>
                    <a:pt x="558" y="417"/>
                    <a:pt x="555" y="416"/>
                    <a:pt x="559" y="413"/>
                  </a:cubicBezTo>
                  <a:cubicBezTo>
                    <a:pt x="560" y="412"/>
                    <a:pt x="562" y="412"/>
                    <a:pt x="564" y="410"/>
                  </a:cubicBezTo>
                  <a:cubicBezTo>
                    <a:pt x="566" y="409"/>
                    <a:pt x="567" y="407"/>
                    <a:pt x="569" y="405"/>
                  </a:cubicBezTo>
                  <a:cubicBezTo>
                    <a:pt x="570" y="404"/>
                    <a:pt x="572" y="403"/>
                    <a:pt x="574" y="402"/>
                  </a:cubicBezTo>
                  <a:cubicBezTo>
                    <a:pt x="575" y="401"/>
                    <a:pt x="580" y="400"/>
                    <a:pt x="581" y="400"/>
                  </a:cubicBezTo>
                  <a:cubicBezTo>
                    <a:pt x="585" y="403"/>
                    <a:pt x="576" y="408"/>
                    <a:pt x="575" y="410"/>
                  </a:cubicBezTo>
                  <a:cubicBezTo>
                    <a:pt x="571" y="414"/>
                    <a:pt x="571" y="418"/>
                    <a:pt x="566" y="421"/>
                  </a:cubicBezTo>
                  <a:cubicBezTo>
                    <a:pt x="569" y="426"/>
                    <a:pt x="570" y="427"/>
                    <a:pt x="565" y="430"/>
                  </a:cubicBezTo>
                  <a:cubicBezTo>
                    <a:pt x="559" y="432"/>
                    <a:pt x="554" y="430"/>
                    <a:pt x="549" y="432"/>
                  </a:cubicBezTo>
                  <a:cubicBezTo>
                    <a:pt x="544" y="433"/>
                    <a:pt x="542" y="434"/>
                    <a:pt x="537" y="434"/>
                  </a:cubicBezTo>
                  <a:cubicBezTo>
                    <a:pt x="534" y="434"/>
                    <a:pt x="530" y="433"/>
                    <a:pt x="528" y="435"/>
                  </a:cubicBezTo>
                  <a:cubicBezTo>
                    <a:pt x="525" y="438"/>
                    <a:pt x="527" y="443"/>
                    <a:pt x="520" y="444"/>
                  </a:cubicBezTo>
                  <a:cubicBezTo>
                    <a:pt x="514" y="444"/>
                    <a:pt x="508" y="440"/>
                    <a:pt x="503" y="443"/>
                  </a:cubicBezTo>
                  <a:cubicBezTo>
                    <a:pt x="502" y="444"/>
                    <a:pt x="502" y="445"/>
                    <a:pt x="500" y="446"/>
                  </a:cubicBezTo>
                  <a:cubicBezTo>
                    <a:pt x="499" y="446"/>
                    <a:pt x="498" y="446"/>
                    <a:pt x="498" y="446"/>
                  </a:cubicBezTo>
                  <a:cubicBezTo>
                    <a:pt x="496" y="446"/>
                    <a:pt x="495" y="447"/>
                    <a:pt x="495" y="448"/>
                  </a:cubicBezTo>
                  <a:cubicBezTo>
                    <a:pt x="493" y="449"/>
                    <a:pt x="489" y="449"/>
                    <a:pt x="487" y="450"/>
                  </a:cubicBezTo>
                  <a:cubicBezTo>
                    <a:pt x="484" y="452"/>
                    <a:pt x="480" y="457"/>
                    <a:pt x="478" y="460"/>
                  </a:cubicBezTo>
                  <a:cubicBezTo>
                    <a:pt x="474" y="463"/>
                    <a:pt x="476" y="467"/>
                    <a:pt x="476" y="472"/>
                  </a:cubicBezTo>
                  <a:cubicBezTo>
                    <a:pt x="473" y="472"/>
                    <a:pt x="469" y="470"/>
                    <a:pt x="467" y="471"/>
                  </a:cubicBezTo>
                  <a:cubicBezTo>
                    <a:pt x="466" y="472"/>
                    <a:pt x="462" y="476"/>
                    <a:pt x="462" y="478"/>
                  </a:cubicBezTo>
                  <a:cubicBezTo>
                    <a:pt x="460" y="481"/>
                    <a:pt x="461" y="482"/>
                    <a:pt x="457" y="484"/>
                  </a:cubicBezTo>
                  <a:cubicBezTo>
                    <a:pt x="454" y="486"/>
                    <a:pt x="451" y="486"/>
                    <a:pt x="447" y="487"/>
                  </a:cubicBezTo>
                  <a:cubicBezTo>
                    <a:pt x="447" y="489"/>
                    <a:pt x="448" y="491"/>
                    <a:pt x="447" y="493"/>
                  </a:cubicBezTo>
                  <a:cubicBezTo>
                    <a:pt x="447" y="495"/>
                    <a:pt x="447" y="497"/>
                    <a:pt x="446" y="499"/>
                  </a:cubicBezTo>
                  <a:cubicBezTo>
                    <a:pt x="445" y="501"/>
                    <a:pt x="444" y="501"/>
                    <a:pt x="443" y="502"/>
                  </a:cubicBezTo>
                  <a:cubicBezTo>
                    <a:pt x="440" y="505"/>
                    <a:pt x="441" y="511"/>
                    <a:pt x="441" y="515"/>
                  </a:cubicBezTo>
                  <a:cubicBezTo>
                    <a:pt x="444" y="516"/>
                    <a:pt x="453" y="512"/>
                    <a:pt x="455" y="509"/>
                  </a:cubicBezTo>
                  <a:cubicBezTo>
                    <a:pt x="456" y="507"/>
                    <a:pt x="457" y="504"/>
                    <a:pt x="458" y="501"/>
                  </a:cubicBezTo>
                  <a:cubicBezTo>
                    <a:pt x="459" y="500"/>
                    <a:pt x="461" y="498"/>
                    <a:pt x="462" y="497"/>
                  </a:cubicBezTo>
                  <a:cubicBezTo>
                    <a:pt x="464" y="498"/>
                    <a:pt x="464" y="499"/>
                    <a:pt x="467" y="498"/>
                  </a:cubicBezTo>
                  <a:cubicBezTo>
                    <a:pt x="470" y="497"/>
                    <a:pt x="469" y="495"/>
                    <a:pt x="470" y="494"/>
                  </a:cubicBezTo>
                  <a:cubicBezTo>
                    <a:pt x="471" y="492"/>
                    <a:pt x="476" y="491"/>
                    <a:pt x="475" y="488"/>
                  </a:cubicBezTo>
                  <a:cubicBezTo>
                    <a:pt x="478" y="487"/>
                    <a:pt x="488" y="490"/>
                    <a:pt x="489" y="484"/>
                  </a:cubicBezTo>
                  <a:cubicBezTo>
                    <a:pt x="492" y="484"/>
                    <a:pt x="493" y="485"/>
                    <a:pt x="495" y="483"/>
                  </a:cubicBezTo>
                  <a:cubicBezTo>
                    <a:pt x="498" y="481"/>
                    <a:pt x="498" y="474"/>
                    <a:pt x="501" y="472"/>
                  </a:cubicBezTo>
                  <a:cubicBezTo>
                    <a:pt x="504" y="470"/>
                    <a:pt x="509" y="471"/>
                    <a:pt x="510" y="467"/>
                  </a:cubicBezTo>
                  <a:cubicBezTo>
                    <a:pt x="510" y="467"/>
                    <a:pt x="510" y="465"/>
                    <a:pt x="510" y="464"/>
                  </a:cubicBezTo>
                  <a:cubicBezTo>
                    <a:pt x="511" y="466"/>
                    <a:pt x="511" y="467"/>
                    <a:pt x="510" y="467"/>
                  </a:cubicBezTo>
                  <a:cubicBezTo>
                    <a:pt x="512" y="471"/>
                    <a:pt x="521" y="470"/>
                    <a:pt x="524" y="469"/>
                  </a:cubicBezTo>
                  <a:cubicBezTo>
                    <a:pt x="530" y="468"/>
                    <a:pt x="531" y="465"/>
                    <a:pt x="535" y="461"/>
                  </a:cubicBezTo>
                  <a:cubicBezTo>
                    <a:pt x="536" y="459"/>
                    <a:pt x="538" y="455"/>
                    <a:pt x="541" y="454"/>
                  </a:cubicBezTo>
                  <a:cubicBezTo>
                    <a:pt x="542" y="456"/>
                    <a:pt x="543" y="458"/>
                    <a:pt x="543" y="460"/>
                  </a:cubicBezTo>
                  <a:cubicBezTo>
                    <a:pt x="545" y="460"/>
                    <a:pt x="546" y="460"/>
                    <a:pt x="548" y="460"/>
                  </a:cubicBezTo>
                  <a:cubicBezTo>
                    <a:pt x="553" y="459"/>
                    <a:pt x="553" y="453"/>
                    <a:pt x="557" y="451"/>
                  </a:cubicBezTo>
                  <a:cubicBezTo>
                    <a:pt x="558" y="450"/>
                    <a:pt x="559" y="449"/>
                    <a:pt x="560" y="449"/>
                  </a:cubicBezTo>
                  <a:cubicBezTo>
                    <a:pt x="561" y="450"/>
                    <a:pt x="561" y="450"/>
                    <a:pt x="562" y="450"/>
                  </a:cubicBezTo>
                  <a:cubicBezTo>
                    <a:pt x="564" y="449"/>
                    <a:pt x="564" y="446"/>
                    <a:pt x="565" y="445"/>
                  </a:cubicBezTo>
                  <a:cubicBezTo>
                    <a:pt x="567" y="444"/>
                    <a:pt x="567" y="447"/>
                    <a:pt x="569" y="446"/>
                  </a:cubicBezTo>
                  <a:cubicBezTo>
                    <a:pt x="571" y="446"/>
                    <a:pt x="576" y="442"/>
                    <a:pt x="578" y="441"/>
                  </a:cubicBezTo>
                  <a:cubicBezTo>
                    <a:pt x="580" y="439"/>
                    <a:pt x="584" y="437"/>
                    <a:pt x="586" y="435"/>
                  </a:cubicBezTo>
                  <a:cubicBezTo>
                    <a:pt x="590" y="440"/>
                    <a:pt x="586" y="447"/>
                    <a:pt x="596" y="445"/>
                  </a:cubicBezTo>
                  <a:cubicBezTo>
                    <a:pt x="600" y="444"/>
                    <a:pt x="603" y="440"/>
                    <a:pt x="606" y="437"/>
                  </a:cubicBezTo>
                  <a:cubicBezTo>
                    <a:pt x="609" y="435"/>
                    <a:pt x="610" y="434"/>
                    <a:pt x="612" y="431"/>
                  </a:cubicBezTo>
                  <a:cubicBezTo>
                    <a:pt x="616" y="434"/>
                    <a:pt x="623" y="422"/>
                    <a:pt x="625" y="419"/>
                  </a:cubicBezTo>
                  <a:cubicBezTo>
                    <a:pt x="625" y="420"/>
                    <a:pt x="625" y="423"/>
                    <a:pt x="625" y="424"/>
                  </a:cubicBezTo>
                  <a:cubicBezTo>
                    <a:pt x="624" y="426"/>
                    <a:pt x="621" y="427"/>
                    <a:pt x="621" y="429"/>
                  </a:cubicBezTo>
                  <a:cubicBezTo>
                    <a:pt x="621" y="435"/>
                    <a:pt x="631" y="436"/>
                    <a:pt x="636" y="435"/>
                  </a:cubicBezTo>
                  <a:cubicBezTo>
                    <a:pt x="642" y="433"/>
                    <a:pt x="647" y="430"/>
                    <a:pt x="653" y="429"/>
                  </a:cubicBezTo>
                  <a:cubicBezTo>
                    <a:pt x="660" y="427"/>
                    <a:pt x="667" y="425"/>
                    <a:pt x="674" y="422"/>
                  </a:cubicBezTo>
                  <a:cubicBezTo>
                    <a:pt x="675" y="425"/>
                    <a:pt x="674" y="428"/>
                    <a:pt x="670" y="428"/>
                  </a:cubicBezTo>
                  <a:cubicBezTo>
                    <a:pt x="669" y="432"/>
                    <a:pt x="674" y="436"/>
                    <a:pt x="669" y="439"/>
                  </a:cubicBezTo>
                  <a:cubicBezTo>
                    <a:pt x="665" y="441"/>
                    <a:pt x="653" y="440"/>
                    <a:pt x="652" y="435"/>
                  </a:cubicBezTo>
                  <a:cubicBezTo>
                    <a:pt x="651" y="435"/>
                    <a:pt x="649" y="435"/>
                    <a:pt x="648" y="435"/>
                  </a:cubicBezTo>
                  <a:cubicBezTo>
                    <a:pt x="645" y="435"/>
                    <a:pt x="644" y="436"/>
                    <a:pt x="642" y="437"/>
                  </a:cubicBezTo>
                  <a:cubicBezTo>
                    <a:pt x="640" y="437"/>
                    <a:pt x="639" y="437"/>
                    <a:pt x="637" y="437"/>
                  </a:cubicBezTo>
                  <a:cubicBezTo>
                    <a:pt x="634" y="437"/>
                    <a:pt x="633" y="439"/>
                    <a:pt x="630" y="440"/>
                  </a:cubicBezTo>
                  <a:cubicBezTo>
                    <a:pt x="627" y="441"/>
                    <a:pt x="622" y="443"/>
                    <a:pt x="624" y="447"/>
                  </a:cubicBezTo>
                  <a:cubicBezTo>
                    <a:pt x="626" y="451"/>
                    <a:pt x="634" y="452"/>
                    <a:pt x="638" y="452"/>
                  </a:cubicBezTo>
                  <a:cubicBezTo>
                    <a:pt x="639" y="455"/>
                    <a:pt x="638" y="455"/>
                    <a:pt x="637" y="457"/>
                  </a:cubicBezTo>
                  <a:cubicBezTo>
                    <a:pt x="635" y="460"/>
                    <a:pt x="633" y="459"/>
                    <a:pt x="631" y="461"/>
                  </a:cubicBezTo>
                  <a:cubicBezTo>
                    <a:pt x="630" y="457"/>
                    <a:pt x="626" y="453"/>
                    <a:pt x="622" y="451"/>
                  </a:cubicBezTo>
                  <a:cubicBezTo>
                    <a:pt x="622" y="453"/>
                    <a:pt x="622" y="454"/>
                    <a:pt x="622" y="455"/>
                  </a:cubicBezTo>
                  <a:cubicBezTo>
                    <a:pt x="622" y="458"/>
                    <a:pt x="623" y="458"/>
                    <a:pt x="624" y="460"/>
                  </a:cubicBezTo>
                  <a:cubicBezTo>
                    <a:pt x="625" y="463"/>
                    <a:pt x="625" y="466"/>
                    <a:pt x="625" y="469"/>
                  </a:cubicBezTo>
                  <a:cubicBezTo>
                    <a:pt x="624" y="473"/>
                    <a:pt x="623" y="480"/>
                    <a:pt x="618" y="482"/>
                  </a:cubicBezTo>
                  <a:cubicBezTo>
                    <a:pt x="619" y="476"/>
                    <a:pt x="620" y="470"/>
                    <a:pt x="616" y="465"/>
                  </a:cubicBezTo>
                  <a:cubicBezTo>
                    <a:pt x="615" y="465"/>
                    <a:pt x="613" y="460"/>
                    <a:pt x="612" y="460"/>
                  </a:cubicBezTo>
                  <a:cubicBezTo>
                    <a:pt x="609" y="461"/>
                    <a:pt x="609" y="466"/>
                    <a:pt x="609" y="468"/>
                  </a:cubicBezTo>
                  <a:cubicBezTo>
                    <a:pt x="609" y="470"/>
                    <a:pt x="609" y="471"/>
                    <a:pt x="608" y="473"/>
                  </a:cubicBezTo>
                  <a:cubicBezTo>
                    <a:pt x="606" y="474"/>
                    <a:pt x="604" y="474"/>
                    <a:pt x="603" y="475"/>
                  </a:cubicBezTo>
                  <a:cubicBezTo>
                    <a:pt x="601" y="476"/>
                    <a:pt x="601" y="477"/>
                    <a:pt x="600" y="478"/>
                  </a:cubicBezTo>
                  <a:cubicBezTo>
                    <a:pt x="597" y="481"/>
                    <a:pt x="593" y="485"/>
                    <a:pt x="588" y="484"/>
                  </a:cubicBezTo>
                  <a:cubicBezTo>
                    <a:pt x="588" y="482"/>
                    <a:pt x="588" y="480"/>
                    <a:pt x="588" y="479"/>
                  </a:cubicBezTo>
                  <a:cubicBezTo>
                    <a:pt x="589" y="479"/>
                    <a:pt x="590" y="479"/>
                    <a:pt x="591" y="478"/>
                  </a:cubicBezTo>
                  <a:cubicBezTo>
                    <a:pt x="593" y="473"/>
                    <a:pt x="587" y="472"/>
                    <a:pt x="583" y="474"/>
                  </a:cubicBezTo>
                  <a:cubicBezTo>
                    <a:pt x="580" y="475"/>
                    <a:pt x="579" y="476"/>
                    <a:pt x="578" y="478"/>
                  </a:cubicBezTo>
                  <a:cubicBezTo>
                    <a:pt x="575" y="481"/>
                    <a:pt x="575" y="481"/>
                    <a:pt x="575" y="485"/>
                  </a:cubicBezTo>
                  <a:cubicBezTo>
                    <a:pt x="575" y="488"/>
                    <a:pt x="574" y="490"/>
                    <a:pt x="577" y="491"/>
                  </a:cubicBezTo>
                  <a:cubicBezTo>
                    <a:pt x="580" y="492"/>
                    <a:pt x="586" y="490"/>
                    <a:pt x="589" y="492"/>
                  </a:cubicBezTo>
                  <a:cubicBezTo>
                    <a:pt x="592" y="493"/>
                    <a:pt x="591" y="499"/>
                    <a:pt x="591" y="502"/>
                  </a:cubicBezTo>
                  <a:cubicBezTo>
                    <a:pt x="587" y="503"/>
                    <a:pt x="582" y="504"/>
                    <a:pt x="578" y="503"/>
                  </a:cubicBezTo>
                  <a:cubicBezTo>
                    <a:pt x="576" y="503"/>
                    <a:pt x="575" y="503"/>
                    <a:pt x="574" y="503"/>
                  </a:cubicBezTo>
                  <a:cubicBezTo>
                    <a:pt x="573" y="503"/>
                    <a:pt x="572" y="502"/>
                    <a:pt x="571" y="501"/>
                  </a:cubicBezTo>
                  <a:cubicBezTo>
                    <a:pt x="571" y="501"/>
                    <a:pt x="571" y="500"/>
                    <a:pt x="570" y="499"/>
                  </a:cubicBezTo>
                  <a:cubicBezTo>
                    <a:pt x="562" y="495"/>
                    <a:pt x="558" y="502"/>
                    <a:pt x="555" y="509"/>
                  </a:cubicBezTo>
                  <a:cubicBezTo>
                    <a:pt x="553" y="513"/>
                    <a:pt x="547" y="517"/>
                    <a:pt x="547" y="522"/>
                  </a:cubicBezTo>
                  <a:cubicBezTo>
                    <a:pt x="548" y="529"/>
                    <a:pt x="556" y="525"/>
                    <a:pt x="557" y="529"/>
                  </a:cubicBezTo>
                  <a:cubicBezTo>
                    <a:pt x="558" y="533"/>
                    <a:pt x="553" y="534"/>
                    <a:pt x="551" y="537"/>
                  </a:cubicBezTo>
                  <a:cubicBezTo>
                    <a:pt x="549" y="539"/>
                    <a:pt x="547" y="545"/>
                    <a:pt x="548" y="548"/>
                  </a:cubicBezTo>
                  <a:cubicBezTo>
                    <a:pt x="554" y="550"/>
                    <a:pt x="563" y="543"/>
                    <a:pt x="567" y="539"/>
                  </a:cubicBezTo>
                  <a:cubicBezTo>
                    <a:pt x="569" y="537"/>
                    <a:pt x="569" y="537"/>
                    <a:pt x="571" y="535"/>
                  </a:cubicBezTo>
                  <a:cubicBezTo>
                    <a:pt x="573" y="531"/>
                    <a:pt x="576" y="527"/>
                    <a:pt x="579" y="523"/>
                  </a:cubicBezTo>
                  <a:cubicBezTo>
                    <a:pt x="582" y="528"/>
                    <a:pt x="580" y="532"/>
                    <a:pt x="579" y="536"/>
                  </a:cubicBezTo>
                  <a:cubicBezTo>
                    <a:pt x="578" y="541"/>
                    <a:pt x="578" y="542"/>
                    <a:pt x="573" y="544"/>
                  </a:cubicBezTo>
                  <a:cubicBezTo>
                    <a:pt x="571" y="546"/>
                    <a:pt x="567" y="546"/>
                    <a:pt x="566" y="549"/>
                  </a:cubicBezTo>
                  <a:cubicBezTo>
                    <a:pt x="566" y="552"/>
                    <a:pt x="566" y="556"/>
                    <a:pt x="568" y="557"/>
                  </a:cubicBezTo>
                  <a:cubicBezTo>
                    <a:pt x="566" y="558"/>
                    <a:pt x="563" y="556"/>
                    <a:pt x="561" y="556"/>
                  </a:cubicBezTo>
                  <a:cubicBezTo>
                    <a:pt x="558" y="556"/>
                    <a:pt x="554" y="555"/>
                    <a:pt x="552" y="556"/>
                  </a:cubicBezTo>
                  <a:cubicBezTo>
                    <a:pt x="548" y="557"/>
                    <a:pt x="546" y="560"/>
                    <a:pt x="543" y="563"/>
                  </a:cubicBezTo>
                  <a:cubicBezTo>
                    <a:pt x="541" y="565"/>
                    <a:pt x="538" y="566"/>
                    <a:pt x="535" y="568"/>
                  </a:cubicBezTo>
                  <a:cubicBezTo>
                    <a:pt x="533" y="569"/>
                    <a:pt x="525" y="573"/>
                    <a:pt x="525" y="577"/>
                  </a:cubicBezTo>
                  <a:cubicBezTo>
                    <a:pt x="525" y="581"/>
                    <a:pt x="531" y="582"/>
                    <a:pt x="531" y="584"/>
                  </a:cubicBezTo>
                  <a:cubicBezTo>
                    <a:pt x="533" y="588"/>
                    <a:pt x="529" y="585"/>
                    <a:pt x="527" y="587"/>
                  </a:cubicBezTo>
                  <a:cubicBezTo>
                    <a:pt x="524" y="588"/>
                    <a:pt x="526" y="590"/>
                    <a:pt x="525" y="591"/>
                  </a:cubicBezTo>
                  <a:cubicBezTo>
                    <a:pt x="523" y="592"/>
                    <a:pt x="523" y="592"/>
                    <a:pt x="522" y="593"/>
                  </a:cubicBezTo>
                  <a:cubicBezTo>
                    <a:pt x="518" y="596"/>
                    <a:pt x="516" y="600"/>
                    <a:pt x="516" y="605"/>
                  </a:cubicBezTo>
                  <a:cubicBezTo>
                    <a:pt x="520" y="606"/>
                    <a:pt x="524" y="603"/>
                    <a:pt x="528" y="602"/>
                  </a:cubicBezTo>
                  <a:cubicBezTo>
                    <a:pt x="533" y="600"/>
                    <a:pt x="540" y="599"/>
                    <a:pt x="546" y="600"/>
                  </a:cubicBezTo>
                  <a:cubicBezTo>
                    <a:pt x="548" y="600"/>
                    <a:pt x="550" y="601"/>
                    <a:pt x="552" y="601"/>
                  </a:cubicBezTo>
                  <a:cubicBezTo>
                    <a:pt x="555" y="601"/>
                    <a:pt x="558" y="601"/>
                    <a:pt x="559" y="604"/>
                  </a:cubicBezTo>
                  <a:cubicBezTo>
                    <a:pt x="559" y="604"/>
                    <a:pt x="559" y="605"/>
                    <a:pt x="559" y="605"/>
                  </a:cubicBezTo>
                  <a:cubicBezTo>
                    <a:pt x="558" y="605"/>
                    <a:pt x="558" y="606"/>
                    <a:pt x="558" y="607"/>
                  </a:cubicBezTo>
                  <a:cubicBezTo>
                    <a:pt x="556" y="608"/>
                    <a:pt x="551" y="607"/>
                    <a:pt x="548" y="607"/>
                  </a:cubicBezTo>
                  <a:cubicBezTo>
                    <a:pt x="542" y="607"/>
                    <a:pt x="528" y="605"/>
                    <a:pt x="523" y="610"/>
                  </a:cubicBezTo>
                  <a:cubicBezTo>
                    <a:pt x="518" y="613"/>
                    <a:pt x="519" y="622"/>
                    <a:pt x="516" y="627"/>
                  </a:cubicBezTo>
                  <a:cubicBezTo>
                    <a:pt x="513" y="623"/>
                    <a:pt x="515" y="615"/>
                    <a:pt x="509" y="614"/>
                  </a:cubicBezTo>
                  <a:cubicBezTo>
                    <a:pt x="505" y="612"/>
                    <a:pt x="503" y="617"/>
                    <a:pt x="503" y="620"/>
                  </a:cubicBezTo>
                  <a:cubicBezTo>
                    <a:pt x="502" y="626"/>
                    <a:pt x="503" y="625"/>
                    <a:pt x="499" y="629"/>
                  </a:cubicBezTo>
                  <a:cubicBezTo>
                    <a:pt x="495" y="632"/>
                    <a:pt x="496" y="634"/>
                    <a:pt x="495" y="639"/>
                  </a:cubicBezTo>
                  <a:cubicBezTo>
                    <a:pt x="493" y="640"/>
                    <a:pt x="491" y="642"/>
                    <a:pt x="488" y="643"/>
                  </a:cubicBezTo>
                  <a:cubicBezTo>
                    <a:pt x="486" y="644"/>
                    <a:pt x="484" y="643"/>
                    <a:pt x="482" y="644"/>
                  </a:cubicBezTo>
                  <a:cubicBezTo>
                    <a:pt x="477" y="646"/>
                    <a:pt x="482" y="647"/>
                    <a:pt x="483" y="650"/>
                  </a:cubicBezTo>
                  <a:cubicBezTo>
                    <a:pt x="484" y="652"/>
                    <a:pt x="483" y="653"/>
                    <a:pt x="484" y="655"/>
                  </a:cubicBezTo>
                  <a:cubicBezTo>
                    <a:pt x="484" y="656"/>
                    <a:pt x="486" y="657"/>
                    <a:pt x="487" y="657"/>
                  </a:cubicBezTo>
                  <a:cubicBezTo>
                    <a:pt x="490" y="659"/>
                    <a:pt x="495" y="661"/>
                    <a:pt x="497" y="665"/>
                  </a:cubicBezTo>
                  <a:cubicBezTo>
                    <a:pt x="489" y="666"/>
                    <a:pt x="480" y="664"/>
                    <a:pt x="473" y="666"/>
                  </a:cubicBezTo>
                  <a:cubicBezTo>
                    <a:pt x="469" y="667"/>
                    <a:pt x="468" y="667"/>
                    <a:pt x="467" y="670"/>
                  </a:cubicBezTo>
                  <a:cubicBezTo>
                    <a:pt x="466" y="673"/>
                    <a:pt x="466" y="674"/>
                    <a:pt x="467" y="676"/>
                  </a:cubicBezTo>
                  <a:cubicBezTo>
                    <a:pt x="467" y="677"/>
                    <a:pt x="469" y="676"/>
                    <a:pt x="468" y="679"/>
                  </a:cubicBezTo>
                  <a:cubicBezTo>
                    <a:pt x="465" y="679"/>
                    <a:pt x="465" y="680"/>
                    <a:pt x="464" y="682"/>
                  </a:cubicBezTo>
                  <a:cubicBezTo>
                    <a:pt x="462" y="683"/>
                    <a:pt x="456" y="684"/>
                    <a:pt x="455" y="687"/>
                  </a:cubicBezTo>
                  <a:cubicBezTo>
                    <a:pt x="454" y="689"/>
                    <a:pt x="455" y="690"/>
                    <a:pt x="456" y="691"/>
                  </a:cubicBezTo>
                  <a:cubicBezTo>
                    <a:pt x="457" y="694"/>
                    <a:pt x="457" y="695"/>
                    <a:pt x="458" y="699"/>
                  </a:cubicBezTo>
                  <a:cubicBezTo>
                    <a:pt x="461" y="699"/>
                    <a:pt x="465" y="699"/>
                    <a:pt x="468" y="699"/>
                  </a:cubicBezTo>
                  <a:cubicBezTo>
                    <a:pt x="472" y="698"/>
                    <a:pt x="476" y="696"/>
                    <a:pt x="476" y="702"/>
                  </a:cubicBezTo>
                  <a:cubicBezTo>
                    <a:pt x="475" y="705"/>
                    <a:pt x="471" y="706"/>
                    <a:pt x="470" y="708"/>
                  </a:cubicBezTo>
                  <a:cubicBezTo>
                    <a:pt x="467" y="711"/>
                    <a:pt x="466" y="714"/>
                    <a:pt x="462" y="713"/>
                  </a:cubicBezTo>
                  <a:cubicBezTo>
                    <a:pt x="460" y="709"/>
                    <a:pt x="462" y="705"/>
                    <a:pt x="457" y="702"/>
                  </a:cubicBezTo>
                  <a:cubicBezTo>
                    <a:pt x="452" y="699"/>
                    <a:pt x="446" y="701"/>
                    <a:pt x="446" y="706"/>
                  </a:cubicBezTo>
                  <a:cubicBezTo>
                    <a:pt x="446" y="708"/>
                    <a:pt x="448" y="710"/>
                    <a:pt x="447" y="712"/>
                  </a:cubicBezTo>
                  <a:cubicBezTo>
                    <a:pt x="447" y="715"/>
                    <a:pt x="446" y="717"/>
                    <a:pt x="447" y="720"/>
                  </a:cubicBezTo>
                  <a:cubicBezTo>
                    <a:pt x="447" y="723"/>
                    <a:pt x="447" y="724"/>
                    <a:pt x="451" y="726"/>
                  </a:cubicBezTo>
                  <a:cubicBezTo>
                    <a:pt x="455" y="728"/>
                    <a:pt x="460" y="727"/>
                    <a:pt x="465" y="728"/>
                  </a:cubicBezTo>
                  <a:cubicBezTo>
                    <a:pt x="463" y="730"/>
                    <a:pt x="459" y="731"/>
                    <a:pt x="456" y="732"/>
                  </a:cubicBezTo>
                  <a:cubicBezTo>
                    <a:pt x="455" y="733"/>
                    <a:pt x="454" y="736"/>
                    <a:pt x="453" y="737"/>
                  </a:cubicBezTo>
                  <a:cubicBezTo>
                    <a:pt x="452" y="739"/>
                    <a:pt x="450" y="740"/>
                    <a:pt x="447" y="740"/>
                  </a:cubicBezTo>
                  <a:cubicBezTo>
                    <a:pt x="443" y="741"/>
                    <a:pt x="442" y="740"/>
                    <a:pt x="438" y="744"/>
                  </a:cubicBezTo>
                  <a:cubicBezTo>
                    <a:pt x="436" y="747"/>
                    <a:pt x="436" y="745"/>
                    <a:pt x="436" y="749"/>
                  </a:cubicBezTo>
                  <a:cubicBezTo>
                    <a:pt x="436" y="750"/>
                    <a:pt x="436" y="752"/>
                    <a:pt x="436" y="754"/>
                  </a:cubicBezTo>
                  <a:cubicBezTo>
                    <a:pt x="436" y="761"/>
                    <a:pt x="429" y="758"/>
                    <a:pt x="427" y="763"/>
                  </a:cubicBezTo>
                  <a:cubicBezTo>
                    <a:pt x="426" y="765"/>
                    <a:pt x="427" y="767"/>
                    <a:pt x="426" y="769"/>
                  </a:cubicBezTo>
                  <a:cubicBezTo>
                    <a:pt x="425" y="770"/>
                    <a:pt x="423" y="771"/>
                    <a:pt x="422" y="773"/>
                  </a:cubicBezTo>
                  <a:cubicBezTo>
                    <a:pt x="422" y="774"/>
                    <a:pt x="422" y="775"/>
                    <a:pt x="421" y="776"/>
                  </a:cubicBezTo>
                  <a:cubicBezTo>
                    <a:pt x="420" y="778"/>
                    <a:pt x="417" y="778"/>
                    <a:pt x="417" y="779"/>
                  </a:cubicBezTo>
                  <a:cubicBezTo>
                    <a:pt x="416" y="781"/>
                    <a:pt x="416" y="783"/>
                    <a:pt x="416" y="785"/>
                  </a:cubicBezTo>
                  <a:cubicBezTo>
                    <a:pt x="416" y="787"/>
                    <a:pt x="415" y="789"/>
                    <a:pt x="418" y="790"/>
                  </a:cubicBezTo>
                  <a:cubicBezTo>
                    <a:pt x="421" y="790"/>
                    <a:pt x="421" y="787"/>
                    <a:pt x="422" y="785"/>
                  </a:cubicBezTo>
                  <a:cubicBezTo>
                    <a:pt x="425" y="782"/>
                    <a:pt x="431" y="781"/>
                    <a:pt x="436" y="780"/>
                  </a:cubicBezTo>
                  <a:cubicBezTo>
                    <a:pt x="437" y="779"/>
                    <a:pt x="438" y="779"/>
                    <a:pt x="441" y="780"/>
                  </a:cubicBezTo>
                  <a:cubicBezTo>
                    <a:pt x="439" y="780"/>
                    <a:pt x="438" y="780"/>
                    <a:pt x="436" y="780"/>
                  </a:cubicBezTo>
                  <a:cubicBezTo>
                    <a:pt x="435" y="782"/>
                    <a:pt x="434" y="784"/>
                    <a:pt x="433" y="785"/>
                  </a:cubicBezTo>
                  <a:cubicBezTo>
                    <a:pt x="432" y="786"/>
                    <a:pt x="429" y="787"/>
                    <a:pt x="429" y="788"/>
                  </a:cubicBezTo>
                  <a:cubicBezTo>
                    <a:pt x="428" y="790"/>
                    <a:pt x="429" y="792"/>
                    <a:pt x="428" y="794"/>
                  </a:cubicBezTo>
                  <a:cubicBezTo>
                    <a:pt x="427" y="798"/>
                    <a:pt x="423" y="799"/>
                    <a:pt x="421" y="801"/>
                  </a:cubicBezTo>
                  <a:cubicBezTo>
                    <a:pt x="419" y="804"/>
                    <a:pt x="419" y="808"/>
                    <a:pt x="415" y="811"/>
                  </a:cubicBezTo>
                  <a:cubicBezTo>
                    <a:pt x="411" y="813"/>
                    <a:pt x="408" y="810"/>
                    <a:pt x="407" y="815"/>
                  </a:cubicBezTo>
                  <a:cubicBezTo>
                    <a:pt x="407" y="818"/>
                    <a:pt x="406" y="823"/>
                    <a:pt x="407" y="825"/>
                  </a:cubicBezTo>
                  <a:cubicBezTo>
                    <a:pt x="408" y="828"/>
                    <a:pt x="418" y="833"/>
                    <a:pt x="416" y="837"/>
                  </a:cubicBezTo>
                  <a:cubicBezTo>
                    <a:pt x="415" y="839"/>
                    <a:pt x="406" y="839"/>
                    <a:pt x="407" y="835"/>
                  </a:cubicBezTo>
                  <a:cubicBezTo>
                    <a:pt x="404" y="836"/>
                    <a:pt x="403" y="844"/>
                    <a:pt x="401" y="847"/>
                  </a:cubicBezTo>
                  <a:cubicBezTo>
                    <a:pt x="399" y="850"/>
                    <a:pt x="394" y="853"/>
                    <a:pt x="393" y="857"/>
                  </a:cubicBezTo>
                  <a:cubicBezTo>
                    <a:pt x="391" y="861"/>
                    <a:pt x="392" y="866"/>
                    <a:pt x="396" y="870"/>
                  </a:cubicBezTo>
                  <a:cubicBezTo>
                    <a:pt x="397" y="871"/>
                    <a:pt x="400" y="872"/>
                    <a:pt x="399" y="874"/>
                  </a:cubicBezTo>
                  <a:cubicBezTo>
                    <a:pt x="399" y="876"/>
                    <a:pt x="395" y="874"/>
                    <a:pt x="396" y="877"/>
                  </a:cubicBezTo>
                  <a:cubicBezTo>
                    <a:pt x="399" y="878"/>
                    <a:pt x="400" y="876"/>
                    <a:pt x="403" y="876"/>
                  </a:cubicBezTo>
                  <a:cubicBezTo>
                    <a:pt x="403" y="877"/>
                    <a:pt x="403" y="878"/>
                    <a:pt x="403" y="880"/>
                  </a:cubicBezTo>
                  <a:cubicBezTo>
                    <a:pt x="403" y="880"/>
                    <a:pt x="402" y="881"/>
                    <a:pt x="402" y="882"/>
                  </a:cubicBezTo>
                  <a:cubicBezTo>
                    <a:pt x="398" y="882"/>
                    <a:pt x="394" y="884"/>
                    <a:pt x="391" y="887"/>
                  </a:cubicBezTo>
                  <a:cubicBezTo>
                    <a:pt x="389" y="889"/>
                    <a:pt x="389" y="890"/>
                    <a:pt x="386" y="892"/>
                  </a:cubicBezTo>
                  <a:cubicBezTo>
                    <a:pt x="383" y="894"/>
                    <a:pt x="380" y="895"/>
                    <a:pt x="380" y="898"/>
                  </a:cubicBezTo>
                  <a:cubicBezTo>
                    <a:pt x="375" y="897"/>
                    <a:pt x="374" y="886"/>
                    <a:pt x="370" y="889"/>
                  </a:cubicBezTo>
                  <a:cubicBezTo>
                    <a:pt x="369" y="890"/>
                    <a:pt x="367" y="895"/>
                    <a:pt x="367" y="896"/>
                  </a:cubicBezTo>
                  <a:cubicBezTo>
                    <a:pt x="366" y="899"/>
                    <a:pt x="368" y="900"/>
                    <a:pt x="369" y="902"/>
                  </a:cubicBezTo>
                  <a:cubicBezTo>
                    <a:pt x="369" y="903"/>
                    <a:pt x="369" y="905"/>
                    <a:pt x="368" y="906"/>
                  </a:cubicBezTo>
                  <a:cubicBezTo>
                    <a:pt x="368" y="907"/>
                    <a:pt x="365" y="907"/>
                    <a:pt x="364" y="908"/>
                  </a:cubicBezTo>
                  <a:cubicBezTo>
                    <a:pt x="363" y="908"/>
                    <a:pt x="363" y="909"/>
                    <a:pt x="362" y="910"/>
                  </a:cubicBezTo>
                  <a:cubicBezTo>
                    <a:pt x="360" y="911"/>
                    <a:pt x="360" y="912"/>
                    <a:pt x="357" y="912"/>
                  </a:cubicBezTo>
                  <a:cubicBezTo>
                    <a:pt x="356" y="912"/>
                    <a:pt x="352" y="909"/>
                    <a:pt x="350" y="909"/>
                  </a:cubicBezTo>
                  <a:cubicBezTo>
                    <a:pt x="348" y="908"/>
                    <a:pt x="347" y="909"/>
                    <a:pt x="345" y="908"/>
                  </a:cubicBezTo>
                  <a:cubicBezTo>
                    <a:pt x="345" y="906"/>
                    <a:pt x="346" y="903"/>
                    <a:pt x="345" y="902"/>
                  </a:cubicBezTo>
                  <a:cubicBezTo>
                    <a:pt x="344" y="898"/>
                    <a:pt x="340" y="901"/>
                    <a:pt x="338" y="904"/>
                  </a:cubicBezTo>
                  <a:cubicBezTo>
                    <a:pt x="336" y="906"/>
                    <a:pt x="336" y="908"/>
                    <a:pt x="334" y="910"/>
                  </a:cubicBezTo>
                  <a:cubicBezTo>
                    <a:pt x="332" y="913"/>
                    <a:pt x="330" y="914"/>
                    <a:pt x="328" y="917"/>
                  </a:cubicBezTo>
                  <a:cubicBezTo>
                    <a:pt x="327" y="918"/>
                    <a:pt x="326" y="922"/>
                    <a:pt x="326" y="924"/>
                  </a:cubicBezTo>
                  <a:cubicBezTo>
                    <a:pt x="328" y="925"/>
                    <a:pt x="332" y="925"/>
                    <a:pt x="334" y="925"/>
                  </a:cubicBezTo>
                  <a:cubicBezTo>
                    <a:pt x="336" y="924"/>
                    <a:pt x="339" y="923"/>
                    <a:pt x="341" y="924"/>
                  </a:cubicBezTo>
                  <a:cubicBezTo>
                    <a:pt x="346" y="924"/>
                    <a:pt x="352" y="929"/>
                    <a:pt x="357" y="929"/>
                  </a:cubicBezTo>
                  <a:cubicBezTo>
                    <a:pt x="360" y="929"/>
                    <a:pt x="363" y="926"/>
                    <a:pt x="366" y="927"/>
                  </a:cubicBezTo>
                  <a:cubicBezTo>
                    <a:pt x="369" y="928"/>
                    <a:pt x="368" y="930"/>
                    <a:pt x="369" y="931"/>
                  </a:cubicBezTo>
                  <a:cubicBezTo>
                    <a:pt x="369" y="931"/>
                    <a:pt x="369" y="931"/>
                    <a:pt x="369" y="931"/>
                  </a:cubicBezTo>
                  <a:cubicBezTo>
                    <a:pt x="367" y="932"/>
                    <a:pt x="360" y="934"/>
                    <a:pt x="361" y="936"/>
                  </a:cubicBezTo>
                  <a:cubicBezTo>
                    <a:pt x="362" y="937"/>
                    <a:pt x="370" y="936"/>
                    <a:pt x="372" y="936"/>
                  </a:cubicBezTo>
                  <a:cubicBezTo>
                    <a:pt x="374" y="942"/>
                    <a:pt x="359" y="938"/>
                    <a:pt x="357" y="941"/>
                  </a:cubicBezTo>
                  <a:cubicBezTo>
                    <a:pt x="355" y="942"/>
                    <a:pt x="356" y="943"/>
                    <a:pt x="357" y="945"/>
                  </a:cubicBezTo>
                  <a:cubicBezTo>
                    <a:pt x="358" y="948"/>
                    <a:pt x="359" y="950"/>
                    <a:pt x="360" y="953"/>
                  </a:cubicBezTo>
                  <a:cubicBezTo>
                    <a:pt x="358" y="952"/>
                    <a:pt x="357" y="949"/>
                    <a:pt x="355" y="948"/>
                  </a:cubicBezTo>
                  <a:cubicBezTo>
                    <a:pt x="352" y="946"/>
                    <a:pt x="352" y="948"/>
                    <a:pt x="351" y="949"/>
                  </a:cubicBezTo>
                  <a:cubicBezTo>
                    <a:pt x="349" y="950"/>
                    <a:pt x="351" y="951"/>
                    <a:pt x="348" y="951"/>
                  </a:cubicBezTo>
                  <a:cubicBezTo>
                    <a:pt x="346" y="951"/>
                    <a:pt x="345" y="950"/>
                    <a:pt x="344" y="949"/>
                  </a:cubicBezTo>
                  <a:cubicBezTo>
                    <a:pt x="343" y="953"/>
                    <a:pt x="345" y="954"/>
                    <a:pt x="343" y="957"/>
                  </a:cubicBezTo>
                  <a:cubicBezTo>
                    <a:pt x="341" y="961"/>
                    <a:pt x="336" y="960"/>
                    <a:pt x="332" y="960"/>
                  </a:cubicBezTo>
                  <a:cubicBezTo>
                    <a:pt x="330" y="955"/>
                    <a:pt x="330" y="955"/>
                    <a:pt x="330" y="955"/>
                  </a:cubicBezTo>
                  <a:cubicBezTo>
                    <a:pt x="326" y="959"/>
                    <a:pt x="319" y="962"/>
                    <a:pt x="318" y="967"/>
                  </a:cubicBezTo>
                  <a:cubicBezTo>
                    <a:pt x="317" y="970"/>
                    <a:pt x="317" y="972"/>
                    <a:pt x="316" y="974"/>
                  </a:cubicBezTo>
                  <a:cubicBezTo>
                    <a:pt x="315" y="976"/>
                    <a:pt x="313" y="976"/>
                    <a:pt x="314" y="979"/>
                  </a:cubicBezTo>
                  <a:cubicBezTo>
                    <a:pt x="317" y="979"/>
                    <a:pt x="321" y="978"/>
                    <a:pt x="325" y="979"/>
                  </a:cubicBezTo>
                  <a:cubicBezTo>
                    <a:pt x="329" y="986"/>
                    <a:pt x="314" y="983"/>
                    <a:pt x="311" y="985"/>
                  </a:cubicBezTo>
                  <a:cubicBezTo>
                    <a:pt x="312" y="985"/>
                    <a:pt x="310" y="989"/>
                    <a:pt x="310" y="988"/>
                  </a:cubicBezTo>
                  <a:cubicBezTo>
                    <a:pt x="309" y="989"/>
                    <a:pt x="310" y="992"/>
                    <a:pt x="309" y="993"/>
                  </a:cubicBezTo>
                  <a:cubicBezTo>
                    <a:pt x="308" y="995"/>
                    <a:pt x="300" y="994"/>
                    <a:pt x="302" y="998"/>
                  </a:cubicBezTo>
                  <a:cubicBezTo>
                    <a:pt x="304" y="998"/>
                    <a:pt x="304" y="999"/>
                    <a:pt x="304" y="1001"/>
                  </a:cubicBezTo>
                  <a:cubicBezTo>
                    <a:pt x="304" y="1004"/>
                    <a:pt x="303" y="1004"/>
                    <a:pt x="300" y="1005"/>
                  </a:cubicBezTo>
                  <a:cubicBezTo>
                    <a:pt x="294" y="1008"/>
                    <a:pt x="296" y="1007"/>
                    <a:pt x="297" y="1013"/>
                  </a:cubicBezTo>
                  <a:cubicBezTo>
                    <a:pt x="292" y="1016"/>
                    <a:pt x="291" y="1018"/>
                    <a:pt x="297" y="1019"/>
                  </a:cubicBezTo>
                  <a:cubicBezTo>
                    <a:pt x="297" y="1025"/>
                    <a:pt x="285" y="1020"/>
                    <a:pt x="283" y="1017"/>
                  </a:cubicBezTo>
                  <a:cubicBezTo>
                    <a:pt x="278" y="1023"/>
                    <a:pt x="285" y="1027"/>
                    <a:pt x="289" y="1028"/>
                  </a:cubicBezTo>
                  <a:cubicBezTo>
                    <a:pt x="289" y="1031"/>
                    <a:pt x="283" y="1033"/>
                    <a:pt x="282" y="1037"/>
                  </a:cubicBezTo>
                  <a:cubicBezTo>
                    <a:pt x="284" y="1038"/>
                    <a:pt x="288" y="1039"/>
                    <a:pt x="285" y="1042"/>
                  </a:cubicBezTo>
                  <a:cubicBezTo>
                    <a:pt x="282" y="1044"/>
                    <a:pt x="277" y="1039"/>
                    <a:pt x="274" y="1040"/>
                  </a:cubicBezTo>
                  <a:cubicBezTo>
                    <a:pt x="273" y="1041"/>
                    <a:pt x="274" y="1045"/>
                    <a:pt x="273" y="1047"/>
                  </a:cubicBezTo>
                  <a:cubicBezTo>
                    <a:pt x="272" y="1048"/>
                    <a:pt x="269" y="1048"/>
                    <a:pt x="267" y="1047"/>
                  </a:cubicBezTo>
                  <a:cubicBezTo>
                    <a:pt x="267" y="1047"/>
                    <a:pt x="267" y="1046"/>
                    <a:pt x="266" y="1046"/>
                  </a:cubicBezTo>
                  <a:cubicBezTo>
                    <a:pt x="262" y="1046"/>
                    <a:pt x="266" y="1052"/>
                    <a:pt x="268" y="1053"/>
                  </a:cubicBezTo>
                  <a:cubicBezTo>
                    <a:pt x="270" y="1054"/>
                    <a:pt x="272" y="1053"/>
                    <a:pt x="271" y="1056"/>
                  </a:cubicBezTo>
                  <a:cubicBezTo>
                    <a:pt x="271" y="1058"/>
                    <a:pt x="263" y="1061"/>
                    <a:pt x="260" y="1061"/>
                  </a:cubicBezTo>
                  <a:cubicBezTo>
                    <a:pt x="259" y="1067"/>
                    <a:pt x="267" y="1065"/>
                    <a:pt x="272" y="1065"/>
                  </a:cubicBezTo>
                  <a:cubicBezTo>
                    <a:pt x="272" y="1065"/>
                    <a:pt x="273" y="1064"/>
                    <a:pt x="273" y="1064"/>
                  </a:cubicBezTo>
                  <a:cubicBezTo>
                    <a:pt x="274" y="1063"/>
                    <a:pt x="275" y="1061"/>
                    <a:pt x="277" y="1060"/>
                  </a:cubicBezTo>
                  <a:cubicBezTo>
                    <a:pt x="278" y="1059"/>
                    <a:pt x="283" y="1060"/>
                    <a:pt x="285" y="1060"/>
                  </a:cubicBezTo>
                  <a:cubicBezTo>
                    <a:pt x="283" y="1063"/>
                    <a:pt x="275" y="1068"/>
                    <a:pt x="278" y="1073"/>
                  </a:cubicBezTo>
                  <a:cubicBezTo>
                    <a:pt x="279" y="1075"/>
                    <a:pt x="284" y="1075"/>
                    <a:pt x="286" y="1079"/>
                  </a:cubicBezTo>
                  <a:cubicBezTo>
                    <a:pt x="287" y="1082"/>
                    <a:pt x="286" y="1083"/>
                    <a:pt x="291" y="1084"/>
                  </a:cubicBezTo>
                  <a:cubicBezTo>
                    <a:pt x="293" y="1084"/>
                    <a:pt x="296" y="1083"/>
                    <a:pt x="298" y="1084"/>
                  </a:cubicBezTo>
                  <a:cubicBezTo>
                    <a:pt x="299" y="1084"/>
                    <a:pt x="299" y="1085"/>
                    <a:pt x="301" y="1085"/>
                  </a:cubicBezTo>
                  <a:cubicBezTo>
                    <a:pt x="303" y="1083"/>
                    <a:pt x="302" y="1079"/>
                    <a:pt x="305" y="1077"/>
                  </a:cubicBezTo>
                  <a:cubicBezTo>
                    <a:pt x="306" y="1076"/>
                    <a:pt x="308" y="1076"/>
                    <a:pt x="309" y="1076"/>
                  </a:cubicBezTo>
                  <a:cubicBezTo>
                    <a:pt x="311" y="1076"/>
                    <a:pt x="311" y="1078"/>
                    <a:pt x="312" y="1078"/>
                  </a:cubicBezTo>
                  <a:cubicBezTo>
                    <a:pt x="315" y="1078"/>
                    <a:pt x="314" y="1073"/>
                    <a:pt x="315" y="1071"/>
                  </a:cubicBezTo>
                  <a:cubicBezTo>
                    <a:pt x="316" y="1068"/>
                    <a:pt x="319" y="1066"/>
                    <a:pt x="322" y="1065"/>
                  </a:cubicBezTo>
                  <a:cubicBezTo>
                    <a:pt x="325" y="1064"/>
                    <a:pt x="325" y="1065"/>
                    <a:pt x="326" y="1063"/>
                  </a:cubicBezTo>
                  <a:cubicBezTo>
                    <a:pt x="328" y="1061"/>
                    <a:pt x="328" y="1060"/>
                    <a:pt x="330" y="1058"/>
                  </a:cubicBezTo>
                  <a:cubicBezTo>
                    <a:pt x="331" y="1057"/>
                    <a:pt x="332" y="1056"/>
                    <a:pt x="333" y="1056"/>
                  </a:cubicBezTo>
                  <a:cubicBezTo>
                    <a:pt x="334" y="1054"/>
                    <a:pt x="334" y="1055"/>
                    <a:pt x="336" y="1054"/>
                  </a:cubicBezTo>
                  <a:cubicBezTo>
                    <a:pt x="341" y="1052"/>
                    <a:pt x="351" y="1050"/>
                    <a:pt x="353" y="1044"/>
                  </a:cubicBezTo>
                  <a:cubicBezTo>
                    <a:pt x="348" y="1044"/>
                    <a:pt x="345" y="1037"/>
                    <a:pt x="348" y="1033"/>
                  </a:cubicBezTo>
                  <a:cubicBezTo>
                    <a:pt x="343" y="1032"/>
                    <a:pt x="339" y="1035"/>
                    <a:pt x="334" y="1035"/>
                  </a:cubicBezTo>
                  <a:cubicBezTo>
                    <a:pt x="332" y="1030"/>
                    <a:pt x="338" y="1028"/>
                    <a:pt x="343" y="1026"/>
                  </a:cubicBezTo>
                  <a:cubicBezTo>
                    <a:pt x="346" y="1025"/>
                    <a:pt x="350" y="1024"/>
                    <a:pt x="353" y="1023"/>
                  </a:cubicBezTo>
                  <a:cubicBezTo>
                    <a:pt x="355" y="1022"/>
                    <a:pt x="357" y="1020"/>
                    <a:pt x="359" y="1020"/>
                  </a:cubicBezTo>
                  <a:cubicBezTo>
                    <a:pt x="361" y="1020"/>
                    <a:pt x="363" y="1022"/>
                    <a:pt x="361" y="1025"/>
                  </a:cubicBezTo>
                  <a:cubicBezTo>
                    <a:pt x="360" y="1026"/>
                    <a:pt x="355" y="1027"/>
                    <a:pt x="354" y="1029"/>
                  </a:cubicBezTo>
                  <a:cubicBezTo>
                    <a:pt x="352" y="1030"/>
                    <a:pt x="350" y="1033"/>
                    <a:pt x="353" y="1035"/>
                  </a:cubicBezTo>
                  <a:cubicBezTo>
                    <a:pt x="355" y="1037"/>
                    <a:pt x="360" y="1033"/>
                    <a:pt x="361" y="1037"/>
                  </a:cubicBezTo>
                  <a:cubicBezTo>
                    <a:pt x="362" y="1038"/>
                    <a:pt x="361" y="1039"/>
                    <a:pt x="361" y="1040"/>
                  </a:cubicBezTo>
                  <a:cubicBezTo>
                    <a:pt x="362" y="1042"/>
                    <a:pt x="362" y="1041"/>
                    <a:pt x="364" y="1042"/>
                  </a:cubicBezTo>
                  <a:cubicBezTo>
                    <a:pt x="367" y="1044"/>
                    <a:pt x="368" y="1046"/>
                    <a:pt x="368" y="1050"/>
                  </a:cubicBezTo>
                  <a:cubicBezTo>
                    <a:pt x="362" y="1050"/>
                    <a:pt x="356" y="1049"/>
                    <a:pt x="351" y="1050"/>
                  </a:cubicBezTo>
                  <a:cubicBezTo>
                    <a:pt x="350" y="1054"/>
                    <a:pt x="348" y="1058"/>
                    <a:pt x="345" y="1061"/>
                  </a:cubicBezTo>
                  <a:cubicBezTo>
                    <a:pt x="341" y="1066"/>
                    <a:pt x="335" y="1064"/>
                    <a:pt x="330" y="1068"/>
                  </a:cubicBezTo>
                  <a:cubicBezTo>
                    <a:pt x="327" y="1071"/>
                    <a:pt x="326" y="1077"/>
                    <a:pt x="327" y="1080"/>
                  </a:cubicBezTo>
                  <a:cubicBezTo>
                    <a:pt x="328" y="1082"/>
                    <a:pt x="332" y="1089"/>
                    <a:pt x="331" y="1091"/>
                  </a:cubicBezTo>
                  <a:cubicBezTo>
                    <a:pt x="329" y="1095"/>
                    <a:pt x="325" y="1088"/>
                    <a:pt x="324" y="1087"/>
                  </a:cubicBezTo>
                  <a:cubicBezTo>
                    <a:pt x="321" y="1086"/>
                    <a:pt x="320" y="1087"/>
                    <a:pt x="317" y="1086"/>
                  </a:cubicBezTo>
                  <a:cubicBezTo>
                    <a:pt x="314" y="1085"/>
                    <a:pt x="310" y="1081"/>
                    <a:pt x="307" y="1083"/>
                  </a:cubicBezTo>
                  <a:cubicBezTo>
                    <a:pt x="304" y="1085"/>
                    <a:pt x="306" y="1087"/>
                    <a:pt x="302" y="1088"/>
                  </a:cubicBezTo>
                  <a:cubicBezTo>
                    <a:pt x="300" y="1089"/>
                    <a:pt x="296" y="1088"/>
                    <a:pt x="294" y="1090"/>
                  </a:cubicBezTo>
                  <a:cubicBezTo>
                    <a:pt x="293" y="1092"/>
                    <a:pt x="295" y="1094"/>
                    <a:pt x="293" y="1096"/>
                  </a:cubicBezTo>
                  <a:cubicBezTo>
                    <a:pt x="292" y="1098"/>
                    <a:pt x="286" y="1100"/>
                    <a:pt x="289" y="1103"/>
                  </a:cubicBezTo>
                  <a:cubicBezTo>
                    <a:pt x="291" y="1104"/>
                    <a:pt x="295" y="1103"/>
                    <a:pt x="297" y="1103"/>
                  </a:cubicBezTo>
                  <a:cubicBezTo>
                    <a:pt x="296" y="1105"/>
                    <a:pt x="289" y="1106"/>
                    <a:pt x="287" y="1105"/>
                  </a:cubicBezTo>
                  <a:cubicBezTo>
                    <a:pt x="285" y="1104"/>
                    <a:pt x="285" y="1103"/>
                    <a:pt x="285" y="1101"/>
                  </a:cubicBezTo>
                  <a:cubicBezTo>
                    <a:pt x="285" y="1100"/>
                    <a:pt x="286" y="1097"/>
                    <a:pt x="286" y="1097"/>
                  </a:cubicBezTo>
                  <a:cubicBezTo>
                    <a:pt x="286" y="1095"/>
                    <a:pt x="282" y="1094"/>
                    <a:pt x="281" y="1092"/>
                  </a:cubicBezTo>
                  <a:cubicBezTo>
                    <a:pt x="279" y="1090"/>
                    <a:pt x="278" y="1085"/>
                    <a:pt x="277" y="1082"/>
                  </a:cubicBezTo>
                  <a:cubicBezTo>
                    <a:pt x="277" y="1080"/>
                    <a:pt x="278" y="1077"/>
                    <a:pt x="277" y="1075"/>
                  </a:cubicBezTo>
                  <a:cubicBezTo>
                    <a:pt x="277" y="1073"/>
                    <a:pt x="274" y="1072"/>
                    <a:pt x="274" y="1070"/>
                  </a:cubicBezTo>
                  <a:cubicBezTo>
                    <a:pt x="269" y="1069"/>
                    <a:pt x="268" y="1075"/>
                    <a:pt x="265" y="1076"/>
                  </a:cubicBezTo>
                  <a:cubicBezTo>
                    <a:pt x="263" y="1074"/>
                    <a:pt x="259" y="1073"/>
                    <a:pt x="257" y="1075"/>
                  </a:cubicBezTo>
                  <a:cubicBezTo>
                    <a:pt x="255" y="1076"/>
                    <a:pt x="255" y="1079"/>
                    <a:pt x="253" y="1081"/>
                  </a:cubicBezTo>
                  <a:cubicBezTo>
                    <a:pt x="251" y="1082"/>
                    <a:pt x="240" y="1081"/>
                    <a:pt x="242" y="1087"/>
                  </a:cubicBezTo>
                  <a:cubicBezTo>
                    <a:pt x="246" y="1088"/>
                    <a:pt x="249" y="1087"/>
                    <a:pt x="252" y="1088"/>
                  </a:cubicBezTo>
                  <a:cubicBezTo>
                    <a:pt x="253" y="1089"/>
                    <a:pt x="254" y="1090"/>
                    <a:pt x="254" y="1091"/>
                  </a:cubicBezTo>
                  <a:cubicBezTo>
                    <a:pt x="256" y="1091"/>
                    <a:pt x="257" y="1090"/>
                    <a:pt x="258" y="1092"/>
                  </a:cubicBezTo>
                  <a:cubicBezTo>
                    <a:pt x="255" y="1093"/>
                    <a:pt x="244" y="1094"/>
                    <a:pt x="247" y="1099"/>
                  </a:cubicBezTo>
                  <a:cubicBezTo>
                    <a:pt x="249" y="1104"/>
                    <a:pt x="260" y="1101"/>
                    <a:pt x="264" y="1101"/>
                  </a:cubicBezTo>
                  <a:cubicBezTo>
                    <a:pt x="264" y="1104"/>
                    <a:pt x="260" y="1103"/>
                    <a:pt x="258" y="1104"/>
                  </a:cubicBezTo>
                  <a:cubicBezTo>
                    <a:pt x="255" y="1105"/>
                    <a:pt x="254" y="1108"/>
                    <a:pt x="252" y="1110"/>
                  </a:cubicBezTo>
                  <a:cubicBezTo>
                    <a:pt x="247" y="1112"/>
                    <a:pt x="248" y="1104"/>
                    <a:pt x="245" y="1103"/>
                  </a:cubicBezTo>
                  <a:cubicBezTo>
                    <a:pt x="243" y="1103"/>
                    <a:pt x="240" y="1105"/>
                    <a:pt x="239" y="1105"/>
                  </a:cubicBezTo>
                  <a:cubicBezTo>
                    <a:pt x="238" y="1102"/>
                    <a:pt x="240" y="1097"/>
                    <a:pt x="239" y="1095"/>
                  </a:cubicBezTo>
                  <a:cubicBezTo>
                    <a:pt x="238" y="1093"/>
                    <a:pt x="234" y="1090"/>
                    <a:pt x="232" y="1090"/>
                  </a:cubicBezTo>
                  <a:cubicBezTo>
                    <a:pt x="226" y="1088"/>
                    <a:pt x="224" y="1093"/>
                    <a:pt x="219" y="1094"/>
                  </a:cubicBezTo>
                  <a:cubicBezTo>
                    <a:pt x="216" y="1094"/>
                    <a:pt x="214" y="1093"/>
                    <a:pt x="212" y="1094"/>
                  </a:cubicBezTo>
                  <a:cubicBezTo>
                    <a:pt x="210" y="1094"/>
                    <a:pt x="208" y="1095"/>
                    <a:pt x="206" y="1097"/>
                  </a:cubicBezTo>
                  <a:cubicBezTo>
                    <a:pt x="205" y="1098"/>
                    <a:pt x="205" y="1099"/>
                    <a:pt x="204" y="1100"/>
                  </a:cubicBezTo>
                  <a:cubicBezTo>
                    <a:pt x="203" y="1102"/>
                    <a:pt x="203" y="1101"/>
                    <a:pt x="202" y="1102"/>
                  </a:cubicBezTo>
                  <a:cubicBezTo>
                    <a:pt x="200" y="1103"/>
                    <a:pt x="199" y="1106"/>
                    <a:pt x="197" y="1107"/>
                  </a:cubicBezTo>
                  <a:cubicBezTo>
                    <a:pt x="200" y="1108"/>
                    <a:pt x="205" y="1110"/>
                    <a:pt x="200" y="1112"/>
                  </a:cubicBezTo>
                  <a:cubicBezTo>
                    <a:pt x="198" y="1113"/>
                    <a:pt x="195" y="1112"/>
                    <a:pt x="193" y="1113"/>
                  </a:cubicBezTo>
                  <a:cubicBezTo>
                    <a:pt x="192" y="1113"/>
                    <a:pt x="192" y="1115"/>
                    <a:pt x="190" y="1116"/>
                  </a:cubicBezTo>
                  <a:cubicBezTo>
                    <a:pt x="189" y="1117"/>
                    <a:pt x="188" y="1117"/>
                    <a:pt x="187" y="1117"/>
                  </a:cubicBezTo>
                  <a:cubicBezTo>
                    <a:pt x="184" y="1118"/>
                    <a:pt x="182" y="1120"/>
                    <a:pt x="179" y="1121"/>
                  </a:cubicBezTo>
                  <a:cubicBezTo>
                    <a:pt x="176" y="1122"/>
                    <a:pt x="170" y="1122"/>
                    <a:pt x="172" y="1127"/>
                  </a:cubicBezTo>
                  <a:cubicBezTo>
                    <a:pt x="176" y="1127"/>
                    <a:pt x="179" y="1124"/>
                    <a:pt x="183" y="1124"/>
                  </a:cubicBezTo>
                  <a:cubicBezTo>
                    <a:pt x="186" y="1124"/>
                    <a:pt x="185" y="1127"/>
                    <a:pt x="187" y="1128"/>
                  </a:cubicBezTo>
                  <a:cubicBezTo>
                    <a:pt x="190" y="1129"/>
                    <a:pt x="191" y="1126"/>
                    <a:pt x="193" y="1128"/>
                  </a:cubicBezTo>
                  <a:cubicBezTo>
                    <a:pt x="195" y="1129"/>
                    <a:pt x="186" y="1129"/>
                    <a:pt x="188" y="1133"/>
                  </a:cubicBezTo>
                  <a:cubicBezTo>
                    <a:pt x="188" y="1134"/>
                    <a:pt x="190" y="1136"/>
                    <a:pt x="191" y="1136"/>
                  </a:cubicBezTo>
                  <a:cubicBezTo>
                    <a:pt x="193" y="1138"/>
                    <a:pt x="194" y="1141"/>
                    <a:pt x="196" y="1143"/>
                  </a:cubicBezTo>
                  <a:cubicBezTo>
                    <a:pt x="200" y="1147"/>
                    <a:pt x="201" y="1146"/>
                    <a:pt x="205" y="1147"/>
                  </a:cubicBezTo>
                  <a:cubicBezTo>
                    <a:pt x="212" y="1148"/>
                    <a:pt x="205" y="1149"/>
                    <a:pt x="203" y="1151"/>
                  </a:cubicBezTo>
                  <a:cubicBezTo>
                    <a:pt x="203" y="1152"/>
                    <a:pt x="202" y="1154"/>
                    <a:pt x="203" y="1155"/>
                  </a:cubicBezTo>
                  <a:cubicBezTo>
                    <a:pt x="203" y="1157"/>
                    <a:pt x="205" y="1156"/>
                    <a:pt x="207" y="1157"/>
                  </a:cubicBezTo>
                  <a:cubicBezTo>
                    <a:pt x="211" y="1159"/>
                    <a:pt x="211" y="1162"/>
                    <a:pt x="212" y="1165"/>
                  </a:cubicBezTo>
                  <a:cubicBezTo>
                    <a:pt x="209" y="1164"/>
                    <a:pt x="205" y="1164"/>
                    <a:pt x="202" y="1163"/>
                  </a:cubicBezTo>
                  <a:cubicBezTo>
                    <a:pt x="202" y="1161"/>
                    <a:pt x="200" y="1162"/>
                    <a:pt x="198" y="1161"/>
                  </a:cubicBezTo>
                  <a:cubicBezTo>
                    <a:pt x="198" y="1160"/>
                    <a:pt x="198" y="1160"/>
                    <a:pt x="198" y="1159"/>
                  </a:cubicBezTo>
                  <a:cubicBezTo>
                    <a:pt x="196" y="1158"/>
                    <a:pt x="195" y="1159"/>
                    <a:pt x="194" y="1157"/>
                  </a:cubicBezTo>
                  <a:cubicBezTo>
                    <a:pt x="192" y="1154"/>
                    <a:pt x="195" y="1153"/>
                    <a:pt x="191" y="1150"/>
                  </a:cubicBezTo>
                  <a:cubicBezTo>
                    <a:pt x="187" y="1148"/>
                    <a:pt x="186" y="1148"/>
                    <a:pt x="186" y="1143"/>
                  </a:cubicBezTo>
                  <a:cubicBezTo>
                    <a:pt x="186" y="1142"/>
                    <a:pt x="186" y="1140"/>
                    <a:pt x="185" y="1138"/>
                  </a:cubicBezTo>
                  <a:cubicBezTo>
                    <a:pt x="185" y="1138"/>
                    <a:pt x="184" y="1138"/>
                    <a:pt x="184" y="1137"/>
                  </a:cubicBezTo>
                  <a:cubicBezTo>
                    <a:pt x="183" y="1137"/>
                    <a:pt x="183" y="1135"/>
                    <a:pt x="183" y="1134"/>
                  </a:cubicBezTo>
                  <a:cubicBezTo>
                    <a:pt x="182" y="1133"/>
                    <a:pt x="180" y="1132"/>
                    <a:pt x="178" y="1132"/>
                  </a:cubicBezTo>
                  <a:cubicBezTo>
                    <a:pt x="175" y="1133"/>
                    <a:pt x="176" y="1133"/>
                    <a:pt x="174" y="1135"/>
                  </a:cubicBezTo>
                  <a:cubicBezTo>
                    <a:pt x="174" y="1136"/>
                    <a:pt x="174" y="1136"/>
                    <a:pt x="174" y="1137"/>
                  </a:cubicBezTo>
                  <a:cubicBezTo>
                    <a:pt x="174" y="1138"/>
                    <a:pt x="174" y="1138"/>
                    <a:pt x="173" y="1139"/>
                  </a:cubicBezTo>
                  <a:cubicBezTo>
                    <a:pt x="173" y="1139"/>
                    <a:pt x="171" y="1141"/>
                    <a:pt x="170" y="1142"/>
                  </a:cubicBezTo>
                  <a:cubicBezTo>
                    <a:pt x="168" y="1144"/>
                    <a:pt x="167" y="1148"/>
                    <a:pt x="165" y="1150"/>
                  </a:cubicBezTo>
                  <a:cubicBezTo>
                    <a:pt x="164" y="1150"/>
                    <a:pt x="160" y="1150"/>
                    <a:pt x="159" y="1150"/>
                  </a:cubicBezTo>
                  <a:cubicBezTo>
                    <a:pt x="157" y="1151"/>
                    <a:pt x="156" y="1152"/>
                    <a:pt x="154" y="1151"/>
                  </a:cubicBezTo>
                  <a:cubicBezTo>
                    <a:pt x="152" y="1146"/>
                    <a:pt x="176" y="1136"/>
                    <a:pt x="167" y="1131"/>
                  </a:cubicBezTo>
                  <a:cubicBezTo>
                    <a:pt x="165" y="1130"/>
                    <a:pt x="162" y="1130"/>
                    <a:pt x="160" y="1130"/>
                  </a:cubicBezTo>
                  <a:cubicBezTo>
                    <a:pt x="156" y="1130"/>
                    <a:pt x="154" y="1130"/>
                    <a:pt x="152" y="1133"/>
                  </a:cubicBezTo>
                  <a:cubicBezTo>
                    <a:pt x="151" y="1134"/>
                    <a:pt x="152" y="1134"/>
                    <a:pt x="150" y="1136"/>
                  </a:cubicBezTo>
                  <a:cubicBezTo>
                    <a:pt x="148" y="1137"/>
                    <a:pt x="146" y="1136"/>
                    <a:pt x="144" y="1137"/>
                  </a:cubicBezTo>
                  <a:cubicBezTo>
                    <a:pt x="142" y="1139"/>
                    <a:pt x="141" y="1142"/>
                    <a:pt x="140" y="1144"/>
                  </a:cubicBezTo>
                  <a:cubicBezTo>
                    <a:pt x="138" y="1145"/>
                    <a:pt x="136" y="1144"/>
                    <a:pt x="134" y="1145"/>
                  </a:cubicBezTo>
                  <a:cubicBezTo>
                    <a:pt x="132" y="1145"/>
                    <a:pt x="129" y="1147"/>
                    <a:pt x="128" y="1148"/>
                  </a:cubicBezTo>
                  <a:cubicBezTo>
                    <a:pt x="125" y="1150"/>
                    <a:pt x="123" y="1154"/>
                    <a:pt x="122" y="1158"/>
                  </a:cubicBezTo>
                  <a:cubicBezTo>
                    <a:pt x="122" y="1163"/>
                    <a:pt x="126" y="1166"/>
                    <a:pt x="130" y="1167"/>
                  </a:cubicBezTo>
                  <a:cubicBezTo>
                    <a:pt x="132" y="1167"/>
                    <a:pt x="135" y="1165"/>
                    <a:pt x="136" y="1167"/>
                  </a:cubicBezTo>
                  <a:cubicBezTo>
                    <a:pt x="137" y="1170"/>
                    <a:pt x="126" y="1170"/>
                    <a:pt x="125" y="1170"/>
                  </a:cubicBezTo>
                  <a:cubicBezTo>
                    <a:pt x="124" y="1173"/>
                    <a:pt x="125" y="1174"/>
                    <a:pt x="126" y="1176"/>
                  </a:cubicBezTo>
                  <a:cubicBezTo>
                    <a:pt x="127" y="1180"/>
                    <a:pt x="127" y="1180"/>
                    <a:pt x="131" y="1180"/>
                  </a:cubicBezTo>
                  <a:cubicBezTo>
                    <a:pt x="135" y="1180"/>
                    <a:pt x="137" y="1179"/>
                    <a:pt x="140" y="1179"/>
                  </a:cubicBezTo>
                  <a:cubicBezTo>
                    <a:pt x="143" y="1179"/>
                    <a:pt x="144" y="1181"/>
                    <a:pt x="147" y="1182"/>
                  </a:cubicBezTo>
                  <a:cubicBezTo>
                    <a:pt x="153" y="1183"/>
                    <a:pt x="155" y="1177"/>
                    <a:pt x="160" y="1175"/>
                  </a:cubicBezTo>
                  <a:cubicBezTo>
                    <a:pt x="162" y="1174"/>
                    <a:pt x="165" y="1175"/>
                    <a:pt x="168" y="1174"/>
                  </a:cubicBezTo>
                  <a:cubicBezTo>
                    <a:pt x="170" y="1173"/>
                    <a:pt x="174" y="1172"/>
                    <a:pt x="177" y="1172"/>
                  </a:cubicBezTo>
                  <a:cubicBezTo>
                    <a:pt x="178" y="1177"/>
                    <a:pt x="171" y="1176"/>
                    <a:pt x="169" y="1176"/>
                  </a:cubicBezTo>
                  <a:cubicBezTo>
                    <a:pt x="165" y="1176"/>
                    <a:pt x="161" y="1178"/>
                    <a:pt x="159" y="1179"/>
                  </a:cubicBezTo>
                  <a:cubicBezTo>
                    <a:pt x="153" y="1183"/>
                    <a:pt x="146" y="1183"/>
                    <a:pt x="147" y="1191"/>
                  </a:cubicBezTo>
                  <a:cubicBezTo>
                    <a:pt x="151" y="1192"/>
                    <a:pt x="156" y="1194"/>
                    <a:pt x="155" y="1198"/>
                  </a:cubicBezTo>
                  <a:cubicBezTo>
                    <a:pt x="151" y="1200"/>
                    <a:pt x="148" y="1196"/>
                    <a:pt x="145" y="1194"/>
                  </a:cubicBezTo>
                  <a:cubicBezTo>
                    <a:pt x="144" y="1193"/>
                    <a:pt x="142" y="1192"/>
                    <a:pt x="141" y="1191"/>
                  </a:cubicBezTo>
                  <a:cubicBezTo>
                    <a:pt x="138" y="1191"/>
                    <a:pt x="138" y="1191"/>
                    <a:pt x="136" y="1192"/>
                  </a:cubicBezTo>
                  <a:cubicBezTo>
                    <a:pt x="133" y="1193"/>
                    <a:pt x="130" y="1191"/>
                    <a:pt x="128" y="1191"/>
                  </a:cubicBezTo>
                  <a:cubicBezTo>
                    <a:pt x="126" y="1190"/>
                    <a:pt x="125" y="1189"/>
                    <a:pt x="123" y="1187"/>
                  </a:cubicBezTo>
                  <a:cubicBezTo>
                    <a:pt x="122" y="1187"/>
                    <a:pt x="123" y="1185"/>
                    <a:pt x="121" y="1186"/>
                  </a:cubicBezTo>
                  <a:cubicBezTo>
                    <a:pt x="120" y="1186"/>
                    <a:pt x="121" y="1188"/>
                    <a:pt x="120" y="1188"/>
                  </a:cubicBezTo>
                  <a:cubicBezTo>
                    <a:pt x="118" y="1189"/>
                    <a:pt x="117" y="1188"/>
                    <a:pt x="115" y="1187"/>
                  </a:cubicBezTo>
                  <a:cubicBezTo>
                    <a:pt x="112" y="1187"/>
                    <a:pt x="112" y="1188"/>
                    <a:pt x="110" y="1189"/>
                  </a:cubicBezTo>
                  <a:cubicBezTo>
                    <a:pt x="108" y="1190"/>
                    <a:pt x="106" y="1189"/>
                    <a:pt x="104" y="1189"/>
                  </a:cubicBezTo>
                  <a:cubicBezTo>
                    <a:pt x="102" y="1189"/>
                    <a:pt x="99" y="1189"/>
                    <a:pt x="97" y="1189"/>
                  </a:cubicBezTo>
                  <a:cubicBezTo>
                    <a:pt x="95" y="1189"/>
                    <a:pt x="93" y="1191"/>
                    <a:pt x="92" y="1191"/>
                  </a:cubicBezTo>
                  <a:cubicBezTo>
                    <a:pt x="88" y="1192"/>
                    <a:pt x="83" y="1191"/>
                    <a:pt x="83" y="1196"/>
                  </a:cubicBezTo>
                  <a:cubicBezTo>
                    <a:pt x="84" y="1201"/>
                    <a:pt x="87" y="1199"/>
                    <a:pt x="89" y="1200"/>
                  </a:cubicBezTo>
                  <a:cubicBezTo>
                    <a:pt x="91" y="1200"/>
                    <a:pt x="92" y="1201"/>
                    <a:pt x="94" y="1202"/>
                  </a:cubicBezTo>
                  <a:cubicBezTo>
                    <a:pt x="90" y="1203"/>
                    <a:pt x="82" y="1201"/>
                    <a:pt x="79" y="1205"/>
                  </a:cubicBezTo>
                  <a:cubicBezTo>
                    <a:pt x="78" y="1206"/>
                    <a:pt x="79" y="1207"/>
                    <a:pt x="79" y="1208"/>
                  </a:cubicBezTo>
                  <a:cubicBezTo>
                    <a:pt x="78" y="1209"/>
                    <a:pt x="78" y="1209"/>
                    <a:pt x="77" y="1210"/>
                  </a:cubicBezTo>
                  <a:cubicBezTo>
                    <a:pt x="76" y="1211"/>
                    <a:pt x="75" y="1210"/>
                    <a:pt x="74" y="1211"/>
                  </a:cubicBezTo>
                  <a:cubicBezTo>
                    <a:pt x="74" y="1212"/>
                    <a:pt x="74" y="1214"/>
                    <a:pt x="74" y="1214"/>
                  </a:cubicBezTo>
                  <a:cubicBezTo>
                    <a:pt x="77" y="1215"/>
                    <a:pt x="77" y="1217"/>
                    <a:pt x="80" y="1218"/>
                  </a:cubicBezTo>
                  <a:cubicBezTo>
                    <a:pt x="82" y="1218"/>
                    <a:pt x="83" y="1217"/>
                    <a:pt x="85" y="1217"/>
                  </a:cubicBezTo>
                  <a:cubicBezTo>
                    <a:pt x="87" y="1216"/>
                    <a:pt x="90" y="1216"/>
                    <a:pt x="91" y="1216"/>
                  </a:cubicBezTo>
                  <a:cubicBezTo>
                    <a:pt x="94" y="1215"/>
                    <a:pt x="95" y="1211"/>
                    <a:pt x="97" y="1208"/>
                  </a:cubicBezTo>
                  <a:cubicBezTo>
                    <a:pt x="99" y="1206"/>
                    <a:pt x="101" y="1206"/>
                    <a:pt x="103" y="1206"/>
                  </a:cubicBezTo>
                  <a:cubicBezTo>
                    <a:pt x="110" y="1206"/>
                    <a:pt x="113" y="1206"/>
                    <a:pt x="118" y="1211"/>
                  </a:cubicBezTo>
                  <a:cubicBezTo>
                    <a:pt x="120" y="1213"/>
                    <a:pt x="124" y="1214"/>
                    <a:pt x="126" y="1217"/>
                  </a:cubicBezTo>
                  <a:cubicBezTo>
                    <a:pt x="127" y="1219"/>
                    <a:pt x="126" y="1222"/>
                    <a:pt x="126" y="1224"/>
                  </a:cubicBezTo>
                  <a:cubicBezTo>
                    <a:pt x="128" y="1225"/>
                    <a:pt x="131" y="1224"/>
                    <a:pt x="133" y="1225"/>
                  </a:cubicBezTo>
                  <a:cubicBezTo>
                    <a:pt x="133" y="1225"/>
                    <a:pt x="133" y="1226"/>
                    <a:pt x="133" y="1227"/>
                  </a:cubicBezTo>
                  <a:cubicBezTo>
                    <a:pt x="129" y="1228"/>
                    <a:pt x="127" y="1227"/>
                    <a:pt x="125" y="1225"/>
                  </a:cubicBezTo>
                  <a:cubicBezTo>
                    <a:pt x="125" y="1224"/>
                    <a:pt x="125" y="1224"/>
                    <a:pt x="124" y="1223"/>
                  </a:cubicBezTo>
                  <a:cubicBezTo>
                    <a:pt x="124" y="1223"/>
                    <a:pt x="123" y="1223"/>
                    <a:pt x="123" y="1222"/>
                  </a:cubicBezTo>
                  <a:cubicBezTo>
                    <a:pt x="122" y="1222"/>
                    <a:pt x="122" y="1222"/>
                    <a:pt x="121" y="1222"/>
                  </a:cubicBezTo>
                  <a:cubicBezTo>
                    <a:pt x="120" y="1221"/>
                    <a:pt x="121" y="1219"/>
                    <a:pt x="120" y="1219"/>
                  </a:cubicBezTo>
                  <a:cubicBezTo>
                    <a:pt x="118" y="1217"/>
                    <a:pt x="115" y="1217"/>
                    <a:pt x="113" y="1216"/>
                  </a:cubicBezTo>
                  <a:cubicBezTo>
                    <a:pt x="109" y="1214"/>
                    <a:pt x="108" y="1214"/>
                    <a:pt x="104" y="1215"/>
                  </a:cubicBezTo>
                  <a:cubicBezTo>
                    <a:pt x="102" y="1216"/>
                    <a:pt x="97" y="1215"/>
                    <a:pt x="96" y="1217"/>
                  </a:cubicBezTo>
                  <a:cubicBezTo>
                    <a:pt x="94" y="1220"/>
                    <a:pt x="95" y="1222"/>
                    <a:pt x="96" y="1224"/>
                  </a:cubicBezTo>
                  <a:cubicBezTo>
                    <a:pt x="97" y="1227"/>
                    <a:pt x="97" y="1230"/>
                    <a:pt x="98" y="1233"/>
                  </a:cubicBezTo>
                  <a:cubicBezTo>
                    <a:pt x="98" y="1236"/>
                    <a:pt x="99" y="1239"/>
                    <a:pt x="100" y="1241"/>
                  </a:cubicBezTo>
                  <a:cubicBezTo>
                    <a:pt x="101" y="1243"/>
                    <a:pt x="102" y="1243"/>
                    <a:pt x="101" y="1245"/>
                  </a:cubicBezTo>
                  <a:cubicBezTo>
                    <a:pt x="99" y="1245"/>
                    <a:pt x="99" y="1242"/>
                    <a:pt x="97" y="1240"/>
                  </a:cubicBezTo>
                  <a:cubicBezTo>
                    <a:pt x="96" y="1238"/>
                    <a:pt x="93" y="1236"/>
                    <a:pt x="92" y="1233"/>
                  </a:cubicBezTo>
                  <a:cubicBezTo>
                    <a:pt x="91" y="1230"/>
                    <a:pt x="89" y="1221"/>
                    <a:pt x="84" y="1221"/>
                  </a:cubicBezTo>
                  <a:cubicBezTo>
                    <a:pt x="80" y="1221"/>
                    <a:pt x="78" y="1228"/>
                    <a:pt x="75" y="1230"/>
                  </a:cubicBezTo>
                  <a:cubicBezTo>
                    <a:pt x="74" y="1231"/>
                    <a:pt x="71" y="1230"/>
                    <a:pt x="70" y="1231"/>
                  </a:cubicBezTo>
                  <a:cubicBezTo>
                    <a:pt x="69" y="1232"/>
                    <a:pt x="68" y="1235"/>
                    <a:pt x="67" y="1237"/>
                  </a:cubicBezTo>
                  <a:cubicBezTo>
                    <a:pt x="64" y="1235"/>
                    <a:pt x="63" y="1232"/>
                    <a:pt x="64" y="1229"/>
                  </a:cubicBezTo>
                  <a:cubicBezTo>
                    <a:pt x="69" y="1227"/>
                    <a:pt x="77" y="1222"/>
                    <a:pt x="70" y="1216"/>
                  </a:cubicBezTo>
                  <a:cubicBezTo>
                    <a:pt x="67" y="1214"/>
                    <a:pt x="63" y="1212"/>
                    <a:pt x="61" y="1215"/>
                  </a:cubicBezTo>
                  <a:cubicBezTo>
                    <a:pt x="59" y="1218"/>
                    <a:pt x="62" y="1228"/>
                    <a:pt x="58" y="1229"/>
                  </a:cubicBezTo>
                  <a:cubicBezTo>
                    <a:pt x="56" y="1229"/>
                    <a:pt x="55" y="1227"/>
                    <a:pt x="54" y="1226"/>
                  </a:cubicBezTo>
                  <a:cubicBezTo>
                    <a:pt x="53" y="1225"/>
                    <a:pt x="51" y="1225"/>
                    <a:pt x="50" y="1225"/>
                  </a:cubicBezTo>
                  <a:cubicBezTo>
                    <a:pt x="47" y="1226"/>
                    <a:pt x="44" y="1228"/>
                    <a:pt x="43" y="1231"/>
                  </a:cubicBezTo>
                  <a:cubicBezTo>
                    <a:pt x="41" y="1239"/>
                    <a:pt x="52" y="1238"/>
                    <a:pt x="57" y="1237"/>
                  </a:cubicBezTo>
                  <a:cubicBezTo>
                    <a:pt x="57" y="1237"/>
                    <a:pt x="57" y="1236"/>
                    <a:pt x="57" y="1236"/>
                  </a:cubicBezTo>
                  <a:cubicBezTo>
                    <a:pt x="59" y="1236"/>
                    <a:pt x="59" y="1238"/>
                    <a:pt x="59" y="1240"/>
                  </a:cubicBezTo>
                  <a:cubicBezTo>
                    <a:pt x="62" y="1240"/>
                    <a:pt x="63" y="1241"/>
                    <a:pt x="65" y="1242"/>
                  </a:cubicBezTo>
                  <a:cubicBezTo>
                    <a:pt x="68" y="1244"/>
                    <a:pt x="68" y="1244"/>
                    <a:pt x="68" y="1248"/>
                  </a:cubicBezTo>
                  <a:cubicBezTo>
                    <a:pt x="69" y="1253"/>
                    <a:pt x="70" y="1259"/>
                    <a:pt x="63" y="1258"/>
                  </a:cubicBezTo>
                  <a:cubicBezTo>
                    <a:pt x="63" y="1257"/>
                    <a:pt x="63" y="1256"/>
                    <a:pt x="62" y="1256"/>
                  </a:cubicBezTo>
                  <a:cubicBezTo>
                    <a:pt x="62" y="1255"/>
                    <a:pt x="61" y="1255"/>
                    <a:pt x="61" y="1254"/>
                  </a:cubicBezTo>
                  <a:cubicBezTo>
                    <a:pt x="61" y="1254"/>
                    <a:pt x="61" y="1253"/>
                    <a:pt x="61" y="1253"/>
                  </a:cubicBezTo>
                  <a:cubicBezTo>
                    <a:pt x="59" y="1250"/>
                    <a:pt x="56" y="1247"/>
                    <a:pt x="53" y="1247"/>
                  </a:cubicBezTo>
                  <a:cubicBezTo>
                    <a:pt x="50" y="1246"/>
                    <a:pt x="48" y="1248"/>
                    <a:pt x="46" y="1246"/>
                  </a:cubicBezTo>
                  <a:cubicBezTo>
                    <a:pt x="45" y="1245"/>
                    <a:pt x="46" y="1244"/>
                    <a:pt x="45" y="1243"/>
                  </a:cubicBezTo>
                  <a:cubicBezTo>
                    <a:pt x="44" y="1242"/>
                    <a:pt x="41" y="1242"/>
                    <a:pt x="40" y="1242"/>
                  </a:cubicBezTo>
                  <a:cubicBezTo>
                    <a:pt x="40" y="1244"/>
                    <a:pt x="40" y="1246"/>
                    <a:pt x="40" y="1248"/>
                  </a:cubicBezTo>
                  <a:cubicBezTo>
                    <a:pt x="44" y="1248"/>
                    <a:pt x="45" y="1260"/>
                    <a:pt x="39" y="1256"/>
                  </a:cubicBezTo>
                  <a:cubicBezTo>
                    <a:pt x="33" y="1252"/>
                    <a:pt x="35" y="1247"/>
                    <a:pt x="34" y="1241"/>
                  </a:cubicBezTo>
                  <a:cubicBezTo>
                    <a:pt x="33" y="1237"/>
                    <a:pt x="31" y="1235"/>
                    <a:pt x="27" y="1236"/>
                  </a:cubicBezTo>
                  <a:cubicBezTo>
                    <a:pt x="23" y="1237"/>
                    <a:pt x="24" y="1240"/>
                    <a:pt x="24" y="1243"/>
                  </a:cubicBezTo>
                  <a:cubicBezTo>
                    <a:pt x="24" y="1247"/>
                    <a:pt x="25" y="1248"/>
                    <a:pt x="28" y="1249"/>
                  </a:cubicBezTo>
                  <a:cubicBezTo>
                    <a:pt x="30" y="1250"/>
                    <a:pt x="32" y="1250"/>
                    <a:pt x="33" y="1252"/>
                  </a:cubicBezTo>
                  <a:cubicBezTo>
                    <a:pt x="34" y="1254"/>
                    <a:pt x="34" y="1257"/>
                    <a:pt x="34" y="1259"/>
                  </a:cubicBezTo>
                  <a:cubicBezTo>
                    <a:pt x="35" y="1262"/>
                    <a:pt x="36" y="1265"/>
                    <a:pt x="32" y="1267"/>
                  </a:cubicBezTo>
                  <a:cubicBezTo>
                    <a:pt x="31" y="1267"/>
                    <a:pt x="26" y="1267"/>
                    <a:pt x="25" y="1267"/>
                  </a:cubicBezTo>
                  <a:cubicBezTo>
                    <a:pt x="24" y="1266"/>
                    <a:pt x="24" y="1264"/>
                    <a:pt x="22" y="1264"/>
                  </a:cubicBezTo>
                  <a:cubicBezTo>
                    <a:pt x="22" y="1264"/>
                    <a:pt x="19" y="1264"/>
                    <a:pt x="19" y="1264"/>
                  </a:cubicBezTo>
                  <a:cubicBezTo>
                    <a:pt x="14" y="1267"/>
                    <a:pt x="21" y="1271"/>
                    <a:pt x="24" y="1271"/>
                  </a:cubicBezTo>
                  <a:cubicBezTo>
                    <a:pt x="29" y="1273"/>
                    <a:pt x="36" y="1271"/>
                    <a:pt x="42" y="1271"/>
                  </a:cubicBezTo>
                  <a:cubicBezTo>
                    <a:pt x="47" y="1272"/>
                    <a:pt x="53" y="1272"/>
                    <a:pt x="58" y="1273"/>
                  </a:cubicBezTo>
                  <a:cubicBezTo>
                    <a:pt x="61" y="1273"/>
                    <a:pt x="66" y="1273"/>
                    <a:pt x="66" y="1277"/>
                  </a:cubicBezTo>
                  <a:cubicBezTo>
                    <a:pt x="62" y="1278"/>
                    <a:pt x="57" y="1277"/>
                    <a:pt x="54" y="1277"/>
                  </a:cubicBezTo>
                  <a:cubicBezTo>
                    <a:pt x="52" y="1277"/>
                    <a:pt x="49" y="1277"/>
                    <a:pt x="48" y="1277"/>
                  </a:cubicBezTo>
                  <a:cubicBezTo>
                    <a:pt x="45" y="1276"/>
                    <a:pt x="42" y="1275"/>
                    <a:pt x="39" y="1274"/>
                  </a:cubicBezTo>
                  <a:cubicBezTo>
                    <a:pt x="36" y="1274"/>
                    <a:pt x="34" y="1274"/>
                    <a:pt x="33" y="1277"/>
                  </a:cubicBezTo>
                  <a:cubicBezTo>
                    <a:pt x="31" y="1280"/>
                    <a:pt x="30" y="1283"/>
                    <a:pt x="30" y="1286"/>
                  </a:cubicBezTo>
                  <a:cubicBezTo>
                    <a:pt x="25" y="1287"/>
                    <a:pt x="14" y="1286"/>
                    <a:pt x="18" y="1294"/>
                  </a:cubicBezTo>
                  <a:cubicBezTo>
                    <a:pt x="15" y="1294"/>
                    <a:pt x="15" y="1299"/>
                    <a:pt x="15" y="1302"/>
                  </a:cubicBezTo>
                  <a:cubicBezTo>
                    <a:pt x="17" y="1306"/>
                    <a:pt x="23" y="1304"/>
                    <a:pt x="27" y="1305"/>
                  </a:cubicBezTo>
                  <a:cubicBezTo>
                    <a:pt x="31" y="1307"/>
                    <a:pt x="30" y="1311"/>
                    <a:pt x="35" y="1311"/>
                  </a:cubicBezTo>
                  <a:cubicBezTo>
                    <a:pt x="38" y="1310"/>
                    <a:pt x="38" y="1310"/>
                    <a:pt x="40" y="1309"/>
                  </a:cubicBezTo>
                  <a:cubicBezTo>
                    <a:pt x="43" y="1308"/>
                    <a:pt x="48" y="1309"/>
                    <a:pt x="50" y="1309"/>
                  </a:cubicBezTo>
                  <a:cubicBezTo>
                    <a:pt x="51" y="1311"/>
                    <a:pt x="44" y="1315"/>
                    <a:pt x="42" y="1315"/>
                  </a:cubicBezTo>
                  <a:cubicBezTo>
                    <a:pt x="39" y="1316"/>
                    <a:pt x="35" y="1313"/>
                    <a:pt x="32" y="1312"/>
                  </a:cubicBezTo>
                  <a:cubicBezTo>
                    <a:pt x="30" y="1311"/>
                    <a:pt x="28" y="1311"/>
                    <a:pt x="25" y="1312"/>
                  </a:cubicBezTo>
                  <a:cubicBezTo>
                    <a:pt x="25" y="1313"/>
                    <a:pt x="25" y="1314"/>
                    <a:pt x="25" y="1316"/>
                  </a:cubicBezTo>
                  <a:cubicBezTo>
                    <a:pt x="27" y="1316"/>
                    <a:pt x="30" y="1319"/>
                    <a:pt x="32" y="1320"/>
                  </a:cubicBezTo>
                  <a:cubicBezTo>
                    <a:pt x="34" y="1321"/>
                    <a:pt x="34" y="1321"/>
                    <a:pt x="35" y="1321"/>
                  </a:cubicBezTo>
                  <a:cubicBezTo>
                    <a:pt x="37" y="1322"/>
                    <a:pt x="39" y="1321"/>
                    <a:pt x="41" y="1322"/>
                  </a:cubicBezTo>
                  <a:cubicBezTo>
                    <a:pt x="43" y="1327"/>
                    <a:pt x="31" y="1327"/>
                    <a:pt x="28" y="1329"/>
                  </a:cubicBezTo>
                  <a:cubicBezTo>
                    <a:pt x="24" y="1331"/>
                    <a:pt x="13" y="1332"/>
                    <a:pt x="16" y="1339"/>
                  </a:cubicBezTo>
                  <a:cubicBezTo>
                    <a:pt x="24" y="1340"/>
                    <a:pt x="31" y="1333"/>
                    <a:pt x="40" y="1335"/>
                  </a:cubicBezTo>
                  <a:cubicBezTo>
                    <a:pt x="42" y="1339"/>
                    <a:pt x="32" y="1343"/>
                    <a:pt x="29" y="1343"/>
                  </a:cubicBezTo>
                  <a:cubicBezTo>
                    <a:pt x="26" y="1343"/>
                    <a:pt x="20" y="1340"/>
                    <a:pt x="18" y="1342"/>
                  </a:cubicBezTo>
                  <a:cubicBezTo>
                    <a:pt x="16" y="1343"/>
                    <a:pt x="17" y="1345"/>
                    <a:pt x="16" y="1346"/>
                  </a:cubicBezTo>
                  <a:cubicBezTo>
                    <a:pt x="16" y="1347"/>
                    <a:pt x="13" y="1349"/>
                    <a:pt x="15" y="1351"/>
                  </a:cubicBezTo>
                  <a:cubicBezTo>
                    <a:pt x="15" y="1351"/>
                    <a:pt x="18" y="1351"/>
                    <a:pt x="19" y="1351"/>
                  </a:cubicBezTo>
                  <a:cubicBezTo>
                    <a:pt x="19" y="1352"/>
                    <a:pt x="21" y="1353"/>
                    <a:pt x="21" y="1353"/>
                  </a:cubicBezTo>
                  <a:cubicBezTo>
                    <a:pt x="24" y="1354"/>
                    <a:pt x="27" y="1353"/>
                    <a:pt x="30" y="1354"/>
                  </a:cubicBezTo>
                  <a:cubicBezTo>
                    <a:pt x="32" y="1357"/>
                    <a:pt x="30" y="1362"/>
                    <a:pt x="33" y="1365"/>
                  </a:cubicBezTo>
                  <a:cubicBezTo>
                    <a:pt x="37" y="1369"/>
                    <a:pt x="46" y="1365"/>
                    <a:pt x="50" y="1364"/>
                  </a:cubicBezTo>
                  <a:cubicBezTo>
                    <a:pt x="62" y="1364"/>
                    <a:pt x="73" y="1364"/>
                    <a:pt x="84" y="1364"/>
                  </a:cubicBezTo>
                  <a:cubicBezTo>
                    <a:pt x="88" y="1364"/>
                    <a:pt x="94" y="1365"/>
                    <a:pt x="97" y="1363"/>
                  </a:cubicBezTo>
                  <a:cubicBezTo>
                    <a:pt x="102" y="1361"/>
                    <a:pt x="102" y="1356"/>
                    <a:pt x="108" y="1355"/>
                  </a:cubicBezTo>
                  <a:cubicBezTo>
                    <a:pt x="111" y="1355"/>
                    <a:pt x="113" y="1355"/>
                    <a:pt x="116" y="1357"/>
                  </a:cubicBezTo>
                  <a:cubicBezTo>
                    <a:pt x="117" y="1358"/>
                    <a:pt x="119" y="1361"/>
                    <a:pt x="120" y="1362"/>
                  </a:cubicBezTo>
                  <a:cubicBezTo>
                    <a:pt x="123" y="1364"/>
                    <a:pt x="132" y="1362"/>
                    <a:pt x="130" y="1369"/>
                  </a:cubicBezTo>
                  <a:cubicBezTo>
                    <a:pt x="128" y="1369"/>
                    <a:pt x="124" y="1369"/>
                    <a:pt x="122" y="1369"/>
                  </a:cubicBezTo>
                  <a:cubicBezTo>
                    <a:pt x="120" y="1368"/>
                    <a:pt x="120" y="1366"/>
                    <a:pt x="118" y="1365"/>
                  </a:cubicBezTo>
                  <a:cubicBezTo>
                    <a:pt x="115" y="1363"/>
                    <a:pt x="108" y="1363"/>
                    <a:pt x="105" y="1365"/>
                  </a:cubicBezTo>
                  <a:cubicBezTo>
                    <a:pt x="98" y="1369"/>
                    <a:pt x="89" y="1365"/>
                    <a:pt x="81" y="1365"/>
                  </a:cubicBezTo>
                  <a:cubicBezTo>
                    <a:pt x="76" y="1365"/>
                    <a:pt x="71" y="1365"/>
                    <a:pt x="67" y="1365"/>
                  </a:cubicBezTo>
                  <a:cubicBezTo>
                    <a:pt x="64" y="1365"/>
                    <a:pt x="61" y="1365"/>
                    <a:pt x="59" y="1366"/>
                  </a:cubicBezTo>
                  <a:cubicBezTo>
                    <a:pt x="55" y="1366"/>
                    <a:pt x="54" y="1367"/>
                    <a:pt x="51" y="1369"/>
                  </a:cubicBezTo>
                  <a:cubicBezTo>
                    <a:pt x="47" y="1371"/>
                    <a:pt x="44" y="1371"/>
                    <a:pt x="40" y="1371"/>
                  </a:cubicBezTo>
                  <a:cubicBezTo>
                    <a:pt x="37" y="1372"/>
                    <a:pt x="36" y="1374"/>
                    <a:pt x="33" y="1373"/>
                  </a:cubicBezTo>
                  <a:cubicBezTo>
                    <a:pt x="30" y="1373"/>
                    <a:pt x="29" y="1370"/>
                    <a:pt x="29" y="1367"/>
                  </a:cubicBezTo>
                  <a:cubicBezTo>
                    <a:pt x="26" y="1367"/>
                    <a:pt x="21" y="1366"/>
                    <a:pt x="18" y="1367"/>
                  </a:cubicBezTo>
                  <a:cubicBezTo>
                    <a:pt x="14" y="1369"/>
                    <a:pt x="14" y="1372"/>
                    <a:pt x="10" y="1370"/>
                  </a:cubicBezTo>
                  <a:cubicBezTo>
                    <a:pt x="6" y="1368"/>
                    <a:pt x="6" y="1367"/>
                    <a:pt x="4" y="1370"/>
                  </a:cubicBezTo>
                  <a:cubicBezTo>
                    <a:pt x="3" y="1371"/>
                    <a:pt x="2" y="1373"/>
                    <a:pt x="2" y="1375"/>
                  </a:cubicBezTo>
                  <a:cubicBezTo>
                    <a:pt x="1" y="1377"/>
                    <a:pt x="0" y="1382"/>
                    <a:pt x="1" y="1383"/>
                  </a:cubicBezTo>
                  <a:cubicBezTo>
                    <a:pt x="2" y="1386"/>
                    <a:pt x="5" y="1385"/>
                    <a:pt x="7" y="1385"/>
                  </a:cubicBezTo>
                  <a:cubicBezTo>
                    <a:pt x="7" y="1388"/>
                    <a:pt x="6" y="1389"/>
                    <a:pt x="6" y="1391"/>
                  </a:cubicBezTo>
                  <a:cubicBezTo>
                    <a:pt x="5" y="1394"/>
                    <a:pt x="4" y="1397"/>
                    <a:pt x="9" y="1396"/>
                  </a:cubicBezTo>
                  <a:cubicBezTo>
                    <a:pt x="11" y="1399"/>
                    <a:pt x="12" y="1403"/>
                    <a:pt x="15" y="1406"/>
                  </a:cubicBezTo>
                  <a:cubicBezTo>
                    <a:pt x="16" y="1406"/>
                    <a:pt x="16" y="1404"/>
                    <a:pt x="17" y="1403"/>
                  </a:cubicBezTo>
                  <a:cubicBezTo>
                    <a:pt x="18" y="1400"/>
                    <a:pt x="19" y="1399"/>
                    <a:pt x="22" y="1398"/>
                  </a:cubicBezTo>
                  <a:cubicBezTo>
                    <a:pt x="27" y="1397"/>
                    <a:pt x="29" y="1398"/>
                    <a:pt x="34" y="1400"/>
                  </a:cubicBezTo>
                  <a:cubicBezTo>
                    <a:pt x="34" y="1412"/>
                    <a:pt x="40" y="1400"/>
                    <a:pt x="44" y="1399"/>
                  </a:cubicBezTo>
                  <a:cubicBezTo>
                    <a:pt x="44" y="1401"/>
                    <a:pt x="44" y="1403"/>
                    <a:pt x="44" y="1404"/>
                  </a:cubicBezTo>
                  <a:cubicBezTo>
                    <a:pt x="41" y="1405"/>
                    <a:pt x="39" y="1407"/>
                    <a:pt x="36" y="1407"/>
                  </a:cubicBezTo>
                  <a:cubicBezTo>
                    <a:pt x="34" y="1406"/>
                    <a:pt x="33" y="1404"/>
                    <a:pt x="31" y="1403"/>
                  </a:cubicBezTo>
                  <a:cubicBezTo>
                    <a:pt x="29" y="1402"/>
                    <a:pt x="25" y="1402"/>
                    <a:pt x="23" y="1403"/>
                  </a:cubicBezTo>
                  <a:cubicBezTo>
                    <a:pt x="17" y="1404"/>
                    <a:pt x="20" y="1414"/>
                    <a:pt x="15" y="1413"/>
                  </a:cubicBezTo>
                  <a:cubicBezTo>
                    <a:pt x="13" y="1418"/>
                    <a:pt x="19" y="1417"/>
                    <a:pt x="22" y="1418"/>
                  </a:cubicBezTo>
                  <a:cubicBezTo>
                    <a:pt x="23" y="1422"/>
                    <a:pt x="24" y="1423"/>
                    <a:pt x="21" y="1424"/>
                  </a:cubicBezTo>
                  <a:cubicBezTo>
                    <a:pt x="18" y="1426"/>
                    <a:pt x="15" y="1427"/>
                    <a:pt x="13" y="1430"/>
                  </a:cubicBezTo>
                  <a:cubicBezTo>
                    <a:pt x="11" y="1434"/>
                    <a:pt x="16" y="1434"/>
                    <a:pt x="18" y="1437"/>
                  </a:cubicBezTo>
                  <a:cubicBezTo>
                    <a:pt x="20" y="1440"/>
                    <a:pt x="19" y="1445"/>
                    <a:pt x="18" y="1448"/>
                  </a:cubicBezTo>
                  <a:cubicBezTo>
                    <a:pt x="16" y="1453"/>
                    <a:pt x="13" y="1466"/>
                    <a:pt x="20" y="1469"/>
                  </a:cubicBezTo>
                  <a:cubicBezTo>
                    <a:pt x="28" y="1471"/>
                    <a:pt x="25" y="1455"/>
                    <a:pt x="26" y="1451"/>
                  </a:cubicBezTo>
                  <a:cubicBezTo>
                    <a:pt x="33" y="1450"/>
                    <a:pt x="34" y="1453"/>
                    <a:pt x="35" y="1459"/>
                  </a:cubicBezTo>
                  <a:cubicBezTo>
                    <a:pt x="35" y="1466"/>
                    <a:pt x="36" y="1475"/>
                    <a:pt x="45" y="1473"/>
                  </a:cubicBezTo>
                  <a:cubicBezTo>
                    <a:pt x="45" y="1471"/>
                    <a:pt x="47" y="1472"/>
                    <a:pt x="48" y="1470"/>
                  </a:cubicBezTo>
                  <a:cubicBezTo>
                    <a:pt x="49" y="1469"/>
                    <a:pt x="49" y="1467"/>
                    <a:pt x="50" y="1466"/>
                  </a:cubicBezTo>
                  <a:cubicBezTo>
                    <a:pt x="50" y="1463"/>
                    <a:pt x="50" y="1459"/>
                    <a:pt x="52" y="1457"/>
                  </a:cubicBezTo>
                  <a:cubicBezTo>
                    <a:pt x="53" y="1458"/>
                    <a:pt x="55" y="1458"/>
                    <a:pt x="55" y="1459"/>
                  </a:cubicBezTo>
                  <a:cubicBezTo>
                    <a:pt x="56" y="1461"/>
                    <a:pt x="55" y="1463"/>
                    <a:pt x="55" y="1464"/>
                  </a:cubicBezTo>
                  <a:cubicBezTo>
                    <a:pt x="55" y="1466"/>
                    <a:pt x="55" y="1467"/>
                    <a:pt x="56" y="1469"/>
                  </a:cubicBezTo>
                  <a:cubicBezTo>
                    <a:pt x="56" y="1470"/>
                    <a:pt x="58" y="1471"/>
                    <a:pt x="57" y="1473"/>
                  </a:cubicBezTo>
                  <a:cubicBezTo>
                    <a:pt x="57" y="1474"/>
                    <a:pt x="55" y="1474"/>
                    <a:pt x="54" y="1475"/>
                  </a:cubicBezTo>
                  <a:cubicBezTo>
                    <a:pt x="54" y="1476"/>
                    <a:pt x="54" y="1477"/>
                    <a:pt x="53" y="1477"/>
                  </a:cubicBezTo>
                  <a:cubicBezTo>
                    <a:pt x="51" y="1478"/>
                    <a:pt x="46" y="1479"/>
                    <a:pt x="45" y="1478"/>
                  </a:cubicBezTo>
                  <a:cubicBezTo>
                    <a:pt x="41" y="1480"/>
                    <a:pt x="39" y="1479"/>
                    <a:pt x="38" y="1484"/>
                  </a:cubicBezTo>
                  <a:cubicBezTo>
                    <a:pt x="33" y="1484"/>
                    <a:pt x="33" y="1480"/>
                    <a:pt x="28" y="1481"/>
                  </a:cubicBezTo>
                  <a:cubicBezTo>
                    <a:pt x="28" y="1483"/>
                    <a:pt x="26" y="1485"/>
                    <a:pt x="26" y="1487"/>
                  </a:cubicBezTo>
                  <a:cubicBezTo>
                    <a:pt x="28" y="1489"/>
                    <a:pt x="32" y="1486"/>
                    <a:pt x="35" y="1488"/>
                  </a:cubicBezTo>
                  <a:cubicBezTo>
                    <a:pt x="35" y="1488"/>
                    <a:pt x="36" y="1490"/>
                    <a:pt x="37" y="1490"/>
                  </a:cubicBezTo>
                  <a:cubicBezTo>
                    <a:pt x="38" y="1492"/>
                    <a:pt x="41" y="1492"/>
                    <a:pt x="42" y="1493"/>
                  </a:cubicBezTo>
                  <a:cubicBezTo>
                    <a:pt x="40" y="1495"/>
                    <a:pt x="38" y="1495"/>
                    <a:pt x="36" y="1494"/>
                  </a:cubicBezTo>
                  <a:cubicBezTo>
                    <a:pt x="34" y="1494"/>
                    <a:pt x="35" y="1492"/>
                    <a:pt x="32" y="1493"/>
                  </a:cubicBezTo>
                  <a:cubicBezTo>
                    <a:pt x="32" y="1496"/>
                    <a:pt x="33" y="1499"/>
                    <a:pt x="33" y="1502"/>
                  </a:cubicBezTo>
                  <a:cubicBezTo>
                    <a:pt x="30" y="1503"/>
                    <a:pt x="28" y="1499"/>
                    <a:pt x="26" y="1498"/>
                  </a:cubicBezTo>
                  <a:cubicBezTo>
                    <a:pt x="25" y="1498"/>
                    <a:pt x="23" y="1498"/>
                    <a:pt x="21" y="1498"/>
                  </a:cubicBezTo>
                  <a:cubicBezTo>
                    <a:pt x="20" y="1503"/>
                    <a:pt x="26" y="1506"/>
                    <a:pt x="29" y="1509"/>
                  </a:cubicBezTo>
                  <a:cubicBezTo>
                    <a:pt x="31" y="1513"/>
                    <a:pt x="28" y="1515"/>
                    <a:pt x="28" y="1519"/>
                  </a:cubicBezTo>
                  <a:cubicBezTo>
                    <a:pt x="27" y="1522"/>
                    <a:pt x="27" y="1526"/>
                    <a:pt x="27" y="1529"/>
                  </a:cubicBezTo>
                  <a:cubicBezTo>
                    <a:pt x="26" y="1534"/>
                    <a:pt x="28" y="1536"/>
                    <a:pt x="33" y="1535"/>
                  </a:cubicBezTo>
                  <a:cubicBezTo>
                    <a:pt x="34" y="1531"/>
                    <a:pt x="32" y="1526"/>
                    <a:pt x="38" y="1526"/>
                  </a:cubicBezTo>
                  <a:cubicBezTo>
                    <a:pt x="40" y="1527"/>
                    <a:pt x="41" y="1529"/>
                    <a:pt x="43" y="1527"/>
                  </a:cubicBezTo>
                  <a:cubicBezTo>
                    <a:pt x="45" y="1526"/>
                    <a:pt x="44" y="1522"/>
                    <a:pt x="48" y="1523"/>
                  </a:cubicBezTo>
                  <a:cubicBezTo>
                    <a:pt x="49" y="1529"/>
                    <a:pt x="40" y="1527"/>
                    <a:pt x="38" y="1530"/>
                  </a:cubicBezTo>
                  <a:cubicBezTo>
                    <a:pt x="37" y="1532"/>
                    <a:pt x="38" y="1534"/>
                    <a:pt x="37" y="1536"/>
                  </a:cubicBezTo>
                  <a:cubicBezTo>
                    <a:pt x="35" y="1538"/>
                    <a:pt x="34" y="1539"/>
                    <a:pt x="32" y="1539"/>
                  </a:cubicBezTo>
                  <a:cubicBezTo>
                    <a:pt x="31" y="1546"/>
                    <a:pt x="32" y="1553"/>
                    <a:pt x="32" y="1559"/>
                  </a:cubicBezTo>
                  <a:cubicBezTo>
                    <a:pt x="32" y="1566"/>
                    <a:pt x="28" y="1572"/>
                    <a:pt x="30" y="1578"/>
                  </a:cubicBezTo>
                  <a:cubicBezTo>
                    <a:pt x="31" y="1579"/>
                    <a:pt x="32" y="1583"/>
                    <a:pt x="34" y="1583"/>
                  </a:cubicBezTo>
                  <a:cubicBezTo>
                    <a:pt x="38" y="1585"/>
                    <a:pt x="39" y="1580"/>
                    <a:pt x="39" y="1577"/>
                  </a:cubicBezTo>
                  <a:cubicBezTo>
                    <a:pt x="39" y="1576"/>
                    <a:pt x="38" y="1572"/>
                    <a:pt x="40" y="1571"/>
                  </a:cubicBezTo>
                  <a:cubicBezTo>
                    <a:pt x="43" y="1569"/>
                    <a:pt x="47" y="1578"/>
                    <a:pt x="47" y="1580"/>
                  </a:cubicBezTo>
                  <a:cubicBezTo>
                    <a:pt x="52" y="1582"/>
                    <a:pt x="51" y="1574"/>
                    <a:pt x="53" y="1571"/>
                  </a:cubicBezTo>
                  <a:cubicBezTo>
                    <a:pt x="55" y="1569"/>
                    <a:pt x="57" y="1570"/>
                    <a:pt x="58" y="1568"/>
                  </a:cubicBezTo>
                  <a:cubicBezTo>
                    <a:pt x="60" y="1567"/>
                    <a:pt x="59" y="1564"/>
                    <a:pt x="59" y="1562"/>
                  </a:cubicBezTo>
                  <a:cubicBezTo>
                    <a:pt x="62" y="1561"/>
                    <a:pt x="72" y="1561"/>
                    <a:pt x="70" y="1566"/>
                  </a:cubicBezTo>
                  <a:cubicBezTo>
                    <a:pt x="67" y="1566"/>
                    <a:pt x="66" y="1569"/>
                    <a:pt x="67" y="1571"/>
                  </a:cubicBezTo>
                  <a:cubicBezTo>
                    <a:pt x="71" y="1571"/>
                    <a:pt x="75" y="1570"/>
                    <a:pt x="79" y="1571"/>
                  </a:cubicBezTo>
                  <a:cubicBezTo>
                    <a:pt x="80" y="1575"/>
                    <a:pt x="80" y="1576"/>
                    <a:pt x="76" y="1578"/>
                  </a:cubicBezTo>
                  <a:cubicBezTo>
                    <a:pt x="75" y="1578"/>
                    <a:pt x="73" y="1579"/>
                    <a:pt x="72" y="1579"/>
                  </a:cubicBezTo>
                  <a:cubicBezTo>
                    <a:pt x="69" y="1578"/>
                    <a:pt x="68" y="1576"/>
                    <a:pt x="66" y="1577"/>
                  </a:cubicBezTo>
                  <a:cubicBezTo>
                    <a:pt x="65" y="1579"/>
                    <a:pt x="64" y="1583"/>
                    <a:pt x="65" y="1585"/>
                  </a:cubicBezTo>
                  <a:cubicBezTo>
                    <a:pt x="65" y="1588"/>
                    <a:pt x="67" y="1588"/>
                    <a:pt x="66" y="1591"/>
                  </a:cubicBezTo>
                  <a:cubicBezTo>
                    <a:pt x="65" y="1591"/>
                    <a:pt x="64" y="1591"/>
                    <a:pt x="63" y="1591"/>
                  </a:cubicBezTo>
                  <a:cubicBezTo>
                    <a:pt x="63" y="1589"/>
                    <a:pt x="63" y="1587"/>
                    <a:pt x="63" y="1585"/>
                  </a:cubicBezTo>
                  <a:cubicBezTo>
                    <a:pt x="58" y="1585"/>
                    <a:pt x="52" y="1584"/>
                    <a:pt x="47" y="1585"/>
                  </a:cubicBezTo>
                  <a:cubicBezTo>
                    <a:pt x="46" y="1589"/>
                    <a:pt x="49" y="1590"/>
                    <a:pt x="49" y="1593"/>
                  </a:cubicBezTo>
                  <a:cubicBezTo>
                    <a:pt x="50" y="1596"/>
                    <a:pt x="49" y="1597"/>
                    <a:pt x="49" y="1599"/>
                  </a:cubicBezTo>
                  <a:cubicBezTo>
                    <a:pt x="47" y="1604"/>
                    <a:pt x="48" y="1608"/>
                    <a:pt x="47" y="1613"/>
                  </a:cubicBezTo>
                  <a:cubicBezTo>
                    <a:pt x="47" y="1615"/>
                    <a:pt x="46" y="1619"/>
                    <a:pt x="47" y="1622"/>
                  </a:cubicBezTo>
                  <a:cubicBezTo>
                    <a:pt x="47" y="1624"/>
                    <a:pt x="49" y="1624"/>
                    <a:pt x="50" y="1626"/>
                  </a:cubicBezTo>
                  <a:cubicBezTo>
                    <a:pt x="52" y="1628"/>
                    <a:pt x="53" y="1631"/>
                    <a:pt x="54" y="1633"/>
                  </a:cubicBezTo>
                  <a:cubicBezTo>
                    <a:pt x="57" y="1637"/>
                    <a:pt x="62" y="1639"/>
                    <a:pt x="67" y="1641"/>
                  </a:cubicBezTo>
                  <a:cubicBezTo>
                    <a:pt x="66" y="1644"/>
                    <a:pt x="68" y="1644"/>
                    <a:pt x="69" y="1646"/>
                  </a:cubicBezTo>
                  <a:cubicBezTo>
                    <a:pt x="69" y="1647"/>
                    <a:pt x="68" y="1649"/>
                    <a:pt x="68" y="1651"/>
                  </a:cubicBezTo>
                  <a:cubicBezTo>
                    <a:pt x="69" y="1654"/>
                    <a:pt x="69" y="1657"/>
                    <a:pt x="72" y="1658"/>
                  </a:cubicBezTo>
                  <a:cubicBezTo>
                    <a:pt x="73" y="1659"/>
                    <a:pt x="76" y="1658"/>
                    <a:pt x="78" y="1659"/>
                  </a:cubicBezTo>
                  <a:cubicBezTo>
                    <a:pt x="80" y="1660"/>
                    <a:pt x="80" y="1663"/>
                    <a:pt x="83" y="1664"/>
                  </a:cubicBezTo>
                  <a:cubicBezTo>
                    <a:pt x="84" y="1664"/>
                    <a:pt x="86" y="1663"/>
                    <a:pt x="88" y="1664"/>
                  </a:cubicBezTo>
                  <a:cubicBezTo>
                    <a:pt x="90" y="1666"/>
                    <a:pt x="91" y="1668"/>
                    <a:pt x="93" y="1670"/>
                  </a:cubicBezTo>
                  <a:cubicBezTo>
                    <a:pt x="95" y="1671"/>
                    <a:pt x="95" y="1672"/>
                    <a:pt x="97" y="1673"/>
                  </a:cubicBezTo>
                  <a:cubicBezTo>
                    <a:pt x="99" y="1674"/>
                    <a:pt x="102" y="1673"/>
                    <a:pt x="105" y="1674"/>
                  </a:cubicBezTo>
                  <a:cubicBezTo>
                    <a:pt x="112" y="1676"/>
                    <a:pt x="108" y="1680"/>
                    <a:pt x="106" y="1684"/>
                  </a:cubicBezTo>
                  <a:cubicBezTo>
                    <a:pt x="104" y="1690"/>
                    <a:pt x="109" y="1690"/>
                    <a:pt x="114" y="1690"/>
                  </a:cubicBezTo>
                  <a:cubicBezTo>
                    <a:pt x="116" y="1690"/>
                    <a:pt x="118" y="1688"/>
                    <a:pt x="120" y="1689"/>
                  </a:cubicBezTo>
                  <a:cubicBezTo>
                    <a:pt x="122" y="1690"/>
                    <a:pt x="122" y="1692"/>
                    <a:pt x="123" y="1693"/>
                  </a:cubicBezTo>
                  <a:cubicBezTo>
                    <a:pt x="125" y="1697"/>
                    <a:pt x="129" y="1696"/>
                    <a:pt x="133" y="1698"/>
                  </a:cubicBezTo>
                  <a:cubicBezTo>
                    <a:pt x="135" y="1699"/>
                    <a:pt x="136" y="1701"/>
                    <a:pt x="138" y="1700"/>
                  </a:cubicBezTo>
                  <a:cubicBezTo>
                    <a:pt x="138" y="1693"/>
                    <a:pt x="143" y="1695"/>
                    <a:pt x="149" y="1697"/>
                  </a:cubicBezTo>
                  <a:cubicBezTo>
                    <a:pt x="154" y="1698"/>
                    <a:pt x="161" y="1699"/>
                    <a:pt x="167" y="1698"/>
                  </a:cubicBezTo>
                  <a:cubicBezTo>
                    <a:pt x="169" y="1697"/>
                    <a:pt x="171" y="1696"/>
                    <a:pt x="174" y="1695"/>
                  </a:cubicBezTo>
                  <a:cubicBezTo>
                    <a:pt x="177" y="1695"/>
                    <a:pt x="180" y="1695"/>
                    <a:pt x="183" y="1695"/>
                  </a:cubicBezTo>
                  <a:cubicBezTo>
                    <a:pt x="187" y="1696"/>
                    <a:pt x="187" y="1695"/>
                    <a:pt x="190" y="1692"/>
                  </a:cubicBezTo>
                  <a:cubicBezTo>
                    <a:pt x="194" y="1689"/>
                    <a:pt x="199" y="1690"/>
                    <a:pt x="202" y="1685"/>
                  </a:cubicBezTo>
                  <a:cubicBezTo>
                    <a:pt x="203" y="1683"/>
                    <a:pt x="202" y="1681"/>
                    <a:pt x="204" y="1679"/>
                  </a:cubicBezTo>
                  <a:cubicBezTo>
                    <a:pt x="204" y="1677"/>
                    <a:pt x="206" y="1676"/>
                    <a:pt x="207" y="1675"/>
                  </a:cubicBezTo>
                  <a:cubicBezTo>
                    <a:pt x="209" y="1672"/>
                    <a:pt x="212" y="1668"/>
                    <a:pt x="217" y="1666"/>
                  </a:cubicBezTo>
                  <a:cubicBezTo>
                    <a:pt x="220" y="1665"/>
                    <a:pt x="221" y="1666"/>
                    <a:pt x="223" y="1663"/>
                  </a:cubicBezTo>
                  <a:cubicBezTo>
                    <a:pt x="225" y="1661"/>
                    <a:pt x="225" y="1660"/>
                    <a:pt x="227" y="1658"/>
                  </a:cubicBezTo>
                  <a:cubicBezTo>
                    <a:pt x="229" y="1656"/>
                    <a:pt x="230" y="1655"/>
                    <a:pt x="232" y="1653"/>
                  </a:cubicBezTo>
                  <a:cubicBezTo>
                    <a:pt x="234" y="1649"/>
                    <a:pt x="237" y="1647"/>
                    <a:pt x="240" y="1644"/>
                  </a:cubicBezTo>
                  <a:cubicBezTo>
                    <a:pt x="243" y="1641"/>
                    <a:pt x="245" y="1639"/>
                    <a:pt x="248" y="1637"/>
                  </a:cubicBezTo>
                  <a:cubicBezTo>
                    <a:pt x="252" y="1634"/>
                    <a:pt x="252" y="1629"/>
                    <a:pt x="256" y="1625"/>
                  </a:cubicBezTo>
                  <a:cubicBezTo>
                    <a:pt x="257" y="1624"/>
                    <a:pt x="260" y="1623"/>
                    <a:pt x="261" y="1622"/>
                  </a:cubicBezTo>
                  <a:cubicBezTo>
                    <a:pt x="263" y="1620"/>
                    <a:pt x="264" y="1619"/>
                    <a:pt x="265" y="1617"/>
                  </a:cubicBezTo>
                  <a:cubicBezTo>
                    <a:pt x="266" y="1615"/>
                    <a:pt x="267" y="1614"/>
                    <a:pt x="268" y="1612"/>
                  </a:cubicBezTo>
                  <a:cubicBezTo>
                    <a:pt x="270" y="1610"/>
                    <a:pt x="272" y="1609"/>
                    <a:pt x="274" y="1605"/>
                  </a:cubicBezTo>
                  <a:cubicBezTo>
                    <a:pt x="275" y="1601"/>
                    <a:pt x="277" y="1597"/>
                    <a:pt x="279" y="1594"/>
                  </a:cubicBezTo>
                  <a:cubicBezTo>
                    <a:pt x="281" y="1592"/>
                    <a:pt x="280" y="1593"/>
                    <a:pt x="282" y="1592"/>
                  </a:cubicBezTo>
                  <a:cubicBezTo>
                    <a:pt x="283" y="1592"/>
                    <a:pt x="286" y="1592"/>
                    <a:pt x="287" y="1593"/>
                  </a:cubicBezTo>
                  <a:cubicBezTo>
                    <a:pt x="288" y="1594"/>
                    <a:pt x="287" y="1595"/>
                    <a:pt x="288" y="1596"/>
                  </a:cubicBezTo>
                  <a:cubicBezTo>
                    <a:pt x="290" y="1603"/>
                    <a:pt x="294" y="1599"/>
                    <a:pt x="296" y="1596"/>
                  </a:cubicBezTo>
                  <a:cubicBezTo>
                    <a:pt x="297" y="1594"/>
                    <a:pt x="298" y="1592"/>
                    <a:pt x="300" y="1592"/>
                  </a:cubicBezTo>
                  <a:cubicBezTo>
                    <a:pt x="302" y="1592"/>
                    <a:pt x="302" y="1594"/>
                    <a:pt x="304" y="1594"/>
                  </a:cubicBezTo>
                  <a:cubicBezTo>
                    <a:pt x="305" y="1595"/>
                    <a:pt x="307" y="1594"/>
                    <a:pt x="309" y="1594"/>
                  </a:cubicBezTo>
                  <a:cubicBezTo>
                    <a:pt x="316" y="1591"/>
                    <a:pt x="314" y="1581"/>
                    <a:pt x="314" y="1574"/>
                  </a:cubicBezTo>
                  <a:cubicBezTo>
                    <a:pt x="314" y="1568"/>
                    <a:pt x="316" y="1563"/>
                    <a:pt x="316" y="1557"/>
                  </a:cubicBezTo>
                  <a:cubicBezTo>
                    <a:pt x="316" y="1554"/>
                    <a:pt x="316" y="1552"/>
                    <a:pt x="315" y="1549"/>
                  </a:cubicBezTo>
                  <a:cubicBezTo>
                    <a:pt x="314" y="1545"/>
                    <a:pt x="312" y="1542"/>
                    <a:pt x="308" y="1540"/>
                  </a:cubicBezTo>
                  <a:cubicBezTo>
                    <a:pt x="307" y="1540"/>
                    <a:pt x="305" y="1540"/>
                    <a:pt x="304" y="1539"/>
                  </a:cubicBezTo>
                  <a:cubicBezTo>
                    <a:pt x="304" y="1538"/>
                    <a:pt x="303" y="1536"/>
                    <a:pt x="304" y="1535"/>
                  </a:cubicBezTo>
                  <a:cubicBezTo>
                    <a:pt x="307" y="1532"/>
                    <a:pt x="313" y="1539"/>
                    <a:pt x="316" y="1540"/>
                  </a:cubicBezTo>
                  <a:cubicBezTo>
                    <a:pt x="320" y="1540"/>
                    <a:pt x="321" y="1537"/>
                    <a:pt x="323" y="1534"/>
                  </a:cubicBezTo>
                  <a:cubicBezTo>
                    <a:pt x="325" y="1531"/>
                    <a:pt x="326" y="1530"/>
                    <a:pt x="325" y="1526"/>
                  </a:cubicBezTo>
                  <a:cubicBezTo>
                    <a:pt x="325" y="1525"/>
                    <a:pt x="324" y="1524"/>
                    <a:pt x="325" y="1522"/>
                  </a:cubicBezTo>
                  <a:cubicBezTo>
                    <a:pt x="331" y="1520"/>
                    <a:pt x="329" y="1530"/>
                    <a:pt x="329" y="1533"/>
                  </a:cubicBezTo>
                  <a:cubicBezTo>
                    <a:pt x="329" y="1538"/>
                    <a:pt x="333" y="1544"/>
                    <a:pt x="332" y="1548"/>
                  </a:cubicBezTo>
                  <a:cubicBezTo>
                    <a:pt x="331" y="1551"/>
                    <a:pt x="329" y="1552"/>
                    <a:pt x="329" y="1555"/>
                  </a:cubicBezTo>
                  <a:cubicBezTo>
                    <a:pt x="329" y="1556"/>
                    <a:pt x="330" y="1558"/>
                    <a:pt x="330" y="1559"/>
                  </a:cubicBezTo>
                  <a:cubicBezTo>
                    <a:pt x="331" y="1561"/>
                    <a:pt x="332" y="1562"/>
                    <a:pt x="333" y="1565"/>
                  </a:cubicBezTo>
                  <a:cubicBezTo>
                    <a:pt x="334" y="1568"/>
                    <a:pt x="334" y="1570"/>
                    <a:pt x="334" y="1573"/>
                  </a:cubicBezTo>
                  <a:cubicBezTo>
                    <a:pt x="336" y="1573"/>
                    <a:pt x="338" y="1573"/>
                    <a:pt x="340" y="1572"/>
                  </a:cubicBezTo>
                  <a:cubicBezTo>
                    <a:pt x="341" y="1574"/>
                    <a:pt x="345" y="1579"/>
                    <a:pt x="346" y="1580"/>
                  </a:cubicBezTo>
                  <a:cubicBezTo>
                    <a:pt x="350" y="1582"/>
                    <a:pt x="352" y="1578"/>
                    <a:pt x="352" y="1584"/>
                  </a:cubicBezTo>
                  <a:cubicBezTo>
                    <a:pt x="353" y="1593"/>
                    <a:pt x="346" y="1586"/>
                    <a:pt x="341" y="1587"/>
                  </a:cubicBezTo>
                  <a:cubicBezTo>
                    <a:pt x="340" y="1590"/>
                    <a:pt x="341" y="1592"/>
                    <a:pt x="343" y="1593"/>
                  </a:cubicBezTo>
                  <a:cubicBezTo>
                    <a:pt x="344" y="1594"/>
                    <a:pt x="345" y="1594"/>
                    <a:pt x="346" y="1594"/>
                  </a:cubicBezTo>
                  <a:cubicBezTo>
                    <a:pt x="347" y="1595"/>
                    <a:pt x="346" y="1595"/>
                    <a:pt x="346" y="1596"/>
                  </a:cubicBezTo>
                  <a:cubicBezTo>
                    <a:pt x="348" y="1601"/>
                    <a:pt x="345" y="1607"/>
                    <a:pt x="350" y="1610"/>
                  </a:cubicBezTo>
                  <a:cubicBezTo>
                    <a:pt x="355" y="1605"/>
                    <a:pt x="352" y="1595"/>
                    <a:pt x="357" y="1589"/>
                  </a:cubicBezTo>
                  <a:cubicBezTo>
                    <a:pt x="358" y="1588"/>
                    <a:pt x="361" y="1586"/>
                    <a:pt x="363" y="1587"/>
                  </a:cubicBezTo>
                  <a:cubicBezTo>
                    <a:pt x="366" y="1588"/>
                    <a:pt x="366" y="1594"/>
                    <a:pt x="367" y="1597"/>
                  </a:cubicBezTo>
                  <a:cubicBezTo>
                    <a:pt x="368" y="1600"/>
                    <a:pt x="368" y="1603"/>
                    <a:pt x="371" y="1605"/>
                  </a:cubicBezTo>
                  <a:cubicBezTo>
                    <a:pt x="372" y="1605"/>
                    <a:pt x="373" y="1605"/>
                    <a:pt x="374" y="1606"/>
                  </a:cubicBezTo>
                  <a:cubicBezTo>
                    <a:pt x="376" y="1606"/>
                    <a:pt x="375" y="1608"/>
                    <a:pt x="376" y="1608"/>
                  </a:cubicBezTo>
                  <a:cubicBezTo>
                    <a:pt x="381" y="1609"/>
                    <a:pt x="383" y="1605"/>
                    <a:pt x="384" y="1601"/>
                  </a:cubicBezTo>
                  <a:cubicBezTo>
                    <a:pt x="385" y="1597"/>
                    <a:pt x="384" y="1593"/>
                    <a:pt x="385" y="1588"/>
                  </a:cubicBezTo>
                  <a:cubicBezTo>
                    <a:pt x="388" y="1579"/>
                    <a:pt x="388" y="1570"/>
                    <a:pt x="388" y="1561"/>
                  </a:cubicBezTo>
                  <a:cubicBezTo>
                    <a:pt x="388" y="1553"/>
                    <a:pt x="385" y="1545"/>
                    <a:pt x="385" y="1537"/>
                  </a:cubicBezTo>
                  <a:cubicBezTo>
                    <a:pt x="385" y="1535"/>
                    <a:pt x="385" y="1532"/>
                    <a:pt x="385" y="1530"/>
                  </a:cubicBezTo>
                  <a:cubicBezTo>
                    <a:pt x="386" y="1527"/>
                    <a:pt x="390" y="1524"/>
                    <a:pt x="391" y="1522"/>
                  </a:cubicBezTo>
                  <a:cubicBezTo>
                    <a:pt x="393" y="1520"/>
                    <a:pt x="393" y="1519"/>
                    <a:pt x="394" y="1516"/>
                  </a:cubicBezTo>
                  <a:cubicBezTo>
                    <a:pt x="394" y="1512"/>
                    <a:pt x="389" y="1508"/>
                    <a:pt x="390" y="1504"/>
                  </a:cubicBezTo>
                  <a:cubicBezTo>
                    <a:pt x="396" y="1504"/>
                    <a:pt x="399" y="1499"/>
                    <a:pt x="404" y="1497"/>
                  </a:cubicBezTo>
                  <a:cubicBezTo>
                    <a:pt x="407" y="1496"/>
                    <a:pt x="412" y="1493"/>
                    <a:pt x="415" y="1489"/>
                  </a:cubicBezTo>
                  <a:cubicBezTo>
                    <a:pt x="417" y="1485"/>
                    <a:pt x="416" y="1478"/>
                    <a:pt x="418" y="1473"/>
                  </a:cubicBezTo>
                  <a:cubicBezTo>
                    <a:pt x="419" y="1470"/>
                    <a:pt x="421" y="1469"/>
                    <a:pt x="422" y="1466"/>
                  </a:cubicBezTo>
                  <a:cubicBezTo>
                    <a:pt x="422" y="1466"/>
                    <a:pt x="422" y="1464"/>
                    <a:pt x="422" y="1463"/>
                  </a:cubicBezTo>
                  <a:cubicBezTo>
                    <a:pt x="422" y="1463"/>
                    <a:pt x="421" y="1463"/>
                    <a:pt x="420" y="1464"/>
                  </a:cubicBezTo>
                  <a:cubicBezTo>
                    <a:pt x="422" y="1457"/>
                    <a:pt x="427" y="1451"/>
                    <a:pt x="430" y="1446"/>
                  </a:cubicBezTo>
                  <a:cubicBezTo>
                    <a:pt x="432" y="1443"/>
                    <a:pt x="433" y="1442"/>
                    <a:pt x="433" y="1440"/>
                  </a:cubicBezTo>
                  <a:cubicBezTo>
                    <a:pt x="434" y="1437"/>
                    <a:pt x="433" y="1434"/>
                    <a:pt x="433" y="1431"/>
                  </a:cubicBezTo>
                  <a:cubicBezTo>
                    <a:pt x="431" y="1419"/>
                    <a:pt x="423" y="1410"/>
                    <a:pt x="420" y="1398"/>
                  </a:cubicBezTo>
                  <a:cubicBezTo>
                    <a:pt x="419" y="1394"/>
                    <a:pt x="418" y="1390"/>
                    <a:pt x="417" y="1386"/>
                  </a:cubicBezTo>
                  <a:cubicBezTo>
                    <a:pt x="417" y="1383"/>
                    <a:pt x="415" y="1377"/>
                    <a:pt x="416" y="1374"/>
                  </a:cubicBezTo>
                  <a:cubicBezTo>
                    <a:pt x="418" y="1374"/>
                    <a:pt x="419" y="1375"/>
                    <a:pt x="421" y="1374"/>
                  </a:cubicBezTo>
                  <a:cubicBezTo>
                    <a:pt x="424" y="1374"/>
                    <a:pt x="426" y="1373"/>
                    <a:pt x="428" y="1372"/>
                  </a:cubicBezTo>
                  <a:cubicBezTo>
                    <a:pt x="429" y="1371"/>
                    <a:pt x="430" y="1371"/>
                    <a:pt x="431" y="1371"/>
                  </a:cubicBezTo>
                  <a:cubicBezTo>
                    <a:pt x="431" y="1370"/>
                    <a:pt x="431" y="1370"/>
                    <a:pt x="432" y="1370"/>
                  </a:cubicBezTo>
                  <a:cubicBezTo>
                    <a:pt x="434" y="1370"/>
                    <a:pt x="435" y="1369"/>
                    <a:pt x="436" y="1369"/>
                  </a:cubicBezTo>
                  <a:cubicBezTo>
                    <a:pt x="437" y="1367"/>
                    <a:pt x="436" y="1367"/>
                    <a:pt x="437" y="1365"/>
                  </a:cubicBezTo>
                  <a:cubicBezTo>
                    <a:pt x="437" y="1363"/>
                    <a:pt x="437" y="1364"/>
                    <a:pt x="439" y="1361"/>
                  </a:cubicBezTo>
                  <a:cubicBezTo>
                    <a:pt x="441" y="1356"/>
                    <a:pt x="443" y="1351"/>
                    <a:pt x="445" y="1346"/>
                  </a:cubicBezTo>
                  <a:cubicBezTo>
                    <a:pt x="447" y="1343"/>
                    <a:pt x="452" y="1338"/>
                    <a:pt x="451" y="1334"/>
                  </a:cubicBezTo>
                  <a:cubicBezTo>
                    <a:pt x="448" y="1333"/>
                    <a:pt x="445" y="1327"/>
                    <a:pt x="443" y="1325"/>
                  </a:cubicBezTo>
                  <a:cubicBezTo>
                    <a:pt x="442" y="1324"/>
                    <a:pt x="441" y="1324"/>
                    <a:pt x="440" y="1322"/>
                  </a:cubicBezTo>
                  <a:cubicBezTo>
                    <a:pt x="439" y="1322"/>
                    <a:pt x="440" y="1320"/>
                    <a:pt x="439" y="1320"/>
                  </a:cubicBezTo>
                  <a:cubicBezTo>
                    <a:pt x="435" y="1314"/>
                    <a:pt x="427" y="1318"/>
                    <a:pt x="423" y="1314"/>
                  </a:cubicBezTo>
                  <a:cubicBezTo>
                    <a:pt x="420" y="1311"/>
                    <a:pt x="419" y="1308"/>
                    <a:pt x="416" y="1306"/>
                  </a:cubicBezTo>
                  <a:cubicBezTo>
                    <a:pt x="413" y="1304"/>
                    <a:pt x="408" y="1303"/>
                    <a:pt x="406" y="1299"/>
                  </a:cubicBezTo>
                  <a:cubicBezTo>
                    <a:pt x="403" y="1293"/>
                    <a:pt x="408" y="1285"/>
                    <a:pt x="409" y="1279"/>
                  </a:cubicBezTo>
                  <a:cubicBezTo>
                    <a:pt x="412" y="1266"/>
                    <a:pt x="412" y="1253"/>
                    <a:pt x="412" y="1239"/>
                  </a:cubicBezTo>
                  <a:cubicBezTo>
                    <a:pt x="412" y="1235"/>
                    <a:pt x="413" y="1231"/>
                    <a:pt x="412" y="1227"/>
                  </a:cubicBezTo>
                  <a:cubicBezTo>
                    <a:pt x="412" y="1225"/>
                    <a:pt x="411" y="1223"/>
                    <a:pt x="410" y="1221"/>
                  </a:cubicBezTo>
                  <a:cubicBezTo>
                    <a:pt x="407" y="1214"/>
                    <a:pt x="404" y="1207"/>
                    <a:pt x="400" y="1201"/>
                  </a:cubicBezTo>
                  <a:cubicBezTo>
                    <a:pt x="399" y="1198"/>
                    <a:pt x="398" y="1198"/>
                    <a:pt x="398" y="1195"/>
                  </a:cubicBezTo>
                  <a:cubicBezTo>
                    <a:pt x="399" y="1190"/>
                    <a:pt x="400" y="1186"/>
                    <a:pt x="400" y="1182"/>
                  </a:cubicBezTo>
                  <a:cubicBezTo>
                    <a:pt x="400" y="1176"/>
                    <a:pt x="400" y="1171"/>
                    <a:pt x="400" y="1165"/>
                  </a:cubicBezTo>
                  <a:cubicBezTo>
                    <a:pt x="400" y="1163"/>
                    <a:pt x="399" y="1159"/>
                    <a:pt x="400" y="1157"/>
                  </a:cubicBezTo>
                  <a:cubicBezTo>
                    <a:pt x="400" y="1156"/>
                    <a:pt x="402" y="1157"/>
                    <a:pt x="402" y="1156"/>
                  </a:cubicBezTo>
                  <a:cubicBezTo>
                    <a:pt x="403" y="1155"/>
                    <a:pt x="403" y="1153"/>
                    <a:pt x="404" y="1152"/>
                  </a:cubicBezTo>
                  <a:cubicBezTo>
                    <a:pt x="405" y="1151"/>
                    <a:pt x="408" y="1149"/>
                    <a:pt x="408" y="1147"/>
                  </a:cubicBezTo>
                  <a:cubicBezTo>
                    <a:pt x="409" y="1145"/>
                    <a:pt x="408" y="1144"/>
                    <a:pt x="407" y="1142"/>
                  </a:cubicBezTo>
                  <a:cubicBezTo>
                    <a:pt x="405" y="1138"/>
                    <a:pt x="405" y="1134"/>
                    <a:pt x="404" y="1130"/>
                  </a:cubicBezTo>
                  <a:cubicBezTo>
                    <a:pt x="403" y="1127"/>
                    <a:pt x="402" y="1124"/>
                    <a:pt x="400" y="1121"/>
                  </a:cubicBezTo>
                  <a:cubicBezTo>
                    <a:pt x="400" y="1119"/>
                    <a:pt x="399" y="1117"/>
                    <a:pt x="399" y="1115"/>
                  </a:cubicBezTo>
                  <a:cubicBezTo>
                    <a:pt x="399" y="1113"/>
                    <a:pt x="400" y="1112"/>
                    <a:pt x="401" y="1110"/>
                  </a:cubicBezTo>
                  <a:cubicBezTo>
                    <a:pt x="404" y="1105"/>
                    <a:pt x="403" y="1097"/>
                    <a:pt x="403" y="1092"/>
                  </a:cubicBezTo>
                  <a:cubicBezTo>
                    <a:pt x="403" y="1088"/>
                    <a:pt x="403" y="1084"/>
                    <a:pt x="403" y="1080"/>
                  </a:cubicBezTo>
                  <a:cubicBezTo>
                    <a:pt x="404" y="1073"/>
                    <a:pt x="409" y="1071"/>
                    <a:pt x="412" y="1066"/>
                  </a:cubicBezTo>
                  <a:cubicBezTo>
                    <a:pt x="415" y="1062"/>
                    <a:pt x="418" y="1057"/>
                    <a:pt x="419" y="1053"/>
                  </a:cubicBezTo>
                  <a:cubicBezTo>
                    <a:pt x="420" y="1050"/>
                    <a:pt x="421" y="1047"/>
                    <a:pt x="422" y="1045"/>
                  </a:cubicBezTo>
                  <a:cubicBezTo>
                    <a:pt x="423" y="1041"/>
                    <a:pt x="422" y="1039"/>
                    <a:pt x="425" y="1036"/>
                  </a:cubicBezTo>
                  <a:cubicBezTo>
                    <a:pt x="427" y="1034"/>
                    <a:pt x="429" y="1032"/>
                    <a:pt x="431" y="1031"/>
                  </a:cubicBezTo>
                  <a:cubicBezTo>
                    <a:pt x="433" y="1030"/>
                    <a:pt x="435" y="1030"/>
                    <a:pt x="436" y="1029"/>
                  </a:cubicBezTo>
                  <a:cubicBezTo>
                    <a:pt x="439" y="1027"/>
                    <a:pt x="440" y="1023"/>
                    <a:pt x="444" y="1021"/>
                  </a:cubicBezTo>
                  <a:cubicBezTo>
                    <a:pt x="449" y="1019"/>
                    <a:pt x="453" y="1018"/>
                    <a:pt x="458" y="1018"/>
                  </a:cubicBezTo>
                  <a:cubicBezTo>
                    <a:pt x="463" y="1018"/>
                    <a:pt x="467" y="1017"/>
                    <a:pt x="472" y="1017"/>
                  </a:cubicBezTo>
                  <a:cubicBezTo>
                    <a:pt x="478" y="1018"/>
                    <a:pt x="483" y="1019"/>
                    <a:pt x="489" y="1019"/>
                  </a:cubicBezTo>
                  <a:cubicBezTo>
                    <a:pt x="493" y="1020"/>
                    <a:pt x="499" y="1020"/>
                    <a:pt x="503" y="1022"/>
                  </a:cubicBezTo>
                  <a:cubicBezTo>
                    <a:pt x="505" y="1019"/>
                    <a:pt x="506" y="1014"/>
                    <a:pt x="507" y="1011"/>
                  </a:cubicBezTo>
                  <a:cubicBezTo>
                    <a:pt x="509" y="1007"/>
                    <a:pt x="510" y="1004"/>
                    <a:pt x="510" y="1000"/>
                  </a:cubicBezTo>
                  <a:cubicBezTo>
                    <a:pt x="509" y="996"/>
                    <a:pt x="507" y="992"/>
                    <a:pt x="506" y="988"/>
                  </a:cubicBezTo>
                  <a:cubicBezTo>
                    <a:pt x="506" y="985"/>
                    <a:pt x="506" y="981"/>
                    <a:pt x="506" y="977"/>
                  </a:cubicBezTo>
                  <a:cubicBezTo>
                    <a:pt x="506" y="971"/>
                    <a:pt x="508" y="963"/>
                    <a:pt x="503" y="959"/>
                  </a:cubicBezTo>
                  <a:cubicBezTo>
                    <a:pt x="500" y="957"/>
                    <a:pt x="498" y="956"/>
                    <a:pt x="495" y="955"/>
                  </a:cubicBezTo>
                  <a:cubicBezTo>
                    <a:pt x="493" y="953"/>
                    <a:pt x="492" y="951"/>
                    <a:pt x="489" y="950"/>
                  </a:cubicBezTo>
                  <a:cubicBezTo>
                    <a:pt x="490" y="947"/>
                    <a:pt x="492" y="944"/>
                    <a:pt x="494" y="941"/>
                  </a:cubicBezTo>
                  <a:cubicBezTo>
                    <a:pt x="497" y="937"/>
                    <a:pt x="500" y="933"/>
                    <a:pt x="502" y="928"/>
                  </a:cubicBezTo>
                  <a:cubicBezTo>
                    <a:pt x="504" y="925"/>
                    <a:pt x="505" y="921"/>
                    <a:pt x="506" y="917"/>
                  </a:cubicBezTo>
                  <a:cubicBezTo>
                    <a:pt x="506" y="915"/>
                    <a:pt x="506" y="913"/>
                    <a:pt x="507" y="911"/>
                  </a:cubicBezTo>
                  <a:cubicBezTo>
                    <a:pt x="508" y="909"/>
                    <a:pt x="508" y="907"/>
                    <a:pt x="509" y="905"/>
                  </a:cubicBezTo>
                  <a:cubicBezTo>
                    <a:pt x="512" y="902"/>
                    <a:pt x="512" y="896"/>
                    <a:pt x="515" y="891"/>
                  </a:cubicBezTo>
                  <a:cubicBezTo>
                    <a:pt x="517" y="887"/>
                    <a:pt x="518" y="882"/>
                    <a:pt x="520" y="878"/>
                  </a:cubicBezTo>
                  <a:cubicBezTo>
                    <a:pt x="521" y="875"/>
                    <a:pt x="523" y="871"/>
                    <a:pt x="526" y="869"/>
                  </a:cubicBezTo>
                  <a:cubicBezTo>
                    <a:pt x="530" y="866"/>
                    <a:pt x="530" y="865"/>
                    <a:pt x="530" y="859"/>
                  </a:cubicBezTo>
                  <a:cubicBezTo>
                    <a:pt x="530" y="853"/>
                    <a:pt x="530" y="848"/>
                    <a:pt x="530" y="843"/>
                  </a:cubicBezTo>
                  <a:cubicBezTo>
                    <a:pt x="529" y="837"/>
                    <a:pt x="528" y="831"/>
                    <a:pt x="529" y="825"/>
                  </a:cubicBezTo>
                  <a:cubicBezTo>
                    <a:pt x="529" y="820"/>
                    <a:pt x="532" y="816"/>
                    <a:pt x="533" y="812"/>
                  </a:cubicBezTo>
                  <a:cubicBezTo>
                    <a:pt x="534" y="810"/>
                    <a:pt x="534" y="808"/>
                    <a:pt x="535" y="806"/>
                  </a:cubicBezTo>
                  <a:cubicBezTo>
                    <a:pt x="536" y="806"/>
                    <a:pt x="537" y="805"/>
                    <a:pt x="538" y="804"/>
                  </a:cubicBezTo>
                  <a:cubicBezTo>
                    <a:pt x="539" y="802"/>
                    <a:pt x="539" y="801"/>
                    <a:pt x="539" y="798"/>
                  </a:cubicBezTo>
                  <a:cubicBezTo>
                    <a:pt x="541" y="791"/>
                    <a:pt x="537" y="784"/>
                    <a:pt x="536" y="776"/>
                  </a:cubicBezTo>
                  <a:cubicBezTo>
                    <a:pt x="535" y="770"/>
                    <a:pt x="534" y="763"/>
                    <a:pt x="533" y="757"/>
                  </a:cubicBezTo>
                  <a:cubicBezTo>
                    <a:pt x="533" y="757"/>
                    <a:pt x="533" y="751"/>
                    <a:pt x="533" y="750"/>
                  </a:cubicBezTo>
                  <a:cubicBezTo>
                    <a:pt x="535" y="747"/>
                    <a:pt x="548" y="750"/>
                    <a:pt x="552" y="749"/>
                  </a:cubicBezTo>
                  <a:cubicBezTo>
                    <a:pt x="556" y="748"/>
                    <a:pt x="561" y="747"/>
                    <a:pt x="564" y="745"/>
                  </a:cubicBezTo>
                  <a:cubicBezTo>
                    <a:pt x="570" y="743"/>
                    <a:pt x="570" y="736"/>
                    <a:pt x="575" y="733"/>
                  </a:cubicBezTo>
                  <a:cubicBezTo>
                    <a:pt x="578" y="731"/>
                    <a:pt x="583" y="732"/>
                    <a:pt x="585" y="729"/>
                  </a:cubicBezTo>
                  <a:cubicBezTo>
                    <a:pt x="588" y="723"/>
                    <a:pt x="580" y="714"/>
                    <a:pt x="580" y="709"/>
                  </a:cubicBezTo>
                  <a:cubicBezTo>
                    <a:pt x="579" y="703"/>
                    <a:pt x="582" y="701"/>
                    <a:pt x="586" y="698"/>
                  </a:cubicBezTo>
                  <a:cubicBezTo>
                    <a:pt x="591" y="695"/>
                    <a:pt x="592" y="692"/>
                    <a:pt x="594" y="687"/>
                  </a:cubicBezTo>
                  <a:cubicBezTo>
                    <a:pt x="598" y="679"/>
                    <a:pt x="602" y="670"/>
                    <a:pt x="605" y="662"/>
                  </a:cubicBezTo>
                  <a:cubicBezTo>
                    <a:pt x="607" y="658"/>
                    <a:pt x="610" y="654"/>
                    <a:pt x="611" y="649"/>
                  </a:cubicBezTo>
                  <a:cubicBezTo>
                    <a:pt x="611" y="645"/>
                    <a:pt x="613" y="641"/>
                    <a:pt x="616" y="638"/>
                  </a:cubicBezTo>
                  <a:cubicBezTo>
                    <a:pt x="620" y="635"/>
                    <a:pt x="624" y="634"/>
                    <a:pt x="628" y="632"/>
                  </a:cubicBezTo>
                  <a:cubicBezTo>
                    <a:pt x="632" y="629"/>
                    <a:pt x="631" y="617"/>
                    <a:pt x="630" y="613"/>
                  </a:cubicBezTo>
                  <a:cubicBezTo>
                    <a:pt x="629" y="610"/>
                    <a:pt x="627" y="607"/>
                    <a:pt x="627" y="605"/>
                  </a:cubicBezTo>
                  <a:cubicBezTo>
                    <a:pt x="627" y="603"/>
                    <a:pt x="627" y="601"/>
                    <a:pt x="627" y="600"/>
                  </a:cubicBezTo>
                  <a:cubicBezTo>
                    <a:pt x="626" y="598"/>
                    <a:pt x="624" y="596"/>
                    <a:pt x="624" y="594"/>
                  </a:cubicBezTo>
                  <a:cubicBezTo>
                    <a:pt x="623" y="591"/>
                    <a:pt x="623" y="588"/>
                    <a:pt x="622" y="584"/>
                  </a:cubicBezTo>
                  <a:cubicBezTo>
                    <a:pt x="621" y="582"/>
                    <a:pt x="621" y="580"/>
                    <a:pt x="621" y="578"/>
                  </a:cubicBezTo>
                  <a:cubicBezTo>
                    <a:pt x="621" y="574"/>
                    <a:pt x="621" y="572"/>
                    <a:pt x="622" y="569"/>
                  </a:cubicBezTo>
                  <a:cubicBezTo>
                    <a:pt x="623" y="564"/>
                    <a:pt x="624" y="562"/>
                    <a:pt x="629" y="559"/>
                  </a:cubicBezTo>
                  <a:cubicBezTo>
                    <a:pt x="633" y="558"/>
                    <a:pt x="634" y="555"/>
                    <a:pt x="634" y="551"/>
                  </a:cubicBezTo>
                  <a:cubicBezTo>
                    <a:pt x="635" y="546"/>
                    <a:pt x="637" y="542"/>
                    <a:pt x="639" y="537"/>
                  </a:cubicBezTo>
                  <a:cubicBezTo>
                    <a:pt x="640" y="534"/>
                    <a:pt x="642" y="530"/>
                    <a:pt x="643" y="527"/>
                  </a:cubicBezTo>
                  <a:cubicBezTo>
                    <a:pt x="644" y="525"/>
                    <a:pt x="644" y="523"/>
                    <a:pt x="645" y="522"/>
                  </a:cubicBezTo>
                  <a:cubicBezTo>
                    <a:pt x="645" y="522"/>
                    <a:pt x="644" y="522"/>
                    <a:pt x="643" y="523"/>
                  </a:cubicBezTo>
                  <a:cubicBezTo>
                    <a:pt x="644" y="521"/>
                    <a:pt x="645" y="520"/>
                    <a:pt x="646" y="518"/>
                  </a:cubicBezTo>
                  <a:cubicBezTo>
                    <a:pt x="647" y="516"/>
                    <a:pt x="647" y="513"/>
                    <a:pt x="650" y="512"/>
                  </a:cubicBezTo>
                  <a:cubicBezTo>
                    <a:pt x="650" y="510"/>
                    <a:pt x="653" y="508"/>
                    <a:pt x="654" y="507"/>
                  </a:cubicBezTo>
                  <a:cubicBezTo>
                    <a:pt x="657" y="503"/>
                    <a:pt x="660" y="498"/>
                    <a:pt x="663" y="494"/>
                  </a:cubicBezTo>
                  <a:cubicBezTo>
                    <a:pt x="666" y="490"/>
                    <a:pt x="668" y="488"/>
                    <a:pt x="672" y="486"/>
                  </a:cubicBezTo>
                  <a:cubicBezTo>
                    <a:pt x="674" y="484"/>
                    <a:pt x="677" y="481"/>
                    <a:pt x="680" y="480"/>
                  </a:cubicBezTo>
                  <a:cubicBezTo>
                    <a:pt x="684" y="479"/>
                    <a:pt x="691" y="479"/>
                    <a:pt x="695" y="481"/>
                  </a:cubicBezTo>
                  <a:cubicBezTo>
                    <a:pt x="698" y="482"/>
                    <a:pt x="700" y="484"/>
                    <a:pt x="704" y="486"/>
                  </a:cubicBezTo>
                  <a:cubicBezTo>
                    <a:pt x="709" y="487"/>
                    <a:pt x="714" y="490"/>
                    <a:pt x="719" y="492"/>
                  </a:cubicBezTo>
                  <a:cubicBezTo>
                    <a:pt x="720" y="490"/>
                    <a:pt x="720" y="488"/>
                    <a:pt x="721" y="486"/>
                  </a:cubicBezTo>
                  <a:cubicBezTo>
                    <a:pt x="723" y="482"/>
                    <a:pt x="726" y="477"/>
                    <a:pt x="728" y="472"/>
                  </a:cubicBezTo>
                  <a:cubicBezTo>
                    <a:pt x="730" y="469"/>
                    <a:pt x="732" y="467"/>
                    <a:pt x="733" y="464"/>
                  </a:cubicBezTo>
                  <a:cubicBezTo>
                    <a:pt x="733" y="463"/>
                    <a:pt x="734" y="461"/>
                    <a:pt x="735" y="459"/>
                  </a:cubicBezTo>
                  <a:cubicBezTo>
                    <a:pt x="735" y="458"/>
                    <a:pt x="735" y="454"/>
                    <a:pt x="735" y="452"/>
                  </a:cubicBezTo>
                  <a:cubicBezTo>
                    <a:pt x="735" y="429"/>
                    <a:pt x="735" y="429"/>
                    <a:pt x="735" y="429"/>
                  </a:cubicBezTo>
                  <a:cubicBezTo>
                    <a:pt x="735" y="424"/>
                    <a:pt x="735" y="418"/>
                    <a:pt x="734" y="413"/>
                  </a:cubicBezTo>
                  <a:cubicBezTo>
                    <a:pt x="737" y="416"/>
                    <a:pt x="742" y="415"/>
                    <a:pt x="746" y="415"/>
                  </a:cubicBezTo>
                  <a:cubicBezTo>
                    <a:pt x="748" y="415"/>
                    <a:pt x="749" y="416"/>
                    <a:pt x="752" y="417"/>
                  </a:cubicBezTo>
                  <a:cubicBezTo>
                    <a:pt x="754" y="418"/>
                    <a:pt x="758" y="418"/>
                    <a:pt x="760" y="419"/>
                  </a:cubicBezTo>
                  <a:cubicBezTo>
                    <a:pt x="769" y="422"/>
                    <a:pt x="778" y="424"/>
                    <a:pt x="787" y="426"/>
                  </a:cubicBezTo>
                  <a:cubicBezTo>
                    <a:pt x="793" y="427"/>
                    <a:pt x="799" y="426"/>
                    <a:pt x="804" y="429"/>
                  </a:cubicBezTo>
                  <a:cubicBezTo>
                    <a:pt x="811" y="433"/>
                    <a:pt x="817" y="435"/>
                    <a:pt x="824" y="436"/>
                  </a:cubicBezTo>
                  <a:cubicBezTo>
                    <a:pt x="826" y="436"/>
                    <a:pt x="827" y="437"/>
                    <a:pt x="829" y="436"/>
                  </a:cubicBezTo>
                  <a:cubicBezTo>
                    <a:pt x="830" y="435"/>
                    <a:pt x="833" y="431"/>
                    <a:pt x="833" y="429"/>
                  </a:cubicBezTo>
                  <a:cubicBezTo>
                    <a:pt x="835" y="427"/>
                    <a:pt x="835" y="426"/>
                    <a:pt x="836" y="424"/>
                  </a:cubicBezTo>
                  <a:cubicBezTo>
                    <a:pt x="836" y="423"/>
                    <a:pt x="839" y="421"/>
                    <a:pt x="839" y="420"/>
                  </a:cubicBezTo>
                  <a:cubicBezTo>
                    <a:pt x="839" y="416"/>
                    <a:pt x="826" y="413"/>
                    <a:pt x="823" y="411"/>
                  </a:cubicBezTo>
                  <a:cubicBezTo>
                    <a:pt x="825" y="408"/>
                    <a:pt x="830" y="407"/>
                    <a:pt x="833" y="405"/>
                  </a:cubicBezTo>
                  <a:cubicBezTo>
                    <a:pt x="838" y="402"/>
                    <a:pt x="842" y="399"/>
                    <a:pt x="847" y="395"/>
                  </a:cubicBezTo>
                  <a:cubicBezTo>
                    <a:pt x="852" y="391"/>
                    <a:pt x="855" y="389"/>
                    <a:pt x="855" y="382"/>
                  </a:cubicBezTo>
                  <a:cubicBezTo>
                    <a:pt x="855" y="374"/>
                    <a:pt x="853" y="368"/>
                    <a:pt x="848" y="361"/>
                  </a:cubicBezTo>
                  <a:cubicBezTo>
                    <a:pt x="845" y="357"/>
                    <a:pt x="842" y="352"/>
                    <a:pt x="840" y="347"/>
                  </a:cubicBezTo>
                  <a:cubicBezTo>
                    <a:pt x="838" y="345"/>
                    <a:pt x="837" y="341"/>
                    <a:pt x="835" y="339"/>
                  </a:cubicBezTo>
                  <a:cubicBezTo>
                    <a:pt x="836" y="336"/>
                    <a:pt x="849" y="336"/>
                    <a:pt x="852" y="336"/>
                  </a:cubicBezTo>
                  <a:cubicBezTo>
                    <a:pt x="857" y="335"/>
                    <a:pt x="863" y="335"/>
                    <a:pt x="869" y="334"/>
                  </a:cubicBezTo>
                  <a:cubicBezTo>
                    <a:pt x="869" y="333"/>
                    <a:pt x="869" y="332"/>
                    <a:pt x="869" y="332"/>
                  </a:cubicBezTo>
                  <a:cubicBezTo>
                    <a:pt x="871" y="331"/>
                    <a:pt x="875" y="334"/>
                    <a:pt x="877" y="335"/>
                  </a:cubicBezTo>
                  <a:cubicBezTo>
                    <a:pt x="880" y="336"/>
                    <a:pt x="883" y="338"/>
                    <a:pt x="886" y="339"/>
                  </a:cubicBezTo>
                  <a:cubicBezTo>
                    <a:pt x="886" y="336"/>
                    <a:pt x="886" y="332"/>
                    <a:pt x="886" y="329"/>
                  </a:cubicBezTo>
                  <a:cubicBezTo>
                    <a:pt x="885" y="324"/>
                    <a:pt x="883" y="322"/>
                    <a:pt x="882" y="319"/>
                  </a:cubicBezTo>
                  <a:cubicBezTo>
                    <a:pt x="879" y="312"/>
                    <a:pt x="886" y="310"/>
                    <a:pt x="891" y="308"/>
                  </a:cubicBezTo>
                  <a:cubicBezTo>
                    <a:pt x="896" y="307"/>
                    <a:pt x="901" y="304"/>
                    <a:pt x="907" y="304"/>
                  </a:cubicBezTo>
                  <a:cubicBezTo>
                    <a:pt x="909" y="304"/>
                    <a:pt x="914" y="303"/>
                    <a:pt x="916" y="305"/>
                  </a:cubicBezTo>
                  <a:cubicBezTo>
                    <a:pt x="918" y="307"/>
                    <a:pt x="918" y="311"/>
                    <a:pt x="919" y="313"/>
                  </a:cubicBezTo>
                  <a:cubicBezTo>
                    <a:pt x="920" y="315"/>
                    <a:pt x="922" y="316"/>
                    <a:pt x="923" y="317"/>
                  </a:cubicBezTo>
                  <a:cubicBezTo>
                    <a:pt x="924" y="319"/>
                    <a:pt x="924" y="320"/>
                    <a:pt x="925" y="322"/>
                  </a:cubicBezTo>
                  <a:cubicBezTo>
                    <a:pt x="926" y="326"/>
                    <a:pt x="928" y="331"/>
                    <a:pt x="931" y="335"/>
                  </a:cubicBezTo>
                  <a:cubicBezTo>
                    <a:pt x="933" y="338"/>
                    <a:pt x="935" y="340"/>
                    <a:pt x="937" y="342"/>
                  </a:cubicBezTo>
                  <a:cubicBezTo>
                    <a:pt x="940" y="345"/>
                    <a:pt x="943" y="349"/>
                    <a:pt x="945" y="352"/>
                  </a:cubicBezTo>
                  <a:cubicBezTo>
                    <a:pt x="946" y="353"/>
                    <a:pt x="947" y="355"/>
                    <a:pt x="948" y="356"/>
                  </a:cubicBezTo>
                  <a:cubicBezTo>
                    <a:pt x="949" y="358"/>
                    <a:pt x="951" y="359"/>
                    <a:pt x="951" y="361"/>
                  </a:cubicBezTo>
                  <a:cubicBezTo>
                    <a:pt x="952" y="362"/>
                    <a:pt x="952" y="363"/>
                    <a:pt x="953" y="364"/>
                  </a:cubicBezTo>
                  <a:cubicBezTo>
                    <a:pt x="955" y="366"/>
                    <a:pt x="955" y="364"/>
                    <a:pt x="956" y="367"/>
                  </a:cubicBezTo>
                  <a:cubicBezTo>
                    <a:pt x="957" y="374"/>
                    <a:pt x="956" y="382"/>
                    <a:pt x="957" y="389"/>
                  </a:cubicBezTo>
                  <a:cubicBezTo>
                    <a:pt x="959" y="389"/>
                    <a:pt x="960" y="388"/>
                    <a:pt x="962" y="388"/>
                  </a:cubicBezTo>
                  <a:cubicBezTo>
                    <a:pt x="964" y="388"/>
                    <a:pt x="966" y="388"/>
                    <a:pt x="967" y="389"/>
                  </a:cubicBezTo>
                  <a:cubicBezTo>
                    <a:pt x="973" y="390"/>
                    <a:pt x="977" y="391"/>
                    <a:pt x="982" y="393"/>
                  </a:cubicBezTo>
                  <a:cubicBezTo>
                    <a:pt x="984" y="394"/>
                    <a:pt x="985" y="395"/>
                    <a:pt x="987" y="395"/>
                  </a:cubicBezTo>
                  <a:cubicBezTo>
                    <a:pt x="989" y="395"/>
                    <a:pt x="992" y="395"/>
                    <a:pt x="994" y="395"/>
                  </a:cubicBezTo>
                  <a:cubicBezTo>
                    <a:pt x="998" y="397"/>
                    <a:pt x="998" y="400"/>
                    <a:pt x="1002" y="401"/>
                  </a:cubicBezTo>
                  <a:cubicBezTo>
                    <a:pt x="1006" y="402"/>
                    <a:pt x="1011" y="398"/>
                    <a:pt x="1015" y="398"/>
                  </a:cubicBezTo>
                  <a:cubicBezTo>
                    <a:pt x="1017" y="398"/>
                    <a:pt x="1019" y="398"/>
                    <a:pt x="1021" y="398"/>
                  </a:cubicBezTo>
                  <a:cubicBezTo>
                    <a:pt x="1024" y="398"/>
                    <a:pt x="1022" y="398"/>
                    <a:pt x="1024" y="395"/>
                  </a:cubicBezTo>
                  <a:cubicBezTo>
                    <a:pt x="1024" y="395"/>
                    <a:pt x="1024" y="394"/>
                    <a:pt x="1024" y="393"/>
                  </a:cubicBezTo>
                  <a:cubicBezTo>
                    <a:pt x="1024" y="392"/>
                    <a:pt x="1026" y="393"/>
                    <a:pt x="1027" y="392"/>
                  </a:cubicBezTo>
                  <a:cubicBezTo>
                    <a:pt x="1028" y="390"/>
                    <a:pt x="1028" y="387"/>
                    <a:pt x="1030" y="384"/>
                  </a:cubicBezTo>
                  <a:cubicBezTo>
                    <a:pt x="1031" y="383"/>
                    <a:pt x="1033" y="381"/>
                    <a:pt x="1034" y="380"/>
                  </a:cubicBezTo>
                  <a:cubicBezTo>
                    <a:pt x="1035" y="378"/>
                    <a:pt x="1035" y="376"/>
                    <a:pt x="1036" y="374"/>
                  </a:cubicBezTo>
                  <a:cubicBezTo>
                    <a:pt x="1042" y="374"/>
                    <a:pt x="1047" y="378"/>
                    <a:pt x="1052" y="381"/>
                  </a:cubicBezTo>
                  <a:cubicBezTo>
                    <a:pt x="1056" y="384"/>
                    <a:pt x="1061" y="386"/>
                    <a:pt x="1065" y="389"/>
                  </a:cubicBezTo>
                  <a:cubicBezTo>
                    <a:pt x="1065" y="390"/>
                    <a:pt x="1066" y="390"/>
                    <a:pt x="1066" y="391"/>
                  </a:cubicBezTo>
                  <a:cubicBezTo>
                    <a:pt x="1067" y="391"/>
                    <a:pt x="1068" y="391"/>
                    <a:pt x="1069" y="392"/>
                  </a:cubicBezTo>
                  <a:cubicBezTo>
                    <a:pt x="1070" y="393"/>
                    <a:pt x="1072" y="393"/>
                    <a:pt x="1074" y="394"/>
                  </a:cubicBezTo>
                  <a:cubicBezTo>
                    <a:pt x="1077" y="395"/>
                    <a:pt x="1081" y="397"/>
                    <a:pt x="1084" y="398"/>
                  </a:cubicBezTo>
                  <a:cubicBezTo>
                    <a:pt x="1086" y="399"/>
                    <a:pt x="1086" y="401"/>
                    <a:pt x="1087" y="402"/>
                  </a:cubicBezTo>
                  <a:cubicBezTo>
                    <a:pt x="1089" y="404"/>
                    <a:pt x="1088" y="410"/>
                    <a:pt x="1091" y="410"/>
                  </a:cubicBezTo>
                  <a:cubicBezTo>
                    <a:pt x="1093" y="409"/>
                    <a:pt x="1093" y="407"/>
                    <a:pt x="1095" y="406"/>
                  </a:cubicBezTo>
                  <a:cubicBezTo>
                    <a:pt x="1097" y="404"/>
                    <a:pt x="1099" y="406"/>
                    <a:pt x="1101" y="405"/>
                  </a:cubicBezTo>
                  <a:cubicBezTo>
                    <a:pt x="1107" y="402"/>
                    <a:pt x="1099" y="392"/>
                    <a:pt x="1100" y="388"/>
                  </a:cubicBezTo>
                  <a:cubicBezTo>
                    <a:pt x="1101" y="385"/>
                    <a:pt x="1104" y="381"/>
                    <a:pt x="1106" y="379"/>
                  </a:cubicBezTo>
                  <a:cubicBezTo>
                    <a:pt x="1102" y="379"/>
                    <a:pt x="1095" y="376"/>
                    <a:pt x="1093" y="373"/>
                  </a:cubicBezTo>
                  <a:cubicBezTo>
                    <a:pt x="1096" y="374"/>
                    <a:pt x="1101" y="373"/>
                    <a:pt x="1104" y="376"/>
                  </a:cubicBezTo>
                  <a:cubicBezTo>
                    <a:pt x="1106" y="377"/>
                    <a:pt x="1106" y="379"/>
                    <a:pt x="1107" y="379"/>
                  </a:cubicBezTo>
                  <a:cubicBezTo>
                    <a:pt x="1107" y="380"/>
                    <a:pt x="1107" y="381"/>
                    <a:pt x="1108" y="381"/>
                  </a:cubicBezTo>
                  <a:cubicBezTo>
                    <a:pt x="1108" y="379"/>
                    <a:pt x="1109" y="380"/>
                    <a:pt x="1110" y="379"/>
                  </a:cubicBezTo>
                  <a:cubicBezTo>
                    <a:pt x="1111" y="378"/>
                    <a:pt x="1112" y="377"/>
                    <a:pt x="1112" y="376"/>
                  </a:cubicBezTo>
                  <a:cubicBezTo>
                    <a:pt x="1112" y="376"/>
                    <a:pt x="1115" y="374"/>
                    <a:pt x="1115" y="374"/>
                  </a:cubicBezTo>
                  <a:cubicBezTo>
                    <a:pt x="1117" y="372"/>
                    <a:pt x="1117" y="370"/>
                    <a:pt x="1118" y="367"/>
                  </a:cubicBezTo>
                  <a:cubicBezTo>
                    <a:pt x="1120" y="363"/>
                    <a:pt x="1120" y="363"/>
                    <a:pt x="1123" y="364"/>
                  </a:cubicBezTo>
                  <a:cubicBezTo>
                    <a:pt x="1126" y="364"/>
                    <a:pt x="1127" y="365"/>
                    <a:pt x="1130" y="365"/>
                  </a:cubicBezTo>
                  <a:cubicBezTo>
                    <a:pt x="1131" y="363"/>
                    <a:pt x="1130" y="362"/>
                    <a:pt x="1130" y="361"/>
                  </a:cubicBezTo>
                  <a:cubicBezTo>
                    <a:pt x="1131" y="358"/>
                    <a:pt x="1132" y="356"/>
                    <a:pt x="1133" y="355"/>
                  </a:cubicBezTo>
                  <a:cubicBezTo>
                    <a:pt x="1134" y="353"/>
                    <a:pt x="1135" y="350"/>
                    <a:pt x="1136" y="348"/>
                  </a:cubicBezTo>
                  <a:cubicBezTo>
                    <a:pt x="1137" y="347"/>
                    <a:pt x="1138" y="347"/>
                    <a:pt x="1139" y="345"/>
                  </a:cubicBezTo>
                  <a:cubicBezTo>
                    <a:pt x="1140" y="343"/>
                    <a:pt x="1140" y="342"/>
                    <a:pt x="1140" y="338"/>
                  </a:cubicBezTo>
                  <a:cubicBezTo>
                    <a:pt x="1140" y="330"/>
                    <a:pt x="1140" y="321"/>
                    <a:pt x="1140" y="313"/>
                  </a:cubicBezTo>
                  <a:cubicBezTo>
                    <a:pt x="1140" y="306"/>
                    <a:pt x="1140" y="299"/>
                    <a:pt x="1140" y="293"/>
                  </a:cubicBezTo>
                  <a:cubicBezTo>
                    <a:pt x="1140" y="288"/>
                    <a:pt x="1141" y="285"/>
                    <a:pt x="1142" y="280"/>
                  </a:cubicBezTo>
                  <a:cubicBezTo>
                    <a:pt x="1144" y="275"/>
                    <a:pt x="1143" y="269"/>
                    <a:pt x="1144" y="264"/>
                  </a:cubicBezTo>
                  <a:cubicBezTo>
                    <a:pt x="1144" y="261"/>
                    <a:pt x="1145" y="258"/>
                    <a:pt x="1145" y="256"/>
                  </a:cubicBezTo>
                  <a:cubicBezTo>
                    <a:pt x="1145" y="255"/>
                    <a:pt x="1144" y="253"/>
                    <a:pt x="1145" y="252"/>
                  </a:cubicBezTo>
                  <a:cubicBezTo>
                    <a:pt x="1145" y="251"/>
                    <a:pt x="1145" y="251"/>
                    <a:pt x="1146" y="250"/>
                  </a:cubicBezTo>
                  <a:cubicBezTo>
                    <a:pt x="1146" y="249"/>
                    <a:pt x="1146" y="248"/>
                    <a:pt x="1147" y="247"/>
                  </a:cubicBezTo>
                  <a:cubicBezTo>
                    <a:pt x="1149" y="243"/>
                    <a:pt x="1155" y="245"/>
                    <a:pt x="1158" y="242"/>
                  </a:cubicBezTo>
                  <a:cubicBezTo>
                    <a:pt x="1161" y="239"/>
                    <a:pt x="1158" y="234"/>
                    <a:pt x="1159" y="230"/>
                  </a:cubicBezTo>
                  <a:cubicBezTo>
                    <a:pt x="1159" y="228"/>
                    <a:pt x="1160" y="227"/>
                    <a:pt x="1161" y="226"/>
                  </a:cubicBezTo>
                  <a:cubicBezTo>
                    <a:pt x="1163" y="224"/>
                    <a:pt x="1163" y="221"/>
                    <a:pt x="1164" y="219"/>
                  </a:cubicBezTo>
                  <a:cubicBezTo>
                    <a:pt x="1167" y="214"/>
                    <a:pt x="1173" y="208"/>
                    <a:pt x="1178" y="205"/>
                  </a:cubicBezTo>
                  <a:cubicBezTo>
                    <a:pt x="1182" y="203"/>
                    <a:pt x="1187" y="204"/>
                    <a:pt x="1191" y="204"/>
                  </a:cubicBezTo>
                  <a:cubicBezTo>
                    <a:pt x="1195" y="204"/>
                    <a:pt x="1200" y="203"/>
                    <a:pt x="1204" y="204"/>
                  </a:cubicBezTo>
                  <a:cubicBezTo>
                    <a:pt x="1204" y="204"/>
                    <a:pt x="1204" y="206"/>
                    <a:pt x="1204" y="206"/>
                  </a:cubicBezTo>
                  <a:cubicBezTo>
                    <a:pt x="1207" y="207"/>
                    <a:pt x="1211" y="205"/>
                    <a:pt x="1214" y="205"/>
                  </a:cubicBezTo>
                  <a:cubicBezTo>
                    <a:pt x="1217" y="204"/>
                    <a:pt x="1220" y="204"/>
                    <a:pt x="1223" y="203"/>
                  </a:cubicBezTo>
                  <a:cubicBezTo>
                    <a:pt x="1224" y="199"/>
                    <a:pt x="1223" y="195"/>
                    <a:pt x="1226" y="192"/>
                  </a:cubicBezTo>
                  <a:cubicBezTo>
                    <a:pt x="1227" y="190"/>
                    <a:pt x="1229" y="189"/>
                    <a:pt x="1231" y="187"/>
                  </a:cubicBezTo>
                  <a:cubicBezTo>
                    <a:pt x="1233" y="185"/>
                    <a:pt x="1234" y="182"/>
                    <a:pt x="1237" y="180"/>
                  </a:cubicBezTo>
                  <a:cubicBezTo>
                    <a:pt x="1237" y="180"/>
                    <a:pt x="1238" y="179"/>
                    <a:pt x="1239" y="179"/>
                  </a:cubicBezTo>
                  <a:cubicBezTo>
                    <a:pt x="1240" y="179"/>
                    <a:pt x="1241" y="179"/>
                    <a:pt x="1242" y="178"/>
                  </a:cubicBezTo>
                  <a:cubicBezTo>
                    <a:pt x="1244" y="179"/>
                    <a:pt x="1244" y="180"/>
                    <a:pt x="1245" y="181"/>
                  </a:cubicBezTo>
                  <a:cubicBezTo>
                    <a:pt x="1249" y="183"/>
                    <a:pt x="1253" y="181"/>
                    <a:pt x="1256" y="181"/>
                  </a:cubicBezTo>
                  <a:cubicBezTo>
                    <a:pt x="1260" y="182"/>
                    <a:pt x="1257" y="180"/>
                    <a:pt x="1259" y="183"/>
                  </a:cubicBezTo>
                  <a:cubicBezTo>
                    <a:pt x="1260" y="183"/>
                    <a:pt x="1261" y="186"/>
                    <a:pt x="1261" y="187"/>
                  </a:cubicBezTo>
                  <a:cubicBezTo>
                    <a:pt x="1261" y="188"/>
                    <a:pt x="1260" y="191"/>
                    <a:pt x="1261" y="192"/>
                  </a:cubicBezTo>
                  <a:cubicBezTo>
                    <a:pt x="1262" y="195"/>
                    <a:pt x="1264" y="194"/>
                    <a:pt x="1266" y="195"/>
                  </a:cubicBezTo>
                  <a:cubicBezTo>
                    <a:pt x="1267" y="196"/>
                    <a:pt x="1269" y="199"/>
                    <a:pt x="1269" y="199"/>
                  </a:cubicBezTo>
                  <a:cubicBezTo>
                    <a:pt x="1271" y="202"/>
                    <a:pt x="1274" y="204"/>
                    <a:pt x="1275" y="207"/>
                  </a:cubicBezTo>
                  <a:cubicBezTo>
                    <a:pt x="1277" y="210"/>
                    <a:pt x="1278" y="212"/>
                    <a:pt x="1280" y="214"/>
                  </a:cubicBezTo>
                  <a:cubicBezTo>
                    <a:pt x="1280" y="215"/>
                    <a:pt x="1281" y="217"/>
                    <a:pt x="1282" y="218"/>
                  </a:cubicBezTo>
                  <a:cubicBezTo>
                    <a:pt x="1283" y="220"/>
                    <a:pt x="1284" y="221"/>
                    <a:pt x="1286" y="223"/>
                  </a:cubicBezTo>
                  <a:cubicBezTo>
                    <a:pt x="1293" y="226"/>
                    <a:pt x="1299" y="229"/>
                    <a:pt x="1304" y="234"/>
                  </a:cubicBezTo>
                  <a:cubicBezTo>
                    <a:pt x="1308" y="237"/>
                    <a:pt x="1310" y="241"/>
                    <a:pt x="1314" y="243"/>
                  </a:cubicBezTo>
                  <a:cubicBezTo>
                    <a:pt x="1316" y="244"/>
                    <a:pt x="1317" y="245"/>
                    <a:pt x="1318" y="247"/>
                  </a:cubicBezTo>
                  <a:cubicBezTo>
                    <a:pt x="1318" y="248"/>
                    <a:pt x="1318" y="250"/>
                    <a:pt x="1319" y="251"/>
                  </a:cubicBezTo>
                  <a:cubicBezTo>
                    <a:pt x="1320" y="255"/>
                    <a:pt x="1321" y="258"/>
                    <a:pt x="1323" y="262"/>
                  </a:cubicBezTo>
                  <a:cubicBezTo>
                    <a:pt x="1324" y="265"/>
                    <a:pt x="1326" y="269"/>
                    <a:pt x="1326" y="272"/>
                  </a:cubicBezTo>
                  <a:cubicBezTo>
                    <a:pt x="1326" y="274"/>
                    <a:pt x="1325" y="276"/>
                    <a:pt x="1324" y="278"/>
                  </a:cubicBezTo>
                  <a:cubicBezTo>
                    <a:pt x="1322" y="280"/>
                    <a:pt x="1321" y="282"/>
                    <a:pt x="1319" y="285"/>
                  </a:cubicBezTo>
                  <a:cubicBezTo>
                    <a:pt x="1315" y="290"/>
                    <a:pt x="1312" y="296"/>
                    <a:pt x="1308" y="303"/>
                  </a:cubicBezTo>
                  <a:cubicBezTo>
                    <a:pt x="1307" y="305"/>
                    <a:pt x="1306" y="308"/>
                    <a:pt x="1304" y="311"/>
                  </a:cubicBezTo>
                  <a:cubicBezTo>
                    <a:pt x="1303" y="312"/>
                    <a:pt x="1302" y="313"/>
                    <a:pt x="1302" y="314"/>
                  </a:cubicBezTo>
                  <a:cubicBezTo>
                    <a:pt x="1300" y="318"/>
                    <a:pt x="1299" y="321"/>
                    <a:pt x="1301" y="325"/>
                  </a:cubicBezTo>
                  <a:cubicBezTo>
                    <a:pt x="1302" y="326"/>
                    <a:pt x="1302" y="328"/>
                    <a:pt x="1303" y="330"/>
                  </a:cubicBezTo>
                  <a:cubicBezTo>
                    <a:pt x="1304" y="332"/>
                    <a:pt x="1305" y="334"/>
                    <a:pt x="1306" y="336"/>
                  </a:cubicBezTo>
                  <a:cubicBezTo>
                    <a:pt x="1307" y="337"/>
                    <a:pt x="1308" y="339"/>
                    <a:pt x="1310" y="340"/>
                  </a:cubicBezTo>
                  <a:cubicBezTo>
                    <a:pt x="1311" y="342"/>
                    <a:pt x="1314" y="341"/>
                    <a:pt x="1316" y="340"/>
                  </a:cubicBezTo>
                  <a:cubicBezTo>
                    <a:pt x="1319" y="339"/>
                    <a:pt x="1320" y="339"/>
                    <a:pt x="1322" y="337"/>
                  </a:cubicBezTo>
                  <a:cubicBezTo>
                    <a:pt x="1323" y="336"/>
                    <a:pt x="1325" y="336"/>
                    <a:pt x="1325" y="335"/>
                  </a:cubicBezTo>
                  <a:cubicBezTo>
                    <a:pt x="1326" y="333"/>
                    <a:pt x="1326" y="331"/>
                    <a:pt x="1327" y="330"/>
                  </a:cubicBezTo>
                  <a:cubicBezTo>
                    <a:pt x="1327" y="327"/>
                    <a:pt x="1327" y="325"/>
                    <a:pt x="1327" y="323"/>
                  </a:cubicBezTo>
                  <a:cubicBezTo>
                    <a:pt x="1328" y="320"/>
                    <a:pt x="1328" y="317"/>
                    <a:pt x="1329" y="315"/>
                  </a:cubicBezTo>
                  <a:cubicBezTo>
                    <a:pt x="1329" y="312"/>
                    <a:pt x="1330" y="309"/>
                    <a:pt x="1331" y="306"/>
                  </a:cubicBezTo>
                  <a:cubicBezTo>
                    <a:pt x="1331" y="305"/>
                    <a:pt x="1330" y="303"/>
                    <a:pt x="1330" y="302"/>
                  </a:cubicBezTo>
                  <a:cubicBezTo>
                    <a:pt x="1331" y="301"/>
                    <a:pt x="1332" y="300"/>
                    <a:pt x="1333" y="299"/>
                  </a:cubicBezTo>
                  <a:cubicBezTo>
                    <a:pt x="1335" y="298"/>
                    <a:pt x="1336" y="298"/>
                    <a:pt x="1338" y="298"/>
                  </a:cubicBezTo>
                  <a:cubicBezTo>
                    <a:pt x="1341" y="298"/>
                    <a:pt x="1344" y="295"/>
                    <a:pt x="1347" y="293"/>
                  </a:cubicBezTo>
                  <a:cubicBezTo>
                    <a:pt x="1348" y="292"/>
                    <a:pt x="1350" y="290"/>
                    <a:pt x="1351" y="289"/>
                  </a:cubicBezTo>
                  <a:cubicBezTo>
                    <a:pt x="1352" y="288"/>
                    <a:pt x="1353" y="288"/>
                    <a:pt x="1354" y="288"/>
                  </a:cubicBezTo>
                  <a:cubicBezTo>
                    <a:pt x="1354" y="287"/>
                    <a:pt x="1355" y="286"/>
                    <a:pt x="1356" y="286"/>
                  </a:cubicBezTo>
                  <a:cubicBezTo>
                    <a:pt x="1357" y="285"/>
                    <a:pt x="1358" y="285"/>
                    <a:pt x="1359" y="283"/>
                  </a:cubicBezTo>
                  <a:cubicBezTo>
                    <a:pt x="1360" y="282"/>
                    <a:pt x="1360" y="282"/>
                    <a:pt x="1362" y="282"/>
                  </a:cubicBezTo>
                  <a:cubicBezTo>
                    <a:pt x="1362" y="282"/>
                    <a:pt x="1363" y="282"/>
                    <a:pt x="1363" y="282"/>
                  </a:cubicBezTo>
                  <a:cubicBezTo>
                    <a:pt x="1364" y="282"/>
                    <a:pt x="1365" y="283"/>
                    <a:pt x="1365" y="283"/>
                  </a:cubicBezTo>
                  <a:cubicBezTo>
                    <a:pt x="1366" y="283"/>
                    <a:pt x="1366" y="281"/>
                    <a:pt x="1366" y="280"/>
                  </a:cubicBezTo>
                  <a:cubicBezTo>
                    <a:pt x="1367" y="278"/>
                    <a:pt x="1368" y="276"/>
                    <a:pt x="1370" y="274"/>
                  </a:cubicBezTo>
                  <a:cubicBezTo>
                    <a:pt x="1371" y="272"/>
                    <a:pt x="1372" y="269"/>
                    <a:pt x="1373" y="267"/>
                  </a:cubicBezTo>
                  <a:cubicBezTo>
                    <a:pt x="1374" y="265"/>
                    <a:pt x="1375" y="264"/>
                    <a:pt x="1375" y="261"/>
                  </a:cubicBezTo>
                  <a:cubicBezTo>
                    <a:pt x="1375" y="258"/>
                    <a:pt x="1375" y="255"/>
                    <a:pt x="1375" y="252"/>
                  </a:cubicBezTo>
                  <a:cubicBezTo>
                    <a:pt x="1375" y="251"/>
                    <a:pt x="1375" y="250"/>
                    <a:pt x="1374" y="249"/>
                  </a:cubicBezTo>
                  <a:cubicBezTo>
                    <a:pt x="1373" y="248"/>
                    <a:pt x="1370" y="247"/>
                    <a:pt x="1371" y="246"/>
                  </a:cubicBezTo>
                  <a:cubicBezTo>
                    <a:pt x="1372" y="245"/>
                    <a:pt x="1373" y="246"/>
                    <a:pt x="1374" y="246"/>
                  </a:cubicBezTo>
                  <a:cubicBezTo>
                    <a:pt x="1376" y="247"/>
                    <a:pt x="1378" y="248"/>
                    <a:pt x="1380" y="249"/>
                  </a:cubicBezTo>
                  <a:cubicBezTo>
                    <a:pt x="1382" y="250"/>
                    <a:pt x="1384" y="253"/>
                    <a:pt x="1385" y="256"/>
                  </a:cubicBezTo>
                  <a:cubicBezTo>
                    <a:pt x="1386" y="258"/>
                    <a:pt x="1388" y="258"/>
                    <a:pt x="1389" y="259"/>
                  </a:cubicBezTo>
                  <a:cubicBezTo>
                    <a:pt x="1392" y="260"/>
                    <a:pt x="1395" y="261"/>
                    <a:pt x="1397" y="263"/>
                  </a:cubicBezTo>
                  <a:cubicBezTo>
                    <a:pt x="1400" y="264"/>
                    <a:pt x="1402" y="266"/>
                    <a:pt x="1405" y="266"/>
                  </a:cubicBezTo>
                  <a:cubicBezTo>
                    <a:pt x="1408" y="267"/>
                    <a:pt x="1413" y="265"/>
                    <a:pt x="1415" y="264"/>
                  </a:cubicBezTo>
                  <a:cubicBezTo>
                    <a:pt x="1416" y="262"/>
                    <a:pt x="1417" y="260"/>
                    <a:pt x="1418" y="259"/>
                  </a:cubicBezTo>
                  <a:cubicBezTo>
                    <a:pt x="1420" y="255"/>
                    <a:pt x="1419" y="250"/>
                    <a:pt x="1418" y="246"/>
                  </a:cubicBezTo>
                  <a:cubicBezTo>
                    <a:pt x="1417" y="244"/>
                    <a:pt x="1417" y="242"/>
                    <a:pt x="1416" y="240"/>
                  </a:cubicBezTo>
                  <a:cubicBezTo>
                    <a:pt x="1416" y="238"/>
                    <a:pt x="1415" y="237"/>
                    <a:pt x="1415" y="235"/>
                  </a:cubicBezTo>
                  <a:cubicBezTo>
                    <a:pt x="1415" y="233"/>
                    <a:pt x="1414" y="232"/>
                    <a:pt x="1414" y="230"/>
                  </a:cubicBezTo>
                  <a:cubicBezTo>
                    <a:pt x="1413" y="229"/>
                    <a:pt x="1413" y="227"/>
                    <a:pt x="1412" y="226"/>
                  </a:cubicBezTo>
                  <a:cubicBezTo>
                    <a:pt x="1410" y="224"/>
                    <a:pt x="1407" y="227"/>
                    <a:pt x="1405" y="227"/>
                  </a:cubicBezTo>
                  <a:cubicBezTo>
                    <a:pt x="1403" y="227"/>
                    <a:pt x="1401" y="226"/>
                    <a:pt x="1400" y="226"/>
                  </a:cubicBezTo>
                  <a:cubicBezTo>
                    <a:pt x="1398" y="225"/>
                    <a:pt x="1397" y="224"/>
                    <a:pt x="1396" y="223"/>
                  </a:cubicBezTo>
                  <a:cubicBezTo>
                    <a:pt x="1396" y="223"/>
                    <a:pt x="1396" y="222"/>
                    <a:pt x="1396" y="222"/>
                  </a:cubicBezTo>
                  <a:cubicBezTo>
                    <a:pt x="1394" y="221"/>
                    <a:pt x="1392" y="223"/>
                    <a:pt x="1390" y="223"/>
                  </a:cubicBezTo>
                  <a:cubicBezTo>
                    <a:pt x="1386" y="222"/>
                    <a:pt x="1390" y="218"/>
                    <a:pt x="1390" y="215"/>
                  </a:cubicBezTo>
                  <a:cubicBezTo>
                    <a:pt x="1390" y="214"/>
                    <a:pt x="1384" y="212"/>
                    <a:pt x="1383" y="212"/>
                  </a:cubicBezTo>
                  <a:cubicBezTo>
                    <a:pt x="1381" y="211"/>
                    <a:pt x="1376" y="210"/>
                    <a:pt x="1374" y="213"/>
                  </a:cubicBezTo>
                  <a:cubicBezTo>
                    <a:pt x="1372" y="217"/>
                    <a:pt x="1377" y="220"/>
                    <a:pt x="1376" y="224"/>
                  </a:cubicBezTo>
                  <a:cubicBezTo>
                    <a:pt x="1375" y="224"/>
                    <a:pt x="1373" y="224"/>
                    <a:pt x="1372" y="224"/>
                  </a:cubicBezTo>
                  <a:cubicBezTo>
                    <a:pt x="1372" y="226"/>
                    <a:pt x="1373" y="228"/>
                    <a:pt x="1373" y="229"/>
                  </a:cubicBezTo>
                  <a:cubicBezTo>
                    <a:pt x="1374" y="230"/>
                    <a:pt x="1374" y="234"/>
                    <a:pt x="1373" y="235"/>
                  </a:cubicBezTo>
                  <a:cubicBezTo>
                    <a:pt x="1372" y="234"/>
                    <a:pt x="1373" y="233"/>
                    <a:pt x="1372" y="232"/>
                  </a:cubicBezTo>
                  <a:cubicBezTo>
                    <a:pt x="1371" y="231"/>
                    <a:pt x="1371" y="231"/>
                    <a:pt x="1370" y="230"/>
                  </a:cubicBezTo>
                  <a:cubicBezTo>
                    <a:pt x="1369" y="230"/>
                    <a:pt x="1367" y="229"/>
                    <a:pt x="1367" y="228"/>
                  </a:cubicBezTo>
                  <a:cubicBezTo>
                    <a:pt x="1367" y="226"/>
                    <a:pt x="1369" y="226"/>
                    <a:pt x="1370" y="225"/>
                  </a:cubicBezTo>
                  <a:cubicBezTo>
                    <a:pt x="1371" y="224"/>
                    <a:pt x="1372" y="223"/>
                    <a:pt x="1371" y="222"/>
                  </a:cubicBezTo>
                  <a:cubicBezTo>
                    <a:pt x="1371" y="221"/>
                    <a:pt x="1370" y="221"/>
                    <a:pt x="1370" y="220"/>
                  </a:cubicBezTo>
                  <a:cubicBezTo>
                    <a:pt x="1368" y="218"/>
                    <a:pt x="1369" y="218"/>
                    <a:pt x="1371" y="218"/>
                  </a:cubicBezTo>
                  <a:cubicBezTo>
                    <a:pt x="1372" y="218"/>
                    <a:pt x="1373" y="216"/>
                    <a:pt x="1373" y="215"/>
                  </a:cubicBezTo>
                  <a:cubicBezTo>
                    <a:pt x="1373" y="214"/>
                    <a:pt x="1371" y="213"/>
                    <a:pt x="1370" y="213"/>
                  </a:cubicBezTo>
                  <a:cubicBezTo>
                    <a:pt x="1369" y="211"/>
                    <a:pt x="1368" y="210"/>
                    <a:pt x="1367" y="209"/>
                  </a:cubicBezTo>
                  <a:cubicBezTo>
                    <a:pt x="1365" y="207"/>
                    <a:pt x="1362" y="207"/>
                    <a:pt x="1359" y="208"/>
                  </a:cubicBezTo>
                  <a:cubicBezTo>
                    <a:pt x="1357" y="208"/>
                    <a:pt x="1355" y="208"/>
                    <a:pt x="1353" y="208"/>
                  </a:cubicBezTo>
                  <a:cubicBezTo>
                    <a:pt x="1352" y="207"/>
                    <a:pt x="1350" y="207"/>
                    <a:pt x="1349" y="207"/>
                  </a:cubicBezTo>
                  <a:cubicBezTo>
                    <a:pt x="1348" y="207"/>
                    <a:pt x="1348" y="206"/>
                    <a:pt x="1347" y="206"/>
                  </a:cubicBezTo>
                  <a:cubicBezTo>
                    <a:pt x="1346" y="206"/>
                    <a:pt x="1345" y="206"/>
                    <a:pt x="1344" y="206"/>
                  </a:cubicBezTo>
                  <a:cubicBezTo>
                    <a:pt x="1342" y="206"/>
                    <a:pt x="1342" y="205"/>
                    <a:pt x="1341" y="204"/>
                  </a:cubicBezTo>
                  <a:cubicBezTo>
                    <a:pt x="1341" y="204"/>
                    <a:pt x="1340" y="204"/>
                    <a:pt x="1340" y="204"/>
                  </a:cubicBezTo>
                  <a:cubicBezTo>
                    <a:pt x="1339" y="203"/>
                    <a:pt x="1339" y="203"/>
                    <a:pt x="1339" y="202"/>
                  </a:cubicBezTo>
                  <a:cubicBezTo>
                    <a:pt x="1338" y="202"/>
                    <a:pt x="1338" y="202"/>
                    <a:pt x="1338" y="202"/>
                  </a:cubicBezTo>
                  <a:cubicBezTo>
                    <a:pt x="1339" y="202"/>
                    <a:pt x="1339" y="202"/>
                    <a:pt x="1339" y="200"/>
                  </a:cubicBezTo>
                  <a:cubicBezTo>
                    <a:pt x="1340" y="195"/>
                    <a:pt x="1338" y="195"/>
                    <a:pt x="1335" y="193"/>
                  </a:cubicBezTo>
                  <a:cubicBezTo>
                    <a:pt x="1325" y="188"/>
                    <a:pt x="1314" y="183"/>
                    <a:pt x="1303" y="180"/>
                  </a:cubicBezTo>
                  <a:cubicBezTo>
                    <a:pt x="1298" y="179"/>
                    <a:pt x="1295" y="177"/>
                    <a:pt x="1295" y="174"/>
                  </a:cubicBezTo>
                  <a:cubicBezTo>
                    <a:pt x="1307" y="173"/>
                    <a:pt x="1320" y="172"/>
                    <a:pt x="1332" y="174"/>
                  </a:cubicBezTo>
                  <a:cubicBezTo>
                    <a:pt x="1338" y="174"/>
                    <a:pt x="1346" y="173"/>
                    <a:pt x="1352" y="175"/>
                  </a:cubicBezTo>
                  <a:cubicBezTo>
                    <a:pt x="1355" y="176"/>
                    <a:pt x="1356" y="178"/>
                    <a:pt x="1359" y="178"/>
                  </a:cubicBezTo>
                  <a:cubicBezTo>
                    <a:pt x="1361" y="178"/>
                    <a:pt x="1363" y="178"/>
                    <a:pt x="1365" y="178"/>
                  </a:cubicBezTo>
                  <a:cubicBezTo>
                    <a:pt x="1369" y="178"/>
                    <a:pt x="1377" y="179"/>
                    <a:pt x="1381" y="178"/>
                  </a:cubicBezTo>
                  <a:cubicBezTo>
                    <a:pt x="1382" y="177"/>
                    <a:pt x="1386" y="174"/>
                    <a:pt x="1387" y="172"/>
                  </a:cubicBezTo>
                  <a:cubicBezTo>
                    <a:pt x="1390" y="169"/>
                    <a:pt x="1389" y="164"/>
                    <a:pt x="1392" y="162"/>
                  </a:cubicBezTo>
                  <a:cubicBezTo>
                    <a:pt x="1393" y="161"/>
                    <a:pt x="1397" y="161"/>
                    <a:pt x="1399" y="160"/>
                  </a:cubicBezTo>
                  <a:cubicBezTo>
                    <a:pt x="1401" y="159"/>
                    <a:pt x="1404" y="157"/>
                    <a:pt x="1406" y="156"/>
                  </a:cubicBezTo>
                  <a:cubicBezTo>
                    <a:pt x="1407" y="155"/>
                    <a:pt x="1406" y="154"/>
                    <a:pt x="1407" y="154"/>
                  </a:cubicBezTo>
                  <a:cubicBezTo>
                    <a:pt x="1408" y="154"/>
                    <a:pt x="1409" y="154"/>
                    <a:pt x="1410" y="154"/>
                  </a:cubicBezTo>
                  <a:cubicBezTo>
                    <a:pt x="1412" y="153"/>
                    <a:pt x="1411" y="151"/>
                    <a:pt x="1413" y="149"/>
                  </a:cubicBezTo>
                  <a:cubicBezTo>
                    <a:pt x="1416" y="146"/>
                    <a:pt x="1420" y="149"/>
                    <a:pt x="1423" y="146"/>
                  </a:cubicBezTo>
                  <a:cubicBezTo>
                    <a:pt x="1429" y="142"/>
                    <a:pt x="1419" y="130"/>
                    <a:pt x="1418" y="124"/>
                  </a:cubicBezTo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  <p:sp>
          <p:nvSpPr>
            <p:cNvPr id="369" name="Freeform 139">
              <a:extLst>
                <a:ext uri="{FF2B5EF4-FFF2-40B4-BE49-F238E27FC236}">
                  <a16:creationId xmlns:a16="http://schemas.microsoft.com/office/drawing/2014/main" id="{68B0C09C-60FD-487E-92D8-4A765815C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0138" y="6602413"/>
              <a:ext cx="34925" cy="2063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3" y="3"/>
                </a:cxn>
                <a:cxn ang="0">
                  <a:pos x="1" y="7"/>
                </a:cxn>
                <a:cxn ang="0">
                  <a:pos x="5" y="10"/>
                </a:cxn>
                <a:cxn ang="0">
                  <a:pos x="14" y="11"/>
                </a:cxn>
                <a:cxn ang="0">
                  <a:pos x="17" y="7"/>
                </a:cxn>
                <a:cxn ang="0">
                  <a:pos x="19" y="3"/>
                </a:cxn>
                <a:cxn ang="0">
                  <a:pos x="16" y="2"/>
                </a:cxn>
              </a:cxnLst>
              <a:rect l="0" t="0" r="r" b="b"/>
              <a:pathLst>
                <a:path w="19" h="11">
                  <a:moveTo>
                    <a:pt x="16" y="2"/>
                  </a:moveTo>
                  <a:cubicBezTo>
                    <a:pt x="12" y="0"/>
                    <a:pt x="6" y="0"/>
                    <a:pt x="3" y="3"/>
                  </a:cubicBezTo>
                  <a:cubicBezTo>
                    <a:pt x="2" y="4"/>
                    <a:pt x="0" y="5"/>
                    <a:pt x="1" y="7"/>
                  </a:cubicBezTo>
                  <a:cubicBezTo>
                    <a:pt x="1" y="9"/>
                    <a:pt x="3" y="9"/>
                    <a:pt x="5" y="10"/>
                  </a:cubicBezTo>
                  <a:cubicBezTo>
                    <a:pt x="7" y="11"/>
                    <a:pt x="11" y="11"/>
                    <a:pt x="14" y="11"/>
                  </a:cubicBezTo>
                  <a:cubicBezTo>
                    <a:pt x="15" y="10"/>
                    <a:pt x="15" y="9"/>
                    <a:pt x="17" y="7"/>
                  </a:cubicBezTo>
                  <a:cubicBezTo>
                    <a:pt x="19" y="6"/>
                    <a:pt x="19" y="6"/>
                    <a:pt x="19" y="3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+mn-lt"/>
              </a:endParaRPr>
            </a:p>
          </p:txBody>
        </p:sp>
      </p:grpSp>
      <p:sp>
        <p:nvSpPr>
          <p:cNvPr id="370" name="Oval 7">
            <a:extLst>
              <a:ext uri="{FF2B5EF4-FFF2-40B4-BE49-F238E27FC236}">
                <a16:creationId xmlns:a16="http://schemas.microsoft.com/office/drawing/2014/main" id="{4A7B2B9F-C903-4A89-8D75-BE51615F4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0069" y="3648759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371" name="Gruppieren 370">
            <a:extLst>
              <a:ext uri="{FF2B5EF4-FFF2-40B4-BE49-F238E27FC236}">
                <a16:creationId xmlns:a16="http://schemas.microsoft.com/office/drawing/2014/main" id="{7C21D908-C05B-4F19-BDC9-B1CF97EFB00B}"/>
              </a:ext>
            </a:extLst>
          </p:cNvPr>
          <p:cNvGrpSpPr/>
          <p:nvPr/>
        </p:nvGrpSpPr>
        <p:grpSpPr>
          <a:xfrm>
            <a:off x="7013897" y="3846587"/>
            <a:ext cx="492344" cy="324343"/>
            <a:chOff x="3363913" y="1768476"/>
            <a:chExt cx="2416175" cy="1601788"/>
          </a:xfrm>
          <a:solidFill>
            <a:schemeClr val="accent3"/>
          </a:solidFill>
        </p:grpSpPr>
        <p:sp>
          <p:nvSpPr>
            <p:cNvPr id="372" name="Rectangle 14">
              <a:extLst>
                <a:ext uri="{FF2B5EF4-FFF2-40B4-BE49-F238E27FC236}">
                  <a16:creationId xmlns:a16="http://schemas.microsoft.com/office/drawing/2014/main" id="{8582C653-5929-4DF0-9772-2BC56687B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7776" y="3262313"/>
              <a:ext cx="539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3" name="Rectangle 15">
              <a:extLst>
                <a:ext uri="{FF2B5EF4-FFF2-40B4-BE49-F238E27FC236}">
                  <a16:creationId xmlns:a16="http://schemas.microsoft.com/office/drawing/2014/main" id="{20C21363-460E-4665-BAD7-63CAF3AC6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813" y="3262313"/>
              <a:ext cx="114300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4" name="Rectangle 16">
              <a:extLst>
                <a:ext uri="{FF2B5EF4-FFF2-40B4-BE49-F238E27FC236}">
                  <a16:creationId xmlns:a16="http://schemas.microsoft.com/office/drawing/2014/main" id="{333CAED7-8AC0-4C4F-8A03-08793225A1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4038" y="3262313"/>
              <a:ext cx="114300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5" name="Rectangle 17">
              <a:extLst>
                <a:ext uri="{FF2B5EF4-FFF2-40B4-BE49-F238E27FC236}">
                  <a16:creationId xmlns:a16="http://schemas.microsoft.com/office/drawing/2014/main" id="{4D7BC892-F79B-4F46-99BE-4B3B826DC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6001" y="3262313"/>
              <a:ext cx="1174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6" name="Rectangle 18">
              <a:extLst>
                <a:ext uri="{FF2B5EF4-FFF2-40B4-BE49-F238E27FC236}">
                  <a16:creationId xmlns:a16="http://schemas.microsoft.com/office/drawing/2014/main" id="{E8EC3FA8-2A22-4DE3-862D-42D6A11804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2588" y="3262313"/>
              <a:ext cx="53975" cy="107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7" name="Freeform 19">
              <a:extLst>
                <a:ext uri="{FF2B5EF4-FFF2-40B4-BE49-F238E27FC236}">
                  <a16:creationId xmlns:a16="http://schemas.microsoft.com/office/drawing/2014/main" id="{06C45CFD-A393-463D-8600-D6CCD409A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913" y="1768476"/>
              <a:ext cx="2416175" cy="1601788"/>
            </a:xfrm>
            <a:custGeom>
              <a:avLst/>
              <a:gdLst>
                <a:gd name="T0" fmla="*/ 828 w 887"/>
                <a:gd name="T1" fmla="*/ 232 h 590"/>
                <a:gd name="T2" fmla="*/ 704 w 887"/>
                <a:gd name="T3" fmla="*/ 185 h 590"/>
                <a:gd name="T4" fmla="*/ 78 w 887"/>
                <a:gd name="T5" fmla="*/ 185 h 590"/>
                <a:gd name="T6" fmla="*/ 233 w 887"/>
                <a:gd name="T7" fmla="*/ 36 h 590"/>
                <a:gd name="T8" fmla="*/ 233 w 887"/>
                <a:gd name="T9" fmla="*/ 8 h 590"/>
                <a:gd name="T10" fmla="*/ 205 w 887"/>
                <a:gd name="T11" fmla="*/ 7 h 590"/>
                <a:gd name="T12" fmla="*/ 0 w 887"/>
                <a:gd name="T13" fmla="*/ 205 h 590"/>
                <a:gd name="T14" fmla="*/ 205 w 887"/>
                <a:gd name="T15" fmla="*/ 402 h 590"/>
                <a:gd name="T16" fmla="*/ 219 w 887"/>
                <a:gd name="T17" fmla="*/ 407 h 590"/>
                <a:gd name="T18" fmla="*/ 233 w 887"/>
                <a:gd name="T19" fmla="*/ 401 h 590"/>
                <a:gd name="T20" fmla="*/ 233 w 887"/>
                <a:gd name="T21" fmla="*/ 373 h 590"/>
                <a:gd name="T22" fmla="*/ 78 w 887"/>
                <a:gd name="T23" fmla="*/ 225 h 590"/>
                <a:gd name="T24" fmla="*/ 704 w 887"/>
                <a:gd name="T25" fmla="*/ 225 h 590"/>
                <a:gd name="T26" fmla="*/ 705 w 887"/>
                <a:gd name="T27" fmla="*/ 225 h 590"/>
                <a:gd name="T28" fmla="*/ 800 w 887"/>
                <a:gd name="T29" fmla="*/ 261 h 590"/>
                <a:gd name="T30" fmla="*/ 847 w 887"/>
                <a:gd name="T31" fmla="*/ 396 h 590"/>
                <a:gd name="T32" fmla="*/ 704 w 887"/>
                <a:gd name="T33" fmla="*/ 550 h 590"/>
                <a:gd name="T34" fmla="*/ 676 w 887"/>
                <a:gd name="T35" fmla="*/ 550 h 590"/>
                <a:gd name="T36" fmla="*/ 676 w 887"/>
                <a:gd name="T37" fmla="*/ 590 h 590"/>
                <a:gd name="T38" fmla="*/ 704 w 887"/>
                <a:gd name="T39" fmla="*/ 590 h 590"/>
                <a:gd name="T40" fmla="*/ 864 w 887"/>
                <a:gd name="T41" fmla="*/ 491 h 590"/>
                <a:gd name="T42" fmla="*/ 887 w 887"/>
                <a:gd name="T43" fmla="*/ 396 h 590"/>
                <a:gd name="T44" fmla="*/ 828 w 887"/>
                <a:gd name="T45" fmla="*/ 232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87" h="590">
                  <a:moveTo>
                    <a:pt x="828" y="232"/>
                  </a:moveTo>
                  <a:cubicBezTo>
                    <a:pt x="777" y="184"/>
                    <a:pt x="711" y="185"/>
                    <a:pt x="704" y="185"/>
                  </a:cubicBezTo>
                  <a:cubicBezTo>
                    <a:pt x="78" y="185"/>
                    <a:pt x="78" y="185"/>
                    <a:pt x="78" y="185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41" y="28"/>
                    <a:pt x="241" y="16"/>
                    <a:pt x="233" y="8"/>
                  </a:cubicBezTo>
                  <a:cubicBezTo>
                    <a:pt x="225" y="0"/>
                    <a:pt x="213" y="0"/>
                    <a:pt x="205" y="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205" y="402"/>
                    <a:pt x="205" y="402"/>
                    <a:pt x="205" y="402"/>
                  </a:cubicBezTo>
                  <a:cubicBezTo>
                    <a:pt x="209" y="406"/>
                    <a:pt x="214" y="407"/>
                    <a:pt x="219" y="407"/>
                  </a:cubicBezTo>
                  <a:cubicBezTo>
                    <a:pt x="224" y="407"/>
                    <a:pt x="229" y="405"/>
                    <a:pt x="233" y="401"/>
                  </a:cubicBezTo>
                  <a:cubicBezTo>
                    <a:pt x="241" y="393"/>
                    <a:pt x="241" y="381"/>
                    <a:pt x="233" y="373"/>
                  </a:cubicBezTo>
                  <a:cubicBezTo>
                    <a:pt x="78" y="225"/>
                    <a:pt x="78" y="225"/>
                    <a:pt x="78" y="225"/>
                  </a:cubicBezTo>
                  <a:cubicBezTo>
                    <a:pt x="704" y="225"/>
                    <a:pt x="704" y="225"/>
                    <a:pt x="704" y="225"/>
                  </a:cubicBezTo>
                  <a:cubicBezTo>
                    <a:pt x="705" y="225"/>
                    <a:pt x="705" y="225"/>
                    <a:pt x="705" y="225"/>
                  </a:cubicBezTo>
                  <a:cubicBezTo>
                    <a:pt x="706" y="225"/>
                    <a:pt x="759" y="222"/>
                    <a:pt x="800" y="261"/>
                  </a:cubicBezTo>
                  <a:cubicBezTo>
                    <a:pt x="831" y="290"/>
                    <a:pt x="847" y="336"/>
                    <a:pt x="847" y="396"/>
                  </a:cubicBezTo>
                  <a:cubicBezTo>
                    <a:pt x="847" y="402"/>
                    <a:pt x="844" y="550"/>
                    <a:pt x="704" y="550"/>
                  </a:cubicBezTo>
                  <a:cubicBezTo>
                    <a:pt x="676" y="550"/>
                    <a:pt x="676" y="550"/>
                    <a:pt x="676" y="550"/>
                  </a:cubicBezTo>
                  <a:cubicBezTo>
                    <a:pt x="676" y="590"/>
                    <a:pt x="676" y="590"/>
                    <a:pt x="676" y="590"/>
                  </a:cubicBezTo>
                  <a:cubicBezTo>
                    <a:pt x="704" y="590"/>
                    <a:pt x="704" y="590"/>
                    <a:pt x="704" y="590"/>
                  </a:cubicBezTo>
                  <a:cubicBezTo>
                    <a:pt x="799" y="590"/>
                    <a:pt x="843" y="536"/>
                    <a:pt x="864" y="491"/>
                  </a:cubicBezTo>
                  <a:cubicBezTo>
                    <a:pt x="886" y="445"/>
                    <a:pt x="887" y="398"/>
                    <a:pt x="887" y="396"/>
                  </a:cubicBezTo>
                  <a:cubicBezTo>
                    <a:pt x="887" y="324"/>
                    <a:pt x="867" y="269"/>
                    <a:pt x="828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78" name="Oval 8">
            <a:extLst>
              <a:ext uri="{FF2B5EF4-FFF2-40B4-BE49-F238E27FC236}">
                <a16:creationId xmlns:a16="http://schemas.microsoft.com/office/drawing/2014/main" id="{0D3A8B53-54C5-49A4-A70E-A2AA2D7191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2253" y="1429873"/>
            <a:ext cx="720000" cy="72000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379" name="Gruppieren 378">
            <a:extLst>
              <a:ext uri="{FF2B5EF4-FFF2-40B4-BE49-F238E27FC236}">
                <a16:creationId xmlns:a16="http://schemas.microsoft.com/office/drawing/2014/main" id="{06A5670B-9FBD-4A25-B461-210498E3A368}"/>
              </a:ext>
            </a:extLst>
          </p:cNvPr>
          <p:cNvGrpSpPr/>
          <p:nvPr/>
        </p:nvGrpSpPr>
        <p:grpSpPr>
          <a:xfrm>
            <a:off x="8095183" y="1684677"/>
            <a:ext cx="534141" cy="210392"/>
            <a:chOff x="1504868" y="1362965"/>
            <a:chExt cx="1143979" cy="454025"/>
          </a:xfrm>
          <a:solidFill>
            <a:schemeClr val="accent3"/>
          </a:solidFill>
        </p:grpSpPr>
        <p:grpSp>
          <p:nvGrpSpPr>
            <p:cNvPr id="380" name="Group 250">
              <a:extLst>
                <a:ext uri="{FF2B5EF4-FFF2-40B4-BE49-F238E27FC236}">
                  <a16:creationId xmlns:a16="http://schemas.microsoft.com/office/drawing/2014/main" id="{60BFE28C-5F9D-43F2-A4BB-D471DCBCEBBF}"/>
                </a:ext>
              </a:extLst>
            </p:cNvPr>
            <p:cNvGrpSpPr/>
            <p:nvPr/>
          </p:nvGrpSpPr>
          <p:grpSpPr>
            <a:xfrm>
              <a:off x="1504868" y="1362965"/>
              <a:ext cx="1143979" cy="454025"/>
              <a:chOff x="-2701925" y="2127250"/>
              <a:chExt cx="1323975" cy="525463"/>
            </a:xfrm>
            <a:grpFill/>
          </p:grpSpPr>
          <p:sp>
            <p:nvSpPr>
              <p:cNvPr id="382" name="Freeform 44">
                <a:extLst>
                  <a:ext uri="{FF2B5EF4-FFF2-40B4-BE49-F238E27FC236}">
                    <a16:creationId xmlns:a16="http://schemas.microsoft.com/office/drawing/2014/main" id="{3481EBC1-86D4-4BB4-BF3C-85285E65E0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278063" y="2462213"/>
                <a:ext cx="184150" cy="190500"/>
              </a:xfrm>
              <a:custGeom>
                <a:avLst/>
                <a:gdLst>
                  <a:gd name="T0" fmla="*/ 49 w 49"/>
                  <a:gd name="T1" fmla="*/ 25 h 51"/>
                  <a:gd name="T2" fmla="*/ 25 w 49"/>
                  <a:gd name="T3" fmla="*/ 0 h 51"/>
                  <a:gd name="T4" fmla="*/ 0 w 49"/>
                  <a:gd name="T5" fmla="*/ 25 h 51"/>
                  <a:gd name="T6" fmla="*/ 25 w 49"/>
                  <a:gd name="T7" fmla="*/ 51 h 51"/>
                  <a:gd name="T8" fmla="*/ 49 w 49"/>
                  <a:gd name="T9" fmla="*/ 25 h 51"/>
                  <a:gd name="T10" fmla="*/ 36 w 49"/>
                  <a:gd name="T11" fmla="*/ 25 h 51"/>
                  <a:gd name="T12" fmla="*/ 25 w 49"/>
                  <a:gd name="T13" fmla="*/ 37 h 51"/>
                  <a:gd name="T14" fmla="*/ 15 w 49"/>
                  <a:gd name="T15" fmla="*/ 25 h 51"/>
                  <a:gd name="T16" fmla="*/ 25 w 49"/>
                  <a:gd name="T17" fmla="*/ 14 h 51"/>
                  <a:gd name="T18" fmla="*/ 36 w 49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51">
                    <a:moveTo>
                      <a:pt x="49" y="25"/>
                    </a:moveTo>
                    <a:cubicBezTo>
                      <a:pt x="49" y="12"/>
                      <a:pt x="38" y="0"/>
                      <a:pt x="25" y="0"/>
                    </a:cubicBezTo>
                    <a:cubicBezTo>
                      <a:pt x="12" y="0"/>
                      <a:pt x="0" y="12"/>
                      <a:pt x="0" y="25"/>
                    </a:cubicBezTo>
                    <a:cubicBezTo>
                      <a:pt x="0" y="39"/>
                      <a:pt x="12" y="51"/>
                      <a:pt x="25" y="51"/>
                    </a:cubicBezTo>
                    <a:cubicBezTo>
                      <a:pt x="38" y="51"/>
                      <a:pt x="49" y="39"/>
                      <a:pt x="49" y="25"/>
                    </a:cubicBezTo>
                    <a:close/>
                    <a:moveTo>
                      <a:pt x="36" y="25"/>
                    </a:moveTo>
                    <a:cubicBezTo>
                      <a:pt x="36" y="32"/>
                      <a:pt x="31" y="37"/>
                      <a:pt x="25" y="37"/>
                    </a:cubicBezTo>
                    <a:cubicBezTo>
                      <a:pt x="19" y="37"/>
                      <a:pt x="15" y="32"/>
                      <a:pt x="15" y="25"/>
                    </a:cubicBezTo>
                    <a:cubicBezTo>
                      <a:pt x="15" y="19"/>
                      <a:pt x="19" y="14"/>
                      <a:pt x="25" y="14"/>
                    </a:cubicBezTo>
                    <a:cubicBezTo>
                      <a:pt x="31" y="14"/>
                      <a:pt x="36" y="19"/>
                      <a:pt x="36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3" name="Freeform 45">
                <a:extLst>
                  <a:ext uri="{FF2B5EF4-FFF2-40B4-BE49-F238E27FC236}">
                    <a16:creationId xmlns:a16="http://schemas.microsoft.com/office/drawing/2014/main" id="{B0824113-A505-498B-B2AB-2AFE2ED104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636713" y="2462213"/>
                <a:ext cx="179388" cy="190500"/>
              </a:xfrm>
              <a:custGeom>
                <a:avLst/>
                <a:gdLst>
                  <a:gd name="T0" fmla="*/ 48 w 48"/>
                  <a:gd name="T1" fmla="*/ 25 h 51"/>
                  <a:gd name="T2" fmla="*/ 23 w 48"/>
                  <a:gd name="T3" fmla="*/ 0 h 51"/>
                  <a:gd name="T4" fmla="*/ 0 w 48"/>
                  <a:gd name="T5" fmla="*/ 25 h 51"/>
                  <a:gd name="T6" fmla="*/ 23 w 48"/>
                  <a:gd name="T7" fmla="*/ 51 h 51"/>
                  <a:gd name="T8" fmla="*/ 48 w 48"/>
                  <a:gd name="T9" fmla="*/ 25 h 51"/>
                  <a:gd name="T10" fmla="*/ 35 w 48"/>
                  <a:gd name="T11" fmla="*/ 25 h 51"/>
                  <a:gd name="T12" fmla="*/ 23 w 48"/>
                  <a:gd name="T13" fmla="*/ 37 h 51"/>
                  <a:gd name="T14" fmla="*/ 13 w 48"/>
                  <a:gd name="T15" fmla="*/ 25 h 51"/>
                  <a:gd name="T16" fmla="*/ 23 w 48"/>
                  <a:gd name="T17" fmla="*/ 14 h 51"/>
                  <a:gd name="T18" fmla="*/ 35 w 48"/>
                  <a:gd name="T19" fmla="*/ 2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51">
                    <a:moveTo>
                      <a:pt x="48" y="25"/>
                    </a:moveTo>
                    <a:cubicBezTo>
                      <a:pt x="48" y="12"/>
                      <a:pt x="37" y="0"/>
                      <a:pt x="23" y="0"/>
                    </a:cubicBezTo>
                    <a:cubicBezTo>
                      <a:pt x="10" y="0"/>
                      <a:pt x="0" y="12"/>
                      <a:pt x="0" y="25"/>
                    </a:cubicBezTo>
                    <a:cubicBezTo>
                      <a:pt x="0" y="39"/>
                      <a:pt x="10" y="51"/>
                      <a:pt x="23" y="51"/>
                    </a:cubicBezTo>
                    <a:cubicBezTo>
                      <a:pt x="37" y="51"/>
                      <a:pt x="48" y="39"/>
                      <a:pt x="48" y="25"/>
                    </a:cubicBezTo>
                    <a:close/>
                    <a:moveTo>
                      <a:pt x="35" y="25"/>
                    </a:moveTo>
                    <a:cubicBezTo>
                      <a:pt x="35" y="32"/>
                      <a:pt x="29" y="37"/>
                      <a:pt x="23" y="37"/>
                    </a:cubicBezTo>
                    <a:cubicBezTo>
                      <a:pt x="17" y="37"/>
                      <a:pt x="13" y="32"/>
                      <a:pt x="13" y="25"/>
                    </a:cubicBezTo>
                    <a:cubicBezTo>
                      <a:pt x="13" y="19"/>
                      <a:pt x="17" y="14"/>
                      <a:pt x="23" y="14"/>
                    </a:cubicBezTo>
                    <a:cubicBezTo>
                      <a:pt x="29" y="14"/>
                      <a:pt x="35" y="19"/>
                      <a:pt x="35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4" name="Freeform 46">
                <a:extLst>
                  <a:ext uri="{FF2B5EF4-FFF2-40B4-BE49-F238E27FC236}">
                    <a16:creationId xmlns:a16="http://schemas.microsoft.com/office/drawing/2014/main" id="{41BF20C9-7BE9-4A32-90B9-83FFFD178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38388" y="2473325"/>
                <a:ext cx="79375" cy="82550"/>
              </a:xfrm>
              <a:custGeom>
                <a:avLst/>
                <a:gdLst>
                  <a:gd name="T0" fmla="*/ 0 w 21"/>
                  <a:gd name="T1" fmla="*/ 0 h 22"/>
                  <a:gd name="T2" fmla="*/ 0 w 21"/>
                  <a:gd name="T3" fmla="*/ 20 h 22"/>
                  <a:gd name="T4" fmla="*/ 4 w 21"/>
                  <a:gd name="T5" fmla="*/ 22 h 22"/>
                  <a:gd name="T6" fmla="*/ 11 w 21"/>
                  <a:gd name="T7" fmla="*/ 22 h 22"/>
                  <a:gd name="T8" fmla="*/ 11 w 21"/>
                  <a:gd name="T9" fmla="*/ 22 h 22"/>
                  <a:gd name="T10" fmla="*/ 21 w 21"/>
                  <a:gd name="T11" fmla="*/ 0 h 22"/>
                  <a:gd name="T12" fmla="*/ 0 w 21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2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2"/>
                      <a:pt x="4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13"/>
                      <a:pt x="15" y="5"/>
                      <a:pt x="2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5" name="Freeform 47">
                <a:extLst>
                  <a:ext uri="{FF2B5EF4-FFF2-40B4-BE49-F238E27FC236}">
                    <a16:creationId xmlns:a16="http://schemas.microsoft.com/office/drawing/2014/main" id="{B282B203-C52F-4055-B631-E67C59A682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38388" y="2127250"/>
                <a:ext cx="646113" cy="330200"/>
              </a:xfrm>
              <a:custGeom>
                <a:avLst/>
                <a:gdLst>
                  <a:gd name="T0" fmla="*/ 169 w 172"/>
                  <a:gd name="T1" fmla="*/ 0 h 88"/>
                  <a:gd name="T2" fmla="*/ 4 w 172"/>
                  <a:gd name="T3" fmla="*/ 0 h 88"/>
                  <a:gd name="T4" fmla="*/ 0 w 172"/>
                  <a:gd name="T5" fmla="*/ 3 h 88"/>
                  <a:gd name="T6" fmla="*/ 0 w 172"/>
                  <a:gd name="T7" fmla="*/ 88 h 88"/>
                  <a:gd name="T8" fmla="*/ 26 w 172"/>
                  <a:gd name="T9" fmla="*/ 88 h 88"/>
                  <a:gd name="T10" fmla="*/ 41 w 172"/>
                  <a:gd name="T11" fmla="*/ 83 h 88"/>
                  <a:gd name="T12" fmla="*/ 56 w 172"/>
                  <a:gd name="T13" fmla="*/ 88 h 88"/>
                  <a:gd name="T14" fmla="*/ 172 w 172"/>
                  <a:gd name="T15" fmla="*/ 88 h 88"/>
                  <a:gd name="T16" fmla="*/ 172 w 172"/>
                  <a:gd name="T17" fmla="*/ 3 h 88"/>
                  <a:gd name="T18" fmla="*/ 169 w 172"/>
                  <a:gd name="T1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88">
                    <a:moveTo>
                      <a:pt x="169" y="0"/>
                    </a:moveTo>
                    <a:cubicBezTo>
                      <a:pt x="0" y="0"/>
                      <a:pt x="4" y="0"/>
                      <a:pt x="4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31" y="85"/>
                      <a:pt x="36" y="83"/>
                      <a:pt x="41" y="83"/>
                    </a:cubicBezTo>
                    <a:cubicBezTo>
                      <a:pt x="47" y="83"/>
                      <a:pt x="52" y="85"/>
                      <a:pt x="56" y="88"/>
                    </a:cubicBezTo>
                    <a:cubicBezTo>
                      <a:pt x="172" y="88"/>
                      <a:pt x="172" y="88"/>
                      <a:pt x="172" y="88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72" y="1"/>
                      <a:pt x="171" y="0"/>
                      <a:pt x="1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6" name="Freeform 48">
                <a:extLst>
                  <a:ext uri="{FF2B5EF4-FFF2-40B4-BE49-F238E27FC236}">
                    <a16:creationId xmlns:a16="http://schemas.microsoft.com/office/drawing/2014/main" id="{9A626001-5ACF-4B8C-975E-9272DB7EFE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109788" y="2198688"/>
                <a:ext cx="731838" cy="357188"/>
              </a:xfrm>
              <a:custGeom>
                <a:avLst/>
                <a:gdLst>
                  <a:gd name="T0" fmla="*/ 176 w 195"/>
                  <a:gd name="T1" fmla="*/ 4 h 95"/>
                  <a:gd name="T2" fmla="*/ 171 w 195"/>
                  <a:gd name="T3" fmla="*/ 2 h 95"/>
                  <a:gd name="T4" fmla="*/ 123 w 195"/>
                  <a:gd name="T5" fmla="*/ 2 h 95"/>
                  <a:gd name="T6" fmla="*/ 119 w 195"/>
                  <a:gd name="T7" fmla="*/ 4 h 95"/>
                  <a:gd name="T8" fmla="*/ 119 w 195"/>
                  <a:gd name="T9" fmla="*/ 73 h 95"/>
                  <a:gd name="T10" fmla="*/ 108 w 195"/>
                  <a:gd name="T11" fmla="*/ 73 h 95"/>
                  <a:gd name="T12" fmla="*/ 108 w 195"/>
                  <a:gd name="T13" fmla="*/ 73 h 95"/>
                  <a:gd name="T14" fmla="*/ 95 w 195"/>
                  <a:gd name="T15" fmla="*/ 73 h 95"/>
                  <a:gd name="T16" fmla="*/ 55 w 195"/>
                  <a:gd name="T17" fmla="*/ 73 h 95"/>
                  <a:gd name="T18" fmla="*/ 0 w 195"/>
                  <a:gd name="T19" fmla="*/ 73 h 95"/>
                  <a:gd name="T20" fmla="*/ 9 w 195"/>
                  <a:gd name="T21" fmla="*/ 95 h 95"/>
                  <a:gd name="T22" fmla="*/ 9 w 195"/>
                  <a:gd name="T23" fmla="*/ 95 h 95"/>
                  <a:gd name="T24" fmla="*/ 45 w 195"/>
                  <a:gd name="T25" fmla="*/ 95 h 95"/>
                  <a:gd name="T26" fmla="*/ 104 w 195"/>
                  <a:gd name="T27" fmla="*/ 95 h 95"/>
                  <a:gd name="T28" fmla="*/ 108 w 195"/>
                  <a:gd name="T29" fmla="*/ 95 h 95"/>
                  <a:gd name="T30" fmla="*/ 108 w 195"/>
                  <a:gd name="T31" fmla="*/ 95 h 95"/>
                  <a:gd name="T32" fmla="*/ 120 w 195"/>
                  <a:gd name="T33" fmla="*/ 95 h 95"/>
                  <a:gd name="T34" fmla="*/ 120 w 195"/>
                  <a:gd name="T35" fmla="*/ 88 h 95"/>
                  <a:gd name="T36" fmla="*/ 149 w 195"/>
                  <a:gd name="T37" fmla="*/ 64 h 95"/>
                  <a:gd name="T38" fmla="*/ 180 w 195"/>
                  <a:gd name="T39" fmla="*/ 95 h 95"/>
                  <a:gd name="T40" fmla="*/ 195 w 195"/>
                  <a:gd name="T41" fmla="*/ 95 h 95"/>
                  <a:gd name="T42" fmla="*/ 195 w 195"/>
                  <a:gd name="T43" fmla="*/ 48 h 95"/>
                  <a:gd name="T44" fmla="*/ 176 w 195"/>
                  <a:gd name="T45" fmla="*/ 4 h 95"/>
                  <a:gd name="T46" fmla="*/ 141 w 195"/>
                  <a:gd name="T47" fmla="*/ 39 h 95"/>
                  <a:gd name="T48" fmla="*/ 141 w 195"/>
                  <a:gd name="T49" fmla="*/ 10 h 95"/>
                  <a:gd name="T50" fmla="*/ 167 w 195"/>
                  <a:gd name="T51" fmla="*/ 10 h 95"/>
                  <a:gd name="T52" fmla="*/ 179 w 195"/>
                  <a:gd name="T53" fmla="*/ 39 h 95"/>
                  <a:gd name="T54" fmla="*/ 141 w 195"/>
                  <a:gd name="T55" fmla="*/ 3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5" h="95">
                    <a:moveTo>
                      <a:pt x="176" y="4"/>
                    </a:moveTo>
                    <a:cubicBezTo>
                      <a:pt x="176" y="0"/>
                      <a:pt x="171" y="2"/>
                      <a:pt x="171" y="2"/>
                    </a:cubicBezTo>
                    <a:cubicBezTo>
                      <a:pt x="171" y="2"/>
                      <a:pt x="171" y="2"/>
                      <a:pt x="123" y="2"/>
                    </a:cubicBezTo>
                    <a:cubicBezTo>
                      <a:pt x="123" y="2"/>
                      <a:pt x="119" y="0"/>
                      <a:pt x="119" y="4"/>
                    </a:cubicBezTo>
                    <a:cubicBezTo>
                      <a:pt x="119" y="4"/>
                      <a:pt x="119" y="4"/>
                      <a:pt x="119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95" y="73"/>
                      <a:pt x="95" y="73"/>
                      <a:pt x="95" y="73"/>
                    </a:cubicBezTo>
                    <a:cubicBezTo>
                      <a:pt x="55" y="73"/>
                      <a:pt x="55" y="73"/>
                      <a:pt x="55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6" y="78"/>
                      <a:pt x="9" y="86"/>
                      <a:pt x="9" y="95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44" y="95"/>
                      <a:pt x="45" y="95"/>
                      <a:pt x="45" y="95"/>
                    </a:cubicBezTo>
                    <a:cubicBezTo>
                      <a:pt x="104" y="95"/>
                      <a:pt x="104" y="95"/>
                      <a:pt x="104" y="95"/>
                    </a:cubicBezTo>
                    <a:cubicBezTo>
                      <a:pt x="107" y="95"/>
                      <a:pt x="107" y="95"/>
                      <a:pt x="108" y="95"/>
                    </a:cubicBezTo>
                    <a:cubicBezTo>
                      <a:pt x="108" y="95"/>
                      <a:pt x="108" y="95"/>
                      <a:pt x="108" y="95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0" y="88"/>
                      <a:pt x="120" y="88"/>
                      <a:pt x="120" y="88"/>
                    </a:cubicBezTo>
                    <a:cubicBezTo>
                      <a:pt x="123" y="75"/>
                      <a:pt x="135" y="64"/>
                      <a:pt x="149" y="64"/>
                    </a:cubicBezTo>
                    <a:cubicBezTo>
                      <a:pt x="165" y="64"/>
                      <a:pt x="180" y="78"/>
                      <a:pt x="180" y="95"/>
                    </a:cubicBezTo>
                    <a:cubicBezTo>
                      <a:pt x="180" y="95"/>
                      <a:pt x="180" y="95"/>
                      <a:pt x="195" y="95"/>
                    </a:cubicBezTo>
                    <a:cubicBezTo>
                      <a:pt x="195" y="48"/>
                      <a:pt x="195" y="48"/>
                      <a:pt x="195" y="48"/>
                    </a:cubicBezTo>
                    <a:cubicBezTo>
                      <a:pt x="195" y="48"/>
                      <a:pt x="177" y="8"/>
                      <a:pt x="176" y="4"/>
                    </a:cubicBezTo>
                    <a:close/>
                    <a:moveTo>
                      <a:pt x="141" y="39"/>
                    </a:moveTo>
                    <a:cubicBezTo>
                      <a:pt x="141" y="39"/>
                      <a:pt x="141" y="39"/>
                      <a:pt x="141" y="10"/>
                    </a:cubicBezTo>
                    <a:cubicBezTo>
                      <a:pt x="141" y="10"/>
                      <a:pt x="141" y="10"/>
                      <a:pt x="167" y="10"/>
                    </a:cubicBezTo>
                    <a:cubicBezTo>
                      <a:pt x="179" y="39"/>
                      <a:pt x="179" y="39"/>
                      <a:pt x="179" y="39"/>
                    </a:cubicBezTo>
                    <a:cubicBezTo>
                      <a:pt x="179" y="39"/>
                      <a:pt x="172" y="39"/>
                      <a:pt x="141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7" name="Freeform 49">
                <a:extLst>
                  <a:ext uri="{FF2B5EF4-FFF2-40B4-BE49-F238E27FC236}">
                    <a16:creationId xmlns:a16="http://schemas.microsoft.com/office/drawing/2014/main" id="{F925BA66-58AD-434D-A0C9-D313A80CD1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01925" y="2449513"/>
                <a:ext cx="398463" cy="98425"/>
              </a:xfrm>
              <a:custGeom>
                <a:avLst/>
                <a:gdLst>
                  <a:gd name="T0" fmla="*/ 106 w 106"/>
                  <a:gd name="T1" fmla="*/ 15 h 26"/>
                  <a:gd name="T2" fmla="*/ 101 w 106"/>
                  <a:gd name="T3" fmla="*/ 12 h 26"/>
                  <a:gd name="T4" fmla="*/ 83 w 106"/>
                  <a:gd name="T5" fmla="*/ 17 h 26"/>
                  <a:gd name="T6" fmla="*/ 81 w 106"/>
                  <a:gd name="T7" fmla="*/ 8 h 26"/>
                  <a:gd name="T8" fmla="*/ 89 w 106"/>
                  <a:gd name="T9" fmla="*/ 8 h 26"/>
                  <a:gd name="T10" fmla="*/ 93 w 106"/>
                  <a:gd name="T11" fmla="*/ 4 h 26"/>
                  <a:gd name="T12" fmla="*/ 89 w 106"/>
                  <a:gd name="T13" fmla="*/ 0 h 26"/>
                  <a:gd name="T14" fmla="*/ 4 w 106"/>
                  <a:gd name="T15" fmla="*/ 0 h 26"/>
                  <a:gd name="T16" fmla="*/ 0 w 106"/>
                  <a:gd name="T17" fmla="*/ 4 h 26"/>
                  <a:gd name="T18" fmla="*/ 4 w 106"/>
                  <a:gd name="T19" fmla="*/ 8 h 26"/>
                  <a:gd name="T20" fmla="*/ 73 w 106"/>
                  <a:gd name="T21" fmla="*/ 8 h 26"/>
                  <a:gd name="T22" fmla="*/ 77 w 106"/>
                  <a:gd name="T23" fmla="*/ 23 h 26"/>
                  <a:gd name="T24" fmla="*/ 78 w 106"/>
                  <a:gd name="T25" fmla="*/ 25 h 26"/>
                  <a:gd name="T26" fmla="*/ 80 w 106"/>
                  <a:gd name="T27" fmla="*/ 26 h 26"/>
                  <a:gd name="T28" fmla="*/ 81 w 106"/>
                  <a:gd name="T29" fmla="*/ 26 h 26"/>
                  <a:gd name="T30" fmla="*/ 103 w 106"/>
                  <a:gd name="T31" fmla="*/ 20 h 26"/>
                  <a:gd name="T32" fmla="*/ 106 w 106"/>
                  <a:gd name="T33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6" h="26">
                    <a:moveTo>
                      <a:pt x="106" y="15"/>
                    </a:moveTo>
                    <a:cubicBezTo>
                      <a:pt x="105" y="13"/>
                      <a:pt x="103" y="12"/>
                      <a:pt x="101" y="12"/>
                    </a:cubicBezTo>
                    <a:cubicBezTo>
                      <a:pt x="83" y="17"/>
                      <a:pt x="83" y="17"/>
                      <a:pt x="83" y="17"/>
                    </a:cubicBezTo>
                    <a:cubicBezTo>
                      <a:pt x="81" y="8"/>
                      <a:pt x="81" y="8"/>
                      <a:pt x="81" y="8"/>
                    </a:cubicBezTo>
                    <a:cubicBezTo>
                      <a:pt x="89" y="8"/>
                      <a:pt x="89" y="8"/>
                      <a:pt x="89" y="8"/>
                    </a:cubicBezTo>
                    <a:cubicBezTo>
                      <a:pt x="91" y="8"/>
                      <a:pt x="93" y="6"/>
                      <a:pt x="93" y="4"/>
                    </a:cubicBezTo>
                    <a:cubicBezTo>
                      <a:pt x="93" y="2"/>
                      <a:pt x="91" y="0"/>
                      <a:pt x="8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6"/>
                      <a:pt x="1" y="8"/>
                      <a:pt x="4" y="8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7" y="24"/>
                      <a:pt x="77" y="25"/>
                      <a:pt x="78" y="25"/>
                    </a:cubicBezTo>
                    <a:cubicBezTo>
                      <a:pt x="79" y="26"/>
                      <a:pt x="80" y="26"/>
                      <a:pt x="80" y="26"/>
                    </a:cubicBezTo>
                    <a:cubicBezTo>
                      <a:pt x="81" y="26"/>
                      <a:pt x="81" y="26"/>
                      <a:pt x="81" y="26"/>
                    </a:cubicBezTo>
                    <a:cubicBezTo>
                      <a:pt x="103" y="20"/>
                      <a:pt x="103" y="20"/>
                      <a:pt x="103" y="20"/>
                    </a:cubicBezTo>
                    <a:cubicBezTo>
                      <a:pt x="105" y="19"/>
                      <a:pt x="106" y="17"/>
                      <a:pt x="10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523A3690-16A9-4D06-80AD-F9D83BBA2971}"/>
                </a:ext>
              </a:extLst>
            </p:cNvPr>
            <p:cNvSpPr/>
            <p:nvPr/>
          </p:nvSpPr>
          <p:spPr>
            <a:xfrm>
              <a:off x="1552575" y="1434557"/>
              <a:ext cx="185899" cy="1858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>
              <a:spAutoFit/>
            </a:bodyPr>
            <a:lstStyle/>
            <a:p>
              <a:pPr algn="l" rtl="0"/>
              <a:endParaRPr lang="fr-FR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88" name="Freihandform: Form 387">
            <a:extLst>
              <a:ext uri="{FF2B5EF4-FFF2-40B4-BE49-F238E27FC236}">
                <a16:creationId xmlns:a16="http://schemas.microsoft.com/office/drawing/2014/main" id="{A5DA699C-F095-4854-B8C6-7B38125EACCF}"/>
              </a:ext>
            </a:extLst>
          </p:cNvPr>
          <p:cNvSpPr/>
          <p:nvPr/>
        </p:nvSpPr>
        <p:spPr>
          <a:xfrm>
            <a:off x="6193154" y="648653"/>
            <a:ext cx="733425" cy="365760"/>
          </a:xfrm>
          <a:custGeom>
            <a:avLst/>
            <a:gdLst>
              <a:gd name="connsiteX0" fmla="*/ 762000 w 762000"/>
              <a:gd name="connsiteY0" fmla="*/ 365760 h 365760"/>
              <a:gd name="connsiteX1" fmla="*/ 388620 w 762000"/>
              <a:gd name="connsiteY1" fmla="*/ 91440 h 365760"/>
              <a:gd name="connsiteX2" fmla="*/ 0 w 762000"/>
              <a:gd name="connsiteY2" fmla="*/ 0 h 365760"/>
              <a:gd name="connsiteX0" fmla="*/ 723900 w 723900"/>
              <a:gd name="connsiteY0" fmla="*/ 503872 h 503872"/>
              <a:gd name="connsiteX1" fmla="*/ 388620 w 723900"/>
              <a:gd name="connsiteY1" fmla="*/ 91440 h 503872"/>
              <a:gd name="connsiteX2" fmla="*/ 0 w 723900"/>
              <a:gd name="connsiteY2" fmla="*/ 0 h 503872"/>
              <a:gd name="connsiteX0" fmla="*/ 733425 w 733425"/>
              <a:gd name="connsiteY0" fmla="*/ 429525 h 429525"/>
              <a:gd name="connsiteX1" fmla="*/ 398145 w 733425"/>
              <a:gd name="connsiteY1" fmla="*/ 17093 h 429525"/>
              <a:gd name="connsiteX2" fmla="*/ 0 w 733425"/>
              <a:gd name="connsiteY2" fmla="*/ 63765 h 429525"/>
              <a:gd name="connsiteX0" fmla="*/ 733425 w 733425"/>
              <a:gd name="connsiteY0" fmla="*/ 365760 h 365760"/>
              <a:gd name="connsiteX1" fmla="*/ 412432 w 733425"/>
              <a:gd name="connsiteY1" fmla="*/ 77153 h 365760"/>
              <a:gd name="connsiteX2" fmla="*/ 0 w 733425"/>
              <a:gd name="connsiteY2" fmla="*/ 0 h 365760"/>
              <a:gd name="connsiteX0" fmla="*/ 733425 w 733425"/>
              <a:gd name="connsiteY0" fmla="*/ 365760 h 365760"/>
              <a:gd name="connsiteX1" fmla="*/ 412432 w 733425"/>
              <a:gd name="connsiteY1" fmla="*/ 77153 h 365760"/>
              <a:gd name="connsiteX2" fmla="*/ 0 w 733425"/>
              <a:gd name="connsiteY2" fmla="*/ 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425" h="365760">
                <a:moveTo>
                  <a:pt x="733425" y="365760"/>
                </a:moveTo>
                <a:cubicBezTo>
                  <a:pt x="619760" y="216217"/>
                  <a:pt x="534670" y="138113"/>
                  <a:pt x="412432" y="77153"/>
                </a:cubicBezTo>
                <a:cubicBezTo>
                  <a:pt x="290194" y="16193"/>
                  <a:pt x="130810" y="15240"/>
                  <a:pt x="0" y="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89" name="Freihandform: Form 388">
            <a:extLst>
              <a:ext uri="{FF2B5EF4-FFF2-40B4-BE49-F238E27FC236}">
                <a16:creationId xmlns:a16="http://schemas.microsoft.com/office/drawing/2014/main" id="{13B8AFBE-B8BA-4224-ADCF-F04C388AF421}"/>
              </a:ext>
            </a:extLst>
          </p:cNvPr>
          <p:cNvSpPr/>
          <p:nvPr/>
        </p:nvSpPr>
        <p:spPr>
          <a:xfrm>
            <a:off x="7613333" y="975310"/>
            <a:ext cx="754380" cy="464870"/>
          </a:xfrm>
          <a:custGeom>
            <a:avLst/>
            <a:gdLst>
              <a:gd name="connsiteX0" fmla="*/ 0 w 754380"/>
              <a:gd name="connsiteY0" fmla="*/ 0 h 464820"/>
              <a:gd name="connsiteX1" fmla="*/ 624840 w 754380"/>
              <a:gd name="connsiteY1" fmla="*/ 160020 h 464820"/>
              <a:gd name="connsiteX2" fmla="*/ 754380 w 754380"/>
              <a:gd name="connsiteY2" fmla="*/ 464820 h 464820"/>
              <a:gd name="connsiteX0" fmla="*/ 0 w 754380"/>
              <a:gd name="connsiteY0" fmla="*/ 0 h 464820"/>
              <a:gd name="connsiteX1" fmla="*/ 491490 w 754380"/>
              <a:gd name="connsiteY1" fmla="*/ 79057 h 464820"/>
              <a:gd name="connsiteX2" fmla="*/ 754380 w 754380"/>
              <a:gd name="connsiteY2" fmla="*/ 464820 h 464820"/>
              <a:gd name="connsiteX0" fmla="*/ 0 w 754380"/>
              <a:gd name="connsiteY0" fmla="*/ 263 h 465083"/>
              <a:gd name="connsiteX1" fmla="*/ 491490 w 754380"/>
              <a:gd name="connsiteY1" fmla="*/ 79320 h 465083"/>
              <a:gd name="connsiteX2" fmla="*/ 754380 w 754380"/>
              <a:gd name="connsiteY2" fmla="*/ 465083 h 465083"/>
              <a:gd name="connsiteX0" fmla="*/ 0 w 754380"/>
              <a:gd name="connsiteY0" fmla="*/ 50 h 464870"/>
              <a:gd name="connsiteX1" fmla="*/ 501015 w 754380"/>
              <a:gd name="connsiteY1" fmla="*/ 112445 h 464870"/>
              <a:gd name="connsiteX2" fmla="*/ 754380 w 754380"/>
              <a:gd name="connsiteY2" fmla="*/ 464870 h 46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54380" h="464870">
                <a:moveTo>
                  <a:pt x="0" y="50"/>
                </a:moveTo>
                <a:cubicBezTo>
                  <a:pt x="330517" y="-1537"/>
                  <a:pt x="375285" y="34975"/>
                  <a:pt x="501015" y="112445"/>
                </a:cubicBezTo>
                <a:cubicBezTo>
                  <a:pt x="626745" y="189915"/>
                  <a:pt x="752475" y="351205"/>
                  <a:pt x="754380" y="46487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90" name="Freihandform: Form 389">
            <a:extLst>
              <a:ext uri="{FF2B5EF4-FFF2-40B4-BE49-F238E27FC236}">
                <a16:creationId xmlns:a16="http://schemas.microsoft.com/office/drawing/2014/main" id="{AF59BF81-9BB2-433E-86A2-27C789DF0E21}"/>
              </a:ext>
            </a:extLst>
          </p:cNvPr>
          <p:cNvSpPr/>
          <p:nvPr/>
        </p:nvSpPr>
        <p:spPr>
          <a:xfrm>
            <a:off x="7277100" y="1730692"/>
            <a:ext cx="727710" cy="448628"/>
          </a:xfrm>
          <a:custGeom>
            <a:avLst/>
            <a:gdLst>
              <a:gd name="connsiteX0" fmla="*/ 708660 w 708660"/>
              <a:gd name="connsiteY0" fmla="*/ 0 h 358140"/>
              <a:gd name="connsiteX1" fmla="*/ 205740 w 708660"/>
              <a:gd name="connsiteY1" fmla="*/ 129540 h 358140"/>
              <a:gd name="connsiteX2" fmla="*/ 0 w 708660"/>
              <a:gd name="connsiteY2" fmla="*/ 358140 h 358140"/>
              <a:gd name="connsiteX0" fmla="*/ 727710 w 727710"/>
              <a:gd name="connsiteY0" fmla="*/ 0 h 448628"/>
              <a:gd name="connsiteX1" fmla="*/ 205740 w 727710"/>
              <a:gd name="connsiteY1" fmla="*/ 220028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7710" h="448628">
                <a:moveTo>
                  <a:pt x="727710" y="0"/>
                </a:moveTo>
                <a:cubicBezTo>
                  <a:pt x="530543" y="11113"/>
                  <a:pt x="398462" y="45244"/>
                  <a:pt x="277177" y="120015"/>
                </a:cubicBezTo>
                <a:cubicBezTo>
                  <a:pt x="155892" y="194786"/>
                  <a:pt x="91440" y="278448"/>
                  <a:pt x="0" y="44862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91" name="Freihandform: Form 390">
            <a:extLst>
              <a:ext uri="{FF2B5EF4-FFF2-40B4-BE49-F238E27FC236}">
                <a16:creationId xmlns:a16="http://schemas.microsoft.com/office/drawing/2014/main" id="{EB11B132-B525-46F0-8384-899149B2D462}"/>
              </a:ext>
            </a:extLst>
          </p:cNvPr>
          <p:cNvSpPr/>
          <p:nvPr/>
        </p:nvSpPr>
        <p:spPr>
          <a:xfrm>
            <a:off x="7635240" y="4038600"/>
            <a:ext cx="1036320" cy="1112520"/>
          </a:xfrm>
          <a:custGeom>
            <a:avLst/>
            <a:gdLst>
              <a:gd name="connsiteX0" fmla="*/ 0 w 1036320"/>
              <a:gd name="connsiteY0" fmla="*/ 0 h 1112520"/>
              <a:gd name="connsiteX1" fmla="*/ 571500 w 1036320"/>
              <a:gd name="connsiteY1" fmla="*/ 358140 h 1112520"/>
              <a:gd name="connsiteX2" fmla="*/ 1036320 w 1036320"/>
              <a:gd name="connsiteY2" fmla="*/ 1112520 h 111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6320" h="1112520">
                <a:moveTo>
                  <a:pt x="0" y="0"/>
                </a:moveTo>
                <a:cubicBezTo>
                  <a:pt x="199390" y="86360"/>
                  <a:pt x="398780" y="172720"/>
                  <a:pt x="571500" y="358140"/>
                </a:cubicBezTo>
                <a:cubicBezTo>
                  <a:pt x="744220" y="543560"/>
                  <a:pt x="890270" y="828040"/>
                  <a:pt x="1036320" y="1112520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92" name="Freihandform: Form 391">
            <a:extLst>
              <a:ext uri="{FF2B5EF4-FFF2-40B4-BE49-F238E27FC236}">
                <a16:creationId xmlns:a16="http://schemas.microsoft.com/office/drawing/2014/main" id="{C7E4E6F9-9F00-4F4D-9701-3325DD8B76E9}"/>
              </a:ext>
            </a:extLst>
          </p:cNvPr>
          <p:cNvSpPr/>
          <p:nvPr/>
        </p:nvSpPr>
        <p:spPr>
          <a:xfrm>
            <a:off x="7229475" y="3202305"/>
            <a:ext cx="727710" cy="448628"/>
          </a:xfrm>
          <a:custGeom>
            <a:avLst/>
            <a:gdLst>
              <a:gd name="connsiteX0" fmla="*/ 708660 w 708660"/>
              <a:gd name="connsiteY0" fmla="*/ 0 h 358140"/>
              <a:gd name="connsiteX1" fmla="*/ 205740 w 708660"/>
              <a:gd name="connsiteY1" fmla="*/ 129540 h 358140"/>
              <a:gd name="connsiteX2" fmla="*/ 0 w 708660"/>
              <a:gd name="connsiteY2" fmla="*/ 358140 h 358140"/>
              <a:gd name="connsiteX0" fmla="*/ 727710 w 727710"/>
              <a:gd name="connsiteY0" fmla="*/ 0 h 448628"/>
              <a:gd name="connsiteX1" fmla="*/ 205740 w 727710"/>
              <a:gd name="connsiteY1" fmla="*/ 220028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  <a:gd name="connsiteX0" fmla="*/ 727710 w 727710"/>
              <a:gd name="connsiteY0" fmla="*/ 0 h 448628"/>
              <a:gd name="connsiteX1" fmla="*/ 277177 w 727710"/>
              <a:gd name="connsiteY1" fmla="*/ 120015 h 448628"/>
              <a:gd name="connsiteX2" fmla="*/ 0 w 727710"/>
              <a:gd name="connsiteY2" fmla="*/ 448628 h 448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7710" h="448628">
                <a:moveTo>
                  <a:pt x="727710" y="0"/>
                </a:moveTo>
                <a:cubicBezTo>
                  <a:pt x="530543" y="11113"/>
                  <a:pt x="398462" y="45244"/>
                  <a:pt x="277177" y="120015"/>
                </a:cubicBezTo>
                <a:cubicBezTo>
                  <a:pt x="155892" y="194786"/>
                  <a:pt x="91440" y="278448"/>
                  <a:pt x="0" y="44862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393" name="Freihandform: Form 392">
            <a:extLst>
              <a:ext uri="{FF2B5EF4-FFF2-40B4-BE49-F238E27FC236}">
                <a16:creationId xmlns:a16="http://schemas.microsoft.com/office/drawing/2014/main" id="{06F00CB7-843B-42B1-AD64-7CD8014A9D48}"/>
              </a:ext>
            </a:extLst>
          </p:cNvPr>
          <p:cNvSpPr/>
          <p:nvPr/>
        </p:nvSpPr>
        <p:spPr>
          <a:xfrm>
            <a:off x="7637144" y="2418366"/>
            <a:ext cx="687705" cy="498188"/>
          </a:xfrm>
          <a:custGeom>
            <a:avLst/>
            <a:gdLst>
              <a:gd name="connsiteX0" fmla="*/ 0 w 754380"/>
              <a:gd name="connsiteY0" fmla="*/ 0 h 464820"/>
              <a:gd name="connsiteX1" fmla="*/ 624840 w 754380"/>
              <a:gd name="connsiteY1" fmla="*/ 160020 h 464820"/>
              <a:gd name="connsiteX2" fmla="*/ 754380 w 754380"/>
              <a:gd name="connsiteY2" fmla="*/ 464820 h 464820"/>
              <a:gd name="connsiteX0" fmla="*/ 0 w 754380"/>
              <a:gd name="connsiteY0" fmla="*/ 0 h 464820"/>
              <a:gd name="connsiteX1" fmla="*/ 491490 w 754380"/>
              <a:gd name="connsiteY1" fmla="*/ 79057 h 464820"/>
              <a:gd name="connsiteX2" fmla="*/ 754380 w 754380"/>
              <a:gd name="connsiteY2" fmla="*/ 464820 h 464820"/>
              <a:gd name="connsiteX0" fmla="*/ 0 w 754380"/>
              <a:gd name="connsiteY0" fmla="*/ 263 h 465083"/>
              <a:gd name="connsiteX1" fmla="*/ 491490 w 754380"/>
              <a:gd name="connsiteY1" fmla="*/ 79320 h 465083"/>
              <a:gd name="connsiteX2" fmla="*/ 754380 w 754380"/>
              <a:gd name="connsiteY2" fmla="*/ 465083 h 465083"/>
              <a:gd name="connsiteX0" fmla="*/ 0 w 754380"/>
              <a:gd name="connsiteY0" fmla="*/ 50 h 464870"/>
              <a:gd name="connsiteX1" fmla="*/ 501015 w 754380"/>
              <a:gd name="connsiteY1" fmla="*/ 112445 h 464870"/>
              <a:gd name="connsiteX2" fmla="*/ 754380 w 754380"/>
              <a:gd name="connsiteY2" fmla="*/ 464870 h 464870"/>
              <a:gd name="connsiteX0" fmla="*/ 0 w 687705"/>
              <a:gd name="connsiteY0" fmla="*/ 57 h 498214"/>
              <a:gd name="connsiteX1" fmla="*/ 501015 w 687705"/>
              <a:gd name="connsiteY1" fmla="*/ 112452 h 498214"/>
              <a:gd name="connsiteX2" fmla="*/ 687705 w 687705"/>
              <a:gd name="connsiteY2" fmla="*/ 498214 h 498214"/>
              <a:gd name="connsiteX0" fmla="*/ 0 w 687705"/>
              <a:gd name="connsiteY0" fmla="*/ 31 h 498188"/>
              <a:gd name="connsiteX1" fmla="*/ 539115 w 687705"/>
              <a:gd name="connsiteY1" fmla="*/ 141001 h 498188"/>
              <a:gd name="connsiteX2" fmla="*/ 687705 w 687705"/>
              <a:gd name="connsiteY2" fmla="*/ 498188 h 49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7705" h="498188">
                <a:moveTo>
                  <a:pt x="0" y="31"/>
                </a:moveTo>
                <a:cubicBezTo>
                  <a:pt x="330517" y="-1556"/>
                  <a:pt x="424498" y="57975"/>
                  <a:pt x="539115" y="141001"/>
                </a:cubicBezTo>
                <a:cubicBezTo>
                  <a:pt x="653733" y="224027"/>
                  <a:pt x="685800" y="384523"/>
                  <a:pt x="687705" y="498188"/>
                </a:cubicBezTo>
              </a:path>
            </a:pathLst>
          </a:custGeom>
          <a:noFill/>
          <a:ln w="19050">
            <a:solidFill>
              <a:schemeClr val="bg1">
                <a:alpha val="60000"/>
              </a:schemeClr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89027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r9M626OUuX0s8DWhtk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M8oRFQ8yrFwRPBGkIG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vZ.QetQFeBJoz3Fy4w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LJSdisSWmKjX.cgIe.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DpwB3hRCOBYXZskcTJ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UW4Z6TfmFnn.jo._o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WyL8TTRvyBSFCveq1P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xaSLelRLe2qJerEP1.Q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9NW0QNRU2GgCTUGCBj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I30mngSACHPsgU0N9i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SA9ebHRqKJLmsK_RJt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r9M626OUuX0s8DWhtk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UkJaLWUkCW9JbY8m4z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r9M626OUuX0s8DWhtkdQ"/>
</p:tagLst>
</file>

<file path=ppt/theme/theme1.xml><?xml version="1.0" encoding="utf-8"?>
<a:theme xmlns:a="http://schemas.openxmlformats.org/drawingml/2006/main" name="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.potx" id="{5F9AAFB4-877B-43D6-906B-E4E3FD94F981}" vid="{C4253FEE-C69A-4E15-8F84-F102923E5F6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HL</Template>
  <TotalTime>0</TotalTime>
  <Words>1518</Words>
  <Application>Microsoft Office PowerPoint</Application>
  <PresentationFormat>Affichage à l'écran (16:9)</PresentationFormat>
  <Paragraphs>250</Paragraphs>
  <Slides>16</Slides>
  <Notes>16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26" baseType="lpstr">
      <vt:lpstr>Arial</vt:lpstr>
      <vt:lpstr>Calibri</vt:lpstr>
      <vt:lpstr>Delivery</vt:lpstr>
      <vt:lpstr>Delivery Arabic</vt:lpstr>
      <vt:lpstr>Delivery Cd Black</vt:lpstr>
      <vt:lpstr>Delivery Cd Light</vt:lpstr>
      <vt:lpstr>Symbol</vt:lpstr>
      <vt:lpstr>Wingdings</vt:lpstr>
      <vt:lpstr>DHL</vt:lpstr>
      <vt:lpstr>think-cell Folie</vt:lpstr>
      <vt:lpstr>DHL European Fulfillment Network</vt:lpstr>
      <vt:lpstr>La montée des géants</vt:lpstr>
      <vt:lpstr>La valeur d’un réseau distribué</vt:lpstr>
      <vt:lpstr>Les avantages à gérer son propre canal B2C</vt:lpstr>
      <vt:lpstr>La contribution de DHL</vt:lpstr>
      <vt:lpstr>Qu’est-ce que le European Fulfillment Network ?</vt:lpstr>
      <vt:lpstr>Qu’est-ce que le European Fulfillment Network ?</vt:lpstr>
      <vt:lpstr>Qu’est-ce que le European Fulfillment Network ?</vt:lpstr>
      <vt:lpstr>Qu’est-ce que le European Fulfillment Network ?</vt:lpstr>
      <vt:lpstr>Qu’est-ce que le European Fulfillment Network ?</vt:lpstr>
      <vt:lpstr>Qu’est-ce que le European Fulfillment Network ?</vt:lpstr>
      <vt:lpstr>L’EFN présente des avantages considérables…</vt:lpstr>
      <vt:lpstr>...et présente encore plus d'intérêt à l’ère de la COVID-19</vt:lpstr>
      <vt:lpstr>Un exemple d’amélioration des coûts par commande</vt:lpstr>
      <vt:lpstr> Nous avons déjà des exemples concrets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note: Important instructions for information classification</dc:title>
  <dc:creator>Ina Schemeitat (Tag DE)</dc:creator>
  <cp:lastModifiedBy>Camille Balland (DHL Supply Chain)</cp:lastModifiedBy>
  <cp:revision>79</cp:revision>
  <dcterms:created xsi:type="dcterms:W3CDTF">2020-12-17T10:31:06Z</dcterms:created>
  <dcterms:modified xsi:type="dcterms:W3CDTF">2021-10-04T15:4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ubline">
    <vt:lpwstr>Subline</vt:lpwstr>
  </property>
  <property fmtid="{D5CDD505-2E9C-101B-9397-08002B2CF9AE}" pid="3" name="location">
    <vt:lpwstr>Location</vt:lpwstr>
  </property>
  <property fmtid="{D5CDD505-2E9C-101B-9397-08002B2CF9AE}" pid="4" name="project">
    <vt:lpwstr>Event, project or presenter</vt:lpwstr>
  </property>
  <property fmtid="{D5CDD505-2E9C-101B-9397-08002B2CF9AE}" pid="5" name="date">
    <vt:lpwstr>## Month 20##</vt:lpwstr>
  </property>
  <property fmtid="{D5CDD505-2E9C-101B-9397-08002B2CF9AE}" pid="6" name="descriptor">
    <vt:lpwstr/>
  </property>
  <property fmtid="{D5CDD505-2E9C-101B-9397-08002B2CF9AE}" pid="7" name="identifier">
    <vt:lpwstr>Business identifier</vt:lpwstr>
  </property>
  <property fmtid="{D5CDD505-2E9C-101B-9397-08002B2CF9AE}" pid="8" name="classification">
    <vt:lpwstr>FOR INTERNAL USE</vt:lpwstr>
  </property>
</Properties>
</file>